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notesSlides/notesSlide11.xml" ContentType="application/vnd.openxmlformats-officedocument.presentationml.notesSlide+xml"/>
  <Override PartName="/ppt/tags/tag2.xml" ContentType="application/vnd.openxmlformats-officedocument.presentationml.tags+xml"/>
  <Override PartName="/ppt/notesSlides/notesSlide12.xml" ContentType="application/vnd.openxmlformats-officedocument.presentationml.notesSlide+xml"/>
  <Override PartName="/ppt/tags/tag3.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6"/>
  </p:notesMasterIdLst>
  <p:sldIdLst>
    <p:sldId id="256" r:id="rId2"/>
    <p:sldId id="305" r:id="rId3"/>
    <p:sldId id="306" r:id="rId4"/>
    <p:sldId id="307" r:id="rId5"/>
    <p:sldId id="264" r:id="rId6"/>
    <p:sldId id="308" r:id="rId7"/>
    <p:sldId id="309" r:id="rId8"/>
    <p:sldId id="260" r:id="rId9"/>
    <p:sldId id="261" r:id="rId10"/>
    <p:sldId id="266" r:id="rId11"/>
    <p:sldId id="262" r:id="rId12"/>
    <p:sldId id="263" r:id="rId13"/>
    <p:sldId id="265" r:id="rId14"/>
    <p:sldId id="267" r:id="rId15"/>
    <p:sldId id="268" r:id="rId16"/>
    <p:sldId id="269" r:id="rId17"/>
    <p:sldId id="270" r:id="rId18"/>
    <p:sldId id="271" r:id="rId19"/>
    <p:sldId id="272" r:id="rId20"/>
    <p:sldId id="273" r:id="rId21"/>
    <p:sldId id="275" r:id="rId22"/>
    <p:sldId id="277" r:id="rId23"/>
    <p:sldId id="279" r:id="rId24"/>
    <p:sldId id="280" r:id="rId25"/>
    <p:sldId id="281" r:id="rId26"/>
    <p:sldId id="282" r:id="rId27"/>
    <p:sldId id="284" r:id="rId28"/>
    <p:sldId id="285" r:id="rId29"/>
    <p:sldId id="286" r:id="rId30"/>
    <p:sldId id="288" r:id="rId31"/>
    <p:sldId id="291" r:id="rId32"/>
    <p:sldId id="292" r:id="rId33"/>
    <p:sldId id="293" r:id="rId34"/>
    <p:sldId id="294" r:id="rId35"/>
    <p:sldId id="295" r:id="rId36"/>
    <p:sldId id="296" r:id="rId37"/>
    <p:sldId id="297" r:id="rId38"/>
    <p:sldId id="298" r:id="rId39"/>
    <p:sldId id="299" r:id="rId40"/>
    <p:sldId id="300" r:id="rId41"/>
    <p:sldId id="301" r:id="rId42"/>
    <p:sldId id="302" r:id="rId43"/>
    <p:sldId id="303" r:id="rId44"/>
    <p:sldId id="304" r:id="rId45"/>
  </p:sldIdLst>
  <p:sldSz cx="12192000" cy="6858000"/>
  <p:notesSz cx="6858000" cy="9144000"/>
  <p:defaultText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9" d="100"/>
          <a:sy n="69" d="100"/>
        </p:scale>
        <p:origin x="756" y="6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stbilgi Yer Tutucusu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Veri Yer Tutucusu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F1A971-9545-4F00-83C6-D3C2BD2A142F}" type="datetimeFigureOut">
              <a:rPr lang="en-US" smtClean="0"/>
              <a:t>6/15/2019</a:t>
            </a:fld>
            <a:endParaRPr lang="en-US"/>
          </a:p>
        </p:txBody>
      </p:sp>
      <p:sp>
        <p:nvSpPr>
          <p:cNvPr id="4" name="Slayt Görüntüsü Yer Tutucusu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 Yer Tutucusu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6" name="Altbilgi Yer Tutucusu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ayt Numarası Yer Tutucus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E9FD34-47EB-411F-A144-D9791655BA16}" type="slidenum">
              <a:rPr lang="en-US" smtClean="0"/>
              <a:t>‹#›</a:t>
            </a:fld>
            <a:endParaRPr lang="en-US"/>
          </a:p>
        </p:txBody>
      </p:sp>
    </p:spTree>
    <p:extLst>
      <p:ext uri="{BB962C8B-B14F-4D97-AF65-F5344CB8AC3E}">
        <p14:creationId xmlns:p14="http://schemas.microsoft.com/office/powerpoint/2010/main" val="35991310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1B0AAA71-6327-A14C-94C7-70FCF8195E15}" type="slidenum">
              <a:rPr lang="tr-TR" smtClean="0"/>
              <a:t>23</a:t>
            </a:fld>
            <a:endParaRPr lang="tr-TR"/>
          </a:p>
        </p:txBody>
      </p:sp>
    </p:spTree>
    <p:extLst>
      <p:ext uri="{BB962C8B-B14F-4D97-AF65-F5344CB8AC3E}">
        <p14:creationId xmlns:p14="http://schemas.microsoft.com/office/powerpoint/2010/main" val="4947308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a:p>
        </p:txBody>
      </p:sp>
      <p:sp>
        <p:nvSpPr>
          <p:cNvPr id="4" name="Slayt Numarası Yer Tutucusu 3"/>
          <p:cNvSpPr>
            <a:spLocks noGrp="1"/>
          </p:cNvSpPr>
          <p:nvPr>
            <p:ph type="sldNum" sz="quarter" idx="10"/>
          </p:nvPr>
        </p:nvSpPr>
        <p:spPr/>
        <p:txBody>
          <a:bodyPr/>
          <a:lstStyle/>
          <a:p>
            <a:fld id="{BF4892D7-2ED1-4FF7-A0F8-AA04935672C5}" type="slidenum">
              <a:rPr lang="tr-TR" smtClean="0"/>
              <a:t>36</a:t>
            </a:fld>
            <a:endParaRPr lang="tr-TR" dirty="0"/>
          </a:p>
        </p:txBody>
      </p:sp>
    </p:spTree>
    <p:extLst>
      <p:ext uri="{BB962C8B-B14F-4D97-AF65-F5344CB8AC3E}">
        <p14:creationId xmlns:p14="http://schemas.microsoft.com/office/powerpoint/2010/main" val="38027175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4892D7-2ED1-4FF7-A0F8-AA04935672C5}" type="slidenum">
              <a:rPr kumimoji="0" lang="tr-T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tr-T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96346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4892D7-2ED1-4FF7-A0F8-AA04935672C5}" type="slidenum">
              <a:rPr kumimoji="0" lang="tr-T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tr-T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19420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4892D7-2ED1-4FF7-A0F8-AA04935672C5}" type="slidenum">
              <a:rPr kumimoji="0" lang="tr-T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tr-T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08639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1B0AAA71-6327-A14C-94C7-70FCF8195E15}" type="slidenum">
              <a:rPr lang="tr-TR" smtClean="0"/>
              <a:t>24</a:t>
            </a:fld>
            <a:endParaRPr lang="tr-TR"/>
          </a:p>
        </p:txBody>
      </p:sp>
    </p:spTree>
    <p:extLst>
      <p:ext uri="{BB962C8B-B14F-4D97-AF65-F5344CB8AC3E}">
        <p14:creationId xmlns:p14="http://schemas.microsoft.com/office/powerpoint/2010/main" val="7979472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a:p>
        </p:txBody>
      </p:sp>
      <p:sp>
        <p:nvSpPr>
          <p:cNvPr id="4" name="Slayt Numarası Yer Tutucusu 3"/>
          <p:cNvSpPr>
            <a:spLocks noGrp="1"/>
          </p:cNvSpPr>
          <p:nvPr>
            <p:ph type="sldNum" sz="quarter" idx="10"/>
          </p:nvPr>
        </p:nvSpPr>
        <p:spPr/>
        <p:txBody>
          <a:bodyPr/>
          <a:lstStyle/>
          <a:p>
            <a:fld id="{1B0AAA71-6327-A14C-94C7-70FCF8195E15}" type="slidenum">
              <a:rPr lang="tr-TR" smtClean="0"/>
              <a:t>25</a:t>
            </a:fld>
            <a:endParaRPr lang="tr-TR"/>
          </a:p>
        </p:txBody>
      </p:sp>
    </p:spTree>
    <p:extLst>
      <p:ext uri="{BB962C8B-B14F-4D97-AF65-F5344CB8AC3E}">
        <p14:creationId xmlns:p14="http://schemas.microsoft.com/office/powerpoint/2010/main" val="9168015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a:p>
        </p:txBody>
      </p:sp>
      <p:sp>
        <p:nvSpPr>
          <p:cNvPr id="4" name="Slayt Numarası Yer Tutucusu 3"/>
          <p:cNvSpPr>
            <a:spLocks noGrp="1"/>
          </p:cNvSpPr>
          <p:nvPr>
            <p:ph type="sldNum" sz="quarter" idx="10"/>
          </p:nvPr>
        </p:nvSpPr>
        <p:spPr/>
        <p:txBody>
          <a:bodyPr/>
          <a:lstStyle/>
          <a:p>
            <a:fld id="{1B0AAA71-6327-A14C-94C7-70FCF8195E15}" type="slidenum">
              <a:rPr lang="tr-TR" smtClean="0"/>
              <a:t>26</a:t>
            </a:fld>
            <a:endParaRPr lang="tr-TR"/>
          </a:p>
        </p:txBody>
      </p:sp>
    </p:spTree>
    <p:extLst>
      <p:ext uri="{BB962C8B-B14F-4D97-AF65-F5344CB8AC3E}">
        <p14:creationId xmlns:p14="http://schemas.microsoft.com/office/powerpoint/2010/main" val="27547752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BF4892D7-2ED1-4FF7-A0F8-AA04935672C5}" type="slidenum">
              <a:rPr lang="tr-TR" smtClean="0"/>
              <a:t>28</a:t>
            </a:fld>
            <a:endParaRPr lang="tr-TR" dirty="0"/>
          </a:p>
        </p:txBody>
      </p:sp>
    </p:spTree>
    <p:extLst>
      <p:ext uri="{BB962C8B-B14F-4D97-AF65-F5344CB8AC3E}">
        <p14:creationId xmlns:p14="http://schemas.microsoft.com/office/powerpoint/2010/main" val="17100184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BF4892D7-2ED1-4FF7-A0F8-AA04935672C5}" type="slidenum">
              <a:rPr lang="tr-TR" smtClean="0"/>
              <a:t>29</a:t>
            </a:fld>
            <a:endParaRPr lang="tr-TR" dirty="0"/>
          </a:p>
        </p:txBody>
      </p:sp>
    </p:spTree>
    <p:extLst>
      <p:ext uri="{BB962C8B-B14F-4D97-AF65-F5344CB8AC3E}">
        <p14:creationId xmlns:p14="http://schemas.microsoft.com/office/powerpoint/2010/main" val="23145871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4892D7-2ED1-4FF7-A0F8-AA04935672C5}" type="slidenum">
              <a:rPr kumimoji="0" lang="tr-T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tr-T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77597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a:p>
        </p:txBody>
      </p:sp>
      <p:sp>
        <p:nvSpPr>
          <p:cNvPr id="4" name="Slayt Numarası Yer Tutucusu 3"/>
          <p:cNvSpPr>
            <a:spLocks noGrp="1"/>
          </p:cNvSpPr>
          <p:nvPr>
            <p:ph type="sldNum" sz="quarter" idx="10"/>
          </p:nvPr>
        </p:nvSpPr>
        <p:spPr/>
        <p:txBody>
          <a:bodyPr/>
          <a:lstStyle/>
          <a:p>
            <a:fld id="{BF4892D7-2ED1-4FF7-A0F8-AA04935672C5}" type="slidenum">
              <a:rPr lang="tr-TR" smtClean="0"/>
              <a:t>34</a:t>
            </a:fld>
            <a:endParaRPr lang="tr-TR" dirty="0"/>
          </a:p>
        </p:txBody>
      </p:sp>
    </p:spTree>
    <p:extLst>
      <p:ext uri="{BB962C8B-B14F-4D97-AF65-F5344CB8AC3E}">
        <p14:creationId xmlns:p14="http://schemas.microsoft.com/office/powerpoint/2010/main" val="22270372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5"/>
          </p:nvPr>
        </p:nvSpPr>
        <p:spPr/>
        <p:txBody>
          <a:bodyPr/>
          <a:lstStyle/>
          <a:p>
            <a:fld id="{BF4892D7-2ED1-4FF7-A0F8-AA04935672C5}" type="slidenum">
              <a:rPr lang="tr-TR" smtClean="0"/>
              <a:t>35</a:t>
            </a:fld>
            <a:endParaRPr lang="tr-TR" dirty="0"/>
          </a:p>
        </p:txBody>
      </p:sp>
    </p:spTree>
    <p:extLst>
      <p:ext uri="{BB962C8B-B14F-4D97-AF65-F5344CB8AC3E}">
        <p14:creationId xmlns:p14="http://schemas.microsoft.com/office/powerpoint/2010/main" val="31582030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Unvan 1"/>
          <p:cNvSpPr>
            <a:spLocks noGrp="1"/>
          </p:cNvSpPr>
          <p:nvPr>
            <p:ph type="ctrTitle"/>
          </p:nvPr>
        </p:nvSpPr>
        <p:spPr>
          <a:xfrm>
            <a:off x="1524000" y="1122363"/>
            <a:ext cx="9144000" cy="2387600"/>
          </a:xfrm>
        </p:spPr>
        <p:txBody>
          <a:bodyPr anchor="b"/>
          <a:lstStyle>
            <a:lvl1pPr algn="ctr">
              <a:defRPr sz="6000"/>
            </a:lvl1pPr>
          </a:lstStyle>
          <a:p>
            <a:r>
              <a:rPr lang="tr-TR" smtClean="0"/>
              <a:t>Asıl başlık stili için tıklatın</a:t>
            </a:r>
            <a:endParaRPr lang="tr-TR"/>
          </a:p>
        </p:txBody>
      </p:sp>
      <p:sp>
        <p:nvSpPr>
          <p:cNvPr id="3" name="Alt Başlık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tr-TR" smtClean="0"/>
              <a:t>Asıl alt başlık stilini düzenlemek için tıklatın</a:t>
            </a:r>
            <a:endParaRPr lang="tr-TR"/>
          </a:p>
        </p:txBody>
      </p:sp>
      <p:sp>
        <p:nvSpPr>
          <p:cNvPr id="4" name="Veri Yer Tutucusu 3"/>
          <p:cNvSpPr>
            <a:spLocks noGrp="1"/>
          </p:cNvSpPr>
          <p:nvPr>
            <p:ph type="dt" sz="half" idx="10"/>
          </p:nvPr>
        </p:nvSpPr>
        <p:spPr/>
        <p:txBody>
          <a:bodyPr/>
          <a:lstStyle/>
          <a:p>
            <a:fld id="{59381D77-6CD6-4EAD-8575-B00ECBC8DB39}" type="datetimeFigureOut">
              <a:rPr lang="tr-TR" smtClean="0"/>
              <a:t>15.6.2019</a:t>
            </a:fld>
            <a:endParaRPr lang="tr-TR"/>
          </a:p>
        </p:txBody>
      </p:sp>
      <p:sp>
        <p:nvSpPr>
          <p:cNvPr id="5" name="Altbilgi Yer Tutucusu 4"/>
          <p:cNvSpPr>
            <a:spLocks noGrp="1"/>
          </p:cNvSpPr>
          <p:nvPr>
            <p:ph type="ftr" sz="quarter" idx="11"/>
          </p:nvPr>
        </p:nvSpPr>
        <p:spPr/>
        <p:txBody>
          <a:bodyPr/>
          <a:lstStyle/>
          <a:p>
            <a:endParaRPr lang="tr-TR"/>
          </a:p>
        </p:txBody>
      </p:sp>
      <p:sp>
        <p:nvSpPr>
          <p:cNvPr id="6" name="Slayt Numarası Yer Tutucusu 5"/>
          <p:cNvSpPr>
            <a:spLocks noGrp="1"/>
          </p:cNvSpPr>
          <p:nvPr>
            <p:ph type="sldNum" sz="quarter" idx="12"/>
          </p:nvPr>
        </p:nvSpPr>
        <p:spPr/>
        <p:txBody>
          <a:bodyPr/>
          <a:lstStyle/>
          <a:p>
            <a:fld id="{422D380F-0336-4CD1-AEBD-B01FB383946D}" type="slidenum">
              <a:rPr lang="tr-TR" smtClean="0"/>
              <a:t>‹#›</a:t>
            </a:fld>
            <a:endParaRPr lang="tr-TR"/>
          </a:p>
        </p:txBody>
      </p:sp>
    </p:spTree>
    <p:extLst>
      <p:ext uri="{BB962C8B-B14F-4D97-AF65-F5344CB8AC3E}">
        <p14:creationId xmlns:p14="http://schemas.microsoft.com/office/powerpoint/2010/main" val="30375457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Başlık, Dikey Metin">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smtClean="0"/>
              <a:t>Asıl başlık stili için tıklatın</a:t>
            </a:r>
            <a:endParaRPr lang="tr-TR"/>
          </a:p>
        </p:txBody>
      </p:sp>
      <p:sp>
        <p:nvSpPr>
          <p:cNvPr id="3" name="Dikey Metin Yer Tutucusu 2"/>
          <p:cNvSpPr>
            <a:spLocks noGrp="1"/>
          </p:cNvSpPr>
          <p:nvPr>
            <p:ph type="body" orient="vert" idx="1"/>
          </p:nvPr>
        </p:nvSpPr>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Veri Yer Tutucusu 3"/>
          <p:cNvSpPr>
            <a:spLocks noGrp="1"/>
          </p:cNvSpPr>
          <p:nvPr>
            <p:ph type="dt" sz="half" idx="10"/>
          </p:nvPr>
        </p:nvSpPr>
        <p:spPr/>
        <p:txBody>
          <a:bodyPr/>
          <a:lstStyle/>
          <a:p>
            <a:fld id="{59381D77-6CD6-4EAD-8575-B00ECBC8DB39}" type="datetimeFigureOut">
              <a:rPr lang="tr-TR" smtClean="0"/>
              <a:t>15.6.2019</a:t>
            </a:fld>
            <a:endParaRPr lang="tr-TR"/>
          </a:p>
        </p:txBody>
      </p:sp>
      <p:sp>
        <p:nvSpPr>
          <p:cNvPr id="5" name="Altbilgi Yer Tutucusu 4"/>
          <p:cNvSpPr>
            <a:spLocks noGrp="1"/>
          </p:cNvSpPr>
          <p:nvPr>
            <p:ph type="ftr" sz="quarter" idx="11"/>
          </p:nvPr>
        </p:nvSpPr>
        <p:spPr/>
        <p:txBody>
          <a:bodyPr/>
          <a:lstStyle/>
          <a:p>
            <a:endParaRPr lang="tr-TR"/>
          </a:p>
        </p:txBody>
      </p:sp>
      <p:sp>
        <p:nvSpPr>
          <p:cNvPr id="6" name="Slayt Numarası Yer Tutucusu 5"/>
          <p:cNvSpPr>
            <a:spLocks noGrp="1"/>
          </p:cNvSpPr>
          <p:nvPr>
            <p:ph type="sldNum" sz="quarter" idx="12"/>
          </p:nvPr>
        </p:nvSpPr>
        <p:spPr/>
        <p:txBody>
          <a:bodyPr/>
          <a:lstStyle/>
          <a:p>
            <a:fld id="{422D380F-0336-4CD1-AEBD-B01FB383946D}" type="slidenum">
              <a:rPr lang="tr-TR" smtClean="0"/>
              <a:t>‹#›</a:t>
            </a:fld>
            <a:endParaRPr lang="tr-TR"/>
          </a:p>
        </p:txBody>
      </p:sp>
    </p:spTree>
    <p:extLst>
      <p:ext uri="{BB962C8B-B14F-4D97-AF65-F5344CB8AC3E}">
        <p14:creationId xmlns:p14="http://schemas.microsoft.com/office/powerpoint/2010/main" val="29915746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Dikey Başlık 1"/>
          <p:cNvSpPr>
            <a:spLocks noGrp="1"/>
          </p:cNvSpPr>
          <p:nvPr>
            <p:ph type="title" orient="vert"/>
          </p:nvPr>
        </p:nvSpPr>
        <p:spPr>
          <a:xfrm>
            <a:off x="8724900" y="365125"/>
            <a:ext cx="2628900" cy="5811838"/>
          </a:xfrm>
        </p:spPr>
        <p:txBody>
          <a:bodyPr vert="eaVert"/>
          <a:lstStyle/>
          <a:p>
            <a:r>
              <a:rPr lang="tr-TR" smtClean="0"/>
              <a:t>Asıl başlık stili için tıklatın</a:t>
            </a:r>
            <a:endParaRPr lang="tr-TR"/>
          </a:p>
        </p:txBody>
      </p:sp>
      <p:sp>
        <p:nvSpPr>
          <p:cNvPr id="3" name="Dikey Metin Yer Tutucusu 2"/>
          <p:cNvSpPr>
            <a:spLocks noGrp="1"/>
          </p:cNvSpPr>
          <p:nvPr>
            <p:ph type="body" orient="vert" idx="1"/>
          </p:nvPr>
        </p:nvSpPr>
        <p:spPr>
          <a:xfrm>
            <a:off x="838200" y="365125"/>
            <a:ext cx="7734300" cy="5811838"/>
          </a:xfrm>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Veri Yer Tutucusu 3"/>
          <p:cNvSpPr>
            <a:spLocks noGrp="1"/>
          </p:cNvSpPr>
          <p:nvPr>
            <p:ph type="dt" sz="half" idx="10"/>
          </p:nvPr>
        </p:nvSpPr>
        <p:spPr/>
        <p:txBody>
          <a:bodyPr/>
          <a:lstStyle/>
          <a:p>
            <a:fld id="{59381D77-6CD6-4EAD-8575-B00ECBC8DB39}" type="datetimeFigureOut">
              <a:rPr lang="tr-TR" smtClean="0"/>
              <a:t>15.6.2019</a:t>
            </a:fld>
            <a:endParaRPr lang="tr-TR"/>
          </a:p>
        </p:txBody>
      </p:sp>
      <p:sp>
        <p:nvSpPr>
          <p:cNvPr id="5" name="Altbilgi Yer Tutucusu 4"/>
          <p:cNvSpPr>
            <a:spLocks noGrp="1"/>
          </p:cNvSpPr>
          <p:nvPr>
            <p:ph type="ftr" sz="quarter" idx="11"/>
          </p:nvPr>
        </p:nvSpPr>
        <p:spPr/>
        <p:txBody>
          <a:bodyPr/>
          <a:lstStyle/>
          <a:p>
            <a:endParaRPr lang="tr-TR"/>
          </a:p>
        </p:txBody>
      </p:sp>
      <p:sp>
        <p:nvSpPr>
          <p:cNvPr id="6" name="Slayt Numarası Yer Tutucusu 5"/>
          <p:cNvSpPr>
            <a:spLocks noGrp="1"/>
          </p:cNvSpPr>
          <p:nvPr>
            <p:ph type="sldNum" sz="quarter" idx="12"/>
          </p:nvPr>
        </p:nvSpPr>
        <p:spPr/>
        <p:txBody>
          <a:bodyPr/>
          <a:lstStyle/>
          <a:p>
            <a:fld id="{422D380F-0336-4CD1-AEBD-B01FB383946D}" type="slidenum">
              <a:rPr lang="tr-TR" smtClean="0"/>
              <a:t>‹#›</a:t>
            </a:fld>
            <a:endParaRPr lang="tr-TR"/>
          </a:p>
        </p:txBody>
      </p:sp>
    </p:spTree>
    <p:extLst>
      <p:ext uri="{BB962C8B-B14F-4D97-AF65-F5344CB8AC3E}">
        <p14:creationId xmlns:p14="http://schemas.microsoft.com/office/powerpoint/2010/main" val="21295160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26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BB2BC42-0DD9-4611-9445-CE87F4C8F13E}"/>
              </a:ext>
            </a:extLst>
          </p:cNvPr>
          <p:cNvSpPr>
            <a:spLocks noGrp="1"/>
          </p:cNvSpPr>
          <p:nvPr>
            <p:ph type="pic" sz="quarter" idx="10" hasCustomPrompt="1"/>
          </p:nvPr>
        </p:nvSpPr>
        <p:spPr>
          <a:xfrm>
            <a:off x="6518101" y="792415"/>
            <a:ext cx="2609850" cy="3418769"/>
          </a:xfrm>
          <a:prstGeom prst="roundRect">
            <a:avLst>
              <a:gd name="adj" fmla="val 8325"/>
            </a:avLst>
          </a:prstGeom>
          <a:solidFill>
            <a:schemeClr val="bg1"/>
          </a:solidFill>
          <a:effectLst>
            <a:outerShdw blurRad="1270000" dist="1511300" dir="5400000" sx="67000" sy="67000" algn="t" rotWithShape="0">
              <a:prstClr val="black">
                <a:alpha val="40000"/>
              </a:prstClr>
            </a:outerShdw>
          </a:effectLst>
        </p:spPr>
        <p:txBody>
          <a:bodyPr/>
          <a:lstStyle>
            <a:lvl1pPr marL="0" indent="0">
              <a:buNone/>
              <a:defRPr sz="1004">
                <a:solidFill>
                  <a:schemeClr val="bg1">
                    <a:lumMod val="75000"/>
                  </a:schemeClr>
                </a:solidFill>
              </a:defRPr>
            </a:lvl1pPr>
          </a:lstStyle>
          <a:p>
            <a:r>
              <a:rPr lang="en-US" dirty="0"/>
              <a:t>Image Placeholder</a:t>
            </a:r>
          </a:p>
        </p:txBody>
      </p:sp>
      <p:sp>
        <p:nvSpPr>
          <p:cNvPr id="5" name="Picture Placeholder 3">
            <a:extLst>
              <a:ext uri="{FF2B5EF4-FFF2-40B4-BE49-F238E27FC236}">
                <a16:creationId xmlns:a16="http://schemas.microsoft.com/office/drawing/2014/main" id="{D2991236-6FAB-474F-A4AD-2C5053D86180}"/>
              </a:ext>
            </a:extLst>
          </p:cNvPr>
          <p:cNvSpPr>
            <a:spLocks noGrp="1"/>
          </p:cNvSpPr>
          <p:nvPr>
            <p:ph type="pic" sz="quarter" idx="11" hasCustomPrompt="1"/>
          </p:nvPr>
        </p:nvSpPr>
        <p:spPr>
          <a:xfrm>
            <a:off x="3033207" y="2126015"/>
            <a:ext cx="2609850" cy="3418769"/>
          </a:xfrm>
          <a:prstGeom prst="roundRect">
            <a:avLst>
              <a:gd name="adj" fmla="val 8325"/>
            </a:avLst>
          </a:prstGeom>
          <a:solidFill>
            <a:schemeClr val="bg1"/>
          </a:solidFill>
          <a:effectLst>
            <a:outerShdw blurRad="1270000" dist="1511300" dir="5400000" sx="67000" sy="67000" algn="t" rotWithShape="0">
              <a:prstClr val="black">
                <a:alpha val="40000"/>
              </a:prstClr>
            </a:outerShdw>
          </a:effectLst>
        </p:spPr>
        <p:txBody>
          <a:bodyPr/>
          <a:lstStyle>
            <a:lvl1pPr marL="0" indent="0">
              <a:buNone/>
              <a:defRPr sz="1004">
                <a:solidFill>
                  <a:schemeClr val="bg1">
                    <a:lumMod val="75000"/>
                  </a:schemeClr>
                </a:solidFill>
              </a:defRPr>
            </a:lvl1pPr>
          </a:lstStyle>
          <a:p>
            <a:r>
              <a:rPr lang="en-US" dirty="0"/>
              <a:t>Image Placeholder</a:t>
            </a:r>
          </a:p>
        </p:txBody>
      </p:sp>
      <p:sp>
        <p:nvSpPr>
          <p:cNvPr id="6" name="Picture Placeholder 3">
            <a:extLst>
              <a:ext uri="{FF2B5EF4-FFF2-40B4-BE49-F238E27FC236}">
                <a16:creationId xmlns:a16="http://schemas.microsoft.com/office/drawing/2014/main" id="{67E10931-CED0-4F93-BEB1-366CE5296D40}"/>
              </a:ext>
            </a:extLst>
          </p:cNvPr>
          <p:cNvSpPr>
            <a:spLocks noGrp="1"/>
          </p:cNvSpPr>
          <p:nvPr>
            <p:ph type="pic" sz="quarter" idx="12" hasCustomPrompt="1"/>
          </p:nvPr>
        </p:nvSpPr>
        <p:spPr>
          <a:xfrm>
            <a:off x="6518101" y="5148616"/>
            <a:ext cx="2609850" cy="3418769"/>
          </a:xfrm>
          <a:prstGeom prst="roundRect">
            <a:avLst>
              <a:gd name="adj" fmla="val 8325"/>
            </a:avLst>
          </a:prstGeom>
          <a:solidFill>
            <a:schemeClr val="bg1"/>
          </a:solidFill>
          <a:effectLst>
            <a:outerShdw blurRad="1270000" dist="1511300" dir="5400000" sx="67000" sy="67000" algn="t" rotWithShape="0">
              <a:prstClr val="black">
                <a:alpha val="40000"/>
              </a:prstClr>
            </a:outerShdw>
          </a:effectLst>
        </p:spPr>
        <p:txBody>
          <a:bodyPr/>
          <a:lstStyle>
            <a:lvl1pPr marL="0" indent="0">
              <a:buNone/>
              <a:defRPr sz="1004">
                <a:solidFill>
                  <a:schemeClr val="bg1">
                    <a:lumMod val="75000"/>
                  </a:schemeClr>
                </a:solidFill>
              </a:defRPr>
            </a:lvl1pPr>
          </a:lstStyle>
          <a:p>
            <a:r>
              <a:rPr lang="en-US" dirty="0"/>
              <a:t>Image Placeholder</a:t>
            </a:r>
          </a:p>
        </p:txBody>
      </p:sp>
    </p:spTree>
    <p:extLst>
      <p:ext uri="{BB962C8B-B14F-4D97-AF65-F5344CB8AC3E}">
        <p14:creationId xmlns:p14="http://schemas.microsoft.com/office/powerpoint/2010/main" val="38415830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27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BB2BC42-0DD9-4611-9445-CE87F4C8F13E}"/>
              </a:ext>
            </a:extLst>
          </p:cNvPr>
          <p:cNvSpPr>
            <a:spLocks noGrp="1"/>
          </p:cNvSpPr>
          <p:nvPr>
            <p:ph type="pic" sz="quarter" idx="10" hasCustomPrompt="1"/>
          </p:nvPr>
        </p:nvSpPr>
        <p:spPr>
          <a:xfrm>
            <a:off x="6518101" y="-1709385"/>
            <a:ext cx="2609850" cy="3418769"/>
          </a:xfrm>
          <a:prstGeom prst="roundRect">
            <a:avLst>
              <a:gd name="adj" fmla="val 8325"/>
            </a:avLst>
          </a:prstGeom>
          <a:solidFill>
            <a:schemeClr val="bg1"/>
          </a:solidFill>
          <a:effectLst>
            <a:outerShdw blurRad="1270000" dist="1511300" dir="5400000" sx="67000" sy="67000" algn="t" rotWithShape="0">
              <a:prstClr val="black">
                <a:alpha val="40000"/>
              </a:prstClr>
            </a:outerShdw>
          </a:effectLst>
        </p:spPr>
        <p:txBody>
          <a:bodyPr/>
          <a:lstStyle>
            <a:lvl1pPr marL="0" indent="0">
              <a:buNone/>
              <a:defRPr sz="1004">
                <a:solidFill>
                  <a:schemeClr val="bg1">
                    <a:lumMod val="75000"/>
                  </a:schemeClr>
                </a:solidFill>
              </a:defRPr>
            </a:lvl1pPr>
          </a:lstStyle>
          <a:p>
            <a:r>
              <a:rPr lang="en-US" dirty="0"/>
              <a:t>Image Placeholder</a:t>
            </a:r>
          </a:p>
        </p:txBody>
      </p:sp>
      <p:sp>
        <p:nvSpPr>
          <p:cNvPr id="5" name="Picture Placeholder 3">
            <a:extLst>
              <a:ext uri="{FF2B5EF4-FFF2-40B4-BE49-F238E27FC236}">
                <a16:creationId xmlns:a16="http://schemas.microsoft.com/office/drawing/2014/main" id="{D2991236-6FAB-474F-A4AD-2C5053D86180}"/>
              </a:ext>
            </a:extLst>
          </p:cNvPr>
          <p:cNvSpPr>
            <a:spLocks noGrp="1"/>
          </p:cNvSpPr>
          <p:nvPr>
            <p:ph type="pic" sz="quarter" idx="11" hasCustomPrompt="1"/>
          </p:nvPr>
        </p:nvSpPr>
        <p:spPr>
          <a:xfrm>
            <a:off x="3033207" y="1402115"/>
            <a:ext cx="2609850" cy="3418769"/>
          </a:xfrm>
          <a:prstGeom prst="roundRect">
            <a:avLst>
              <a:gd name="adj" fmla="val 8325"/>
            </a:avLst>
          </a:prstGeom>
          <a:solidFill>
            <a:schemeClr val="bg1"/>
          </a:solidFill>
          <a:effectLst>
            <a:outerShdw blurRad="1270000" dist="1511300" dir="5400000" sx="67000" sy="67000" algn="t" rotWithShape="0">
              <a:prstClr val="black">
                <a:alpha val="40000"/>
              </a:prstClr>
            </a:outerShdw>
          </a:effectLst>
        </p:spPr>
        <p:txBody>
          <a:bodyPr/>
          <a:lstStyle>
            <a:lvl1pPr marL="0" indent="0">
              <a:buNone/>
              <a:defRPr sz="1004">
                <a:solidFill>
                  <a:schemeClr val="bg1">
                    <a:lumMod val="75000"/>
                  </a:schemeClr>
                </a:solidFill>
              </a:defRPr>
            </a:lvl1pPr>
          </a:lstStyle>
          <a:p>
            <a:r>
              <a:rPr lang="en-US" dirty="0"/>
              <a:t>Image Placeholder</a:t>
            </a:r>
          </a:p>
        </p:txBody>
      </p:sp>
      <p:sp>
        <p:nvSpPr>
          <p:cNvPr id="6" name="Picture Placeholder 3">
            <a:extLst>
              <a:ext uri="{FF2B5EF4-FFF2-40B4-BE49-F238E27FC236}">
                <a16:creationId xmlns:a16="http://schemas.microsoft.com/office/drawing/2014/main" id="{67E10931-CED0-4F93-BEB1-366CE5296D40}"/>
              </a:ext>
            </a:extLst>
          </p:cNvPr>
          <p:cNvSpPr>
            <a:spLocks noGrp="1"/>
          </p:cNvSpPr>
          <p:nvPr>
            <p:ph type="pic" sz="quarter" idx="12" hasCustomPrompt="1"/>
          </p:nvPr>
        </p:nvSpPr>
        <p:spPr>
          <a:xfrm>
            <a:off x="6518101" y="2954762"/>
            <a:ext cx="2609850" cy="3418769"/>
          </a:xfrm>
          <a:prstGeom prst="roundRect">
            <a:avLst>
              <a:gd name="adj" fmla="val 8325"/>
            </a:avLst>
          </a:prstGeom>
          <a:solidFill>
            <a:schemeClr val="bg1"/>
          </a:solidFill>
          <a:effectLst>
            <a:outerShdw blurRad="1270000" dist="1511300" dir="5400000" sx="67000" sy="67000" algn="t" rotWithShape="0">
              <a:prstClr val="black">
                <a:alpha val="40000"/>
              </a:prstClr>
            </a:outerShdw>
          </a:effectLst>
        </p:spPr>
        <p:txBody>
          <a:bodyPr/>
          <a:lstStyle>
            <a:lvl1pPr marL="0" indent="0">
              <a:buNone/>
              <a:defRPr sz="1004">
                <a:solidFill>
                  <a:schemeClr val="bg1">
                    <a:lumMod val="75000"/>
                  </a:schemeClr>
                </a:solidFill>
              </a:defRPr>
            </a:lvl1pPr>
          </a:lstStyle>
          <a:p>
            <a:r>
              <a:rPr lang="en-US" dirty="0"/>
              <a:t>Image Placeholder</a:t>
            </a:r>
          </a:p>
        </p:txBody>
      </p:sp>
    </p:spTree>
    <p:extLst>
      <p:ext uri="{BB962C8B-B14F-4D97-AF65-F5344CB8AC3E}">
        <p14:creationId xmlns:p14="http://schemas.microsoft.com/office/powerpoint/2010/main" val="24639813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42526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0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A59B0C1-90F0-49B0-A985-160281427C33}"/>
              </a:ext>
            </a:extLst>
          </p:cNvPr>
          <p:cNvSpPr>
            <a:spLocks noGrp="1"/>
          </p:cNvSpPr>
          <p:nvPr>
            <p:ph type="pic" sz="quarter" idx="10" hasCustomPrompt="1"/>
          </p:nvPr>
        </p:nvSpPr>
        <p:spPr>
          <a:xfrm>
            <a:off x="0" y="0"/>
            <a:ext cx="7236823" cy="6858000"/>
          </a:xfrm>
          <a:prstGeom prst="rect">
            <a:avLst/>
          </a:prstGeom>
        </p:spPr>
        <p:txBody>
          <a:bodyPr/>
          <a:lstStyle>
            <a:lvl1pPr marL="0" indent="0">
              <a:buNone/>
              <a:defRPr sz="2000">
                <a:solidFill>
                  <a:schemeClr val="bg1">
                    <a:lumMod val="75000"/>
                  </a:schemeClr>
                </a:solidFill>
              </a:defRPr>
            </a:lvl1pPr>
          </a:lstStyle>
          <a:p>
            <a:r>
              <a:rPr lang="en-US" dirty="0"/>
              <a:t>Image Placeholder</a:t>
            </a:r>
          </a:p>
        </p:txBody>
      </p:sp>
    </p:spTree>
    <p:extLst>
      <p:ext uri="{BB962C8B-B14F-4D97-AF65-F5344CB8AC3E}">
        <p14:creationId xmlns:p14="http://schemas.microsoft.com/office/powerpoint/2010/main" val="30478982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3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A59B0C1-90F0-49B0-A985-160281427C33}"/>
              </a:ext>
            </a:extLst>
          </p:cNvPr>
          <p:cNvSpPr>
            <a:spLocks noGrp="1"/>
          </p:cNvSpPr>
          <p:nvPr>
            <p:ph type="pic" sz="quarter" idx="10" hasCustomPrompt="1"/>
          </p:nvPr>
        </p:nvSpPr>
        <p:spPr>
          <a:xfrm>
            <a:off x="5486400" y="0"/>
            <a:ext cx="6705600" cy="6858000"/>
          </a:xfrm>
          <a:prstGeom prst="rect">
            <a:avLst/>
          </a:prstGeom>
        </p:spPr>
        <p:txBody>
          <a:bodyPr/>
          <a:lstStyle>
            <a:lvl1pPr marL="0" indent="0">
              <a:buNone/>
              <a:defRPr sz="1255">
                <a:solidFill>
                  <a:schemeClr val="bg1">
                    <a:lumMod val="75000"/>
                  </a:schemeClr>
                </a:solidFill>
              </a:defRPr>
            </a:lvl1pPr>
          </a:lstStyle>
          <a:p>
            <a:r>
              <a:rPr lang="en-US" dirty="0"/>
              <a:t>Image Placeholder</a:t>
            </a:r>
          </a:p>
        </p:txBody>
      </p:sp>
    </p:spTree>
    <p:extLst>
      <p:ext uri="{BB962C8B-B14F-4D97-AF65-F5344CB8AC3E}">
        <p14:creationId xmlns:p14="http://schemas.microsoft.com/office/powerpoint/2010/main" val="13575360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5_Custom Layout">
    <p:spTree>
      <p:nvGrpSpPr>
        <p:cNvPr id="1" name=""/>
        <p:cNvGrpSpPr/>
        <p:nvPr/>
      </p:nvGrpSpPr>
      <p:grpSpPr>
        <a:xfrm>
          <a:off x="0" y="0"/>
          <a:ext cx="0" cy="0"/>
          <a:chOff x="0" y="0"/>
          <a:chExt cx="0" cy="0"/>
        </a:xfrm>
      </p:grpSpPr>
      <p:sp>
        <p:nvSpPr>
          <p:cNvPr id="32" name="Picture Placeholder 31">
            <a:extLst>
              <a:ext uri="{FF2B5EF4-FFF2-40B4-BE49-F238E27FC236}">
                <a16:creationId xmlns:a16="http://schemas.microsoft.com/office/drawing/2014/main" id="{E3D6AE36-B95F-4E8A-B692-E2ACE2CB6032}"/>
              </a:ext>
            </a:extLst>
          </p:cNvPr>
          <p:cNvSpPr>
            <a:spLocks noGrp="1"/>
          </p:cNvSpPr>
          <p:nvPr>
            <p:ph type="pic" sz="quarter" idx="10" hasCustomPrompt="1"/>
          </p:nvPr>
        </p:nvSpPr>
        <p:spPr>
          <a:xfrm>
            <a:off x="3316983" y="-3"/>
            <a:ext cx="8875017" cy="6858003"/>
          </a:xfrm>
          <a:custGeom>
            <a:avLst/>
            <a:gdLst>
              <a:gd name="connsiteX0" fmla="*/ 0 w 8875017"/>
              <a:gd name="connsiteY0" fmla="*/ 0 h 6858003"/>
              <a:gd name="connsiteX1" fmla="*/ 6973422 w 8875017"/>
              <a:gd name="connsiteY1" fmla="*/ 0 h 6858003"/>
              <a:gd name="connsiteX2" fmla="*/ 6973422 w 8875017"/>
              <a:gd name="connsiteY2" fmla="*/ 3 h 6858003"/>
              <a:gd name="connsiteX3" fmla="*/ 8875017 w 8875017"/>
              <a:gd name="connsiteY3" fmla="*/ 3 h 6858003"/>
              <a:gd name="connsiteX4" fmla="*/ 8875017 w 8875017"/>
              <a:gd name="connsiteY4" fmla="*/ 6858003 h 6858003"/>
              <a:gd name="connsiteX5" fmla="*/ 6973422 w 8875017"/>
              <a:gd name="connsiteY5" fmla="*/ 6858003 h 6858003"/>
              <a:gd name="connsiteX6" fmla="*/ 6847331 w 8875017"/>
              <a:gd name="connsiteY6" fmla="*/ 6858003 h 6858003"/>
              <a:gd name="connsiteX7" fmla="*/ 6847329 w 8875017"/>
              <a:gd name="connsiteY7" fmla="*/ 6858003 h 6858003"/>
              <a:gd name="connsiteX8" fmla="*/ 6847329 w 8875017"/>
              <a:gd name="connsiteY8" fmla="*/ 6858001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75017" h="6858003">
                <a:moveTo>
                  <a:pt x="0" y="0"/>
                </a:moveTo>
                <a:lnTo>
                  <a:pt x="6973422" y="0"/>
                </a:lnTo>
                <a:lnTo>
                  <a:pt x="6973422" y="3"/>
                </a:lnTo>
                <a:lnTo>
                  <a:pt x="8875017" y="3"/>
                </a:lnTo>
                <a:lnTo>
                  <a:pt x="8875017" y="6858003"/>
                </a:lnTo>
                <a:lnTo>
                  <a:pt x="6973422" y="6858003"/>
                </a:lnTo>
                <a:lnTo>
                  <a:pt x="6847331" y="6858003"/>
                </a:lnTo>
                <a:lnTo>
                  <a:pt x="6847329" y="6858003"/>
                </a:lnTo>
                <a:lnTo>
                  <a:pt x="6847329" y="6858001"/>
                </a:lnTo>
                <a:close/>
              </a:path>
            </a:pathLst>
          </a:custGeom>
        </p:spPr>
        <p:txBody>
          <a:bodyPr wrap="square">
            <a:noAutofit/>
          </a:bodyPr>
          <a:lstStyle>
            <a:lvl1pPr marL="0" indent="0">
              <a:buNone/>
              <a:defRPr sz="1600">
                <a:solidFill>
                  <a:schemeClr val="bg1">
                    <a:lumMod val="65000"/>
                  </a:schemeClr>
                </a:solidFill>
              </a:defRPr>
            </a:lvl1pPr>
          </a:lstStyle>
          <a:p>
            <a:r>
              <a:rPr lang="en-US" dirty="0"/>
              <a:t>Image Placeholder</a:t>
            </a:r>
          </a:p>
        </p:txBody>
      </p:sp>
      <p:sp>
        <p:nvSpPr>
          <p:cNvPr id="27" name="Picture Placeholder 26">
            <a:extLst>
              <a:ext uri="{FF2B5EF4-FFF2-40B4-BE49-F238E27FC236}">
                <a16:creationId xmlns:a16="http://schemas.microsoft.com/office/drawing/2014/main" id="{BC05C101-CE9B-4D9E-9E26-BD0CA1D42810}"/>
              </a:ext>
            </a:extLst>
          </p:cNvPr>
          <p:cNvSpPr>
            <a:spLocks noGrp="1"/>
          </p:cNvSpPr>
          <p:nvPr>
            <p:ph type="pic" sz="quarter" idx="11" hasCustomPrompt="1"/>
          </p:nvPr>
        </p:nvSpPr>
        <p:spPr>
          <a:xfrm>
            <a:off x="5896717" y="703895"/>
            <a:ext cx="2440503" cy="5323328"/>
          </a:xfrm>
          <a:custGeom>
            <a:avLst/>
            <a:gdLst>
              <a:gd name="connsiteX0" fmla="*/ 175875 w 1878807"/>
              <a:gd name="connsiteY0" fmla="*/ 0 h 4098133"/>
              <a:gd name="connsiteX1" fmla="*/ 416720 w 1878807"/>
              <a:gd name="connsiteY1" fmla="*/ 0 h 4098133"/>
              <a:gd name="connsiteX2" fmla="*/ 416720 w 1878807"/>
              <a:gd name="connsiteY2" fmla="*/ 70297 h 4098133"/>
              <a:gd name="connsiteX3" fmla="*/ 496728 w 1878807"/>
              <a:gd name="connsiteY3" fmla="*/ 150632 h 4098133"/>
              <a:gd name="connsiteX4" fmla="*/ 1379699 w 1878807"/>
              <a:gd name="connsiteY4" fmla="*/ 150632 h 4098133"/>
              <a:gd name="connsiteX5" fmla="*/ 1459707 w 1878807"/>
              <a:gd name="connsiteY5" fmla="*/ 70297 h 4098133"/>
              <a:gd name="connsiteX6" fmla="*/ 1459707 w 1878807"/>
              <a:gd name="connsiteY6" fmla="*/ 0 h 4098133"/>
              <a:gd name="connsiteX7" fmla="*/ 1702932 w 1878807"/>
              <a:gd name="connsiteY7" fmla="*/ 0 h 4098133"/>
              <a:gd name="connsiteX8" fmla="*/ 1878807 w 1878807"/>
              <a:gd name="connsiteY8" fmla="*/ 176593 h 4098133"/>
              <a:gd name="connsiteX9" fmla="*/ 1878807 w 1878807"/>
              <a:gd name="connsiteY9" fmla="*/ 3921540 h 4098133"/>
              <a:gd name="connsiteX10" fmla="*/ 1702932 w 1878807"/>
              <a:gd name="connsiteY10" fmla="*/ 4098133 h 4098133"/>
              <a:gd name="connsiteX11" fmla="*/ 175875 w 1878807"/>
              <a:gd name="connsiteY11" fmla="*/ 4098133 h 4098133"/>
              <a:gd name="connsiteX12" fmla="*/ 0 w 1878807"/>
              <a:gd name="connsiteY12" fmla="*/ 3921540 h 4098133"/>
              <a:gd name="connsiteX13" fmla="*/ 0 w 1878807"/>
              <a:gd name="connsiteY13" fmla="*/ 176593 h 4098133"/>
              <a:gd name="connsiteX14" fmla="*/ 175875 w 1878807"/>
              <a:gd name="connsiteY14" fmla="*/ 0 h 4098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78807" h="4098133">
                <a:moveTo>
                  <a:pt x="175875" y="0"/>
                </a:moveTo>
                <a:lnTo>
                  <a:pt x="416720" y="0"/>
                </a:lnTo>
                <a:lnTo>
                  <a:pt x="416720" y="70297"/>
                </a:lnTo>
                <a:cubicBezTo>
                  <a:pt x="416720" y="114664"/>
                  <a:pt x="452541" y="150632"/>
                  <a:pt x="496728" y="150632"/>
                </a:cubicBezTo>
                <a:lnTo>
                  <a:pt x="1379699" y="150632"/>
                </a:lnTo>
                <a:cubicBezTo>
                  <a:pt x="1423886" y="150632"/>
                  <a:pt x="1459707" y="114664"/>
                  <a:pt x="1459707" y="70297"/>
                </a:cubicBezTo>
                <a:lnTo>
                  <a:pt x="1459707" y="0"/>
                </a:lnTo>
                <a:lnTo>
                  <a:pt x="1702932" y="0"/>
                </a:lnTo>
                <a:cubicBezTo>
                  <a:pt x="1800065" y="0"/>
                  <a:pt x="1878807" y="79064"/>
                  <a:pt x="1878807" y="176593"/>
                </a:cubicBezTo>
                <a:lnTo>
                  <a:pt x="1878807" y="3921540"/>
                </a:lnTo>
                <a:cubicBezTo>
                  <a:pt x="1878807" y="4019070"/>
                  <a:pt x="1800065" y="4098133"/>
                  <a:pt x="1702932" y="4098133"/>
                </a:cubicBezTo>
                <a:lnTo>
                  <a:pt x="175875" y="4098133"/>
                </a:lnTo>
                <a:cubicBezTo>
                  <a:pt x="78742" y="4098133"/>
                  <a:pt x="0" y="4019070"/>
                  <a:pt x="0" y="3921540"/>
                </a:cubicBezTo>
                <a:lnTo>
                  <a:pt x="0" y="176593"/>
                </a:lnTo>
                <a:cubicBezTo>
                  <a:pt x="0" y="79064"/>
                  <a:pt x="78742" y="0"/>
                  <a:pt x="175875" y="0"/>
                </a:cubicBezTo>
                <a:close/>
              </a:path>
            </a:pathLst>
          </a:custGeom>
          <a:gradFill>
            <a:gsLst>
              <a:gs pos="0">
                <a:schemeClr val="accent1"/>
              </a:gs>
              <a:gs pos="100000">
                <a:schemeClr val="accent2"/>
              </a:gs>
            </a:gsLst>
            <a:lin ang="2700000" scaled="1"/>
          </a:gradFill>
        </p:spPr>
        <p:txBody>
          <a:bodyPr wrap="square" anchor="t">
            <a:noAutofit/>
          </a:bodyPr>
          <a:lstStyle>
            <a:lvl1pPr marL="0" indent="0">
              <a:buNone/>
              <a:defRPr sz="1600">
                <a:solidFill>
                  <a:schemeClr val="bg1"/>
                </a:solidFill>
              </a:defRPr>
            </a:lvl1pPr>
          </a:lstStyle>
          <a:p>
            <a:r>
              <a:rPr lang="en-US" dirty="0"/>
              <a:t>Image Placeholder</a:t>
            </a:r>
          </a:p>
        </p:txBody>
      </p:sp>
    </p:spTree>
    <p:extLst>
      <p:ext uri="{BB962C8B-B14F-4D97-AF65-F5344CB8AC3E}">
        <p14:creationId xmlns:p14="http://schemas.microsoft.com/office/powerpoint/2010/main" val="27509999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smtClean="0"/>
              <a:t>Asıl başlık stili için tıklatın</a:t>
            </a:r>
            <a:endParaRPr lang="tr-TR"/>
          </a:p>
        </p:txBody>
      </p:sp>
      <p:sp>
        <p:nvSpPr>
          <p:cNvPr id="3" name="İçerik Yer Tutucusu 2"/>
          <p:cNvSpPr>
            <a:spLocks noGrp="1"/>
          </p:cNvSpPr>
          <p:nvPr>
            <p:ph idx="1"/>
          </p:nvPr>
        </p:nvSpPr>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Veri Yer Tutucusu 3"/>
          <p:cNvSpPr>
            <a:spLocks noGrp="1"/>
          </p:cNvSpPr>
          <p:nvPr>
            <p:ph type="dt" sz="half" idx="10"/>
          </p:nvPr>
        </p:nvSpPr>
        <p:spPr/>
        <p:txBody>
          <a:bodyPr/>
          <a:lstStyle/>
          <a:p>
            <a:fld id="{59381D77-6CD6-4EAD-8575-B00ECBC8DB39}" type="datetimeFigureOut">
              <a:rPr lang="tr-TR" smtClean="0"/>
              <a:t>15.6.2019</a:t>
            </a:fld>
            <a:endParaRPr lang="tr-TR"/>
          </a:p>
        </p:txBody>
      </p:sp>
      <p:sp>
        <p:nvSpPr>
          <p:cNvPr id="5" name="Altbilgi Yer Tutucusu 4"/>
          <p:cNvSpPr>
            <a:spLocks noGrp="1"/>
          </p:cNvSpPr>
          <p:nvPr>
            <p:ph type="ftr" sz="quarter" idx="11"/>
          </p:nvPr>
        </p:nvSpPr>
        <p:spPr/>
        <p:txBody>
          <a:bodyPr/>
          <a:lstStyle/>
          <a:p>
            <a:endParaRPr lang="tr-TR"/>
          </a:p>
        </p:txBody>
      </p:sp>
      <p:sp>
        <p:nvSpPr>
          <p:cNvPr id="6" name="Slayt Numarası Yer Tutucusu 5"/>
          <p:cNvSpPr>
            <a:spLocks noGrp="1"/>
          </p:cNvSpPr>
          <p:nvPr>
            <p:ph type="sldNum" sz="quarter" idx="12"/>
          </p:nvPr>
        </p:nvSpPr>
        <p:spPr/>
        <p:txBody>
          <a:bodyPr/>
          <a:lstStyle/>
          <a:p>
            <a:fld id="{422D380F-0336-4CD1-AEBD-B01FB383946D}" type="slidenum">
              <a:rPr lang="tr-TR" smtClean="0"/>
              <a:t>‹#›</a:t>
            </a:fld>
            <a:endParaRPr lang="tr-TR"/>
          </a:p>
        </p:txBody>
      </p:sp>
    </p:spTree>
    <p:extLst>
      <p:ext uri="{BB962C8B-B14F-4D97-AF65-F5344CB8AC3E}">
        <p14:creationId xmlns:p14="http://schemas.microsoft.com/office/powerpoint/2010/main" val="1211842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Unvan 1"/>
          <p:cNvSpPr>
            <a:spLocks noGrp="1"/>
          </p:cNvSpPr>
          <p:nvPr>
            <p:ph type="title"/>
          </p:nvPr>
        </p:nvSpPr>
        <p:spPr>
          <a:xfrm>
            <a:off x="831850" y="1709738"/>
            <a:ext cx="10515600" cy="2852737"/>
          </a:xfrm>
        </p:spPr>
        <p:txBody>
          <a:bodyPr anchor="b"/>
          <a:lstStyle>
            <a:lvl1pPr>
              <a:defRPr sz="6000"/>
            </a:lvl1pPr>
          </a:lstStyle>
          <a:p>
            <a:r>
              <a:rPr lang="tr-TR" smtClean="0"/>
              <a:t>Asıl başlık stili için tıklatın</a:t>
            </a:r>
            <a:endParaRPr lang="tr-TR"/>
          </a:p>
        </p:txBody>
      </p:sp>
      <p:sp>
        <p:nvSpPr>
          <p:cNvPr id="3" name="Metin Yer Tutucusu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tr-TR" smtClean="0"/>
              <a:t>Asıl metin stillerini düzenlemek için tıklatın</a:t>
            </a:r>
          </a:p>
        </p:txBody>
      </p:sp>
      <p:sp>
        <p:nvSpPr>
          <p:cNvPr id="4" name="Veri Yer Tutucusu 3"/>
          <p:cNvSpPr>
            <a:spLocks noGrp="1"/>
          </p:cNvSpPr>
          <p:nvPr>
            <p:ph type="dt" sz="half" idx="10"/>
          </p:nvPr>
        </p:nvSpPr>
        <p:spPr/>
        <p:txBody>
          <a:bodyPr/>
          <a:lstStyle/>
          <a:p>
            <a:fld id="{59381D77-6CD6-4EAD-8575-B00ECBC8DB39}" type="datetimeFigureOut">
              <a:rPr lang="tr-TR" smtClean="0"/>
              <a:t>15.6.2019</a:t>
            </a:fld>
            <a:endParaRPr lang="tr-TR"/>
          </a:p>
        </p:txBody>
      </p:sp>
      <p:sp>
        <p:nvSpPr>
          <p:cNvPr id="5" name="Altbilgi Yer Tutucusu 4"/>
          <p:cNvSpPr>
            <a:spLocks noGrp="1"/>
          </p:cNvSpPr>
          <p:nvPr>
            <p:ph type="ftr" sz="quarter" idx="11"/>
          </p:nvPr>
        </p:nvSpPr>
        <p:spPr/>
        <p:txBody>
          <a:bodyPr/>
          <a:lstStyle/>
          <a:p>
            <a:endParaRPr lang="tr-TR"/>
          </a:p>
        </p:txBody>
      </p:sp>
      <p:sp>
        <p:nvSpPr>
          <p:cNvPr id="6" name="Slayt Numarası Yer Tutucusu 5"/>
          <p:cNvSpPr>
            <a:spLocks noGrp="1"/>
          </p:cNvSpPr>
          <p:nvPr>
            <p:ph type="sldNum" sz="quarter" idx="12"/>
          </p:nvPr>
        </p:nvSpPr>
        <p:spPr/>
        <p:txBody>
          <a:bodyPr/>
          <a:lstStyle/>
          <a:p>
            <a:fld id="{422D380F-0336-4CD1-AEBD-B01FB383946D}" type="slidenum">
              <a:rPr lang="tr-TR" smtClean="0"/>
              <a:t>‹#›</a:t>
            </a:fld>
            <a:endParaRPr lang="tr-TR"/>
          </a:p>
        </p:txBody>
      </p:sp>
    </p:spTree>
    <p:extLst>
      <p:ext uri="{BB962C8B-B14F-4D97-AF65-F5344CB8AC3E}">
        <p14:creationId xmlns:p14="http://schemas.microsoft.com/office/powerpoint/2010/main" val="16541330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smtClean="0"/>
              <a:t>Asıl başlık stili için tıklatın</a:t>
            </a:r>
            <a:endParaRPr lang="tr-TR"/>
          </a:p>
        </p:txBody>
      </p:sp>
      <p:sp>
        <p:nvSpPr>
          <p:cNvPr id="3" name="İçerik Yer Tutucusu 2"/>
          <p:cNvSpPr>
            <a:spLocks noGrp="1"/>
          </p:cNvSpPr>
          <p:nvPr>
            <p:ph sz="half" idx="1"/>
          </p:nvPr>
        </p:nvSpPr>
        <p:spPr>
          <a:xfrm>
            <a:off x="838200" y="1825625"/>
            <a:ext cx="5181600" cy="4351338"/>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İçerik Yer Tutucusu 3"/>
          <p:cNvSpPr>
            <a:spLocks noGrp="1"/>
          </p:cNvSpPr>
          <p:nvPr>
            <p:ph sz="half" idx="2"/>
          </p:nvPr>
        </p:nvSpPr>
        <p:spPr>
          <a:xfrm>
            <a:off x="6172200" y="1825625"/>
            <a:ext cx="5181600" cy="4351338"/>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Veri Yer Tutucusu 4"/>
          <p:cNvSpPr>
            <a:spLocks noGrp="1"/>
          </p:cNvSpPr>
          <p:nvPr>
            <p:ph type="dt" sz="half" idx="10"/>
          </p:nvPr>
        </p:nvSpPr>
        <p:spPr/>
        <p:txBody>
          <a:bodyPr/>
          <a:lstStyle/>
          <a:p>
            <a:fld id="{59381D77-6CD6-4EAD-8575-B00ECBC8DB39}" type="datetimeFigureOut">
              <a:rPr lang="tr-TR" smtClean="0"/>
              <a:t>15.6.2019</a:t>
            </a:fld>
            <a:endParaRPr lang="tr-TR"/>
          </a:p>
        </p:txBody>
      </p:sp>
      <p:sp>
        <p:nvSpPr>
          <p:cNvPr id="6" name="Altbilgi Yer Tutucusu 5"/>
          <p:cNvSpPr>
            <a:spLocks noGrp="1"/>
          </p:cNvSpPr>
          <p:nvPr>
            <p:ph type="ftr" sz="quarter" idx="11"/>
          </p:nvPr>
        </p:nvSpPr>
        <p:spPr/>
        <p:txBody>
          <a:bodyPr/>
          <a:lstStyle/>
          <a:p>
            <a:endParaRPr lang="tr-TR"/>
          </a:p>
        </p:txBody>
      </p:sp>
      <p:sp>
        <p:nvSpPr>
          <p:cNvPr id="7" name="Slayt Numarası Yer Tutucusu 6"/>
          <p:cNvSpPr>
            <a:spLocks noGrp="1"/>
          </p:cNvSpPr>
          <p:nvPr>
            <p:ph type="sldNum" sz="quarter" idx="12"/>
          </p:nvPr>
        </p:nvSpPr>
        <p:spPr/>
        <p:txBody>
          <a:bodyPr/>
          <a:lstStyle/>
          <a:p>
            <a:fld id="{422D380F-0336-4CD1-AEBD-B01FB383946D}" type="slidenum">
              <a:rPr lang="tr-TR" smtClean="0"/>
              <a:t>‹#›</a:t>
            </a:fld>
            <a:endParaRPr lang="tr-TR"/>
          </a:p>
        </p:txBody>
      </p:sp>
    </p:spTree>
    <p:extLst>
      <p:ext uri="{BB962C8B-B14F-4D97-AF65-F5344CB8AC3E}">
        <p14:creationId xmlns:p14="http://schemas.microsoft.com/office/powerpoint/2010/main" val="18257148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Unvan 1"/>
          <p:cNvSpPr>
            <a:spLocks noGrp="1"/>
          </p:cNvSpPr>
          <p:nvPr>
            <p:ph type="title"/>
          </p:nvPr>
        </p:nvSpPr>
        <p:spPr>
          <a:xfrm>
            <a:off x="839788" y="365125"/>
            <a:ext cx="10515600" cy="1325563"/>
          </a:xfrm>
        </p:spPr>
        <p:txBody>
          <a:bodyPr/>
          <a:lstStyle/>
          <a:p>
            <a:r>
              <a:rPr lang="tr-TR" smtClean="0"/>
              <a:t>Asıl başlık stili için tıklatın</a:t>
            </a:r>
            <a:endParaRPr lang="tr-TR"/>
          </a:p>
        </p:txBody>
      </p:sp>
      <p:sp>
        <p:nvSpPr>
          <p:cNvPr id="3" name="Metin Yer Tutucusu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4" name="İçerik Yer Tutucusu 3"/>
          <p:cNvSpPr>
            <a:spLocks noGrp="1"/>
          </p:cNvSpPr>
          <p:nvPr>
            <p:ph sz="half" idx="2"/>
          </p:nvPr>
        </p:nvSpPr>
        <p:spPr>
          <a:xfrm>
            <a:off x="839788" y="2505075"/>
            <a:ext cx="5157787" cy="3684588"/>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Metin Yer Tutucusu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6" name="İçerik Yer Tutucusu 5"/>
          <p:cNvSpPr>
            <a:spLocks noGrp="1"/>
          </p:cNvSpPr>
          <p:nvPr>
            <p:ph sz="quarter" idx="4"/>
          </p:nvPr>
        </p:nvSpPr>
        <p:spPr>
          <a:xfrm>
            <a:off x="6172200" y="2505075"/>
            <a:ext cx="5183188" cy="3684588"/>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7" name="Veri Yer Tutucusu 6"/>
          <p:cNvSpPr>
            <a:spLocks noGrp="1"/>
          </p:cNvSpPr>
          <p:nvPr>
            <p:ph type="dt" sz="half" idx="10"/>
          </p:nvPr>
        </p:nvSpPr>
        <p:spPr/>
        <p:txBody>
          <a:bodyPr/>
          <a:lstStyle/>
          <a:p>
            <a:fld id="{59381D77-6CD6-4EAD-8575-B00ECBC8DB39}" type="datetimeFigureOut">
              <a:rPr lang="tr-TR" smtClean="0"/>
              <a:t>15.6.2019</a:t>
            </a:fld>
            <a:endParaRPr lang="tr-TR"/>
          </a:p>
        </p:txBody>
      </p:sp>
      <p:sp>
        <p:nvSpPr>
          <p:cNvPr id="8" name="Altbilgi Yer Tutucusu 7"/>
          <p:cNvSpPr>
            <a:spLocks noGrp="1"/>
          </p:cNvSpPr>
          <p:nvPr>
            <p:ph type="ftr" sz="quarter" idx="11"/>
          </p:nvPr>
        </p:nvSpPr>
        <p:spPr/>
        <p:txBody>
          <a:bodyPr/>
          <a:lstStyle/>
          <a:p>
            <a:endParaRPr lang="tr-TR"/>
          </a:p>
        </p:txBody>
      </p:sp>
      <p:sp>
        <p:nvSpPr>
          <p:cNvPr id="9" name="Slayt Numarası Yer Tutucusu 8"/>
          <p:cNvSpPr>
            <a:spLocks noGrp="1"/>
          </p:cNvSpPr>
          <p:nvPr>
            <p:ph type="sldNum" sz="quarter" idx="12"/>
          </p:nvPr>
        </p:nvSpPr>
        <p:spPr/>
        <p:txBody>
          <a:bodyPr/>
          <a:lstStyle/>
          <a:p>
            <a:fld id="{422D380F-0336-4CD1-AEBD-B01FB383946D}" type="slidenum">
              <a:rPr lang="tr-TR" smtClean="0"/>
              <a:t>‹#›</a:t>
            </a:fld>
            <a:endParaRPr lang="tr-TR"/>
          </a:p>
        </p:txBody>
      </p:sp>
    </p:spTree>
    <p:extLst>
      <p:ext uri="{BB962C8B-B14F-4D97-AF65-F5344CB8AC3E}">
        <p14:creationId xmlns:p14="http://schemas.microsoft.com/office/powerpoint/2010/main" val="9146185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smtClean="0"/>
              <a:t>Asıl başlık stili için tıklatın</a:t>
            </a:r>
            <a:endParaRPr lang="tr-TR"/>
          </a:p>
        </p:txBody>
      </p:sp>
      <p:sp>
        <p:nvSpPr>
          <p:cNvPr id="3" name="Veri Yer Tutucusu 2"/>
          <p:cNvSpPr>
            <a:spLocks noGrp="1"/>
          </p:cNvSpPr>
          <p:nvPr>
            <p:ph type="dt" sz="half" idx="10"/>
          </p:nvPr>
        </p:nvSpPr>
        <p:spPr/>
        <p:txBody>
          <a:bodyPr/>
          <a:lstStyle/>
          <a:p>
            <a:fld id="{59381D77-6CD6-4EAD-8575-B00ECBC8DB39}" type="datetimeFigureOut">
              <a:rPr lang="tr-TR" smtClean="0"/>
              <a:t>15.6.2019</a:t>
            </a:fld>
            <a:endParaRPr lang="tr-TR"/>
          </a:p>
        </p:txBody>
      </p:sp>
      <p:sp>
        <p:nvSpPr>
          <p:cNvPr id="4" name="Altbilgi Yer Tutucusu 3"/>
          <p:cNvSpPr>
            <a:spLocks noGrp="1"/>
          </p:cNvSpPr>
          <p:nvPr>
            <p:ph type="ftr" sz="quarter" idx="11"/>
          </p:nvPr>
        </p:nvSpPr>
        <p:spPr/>
        <p:txBody>
          <a:bodyPr/>
          <a:lstStyle/>
          <a:p>
            <a:endParaRPr lang="tr-TR"/>
          </a:p>
        </p:txBody>
      </p:sp>
      <p:sp>
        <p:nvSpPr>
          <p:cNvPr id="5" name="Slayt Numarası Yer Tutucusu 4"/>
          <p:cNvSpPr>
            <a:spLocks noGrp="1"/>
          </p:cNvSpPr>
          <p:nvPr>
            <p:ph type="sldNum" sz="quarter" idx="12"/>
          </p:nvPr>
        </p:nvSpPr>
        <p:spPr/>
        <p:txBody>
          <a:bodyPr/>
          <a:lstStyle/>
          <a:p>
            <a:fld id="{422D380F-0336-4CD1-AEBD-B01FB383946D}" type="slidenum">
              <a:rPr lang="tr-TR" smtClean="0"/>
              <a:t>‹#›</a:t>
            </a:fld>
            <a:endParaRPr lang="tr-TR"/>
          </a:p>
        </p:txBody>
      </p:sp>
    </p:spTree>
    <p:extLst>
      <p:ext uri="{BB962C8B-B14F-4D97-AF65-F5344CB8AC3E}">
        <p14:creationId xmlns:p14="http://schemas.microsoft.com/office/powerpoint/2010/main" val="20354882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Veri Yer Tutucusu 1"/>
          <p:cNvSpPr>
            <a:spLocks noGrp="1"/>
          </p:cNvSpPr>
          <p:nvPr>
            <p:ph type="dt" sz="half" idx="10"/>
          </p:nvPr>
        </p:nvSpPr>
        <p:spPr/>
        <p:txBody>
          <a:bodyPr/>
          <a:lstStyle/>
          <a:p>
            <a:fld id="{59381D77-6CD6-4EAD-8575-B00ECBC8DB39}" type="datetimeFigureOut">
              <a:rPr lang="tr-TR" smtClean="0"/>
              <a:t>15.6.2019</a:t>
            </a:fld>
            <a:endParaRPr lang="tr-TR"/>
          </a:p>
        </p:txBody>
      </p:sp>
      <p:sp>
        <p:nvSpPr>
          <p:cNvPr id="3" name="Altbilgi Yer Tutucusu 2"/>
          <p:cNvSpPr>
            <a:spLocks noGrp="1"/>
          </p:cNvSpPr>
          <p:nvPr>
            <p:ph type="ftr" sz="quarter" idx="11"/>
          </p:nvPr>
        </p:nvSpPr>
        <p:spPr/>
        <p:txBody>
          <a:bodyPr/>
          <a:lstStyle/>
          <a:p>
            <a:endParaRPr lang="tr-TR"/>
          </a:p>
        </p:txBody>
      </p:sp>
      <p:sp>
        <p:nvSpPr>
          <p:cNvPr id="4" name="Slayt Numarası Yer Tutucusu 3"/>
          <p:cNvSpPr>
            <a:spLocks noGrp="1"/>
          </p:cNvSpPr>
          <p:nvPr>
            <p:ph type="sldNum" sz="quarter" idx="12"/>
          </p:nvPr>
        </p:nvSpPr>
        <p:spPr/>
        <p:txBody>
          <a:bodyPr/>
          <a:lstStyle/>
          <a:p>
            <a:fld id="{422D380F-0336-4CD1-AEBD-B01FB383946D}" type="slidenum">
              <a:rPr lang="tr-TR" smtClean="0"/>
              <a:t>‹#›</a:t>
            </a:fld>
            <a:endParaRPr lang="tr-TR"/>
          </a:p>
        </p:txBody>
      </p:sp>
    </p:spTree>
    <p:extLst>
      <p:ext uri="{BB962C8B-B14F-4D97-AF65-F5344CB8AC3E}">
        <p14:creationId xmlns:p14="http://schemas.microsoft.com/office/powerpoint/2010/main" val="23414654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Unvan 1"/>
          <p:cNvSpPr>
            <a:spLocks noGrp="1"/>
          </p:cNvSpPr>
          <p:nvPr>
            <p:ph type="title"/>
          </p:nvPr>
        </p:nvSpPr>
        <p:spPr>
          <a:xfrm>
            <a:off x="839788" y="457200"/>
            <a:ext cx="3932237" cy="1600200"/>
          </a:xfrm>
        </p:spPr>
        <p:txBody>
          <a:bodyPr anchor="b"/>
          <a:lstStyle>
            <a:lvl1pPr>
              <a:defRPr sz="3200"/>
            </a:lvl1pPr>
          </a:lstStyle>
          <a:p>
            <a:r>
              <a:rPr lang="tr-TR" smtClean="0"/>
              <a:t>Asıl başlık stili için tıklatın</a:t>
            </a:r>
            <a:endParaRPr lang="tr-TR"/>
          </a:p>
        </p:txBody>
      </p:sp>
      <p:sp>
        <p:nvSpPr>
          <p:cNvPr id="3" name="İçerik Yer Tutucus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Metin Yer Tutucusu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tr-TR" smtClean="0"/>
              <a:t>Asıl metin stillerini düzenlemek için tıklatın</a:t>
            </a:r>
          </a:p>
        </p:txBody>
      </p:sp>
      <p:sp>
        <p:nvSpPr>
          <p:cNvPr id="5" name="Veri Yer Tutucusu 4"/>
          <p:cNvSpPr>
            <a:spLocks noGrp="1"/>
          </p:cNvSpPr>
          <p:nvPr>
            <p:ph type="dt" sz="half" idx="10"/>
          </p:nvPr>
        </p:nvSpPr>
        <p:spPr/>
        <p:txBody>
          <a:bodyPr/>
          <a:lstStyle/>
          <a:p>
            <a:fld id="{59381D77-6CD6-4EAD-8575-B00ECBC8DB39}" type="datetimeFigureOut">
              <a:rPr lang="tr-TR" smtClean="0"/>
              <a:t>15.6.2019</a:t>
            </a:fld>
            <a:endParaRPr lang="tr-TR"/>
          </a:p>
        </p:txBody>
      </p:sp>
      <p:sp>
        <p:nvSpPr>
          <p:cNvPr id="6" name="Altbilgi Yer Tutucusu 5"/>
          <p:cNvSpPr>
            <a:spLocks noGrp="1"/>
          </p:cNvSpPr>
          <p:nvPr>
            <p:ph type="ftr" sz="quarter" idx="11"/>
          </p:nvPr>
        </p:nvSpPr>
        <p:spPr/>
        <p:txBody>
          <a:bodyPr/>
          <a:lstStyle/>
          <a:p>
            <a:endParaRPr lang="tr-TR"/>
          </a:p>
        </p:txBody>
      </p:sp>
      <p:sp>
        <p:nvSpPr>
          <p:cNvPr id="7" name="Slayt Numarası Yer Tutucusu 6"/>
          <p:cNvSpPr>
            <a:spLocks noGrp="1"/>
          </p:cNvSpPr>
          <p:nvPr>
            <p:ph type="sldNum" sz="quarter" idx="12"/>
          </p:nvPr>
        </p:nvSpPr>
        <p:spPr/>
        <p:txBody>
          <a:bodyPr/>
          <a:lstStyle/>
          <a:p>
            <a:fld id="{422D380F-0336-4CD1-AEBD-B01FB383946D}" type="slidenum">
              <a:rPr lang="tr-TR" smtClean="0"/>
              <a:t>‹#›</a:t>
            </a:fld>
            <a:endParaRPr lang="tr-TR"/>
          </a:p>
        </p:txBody>
      </p:sp>
    </p:spTree>
    <p:extLst>
      <p:ext uri="{BB962C8B-B14F-4D97-AF65-F5344CB8AC3E}">
        <p14:creationId xmlns:p14="http://schemas.microsoft.com/office/powerpoint/2010/main" val="27395441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Unvan 1"/>
          <p:cNvSpPr>
            <a:spLocks noGrp="1"/>
          </p:cNvSpPr>
          <p:nvPr>
            <p:ph type="title"/>
          </p:nvPr>
        </p:nvSpPr>
        <p:spPr>
          <a:xfrm>
            <a:off x="839788" y="457200"/>
            <a:ext cx="3932237" cy="1600200"/>
          </a:xfrm>
        </p:spPr>
        <p:txBody>
          <a:bodyPr anchor="b"/>
          <a:lstStyle>
            <a:lvl1pPr>
              <a:defRPr sz="3200"/>
            </a:lvl1pPr>
          </a:lstStyle>
          <a:p>
            <a:r>
              <a:rPr lang="tr-TR" smtClean="0"/>
              <a:t>Asıl başlık stili için tıklatın</a:t>
            </a:r>
            <a:endParaRPr lang="tr-TR"/>
          </a:p>
        </p:txBody>
      </p:sp>
      <p:sp>
        <p:nvSpPr>
          <p:cNvPr id="3" name="Resim Yer Tutucusu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tr-TR"/>
          </a:p>
        </p:txBody>
      </p:sp>
      <p:sp>
        <p:nvSpPr>
          <p:cNvPr id="4" name="Metin Yer Tutucusu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tr-TR" smtClean="0"/>
              <a:t>Asıl metin stillerini düzenlemek için tıklatın</a:t>
            </a:r>
          </a:p>
        </p:txBody>
      </p:sp>
      <p:sp>
        <p:nvSpPr>
          <p:cNvPr id="5" name="Veri Yer Tutucusu 4"/>
          <p:cNvSpPr>
            <a:spLocks noGrp="1"/>
          </p:cNvSpPr>
          <p:nvPr>
            <p:ph type="dt" sz="half" idx="10"/>
          </p:nvPr>
        </p:nvSpPr>
        <p:spPr/>
        <p:txBody>
          <a:bodyPr/>
          <a:lstStyle/>
          <a:p>
            <a:fld id="{59381D77-6CD6-4EAD-8575-B00ECBC8DB39}" type="datetimeFigureOut">
              <a:rPr lang="tr-TR" smtClean="0"/>
              <a:t>15.6.2019</a:t>
            </a:fld>
            <a:endParaRPr lang="tr-TR"/>
          </a:p>
        </p:txBody>
      </p:sp>
      <p:sp>
        <p:nvSpPr>
          <p:cNvPr id="6" name="Altbilgi Yer Tutucusu 5"/>
          <p:cNvSpPr>
            <a:spLocks noGrp="1"/>
          </p:cNvSpPr>
          <p:nvPr>
            <p:ph type="ftr" sz="quarter" idx="11"/>
          </p:nvPr>
        </p:nvSpPr>
        <p:spPr/>
        <p:txBody>
          <a:bodyPr/>
          <a:lstStyle/>
          <a:p>
            <a:endParaRPr lang="tr-TR"/>
          </a:p>
        </p:txBody>
      </p:sp>
      <p:sp>
        <p:nvSpPr>
          <p:cNvPr id="7" name="Slayt Numarası Yer Tutucusu 6"/>
          <p:cNvSpPr>
            <a:spLocks noGrp="1"/>
          </p:cNvSpPr>
          <p:nvPr>
            <p:ph type="sldNum" sz="quarter" idx="12"/>
          </p:nvPr>
        </p:nvSpPr>
        <p:spPr/>
        <p:txBody>
          <a:bodyPr/>
          <a:lstStyle/>
          <a:p>
            <a:fld id="{422D380F-0336-4CD1-AEBD-B01FB383946D}" type="slidenum">
              <a:rPr lang="tr-TR" smtClean="0"/>
              <a:t>‹#›</a:t>
            </a:fld>
            <a:endParaRPr lang="tr-TR"/>
          </a:p>
        </p:txBody>
      </p:sp>
    </p:spTree>
    <p:extLst>
      <p:ext uri="{BB962C8B-B14F-4D97-AF65-F5344CB8AC3E}">
        <p14:creationId xmlns:p14="http://schemas.microsoft.com/office/powerpoint/2010/main" val="20593076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Başlık Yer Tutucusu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tr-TR" smtClean="0"/>
              <a:t>Asıl başlık stili için tıklatın</a:t>
            </a:r>
            <a:endParaRPr lang="tr-TR"/>
          </a:p>
        </p:txBody>
      </p:sp>
      <p:sp>
        <p:nvSpPr>
          <p:cNvPr id="3" name="Metin Yer Tutucusu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Veri Yer Tutucusu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9381D77-6CD6-4EAD-8575-B00ECBC8DB39}" type="datetimeFigureOut">
              <a:rPr lang="tr-TR" smtClean="0"/>
              <a:t>15.6.2019</a:t>
            </a:fld>
            <a:endParaRPr lang="tr-TR"/>
          </a:p>
        </p:txBody>
      </p:sp>
      <p:sp>
        <p:nvSpPr>
          <p:cNvPr id="5" name="Altbilgi Yer Tutucusu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tr-TR"/>
          </a:p>
        </p:txBody>
      </p:sp>
      <p:sp>
        <p:nvSpPr>
          <p:cNvPr id="6" name="Slayt Numarası Yer Tutucusu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22D380F-0336-4CD1-AEBD-B01FB383946D}" type="slidenum">
              <a:rPr lang="tr-TR" smtClean="0"/>
              <a:t>‹#›</a:t>
            </a:fld>
            <a:endParaRPr lang="tr-TR"/>
          </a:p>
        </p:txBody>
      </p:sp>
    </p:spTree>
    <p:extLst>
      <p:ext uri="{BB962C8B-B14F-4D97-AF65-F5344CB8AC3E}">
        <p14:creationId xmlns:p14="http://schemas.microsoft.com/office/powerpoint/2010/main" val="352139330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4" r:id="rId14"/>
    <p:sldLayoutId id="2147483665" r:id="rId15"/>
    <p:sldLayoutId id="2147483667" r:id="rId16"/>
    <p:sldLayoutId id="2147483668"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2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2.xml"/><Relationship Id="rId5" Type="http://schemas.openxmlformats.org/officeDocument/2006/relationships/image" Target="../media/image6.jpeg"/><Relationship Id="rId4" Type="http://schemas.openxmlformats.org/officeDocument/2006/relationships/image" Target="../media/image5.jpeg"/></Relationships>
</file>

<file path=ppt/slides/_rels/slide2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13.xml"/><Relationship Id="rId5" Type="http://schemas.openxmlformats.org/officeDocument/2006/relationships/image" Target="../media/image8.jpeg"/><Relationship Id="rId4" Type="http://schemas.openxmlformats.org/officeDocument/2006/relationships/image" Target="../media/image7.jpeg"/></Relationships>
</file>

<file path=ppt/slides/_rels/slide2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12.xml"/><Relationship Id="rId5" Type="http://schemas.openxmlformats.org/officeDocument/2006/relationships/image" Target="../media/image11.jpeg"/><Relationship Id="rId4" Type="http://schemas.openxmlformats.org/officeDocument/2006/relationships/image" Target="../media/image10.jpeg"/></Relationships>
</file>

<file path=ppt/slides/_rels/slide2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12.jpeg"/></Relationships>
</file>

<file path=ppt/slides/_rels/slide2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7.xml"/><Relationship Id="rId1" Type="http://schemas.openxmlformats.org/officeDocument/2006/relationships/slideLayout" Target="../slideLayouts/slideLayout16.xml"/><Relationship Id="rId4" Type="http://schemas.openxmlformats.org/officeDocument/2006/relationships/image" Target="../media/image16.png"/></Relationships>
</file>

<file path=ppt/slides/_rels/slide3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png"/><Relationship Id="rId1" Type="http://schemas.openxmlformats.org/officeDocument/2006/relationships/slideLayout" Target="../slideLayouts/slideLayout17.xml"/><Relationship Id="rId4" Type="http://schemas.openxmlformats.org/officeDocument/2006/relationships/image" Target="../media/image18.jpeg"/></Relationships>
</file>

<file path=ppt/slides/_rels/slide3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7.png"/><Relationship Id="rId1" Type="http://schemas.openxmlformats.org/officeDocument/2006/relationships/slideLayout" Target="../slideLayouts/slideLayout17.xml"/><Relationship Id="rId5" Type="http://schemas.openxmlformats.org/officeDocument/2006/relationships/image" Target="../media/image21.jpeg"/><Relationship Id="rId4" Type="http://schemas.openxmlformats.org/officeDocument/2006/relationships/image" Target="../media/image20.jpeg"/></Relationships>
</file>

<file path=ppt/slides/_rels/slide3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7.png"/><Relationship Id="rId1" Type="http://schemas.openxmlformats.org/officeDocument/2006/relationships/slideLayout" Target="../slideLayouts/slideLayout17.xml"/><Relationship Id="rId5" Type="http://schemas.openxmlformats.org/officeDocument/2006/relationships/image" Target="../media/image24.jpeg"/><Relationship Id="rId4" Type="http://schemas.openxmlformats.org/officeDocument/2006/relationships/image" Target="../media/image23.jpeg"/></Relationships>
</file>

<file path=ppt/slides/_rels/slide3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17.xml"/><Relationship Id="rId4" Type="http://schemas.openxmlformats.org/officeDocument/2006/relationships/image" Target="../media/image28.png"/></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30.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9.emf"/><Relationship Id="rId5" Type="http://schemas.openxmlformats.org/officeDocument/2006/relationships/oleObject" Target="../embeddings/oleObject1.bin"/><Relationship Id="rId4" Type="http://schemas.openxmlformats.org/officeDocument/2006/relationships/notesSlide" Target="../notesSlides/notesSlide11.xml"/></Relationships>
</file>

<file path=ppt/slides/_rels/slide38.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slideLayout" Target="../slideLayouts/slideLayout7.xml"/><Relationship Id="rId7" Type="http://schemas.openxmlformats.org/officeDocument/2006/relationships/image" Target="../media/image31.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9.emf"/><Relationship Id="rId5" Type="http://schemas.openxmlformats.org/officeDocument/2006/relationships/oleObject" Target="../embeddings/oleObject2.bin"/><Relationship Id="rId4" Type="http://schemas.openxmlformats.org/officeDocument/2006/relationships/notesSlide" Target="../notesSlides/notesSlide12.xml"/><Relationship Id="rId9" Type="http://schemas.openxmlformats.org/officeDocument/2006/relationships/image" Target="../media/image33.png"/></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34.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9.emf"/><Relationship Id="rId5" Type="http://schemas.openxmlformats.org/officeDocument/2006/relationships/oleObject" Target="../embeddings/oleObject3.bin"/><Relationship Id="rId4" Type="http://schemas.openxmlformats.org/officeDocument/2006/relationships/notesSlide" Target="../notesSlides/notesSlide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ctrTitle"/>
          </p:nvPr>
        </p:nvSpPr>
        <p:spPr>
          <a:xfrm>
            <a:off x="1366982" y="1140835"/>
            <a:ext cx="9596582" cy="2387600"/>
          </a:xfrm>
        </p:spPr>
        <p:txBody>
          <a:bodyPr>
            <a:normAutofit fontScale="90000"/>
          </a:bodyPr>
          <a:lstStyle/>
          <a:p>
            <a:r>
              <a:rPr lang="tr-TR" dirty="0" err="1" smtClean="0"/>
              <a:t>The</a:t>
            </a:r>
            <a:r>
              <a:rPr lang="tr-TR" smtClean="0"/>
              <a:t> </a:t>
            </a:r>
            <a:r>
              <a:rPr lang="en-US" smtClean="0"/>
              <a:t>New </a:t>
            </a:r>
            <a:r>
              <a:rPr lang="en-US" dirty="0" smtClean="0"/>
              <a:t>Age Financial Intermediation</a:t>
            </a:r>
            <a:br>
              <a:rPr lang="en-US" dirty="0" smtClean="0"/>
            </a:br>
            <a:r>
              <a:rPr lang="en-US" dirty="0" smtClean="0"/>
              <a:t>and Islamic Fintech</a:t>
            </a:r>
            <a:endParaRPr lang="en-US" dirty="0"/>
          </a:p>
        </p:txBody>
      </p:sp>
      <p:sp>
        <p:nvSpPr>
          <p:cNvPr id="3" name="Alt Başlık 2"/>
          <p:cNvSpPr>
            <a:spLocks noGrp="1"/>
          </p:cNvSpPr>
          <p:nvPr>
            <p:ph type="subTitle" idx="1"/>
          </p:nvPr>
        </p:nvSpPr>
        <p:spPr/>
        <p:txBody>
          <a:bodyPr>
            <a:normAutofit fontScale="77500" lnSpcReduction="20000"/>
          </a:bodyPr>
          <a:lstStyle/>
          <a:p>
            <a:r>
              <a:rPr lang="en-US" dirty="0" smtClean="0"/>
              <a:t>Assoc. Prof. Yusuf DINC</a:t>
            </a:r>
          </a:p>
          <a:p>
            <a:r>
              <a:rPr lang="en-US" dirty="0" smtClean="0"/>
              <a:t>Istanbul </a:t>
            </a:r>
            <a:r>
              <a:rPr lang="en-US" dirty="0" err="1" smtClean="0"/>
              <a:t>Zaim</a:t>
            </a:r>
            <a:r>
              <a:rPr lang="en-US" dirty="0" smtClean="0"/>
              <a:t> University</a:t>
            </a:r>
            <a:endParaRPr lang="tr-TR" dirty="0" smtClean="0"/>
          </a:p>
          <a:p>
            <a:endParaRPr lang="tr-TR" dirty="0"/>
          </a:p>
          <a:p>
            <a:endParaRPr lang="tr-TR" dirty="0" smtClean="0"/>
          </a:p>
          <a:p>
            <a:r>
              <a:rPr lang="en-US" dirty="0" smtClean="0"/>
              <a:t>Case </a:t>
            </a:r>
            <a:r>
              <a:rPr lang="en-US" dirty="0" err="1" smtClean="0"/>
              <a:t>Study:Europe’s</a:t>
            </a:r>
            <a:r>
              <a:rPr lang="en-US" dirty="0" smtClean="0"/>
              <a:t> first fully-fledged Islamic digital bank!</a:t>
            </a:r>
          </a:p>
          <a:p>
            <a:endParaRPr lang="en-US" dirty="0"/>
          </a:p>
        </p:txBody>
      </p:sp>
    </p:spTree>
    <p:extLst>
      <p:ext uri="{BB962C8B-B14F-4D97-AF65-F5344CB8AC3E}">
        <p14:creationId xmlns:p14="http://schemas.microsoft.com/office/powerpoint/2010/main" val="10548132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en-US" dirty="0"/>
              <a:t>What else we are expecting?</a:t>
            </a:r>
            <a:endParaRPr lang="tr-TR" dirty="0"/>
          </a:p>
        </p:txBody>
      </p:sp>
      <p:sp>
        <p:nvSpPr>
          <p:cNvPr id="3" name="İçerik Yer Tutucusu 2"/>
          <p:cNvSpPr>
            <a:spLocks noGrp="1"/>
          </p:cNvSpPr>
          <p:nvPr>
            <p:ph idx="1"/>
          </p:nvPr>
        </p:nvSpPr>
        <p:spPr/>
        <p:txBody>
          <a:bodyPr>
            <a:normAutofit/>
          </a:bodyPr>
          <a:lstStyle/>
          <a:p>
            <a:pPr lvl="0"/>
            <a:r>
              <a:rPr lang="en-US" dirty="0"/>
              <a:t>E-check</a:t>
            </a:r>
            <a:endParaRPr lang="tr-TR" dirty="0"/>
          </a:p>
          <a:p>
            <a:pPr lvl="0"/>
            <a:r>
              <a:rPr lang="en-US" dirty="0"/>
              <a:t>Common use of E-cards</a:t>
            </a:r>
            <a:endParaRPr lang="tr-TR" dirty="0"/>
          </a:p>
          <a:p>
            <a:pPr lvl="0"/>
            <a:r>
              <a:rPr lang="en-US" dirty="0"/>
              <a:t>E-POS</a:t>
            </a:r>
            <a:endParaRPr lang="tr-TR" dirty="0"/>
          </a:p>
          <a:p>
            <a:pPr lvl="0"/>
            <a:r>
              <a:rPr lang="en-US" dirty="0"/>
              <a:t>Common use of Temporary check/card</a:t>
            </a:r>
            <a:endParaRPr lang="tr-TR" dirty="0"/>
          </a:p>
        </p:txBody>
      </p:sp>
    </p:spTree>
    <p:extLst>
      <p:ext uri="{BB962C8B-B14F-4D97-AF65-F5344CB8AC3E}">
        <p14:creationId xmlns:p14="http://schemas.microsoft.com/office/powerpoint/2010/main" val="146698609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en-US" dirty="0"/>
              <a:t>Cost Reduction</a:t>
            </a:r>
            <a:endParaRPr lang="tr-TR" dirty="0"/>
          </a:p>
        </p:txBody>
      </p:sp>
      <p:sp>
        <p:nvSpPr>
          <p:cNvPr id="3" name="İçerik Yer Tutucusu 2"/>
          <p:cNvSpPr>
            <a:spLocks noGrp="1"/>
          </p:cNvSpPr>
          <p:nvPr>
            <p:ph idx="1"/>
          </p:nvPr>
        </p:nvSpPr>
        <p:spPr/>
        <p:txBody>
          <a:bodyPr/>
          <a:lstStyle/>
          <a:p>
            <a:pPr lvl="0" algn="just"/>
            <a:r>
              <a:rPr lang="en-US" dirty="0" smtClean="0"/>
              <a:t>Since the new age banking is cost efficient, its products need to be categorized under cost reducing products.</a:t>
            </a:r>
          </a:p>
          <a:p>
            <a:pPr lvl="0" algn="just"/>
            <a:r>
              <a:rPr lang="en-US" dirty="0" smtClean="0"/>
              <a:t>Although capital need for these services is comparatively low for many mid-scale software developers the new age financial products are under banking monopoly in many economies.</a:t>
            </a:r>
          </a:p>
          <a:p>
            <a:pPr lvl="0" algn="just"/>
            <a:r>
              <a:rPr lang="en-US" dirty="0" smtClean="0"/>
              <a:t>Besides its cost reduction effect banks are charging fees for their new age financial products. Thus they generated income as well.</a:t>
            </a:r>
          </a:p>
          <a:p>
            <a:pPr lvl="0" algn="just"/>
            <a:r>
              <a:rPr lang="en-US" dirty="0" smtClean="0"/>
              <a:t>The most important futuristic advantage of being bank is the opportunity to offer the new age financial services and products.</a:t>
            </a:r>
            <a:endParaRPr lang="en-US" dirty="0"/>
          </a:p>
        </p:txBody>
      </p:sp>
    </p:spTree>
    <p:extLst>
      <p:ext uri="{BB962C8B-B14F-4D97-AF65-F5344CB8AC3E}">
        <p14:creationId xmlns:p14="http://schemas.microsoft.com/office/powerpoint/2010/main" val="21453148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dirty="0"/>
              <a:t>Web-site/Application</a:t>
            </a:r>
          </a:p>
        </p:txBody>
      </p:sp>
      <p:sp>
        <p:nvSpPr>
          <p:cNvPr id="3" name="İçerik Yer Tutucusu 2"/>
          <p:cNvSpPr>
            <a:spLocks noGrp="1"/>
          </p:cNvSpPr>
          <p:nvPr>
            <p:ph idx="1"/>
          </p:nvPr>
        </p:nvSpPr>
        <p:spPr/>
        <p:txBody>
          <a:bodyPr/>
          <a:lstStyle/>
          <a:p>
            <a:pPr lvl="0" algn="just"/>
            <a:r>
              <a:rPr lang="en-US" smtClean="0"/>
              <a:t>A bank is nothing more than a main banking software and an organizational chart.</a:t>
            </a:r>
          </a:p>
          <a:p>
            <a:pPr lvl="0" algn="just"/>
            <a:r>
              <a:rPr lang="en-US" dirty="0" smtClean="0"/>
              <a:t>The total cost for banking investments for Turkey is more than 100 billion USD.</a:t>
            </a:r>
          </a:p>
          <a:p>
            <a:pPr lvl="0" algn="just"/>
            <a:r>
              <a:rPr lang="en-US" dirty="0" smtClean="0"/>
              <a:t>With the new age banking banks reaches the optimum size in accessibility. Every individual in the World becomes potential customer and access center with a web-site or application.</a:t>
            </a:r>
          </a:p>
          <a:p>
            <a:pPr lvl="0" algn="just"/>
            <a:r>
              <a:rPr lang="en-US" dirty="0" smtClean="0"/>
              <a:t>In the near future, the value of the banks will be calculated based on the number of registered users like social media companies.</a:t>
            </a:r>
            <a:endParaRPr lang="en-US" dirty="0"/>
          </a:p>
        </p:txBody>
      </p:sp>
    </p:spTree>
    <p:extLst>
      <p:ext uri="{BB962C8B-B14F-4D97-AF65-F5344CB8AC3E}">
        <p14:creationId xmlns:p14="http://schemas.microsoft.com/office/powerpoint/2010/main" val="420361623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en-US" dirty="0"/>
              <a:t>Competition</a:t>
            </a:r>
            <a:endParaRPr lang="tr-TR" dirty="0"/>
          </a:p>
        </p:txBody>
      </p:sp>
      <p:sp>
        <p:nvSpPr>
          <p:cNvPr id="3" name="İçerik Yer Tutucusu 2"/>
          <p:cNvSpPr>
            <a:spLocks noGrp="1"/>
          </p:cNvSpPr>
          <p:nvPr>
            <p:ph idx="1"/>
          </p:nvPr>
        </p:nvSpPr>
        <p:spPr/>
        <p:txBody>
          <a:bodyPr>
            <a:normAutofit fontScale="92500" lnSpcReduction="20000"/>
          </a:bodyPr>
          <a:lstStyle/>
          <a:p>
            <a:pPr lvl="0" algn="just"/>
            <a:r>
              <a:rPr lang="en-US" dirty="0" smtClean="0"/>
              <a:t>Competition will concentrate on the new age banking products and services</a:t>
            </a:r>
          </a:p>
          <a:p>
            <a:pPr lvl="0" algn="just"/>
            <a:r>
              <a:rPr lang="en-US" dirty="0" smtClean="0"/>
              <a:t>And the trend will follow cost efficiency and alternative distribution channels for the following years in short-term.</a:t>
            </a:r>
          </a:p>
          <a:p>
            <a:pPr lvl="0" algn="just"/>
            <a:r>
              <a:rPr lang="en-US" dirty="0" smtClean="0"/>
              <a:t>In long term with the abolishing of fiat currency, the new age banking will find its new route.</a:t>
            </a:r>
          </a:p>
          <a:p>
            <a:pPr lvl="1" algn="just"/>
            <a:r>
              <a:rPr lang="en-US" dirty="0" smtClean="0"/>
              <a:t>Cashiers and branches will be removed from the system/micro braches or regional large branches may emerge</a:t>
            </a:r>
          </a:p>
          <a:p>
            <a:pPr lvl="1" algn="just"/>
            <a:r>
              <a:rPr lang="en-US" dirty="0" smtClean="0"/>
              <a:t>Physical security cost will be removed and cyber security will be highly demanded </a:t>
            </a:r>
          </a:p>
          <a:p>
            <a:pPr lvl="1" algn="just"/>
            <a:r>
              <a:rPr lang="en-US" dirty="0" smtClean="0"/>
              <a:t>High insurance cost etc. for branches will be removed</a:t>
            </a:r>
          </a:p>
          <a:p>
            <a:pPr lvl="1" algn="just"/>
            <a:r>
              <a:rPr lang="en-US" dirty="0" smtClean="0"/>
              <a:t>Artificial intelligence will hold 70% of the current tasks according to the reports</a:t>
            </a:r>
          </a:p>
          <a:p>
            <a:pPr lvl="1" algn="just"/>
            <a:r>
              <a:rPr lang="en-US" dirty="0" smtClean="0"/>
              <a:t>Personnel expenses will decrease</a:t>
            </a:r>
          </a:p>
          <a:p>
            <a:pPr lvl="1" algn="just"/>
            <a:r>
              <a:rPr lang="en-US" dirty="0" smtClean="0"/>
              <a:t>New competitors will emerge</a:t>
            </a:r>
          </a:p>
          <a:p>
            <a:pPr lvl="1" algn="just"/>
            <a:r>
              <a:rPr lang="en-US" dirty="0" smtClean="0"/>
              <a:t>Credit intelligence products will be demanded by</a:t>
            </a:r>
            <a:r>
              <a:rPr lang="tr-TR" smtClean="0"/>
              <a:t> the</a:t>
            </a:r>
            <a:r>
              <a:rPr lang="en-US" smtClean="0"/>
              <a:t> real sector </a:t>
            </a:r>
            <a:r>
              <a:rPr lang="en-US" dirty="0" smtClean="0"/>
              <a:t>as well</a:t>
            </a:r>
          </a:p>
          <a:p>
            <a:pPr lvl="1" algn="just"/>
            <a:endParaRPr lang="en-US" dirty="0"/>
          </a:p>
        </p:txBody>
      </p:sp>
    </p:spTree>
    <p:extLst>
      <p:ext uri="{BB962C8B-B14F-4D97-AF65-F5344CB8AC3E}">
        <p14:creationId xmlns:p14="http://schemas.microsoft.com/office/powerpoint/2010/main" val="144130878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en-US" dirty="0"/>
              <a:t>What else we are expecting?</a:t>
            </a:r>
            <a:endParaRPr lang="tr-TR" dirty="0"/>
          </a:p>
        </p:txBody>
      </p:sp>
      <p:sp>
        <p:nvSpPr>
          <p:cNvPr id="3" name="İçerik Yer Tutucusu 2"/>
          <p:cNvSpPr>
            <a:spLocks noGrp="1"/>
          </p:cNvSpPr>
          <p:nvPr>
            <p:ph idx="1"/>
          </p:nvPr>
        </p:nvSpPr>
        <p:spPr/>
        <p:txBody>
          <a:bodyPr>
            <a:normAutofit fontScale="92500" lnSpcReduction="10000"/>
          </a:bodyPr>
          <a:lstStyle/>
          <a:p>
            <a:pPr lvl="0" algn="just"/>
            <a:r>
              <a:rPr lang="en-US" dirty="0"/>
              <a:t>Optimum transparency in economy</a:t>
            </a:r>
            <a:endParaRPr lang="tr-TR" dirty="0"/>
          </a:p>
          <a:p>
            <a:pPr lvl="0" algn="just"/>
            <a:r>
              <a:rPr lang="en-US" dirty="0"/>
              <a:t>Easy and fast intermediation process</a:t>
            </a:r>
            <a:endParaRPr lang="tr-TR" dirty="0"/>
          </a:p>
          <a:p>
            <a:pPr lvl="0" algn="just"/>
            <a:r>
              <a:rPr lang="en-US" dirty="0"/>
              <a:t>Information «symmetry» problems</a:t>
            </a:r>
            <a:endParaRPr lang="tr-TR" dirty="0"/>
          </a:p>
          <a:p>
            <a:pPr lvl="0" algn="just"/>
            <a:r>
              <a:rPr lang="en-US" dirty="0"/>
              <a:t>Increasing monopoly in real </a:t>
            </a:r>
            <a:r>
              <a:rPr lang="en-US" dirty="0" smtClean="0"/>
              <a:t>sector</a:t>
            </a:r>
            <a:endParaRPr lang="tr-TR" dirty="0"/>
          </a:p>
          <a:p>
            <a:pPr lvl="1" algn="just"/>
            <a:r>
              <a:rPr lang="en-US" dirty="0" smtClean="0"/>
              <a:t>Increasing volume</a:t>
            </a:r>
            <a:endParaRPr lang="tr-TR" dirty="0" smtClean="0"/>
          </a:p>
          <a:p>
            <a:pPr lvl="1" algn="just"/>
            <a:r>
              <a:rPr lang="en-US" dirty="0" smtClean="0"/>
              <a:t>Decreasing </a:t>
            </a:r>
            <a:r>
              <a:rPr lang="en-US" dirty="0"/>
              <a:t>risk </a:t>
            </a:r>
            <a:r>
              <a:rPr lang="en-US" dirty="0" smtClean="0"/>
              <a:t>base</a:t>
            </a:r>
            <a:endParaRPr lang="tr-TR" dirty="0"/>
          </a:p>
          <a:p>
            <a:pPr lvl="1" algn="just"/>
            <a:r>
              <a:rPr lang="en-US" dirty="0" smtClean="0"/>
              <a:t>Increasing </a:t>
            </a:r>
            <a:r>
              <a:rPr lang="en-US" dirty="0"/>
              <a:t>share of retail </a:t>
            </a:r>
            <a:r>
              <a:rPr lang="en-US" dirty="0" smtClean="0"/>
              <a:t>banking</a:t>
            </a:r>
            <a:endParaRPr lang="tr-TR" dirty="0"/>
          </a:p>
          <a:p>
            <a:pPr lvl="0" algn="just"/>
            <a:r>
              <a:rPr lang="en-US" sz="2800" dirty="0" smtClean="0"/>
              <a:t>Increasing </a:t>
            </a:r>
            <a:r>
              <a:rPr lang="en-US" sz="2800" dirty="0"/>
              <a:t>fund </a:t>
            </a:r>
            <a:r>
              <a:rPr lang="en-US" sz="2800" dirty="0" smtClean="0"/>
              <a:t>stock</a:t>
            </a:r>
            <a:endParaRPr lang="tr-TR" dirty="0"/>
          </a:p>
          <a:p>
            <a:pPr lvl="1" algn="just"/>
            <a:r>
              <a:rPr lang="en-US" smtClean="0"/>
              <a:t>Alternative competitors</a:t>
            </a:r>
            <a:r>
              <a:rPr lang="tr-TR" smtClean="0"/>
              <a:t> (non-bank)</a:t>
            </a:r>
            <a:endParaRPr lang="tr-TR" dirty="0"/>
          </a:p>
          <a:p>
            <a:pPr lvl="1" algn="just"/>
            <a:r>
              <a:rPr lang="en-US" dirty="0" smtClean="0"/>
              <a:t>Increasing </a:t>
            </a:r>
            <a:r>
              <a:rPr lang="en-US" dirty="0"/>
              <a:t>shadow banking </a:t>
            </a:r>
            <a:r>
              <a:rPr lang="en-US" dirty="0" smtClean="0"/>
              <a:t>share</a:t>
            </a:r>
            <a:endParaRPr lang="tr-TR" dirty="0"/>
          </a:p>
          <a:p>
            <a:pPr lvl="1" algn="just"/>
            <a:r>
              <a:rPr lang="tr-TR" dirty="0" err="1" smtClean="0"/>
              <a:t>Crypto</a:t>
            </a:r>
            <a:r>
              <a:rPr lang="tr-TR" dirty="0" smtClean="0"/>
              <a:t> </a:t>
            </a:r>
            <a:r>
              <a:rPr lang="tr-TR" dirty="0" err="1" smtClean="0"/>
              <a:t>banks</a:t>
            </a:r>
            <a:r>
              <a:rPr lang="tr-TR" dirty="0" smtClean="0"/>
              <a:t> (</a:t>
            </a:r>
            <a:r>
              <a:rPr lang="tr-TR" dirty="0" err="1" smtClean="0"/>
              <a:t>stocks</a:t>
            </a:r>
            <a:r>
              <a:rPr lang="tr-TR" dirty="0" smtClean="0"/>
              <a:t>): (</a:t>
            </a:r>
            <a:r>
              <a:rPr lang="tr-TR" dirty="0" err="1" smtClean="0"/>
              <a:t>increasing</a:t>
            </a:r>
            <a:r>
              <a:rPr lang="tr-TR" dirty="0" smtClean="0"/>
              <a:t> </a:t>
            </a:r>
            <a:r>
              <a:rPr lang="tr-TR" dirty="0" err="1" smtClean="0"/>
              <a:t>crypto</a:t>
            </a:r>
            <a:r>
              <a:rPr lang="tr-TR" dirty="0" smtClean="0"/>
              <a:t> </a:t>
            </a:r>
            <a:r>
              <a:rPr lang="tr-TR" dirty="0" err="1" smtClean="0"/>
              <a:t>literacy</a:t>
            </a:r>
            <a:r>
              <a:rPr lang="tr-TR" dirty="0" smtClean="0"/>
              <a:t> (</a:t>
            </a:r>
            <a:r>
              <a:rPr lang="tr-TR" dirty="0" err="1" smtClean="0"/>
              <a:t>what</a:t>
            </a:r>
            <a:r>
              <a:rPr lang="tr-TR" dirty="0" smtClean="0"/>
              <a:t> </a:t>
            </a:r>
            <a:r>
              <a:rPr lang="tr-TR" dirty="0" err="1" smtClean="0"/>
              <a:t>causes</a:t>
            </a:r>
            <a:r>
              <a:rPr lang="tr-TR" dirty="0" smtClean="0"/>
              <a:t>?))</a:t>
            </a:r>
          </a:p>
        </p:txBody>
      </p:sp>
    </p:spTree>
    <p:extLst>
      <p:ext uri="{BB962C8B-B14F-4D97-AF65-F5344CB8AC3E}">
        <p14:creationId xmlns:p14="http://schemas.microsoft.com/office/powerpoint/2010/main" val="195206268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en-US" dirty="0"/>
              <a:t>Case </a:t>
            </a:r>
            <a:r>
              <a:rPr lang="en-US" dirty="0" smtClean="0"/>
              <a:t>Stud</a:t>
            </a:r>
            <a:r>
              <a:rPr lang="tr-TR" dirty="0" smtClean="0"/>
              <a:t>y</a:t>
            </a:r>
            <a:endParaRPr lang="tr-TR" dirty="0"/>
          </a:p>
        </p:txBody>
      </p:sp>
      <p:sp>
        <p:nvSpPr>
          <p:cNvPr id="3" name="İçerik Yer Tutucusu 2"/>
          <p:cNvSpPr>
            <a:spLocks noGrp="1"/>
          </p:cNvSpPr>
          <p:nvPr>
            <p:ph idx="1"/>
          </p:nvPr>
        </p:nvSpPr>
        <p:spPr>
          <a:xfrm>
            <a:off x="838200" y="1834678"/>
            <a:ext cx="10515600" cy="4351338"/>
          </a:xfrm>
        </p:spPr>
        <p:txBody>
          <a:bodyPr>
            <a:normAutofit lnSpcReduction="10000"/>
          </a:bodyPr>
          <a:lstStyle/>
          <a:p>
            <a:pPr lvl="0" algn="just"/>
            <a:r>
              <a:rPr lang="en-US" dirty="0" err="1"/>
              <a:t>Insha</a:t>
            </a:r>
            <a:r>
              <a:rPr lang="en-US" dirty="0"/>
              <a:t>: The First European Digital Islamic </a:t>
            </a:r>
            <a:r>
              <a:rPr lang="en-US" dirty="0" smtClean="0"/>
              <a:t>Bank</a:t>
            </a:r>
            <a:endParaRPr lang="tr-TR" dirty="0" smtClean="0"/>
          </a:p>
          <a:p>
            <a:pPr lvl="0" algn="just"/>
            <a:endParaRPr lang="tr-TR" dirty="0"/>
          </a:p>
          <a:p>
            <a:pPr lvl="0" algn="just"/>
            <a:r>
              <a:rPr lang="en-US" dirty="0" smtClean="0"/>
              <a:t>Many would be quick to assert that Islamic digital banks would be the answer to raising financial inclusion of global Muslims, but very few have translated the concept of a fully-fledged digital bank into reality in the Islamic space. </a:t>
            </a:r>
          </a:p>
          <a:p>
            <a:pPr lvl="0" algn="just"/>
            <a:r>
              <a:rPr lang="en-US" dirty="0" smtClean="0"/>
              <a:t>An </a:t>
            </a:r>
            <a:r>
              <a:rPr lang="en-US" dirty="0" err="1" smtClean="0"/>
              <a:t>AlBaraka</a:t>
            </a:r>
            <a:r>
              <a:rPr lang="en-US" dirty="0" smtClean="0"/>
              <a:t> Turk initiative, the digital bank has been built on Berlin’s </a:t>
            </a:r>
            <a:r>
              <a:rPr lang="en-US" dirty="0" err="1" smtClean="0"/>
              <a:t>SolarisBank’s</a:t>
            </a:r>
            <a:r>
              <a:rPr lang="en-US" dirty="0" smtClean="0"/>
              <a:t> open banking platform and it is Europe’s first digital-only bank offering customers in Germany </a:t>
            </a:r>
            <a:r>
              <a:rPr lang="en-US" dirty="0" err="1" smtClean="0"/>
              <a:t>Shariah</a:t>
            </a:r>
            <a:r>
              <a:rPr lang="en-US" dirty="0" smtClean="0"/>
              <a:t> compliant services such as debit card, banking account, and money transfer to nations in the Single Euro Payments Area and Turkey. </a:t>
            </a:r>
            <a:endParaRPr lang="en-US" dirty="0"/>
          </a:p>
        </p:txBody>
      </p:sp>
    </p:spTree>
    <p:extLst>
      <p:ext uri="{BB962C8B-B14F-4D97-AF65-F5344CB8AC3E}">
        <p14:creationId xmlns:p14="http://schemas.microsoft.com/office/powerpoint/2010/main" val="207235271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en-US" dirty="0"/>
              <a:t>Case </a:t>
            </a:r>
            <a:r>
              <a:rPr lang="en-US" dirty="0" smtClean="0"/>
              <a:t>Stud</a:t>
            </a:r>
            <a:r>
              <a:rPr lang="tr-TR" dirty="0" smtClean="0"/>
              <a:t>y</a:t>
            </a:r>
            <a:endParaRPr lang="tr-TR" dirty="0"/>
          </a:p>
        </p:txBody>
      </p:sp>
      <p:sp>
        <p:nvSpPr>
          <p:cNvPr id="3" name="İçerik Yer Tutucusu 2"/>
          <p:cNvSpPr>
            <a:spLocks noGrp="1"/>
          </p:cNvSpPr>
          <p:nvPr>
            <p:ph idx="1"/>
          </p:nvPr>
        </p:nvSpPr>
        <p:spPr>
          <a:xfrm>
            <a:off x="838200" y="1834678"/>
            <a:ext cx="10515600" cy="4351338"/>
          </a:xfrm>
        </p:spPr>
        <p:txBody>
          <a:bodyPr>
            <a:normAutofit/>
          </a:bodyPr>
          <a:lstStyle/>
          <a:p>
            <a:pPr algn="just"/>
            <a:r>
              <a:rPr lang="en-US" dirty="0" smtClean="0"/>
              <a:t>The platform is supported by a multilingual call center.</a:t>
            </a:r>
          </a:p>
          <a:p>
            <a:pPr algn="just"/>
            <a:r>
              <a:rPr lang="en-US" dirty="0" smtClean="0"/>
              <a:t>The platform is showcasing promising traction: within two months of launching, the app has been downloaded over 9,000 times. And while it is currently only available in Germany, </a:t>
            </a:r>
            <a:r>
              <a:rPr lang="en-US" dirty="0" err="1" smtClean="0"/>
              <a:t>Insha</a:t>
            </a:r>
            <a:r>
              <a:rPr lang="en-US" dirty="0" smtClean="0"/>
              <a:t> is already working on opening its interest-free services to seven other European countries next year, with hopes of growing its customer base to 20,000 by the end of 2019. </a:t>
            </a:r>
            <a:endParaRPr lang="en-US" dirty="0"/>
          </a:p>
        </p:txBody>
      </p:sp>
    </p:spTree>
    <p:extLst>
      <p:ext uri="{BB962C8B-B14F-4D97-AF65-F5344CB8AC3E}">
        <p14:creationId xmlns:p14="http://schemas.microsoft.com/office/powerpoint/2010/main" val="2013869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dirty="0" smtClean="0"/>
              <a:t>Market</a:t>
            </a:r>
            <a:endParaRPr lang="tr-TR" dirty="0"/>
          </a:p>
        </p:txBody>
      </p:sp>
      <p:sp>
        <p:nvSpPr>
          <p:cNvPr id="3" name="İçerik Yer Tutucusu 2"/>
          <p:cNvSpPr>
            <a:spLocks noGrp="1"/>
          </p:cNvSpPr>
          <p:nvPr>
            <p:ph idx="1"/>
          </p:nvPr>
        </p:nvSpPr>
        <p:spPr/>
        <p:txBody>
          <a:bodyPr>
            <a:normAutofit/>
          </a:bodyPr>
          <a:lstStyle/>
          <a:p>
            <a:pPr algn="just"/>
            <a:r>
              <a:rPr lang="en-US" dirty="0" smtClean="0"/>
              <a:t>There are also plans to expand its product suite to include business banking instruments.</a:t>
            </a:r>
          </a:p>
          <a:p>
            <a:pPr algn="just"/>
            <a:r>
              <a:rPr lang="en-US" dirty="0" smtClean="0"/>
              <a:t>Home to some 20 million Muslims, the European retail Islamic banking market has been tough to penetrate due to the fragmented concentration of Muslims across the region which has rendered the establishment of a brick and mortar Islamic retail bank unfeasible. </a:t>
            </a:r>
            <a:endParaRPr lang="en-US" dirty="0"/>
          </a:p>
        </p:txBody>
      </p:sp>
    </p:spTree>
    <p:extLst>
      <p:ext uri="{BB962C8B-B14F-4D97-AF65-F5344CB8AC3E}">
        <p14:creationId xmlns:p14="http://schemas.microsoft.com/office/powerpoint/2010/main" val="3261712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dirty="0" err="1" smtClean="0"/>
              <a:t>Strength</a:t>
            </a:r>
            <a:endParaRPr lang="tr-TR" dirty="0"/>
          </a:p>
        </p:txBody>
      </p:sp>
      <p:sp>
        <p:nvSpPr>
          <p:cNvPr id="3" name="İçerik Yer Tutucusu 2"/>
          <p:cNvSpPr>
            <a:spLocks noGrp="1"/>
          </p:cNvSpPr>
          <p:nvPr>
            <p:ph idx="1"/>
          </p:nvPr>
        </p:nvSpPr>
        <p:spPr/>
        <p:txBody>
          <a:bodyPr>
            <a:normAutofit/>
          </a:bodyPr>
          <a:lstStyle/>
          <a:p>
            <a:pPr algn="just"/>
            <a:r>
              <a:rPr lang="en-US" dirty="0" err="1" smtClean="0"/>
              <a:t>Insha</a:t>
            </a:r>
            <a:r>
              <a:rPr lang="en-US" dirty="0" smtClean="0"/>
              <a:t> represents an opportunity to overcome the issue of a lack of sizeable customer base due to geography and bring </a:t>
            </a:r>
            <a:r>
              <a:rPr lang="en-US" dirty="0" err="1" smtClean="0"/>
              <a:t>Shariah</a:t>
            </a:r>
            <a:r>
              <a:rPr lang="en-US" dirty="0" smtClean="0"/>
              <a:t> compliant banking services to Europe’s growing Muslim population. </a:t>
            </a:r>
            <a:endParaRPr lang="en-US" dirty="0"/>
          </a:p>
        </p:txBody>
      </p:sp>
    </p:spTree>
    <p:extLst>
      <p:ext uri="{BB962C8B-B14F-4D97-AF65-F5344CB8AC3E}">
        <p14:creationId xmlns:p14="http://schemas.microsoft.com/office/powerpoint/2010/main" val="287083057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dirty="0" err="1" smtClean="0"/>
              <a:t>Infrastructure</a:t>
            </a:r>
            <a:endParaRPr lang="tr-TR" dirty="0"/>
          </a:p>
        </p:txBody>
      </p:sp>
      <p:sp>
        <p:nvSpPr>
          <p:cNvPr id="3" name="İçerik Yer Tutucusu 2"/>
          <p:cNvSpPr>
            <a:spLocks noGrp="1"/>
          </p:cNvSpPr>
          <p:nvPr>
            <p:ph idx="1"/>
          </p:nvPr>
        </p:nvSpPr>
        <p:spPr/>
        <p:txBody>
          <a:bodyPr>
            <a:normAutofit fontScale="92500" lnSpcReduction="10000"/>
          </a:bodyPr>
          <a:lstStyle/>
          <a:p>
            <a:pPr algn="just"/>
            <a:r>
              <a:rPr lang="en-US" dirty="0" smtClean="0"/>
              <a:t>Succeeding where many have failed, </a:t>
            </a:r>
            <a:r>
              <a:rPr lang="en-US" dirty="0" err="1" smtClean="0"/>
              <a:t>Insha</a:t>
            </a:r>
            <a:r>
              <a:rPr lang="en-US" dirty="0" smtClean="0"/>
              <a:t> has managed to roll out its services at a relatively low cost and shorter time period through its collaboration with </a:t>
            </a:r>
            <a:r>
              <a:rPr lang="en-US" dirty="0" err="1" smtClean="0"/>
              <a:t>SolarisBank</a:t>
            </a:r>
            <a:r>
              <a:rPr lang="en-US" dirty="0" smtClean="0"/>
              <a:t>. </a:t>
            </a:r>
          </a:p>
          <a:p>
            <a:pPr algn="just"/>
            <a:r>
              <a:rPr lang="en-US" dirty="0" smtClean="0"/>
              <a:t>The bank-to-bank cooperation – said to be the first in the area of digital banking – saved the start-up approximately EUR4.5 million (US$5.13 million) and shortened its time-to-market by more than half.</a:t>
            </a:r>
          </a:p>
          <a:p>
            <a:pPr algn="just"/>
            <a:r>
              <a:rPr lang="en-US" dirty="0" smtClean="0"/>
              <a:t>A German banking license would require EUR5 million (US$5.7 million) in capital and the process would have taken between 12-24 months; </a:t>
            </a:r>
            <a:r>
              <a:rPr lang="en-US" dirty="0" err="1" smtClean="0"/>
              <a:t>Insha</a:t>
            </a:r>
            <a:r>
              <a:rPr lang="en-US" dirty="0" smtClean="0"/>
              <a:t> sidestepped these hurdles by leveraging on </a:t>
            </a:r>
            <a:r>
              <a:rPr lang="en-US" dirty="0" err="1" smtClean="0"/>
              <a:t>SolarisBank’s</a:t>
            </a:r>
            <a:r>
              <a:rPr lang="en-US" dirty="0" smtClean="0"/>
              <a:t> banking license and API, paying only a setup fee to the Berlin bank. It took less than a year for the team to build its platform and within six months, </a:t>
            </a:r>
            <a:r>
              <a:rPr lang="en-US" dirty="0" err="1" smtClean="0"/>
              <a:t>Insha</a:t>
            </a:r>
            <a:r>
              <a:rPr lang="en-US" dirty="0" smtClean="0"/>
              <a:t> accepted its first customer.</a:t>
            </a:r>
            <a:endParaRPr lang="en-US" dirty="0"/>
          </a:p>
        </p:txBody>
      </p:sp>
    </p:spTree>
    <p:extLst>
      <p:ext uri="{BB962C8B-B14F-4D97-AF65-F5344CB8AC3E}">
        <p14:creationId xmlns:p14="http://schemas.microsoft.com/office/powerpoint/2010/main" val="336627565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dirty="0" smtClean="0"/>
              <a:t>Content</a:t>
            </a:r>
            <a:endParaRPr lang="tr-TR" dirty="0"/>
          </a:p>
        </p:txBody>
      </p:sp>
      <p:sp>
        <p:nvSpPr>
          <p:cNvPr id="3" name="İçerik Yer Tutucusu 2"/>
          <p:cNvSpPr>
            <a:spLocks noGrp="1"/>
          </p:cNvSpPr>
          <p:nvPr>
            <p:ph idx="1"/>
          </p:nvPr>
        </p:nvSpPr>
        <p:spPr/>
        <p:txBody>
          <a:bodyPr>
            <a:normAutofit fontScale="92500" lnSpcReduction="20000"/>
          </a:bodyPr>
          <a:lstStyle/>
          <a:p>
            <a:r>
              <a:rPr lang="en-US" dirty="0" smtClean="0"/>
              <a:t>The new age financial intermediation (NAFI)</a:t>
            </a:r>
          </a:p>
          <a:p>
            <a:pPr lvl="1"/>
            <a:r>
              <a:rPr lang="en-US" dirty="0" smtClean="0"/>
              <a:t>Tier I NAFI</a:t>
            </a:r>
          </a:p>
          <a:p>
            <a:pPr lvl="1"/>
            <a:r>
              <a:rPr lang="en-US" dirty="0" smtClean="0"/>
              <a:t>Tier II NAFI</a:t>
            </a:r>
            <a:endParaRPr lang="tr-TR" dirty="0" smtClean="0"/>
          </a:p>
          <a:p>
            <a:pPr lvl="1"/>
            <a:r>
              <a:rPr lang="tr-TR" dirty="0" err="1" smtClean="0"/>
              <a:t>Elements</a:t>
            </a:r>
            <a:endParaRPr lang="en-US" dirty="0" smtClean="0"/>
          </a:p>
          <a:p>
            <a:r>
              <a:rPr lang="en-US" dirty="0" smtClean="0"/>
              <a:t>Technology and informatics in banking and financial markets</a:t>
            </a:r>
          </a:p>
          <a:p>
            <a:pPr lvl="1"/>
            <a:r>
              <a:rPr lang="en-US" dirty="0" smtClean="0"/>
              <a:t>Performance effect (Literature)</a:t>
            </a:r>
          </a:p>
          <a:p>
            <a:pPr lvl="1"/>
            <a:r>
              <a:rPr lang="en-US" dirty="0" smtClean="0"/>
              <a:t>Cost Efficiency</a:t>
            </a:r>
          </a:p>
          <a:p>
            <a:pPr lvl="1"/>
            <a:r>
              <a:rPr lang="en-US" dirty="0" smtClean="0"/>
              <a:t>Payment Systems</a:t>
            </a:r>
          </a:p>
          <a:p>
            <a:pPr lvl="1"/>
            <a:r>
              <a:rPr lang="en-US" dirty="0" smtClean="0"/>
              <a:t>Cost Reduction</a:t>
            </a:r>
          </a:p>
          <a:p>
            <a:pPr lvl="1"/>
            <a:r>
              <a:rPr lang="en-US" dirty="0" smtClean="0"/>
              <a:t>Competition</a:t>
            </a:r>
          </a:p>
          <a:p>
            <a:pPr lvl="1"/>
            <a:r>
              <a:rPr lang="en-US" dirty="0" smtClean="0"/>
              <a:t>Expectations/Challenges</a:t>
            </a:r>
          </a:p>
          <a:p>
            <a:r>
              <a:rPr lang="en-US" dirty="0" smtClean="0"/>
              <a:t>Case Study: The first fully-fledged digital </a:t>
            </a:r>
            <a:r>
              <a:rPr lang="tr-TR" smtClean="0"/>
              <a:t>Islamic </a:t>
            </a:r>
            <a:r>
              <a:rPr lang="en-US" smtClean="0"/>
              <a:t>bank </a:t>
            </a:r>
            <a:r>
              <a:rPr lang="en-US" dirty="0" smtClean="0"/>
              <a:t>of Europe</a:t>
            </a:r>
          </a:p>
          <a:p>
            <a:pPr lvl="1"/>
            <a:r>
              <a:rPr lang="en-US" dirty="0" err="1" smtClean="0"/>
              <a:t>Insha</a:t>
            </a:r>
            <a:endParaRPr lang="en-US" dirty="0" smtClean="0"/>
          </a:p>
          <a:p>
            <a:endParaRPr lang="en-US" dirty="0" smtClean="0"/>
          </a:p>
          <a:p>
            <a:endParaRPr lang="en-US" dirty="0" smtClean="0"/>
          </a:p>
          <a:p>
            <a:endParaRPr lang="en-US" dirty="0"/>
          </a:p>
        </p:txBody>
      </p:sp>
    </p:spTree>
    <p:extLst>
      <p:ext uri="{BB962C8B-B14F-4D97-AF65-F5344CB8AC3E}">
        <p14:creationId xmlns:p14="http://schemas.microsoft.com/office/powerpoint/2010/main" val="4244455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dirty="0" err="1" smtClean="0"/>
              <a:t>Islamic</a:t>
            </a:r>
            <a:r>
              <a:rPr lang="tr-TR" dirty="0" smtClean="0"/>
              <a:t> </a:t>
            </a:r>
            <a:r>
              <a:rPr lang="tr-TR" dirty="0" err="1" smtClean="0"/>
              <a:t>Banking</a:t>
            </a:r>
            <a:r>
              <a:rPr lang="tr-TR" dirty="0" smtClean="0"/>
              <a:t> in Europe</a:t>
            </a:r>
            <a:endParaRPr lang="tr-TR" dirty="0"/>
          </a:p>
        </p:txBody>
      </p:sp>
      <p:sp>
        <p:nvSpPr>
          <p:cNvPr id="3" name="İçerik Yer Tutucusu 2"/>
          <p:cNvSpPr>
            <a:spLocks noGrp="1"/>
          </p:cNvSpPr>
          <p:nvPr>
            <p:ph idx="1"/>
          </p:nvPr>
        </p:nvSpPr>
        <p:spPr/>
        <p:txBody>
          <a:bodyPr>
            <a:normAutofit/>
          </a:bodyPr>
          <a:lstStyle/>
          <a:p>
            <a:pPr algn="just"/>
            <a:r>
              <a:rPr lang="en-US" dirty="0" smtClean="0"/>
              <a:t>While it remains to be seen if the young </a:t>
            </a:r>
            <a:r>
              <a:rPr lang="en-US" dirty="0" err="1" smtClean="0"/>
              <a:t>Insha</a:t>
            </a:r>
            <a:r>
              <a:rPr lang="en-US" dirty="0" smtClean="0"/>
              <a:t> could attract 20,000 customers next year as targeted, as the first Islamic challenger bank in the region, its emergence could be instrumental in driving financial inclusion for Muslims in Europe, whose banking needs are sorely underserved: there are only six fully-fledged </a:t>
            </a:r>
            <a:r>
              <a:rPr lang="en-US" dirty="0" err="1" smtClean="0"/>
              <a:t>Shariah</a:t>
            </a:r>
            <a:r>
              <a:rPr lang="en-US" dirty="0" smtClean="0"/>
              <a:t> banks in the UK (most serving the business and corporate markets) and one in Germany, while efforts to launch an Islamic bank out of Luxembourg have struggled to take off.</a:t>
            </a:r>
            <a:endParaRPr lang="en-US" dirty="0"/>
          </a:p>
        </p:txBody>
      </p:sp>
    </p:spTree>
    <p:extLst>
      <p:ext uri="{BB962C8B-B14F-4D97-AF65-F5344CB8AC3E}">
        <p14:creationId xmlns:p14="http://schemas.microsoft.com/office/powerpoint/2010/main" val="1838234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dirty="0" smtClean="0"/>
              <a:t>Multi-Country</a:t>
            </a:r>
            <a:endParaRPr lang="tr-TR" dirty="0"/>
          </a:p>
        </p:txBody>
      </p:sp>
      <p:sp>
        <p:nvSpPr>
          <p:cNvPr id="3" name="İçerik Yer Tutucusu 2"/>
          <p:cNvSpPr>
            <a:spLocks noGrp="1"/>
          </p:cNvSpPr>
          <p:nvPr>
            <p:ph idx="1"/>
          </p:nvPr>
        </p:nvSpPr>
        <p:spPr/>
        <p:txBody>
          <a:bodyPr>
            <a:normAutofit/>
          </a:bodyPr>
          <a:lstStyle/>
          <a:p>
            <a:r>
              <a:rPr lang="en-US" dirty="0" smtClean="0"/>
              <a:t>The start-up is working on penetrating France, the Netherlands, Belgium, Austria, Poland, Italy and Spain over the next 12 months – all markets with little to no Islamic financial activities. If successful, it could spur a new wave of development for </a:t>
            </a:r>
            <a:r>
              <a:rPr lang="en-US" dirty="0" err="1" smtClean="0"/>
              <a:t>Shariah</a:t>
            </a:r>
            <a:r>
              <a:rPr lang="en-US" dirty="0" smtClean="0"/>
              <a:t> compliant finance in new European markets.</a:t>
            </a:r>
            <a:endParaRPr lang="en-US" dirty="0"/>
          </a:p>
        </p:txBody>
      </p:sp>
    </p:spTree>
    <p:extLst>
      <p:ext uri="{BB962C8B-B14F-4D97-AF65-F5344CB8AC3E}">
        <p14:creationId xmlns:p14="http://schemas.microsoft.com/office/powerpoint/2010/main" val="372273354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Resim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5" y="0"/>
            <a:ext cx="12192000" cy="6858000"/>
          </a:xfrm>
          <a:prstGeom prst="rect">
            <a:avLst/>
          </a:prstGeom>
        </p:spPr>
      </p:pic>
      <p:pic>
        <p:nvPicPr>
          <p:cNvPr id="4" name="İçerik Yer Tutucusu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82431" y="5528930"/>
            <a:ext cx="2779338" cy="833139"/>
          </a:xfrm>
          <a:prstGeom prst="rect">
            <a:avLst/>
          </a:prstGeom>
        </p:spPr>
      </p:pic>
      <p:pic>
        <p:nvPicPr>
          <p:cNvPr id="5" name="Resim 4"/>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4060537" y="1450474"/>
            <a:ext cx="4070926" cy="1446333"/>
          </a:xfrm>
          <a:prstGeom prst="rect">
            <a:avLst/>
          </a:prstGeom>
        </p:spPr>
      </p:pic>
    </p:spTree>
    <p:extLst>
      <p:ext uri="{BB962C8B-B14F-4D97-AF65-F5344CB8AC3E}">
        <p14:creationId xmlns:p14="http://schemas.microsoft.com/office/powerpoint/2010/main" val="15268526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Resim Yer Tutucusu 7"/>
          <p:cNvPicPr>
            <a:picLocks noGrp="1" noChangeAspect="1"/>
          </p:cNvPicPr>
          <p:nvPr>
            <p:ph type="pic" sz="quarter" idx="10"/>
          </p:nvPr>
        </p:nvPicPr>
        <p:blipFill>
          <a:blip r:embed="rId3" cstate="print">
            <a:extLst>
              <a:ext uri="{28A0092B-C50C-407E-A947-70E740481C1C}">
                <a14:useLocalDpi xmlns:a14="http://schemas.microsoft.com/office/drawing/2010/main" val="0"/>
              </a:ext>
            </a:extLst>
          </a:blip>
          <a:srcRect l="9507" r="9507"/>
          <a:stretch>
            <a:fillRect/>
          </a:stretch>
        </p:blipFill>
        <p:spPr>
          <a:xfrm>
            <a:off x="6136436" y="1222294"/>
            <a:ext cx="2609850" cy="2145017"/>
          </a:xfrm>
        </p:spPr>
      </p:pic>
      <p:pic>
        <p:nvPicPr>
          <p:cNvPr id="7" name="Resim Yer Tutucusu 6"/>
          <p:cNvPicPr>
            <a:picLocks noGrp="1" noChangeAspect="1"/>
          </p:cNvPicPr>
          <p:nvPr>
            <p:ph type="pic" sz="quarter" idx="11"/>
          </p:nvPr>
        </p:nvPicPr>
        <p:blipFill>
          <a:blip r:embed="rId4" cstate="print">
            <a:extLst>
              <a:ext uri="{28A0092B-C50C-407E-A947-70E740481C1C}">
                <a14:useLocalDpi xmlns:a14="http://schemas.microsoft.com/office/drawing/2010/main" val="0"/>
              </a:ext>
            </a:extLst>
          </a:blip>
          <a:srcRect l="9550" r="9550"/>
          <a:stretch>
            <a:fillRect/>
          </a:stretch>
        </p:blipFill>
        <p:spPr>
          <a:xfrm>
            <a:off x="2651542" y="2059027"/>
            <a:ext cx="2609850" cy="2145017"/>
          </a:xfrm>
        </p:spPr>
      </p:pic>
      <p:pic>
        <p:nvPicPr>
          <p:cNvPr id="9" name="Resim Yer Tutucusu 8"/>
          <p:cNvPicPr>
            <a:picLocks noGrp="1" noChangeAspect="1"/>
          </p:cNvPicPr>
          <p:nvPr>
            <p:ph type="pic" sz="quarter" idx="12"/>
          </p:nvPr>
        </p:nvPicPr>
        <p:blipFill>
          <a:blip r:embed="rId5" cstate="print">
            <a:extLst>
              <a:ext uri="{28A0092B-C50C-407E-A947-70E740481C1C}">
                <a14:useLocalDpi xmlns:a14="http://schemas.microsoft.com/office/drawing/2010/main" val="0"/>
              </a:ext>
            </a:extLst>
          </a:blip>
          <a:srcRect l="9444" r="9444"/>
          <a:stretch>
            <a:fillRect/>
          </a:stretch>
        </p:blipFill>
        <p:spPr>
          <a:xfrm>
            <a:off x="6136436" y="3955478"/>
            <a:ext cx="2609850" cy="2145017"/>
          </a:xfrm>
        </p:spPr>
      </p:pic>
      <p:grpSp>
        <p:nvGrpSpPr>
          <p:cNvPr id="16" name="Grup 15"/>
          <p:cNvGrpSpPr/>
          <p:nvPr/>
        </p:nvGrpSpPr>
        <p:grpSpPr>
          <a:xfrm>
            <a:off x="8331845" y="1558291"/>
            <a:ext cx="2875269" cy="1107261"/>
            <a:chOff x="22479604" y="2206547"/>
            <a:chExt cx="2783582" cy="1687709"/>
          </a:xfrm>
        </p:grpSpPr>
        <p:sp>
          <p:nvSpPr>
            <p:cNvPr id="10" name="Rectangle: Rounded Corners 17">
              <a:extLst>
                <a:ext uri="{FF2B5EF4-FFF2-40B4-BE49-F238E27FC236}">
                  <a16:creationId xmlns:a16="http://schemas.microsoft.com/office/drawing/2014/main" id="{4AC03CBD-E69E-4B47-8C9E-0E98B3A3B364}"/>
                </a:ext>
              </a:extLst>
            </p:cNvPr>
            <p:cNvSpPr/>
            <p:nvPr/>
          </p:nvSpPr>
          <p:spPr>
            <a:xfrm>
              <a:off x="22479604" y="2206547"/>
              <a:ext cx="2783582" cy="1687709"/>
            </a:xfrm>
            <a:prstGeom prst="roundRect">
              <a:avLst>
                <a:gd name="adj" fmla="val 8611"/>
              </a:avLst>
            </a:prstGeom>
            <a:solidFill>
              <a:schemeClr val="bg1"/>
            </a:solidFill>
            <a:ln>
              <a:noFill/>
            </a:ln>
            <a:effectLst>
              <a:outerShdw blurRad="965200" sx="86000" sy="86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68" dirty="0">
                <a:latin typeface="Franklin Gothic Medium Cond" panose="020B0606030402020204" pitchFamily="34" charset="0"/>
              </a:endParaRPr>
            </a:p>
          </p:txBody>
        </p:sp>
        <p:sp>
          <p:nvSpPr>
            <p:cNvPr id="11" name="TextBox 18">
              <a:extLst>
                <a:ext uri="{FF2B5EF4-FFF2-40B4-BE49-F238E27FC236}">
                  <a16:creationId xmlns:a16="http://schemas.microsoft.com/office/drawing/2014/main" id="{532E4C8A-9B9D-46CF-9467-982737A1C1B6}"/>
                </a:ext>
              </a:extLst>
            </p:cNvPr>
            <p:cNvSpPr txBox="1"/>
            <p:nvPr/>
          </p:nvSpPr>
          <p:spPr>
            <a:xfrm>
              <a:off x="22613551" y="2441217"/>
              <a:ext cx="2561024" cy="678854"/>
            </a:xfrm>
            <a:prstGeom prst="rect">
              <a:avLst/>
            </a:prstGeom>
            <a:noFill/>
          </p:spPr>
          <p:txBody>
            <a:bodyPr wrap="square" rtlCol="0">
              <a:spAutoFit/>
            </a:bodyPr>
            <a:lstStyle/>
            <a:p>
              <a:pPr>
                <a:lnSpc>
                  <a:spcPct val="80000"/>
                </a:lnSpc>
              </a:pPr>
              <a:r>
                <a:rPr lang="en-US" sz="2868" dirty="0">
                  <a:solidFill>
                    <a:schemeClr val="tx1">
                      <a:lumMod val="85000"/>
                      <a:lumOff val="15000"/>
                    </a:schemeClr>
                  </a:solidFill>
                  <a:latin typeface="Franklin Gothic Medium Cond" panose="020B0606030402020204" pitchFamily="34" charset="0"/>
                </a:rPr>
                <a:t>INDEPENDENT </a:t>
              </a:r>
            </a:p>
          </p:txBody>
        </p:sp>
        <p:sp>
          <p:nvSpPr>
            <p:cNvPr id="12" name="Rectangle 19">
              <a:extLst>
                <a:ext uri="{FF2B5EF4-FFF2-40B4-BE49-F238E27FC236}">
                  <a16:creationId xmlns:a16="http://schemas.microsoft.com/office/drawing/2014/main" id="{EA908C32-66E1-4CF2-9731-DA12D2891EFF}"/>
                </a:ext>
              </a:extLst>
            </p:cNvPr>
            <p:cNvSpPr/>
            <p:nvPr/>
          </p:nvSpPr>
          <p:spPr>
            <a:xfrm>
              <a:off x="22624148" y="3049149"/>
              <a:ext cx="2561024" cy="656766"/>
            </a:xfrm>
            <a:prstGeom prst="rect">
              <a:avLst/>
            </a:prstGeom>
          </p:spPr>
          <p:txBody>
            <a:bodyPr wrap="square">
              <a:spAutoFit/>
            </a:bodyPr>
            <a:lstStyle/>
            <a:p>
              <a:r>
                <a:rPr lang="tr-TR" sz="1100" err="1" smtClean="0">
                  <a:solidFill>
                    <a:schemeClr val="bg1">
                      <a:lumMod val="65000"/>
                    </a:schemeClr>
                  </a:solidFill>
                  <a:latin typeface="Franklin Gothic Medium Cond" panose="020B0606030402020204" pitchFamily="34" charset="0"/>
                  <a:cs typeface="Segoe UI" panose="020B0502040204020203" pitchFamily="34" charset="0"/>
                </a:rPr>
                <a:t>The</a:t>
              </a:r>
              <a:r>
                <a:rPr lang="tr-TR" sz="1100" smtClean="0">
                  <a:solidFill>
                    <a:schemeClr val="bg1">
                      <a:lumMod val="65000"/>
                    </a:schemeClr>
                  </a:solidFill>
                  <a:latin typeface="Franklin Gothic Medium Cond" panose="020B0606030402020204" pitchFamily="34" charset="0"/>
                  <a:cs typeface="Segoe UI" panose="020B0502040204020203" pitchFamily="34" charset="0"/>
                </a:rPr>
                <a:t> customers</a:t>
              </a:r>
              <a:r>
                <a:rPr lang="en-US" sz="1100" smtClean="0">
                  <a:solidFill>
                    <a:schemeClr val="bg1">
                      <a:lumMod val="65000"/>
                    </a:schemeClr>
                  </a:solidFill>
                  <a:latin typeface="Franklin Gothic Medium Cond" panose="020B0606030402020204" pitchFamily="34" charset="0"/>
                  <a:cs typeface="Segoe UI" panose="020B0502040204020203" pitchFamily="34" charset="0"/>
                </a:rPr>
                <a:t> </a:t>
              </a:r>
              <a:r>
                <a:rPr lang="en-US" sz="1100" dirty="0">
                  <a:solidFill>
                    <a:schemeClr val="bg1">
                      <a:lumMod val="65000"/>
                    </a:schemeClr>
                  </a:solidFill>
                  <a:latin typeface="Franklin Gothic Medium Cond" panose="020B0606030402020204" pitchFamily="34" charset="0"/>
                  <a:cs typeface="Segoe UI" panose="020B0502040204020203" pitchFamily="34" charset="0"/>
                </a:rPr>
                <a:t>can open an account without going to the </a:t>
              </a:r>
              <a:r>
                <a:rPr lang="en-US" sz="1100">
                  <a:solidFill>
                    <a:schemeClr val="bg1">
                      <a:lumMod val="65000"/>
                    </a:schemeClr>
                  </a:solidFill>
                  <a:latin typeface="Franklin Gothic Medium Cond" panose="020B0606030402020204" pitchFamily="34" charset="0"/>
                  <a:cs typeface="Segoe UI" panose="020B0502040204020203" pitchFamily="34" charset="0"/>
                </a:rPr>
                <a:t>branch </a:t>
              </a:r>
              <a:r>
                <a:rPr lang="en-US" sz="1100" smtClean="0">
                  <a:solidFill>
                    <a:schemeClr val="bg1">
                      <a:lumMod val="65000"/>
                    </a:schemeClr>
                  </a:solidFill>
                  <a:latin typeface="Franklin Gothic Medium Cond" panose="020B0606030402020204" pitchFamily="34" charset="0"/>
                  <a:cs typeface="Segoe UI" panose="020B0502040204020203" pitchFamily="34" charset="0"/>
                </a:rPr>
                <a:t>and </a:t>
              </a:r>
              <a:r>
                <a:rPr lang="en-US" sz="1100" dirty="0">
                  <a:solidFill>
                    <a:schemeClr val="bg1">
                      <a:lumMod val="65000"/>
                    </a:schemeClr>
                  </a:solidFill>
                  <a:latin typeface="Franklin Gothic Medium Cond" panose="020B0606030402020204" pitchFamily="34" charset="0"/>
                  <a:cs typeface="Segoe UI" panose="020B0502040204020203" pitchFamily="34" charset="0"/>
                </a:rPr>
                <a:t>card comes </a:t>
              </a:r>
              <a:r>
                <a:rPr lang="en-US" sz="1100">
                  <a:solidFill>
                    <a:schemeClr val="bg1">
                      <a:lumMod val="65000"/>
                    </a:schemeClr>
                  </a:solidFill>
                  <a:latin typeface="Franklin Gothic Medium Cond" panose="020B0606030402020204" pitchFamily="34" charset="0"/>
                  <a:cs typeface="Segoe UI" panose="020B0502040204020203" pitchFamily="34" charset="0"/>
                </a:rPr>
                <a:t>to </a:t>
              </a:r>
              <a:r>
                <a:rPr lang="tr-TR" sz="1100" smtClean="0">
                  <a:solidFill>
                    <a:schemeClr val="bg1">
                      <a:lumMod val="65000"/>
                    </a:schemeClr>
                  </a:solidFill>
                  <a:latin typeface="Franklin Gothic Medium Cond" panose="020B0606030402020204" pitchFamily="34" charset="0"/>
                  <a:cs typeface="Segoe UI" panose="020B0502040204020203" pitchFamily="34" charset="0"/>
                </a:rPr>
                <a:t>the</a:t>
              </a:r>
              <a:r>
                <a:rPr lang="en-US" sz="1100" smtClean="0">
                  <a:solidFill>
                    <a:schemeClr val="bg1">
                      <a:lumMod val="65000"/>
                    </a:schemeClr>
                  </a:solidFill>
                  <a:latin typeface="Franklin Gothic Medium Cond" panose="020B0606030402020204" pitchFamily="34" charset="0"/>
                  <a:cs typeface="Segoe UI" panose="020B0502040204020203" pitchFamily="34" charset="0"/>
                </a:rPr>
                <a:t> </a:t>
              </a:r>
              <a:r>
                <a:rPr lang="en-US" sz="1100" dirty="0">
                  <a:solidFill>
                    <a:schemeClr val="bg1">
                      <a:lumMod val="65000"/>
                    </a:schemeClr>
                  </a:solidFill>
                  <a:latin typeface="Franklin Gothic Medium Cond" panose="020B0606030402020204" pitchFamily="34" charset="0"/>
                  <a:cs typeface="Segoe UI" panose="020B0502040204020203" pitchFamily="34" charset="0"/>
                </a:rPr>
                <a:t>feet </a:t>
              </a:r>
              <a:endParaRPr lang="id-ID" sz="1100" dirty="0">
                <a:solidFill>
                  <a:schemeClr val="bg1">
                    <a:lumMod val="65000"/>
                  </a:schemeClr>
                </a:solidFill>
                <a:latin typeface="Franklin Gothic Medium Cond" panose="020B0606030402020204" pitchFamily="34" charset="0"/>
                <a:cs typeface="Segoe UI" panose="020B0502040204020203" pitchFamily="34" charset="0"/>
              </a:endParaRPr>
            </a:p>
          </p:txBody>
        </p:sp>
      </p:grpSp>
      <p:grpSp>
        <p:nvGrpSpPr>
          <p:cNvPr id="17" name="Grup 16"/>
          <p:cNvGrpSpPr/>
          <p:nvPr/>
        </p:nvGrpSpPr>
        <p:grpSpPr>
          <a:xfrm>
            <a:off x="348712" y="2294803"/>
            <a:ext cx="2636337" cy="1303925"/>
            <a:chOff x="766372" y="2932139"/>
            <a:chExt cx="2783582" cy="1687709"/>
          </a:xfrm>
        </p:grpSpPr>
        <p:sp>
          <p:nvSpPr>
            <p:cNvPr id="13" name="Rectangle: Rounded Corners 20">
              <a:extLst>
                <a:ext uri="{FF2B5EF4-FFF2-40B4-BE49-F238E27FC236}">
                  <a16:creationId xmlns:a16="http://schemas.microsoft.com/office/drawing/2014/main" id="{1E07A48B-66F1-4C83-9AE6-1009C6A98B50}"/>
                </a:ext>
              </a:extLst>
            </p:cNvPr>
            <p:cNvSpPr/>
            <p:nvPr/>
          </p:nvSpPr>
          <p:spPr>
            <a:xfrm>
              <a:off x="766372" y="2932139"/>
              <a:ext cx="2783582" cy="1687709"/>
            </a:xfrm>
            <a:prstGeom prst="roundRect">
              <a:avLst>
                <a:gd name="adj" fmla="val 8611"/>
              </a:avLst>
            </a:prstGeom>
            <a:solidFill>
              <a:schemeClr val="bg1"/>
            </a:solidFill>
            <a:ln>
              <a:noFill/>
            </a:ln>
            <a:effectLst>
              <a:outerShdw blurRad="965200" sx="86000" sy="86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87" dirty="0">
                <a:latin typeface="Franklin Gothic Medium Cond" panose="020B0606030402020204" pitchFamily="34" charset="0"/>
              </a:endParaRPr>
            </a:p>
          </p:txBody>
        </p:sp>
        <p:sp>
          <p:nvSpPr>
            <p:cNvPr id="14" name="TextBox 21">
              <a:extLst>
                <a:ext uri="{FF2B5EF4-FFF2-40B4-BE49-F238E27FC236}">
                  <a16:creationId xmlns:a16="http://schemas.microsoft.com/office/drawing/2014/main" id="{D3CA324C-8EDF-4D9F-B146-53A18DA416BB}"/>
                </a:ext>
              </a:extLst>
            </p:cNvPr>
            <p:cNvSpPr txBox="1"/>
            <p:nvPr/>
          </p:nvSpPr>
          <p:spPr>
            <a:xfrm>
              <a:off x="900320" y="3074589"/>
              <a:ext cx="2561024" cy="627340"/>
            </a:xfrm>
            <a:prstGeom prst="rect">
              <a:avLst/>
            </a:prstGeom>
            <a:noFill/>
          </p:spPr>
          <p:txBody>
            <a:bodyPr wrap="square" rtlCol="0">
              <a:spAutoFit/>
            </a:bodyPr>
            <a:lstStyle/>
            <a:p>
              <a:pPr>
                <a:lnSpc>
                  <a:spcPct val="80000"/>
                </a:lnSpc>
              </a:pPr>
              <a:r>
                <a:rPr lang="tr-TR" sz="3187" dirty="0">
                  <a:solidFill>
                    <a:schemeClr val="tx1">
                      <a:lumMod val="85000"/>
                      <a:lumOff val="15000"/>
                    </a:schemeClr>
                  </a:solidFill>
                  <a:latin typeface="Franklin Gothic Medium Cond" panose="020B0606030402020204" pitchFamily="34" charset="0"/>
                </a:rPr>
                <a:t>FAST</a:t>
              </a:r>
              <a:endParaRPr lang="en-US" sz="3187" dirty="0">
                <a:solidFill>
                  <a:schemeClr val="tx1">
                    <a:lumMod val="85000"/>
                    <a:lumOff val="15000"/>
                  </a:schemeClr>
                </a:solidFill>
                <a:latin typeface="Franklin Gothic Medium Cond" panose="020B0606030402020204" pitchFamily="34" charset="0"/>
              </a:endParaRPr>
            </a:p>
          </p:txBody>
        </p:sp>
        <p:sp>
          <p:nvSpPr>
            <p:cNvPr id="15" name="Rectangle 22">
              <a:extLst>
                <a:ext uri="{FF2B5EF4-FFF2-40B4-BE49-F238E27FC236}">
                  <a16:creationId xmlns:a16="http://schemas.microsoft.com/office/drawing/2014/main" id="{1C1AF798-6837-45E1-82DD-FD7BD5A26EF5}"/>
                </a:ext>
              </a:extLst>
            </p:cNvPr>
            <p:cNvSpPr/>
            <p:nvPr/>
          </p:nvSpPr>
          <p:spPr>
            <a:xfrm>
              <a:off x="900320" y="3610121"/>
              <a:ext cx="2561024" cy="995910"/>
            </a:xfrm>
            <a:prstGeom prst="rect">
              <a:avLst/>
            </a:prstGeom>
          </p:spPr>
          <p:txBody>
            <a:bodyPr wrap="square">
              <a:spAutoFit/>
            </a:bodyPr>
            <a:lstStyle/>
            <a:p>
              <a:r>
                <a:rPr lang="en-US" sz="1100" dirty="0">
                  <a:solidFill>
                    <a:schemeClr val="bg1">
                      <a:lumMod val="65000"/>
                    </a:schemeClr>
                  </a:solidFill>
                  <a:latin typeface="Franklin Gothic Medium Cond" panose="020B0606030402020204" pitchFamily="34" charset="0"/>
                  <a:cs typeface="Segoe UI" panose="020B0502040204020203" pitchFamily="34" charset="0"/>
                </a:rPr>
                <a:t>Without paper, contracts, forms, signatures, and pens. Transactions does not steal </a:t>
              </a:r>
              <a:r>
                <a:rPr lang="tr-TR" sz="1100" smtClean="0">
                  <a:solidFill>
                    <a:schemeClr val="bg1">
                      <a:lumMod val="65000"/>
                    </a:schemeClr>
                  </a:solidFill>
                  <a:latin typeface="Franklin Gothic Medium Cond" panose="020B0606030402020204" pitchFamily="34" charset="0"/>
                  <a:cs typeface="Segoe UI" panose="020B0502040204020203" pitchFamily="34" charset="0"/>
                </a:rPr>
                <a:t>customers’</a:t>
              </a:r>
              <a:r>
                <a:rPr lang="en-US" sz="1100" smtClean="0">
                  <a:solidFill>
                    <a:schemeClr val="bg1">
                      <a:lumMod val="65000"/>
                    </a:schemeClr>
                  </a:solidFill>
                  <a:latin typeface="Franklin Gothic Medium Cond" panose="020B0606030402020204" pitchFamily="34" charset="0"/>
                  <a:cs typeface="Segoe UI" panose="020B0502040204020203" pitchFamily="34" charset="0"/>
                </a:rPr>
                <a:t> </a:t>
              </a:r>
              <a:r>
                <a:rPr lang="en-US" sz="1100" dirty="0">
                  <a:solidFill>
                    <a:schemeClr val="bg1">
                      <a:lumMod val="65000"/>
                    </a:schemeClr>
                  </a:solidFill>
                  <a:latin typeface="Franklin Gothic Medium Cond" panose="020B0606030402020204" pitchFamily="34" charset="0"/>
                  <a:cs typeface="Segoe UI" panose="020B0502040204020203" pitchFamily="34" charset="0"/>
                </a:rPr>
                <a:t>precious time, everything processes very quickly </a:t>
              </a:r>
              <a:endParaRPr lang="id-ID" sz="1100" dirty="0">
                <a:solidFill>
                  <a:schemeClr val="bg1">
                    <a:lumMod val="65000"/>
                  </a:schemeClr>
                </a:solidFill>
                <a:latin typeface="Franklin Gothic Medium Cond" panose="020B0606030402020204" pitchFamily="34" charset="0"/>
                <a:cs typeface="Segoe UI" panose="020B0502040204020203" pitchFamily="34" charset="0"/>
              </a:endParaRPr>
            </a:p>
          </p:txBody>
        </p:sp>
      </p:grpSp>
    </p:spTree>
    <p:extLst>
      <p:ext uri="{BB962C8B-B14F-4D97-AF65-F5344CB8AC3E}">
        <p14:creationId xmlns:p14="http://schemas.microsoft.com/office/powerpoint/2010/main" val="26287213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Resim Yer Tutucusu 7"/>
          <p:cNvPicPr>
            <a:picLocks noGrp="1" noChangeAspect="1"/>
          </p:cNvPicPr>
          <p:nvPr>
            <p:ph type="pic" sz="quarter" idx="10"/>
          </p:nvPr>
        </p:nvPicPr>
        <p:blipFill>
          <a:blip r:embed="rId3" cstate="print">
            <a:extLst>
              <a:ext uri="{28A0092B-C50C-407E-A947-70E740481C1C}">
                <a14:useLocalDpi xmlns:a14="http://schemas.microsoft.com/office/drawing/2010/main" val="0"/>
              </a:ext>
            </a:extLst>
          </a:blip>
          <a:srcRect l="9444" r="9444"/>
          <a:stretch>
            <a:fillRect/>
          </a:stretch>
        </p:blipFill>
        <p:spPr>
          <a:xfrm>
            <a:off x="6327269" y="878258"/>
            <a:ext cx="2609850" cy="2145017"/>
          </a:xfrm>
        </p:spPr>
      </p:pic>
      <p:pic>
        <p:nvPicPr>
          <p:cNvPr id="9" name="Resim Yer Tutucusu 8"/>
          <p:cNvPicPr>
            <a:picLocks noGrp="1" noChangeAspect="1"/>
          </p:cNvPicPr>
          <p:nvPr>
            <p:ph type="pic" sz="quarter" idx="11"/>
          </p:nvPr>
        </p:nvPicPr>
        <p:blipFill>
          <a:blip r:embed="rId4" cstate="print">
            <a:extLst>
              <a:ext uri="{28A0092B-C50C-407E-A947-70E740481C1C}">
                <a14:useLocalDpi xmlns:a14="http://schemas.microsoft.com/office/drawing/2010/main" val="0"/>
              </a:ext>
            </a:extLst>
          </a:blip>
          <a:srcRect l="9442" r="9442"/>
          <a:stretch>
            <a:fillRect/>
          </a:stretch>
        </p:blipFill>
        <p:spPr>
          <a:xfrm>
            <a:off x="2842375" y="2604959"/>
            <a:ext cx="2609850" cy="2145017"/>
          </a:xfrm>
        </p:spPr>
      </p:pic>
      <p:pic>
        <p:nvPicPr>
          <p:cNvPr id="10" name="Resim Yer Tutucusu 9"/>
          <p:cNvPicPr>
            <a:picLocks noGrp="1" noChangeAspect="1"/>
          </p:cNvPicPr>
          <p:nvPr>
            <p:ph type="pic" sz="quarter" idx="12"/>
          </p:nvPr>
        </p:nvPicPr>
        <p:blipFill>
          <a:blip r:embed="rId5" cstate="print">
            <a:extLst>
              <a:ext uri="{28A0092B-C50C-407E-A947-70E740481C1C}">
                <a14:useLocalDpi xmlns:a14="http://schemas.microsoft.com/office/drawing/2010/main" val="0"/>
              </a:ext>
            </a:extLst>
          </a:blip>
          <a:srcRect l="9374" r="9374"/>
          <a:stretch>
            <a:fillRect/>
          </a:stretch>
        </p:blipFill>
        <p:spPr>
          <a:xfrm>
            <a:off x="6327269" y="3579127"/>
            <a:ext cx="2609850" cy="2145017"/>
          </a:xfrm>
        </p:spPr>
      </p:pic>
      <p:grpSp>
        <p:nvGrpSpPr>
          <p:cNvPr id="22" name="Grup 21"/>
          <p:cNvGrpSpPr/>
          <p:nvPr/>
        </p:nvGrpSpPr>
        <p:grpSpPr>
          <a:xfrm>
            <a:off x="234207" y="2821866"/>
            <a:ext cx="2829606" cy="1011212"/>
            <a:chOff x="900320" y="2188280"/>
            <a:chExt cx="2783582" cy="1687709"/>
          </a:xfrm>
        </p:grpSpPr>
        <p:sp>
          <p:nvSpPr>
            <p:cNvPr id="11" name="Rectangle: Rounded Corners 4">
              <a:extLst>
                <a:ext uri="{FF2B5EF4-FFF2-40B4-BE49-F238E27FC236}">
                  <a16:creationId xmlns:a16="http://schemas.microsoft.com/office/drawing/2014/main" id="{B9928971-64A4-473F-BAA1-DF9D2DE89DD4}"/>
                </a:ext>
              </a:extLst>
            </p:cNvPr>
            <p:cNvSpPr/>
            <p:nvPr/>
          </p:nvSpPr>
          <p:spPr>
            <a:xfrm>
              <a:off x="900320" y="2188280"/>
              <a:ext cx="2783582" cy="1687709"/>
            </a:xfrm>
            <a:prstGeom prst="roundRect">
              <a:avLst>
                <a:gd name="adj" fmla="val 8611"/>
              </a:avLst>
            </a:prstGeom>
            <a:solidFill>
              <a:schemeClr val="bg1"/>
            </a:solidFill>
            <a:ln>
              <a:noFill/>
            </a:ln>
            <a:effectLst>
              <a:outerShdw blurRad="965200" sx="86000" sy="86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9" dirty="0">
                <a:latin typeface="Franklin Gothic Medium Cond" panose="020B0606030402020204" pitchFamily="34" charset="0"/>
              </a:endParaRPr>
            </a:p>
          </p:txBody>
        </p:sp>
        <p:sp>
          <p:nvSpPr>
            <p:cNvPr id="12" name="TextBox 5">
              <a:extLst>
                <a:ext uri="{FF2B5EF4-FFF2-40B4-BE49-F238E27FC236}">
                  <a16:creationId xmlns:a16="http://schemas.microsoft.com/office/drawing/2014/main" id="{27E191F9-E16A-40C2-9FF7-96B81CB0F843}"/>
                </a:ext>
              </a:extLst>
            </p:cNvPr>
            <p:cNvSpPr txBox="1"/>
            <p:nvPr/>
          </p:nvSpPr>
          <p:spPr>
            <a:xfrm>
              <a:off x="1034267" y="2422951"/>
              <a:ext cx="2561024" cy="694321"/>
            </a:xfrm>
            <a:prstGeom prst="rect">
              <a:avLst/>
            </a:prstGeom>
            <a:noFill/>
          </p:spPr>
          <p:txBody>
            <a:bodyPr wrap="square" rtlCol="0">
              <a:spAutoFit/>
            </a:bodyPr>
            <a:lstStyle/>
            <a:p>
              <a:pPr>
                <a:lnSpc>
                  <a:spcPct val="80000"/>
                </a:lnSpc>
              </a:pPr>
              <a:r>
                <a:rPr lang="tr-TR" sz="2629" dirty="0">
                  <a:solidFill>
                    <a:schemeClr val="tx1">
                      <a:lumMod val="85000"/>
                      <a:lumOff val="15000"/>
                    </a:schemeClr>
                  </a:solidFill>
                  <a:latin typeface="Franklin Gothic Medium Cond" panose="020B0606030402020204" pitchFamily="34" charset="0"/>
                </a:rPr>
                <a:t>RELIABLE</a:t>
              </a:r>
              <a:endParaRPr lang="en-US" sz="2629" dirty="0">
                <a:solidFill>
                  <a:schemeClr val="tx1">
                    <a:lumMod val="85000"/>
                    <a:lumOff val="15000"/>
                  </a:schemeClr>
                </a:solidFill>
                <a:latin typeface="Franklin Gothic Medium Cond" panose="020B0606030402020204" pitchFamily="34" charset="0"/>
              </a:endParaRPr>
            </a:p>
          </p:txBody>
        </p:sp>
        <p:sp>
          <p:nvSpPr>
            <p:cNvPr id="13" name="Rectangle 6">
              <a:extLst>
                <a:ext uri="{FF2B5EF4-FFF2-40B4-BE49-F238E27FC236}">
                  <a16:creationId xmlns:a16="http://schemas.microsoft.com/office/drawing/2014/main" id="{6A996BC4-CBD2-4C19-BECE-C4D95E481A81}"/>
                </a:ext>
              </a:extLst>
            </p:cNvPr>
            <p:cNvSpPr/>
            <p:nvPr/>
          </p:nvSpPr>
          <p:spPr>
            <a:xfrm>
              <a:off x="1034268" y="3063615"/>
              <a:ext cx="2561024" cy="719149"/>
            </a:xfrm>
            <a:prstGeom prst="rect">
              <a:avLst/>
            </a:prstGeom>
          </p:spPr>
          <p:txBody>
            <a:bodyPr wrap="square">
              <a:spAutoFit/>
            </a:bodyPr>
            <a:lstStyle/>
            <a:p>
              <a:r>
                <a:rPr lang="en-US" sz="1100" dirty="0">
                  <a:solidFill>
                    <a:schemeClr val="bg1">
                      <a:lumMod val="65000"/>
                    </a:schemeClr>
                  </a:solidFill>
                  <a:latin typeface="Franklin Gothic Medium Cond" panose="020B0606030402020204" pitchFamily="34" charset="0"/>
                  <a:cs typeface="Segoe UI" panose="020B0502040204020203" pitchFamily="34" charset="0"/>
                </a:rPr>
                <a:t>Reliable, robust infrastructure and serving in </a:t>
              </a:r>
              <a:r>
                <a:rPr lang="en-US" sz="1100" dirty="0" smtClean="0">
                  <a:solidFill>
                    <a:schemeClr val="bg1">
                      <a:lumMod val="65000"/>
                    </a:schemeClr>
                  </a:solidFill>
                  <a:latin typeface="Franklin Gothic Medium Cond" panose="020B0606030402020204" pitchFamily="34" charset="0"/>
                  <a:cs typeface="Segoe UI" panose="020B0502040204020203" pitchFamily="34" charset="0"/>
                </a:rPr>
                <a:t> </a:t>
              </a:r>
              <a:r>
                <a:rPr lang="en-US" sz="1100" dirty="0">
                  <a:solidFill>
                    <a:schemeClr val="bg1">
                      <a:lumMod val="65000"/>
                    </a:schemeClr>
                  </a:solidFill>
                  <a:latin typeface="Franklin Gothic Medium Cond" panose="020B0606030402020204" pitchFamily="34" charset="0"/>
                  <a:cs typeface="Segoe UI" panose="020B0502040204020203" pitchFamily="34" charset="0"/>
                </a:rPr>
                <a:t>native language</a:t>
              </a:r>
              <a:endParaRPr lang="id-ID" sz="1100" dirty="0">
                <a:solidFill>
                  <a:schemeClr val="bg1">
                    <a:lumMod val="65000"/>
                  </a:schemeClr>
                </a:solidFill>
                <a:latin typeface="Franklin Gothic Medium Cond" panose="020B0606030402020204" pitchFamily="34" charset="0"/>
                <a:cs typeface="Segoe UI" panose="020B0502040204020203" pitchFamily="34" charset="0"/>
              </a:endParaRPr>
            </a:p>
          </p:txBody>
        </p:sp>
      </p:grpSp>
      <p:grpSp>
        <p:nvGrpSpPr>
          <p:cNvPr id="20" name="Grup 19"/>
          <p:cNvGrpSpPr/>
          <p:nvPr/>
        </p:nvGrpSpPr>
        <p:grpSpPr>
          <a:xfrm>
            <a:off x="8809894" y="1883639"/>
            <a:ext cx="2774408" cy="955227"/>
            <a:chOff x="8722484" y="748514"/>
            <a:chExt cx="2783582" cy="1718291"/>
          </a:xfrm>
        </p:grpSpPr>
        <p:sp>
          <p:nvSpPr>
            <p:cNvPr id="14" name="Rectangle: Rounded Corners 7">
              <a:extLst>
                <a:ext uri="{FF2B5EF4-FFF2-40B4-BE49-F238E27FC236}">
                  <a16:creationId xmlns:a16="http://schemas.microsoft.com/office/drawing/2014/main" id="{1EEECA30-B284-46E1-AC48-C5869DC986BC}"/>
                </a:ext>
              </a:extLst>
            </p:cNvPr>
            <p:cNvSpPr/>
            <p:nvPr/>
          </p:nvSpPr>
          <p:spPr>
            <a:xfrm>
              <a:off x="8722484" y="748514"/>
              <a:ext cx="2783582" cy="1687709"/>
            </a:xfrm>
            <a:prstGeom prst="roundRect">
              <a:avLst>
                <a:gd name="adj" fmla="val 8611"/>
              </a:avLst>
            </a:prstGeom>
            <a:solidFill>
              <a:schemeClr val="bg1"/>
            </a:solidFill>
            <a:ln>
              <a:noFill/>
            </a:ln>
            <a:effectLst>
              <a:outerShdw blurRad="965200" sx="86000" sy="86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9" dirty="0">
                <a:latin typeface="Franklin Gothic Medium Cond" panose="020B0606030402020204" pitchFamily="34" charset="0"/>
              </a:endParaRPr>
            </a:p>
          </p:txBody>
        </p:sp>
        <p:sp>
          <p:nvSpPr>
            <p:cNvPr id="15" name="TextBox 8">
              <a:extLst>
                <a:ext uri="{FF2B5EF4-FFF2-40B4-BE49-F238E27FC236}">
                  <a16:creationId xmlns:a16="http://schemas.microsoft.com/office/drawing/2014/main" id="{598DF547-A03B-458D-A1CC-7E9082445198}"/>
                </a:ext>
              </a:extLst>
            </p:cNvPr>
            <p:cNvSpPr txBox="1"/>
            <p:nvPr/>
          </p:nvSpPr>
          <p:spPr>
            <a:xfrm>
              <a:off x="8856431" y="812297"/>
              <a:ext cx="2561024" cy="748333"/>
            </a:xfrm>
            <a:prstGeom prst="rect">
              <a:avLst/>
            </a:prstGeom>
            <a:noFill/>
          </p:spPr>
          <p:txBody>
            <a:bodyPr wrap="square" rtlCol="0">
              <a:spAutoFit/>
            </a:bodyPr>
            <a:lstStyle/>
            <a:p>
              <a:pPr>
                <a:lnSpc>
                  <a:spcPct val="80000"/>
                </a:lnSpc>
              </a:pPr>
              <a:r>
                <a:rPr lang="en-US" sz="2629" dirty="0" smtClean="0">
                  <a:solidFill>
                    <a:schemeClr val="tx1">
                      <a:lumMod val="85000"/>
                      <a:lumOff val="15000"/>
                    </a:schemeClr>
                  </a:solidFill>
                  <a:latin typeface="Franklin Gothic Medium Cond" panose="020B0606030402020204" pitchFamily="34" charset="0"/>
                </a:rPr>
                <a:t>CONTROL</a:t>
              </a:r>
              <a:endParaRPr lang="en-US" sz="2629" dirty="0">
                <a:solidFill>
                  <a:schemeClr val="tx1">
                    <a:lumMod val="85000"/>
                    <a:lumOff val="15000"/>
                  </a:schemeClr>
                </a:solidFill>
                <a:latin typeface="Franklin Gothic Medium Cond" panose="020B0606030402020204" pitchFamily="34" charset="0"/>
              </a:endParaRPr>
            </a:p>
          </p:txBody>
        </p:sp>
        <p:sp>
          <p:nvSpPr>
            <p:cNvPr id="16" name="Rectangle 9">
              <a:extLst>
                <a:ext uri="{FF2B5EF4-FFF2-40B4-BE49-F238E27FC236}">
                  <a16:creationId xmlns:a16="http://schemas.microsoft.com/office/drawing/2014/main" id="{9E23323B-5A38-41A1-A6B9-1930AC1B7230}"/>
                </a:ext>
              </a:extLst>
            </p:cNvPr>
            <p:cNvSpPr/>
            <p:nvPr/>
          </p:nvSpPr>
          <p:spPr>
            <a:xfrm>
              <a:off x="8856432" y="1387212"/>
              <a:ext cx="2561024" cy="1079593"/>
            </a:xfrm>
            <a:prstGeom prst="rect">
              <a:avLst/>
            </a:prstGeom>
          </p:spPr>
          <p:txBody>
            <a:bodyPr wrap="square">
              <a:spAutoFit/>
            </a:bodyPr>
            <a:lstStyle/>
            <a:p>
              <a:r>
                <a:rPr lang="tr-TR" sz="1100" dirty="0" err="1" smtClean="0">
                  <a:solidFill>
                    <a:schemeClr val="bg1">
                      <a:lumMod val="65000"/>
                    </a:schemeClr>
                  </a:solidFill>
                  <a:latin typeface="Franklin Gothic Medium Cond" panose="020B0606030402020204" pitchFamily="34" charset="0"/>
                  <a:cs typeface="Segoe UI" panose="020B0502040204020203" pitchFamily="34" charset="0"/>
                </a:rPr>
                <a:t>The</a:t>
              </a:r>
              <a:r>
                <a:rPr lang="tr-TR" sz="1100" dirty="0" smtClean="0">
                  <a:solidFill>
                    <a:schemeClr val="bg1">
                      <a:lumMod val="65000"/>
                    </a:schemeClr>
                  </a:solidFill>
                  <a:latin typeface="Franklin Gothic Medium Cond" panose="020B0606030402020204" pitchFamily="34" charset="0"/>
                  <a:cs typeface="Segoe UI" panose="020B0502040204020203" pitchFamily="34" charset="0"/>
                </a:rPr>
                <a:t> </a:t>
              </a:r>
              <a:r>
                <a:rPr lang="tr-TR" sz="1100" dirty="0" err="1" smtClean="0">
                  <a:solidFill>
                    <a:schemeClr val="bg1">
                      <a:lumMod val="65000"/>
                    </a:schemeClr>
                  </a:solidFill>
                  <a:latin typeface="Franklin Gothic Medium Cond" panose="020B0606030402020204" pitchFamily="34" charset="0"/>
                  <a:cs typeface="Segoe UI" panose="020B0502040204020203" pitchFamily="34" charset="0"/>
                </a:rPr>
                <a:t>customers</a:t>
              </a:r>
              <a:r>
                <a:rPr lang="en-US" sz="1100" dirty="0" smtClean="0">
                  <a:solidFill>
                    <a:schemeClr val="bg1">
                      <a:lumMod val="65000"/>
                    </a:schemeClr>
                  </a:solidFill>
                  <a:latin typeface="Franklin Gothic Medium Cond" panose="020B0606030402020204" pitchFamily="34" charset="0"/>
                  <a:cs typeface="Segoe UI" panose="020B0502040204020203" pitchFamily="34" charset="0"/>
                </a:rPr>
                <a:t> </a:t>
              </a:r>
              <a:r>
                <a:rPr lang="en-US" sz="1100" dirty="0">
                  <a:solidFill>
                    <a:schemeClr val="bg1">
                      <a:lumMod val="65000"/>
                    </a:schemeClr>
                  </a:solidFill>
                  <a:latin typeface="Franklin Gothic Medium Cond" panose="020B0606030402020204" pitchFamily="34" charset="0"/>
                  <a:cs typeface="Segoe UI" panose="020B0502040204020203" pitchFamily="34" charset="0"/>
                </a:rPr>
                <a:t>can check everything </a:t>
              </a:r>
              <a:r>
                <a:rPr lang="tr-TR" sz="1100" smtClean="0">
                  <a:solidFill>
                    <a:schemeClr val="bg1">
                      <a:lumMod val="65000"/>
                    </a:schemeClr>
                  </a:solidFill>
                  <a:latin typeface="Franklin Gothic Medium Cond" panose="020B0606030402020204" pitchFamily="34" charset="0"/>
                  <a:cs typeface="Segoe UI" panose="020B0502040204020203" pitchFamily="34" charset="0"/>
                </a:rPr>
                <a:t>they</a:t>
              </a:r>
              <a:r>
                <a:rPr lang="en-US" sz="1100" smtClean="0">
                  <a:solidFill>
                    <a:schemeClr val="bg1">
                      <a:lumMod val="65000"/>
                    </a:schemeClr>
                  </a:solidFill>
                  <a:latin typeface="Franklin Gothic Medium Cond" panose="020B0606030402020204" pitchFamily="34" charset="0"/>
                  <a:cs typeface="Segoe UI" panose="020B0502040204020203" pitchFamily="34" charset="0"/>
                </a:rPr>
                <a:t> </a:t>
              </a:r>
              <a:r>
                <a:rPr lang="en-US" sz="1100" dirty="0">
                  <a:solidFill>
                    <a:schemeClr val="bg1">
                      <a:lumMod val="65000"/>
                    </a:schemeClr>
                  </a:solidFill>
                  <a:latin typeface="Franklin Gothic Medium Cond" panose="020B0606030402020204" pitchFamily="34" charset="0"/>
                  <a:cs typeface="Segoe UI" panose="020B0502040204020203" pitchFamily="34" charset="0"/>
                </a:rPr>
                <a:t>have </a:t>
              </a:r>
              <a:r>
                <a:rPr lang="en-US" sz="1100">
                  <a:solidFill>
                    <a:schemeClr val="bg1">
                      <a:lumMod val="65000"/>
                    </a:schemeClr>
                  </a:solidFill>
                  <a:latin typeface="Franklin Gothic Medium Cond" panose="020B0606030402020204" pitchFamily="34" charset="0"/>
                  <a:cs typeface="Segoe UI" panose="020B0502040204020203" pitchFamily="34" charset="0"/>
                </a:rPr>
                <a:t>on </a:t>
              </a:r>
              <a:r>
                <a:rPr lang="tr-TR" sz="1100" smtClean="0">
                  <a:solidFill>
                    <a:schemeClr val="bg1">
                      <a:lumMod val="65000"/>
                    </a:schemeClr>
                  </a:solidFill>
                  <a:latin typeface="Franklin Gothic Medium Cond" panose="020B0606030402020204" pitchFamily="34" charset="0"/>
                  <a:cs typeface="Segoe UI" panose="020B0502040204020203" pitchFamily="34" charset="0"/>
                </a:rPr>
                <a:t>their</a:t>
              </a:r>
              <a:r>
                <a:rPr lang="en-US" sz="1100" smtClean="0">
                  <a:solidFill>
                    <a:schemeClr val="bg1">
                      <a:lumMod val="65000"/>
                    </a:schemeClr>
                  </a:solidFill>
                  <a:latin typeface="Franklin Gothic Medium Cond" panose="020B0606030402020204" pitchFamily="34" charset="0"/>
                  <a:cs typeface="Segoe UI" panose="020B0502040204020203" pitchFamily="34" charset="0"/>
                </a:rPr>
                <a:t> </a:t>
              </a:r>
              <a:r>
                <a:rPr lang="en-US" sz="1100" dirty="0">
                  <a:solidFill>
                    <a:schemeClr val="bg1">
                      <a:lumMod val="65000"/>
                    </a:schemeClr>
                  </a:solidFill>
                  <a:latin typeface="Franklin Gothic Medium Cond" panose="020B0606030402020204" pitchFamily="34" charset="0"/>
                  <a:cs typeface="Segoe UI" panose="020B0502040204020203" pitchFamily="34" charset="0"/>
                </a:rPr>
                <a:t>account</a:t>
              </a:r>
              <a:r>
                <a:rPr lang="en-US" sz="1100">
                  <a:solidFill>
                    <a:schemeClr val="bg1">
                      <a:lumMod val="65000"/>
                    </a:schemeClr>
                  </a:solidFill>
                  <a:latin typeface="Franklin Gothic Medium Cond" panose="020B0606030402020204" pitchFamily="34" charset="0"/>
                  <a:cs typeface="Segoe UI" panose="020B0502040204020203" pitchFamily="34" charset="0"/>
                </a:rPr>
                <a:t>, </a:t>
              </a:r>
              <a:r>
                <a:rPr lang="tr-TR" sz="1100" smtClean="0">
                  <a:solidFill>
                    <a:schemeClr val="bg1">
                      <a:lumMod val="65000"/>
                    </a:schemeClr>
                  </a:solidFill>
                  <a:latin typeface="Franklin Gothic Medium Cond" panose="020B0606030402020204" pitchFamily="34" charset="0"/>
                  <a:cs typeface="Segoe UI" panose="020B0502040204020203" pitchFamily="34" charset="0"/>
                </a:rPr>
                <a:t>their</a:t>
              </a:r>
              <a:r>
                <a:rPr lang="en-US" sz="1100" smtClean="0">
                  <a:solidFill>
                    <a:schemeClr val="bg1">
                      <a:lumMod val="65000"/>
                    </a:schemeClr>
                  </a:solidFill>
                  <a:latin typeface="Franklin Gothic Medium Cond" panose="020B0606030402020204" pitchFamily="34" charset="0"/>
                  <a:cs typeface="Segoe UI" panose="020B0502040204020203" pitchFamily="34" charset="0"/>
                </a:rPr>
                <a:t> </a:t>
              </a:r>
              <a:r>
                <a:rPr lang="en-US" sz="1100" dirty="0">
                  <a:solidFill>
                    <a:schemeClr val="bg1">
                      <a:lumMod val="65000"/>
                    </a:schemeClr>
                  </a:solidFill>
                  <a:latin typeface="Franklin Gothic Medium Cond" panose="020B0606030402020204" pitchFamily="34" charset="0"/>
                  <a:cs typeface="Segoe UI" panose="020B0502040204020203" pitchFamily="34" charset="0"/>
                </a:rPr>
                <a:t>card</a:t>
              </a:r>
              <a:r>
                <a:rPr lang="en-US" sz="1100">
                  <a:solidFill>
                    <a:schemeClr val="bg1">
                      <a:lumMod val="65000"/>
                    </a:schemeClr>
                  </a:solidFill>
                  <a:latin typeface="Franklin Gothic Medium Cond" panose="020B0606030402020204" pitchFamily="34" charset="0"/>
                  <a:cs typeface="Segoe UI" panose="020B0502040204020203" pitchFamily="34" charset="0"/>
                </a:rPr>
                <a:t>, </a:t>
              </a:r>
              <a:r>
                <a:rPr lang="tr-TR" sz="1100" smtClean="0">
                  <a:solidFill>
                    <a:schemeClr val="bg1">
                      <a:lumMod val="65000"/>
                    </a:schemeClr>
                  </a:solidFill>
                  <a:latin typeface="Franklin Gothic Medium Cond" panose="020B0606030402020204" pitchFamily="34" charset="0"/>
                  <a:cs typeface="Segoe UI" panose="020B0502040204020203" pitchFamily="34" charset="0"/>
                </a:rPr>
                <a:t>and </a:t>
              </a:r>
              <a:r>
                <a:rPr lang="en-US" sz="1100" smtClean="0">
                  <a:solidFill>
                    <a:schemeClr val="bg1">
                      <a:lumMod val="65000"/>
                    </a:schemeClr>
                  </a:solidFill>
                  <a:latin typeface="Franklin Gothic Medium Cond" panose="020B0606030402020204" pitchFamily="34" charset="0"/>
                  <a:cs typeface="Segoe UI" panose="020B0502040204020203" pitchFamily="34" charset="0"/>
                </a:rPr>
                <a:t>have </a:t>
              </a:r>
              <a:r>
                <a:rPr lang="en-US" sz="1100" dirty="0">
                  <a:solidFill>
                    <a:schemeClr val="bg1">
                      <a:lumMod val="65000"/>
                    </a:schemeClr>
                  </a:solidFill>
                  <a:latin typeface="Franklin Gothic Medium Cond" panose="020B0606030402020204" pitchFamily="34" charset="0"/>
                  <a:cs typeface="Segoe UI" panose="020B0502040204020203" pitchFamily="34" charset="0"/>
                </a:rPr>
                <a:t>the control completely ...</a:t>
              </a:r>
              <a:endParaRPr lang="id-ID" sz="1100" dirty="0">
                <a:solidFill>
                  <a:schemeClr val="bg1">
                    <a:lumMod val="65000"/>
                  </a:schemeClr>
                </a:solidFill>
                <a:latin typeface="Franklin Gothic Medium Cond" panose="020B0606030402020204" pitchFamily="34" charset="0"/>
                <a:cs typeface="Segoe UI" panose="020B0502040204020203" pitchFamily="34" charset="0"/>
              </a:endParaRPr>
            </a:p>
          </p:txBody>
        </p:sp>
      </p:grpSp>
      <p:grpSp>
        <p:nvGrpSpPr>
          <p:cNvPr id="21" name="Grup 20"/>
          <p:cNvGrpSpPr/>
          <p:nvPr/>
        </p:nvGrpSpPr>
        <p:grpSpPr>
          <a:xfrm>
            <a:off x="8674235" y="3709129"/>
            <a:ext cx="3452346" cy="930652"/>
            <a:chOff x="8722484" y="3868567"/>
            <a:chExt cx="2783582" cy="1687709"/>
          </a:xfrm>
        </p:grpSpPr>
        <p:sp>
          <p:nvSpPr>
            <p:cNvPr id="17" name="Rectangle: Rounded Corners 10">
              <a:extLst>
                <a:ext uri="{FF2B5EF4-FFF2-40B4-BE49-F238E27FC236}">
                  <a16:creationId xmlns:a16="http://schemas.microsoft.com/office/drawing/2014/main" id="{EB1301DF-41BC-4EF6-B153-DA561F4E4611}"/>
                </a:ext>
              </a:extLst>
            </p:cNvPr>
            <p:cNvSpPr/>
            <p:nvPr/>
          </p:nvSpPr>
          <p:spPr>
            <a:xfrm>
              <a:off x="8722484" y="3868567"/>
              <a:ext cx="2783582" cy="1687709"/>
            </a:xfrm>
            <a:prstGeom prst="roundRect">
              <a:avLst>
                <a:gd name="adj" fmla="val 8611"/>
              </a:avLst>
            </a:prstGeom>
            <a:solidFill>
              <a:schemeClr val="bg1"/>
            </a:solidFill>
            <a:ln>
              <a:noFill/>
            </a:ln>
            <a:effectLst>
              <a:outerShdw blurRad="965200" sx="86000" sy="86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9" dirty="0">
                <a:latin typeface="Franklin Gothic Medium Cond" panose="020B0606030402020204" pitchFamily="34" charset="0"/>
              </a:endParaRPr>
            </a:p>
          </p:txBody>
        </p:sp>
        <p:sp>
          <p:nvSpPr>
            <p:cNvPr id="18" name="TextBox 11">
              <a:extLst>
                <a:ext uri="{FF2B5EF4-FFF2-40B4-BE49-F238E27FC236}">
                  <a16:creationId xmlns:a16="http://schemas.microsoft.com/office/drawing/2014/main" id="{031E58A9-7CA9-46A9-B53E-AF4A7BD7B0D8}"/>
                </a:ext>
              </a:extLst>
            </p:cNvPr>
            <p:cNvSpPr txBox="1"/>
            <p:nvPr/>
          </p:nvSpPr>
          <p:spPr>
            <a:xfrm>
              <a:off x="8856431" y="4103237"/>
              <a:ext cx="2561024" cy="754423"/>
            </a:xfrm>
            <a:prstGeom prst="rect">
              <a:avLst/>
            </a:prstGeom>
            <a:noFill/>
          </p:spPr>
          <p:txBody>
            <a:bodyPr wrap="square" rtlCol="0">
              <a:spAutoFit/>
            </a:bodyPr>
            <a:lstStyle/>
            <a:p>
              <a:pPr>
                <a:lnSpc>
                  <a:spcPct val="80000"/>
                </a:lnSpc>
              </a:pPr>
              <a:r>
                <a:rPr lang="tr-TR" sz="2629" dirty="0">
                  <a:solidFill>
                    <a:schemeClr val="tx1">
                      <a:lumMod val="85000"/>
                      <a:lumOff val="15000"/>
                    </a:schemeClr>
                  </a:solidFill>
                  <a:latin typeface="Franklin Gothic Medium Cond" panose="020B0606030402020204" pitchFamily="34" charset="0"/>
                </a:rPr>
                <a:t>ISLAMIC BANKING</a:t>
              </a:r>
              <a:endParaRPr lang="en-US" sz="2629" dirty="0">
                <a:solidFill>
                  <a:schemeClr val="tx1">
                    <a:lumMod val="85000"/>
                    <a:lumOff val="15000"/>
                  </a:schemeClr>
                </a:solidFill>
                <a:latin typeface="Franklin Gothic Medium Cond" panose="020B0606030402020204" pitchFamily="34" charset="0"/>
              </a:endParaRPr>
            </a:p>
          </p:txBody>
        </p:sp>
        <p:sp>
          <p:nvSpPr>
            <p:cNvPr id="19" name="Rectangle 12">
              <a:extLst>
                <a:ext uri="{FF2B5EF4-FFF2-40B4-BE49-F238E27FC236}">
                  <a16:creationId xmlns:a16="http://schemas.microsoft.com/office/drawing/2014/main" id="{4F250F79-59CF-4814-B5ED-289AA7C9B738}"/>
                </a:ext>
              </a:extLst>
            </p:cNvPr>
            <p:cNvSpPr/>
            <p:nvPr/>
          </p:nvSpPr>
          <p:spPr>
            <a:xfrm>
              <a:off x="8863426" y="4733149"/>
              <a:ext cx="2561024" cy="781400"/>
            </a:xfrm>
            <a:prstGeom prst="rect">
              <a:avLst/>
            </a:prstGeom>
          </p:spPr>
          <p:txBody>
            <a:bodyPr wrap="square">
              <a:spAutoFit/>
            </a:bodyPr>
            <a:lstStyle/>
            <a:p>
              <a:r>
                <a:rPr lang="en-US" sz="1100" dirty="0">
                  <a:solidFill>
                    <a:schemeClr val="bg1">
                      <a:lumMod val="65000"/>
                    </a:schemeClr>
                  </a:solidFill>
                  <a:latin typeface="Franklin Gothic Medium Cond" panose="020B0606030402020204" pitchFamily="34" charset="0"/>
                  <a:cs typeface="Segoe UI" panose="020B0502040204020203" pitchFamily="34" charset="0"/>
                </a:rPr>
                <a:t>Making no concessions to the principles of participation banking </a:t>
              </a:r>
              <a:endParaRPr lang="id-ID" sz="1100" dirty="0">
                <a:solidFill>
                  <a:schemeClr val="bg1">
                    <a:lumMod val="65000"/>
                  </a:schemeClr>
                </a:solidFill>
                <a:latin typeface="Franklin Gothic Medium Cond" panose="020B0606030402020204" pitchFamily="34" charset="0"/>
                <a:cs typeface="Segoe UI" panose="020B0502040204020203" pitchFamily="34" charset="0"/>
              </a:endParaRPr>
            </a:p>
          </p:txBody>
        </p:sp>
      </p:grpSp>
    </p:spTree>
    <p:extLst>
      <p:ext uri="{BB962C8B-B14F-4D97-AF65-F5344CB8AC3E}">
        <p14:creationId xmlns:p14="http://schemas.microsoft.com/office/powerpoint/2010/main" val="18309596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Resim Yer Tutucusu 1"/>
          <p:cNvPicPr>
            <a:picLocks noGrp="1" noChangeAspect="1"/>
          </p:cNvPicPr>
          <p:nvPr>
            <p:ph type="pic" sz="quarter" idx="10"/>
          </p:nvPr>
        </p:nvPicPr>
        <p:blipFill>
          <a:blip r:embed="rId3" cstate="print">
            <a:extLst>
              <a:ext uri="{28A0092B-C50C-407E-A947-70E740481C1C}">
                <a14:useLocalDpi xmlns:a14="http://schemas.microsoft.com/office/drawing/2010/main" val="0"/>
              </a:ext>
            </a:extLst>
          </a:blip>
          <a:srcRect l="6871" r="6871"/>
          <a:stretch>
            <a:fillRect/>
          </a:stretch>
        </p:blipFill>
        <p:spPr>
          <a:xfrm>
            <a:off x="6309921" y="1241344"/>
            <a:ext cx="2609850" cy="2145017"/>
          </a:xfrm>
        </p:spPr>
      </p:pic>
      <p:pic>
        <p:nvPicPr>
          <p:cNvPr id="3" name="Resim Yer Tutucusu 2"/>
          <p:cNvPicPr>
            <a:picLocks noGrp="1" noChangeAspect="1"/>
          </p:cNvPicPr>
          <p:nvPr>
            <p:ph type="pic" sz="quarter" idx="11"/>
          </p:nvPr>
        </p:nvPicPr>
        <p:blipFill>
          <a:blip r:embed="rId4" cstate="print">
            <a:extLst>
              <a:ext uri="{28A0092B-C50C-407E-A947-70E740481C1C}">
                <a14:useLocalDpi xmlns:a14="http://schemas.microsoft.com/office/drawing/2010/main" val="0"/>
              </a:ext>
            </a:extLst>
          </a:blip>
          <a:srcRect l="9442" r="9442"/>
          <a:stretch>
            <a:fillRect/>
          </a:stretch>
        </p:blipFill>
        <p:spPr>
          <a:xfrm>
            <a:off x="2825027" y="2078077"/>
            <a:ext cx="2609850" cy="2145017"/>
          </a:xfrm>
        </p:spPr>
      </p:pic>
      <p:pic>
        <p:nvPicPr>
          <p:cNvPr id="7" name="Resim Yer Tutucusu 6"/>
          <p:cNvPicPr>
            <a:picLocks noGrp="1" noChangeAspect="1"/>
          </p:cNvPicPr>
          <p:nvPr>
            <p:ph type="pic" sz="quarter" idx="12"/>
          </p:nvPr>
        </p:nvPicPr>
        <p:blipFill>
          <a:blip r:embed="rId5" cstate="print">
            <a:extLst>
              <a:ext uri="{28A0092B-C50C-407E-A947-70E740481C1C}">
                <a14:useLocalDpi xmlns:a14="http://schemas.microsoft.com/office/drawing/2010/main" val="0"/>
              </a:ext>
            </a:extLst>
          </a:blip>
          <a:srcRect t="22601" b="22601"/>
          <a:stretch>
            <a:fillRect/>
          </a:stretch>
        </p:blipFill>
        <p:spPr>
          <a:xfrm>
            <a:off x="6309921" y="3974528"/>
            <a:ext cx="2609850" cy="2145017"/>
          </a:xfrm>
        </p:spPr>
      </p:pic>
      <p:grpSp>
        <p:nvGrpSpPr>
          <p:cNvPr id="8" name="Grup 7"/>
          <p:cNvGrpSpPr/>
          <p:nvPr/>
        </p:nvGrpSpPr>
        <p:grpSpPr>
          <a:xfrm>
            <a:off x="8331845" y="1577341"/>
            <a:ext cx="2875269" cy="1107261"/>
            <a:chOff x="22479604" y="2206547"/>
            <a:chExt cx="2783582" cy="1687709"/>
          </a:xfrm>
        </p:grpSpPr>
        <p:sp>
          <p:nvSpPr>
            <p:cNvPr id="9" name="Rectangle: Rounded Corners 17">
              <a:extLst>
                <a:ext uri="{FF2B5EF4-FFF2-40B4-BE49-F238E27FC236}">
                  <a16:creationId xmlns:a16="http://schemas.microsoft.com/office/drawing/2014/main" id="{4AC03CBD-E69E-4B47-8C9E-0E98B3A3B364}"/>
                </a:ext>
              </a:extLst>
            </p:cNvPr>
            <p:cNvSpPr/>
            <p:nvPr/>
          </p:nvSpPr>
          <p:spPr>
            <a:xfrm>
              <a:off x="22479604" y="2206547"/>
              <a:ext cx="2783582" cy="1687709"/>
            </a:xfrm>
            <a:prstGeom prst="roundRect">
              <a:avLst>
                <a:gd name="adj" fmla="val 8611"/>
              </a:avLst>
            </a:prstGeom>
            <a:solidFill>
              <a:schemeClr val="bg1"/>
            </a:solidFill>
            <a:ln>
              <a:noFill/>
            </a:ln>
            <a:effectLst>
              <a:outerShdw blurRad="965200" sx="86000" sy="86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68" dirty="0">
                <a:latin typeface="Franklin Gothic Medium Cond" panose="020B0606030402020204" pitchFamily="34" charset="0"/>
              </a:endParaRPr>
            </a:p>
          </p:txBody>
        </p:sp>
        <p:sp>
          <p:nvSpPr>
            <p:cNvPr id="10" name="TextBox 18">
              <a:extLst>
                <a:ext uri="{FF2B5EF4-FFF2-40B4-BE49-F238E27FC236}">
                  <a16:creationId xmlns:a16="http://schemas.microsoft.com/office/drawing/2014/main" id="{532E4C8A-9B9D-46CF-9467-982737A1C1B6}"/>
                </a:ext>
              </a:extLst>
            </p:cNvPr>
            <p:cNvSpPr txBox="1"/>
            <p:nvPr/>
          </p:nvSpPr>
          <p:spPr>
            <a:xfrm>
              <a:off x="22613551" y="2361892"/>
              <a:ext cx="2561024" cy="678854"/>
            </a:xfrm>
            <a:prstGeom prst="rect">
              <a:avLst/>
            </a:prstGeom>
            <a:noFill/>
          </p:spPr>
          <p:txBody>
            <a:bodyPr wrap="square" rtlCol="0">
              <a:spAutoFit/>
            </a:bodyPr>
            <a:lstStyle/>
            <a:p>
              <a:pPr>
                <a:lnSpc>
                  <a:spcPct val="80000"/>
                </a:lnSpc>
              </a:pPr>
              <a:r>
                <a:rPr lang="tr-TR" sz="2868" dirty="0">
                  <a:solidFill>
                    <a:schemeClr val="tx1">
                      <a:lumMod val="85000"/>
                      <a:lumOff val="15000"/>
                    </a:schemeClr>
                  </a:solidFill>
                  <a:latin typeface="Franklin Gothic Medium Cond" panose="020B0606030402020204" pitchFamily="34" charset="0"/>
                </a:rPr>
                <a:t>FRIENDLY</a:t>
              </a:r>
              <a:endParaRPr lang="en-US" sz="2868" dirty="0">
                <a:solidFill>
                  <a:schemeClr val="tx1">
                    <a:lumMod val="85000"/>
                    <a:lumOff val="15000"/>
                  </a:schemeClr>
                </a:solidFill>
                <a:latin typeface="Franklin Gothic Medium Cond" panose="020B0606030402020204" pitchFamily="34" charset="0"/>
              </a:endParaRPr>
            </a:p>
          </p:txBody>
        </p:sp>
        <p:sp>
          <p:nvSpPr>
            <p:cNvPr id="11" name="Rectangle 19">
              <a:extLst>
                <a:ext uri="{FF2B5EF4-FFF2-40B4-BE49-F238E27FC236}">
                  <a16:creationId xmlns:a16="http://schemas.microsoft.com/office/drawing/2014/main" id="{EA908C32-66E1-4CF2-9731-DA12D2891EFF}"/>
                </a:ext>
              </a:extLst>
            </p:cNvPr>
            <p:cNvSpPr/>
            <p:nvPr/>
          </p:nvSpPr>
          <p:spPr>
            <a:xfrm>
              <a:off x="22613552" y="2884201"/>
              <a:ext cx="2561024" cy="914782"/>
            </a:xfrm>
            <a:prstGeom prst="rect">
              <a:avLst/>
            </a:prstGeom>
          </p:spPr>
          <p:txBody>
            <a:bodyPr wrap="square">
              <a:spAutoFit/>
            </a:bodyPr>
            <a:lstStyle/>
            <a:p>
              <a:r>
                <a:rPr lang="en-US" sz="1100" dirty="0">
                  <a:solidFill>
                    <a:schemeClr val="bg1">
                      <a:lumMod val="65000"/>
                    </a:schemeClr>
                  </a:solidFill>
                  <a:latin typeface="Franklin Gothic Medium Cond" panose="020B0606030402020204" pitchFamily="34" charset="0"/>
                  <a:cs typeface="Segoe UI" panose="020B0502040204020203" pitchFamily="34" charset="0"/>
                </a:rPr>
                <a:t>To express participation banking with sincerity, to calculate the zakat, to find out where the nearest mosque is</a:t>
              </a:r>
              <a:endParaRPr lang="id-ID" sz="1100" dirty="0">
                <a:solidFill>
                  <a:schemeClr val="bg1">
                    <a:lumMod val="65000"/>
                  </a:schemeClr>
                </a:solidFill>
                <a:latin typeface="Franklin Gothic Medium Cond" panose="020B0606030402020204" pitchFamily="34" charset="0"/>
                <a:cs typeface="Segoe UI" panose="020B0502040204020203" pitchFamily="34" charset="0"/>
              </a:endParaRPr>
            </a:p>
          </p:txBody>
        </p:sp>
      </p:grpSp>
      <p:grpSp>
        <p:nvGrpSpPr>
          <p:cNvPr id="12" name="Grup 11"/>
          <p:cNvGrpSpPr/>
          <p:nvPr/>
        </p:nvGrpSpPr>
        <p:grpSpPr>
          <a:xfrm>
            <a:off x="348712" y="2313853"/>
            <a:ext cx="2636337" cy="1303926"/>
            <a:chOff x="766372" y="2932139"/>
            <a:chExt cx="2783582" cy="1687709"/>
          </a:xfrm>
        </p:grpSpPr>
        <p:sp>
          <p:nvSpPr>
            <p:cNvPr id="13" name="Rectangle: Rounded Corners 20">
              <a:extLst>
                <a:ext uri="{FF2B5EF4-FFF2-40B4-BE49-F238E27FC236}">
                  <a16:creationId xmlns:a16="http://schemas.microsoft.com/office/drawing/2014/main" id="{1E07A48B-66F1-4C83-9AE6-1009C6A98B50}"/>
                </a:ext>
              </a:extLst>
            </p:cNvPr>
            <p:cNvSpPr/>
            <p:nvPr/>
          </p:nvSpPr>
          <p:spPr>
            <a:xfrm>
              <a:off x="766372" y="2932139"/>
              <a:ext cx="2783582" cy="1687709"/>
            </a:xfrm>
            <a:prstGeom prst="roundRect">
              <a:avLst>
                <a:gd name="adj" fmla="val 8611"/>
              </a:avLst>
            </a:prstGeom>
            <a:solidFill>
              <a:schemeClr val="bg1"/>
            </a:solidFill>
            <a:ln>
              <a:noFill/>
            </a:ln>
            <a:effectLst>
              <a:outerShdw blurRad="965200" sx="86000" sy="86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87" dirty="0">
                <a:latin typeface="Franklin Gothic Medium Cond" panose="020B0606030402020204" pitchFamily="34" charset="0"/>
              </a:endParaRPr>
            </a:p>
          </p:txBody>
        </p:sp>
        <p:sp>
          <p:nvSpPr>
            <p:cNvPr id="14" name="TextBox 21">
              <a:extLst>
                <a:ext uri="{FF2B5EF4-FFF2-40B4-BE49-F238E27FC236}">
                  <a16:creationId xmlns:a16="http://schemas.microsoft.com/office/drawing/2014/main" id="{D3CA324C-8EDF-4D9F-B146-53A18DA416BB}"/>
                </a:ext>
              </a:extLst>
            </p:cNvPr>
            <p:cNvSpPr txBox="1"/>
            <p:nvPr/>
          </p:nvSpPr>
          <p:spPr>
            <a:xfrm>
              <a:off x="900320" y="3166810"/>
              <a:ext cx="2561024" cy="627340"/>
            </a:xfrm>
            <a:prstGeom prst="rect">
              <a:avLst/>
            </a:prstGeom>
            <a:noFill/>
          </p:spPr>
          <p:txBody>
            <a:bodyPr wrap="square" rtlCol="0">
              <a:spAutoFit/>
            </a:bodyPr>
            <a:lstStyle/>
            <a:p>
              <a:pPr>
                <a:lnSpc>
                  <a:spcPct val="80000"/>
                </a:lnSpc>
              </a:pPr>
              <a:r>
                <a:rPr lang="tr-TR" sz="3187" dirty="0">
                  <a:solidFill>
                    <a:schemeClr val="tx1">
                      <a:lumMod val="85000"/>
                      <a:lumOff val="15000"/>
                    </a:schemeClr>
                  </a:solidFill>
                  <a:latin typeface="Franklin Gothic Medium Cond" panose="020B0606030402020204" pitchFamily="34" charset="0"/>
                </a:rPr>
                <a:t>GUIDE</a:t>
              </a:r>
              <a:endParaRPr lang="en-US" sz="3187" dirty="0">
                <a:solidFill>
                  <a:schemeClr val="tx1">
                    <a:lumMod val="85000"/>
                    <a:lumOff val="15000"/>
                  </a:schemeClr>
                </a:solidFill>
                <a:latin typeface="Franklin Gothic Medium Cond" panose="020B0606030402020204" pitchFamily="34" charset="0"/>
              </a:endParaRPr>
            </a:p>
          </p:txBody>
        </p:sp>
        <p:sp>
          <p:nvSpPr>
            <p:cNvPr id="15" name="Rectangle 22">
              <a:extLst>
                <a:ext uri="{FF2B5EF4-FFF2-40B4-BE49-F238E27FC236}">
                  <a16:creationId xmlns:a16="http://schemas.microsoft.com/office/drawing/2014/main" id="{1C1AF798-6837-45E1-82DD-FD7BD5A26EF5}"/>
                </a:ext>
              </a:extLst>
            </p:cNvPr>
            <p:cNvSpPr/>
            <p:nvPr/>
          </p:nvSpPr>
          <p:spPr>
            <a:xfrm>
              <a:off x="900320" y="3748451"/>
              <a:ext cx="2561024" cy="776810"/>
            </a:xfrm>
            <a:prstGeom prst="rect">
              <a:avLst/>
            </a:prstGeom>
          </p:spPr>
          <p:txBody>
            <a:bodyPr wrap="square">
              <a:spAutoFit/>
            </a:bodyPr>
            <a:lstStyle/>
            <a:p>
              <a:r>
                <a:rPr lang="en-US" sz="1100" dirty="0">
                  <a:solidFill>
                    <a:schemeClr val="bg1">
                      <a:lumMod val="65000"/>
                    </a:schemeClr>
                  </a:solidFill>
                  <a:latin typeface="Franklin Gothic Medium Cond" panose="020B0606030402020204" pitchFamily="34" charset="0"/>
                  <a:cs typeface="Segoe UI" panose="020B0502040204020203" pitchFamily="34" charset="0"/>
                </a:rPr>
                <a:t>Directing </a:t>
              </a:r>
              <a:r>
                <a:rPr lang="tr-TR" sz="1100" smtClean="0">
                  <a:solidFill>
                    <a:schemeClr val="bg1">
                      <a:lumMod val="65000"/>
                    </a:schemeClr>
                  </a:solidFill>
                  <a:latin typeface="Franklin Gothic Medium Cond" panose="020B0606030402020204" pitchFamily="34" charset="0"/>
                  <a:cs typeface="Segoe UI" panose="020B0502040204020203" pitchFamily="34" charset="0"/>
                </a:rPr>
                <a:t>people</a:t>
              </a:r>
              <a:r>
                <a:rPr lang="en-US" sz="1100" smtClean="0">
                  <a:solidFill>
                    <a:schemeClr val="bg1">
                      <a:lumMod val="65000"/>
                    </a:schemeClr>
                  </a:solidFill>
                  <a:latin typeface="Franklin Gothic Medium Cond" panose="020B0606030402020204" pitchFamily="34" charset="0"/>
                  <a:cs typeface="Segoe UI" panose="020B0502040204020203" pitchFamily="34" charset="0"/>
                </a:rPr>
                <a:t> </a:t>
              </a:r>
              <a:r>
                <a:rPr lang="en-US" sz="1100" dirty="0">
                  <a:solidFill>
                    <a:schemeClr val="bg1">
                      <a:lumMod val="65000"/>
                    </a:schemeClr>
                  </a:solidFill>
                  <a:latin typeface="Franklin Gothic Medium Cond" panose="020B0606030402020204" pitchFamily="34" charset="0"/>
                  <a:cs typeface="Segoe UI" panose="020B0502040204020203" pitchFamily="34" charset="0"/>
                </a:rPr>
                <a:t>on money saving and spending, talking </a:t>
              </a:r>
              <a:r>
                <a:rPr lang="en-US" sz="1100">
                  <a:solidFill>
                    <a:schemeClr val="bg1">
                      <a:lumMod val="65000"/>
                    </a:schemeClr>
                  </a:solidFill>
                  <a:latin typeface="Franklin Gothic Medium Cond" panose="020B0606030402020204" pitchFamily="34" charset="0"/>
                  <a:cs typeface="Segoe UI" panose="020B0502040204020203" pitchFamily="34" charset="0"/>
                </a:rPr>
                <a:t>to </a:t>
              </a:r>
              <a:r>
                <a:rPr lang="tr-TR" sz="1100" smtClean="0">
                  <a:solidFill>
                    <a:schemeClr val="bg1">
                      <a:lumMod val="65000"/>
                    </a:schemeClr>
                  </a:solidFill>
                  <a:latin typeface="Franklin Gothic Medium Cond" panose="020B0606030402020204" pitchFamily="34" charset="0"/>
                  <a:cs typeface="Segoe UI" panose="020B0502040204020203" pitchFamily="34" charset="0"/>
                </a:rPr>
                <a:t>them</a:t>
              </a:r>
              <a:r>
                <a:rPr lang="en-US" sz="1100" smtClean="0">
                  <a:solidFill>
                    <a:schemeClr val="bg1">
                      <a:lumMod val="65000"/>
                    </a:schemeClr>
                  </a:solidFill>
                  <a:latin typeface="Franklin Gothic Medium Cond" panose="020B0606030402020204" pitchFamily="34" charset="0"/>
                  <a:cs typeface="Segoe UI" panose="020B0502040204020203" pitchFamily="34" charset="0"/>
                </a:rPr>
                <a:t> </a:t>
              </a:r>
              <a:r>
                <a:rPr lang="en-US" sz="1100">
                  <a:solidFill>
                    <a:schemeClr val="bg1">
                      <a:lumMod val="65000"/>
                    </a:schemeClr>
                  </a:solidFill>
                  <a:latin typeface="Franklin Gothic Medium Cond" panose="020B0606030402020204" pitchFamily="34" charset="0"/>
                  <a:cs typeface="Segoe UI" panose="020B0502040204020203" pitchFamily="34" charset="0"/>
                </a:rPr>
                <a:t>about </a:t>
              </a:r>
              <a:r>
                <a:rPr lang="tr-TR" sz="1100" smtClean="0">
                  <a:solidFill>
                    <a:schemeClr val="bg1">
                      <a:lumMod val="65000"/>
                    </a:schemeClr>
                  </a:solidFill>
                  <a:latin typeface="Franklin Gothic Medium Cond" panose="020B0606030402020204" pitchFamily="34" charset="0"/>
                  <a:cs typeface="Segoe UI" panose="020B0502040204020203" pitchFamily="34" charset="0"/>
                </a:rPr>
                <a:t>their</a:t>
              </a:r>
              <a:r>
                <a:rPr lang="en-US" sz="1100" smtClean="0">
                  <a:solidFill>
                    <a:schemeClr val="bg1">
                      <a:lumMod val="65000"/>
                    </a:schemeClr>
                  </a:solidFill>
                  <a:latin typeface="Franklin Gothic Medium Cond" panose="020B0606030402020204" pitchFamily="34" charset="0"/>
                  <a:cs typeface="Segoe UI" panose="020B0502040204020203" pitchFamily="34" charset="0"/>
                </a:rPr>
                <a:t> </a:t>
              </a:r>
              <a:r>
                <a:rPr lang="en-US" sz="1100" dirty="0">
                  <a:solidFill>
                    <a:schemeClr val="bg1">
                      <a:lumMod val="65000"/>
                    </a:schemeClr>
                  </a:solidFill>
                  <a:latin typeface="Franklin Gothic Medium Cond" panose="020B0606030402020204" pitchFamily="34" charset="0"/>
                  <a:cs typeface="Segoe UI" panose="020B0502040204020203" pitchFamily="34" charset="0"/>
                </a:rPr>
                <a:t>transactions</a:t>
              </a:r>
              <a:endParaRPr lang="id-ID" sz="1100" dirty="0">
                <a:solidFill>
                  <a:schemeClr val="bg1">
                    <a:lumMod val="65000"/>
                  </a:schemeClr>
                </a:solidFill>
                <a:latin typeface="Franklin Gothic Medium Cond" panose="020B0606030402020204" pitchFamily="34" charset="0"/>
                <a:cs typeface="Segoe UI" panose="020B0502040204020203" pitchFamily="34" charset="0"/>
              </a:endParaRPr>
            </a:p>
          </p:txBody>
        </p:sp>
      </p:grpSp>
    </p:spTree>
    <p:extLst>
      <p:ext uri="{BB962C8B-B14F-4D97-AF65-F5344CB8AC3E}">
        <p14:creationId xmlns:p14="http://schemas.microsoft.com/office/powerpoint/2010/main" val="10945314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Resim Yer Tutucusu 1"/>
          <p:cNvPicPr>
            <a:picLocks noGrp="1" noChangeAspect="1"/>
          </p:cNvPicPr>
          <p:nvPr>
            <p:ph type="pic" sz="quarter" idx="10"/>
          </p:nvPr>
        </p:nvPicPr>
        <p:blipFill>
          <a:blip r:embed="rId3" cstate="print">
            <a:extLst>
              <a:ext uri="{28A0092B-C50C-407E-A947-70E740481C1C}">
                <a14:useLocalDpi xmlns:a14="http://schemas.microsoft.com/office/drawing/2010/main" val="0"/>
              </a:ext>
            </a:extLst>
          </a:blip>
          <a:srcRect t="22601" b="22601"/>
          <a:stretch>
            <a:fillRect/>
          </a:stretch>
        </p:blipFill>
        <p:spPr>
          <a:xfrm>
            <a:off x="6240525" y="971641"/>
            <a:ext cx="2609850" cy="2145017"/>
          </a:xfrm>
        </p:spPr>
      </p:pic>
      <p:pic>
        <p:nvPicPr>
          <p:cNvPr id="3" name="Resim Yer Tutucusu 2"/>
          <p:cNvPicPr>
            <a:picLocks noGrp="1" noChangeAspect="1"/>
          </p:cNvPicPr>
          <p:nvPr>
            <p:ph type="pic" sz="quarter" idx="11"/>
          </p:nvPr>
        </p:nvPicPr>
        <p:blipFill>
          <a:blip r:embed="rId4" cstate="print">
            <a:extLst>
              <a:ext uri="{28A0092B-C50C-407E-A947-70E740481C1C}">
                <a14:useLocalDpi xmlns:a14="http://schemas.microsoft.com/office/drawing/2010/main" val="0"/>
              </a:ext>
            </a:extLst>
          </a:blip>
          <a:srcRect l="9442" r="9442"/>
          <a:stretch>
            <a:fillRect/>
          </a:stretch>
        </p:blipFill>
        <p:spPr>
          <a:xfrm>
            <a:off x="2755631" y="2776409"/>
            <a:ext cx="2609850" cy="2145017"/>
          </a:xfrm>
        </p:spPr>
      </p:pic>
      <p:grpSp>
        <p:nvGrpSpPr>
          <p:cNvPr id="8" name="Grup 7"/>
          <p:cNvGrpSpPr/>
          <p:nvPr/>
        </p:nvGrpSpPr>
        <p:grpSpPr>
          <a:xfrm>
            <a:off x="234207" y="2993316"/>
            <a:ext cx="2829606" cy="1011212"/>
            <a:chOff x="900320" y="2188280"/>
            <a:chExt cx="2783582" cy="1687709"/>
          </a:xfrm>
        </p:grpSpPr>
        <p:sp>
          <p:nvSpPr>
            <p:cNvPr id="9" name="Rectangle: Rounded Corners 4">
              <a:extLst>
                <a:ext uri="{FF2B5EF4-FFF2-40B4-BE49-F238E27FC236}">
                  <a16:creationId xmlns:a16="http://schemas.microsoft.com/office/drawing/2014/main" id="{B9928971-64A4-473F-BAA1-DF9D2DE89DD4}"/>
                </a:ext>
              </a:extLst>
            </p:cNvPr>
            <p:cNvSpPr/>
            <p:nvPr/>
          </p:nvSpPr>
          <p:spPr>
            <a:xfrm>
              <a:off x="900320" y="2188280"/>
              <a:ext cx="2783582" cy="1687709"/>
            </a:xfrm>
            <a:prstGeom prst="roundRect">
              <a:avLst>
                <a:gd name="adj" fmla="val 8611"/>
              </a:avLst>
            </a:prstGeom>
            <a:solidFill>
              <a:schemeClr val="bg1"/>
            </a:solidFill>
            <a:ln>
              <a:noFill/>
            </a:ln>
            <a:effectLst>
              <a:outerShdw blurRad="965200" sx="86000" sy="86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9" dirty="0">
                <a:latin typeface="Franklin Gothic Medium Cond" panose="020B0606030402020204" pitchFamily="34" charset="0"/>
              </a:endParaRPr>
            </a:p>
          </p:txBody>
        </p:sp>
        <p:sp>
          <p:nvSpPr>
            <p:cNvPr id="10" name="TextBox 5">
              <a:extLst>
                <a:ext uri="{FF2B5EF4-FFF2-40B4-BE49-F238E27FC236}">
                  <a16:creationId xmlns:a16="http://schemas.microsoft.com/office/drawing/2014/main" id="{27E191F9-E16A-40C2-9FF7-96B81CB0F843}"/>
                </a:ext>
              </a:extLst>
            </p:cNvPr>
            <p:cNvSpPr txBox="1"/>
            <p:nvPr/>
          </p:nvSpPr>
          <p:spPr>
            <a:xfrm>
              <a:off x="1034267" y="2422951"/>
              <a:ext cx="2561024" cy="694321"/>
            </a:xfrm>
            <a:prstGeom prst="rect">
              <a:avLst/>
            </a:prstGeom>
            <a:noFill/>
          </p:spPr>
          <p:txBody>
            <a:bodyPr wrap="square" rtlCol="0">
              <a:spAutoFit/>
            </a:bodyPr>
            <a:lstStyle/>
            <a:p>
              <a:pPr>
                <a:lnSpc>
                  <a:spcPct val="80000"/>
                </a:lnSpc>
              </a:pPr>
              <a:r>
                <a:rPr lang="tr-TR" sz="2629" dirty="0">
                  <a:solidFill>
                    <a:schemeClr val="tx1">
                      <a:lumMod val="85000"/>
                      <a:lumOff val="15000"/>
                    </a:schemeClr>
                  </a:solidFill>
                  <a:latin typeface="Franklin Gothic Medium Cond" panose="020B0606030402020204" pitchFamily="34" charset="0"/>
                </a:rPr>
                <a:t>ONE OF US</a:t>
              </a:r>
              <a:endParaRPr lang="en-US" sz="2629" dirty="0">
                <a:solidFill>
                  <a:schemeClr val="tx1">
                    <a:lumMod val="85000"/>
                    <a:lumOff val="15000"/>
                  </a:schemeClr>
                </a:solidFill>
                <a:latin typeface="Franklin Gothic Medium Cond" panose="020B0606030402020204" pitchFamily="34" charset="0"/>
              </a:endParaRPr>
            </a:p>
          </p:txBody>
        </p:sp>
        <p:sp>
          <p:nvSpPr>
            <p:cNvPr id="11" name="Rectangle 6">
              <a:extLst>
                <a:ext uri="{FF2B5EF4-FFF2-40B4-BE49-F238E27FC236}">
                  <a16:creationId xmlns:a16="http://schemas.microsoft.com/office/drawing/2014/main" id="{6A996BC4-CBD2-4C19-BECE-C4D95E481A81}"/>
                </a:ext>
              </a:extLst>
            </p:cNvPr>
            <p:cNvSpPr/>
            <p:nvPr/>
          </p:nvSpPr>
          <p:spPr>
            <a:xfrm>
              <a:off x="1034268" y="3063615"/>
              <a:ext cx="2561024" cy="719149"/>
            </a:xfrm>
            <a:prstGeom prst="rect">
              <a:avLst/>
            </a:prstGeom>
          </p:spPr>
          <p:txBody>
            <a:bodyPr wrap="square">
              <a:spAutoFit/>
            </a:bodyPr>
            <a:lstStyle/>
            <a:p>
              <a:r>
                <a:rPr lang="en-US" sz="1100" dirty="0">
                  <a:solidFill>
                    <a:schemeClr val="bg1">
                      <a:lumMod val="65000"/>
                    </a:schemeClr>
                  </a:solidFill>
                  <a:latin typeface="Franklin Gothic Medium Cond" panose="020B0606030402020204" pitchFamily="34" charset="0"/>
                  <a:cs typeface="Segoe UI" panose="020B0502040204020203" pitchFamily="34" charset="0"/>
                </a:rPr>
                <a:t>Close enough to go to Friday prayer together, friendly, non-marginalizing </a:t>
              </a:r>
              <a:endParaRPr lang="id-ID" sz="1100" dirty="0">
                <a:solidFill>
                  <a:schemeClr val="bg1">
                    <a:lumMod val="65000"/>
                  </a:schemeClr>
                </a:solidFill>
                <a:latin typeface="Franklin Gothic Medium Cond" panose="020B0606030402020204" pitchFamily="34" charset="0"/>
                <a:cs typeface="Segoe UI" panose="020B0502040204020203" pitchFamily="34" charset="0"/>
              </a:endParaRPr>
            </a:p>
          </p:txBody>
        </p:sp>
      </p:grpSp>
      <p:grpSp>
        <p:nvGrpSpPr>
          <p:cNvPr id="12" name="Grup 11"/>
          <p:cNvGrpSpPr/>
          <p:nvPr/>
        </p:nvGrpSpPr>
        <p:grpSpPr>
          <a:xfrm>
            <a:off x="8723153" y="2055089"/>
            <a:ext cx="2774408" cy="938227"/>
            <a:chOff x="8722484" y="748514"/>
            <a:chExt cx="2783582" cy="1687709"/>
          </a:xfrm>
        </p:grpSpPr>
        <p:sp>
          <p:nvSpPr>
            <p:cNvPr id="13" name="Rectangle: Rounded Corners 7">
              <a:extLst>
                <a:ext uri="{FF2B5EF4-FFF2-40B4-BE49-F238E27FC236}">
                  <a16:creationId xmlns:a16="http://schemas.microsoft.com/office/drawing/2014/main" id="{1EEECA30-B284-46E1-AC48-C5869DC986BC}"/>
                </a:ext>
              </a:extLst>
            </p:cNvPr>
            <p:cNvSpPr/>
            <p:nvPr/>
          </p:nvSpPr>
          <p:spPr>
            <a:xfrm>
              <a:off x="8722484" y="748514"/>
              <a:ext cx="2783582" cy="1687709"/>
            </a:xfrm>
            <a:prstGeom prst="roundRect">
              <a:avLst>
                <a:gd name="adj" fmla="val 8611"/>
              </a:avLst>
            </a:prstGeom>
            <a:solidFill>
              <a:schemeClr val="bg1"/>
            </a:solidFill>
            <a:ln>
              <a:noFill/>
            </a:ln>
            <a:effectLst>
              <a:outerShdw blurRad="965200" sx="86000" sy="86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9" dirty="0">
                <a:latin typeface="Franklin Gothic Medium Cond" panose="020B0606030402020204" pitchFamily="34" charset="0"/>
              </a:endParaRPr>
            </a:p>
          </p:txBody>
        </p:sp>
        <p:sp>
          <p:nvSpPr>
            <p:cNvPr id="14" name="TextBox 8">
              <a:extLst>
                <a:ext uri="{FF2B5EF4-FFF2-40B4-BE49-F238E27FC236}">
                  <a16:creationId xmlns:a16="http://schemas.microsoft.com/office/drawing/2014/main" id="{598DF547-A03B-458D-A1CC-7E9082445198}"/>
                </a:ext>
              </a:extLst>
            </p:cNvPr>
            <p:cNvSpPr txBox="1"/>
            <p:nvPr/>
          </p:nvSpPr>
          <p:spPr>
            <a:xfrm>
              <a:off x="8856431" y="983186"/>
              <a:ext cx="2561024" cy="748332"/>
            </a:xfrm>
            <a:prstGeom prst="rect">
              <a:avLst/>
            </a:prstGeom>
            <a:noFill/>
          </p:spPr>
          <p:txBody>
            <a:bodyPr wrap="square" rtlCol="0">
              <a:spAutoFit/>
            </a:bodyPr>
            <a:lstStyle/>
            <a:p>
              <a:pPr>
                <a:lnSpc>
                  <a:spcPct val="80000"/>
                </a:lnSpc>
              </a:pPr>
              <a:r>
                <a:rPr lang="tr-TR" sz="2629" dirty="0">
                  <a:solidFill>
                    <a:schemeClr val="tx1">
                      <a:lumMod val="85000"/>
                      <a:lumOff val="15000"/>
                    </a:schemeClr>
                  </a:solidFill>
                  <a:latin typeface="Franklin Gothic Medium Cond" panose="020B0606030402020204" pitchFamily="34" charset="0"/>
                </a:rPr>
                <a:t>LEAN</a:t>
              </a:r>
              <a:endParaRPr lang="en-US" sz="2629" dirty="0">
                <a:solidFill>
                  <a:schemeClr val="tx1">
                    <a:lumMod val="85000"/>
                    <a:lumOff val="15000"/>
                  </a:schemeClr>
                </a:solidFill>
                <a:latin typeface="Franklin Gothic Medium Cond" panose="020B0606030402020204" pitchFamily="34" charset="0"/>
              </a:endParaRPr>
            </a:p>
          </p:txBody>
        </p:sp>
        <p:sp>
          <p:nvSpPr>
            <p:cNvPr id="15" name="Rectangle 9">
              <a:extLst>
                <a:ext uri="{FF2B5EF4-FFF2-40B4-BE49-F238E27FC236}">
                  <a16:creationId xmlns:a16="http://schemas.microsoft.com/office/drawing/2014/main" id="{9E23323B-5A38-41A1-A6B9-1930AC1B7230}"/>
                </a:ext>
              </a:extLst>
            </p:cNvPr>
            <p:cNvSpPr/>
            <p:nvPr/>
          </p:nvSpPr>
          <p:spPr>
            <a:xfrm>
              <a:off x="8865135" y="1612338"/>
              <a:ext cx="2561024" cy="775092"/>
            </a:xfrm>
            <a:prstGeom prst="rect">
              <a:avLst/>
            </a:prstGeom>
          </p:spPr>
          <p:txBody>
            <a:bodyPr wrap="square">
              <a:spAutoFit/>
            </a:bodyPr>
            <a:lstStyle/>
            <a:p>
              <a:r>
                <a:rPr lang="tr-TR" sz="1100">
                  <a:solidFill>
                    <a:schemeClr val="bg1">
                      <a:lumMod val="65000"/>
                    </a:schemeClr>
                  </a:solidFill>
                  <a:latin typeface="Franklin Gothic Medium Cond" panose="020B0606030402020204" pitchFamily="34" charset="0"/>
                  <a:cs typeface="Segoe UI" panose="020B0502040204020203" pitchFamily="34" charset="0"/>
                </a:rPr>
                <a:t>C</a:t>
              </a:r>
              <a:r>
                <a:rPr lang="tr-TR" sz="1100" smtClean="0">
                  <a:solidFill>
                    <a:schemeClr val="bg1">
                      <a:lumMod val="65000"/>
                    </a:schemeClr>
                  </a:solidFill>
                  <a:latin typeface="Franklin Gothic Medium Cond" panose="020B0606030402020204" pitchFamily="34" charset="0"/>
                  <a:cs typeface="Segoe UI" panose="020B0502040204020203" pitchFamily="34" charset="0"/>
                </a:rPr>
                <a:t>ustomers</a:t>
              </a:r>
              <a:r>
                <a:rPr lang="en-US" sz="1100" smtClean="0">
                  <a:solidFill>
                    <a:schemeClr val="bg1">
                      <a:lumMod val="65000"/>
                    </a:schemeClr>
                  </a:solidFill>
                  <a:latin typeface="Franklin Gothic Medium Cond" panose="020B0606030402020204" pitchFamily="34" charset="0"/>
                  <a:cs typeface="Segoe UI" panose="020B0502040204020203" pitchFamily="34" charset="0"/>
                </a:rPr>
                <a:t> </a:t>
              </a:r>
              <a:r>
                <a:rPr lang="tr-TR" sz="1100" smtClean="0">
                  <a:solidFill>
                    <a:schemeClr val="bg1">
                      <a:lumMod val="65000"/>
                    </a:schemeClr>
                  </a:solidFill>
                  <a:latin typeface="Franklin Gothic Medium Cond" panose="020B0606030402020204" pitchFamily="34" charset="0"/>
                  <a:cs typeface="Segoe UI" panose="020B0502040204020203" pitchFamily="34" charset="0"/>
                </a:rPr>
                <a:t>do</a:t>
              </a:r>
              <a:r>
                <a:rPr lang="en-US" sz="1100" smtClean="0">
                  <a:solidFill>
                    <a:schemeClr val="bg1">
                      <a:lumMod val="65000"/>
                    </a:schemeClr>
                  </a:solidFill>
                  <a:latin typeface="Franklin Gothic Medium Cond" panose="020B0606030402020204" pitchFamily="34" charset="0"/>
                  <a:cs typeface="Segoe UI" panose="020B0502040204020203" pitchFamily="34" charset="0"/>
                </a:rPr>
                <a:t> </a:t>
              </a:r>
              <a:r>
                <a:rPr lang="en-US" sz="1100" dirty="0">
                  <a:solidFill>
                    <a:schemeClr val="bg1">
                      <a:lumMod val="65000"/>
                    </a:schemeClr>
                  </a:solidFill>
                  <a:latin typeface="Franklin Gothic Medium Cond" panose="020B0606030402020204" pitchFamily="34" charset="0"/>
                  <a:cs typeface="Segoe UI" panose="020B0502040204020203" pitchFamily="34" charset="0"/>
                </a:rPr>
                <a:t>not be lost between complex and numerous menus, interfaces </a:t>
              </a:r>
              <a:endParaRPr lang="id-ID" sz="1100" dirty="0">
                <a:solidFill>
                  <a:schemeClr val="bg1">
                    <a:lumMod val="65000"/>
                  </a:schemeClr>
                </a:solidFill>
                <a:latin typeface="Franklin Gothic Medium Cond" panose="020B0606030402020204" pitchFamily="34" charset="0"/>
                <a:cs typeface="Segoe UI" panose="020B0502040204020203" pitchFamily="34" charset="0"/>
              </a:endParaRPr>
            </a:p>
          </p:txBody>
        </p:sp>
      </p:grpSp>
    </p:spTree>
    <p:extLst>
      <p:ext uri="{BB962C8B-B14F-4D97-AF65-F5344CB8AC3E}">
        <p14:creationId xmlns:p14="http://schemas.microsoft.com/office/powerpoint/2010/main" val="4909908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Rounded Corners 15">
            <a:extLst>
              <a:ext uri="{FF2B5EF4-FFF2-40B4-BE49-F238E27FC236}">
                <a16:creationId xmlns:a16="http://schemas.microsoft.com/office/drawing/2014/main" id="{B8677718-DAC9-4ED9-B4A0-525FFF8FB7B6}"/>
              </a:ext>
            </a:extLst>
          </p:cNvPr>
          <p:cNvSpPr/>
          <p:nvPr/>
        </p:nvSpPr>
        <p:spPr>
          <a:xfrm>
            <a:off x="1077277" y="585803"/>
            <a:ext cx="10246659" cy="5719747"/>
          </a:xfrm>
          <a:prstGeom prst="roundRect">
            <a:avLst>
              <a:gd name="adj" fmla="val 2865"/>
            </a:avLst>
          </a:prstGeom>
          <a:solidFill>
            <a:schemeClr val="bg1"/>
          </a:solidFill>
          <a:ln>
            <a:noFill/>
          </a:ln>
          <a:effectLst>
            <a:outerShdw blurRad="660400" dist="50800" dir="5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Rounded Corners 16">
            <a:extLst>
              <a:ext uri="{FF2B5EF4-FFF2-40B4-BE49-F238E27FC236}">
                <a16:creationId xmlns:a16="http://schemas.microsoft.com/office/drawing/2014/main" id="{C9F36E0E-1F1D-42A1-8962-C985F4C4289C}"/>
              </a:ext>
            </a:extLst>
          </p:cNvPr>
          <p:cNvSpPr/>
          <p:nvPr/>
        </p:nvSpPr>
        <p:spPr>
          <a:xfrm>
            <a:off x="7961558" y="2291542"/>
            <a:ext cx="3806932" cy="3086802"/>
          </a:xfrm>
          <a:prstGeom prst="roundRect">
            <a:avLst>
              <a:gd name="adj" fmla="val 5195"/>
            </a:avLst>
          </a:prstGeom>
          <a:solidFill>
            <a:schemeClr val="bg1"/>
          </a:solidFill>
          <a:ln>
            <a:noFill/>
          </a:ln>
          <a:effectLst>
            <a:outerShdw blurRad="660400" dist="50800" dir="5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TextBox 22">
            <a:extLst>
              <a:ext uri="{FF2B5EF4-FFF2-40B4-BE49-F238E27FC236}">
                <a16:creationId xmlns:a16="http://schemas.microsoft.com/office/drawing/2014/main" id="{45428756-C540-40F1-BD8E-86B54DE2410D}"/>
              </a:ext>
            </a:extLst>
          </p:cNvPr>
          <p:cNvSpPr txBox="1"/>
          <p:nvPr/>
        </p:nvSpPr>
        <p:spPr>
          <a:xfrm>
            <a:off x="1604857" y="834418"/>
            <a:ext cx="8834543" cy="634020"/>
          </a:xfrm>
          <a:prstGeom prst="rect">
            <a:avLst/>
          </a:prstGeom>
        </p:spPr>
        <p:txBody>
          <a:bodyPr wrap="square">
            <a:spAutoFit/>
          </a:bodyPr>
          <a:lstStyle>
            <a:defPPr>
              <a:defRPr lang="tr-TR"/>
            </a:defPPr>
            <a:lvl1pPr>
              <a:lnSpc>
                <a:spcPct val="80000"/>
              </a:lnSpc>
              <a:defRPr sz="4800" spc="-90">
                <a:gradFill>
                  <a:gsLst>
                    <a:gs pos="8000">
                      <a:srgbClr val="EC2B8C"/>
                    </a:gs>
                    <a:gs pos="100000">
                      <a:srgbClr val="8D27CB"/>
                    </a:gs>
                  </a:gsLst>
                  <a:lin ang="2700000" scaled="1"/>
                </a:gradFill>
                <a:latin typeface="Franklin Gothic Medium Cond" panose="020B0606030402020204" pitchFamily="34" charset="0"/>
              </a:defRPr>
            </a:lvl1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4400" b="0" i="0" u="none" strike="noStrike" kern="1200" cap="none" spc="-90" normalizeH="0" baseline="0" noProof="0" dirty="0">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rPr>
              <a:t>Muslim population in Europe</a:t>
            </a:r>
            <a:endParaRPr kumimoji="0" lang="en-US" sz="4800" b="0" i="0" u="none" strike="noStrike" kern="1200" cap="none" spc="-90" normalizeH="0" baseline="0" noProof="0" dirty="0">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endParaRPr>
          </a:p>
        </p:txBody>
      </p:sp>
      <p:sp>
        <p:nvSpPr>
          <p:cNvPr id="31" name="Oval 30">
            <a:extLst>
              <a:ext uri="{FF2B5EF4-FFF2-40B4-BE49-F238E27FC236}">
                <a16:creationId xmlns:a16="http://schemas.microsoft.com/office/drawing/2014/main" id="{071E17F9-C14C-492E-9E39-B38C36EB6DC7}"/>
              </a:ext>
            </a:extLst>
          </p:cNvPr>
          <p:cNvSpPr/>
          <p:nvPr/>
        </p:nvSpPr>
        <p:spPr>
          <a:xfrm>
            <a:off x="5097305" y="2162972"/>
            <a:ext cx="1671971" cy="1671971"/>
          </a:xfrm>
          <a:prstGeom prst="ellipse">
            <a:avLst/>
          </a:prstGeom>
          <a:noFill/>
          <a:ln w="76200">
            <a:solidFill>
              <a:schemeClr val="bg1">
                <a:lumMod val="65000"/>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Arc 31">
            <a:extLst>
              <a:ext uri="{FF2B5EF4-FFF2-40B4-BE49-F238E27FC236}">
                <a16:creationId xmlns:a16="http://schemas.microsoft.com/office/drawing/2014/main" id="{343B0979-E8D5-4741-B6FA-DDAB3B64AAC9}"/>
              </a:ext>
            </a:extLst>
          </p:cNvPr>
          <p:cNvSpPr/>
          <p:nvPr/>
        </p:nvSpPr>
        <p:spPr>
          <a:xfrm>
            <a:off x="5097305" y="2162972"/>
            <a:ext cx="1671971" cy="1671971"/>
          </a:xfrm>
          <a:prstGeom prst="arc">
            <a:avLst>
              <a:gd name="adj1" fmla="val 9519650"/>
              <a:gd name="adj2" fmla="val 436432"/>
            </a:avLst>
          </a:prstGeom>
          <a:ln w="76200" cap="rnd">
            <a:gradFill flip="none" rotWithShape="1">
              <a:gsLst>
                <a:gs pos="0">
                  <a:schemeClr val="accent1"/>
                </a:gs>
                <a:gs pos="100000">
                  <a:schemeClr val="accent2"/>
                </a:gs>
              </a:gsLst>
              <a:lin ang="13500000" scaled="1"/>
              <a:tileRect/>
            </a:gradFill>
            <a:headEnd type="oval" w="lg" len="lg"/>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33" name="TextBox 32">
            <a:extLst>
              <a:ext uri="{FF2B5EF4-FFF2-40B4-BE49-F238E27FC236}">
                <a16:creationId xmlns:a16="http://schemas.microsoft.com/office/drawing/2014/main" id="{6BF4E67E-4279-421B-940B-BFAF9E6AA99E}"/>
              </a:ext>
            </a:extLst>
          </p:cNvPr>
          <p:cNvSpPr txBox="1"/>
          <p:nvPr/>
        </p:nvSpPr>
        <p:spPr>
          <a:xfrm>
            <a:off x="5261056" y="2487354"/>
            <a:ext cx="1445074" cy="122084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4400" b="0" i="0" u="none" strike="noStrike" kern="1200" cap="none" spc="-150" normalizeH="0" baseline="0" noProof="0" dirty="0">
                <a:ln>
                  <a:noFill/>
                </a:ln>
                <a:solidFill>
                  <a:prstClr val="black">
                    <a:lumMod val="85000"/>
                    <a:lumOff val="15000"/>
                  </a:prstClr>
                </a:solidFill>
                <a:effectLst/>
                <a:uLnTx/>
                <a:uFillTx/>
                <a:latin typeface="Nexa Light" panose="02000000000000000000" pitchFamily="50" charset="0"/>
                <a:ea typeface="+mn-ea"/>
                <a:cs typeface="+mn-cs"/>
              </a:rPr>
              <a:t>2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4400" b="0" i="0" u="none" strike="noStrike" kern="1200" cap="none" spc="-150" normalizeH="0" baseline="30000" noProof="0" dirty="0">
                <a:ln>
                  <a:noFill/>
                </a:ln>
                <a:solidFill>
                  <a:prstClr val="black">
                    <a:lumMod val="85000"/>
                    <a:lumOff val="15000"/>
                  </a:prstClr>
                </a:solidFill>
                <a:effectLst/>
                <a:uLnTx/>
                <a:uFillTx/>
                <a:latin typeface="Nexa Light" panose="02000000000000000000" pitchFamily="50" charset="0"/>
                <a:ea typeface="+mn-ea"/>
                <a:cs typeface="+mn-cs"/>
              </a:rPr>
              <a:t>m</a:t>
            </a:r>
            <a:endParaRPr kumimoji="0" lang="en-US" sz="4400" b="0" i="0" u="none" strike="noStrike" kern="1200" cap="none" spc="-150" normalizeH="0" baseline="30000" noProof="0" dirty="0">
              <a:ln>
                <a:noFill/>
              </a:ln>
              <a:solidFill>
                <a:prstClr val="black">
                  <a:lumMod val="85000"/>
                  <a:lumOff val="15000"/>
                </a:prstClr>
              </a:solidFill>
              <a:effectLst/>
              <a:uLnTx/>
              <a:uFillTx/>
              <a:latin typeface="Nexa Light" panose="02000000000000000000" pitchFamily="50" charset="0"/>
              <a:ea typeface="+mn-ea"/>
              <a:cs typeface="+mn-cs"/>
            </a:endParaRPr>
          </a:p>
        </p:txBody>
      </p:sp>
      <p:sp>
        <p:nvSpPr>
          <p:cNvPr id="35" name="Oval 34">
            <a:extLst>
              <a:ext uri="{FF2B5EF4-FFF2-40B4-BE49-F238E27FC236}">
                <a16:creationId xmlns:a16="http://schemas.microsoft.com/office/drawing/2014/main" id="{5EEBBF83-3AF6-46A2-98AE-3F70C5AA9FF5}"/>
              </a:ext>
            </a:extLst>
          </p:cNvPr>
          <p:cNvSpPr/>
          <p:nvPr/>
        </p:nvSpPr>
        <p:spPr>
          <a:xfrm>
            <a:off x="5092542" y="4215467"/>
            <a:ext cx="1671971" cy="1671971"/>
          </a:xfrm>
          <a:prstGeom prst="ellipse">
            <a:avLst/>
          </a:prstGeom>
          <a:noFill/>
          <a:ln w="76200">
            <a:solidFill>
              <a:schemeClr val="bg1">
                <a:lumMod val="65000"/>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Arc 35">
            <a:extLst>
              <a:ext uri="{FF2B5EF4-FFF2-40B4-BE49-F238E27FC236}">
                <a16:creationId xmlns:a16="http://schemas.microsoft.com/office/drawing/2014/main" id="{1D3027BF-43EF-4069-B387-4BA049452C58}"/>
              </a:ext>
            </a:extLst>
          </p:cNvPr>
          <p:cNvSpPr/>
          <p:nvPr/>
        </p:nvSpPr>
        <p:spPr>
          <a:xfrm>
            <a:off x="5092542" y="4215467"/>
            <a:ext cx="1671971" cy="1671971"/>
          </a:xfrm>
          <a:prstGeom prst="arc">
            <a:avLst>
              <a:gd name="adj1" fmla="val 3416838"/>
              <a:gd name="adj2" fmla="val 436432"/>
            </a:avLst>
          </a:prstGeom>
          <a:ln w="76200" cap="rnd">
            <a:solidFill>
              <a:schemeClr val="tx1">
                <a:lumMod val="85000"/>
                <a:lumOff val="15000"/>
              </a:schemeClr>
            </a:solidFill>
            <a:headEnd type="oval" w="lg" len="lg"/>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endParaRPr>
          </a:p>
        </p:txBody>
      </p:sp>
      <p:sp>
        <p:nvSpPr>
          <p:cNvPr id="38" name="TextBox 37">
            <a:extLst>
              <a:ext uri="{FF2B5EF4-FFF2-40B4-BE49-F238E27FC236}">
                <a16:creationId xmlns:a16="http://schemas.microsoft.com/office/drawing/2014/main" id="{5DCBB7AB-275E-41B2-9C0F-0C352CBBE982}"/>
              </a:ext>
            </a:extLst>
          </p:cNvPr>
          <p:cNvSpPr txBox="1"/>
          <p:nvPr/>
        </p:nvSpPr>
        <p:spPr>
          <a:xfrm>
            <a:off x="1604857" y="2647690"/>
            <a:ext cx="2948592" cy="880241"/>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3200" b="0" i="0" u="none" strike="noStrike" kern="1200" cap="none" spc="-90" normalizeH="0" baseline="0" noProof="0" dirty="0">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rPr>
              <a:t>There are 20 million Muslim population.</a:t>
            </a:r>
          </a:p>
        </p:txBody>
      </p:sp>
      <p:sp>
        <p:nvSpPr>
          <p:cNvPr id="41" name="TextBox 40">
            <a:extLst>
              <a:ext uri="{FF2B5EF4-FFF2-40B4-BE49-F238E27FC236}">
                <a16:creationId xmlns:a16="http://schemas.microsoft.com/office/drawing/2014/main" id="{CA354259-4140-48B9-8009-C1C5D4A1C0DA}"/>
              </a:ext>
            </a:extLst>
          </p:cNvPr>
          <p:cNvSpPr txBox="1"/>
          <p:nvPr/>
        </p:nvSpPr>
        <p:spPr>
          <a:xfrm>
            <a:off x="1675894" y="4791323"/>
            <a:ext cx="3085541" cy="683264"/>
          </a:xfrm>
          <a:prstGeom prst="rect">
            <a:avLst/>
          </a:prstGeom>
          <a:noFill/>
        </p:spPr>
        <p:txBody>
          <a:bodyPr wrap="square" rtlCol="0">
            <a:spAutoFit/>
          </a:bodyPr>
          <a:lstStyle>
            <a:defPPr>
              <a:defRPr lang="tr-TR"/>
            </a:defPPr>
            <a:lvl1pPr algn="ctr">
              <a:lnSpc>
                <a:spcPct val="80000"/>
              </a:lnSpc>
              <a:defRPr sz="3200" spc="-90">
                <a:gradFill>
                  <a:gsLst>
                    <a:gs pos="8000">
                      <a:srgbClr val="EC2B8C"/>
                    </a:gs>
                    <a:gs pos="100000">
                      <a:srgbClr val="8D27CB"/>
                    </a:gs>
                  </a:gsLst>
                  <a:lin ang="2700000" scaled="1"/>
                </a:gradFill>
                <a:latin typeface="Franklin Gothic Medium Cond" panose="020B0606030402020204" pitchFamily="34" charset="0"/>
              </a:defRPr>
            </a:lvl1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2400" b="0" i="0" u="none" strike="noStrike" kern="1200" cap="none" spc="-90" normalizeH="0" baseline="0" noProof="0" dirty="0">
                <a:ln>
                  <a:noFill/>
                </a:ln>
                <a:solidFill>
                  <a:prstClr val="black">
                    <a:lumMod val="85000"/>
                    <a:lumOff val="15000"/>
                  </a:prstClr>
                </a:solidFill>
                <a:effectLst/>
                <a:uLnTx/>
                <a:uFillTx/>
                <a:latin typeface="Franklin Gothic Medium Cond" panose="020B0606030402020204" pitchFamily="34" charset="0"/>
                <a:ea typeface="+mn-ea"/>
                <a:cs typeface="+mn-cs"/>
              </a:rPr>
              <a:t>The number of settled Turks is 8 Million.</a:t>
            </a:r>
          </a:p>
        </p:txBody>
      </p:sp>
      <p:sp>
        <p:nvSpPr>
          <p:cNvPr id="24" name="TextBox 32">
            <a:extLst>
              <a:ext uri="{FF2B5EF4-FFF2-40B4-BE49-F238E27FC236}">
                <a16:creationId xmlns:a16="http://schemas.microsoft.com/office/drawing/2014/main" id="{6BF4E67E-4279-421B-940B-BFAF9E6AA99E}"/>
              </a:ext>
            </a:extLst>
          </p:cNvPr>
          <p:cNvSpPr txBox="1"/>
          <p:nvPr/>
        </p:nvSpPr>
        <p:spPr>
          <a:xfrm>
            <a:off x="5205990" y="4540103"/>
            <a:ext cx="1445074" cy="122084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4400" b="0" i="0" u="none" strike="noStrike" kern="1200" cap="none" spc="-150" normalizeH="0" baseline="0" noProof="0" dirty="0">
                <a:ln>
                  <a:noFill/>
                </a:ln>
                <a:solidFill>
                  <a:prstClr val="black">
                    <a:lumMod val="85000"/>
                    <a:lumOff val="15000"/>
                  </a:prstClr>
                </a:solidFill>
                <a:effectLst/>
                <a:uLnTx/>
                <a:uFillTx/>
                <a:latin typeface="Nexa Light" panose="02000000000000000000" pitchFamily="50" charset="0"/>
                <a:ea typeface="+mn-ea"/>
                <a:cs typeface="+mn-cs"/>
              </a:rPr>
              <a:t>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4400" b="0" i="0" u="none" strike="noStrike" kern="1200" cap="none" spc="-150" normalizeH="0" baseline="30000" noProof="0" dirty="0">
                <a:ln>
                  <a:noFill/>
                </a:ln>
                <a:solidFill>
                  <a:prstClr val="black">
                    <a:lumMod val="85000"/>
                    <a:lumOff val="15000"/>
                  </a:prstClr>
                </a:solidFill>
                <a:effectLst/>
                <a:uLnTx/>
                <a:uFillTx/>
                <a:latin typeface="Nexa Light" panose="02000000000000000000" pitchFamily="50" charset="0"/>
                <a:ea typeface="+mn-ea"/>
                <a:cs typeface="+mn-cs"/>
              </a:rPr>
              <a:t>m</a:t>
            </a:r>
            <a:endParaRPr kumimoji="0" lang="en-US" sz="4400" b="0" i="0" u="none" strike="noStrike" kern="1200" cap="none" spc="-150" normalizeH="0" baseline="30000" noProof="0" dirty="0">
              <a:ln>
                <a:noFill/>
              </a:ln>
              <a:solidFill>
                <a:prstClr val="black">
                  <a:lumMod val="85000"/>
                  <a:lumOff val="15000"/>
                </a:prstClr>
              </a:solidFill>
              <a:effectLst/>
              <a:uLnTx/>
              <a:uFillTx/>
              <a:latin typeface="Nexa Light" panose="02000000000000000000" pitchFamily="50" charset="0"/>
              <a:ea typeface="+mn-ea"/>
              <a:cs typeface="+mn-cs"/>
            </a:endParaRPr>
          </a:p>
        </p:txBody>
      </p:sp>
      <p:pic>
        <p:nvPicPr>
          <p:cNvPr id="27" name="Picture 7" descr="muslims in europe ile ilgili gÃ¶rsel sonucu"/>
          <p:cNvPicPr>
            <a:picLocks noChangeAspect="1" noChangeArrowheads="1"/>
          </p:cNvPicPr>
          <p:nvPr/>
        </p:nvPicPr>
        <p:blipFill rotWithShape="1">
          <a:blip r:embed="rId2">
            <a:extLst>
              <a:ext uri="{28A0092B-C50C-407E-A947-70E740481C1C}">
                <a14:useLocalDpi xmlns:a14="http://schemas.microsoft.com/office/drawing/2010/main" val="0"/>
              </a:ext>
            </a:extLst>
          </a:blip>
          <a:srcRect r="23559" b="11636"/>
          <a:stretch/>
        </p:blipFill>
        <p:spPr bwMode="auto">
          <a:xfrm>
            <a:off x="7966321" y="2291542"/>
            <a:ext cx="3802169" cy="3086802"/>
          </a:xfrm>
          <a:prstGeom prst="roundRect">
            <a:avLst>
              <a:gd name="adj" fmla="val 6176"/>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59715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Resim Yer Tutucusu 2"/>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23617" r="23617"/>
          <a:stretch>
            <a:fillRect/>
          </a:stretch>
        </p:blipFill>
        <p:spPr/>
      </p:pic>
      <p:sp>
        <p:nvSpPr>
          <p:cNvPr id="5" name="Rectangle 4">
            <a:extLst>
              <a:ext uri="{FF2B5EF4-FFF2-40B4-BE49-F238E27FC236}">
                <a16:creationId xmlns:a16="http://schemas.microsoft.com/office/drawing/2014/main" id="{0694823B-016B-4E7C-8727-8EE1ADE629DB}"/>
              </a:ext>
            </a:extLst>
          </p:cNvPr>
          <p:cNvSpPr/>
          <p:nvPr/>
        </p:nvSpPr>
        <p:spPr>
          <a:xfrm rot="16200000">
            <a:off x="2667001" y="-2666999"/>
            <a:ext cx="6858000" cy="12192000"/>
          </a:xfrm>
          <a:prstGeom prst="rect">
            <a:avLst/>
          </a:prstGeom>
          <a:gradFill>
            <a:gsLst>
              <a:gs pos="0">
                <a:schemeClr val="bg1">
                  <a:alpha val="41000"/>
                </a:schemeClr>
              </a:gs>
              <a:gs pos="25000">
                <a:schemeClr val="bg1">
                  <a:alpha val="77000"/>
                </a:schemeClr>
              </a:gs>
              <a:gs pos="58000">
                <a:srgbClr val="FFFFFF"/>
              </a:gs>
              <a:gs pos="77000">
                <a:schemeClr val="bg1"/>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Rectangle: Rounded Corners 5">
            <a:extLst>
              <a:ext uri="{FF2B5EF4-FFF2-40B4-BE49-F238E27FC236}">
                <a16:creationId xmlns:a16="http://schemas.microsoft.com/office/drawing/2014/main" id="{B20E1EE6-D238-4AAD-B754-FEA1D0EB015B}"/>
              </a:ext>
            </a:extLst>
          </p:cNvPr>
          <p:cNvSpPr/>
          <p:nvPr/>
        </p:nvSpPr>
        <p:spPr>
          <a:xfrm>
            <a:off x="5405959" y="991881"/>
            <a:ext cx="5886155" cy="2929571"/>
          </a:xfrm>
          <a:prstGeom prst="roundRect">
            <a:avLst>
              <a:gd name="adj" fmla="val 9743"/>
            </a:avLst>
          </a:prstGeom>
          <a:solidFill>
            <a:schemeClr val="bg1"/>
          </a:solidFill>
          <a:ln>
            <a:noFill/>
          </a:ln>
          <a:effectLst>
            <a:outerShdw blurRad="1270000" sx="102000" sy="102000" algn="ctr"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Rectangle 7">
            <a:extLst>
              <a:ext uri="{FF2B5EF4-FFF2-40B4-BE49-F238E27FC236}">
                <a16:creationId xmlns:a16="http://schemas.microsoft.com/office/drawing/2014/main" id="{669886C6-257C-42A6-8ED9-D78FBDCA0EB8}"/>
              </a:ext>
            </a:extLst>
          </p:cNvPr>
          <p:cNvSpPr/>
          <p:nvPr/>
        </p:nvSpPr>
        <p:spPr>
          <a:xfrm>
            <a:off x="5649314" y="2797772"/>
            <a:ext cx="5516915" cy="646331"/>
          </a:xfrm>
          <a:prstGeom prst="rect">
            <a:avLst/>
          </a:prstGeom>
        </p:spPr>
        <p:txBody>
          <a:bodyPr wrap="square">
            <a:spAutoFit/>
          </a:bodyPr>
          <a:lstStyle/>
          <a:p>
            <a:r>
              <a:rPr lang="en-US" dirty="0">
                <a:solidFill>
                  <a:schemeClr val="tx2"/>
                </a:solidFill>
                <a:latin typeface="Franklin Gothic Medium Cond" panose="020B0606030402020204" pitchFamily="34" charset="0"/>
              </a:rPr>
              <a:t>In the last 10 years, the Muslim population has grown from 4% to 6.2% of the total European population.</a:t>
            </a:r>
          </a:p>
        </p:txBody>
      </p:sp>
      <p:sp>
        <p:nvSpPr>
          <p:cNvPr id="35" name="TextBox 34">
            <a:extLst>
              <a:ext uri="{FF2B5EF4-FFF2-40B4-BE49-F238E27FC236}">
                <a16:creationId xmlns:a16="http://schemas.microsoft.com/office/drawing/2014/main" id="{F46F546D-0119-4DBB-A752-74B63D0701F7}"/>
              </a:ext>
            </a:extLst>
          </p:cNvPr>
          <p:cNvSpPr txBox="1"/>
          <p:nvPr/>
        </p:nvSpPr>
        <p:spPr>
          <a:xfrm>
            <a:off x="5611157" y="1296426"/>
            <a:ext cx="5458291" cy="1384995"/>
          </a:xfrm>
          <a:prstGeom prst="rect">
            <a:avLst/>
          </a:prstGeom>
          <a:noFill/>
        </p:spPr>
        <p:txBody>
          <a:bodyPr wrap="square" rtlCol="0">
            <a:spAutoFit/>
          </a:bodyPr>
          <a:lstStyle/>
          <a:p>
            <a:pPr lvl="0">
              <a:defRPr/>
            </a:pPr>
            <a:r>
              <a:rPr lang="en-US" sz="2800" kern="0" spc="-165" dirty="0">
                <a:solidFill>
                  <a:prstClr val="black">
                    <a:lumMod val="65000"/>
                    <a:lumOff val="35000"/>
                  </a:prstClr>
                </a:solidFill>
                <a:latin typeface="Franklin Gothic Medium Cond" panose="020B0606030402020204" pitchFamily="34" charset="0"/>
              </a:rPr>
              <a:t>The proportion of the Muslim population to the total population will increase and Muslims will have a greater economic strength.</a:t>
            </a:r>
          </a:p>
        </p:txBody>
      </p:sp>
      <p:sp>
        <p:nvSpPr>
          <p:cNvPr id="20" name="Rectangle: Rounded Corners 9">
            <a:extLst>
              <a:ext uri="{FF2B5EF4-FFF2-40B4-BE49-F238E27FC236}">
                <a16:creationId xmlns:a16="http://schemas.microsoft.com/office/drawing/2014/main" id="{EB753C89-81E8-43F0-BAE8-91EFC8047799}"/>
              </a:ext>
            </a:extLst>
          </p:cNvPr>
          <p:cNvSpPr/>
          <p:nvPr/>
        </p:nvSpPr>
        <p:spPr>
          <a:xfrm>
            <a:off x="6780773" y="4576147"/>
            <a:ext cx="3366527" cy="1347694"/>
          </a:xfrm>
          <a:prstGeom prst="roundRect">
            <a:avLst>
              <a:gd name="adj" fmla="val 6481"/>
            </a:avLst>
          </a:prstGeom>
          <a:gradFill flip="none" rotWithShape="1">
            <a:gsLst>
              <a:gs pos="200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17">
            <a:extLst>
              <a:ext uri="{FF2B5EF4-FFF2-40B4-BE49-F238E27FC236}">
                <a16:creationId xmlns:a16="http://schemas.microsoft.com/office/drawing/2014/main" id="{212C49EE-B794-4AB1-9B8A-CC5FED07EF71}"/>
              </a:ext>
            </a:extLst>
          </p:cNvPr>
          <p:cNvSpPr txBox="1"/>
          <p:nvPr/>
        </p:nvSpPr>
        <p:spPr>
          <a:xfrm>
            <a:off x="6897205" y="4777250"/>
            <a:ext cx="1553147" cy="923330"/>
          </a:xfrm>
          <a:prstGeom prst="rect">
            <a:avLst/>
          </a:prstGeom>
          <a:noFill/>
        </p:spPr>
        <p:txBody>
          <a:bodyPr wrap="square" rtlCol="0" anchor="ctr">
            <a:spAutoFit/>
          </a:bodyPr>
          <a:lstStyle/>
          <a:p>
            <a:r>
              <a:rPr lang="tr-TR" sz="5400" dirty="0">
                <a:solidFill>
                  <a:schemeClr val="bg1"/>
                </a:solidFill>
                <a:latin typeface="Nexa Bold" panose="02000000000000000000" pitchFamily="50" charset="0"/>
              </a:rPr>
              <a:t>14</a:t>
            </a:r>
            <a:r>
              <a:rPr lang="en-US" sz="5400" baseline="30000" dirty="0">
                <a:solidFill>
                  <a:schemeClr val="bg1"/>
                </a:solidFill>
                <a:latin typeface="Nexa Bold" panose="02000000000000000000" pitchFamily="50" charset="0"/>
              </a:rPr>
              <a:t>%</a:t>
            </a:r>
          </a:p>
        </p:txBody>
      </p:sp>
      <p:sp>
        <p:nvSpPr>
          <p:cNvPr id="24" name="TextBox 19">
            <a:extLst>
              <a:ext uri="{FF2B5EF4-FFF2-40B4-BE49-F238E27FC236}">
                <a16:creationId xmlns:a16="http://schemas.microsoft.com/office/drawing/2014/main" id="{01F4655C-603B-4DAD-AA85-978FAB9A7ED7}"/>
              </a:ext>
            </a:extLst>
          </p:cNvPr>
          <p:cNvSpPr txBox="1"/>
          <p:nvPr/>
        </p:nvSpPr>
        <p:spPr>
          <a:xfrm>
            <a:off x="8193319" y="4958851"/>
            <a:ext cx="2109414" cy="683264"/>
          </a:xfrm>
          <a:prstGeom prst="rect">
            <a:avLst/>
          </a:prstGeom>
          <a:noFill/>
        </p:spPr>
        <p:txBody>
          <a:bodyPr wrap="square" rtlCol="0">
            <a:spAutoFit/>
          </a:bodyPr>
          <a:lstStyle/>
          <a:p>
            <a:pPr>
              <a:lnSpc>
                <a:spcPct val="80000"/>
              </a:lnSpc>
            </a:pPr>
            <a:r>
              <a:rPr lang="en-US" sz="1600" dirty="0">
                <a:solidFill>
                  <a:schemeClr val="bg1"/>
                </a:solidFill>
                <a:latin typeface="Nexa Bold" panose="02000000000000000000" pitchFamily="50" charset="0"/>
              </a:rPr>
              <a:t>Expected  Muslim population in Europe in 2050</a:t>
            </a:r>
          </a:p>
        </p:txBody>
      </p:sp>
      <p:sp>
        <p:nvSpPr>
          <p:cNvPr id="26" name="Dikdörtgen 25"/>
          <p:cNvSpPr/>
          <p:nvPr/>
        </p:nvSpPr>
        <p:spPr>
          <a:xfrm>
            <a:off x="4984862" y="6500677"/>
            <a:ext cx="2338461" cy="276999"/>
          </a:xfrm>
          <a:prstGeom prst="rect">
            <a:avLst/>
          </a:prstGeom>
        </p:spPr>
        <p:txBody>
          <a:bodyPr wrap="none">
            <a:spAutoFit/>
          </a:bodyPr>
          <a:lstStyle/>
          <a:p>
            <a:r>
              <a:rPr lang="tr-TR" sz="1200" kern="900" dirty="0">
                <a:solidFill>
                  <a:schemeClr val="tx2"/>
                </a:solidFill>
                <a:latin typeface="Franklin Gothic Medium Cond" panose="020B0606030402020204" pitchFamily="34" charset="0"/>
              </a:rPr>
              <a:t>Resource:  PEW Research &amp; ArabNews</a:t>
            </a:r>
          </a:p>
        </p:txBody>
      </p:sp>
    </p:spTree>
    <p:extLst>
      <p:ext uri="{BB962C8B-B14F-4D97-AF65-F5344CB8AC3E}">
        <p14:creationId xmlns:p14="http://schemas.microsoft.com/office/powerpoint/2010/main" val="1126688803"/>
      </p:ext>
    </p:extLst>
  </p:cSld>
  <p:clrMapOvr>
    <a:masterClrMapping/>
  </p:clrMapOvr>
  <p:transition spd="slow">
    <p:wipe dir="d"/>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694823B-016B-4E7C-8727-8EE1ADE629DB}"/>
              </a:ext>
            </a:extLst>
          </p:cNvPr>
          <p:cNvSpPr/>
          <p:nvPr/>
        </p:nvSpPr>
        <p:spPr>
          <a:xfrm rot="16200000">
            <a:off x="3126149" y="-3270527"/>
            <a:ext cx="5650945" cy="12192000"/>
          </a:xfrm>
          <a:prstGeom prst="rect">
            <a:avLst/>
          </a:prstGeom>
          <a:gradFill>
            <a:gsLst>
              <a:gs pos="0">
                <a:schemeClr val="bg1">
                  <a:alpha val="41000"/>
                </a:schemeClr>
              </a:gs>
              <a:gs pos="25000">
                <a:schemeClr val="bg1">
                  <a:alpha val="77000"/>
                </a:schemeClr>
              </a:gs>
              <a:gs pos="58000">
                <a:srgbClr val="FFFFFF"/>
              </a:gs>
              <a:gs pos="77000">
                <a:schemeClr val="bg1"/>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1" name="Rectangle: Rounded Corners 5">
            <a:extLst>
              <a:ext uri="{FF2B5EF4-FFF2-40B4-BE49-F238E27FC236}">
                <a16:creationId xmlns:a16="http://schemas.microsoft.com/office/drawing/2014/main" id="{B20E1EE6-D238-4AAD-B754-FEA1D0EB015B}"/>
              </a:ext>
            </a:extLst>
          </p:cNvPr>
          <p:cNvSpPr/>
          <p:nvPr/>
        </p:nvSpPr>
        <p:spPr>
          <a:xfrm>
            <a:off x="5405959" y="991881"/>
            <a:ext cx="5886155" cy="2929571"/>
          </a:xfrm>
          <a:prstGeom prst="roundRect">
            <a:avLst>
              <a:gd name="adj" fmla="val 9743"/>
            </a:avLst>
          </a:prstGeom>
          <a:solidFill>
            <a:schemeClr val="bg1"/>
          </a:solidFill>
          <a:ln>
            <a:noFill/>
          </a:ln>
          <a:effectLst>
            <a:outerShdw blurRad="1270000" sx="102000" sy="102000" algn="ctr"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Rectangle 7">
            <a:extLst>
              <a:ext uri="{FF2B5EF4-FFF2-40B4-BE49-F238E27FC236}">
                <a16:creationId xmlns:a16="http://schemas.microsoft.com/office/drawing/2014/main" id="{669886C6-257C-42A6-8ED9-D78FBDCA0EB8}"/>
              </a:ext>
            </a:extLst>
          </p:cNvPr>
          <p:cNvSpPr/>
          <p:nvPr/>
        </p:nvSpPr>
        <p:spPr>
          <a:xfrm>
            <a:off x="5649314" y="2797772"/>
            <a:ext cx="5516915" cy="646331"/>
          </a:xfrm>
          <a:prstGeom prst="rect">
            <a:avLst/>
          </a:prstGeom>
        </p:spPr>
        <p:txBody>
          <a:bodyPr wrap="square">
            <a:spAutoFit/>
          </a:bodyPr>
          <a:lstStyle/>
          <a:p>
            <a:r>
              <a:rPr lang="en-US" dirty="0">
                <a:solidFill>
                  <a:schemeClr val="tx2"/>
                </a:solidFill>
                <a:latin typeface="Franklin Gothic Medium Cond" panose="020B0606030402020204" pitchFamily="34" charset="0"/>
              </a:rPr>
              <a:t>The Muslim youth expect the financial services sector to adopt not only Money management, but also social responsibility.</a:t>
            </a:r>
          </a:p>
        </p:txBody>
      </p:sp>
      <p:sp>
        <p:nvSpPr>
          <p:cNvPr id="23" name="TextBox 34">
            <a:extLst>
              <a:ext uri="{FF2B5EF4-FFF2-40B4-BE49-F238E27FC236}">
                <a16:creationId xmlns:a16="http://schemas.microsoft.com/office/drawing/2014/main" id="{F46F546D-0119-4DBB-A752-74B63D0701F7}"/>
              </a:ext>
            </a:extLst>
          </p:cNvPr>
          <p:cNvSpPr txBox="1"/>
          <p:nvPr/>
        </p:nvSpPr>
        <p:spPr>
          <a:xfrm>
            <a:off x="5611157" y="1296426"/>
            <a:ext cx="5680957" cy="1384995"/>
          </a:xfrm>
          <a:prstGeom prst="rect">
            <a:avLst/>
          </a:prstGeom>
          <a:noFill/>
        </p:spPr>
        <p:txBody>
          <a:bodyPr wrap="square" rtlCol="0">
            <a:spAutoFit/>
          </a:bodyPr>
          <a:lstStyle/>
          <a:p>
            <a:pPr lvl="0">
              <a:defRPr/>
            </a:pPr>
            <a:r>
              <a:rPr lang="en-US" sz="2800" kern="0" spc="-165" dirty="0">
                <a:solidFill>
                  <a:prstClr val="black">
                    <a:lumMod val="65000"/>
                    <a:lumOff val="35000"/>
                  </a:prstClr>
                </a:solidFill>
                <a:latin typeface="Franklin Gothic Medium Cond" panose="020B0606030402020204" pitchFamily="34" charset="0"/>
              </a:rPr>
              <a:t>They are showing specific consumption behaviors and are not satisfied with the current banking experience.</a:t>
            </a:r>
          </a:p>
        </p:txBody>
      </p:sp>
      <p:sp>
        <p:nvSpPr>
          <p:cNvPr id="24" name="Rectangle: Rounded Corners 9">
            <a:extLst>
              <a:ext uri="{FF2B5EF4-FFF2-40B4-BE49-F238E27FC236}">
                <a16:creationId xmlns:a16="http://schemas.microsoft.com/office/drawing/2014/main" id="{EB753C89-81E8-43F0-BAE8-91EFC8047799}"/>
              </a:ext>
            </a:extLst>
          </p:cNvPr>
          <p:cNvSpPr/>
          <p:nvPr/>
        </p:nvSpPr>
        <p:spPr>
          <a:xfrm>
            <a:off x="6800083" y="4524981"/>
            <a:ext cx="3036068" cy="1347694"/>
          </a:xfrm>
          <a:prstGeom prst="roundRect">
            <a:avLst>
              <a:gd name="adj" fmla="val 6481"/>
            </a:avLst>
          </a:prstGeom>
          <a:gradFill flip="none" rotWithShape="1">
            <a:gsLst>
              <a:gs pos="200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17">
            <a:extLst>
              <a:ext uri="{FF2B5EF4-FFF2-40B4-BE49-F238E27FC236}">
                <a16:creationId xmlns:a16="http://schemas.microsoft.com/office/drawing/2014/main" id="{212C49EE-B794-4AB1-9B8A-CC5FED07EF71}"/>
              </a:ext>
            </a:extLst>
          </p:cNvPr>
          <p:cNvSpPr txBox="1"/>
          <p:nvPr/>
        </p:nvSpPr>
        <p:spPr>
          <a:xfrm>
            <a:off x="7096552" y="4617714"/>
            <a:ext cx="2415748" cy="1200329"/>
          </a:xfrm>
          <a:prstGeom prst="rect">
            <a:avLst/>
          </a:prstGeom>
          <a:noFill/>
        </p:spPr>
        <p:txBody>
          <a:bodyPr wrap="square" rtlCol="0" anchor="ctr">
            <a:spAutoFit/>
          </a:bodyPr>
          <a:lstStyle/>
          <a:p>
            <a:pPr algn="ctr"/>
            <a:r>
              <a:rPr lang="tr-TR" sz="2800" dirty="0">
                <a:solidFill>
                  <a:schemeClr val="bg1"/>
                </a:solidFill>
                <a:latin typeface="Nexa Bold" panose="02000000000000000000" pitchFamily="50" charset="0"/>
              </a:rPr>
              <a:t>Generation </a:t>
            </a:r>
            <a:r>
              <a:rPr lang="tr-TR" sz="4400" dirty="0">
                <a:solidFill>
                  <a:schemeClr val="bg1"/>
                </a:solidFill>
                <a:latin typeface="Nexa Bold" panose="02000000000000000000" pitchFamily="50" charset="0"/>
              </a:rPr>
              <a:t>M</a:t>
            </a:r>
            <a:endParaRPr lang="en-US" sz="2800" baseline="30000" dirty="0">
              <a:solidFill>
                <a:schemeClr val="bg1"/>
              </a:solidFill>
              <a:latin typeface="Nexa Bold" panose="02000000000000000000" pitchFamily="50" charset="0"/>
            </a:endParaRPr>
          </a:p>
        </p:txBody>
      </p:sp>
      <p:sp>
        <p:nvSpPr>
          <p:cNvPr id="36" name="Dikdörtgen 35"/>
          <p:cNvSpPr/>
          <p:nvPr/>
        </p:nvSpPr>
        <p:spPr>
          <a:xfrm>
            <a:off x="4984862" y="6500677"/>
            <a:ext cx="2338461" cy="276999"/>
          </a:xfrm>
          <a:prstGeom prst="rect">
            <a:avLst/>
          </a:prstGeom>
        </p:spPr>
        <p:txBody>
          <a:bodyPr wrap="none">
            <a:spAutoFit/>
          </a:bodyPr>
          <a:lstStyle/>
          <a:p>
            <a:r>
              <a:rPr lang="tr-TR" sz="1200" kern="900" dirty="0">
                <a:solidFill>
                  <a:schemeClr val="tx2"/>
                </a:solidFill>
                <a:latin typeface="Franklin Gothic Medium Cond" panose="020B0606030402020204" pitchFamily="34" charset="0"/>
              </a:rPr>
              <a:t>Resource:  PEW Research &amp; ArabNews</a:t>
            </a:r>
          </a:p>
        </p:txBody>
      </p:sp>
    </p:spTree>
    <p:extLst>
      <p:ext uri="{BB962C8B-B14F-4D97-AF65-F5344CB8AC3E}">
        <p14:creationId xmlns:p14="http://schemas.microsoft.com/office/powerpoint/2010/main" val="875393585"/>
      </p:ext>
    </p:extLst>
  </p:cSld>
  <p:clrMapOvr>
    <a:masterClrMapping/>
  </p:clrMapOvr>
  <p:transition spd="slow">
    <p:wipe dir="d"/>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en-US" dirty="0" smtClean="0"/>
              <a:t>The new age banking</a:t>
            </a:r>
            <a:endParaRPr lang="en-US" dirty="0"/>
          </a:p>
        </p:txBody>
      </p:sp>
      <p:sp>
        <p:nvSpPr>
          <p:cNvPr id="3" name="İçerik Yer Tutucusu 2"/>
          <p:cNvSpPr>
            <a:spLocks noGrp="1"/>
          </p:cNvSpPr>
          <p:nvPr>
            <p:ph idx="1"/>
          </p:nvPr>
        </p:nvSpPr>
        <p:spPr/>
        <p:txBody>
          <a:bodyPr/>
          <a:lstStyle/>
          <a:p>
            <a:pPr algn="just"/>
            <a:r>
              <a:rPr lang="en-US" dirty="0" smtClean="0"/>
              <a:t>The new age banking can be defined as developing financial intermediation process in banking with informatics and computer technologies.</a:t>
            </a:r>
          </a:p>
          <a:p>
            <a:pPr algn="just"/>
            <a:r>
              <a:rPr lang="en-US" dirty="0" smtClean="0"/>
              <a:t>So the new age banking is separated into two</a:t>
            </a:r>
            <a:r>
              <a:rPr lang="tr-TR" smtClean="0"/>
              <a:t> layers</a:t>
            </a:r>
            <a:r>
              <a:rPr lang="en-US" smtClean="0"/>
              <a:t>;</a:t>
            </a:r>
            <a:endParaRPr lang="en-US" dirty="0" smtClean="0"/>
          </a:p>
          <a:p>
            <a:pPr lvl="1" algn="just"/>
            <a:r>
              <a:rPr lang="en-US" dirty="0" smtClean="0"/>
              <a:t>Computer Technologies is the main element of Tier I New Age Banking</a:t>
            </a:r>
          </a:p>
          <a:p>
            <a:pPr lvl="1" algn="just"/>
            <a:r>
              <a:rPr lang="en-US" dirty="0" smtClean="0"/>
              <a:t>Informatics (A.I.) is the key factor for Tier II New Age Banking</a:t>
            </a:r>
          </a:p>
        </p:txBody>
      </p:sp>
    </p:spTree>
    <p:extLst>
      <p:ext uri="{BB962C8B-B14F-4D97-AF65-F5344CB8AC3E}">
        <p14:creationId xmlns:p14="http://schemas.microsoft.com/office/powerpoint/2010/main" val="118643406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 descr="https://cdn-images-1.medium.com/max/1400/1*C3RH4WFCLaOx8TMJKZqacQ.jpeg"/>
          <p:cNvPicPr>
            <a:picLocks noChangeAspect="1" noChangeArrowheads="1"/>
          </p:cNvPicPr>
          <p:nvPr/>
        </p:nvPicPr>
        <p:blipFill>
          <a:blip r:embed="rId3">
            <a:extLst>
              <a:ext uri="{28A0092B-C50C-407E-A947-70E740481C1C}">
                <a14:useLocalDpi xmlns:a14="http://schemas.microsoft.com/office/drawing/2010/main" val="0"/>
              </a:ext>
            </a:extLst>
          </a:blip>
          <a:srcRect t="1857" b="1857"/>
          <a:stretch>
            <a:fillRect/>
          </a:stretch>
        </p:blipFill>
        <p:spPr bwMode="auto">
          <a:xfrm>
            <a:off x="1801628" y="-34608"/>
            <a:ext cx="10798402" cy="690479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80C66FF4-1EB2-4351-B11B-97EF7E6CFD13}"/>
              </a:ext>
            </a:extLst>
          </p:cNvPr>
          <p:cNvSpPr/>
          <p:nvPr/>
        </p:nvSpPr>
        <p:spPr>
          <a:xfrm rot="5400000">
            <a:off x="649582" y="-679520"/>
            <a:ext cx="6904789" cy="8194615"/>
          </a:xfrm>
          <a:prstGeom prst="rect">
            <a:avLst/>
          </a:prstGeom>
          <a:gradFill>
            <a:gsLst>
              <a:gs pos="0">
                <a:schemeClr val="bg1">
                  <a:alpha val="0"/>
                </a:schemeClr>
              </a:gs>
              <a:gs pos="25000">
                <a:schemeClr val="bg1">
                  <a:alpha val="77000"/>
                </a:schemeClr>
              </a:gs>
              <a:gs pos="53000">
                <a:srgbClr val="FFFFFF"/>
              </a:gs>
              <a:gs pos="77000">
                <a:schemeClr val="bg1"/>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56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Oval 13">
            <a:extLst>
              <a:ext uri="{FF2B5EF4-FFF2-40B4-BE49-F238E27FC236}">
                <a16:creationId xmlns:a16="http://schemas.microsoft.com/office/drawing/2014/main" id="{6ED6EF73-14BC-4C49-8118-01CF7ADC5CC5}"/>
              </a:ext>
            </a:extLst>
          </p:cNvPr>
          <p:cNvSpPr/>
          <p:nvPr/>
        </p:nvSpPr>
        <p:spPr>
          <a:xfrm>
            <a:off x="7165918" y="2507927"/>
            <a:ext cx="286733" cy="286733"/>
          </a:xfrm>
          <a:prstGeom prst="ellipse">
            <a:avLst/>
          </a:prstGeom>
          <a:solidFill>
            <a:srgbClr val="EA2B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56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Oval 12">
            <a:extLst>
              <a:ext uri="{FF2B5EF4-FFF2-40B4-BE49-F238E27FC236}">
                <a16:creationId xmlns:a16="http://schemas.microsoft.com/office/drawing/2014/main" id="{B77BB036-8C8C-4D61-AF99-1FC1D014ED68}"/>
              </a:ext>
            </a:extLst>
          </p:cNvPr>
          <p:cNvSpPr/>
          <p:nvPr/>
        </p:nvSpPr>
        <p:spPr>
          <a:xfrm>
            <a:off x="7207751" y="2549761"/>
            <a:ext cx="203065" cy="203065"/>
          </a:xfrm>
          <a:prstGeom prst="ellipse">
            <a:avLst/>
          </a:prstGeom>
          <a:solidFill>
            <a:srgbClr val="9B28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56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14A4771A-345F-4D64-9A67-9F25EC7DFF75}"/>
              </a:ext>
            </a:extLst>
          </p:cNvPr>
          <p:cNvSpPr/>
          <p:nvPr/>
        </p:nvSpPr>
        <p:spPr>
          <a:xfrm>
            <a:off x="808977" y="1475553"/>
            <a:ext cx="5458462" cy="224676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lumMod val="65000"/>
                  </a:prstClr>
                </a:solidFill>
                <a:effectLst/>
                <a:uLnTx/>
                <a:uFillTx/>
                <a:latin typeface="Franklin Gothic Medium Cond" panose="020B0606030402020204" pitchFamily="34" charset="0"/>
                <a:ea typeface="+mn-ea"/>
                <a:cs typeface="Segoe UI" panose="020B0502040204020203" pitchFamily="34" charset="0"/>
              </a:rPr>
              <a:t>It is the business models in which </a:t>
            </a:r>
            <a:r>
              <a:rPr lang="en-US" sz="2000" dirty="0">
                <a:solidFill>
                  <a:prstClr val="white">
                    <a:lumMod val="65000"/>
                  </a:prstClr>
                </a:solidFill>
                <a:latin typeface="Franklin Gothic Medium Cond" panose="020B0606030402020204" pitchFamily="34" charset="0"/>
                <a:cs typeface="Segoe UI" panose="020B0502040204020203" pitchFamily="34" charset="0"/>
              </a:rPr>
              <a:t>enterprises</a:t>
            </a:r>
            <a:r>
              <a:rPr kumimoji="0" lang="en-US" sz="2000" b="0" i="0" u="none" strike="noStrike" kern="1200" cap="none" spc="0" normalizeH="0" baseline="0" noProof="0" dirty="0">
                <a:ln>
                  <a:noFill/>
                </a:ln>
                <a:solidFill>
                  <a:prstClr val="white">
                    <a:lumMod val="65000"/>
                  </a:prstClr>
                </a:solidFill>
                <a:effectLst/>
                <a:uLnTx/>
                <a:uFillTx/>
                <a:latin typeface="Franklin Gothic Medium Cond" panose="020B0606030402020204" pitchFamily="34" charset="0"/>
                <a:ea typeface="+mn-ea"/>
                <a:cs typeface="Segoe UI" panose="020B0502040204020203" pitchFamily="34" charset="0"/>
              </a:rPr>
              <a:t> develop their own brands by taking the infrastructure services from other service providers.</a:t>
            </a:r>
            <a:endParaRPr kumimoji="0" lang="id-ID" sz="2000" b="0" i="0" u="none" strike="noStrike" kern="1200" cap="none" spc="0" normalizeH="0" baseline="0" noProof="0" dirty="0">
              <a:ln>
                <a:noFill/>
              </a:ln>
              <a:solidFill>
                <a:prstClr val="white">
                  <a:lumMod val="65000"/>
                </a:prstClr>
              </a:solidFill>
              <a:effectLst/>
              <a:uLnTx/>
              <a:uFillTx/>
              <a:latin typeface="Franklin Gothic Medium Cond" panose="020B0606030402020204"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2000" b="0" i="0" u="none" strike="noStrike" kern="1200" cap="none" spc="0" normalizeH="0" baseline="0" noProof="0" dirty="0">
              <a:ln>
                <a:noFill/>
              </a:ln>
              <a:solidFill>
                <a:prstClr val="white">
                  <a:lumMod val="65000"/>
                </a:prstClr>
              </a:solidFill>
              <a:effectLst/>
              <a:uLnTx/>
              <a:uFillTx/>
              <a:latin typeface="Franklin Gothic Medium Cond" panose="020B0606030402020204"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tr-TR" sz="2000" noProof="0" dirty="0">
                <a:solidFill>
                  <a:prstClr val="white">
                    <a:lumMod val="65000"/>
                  </a:prstClr>
                </a:solidFill>
                <a:latin typeface="Franklin Gothic Medium Cond" panose="020B0606030402020204" pitchFamily="34" charset="0"/>
                <a:cs typeface="Segoe UI" panose="020B0502040204020203" pitchFamily="34" charset="0"/>
              </a:rPr>
              <a:t>S</a:t>
            </a:r>
            <a:r>
              <a:rPr kumimoji="0" lang="en-US" sz="2000" b="0" i="0" u="none" strike="noStrike" kern="1200" cap="none" spc="0" normalizeH="0" baseline="0" noProof="0" dirty="0">
                <a:ln>
                  <a:noFill/>
                </a:ln>
                <a:solidFill>
                  <a:prstClr val="white">
                    <a:lumMod val="65000"/>
                  </a:prstClr>
                </a:solidFill>
                <a:effectLst/>
                <a:uLnTx/>
                <a:uFillTx/>
                <a:latin typeface="Franklin Gothic Medium Cond" panose="020B0606030402020204" pitchFamily="34" charset="0"/>
                <a:ea typeface="+mn-ea"/>
                <a:cs typeface="Segoe UI" panose="020B0502040204020203" pitchFamily="34" charset="0"/>
              </a:rPr>
              <a:t>olaris</a:t>
            </a:r>
            <a:r>
              <a:rPr kumimoji="0" lang="tr-TR" sz="2000" b="0" i="0" u="none" strike="noStrike" kern="1200" cap="none" spc="0" normalizeH="0" baseline="0" noProof="0" dirty="0">
                <a:ln>
                  <a:noFill/>
                </a:ln>
                <a:solidFill>
                  <a:prstClr val="white">
                    <a:lumMod val="65000"/>
                  </a:prstClr>
                </a:solidFill>
                <a:effectLst/>
                <a:uLnTx/>
                <a:uFillTx/>
                <a:latin typeface="Franklin Gothic Medium Cond" panose="020B0606030402020204" pitchFamily="34" charset="0"/>
                <a:ea typeface="+mn-ea"/>
                <a:cs typeface="Segoe UI" panose="020B0502040204020203" pitchFamily="34" charset="0"/>
              </a:rPr>
              <a:t>B</a:t>
            </a:r>
            <a:r>
              <a:rPr kumimoji="0" lang="en-US" sz="2000" b="0" i="0" u="none" strike="noStrike" kern="1200" cap="none" spc="0" normalizeH="0" baseline="0" noProof="0" dirty="0">
                <a:ln>
                  <a:noFill/>
                </a:ln>
                <a:solidFill>
                  <a:prstClr val="white">
                    <a:lumMod val="65000"/>
                  </a:prstClr>
                </a:solidFill>
                <a:effectLst/>
                <a:uLnTx/>
                <a:uFillTx/>
                <a:latin typeface="Franklin Gothic Medium Cond" panose="020B0606030402020204" pitchFamily="34" charset="0"/>
                <a:ea typeface="+mn-ea"/>
                <a:cs typeface="Segoe UI" panose="020B0502040204020203" pitchFamily="34" charset="0"/>
              </a:rPr>
              <a:t>ank offers the opportunity to do banking with </a:t>
            </a:r>
            <a:r>
              <a:rPr kumimoji="0" lang="tr-TR" sz="2000" b="0" i="0" u="none" strike="noStrike" kern="1200" cap="none" spc="0" normalizeH="0" baseline="0" noProof="0" smtClean="0">
                <a:ln>
                  <a:noFill/>
                </a:ln>
                <a:solidFill>
                  <a:prstClr val="white">
                    <a:lumMod val="65000"/>
                  </a:prstClr>
                </a:solidFill>
                <a:effectLst/>
                <a:uLnTx/>
                <a:uFillTx/>
                <a:latin typeface="Franklin Gothic Medium Cond" panose="020B0606030402020204" pitchFamily="34" charset="0"/>
                <a:ea typeface="+mn-ea"/>
                <a:cs typeface="Segoe UI" panose="020B0502040204020203" pitchFamily="34" charset="0"/>
              </a:rPr>
              <a:t>y</a:t>
            </a:r>
            <a:r>
              <a:rPr kumimoji="0" lang="en-US" sz="2000" b="0" i="0" u="none" strike="noStrike" kern="1200" cap="none" spc="0" normalizeH="0" baseline="0" noProof="0" smtClean="0">
                <a:ln>
                  <a:noFill/>
                </a:ln>
                <a:solidFill>
                  <a:prstClr val="white">
                    <a:lumMod val="65000"/>
                  </a:prstClr>
                </a:solidFill>
                <a:effectLst/>
                <a:uLnTx/>
                <a:uFillTx/>
                <a:latin typeface="Franklin Gothic Medium Cond" panose="020B0606030402020204" pitchFamily="34" charset="0"/>
                <a:ea typeface="+mn-ea"/>
                <a:cs typeface="Segoe UI" panose="020B0502040204020203" pitchFamily="34" charset="0"/>
              </a:rPr>
              <a:t>our </a:t>
            </a:r>
            <a:r>
              <a:rPr kumimoji="0" lang="en-US" sz="2000" b="0" i="0" u="none" strike="noStrike" kern="1200" cap="none" spc="0" normalizeH="0" baseline="0" noProof="0" dirty="0">
                <a:ln>
                  <a:noFill/>
                </a:ln>
                <a:solidFill>
                  <a:prstClr val="white">
                    <a:lumMod val="65000"/>
                  </a:prstClr>
                </a:solidFill>
                <a:effectLst/>
                <a:uLnTx/>
                <a:uFillTx/>
                <a:latin typeface="Franklin Gothic Medium Cond" panose="020B0606030402020204" pitchFamily="34" charset="0"/>
                <a:ea typeface="+mn-ea"/>
                <a:cs typeface="Segoe UI" panose="020B0502040204020203" pitchFamily="34" charset="0"/>
              </a:rPr>
              <a:t>own brand in Europe using its banking license and infrastructure.</a:t>
            </a:r>
            <a:endParaRPr kumimoji="0" lang="id-ID" sz="2000" b="0" i="0" u="none" strike="noStrike" kern="1200" cap="none" spc="0" normalizeH="0" baseline="0" noProof="0" dirty="0">
              <a:ln>
                <a:noFill/>
              </a:ln>
              <a:solidFill>
                <a:prstClr val="white">
                  <a:lumMod val="65000"/>
                </a:prstClr>
              </a:solidFill>
              <a:effectLst/>
              <a:uLnTx/>
              <a:uFillTx/>
              <a:latin typeface="Franklin Gothic Medium Cond" panose="020B0606030402020204" pitchFamily="34" charset="0"/>
              <a:ea typeface="+mn-ea"/>
              <a:cs typeface="Segoe UI" panose="020B0502040204020203" pitchFamily="34" charset="0"/>
            </a:endParaRPr>
          </a:p>
        </p:txBody>
      </p:sp>
      <p:sp>
        <p:nvSpPr>
          <p:cNvPr id="12" name="Freeform: Shape 11">
            <a:extLst>
              <a:ext uri="{FF2B5EF4-FFF2-40B4-BE49-F238E27FC236}">
                <a16:creationId xmlns:a16="http://schemas.microsoft.com/office/drawing/2014/main" id="{E3159A5D-8594-4F25-861E-BFEB2D7B1B3B}"/>
              </a:ext>
            </a:extLst>
          </p:cNvPr>
          <p:cNvSpPr/>
          <p:nvPr/>
        </p:nvSpPr>
        <p:spPr>
          <a:xfrm rot="5400000">
            <a:off x="7627782" y="1346713"/>
            <a:ext cx="986082" cy="1623077"/>
          </a:xfrm>
          <a:custGeom>
            <a:avLst/>
            <a:gdLst>
              <a:gd name="connsiteX0" fmla="*/ 0 w 1571637"/>
              <a:gd name="connsiteY0" fmla="*/ 2372422 h 2586890"/>
              <a:gd name="connsiteX1" fmla="*/ 0 w 1571637"/>
              <a:gd name="connsiteY1" fmla="*/ 214467 h 2586890"/>
              <a:gd name="connsiteX2" fmla="*/ 214467 w 1571637"/>
              <a:gd name="connsiteY2" fmla="*/ 0 h 2586890"/>
              <a:gd name="connsiteX3" fmla="*/ 1152697 w 1571637"/>
              <a:gd name="connsiteY3" fmla="*/ 0 h 2586890"/>
              <a:gd name="connsiteX4" fmla="*/ 1367164 w 1571637"/>
              <a:gd name="connsiteY4" fmla="*/ 214467 h 2586890"/>
              <a:gd name="connsiteX5" fmla="*/ 1367164 w 1571637"/>
              <a:gd name="connsiteY5" fmla="*/ 2372422 h 2586890"/>
              <a:gd name="connsiteX6" fmla="*/ 1366249 w 1571637"/>
              <a:gd name="connsiteY6" fmla="*/ 2381502 h 2586890"/>
              <a:gd name="connsiteX7" fmla="*/ 1571637 w 1571637"/>
              <a:gd name="connsiteY7" fmla="*/ 2586890 h 2586890"/>
              <a:gd name="connsiteX8" fmla="*/ 1104272 w 1571637"/>
              <a:gd name="connsiteY8" fmla="*/ 2586890 h 2586890"/>
              <a:gd name="connsiteX9" fmla="*/ 1104272 w 1571637"/>
              <a:gd name="connsiteY9" fmla="*/ 2586889 h 2586890"/>
              <a:gd name="connsiteX10" fmla="*/ 214467 w 1571637"/>
              <a:gd name="connsiteY10" fmla="*/ 2586889 h 2586890"/>
              <a:gd name="connsiteX11" fmla="*/ 0 w 1571637"/>
              <a:gd name="connsiteY11" fmla="*/ 2372422 h 258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1637" h="2586890">
                <a:moveTo>
                  <a:pt x="0" y="2372422"/>
                </a:moveTo>
                <a:lnTo>
                  <a:pt x="0" y="214467"/>
                </a:lnTo>
                <a:cubicBezTo>
                  <a:pt x="0" y="96020"/>
                  <a:pt x="96020" y="0"/>
                  <a:pt x="214467" y="0"/>
                </a:cubicBezTo>
                <a:lnTo>
                  <a:pt x="1152697" y="0"/>
                </a:lnTo>
                <a:cubicBezTo>
                  <a:pt x="1271144" y="0"/>
                  <a:pt x="1367164" y="96020"/>
                  <a:pt x="1367164" y="214467"/>
                </a:cubicBezTo>
                <a:lnTo>
                  <a:pt x="1367164" y="2372422"/>
                </a:lnTo>
                <a:lnTo>
                  <a:pt x="1366249" y="2381502"/>
                </a:lnTo>
                <a:lnTo>
                  <a:pt x="1571637" y="2586890"/>
                </a:lnTo>
                <a:lnTo>
                  <a:pt x="1104272" y="2586890"/>
                </a:lnTo>
                <a:lnTo>
                  <a:pt x="1104272" y="2586889"/>
                </a:lnTo>
                <a:lnTo>
                  <a:pt x="214467" y="2586889"/>
                </a:lnTo>
                <a:cubicBezTo>
                  <a:pt x="96020" y="2586889"/>
                  <a:pt x="0" y="2490869"/>
                  <a:pt x="0" y="2372422"/>
                </a:cubicBezTo>
                <a:close/>
              </a:path>
            </a:pathLst>
          </a:custGeom>
          <a:solidFill>
            <a:schemeClr val="bg1"/>
          </a:solidFill>
          <a:ln>
            <a:noFill/>
          </a:ln>
          <a:effectLst>
            <a:outerShdw blurRad="1028700" dist="228600" dir="8100000" algn="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56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TextBox 19">
            <a:extLst>
              <a:ext uri="{FF2B5EF4-FFF2-40B4-BE49-F238E27FC236}">
                <a16:creationId xmlns:a16="http://schemas.microsoft.com/office/drawing/2014/main" id="{8232B5DD-0392-4D2A-B3F7-02B5D13D914E}"/>
              </a:ext>
            </a:extLst>
          </p:cNvPr>
          <p:cNvSpPr txBox="1"/>
          <p:nvPr/>
        </p:nvSpPr>
        <p:spPr>
          <a:xfrm>
            <a:off x="7376888" y="1752605"/>
            <a:ext cx="1438441" cy="720197"/>
          </a:xfrm>
          <a:prstGeom prst="rect">
            <a:avLst/>
          </a:prstGeom>
          <a:noFill/>
        </p:spPr>
        <p:txBody>
          <a:bodyPr wrap="square" rtlCol="0">
            <a:spAutoFit/>
          </a:bodyPr>
          <a:lstStyle/>
          <a:p>
            <a:pPr lvl="0">
              <a:lnSpc>
                <a:spcPct val="80000"/>
              </a:lnSpc>
            </a:pPr>
            <a:r>
              <a:rPr lang="en-US" sz="1275" dirty="0">
                <a:solidFill>
                  <a:prstClr val="black">
                    <a:lumMod val="85000"/>
                    <a:lumOff val="15000"/>
                  </a:prstClr>
                </a:solidFill>
                <a:latin typeface="Franklin Gothic Medium Cond" panose="020B0606030402020204" pitchFamily="34" charset="0"/>
              </a:rPr>
              <a:t>First BAAS Bank in Europe.</a:t>
            </a:r>
          </a:p>
          <a:p>
            <a:pPr lvl="0">
              <a:lnSpc>
                <a:spcPct val="80000"/>
              </a:lnSpc>
            </a:pPr>
            <a:r>
              <a:rPr lang="en-US" sz="1275" dirty="0">
                <a:solidFill>
                  <a:prstClr val="black">
                    <a:lumMod val="85000"/>
                    <a:lumOff val="15000"/>
                  </a:prstClr>
                </a:solidFill>
                <a:latin typeface="Franklin Gothic Medium Cond" panose="020B0606030402020204" pitchFamily="34" charset="0"/>
              </a:rPr>
              <a:t>Established in March 2016</a:t>
            </a:r>
            <a:endParaRPr kumimoji="0" lang="en-US" sz="1275" b="0" i="0" u="none" strike="noStrike" kern="1200" cap="none" spc="0" normalizeH="0" baseline="0" noProof="0" dirty="0">
              <a:ln>
                <a:noFill/>
              </a:ln>
              <a:solidFill>
                <a:prstClr val="black">
                  <a:lumMod val="85000"/>
                  <a:lumOff val="15000"/>
                </a:prstClr>
              </a:solidFill>
              <a:effectLst/>
              <a:uLnTx/>
              <a:uFillTx/>
              <a:latin typeface="Franklin Gothic Medium Cond" panose="020B0606030402020204" pitchFamily="34" charset="0"/>
              <a:ea typeface="+mn-ea"/>
              <a:cs typeface="+mn-cs"/>
            </a:endParaRPr>
          </a:p>
        </p:txBody>
      </p:sp>
      <p:sp>
        <p:nvSpPr>
          <p:cNvPr id="23" name="Oval 22">
            <a:extLst>
              <a:ext uri="{FF2B5EF4-FFF2-40B4-BE49-F238E27FC236}">
                <a16:creationId xmlns:a16="http://schemas.microsoft.com/office/drawing/2014/main" id="{BD68F5C0-AD86-454F-8D14-92B077D61C70}"/>
              </a:ext>
            </a:extLst>
          </p:cNvPr>
          <p:cNvSpPr/>
          <p:nvPr/>
        </p:nvSpPr>
        <p:spPr>
          <a:xfrm>
            <a:off x="7872019" y="3637376"/>
            <a:ext cx="286733" cy="286733"/>
          </a:xfrm>
          <a:prstGeom prst="ellipse">
            <a:avLst/>
          </a:prstGeom>
          <a:solidFill>
            <a:srgbClr val="EA2B98">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56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Oval 23">
            <a:extLst>
              <a:ext uri="{FF2B5EF4-FFF2-40B4-BE49-F238E27FC236}">
                <a16:creationId xmlns:a16="http://schemas.microsoft.com/office/drawing/2014/main" id="{749A0186-4324-46EE-9E99-0C9BDC680E74}"/>
              </a:ext>
            </a:extLst>
          </p:cNvPr>
          <p:cNvSpPr/>
          <p:nvPr/>
        </p:nvSpPr>
        <p:spPr>
          <a:xfrm>
            <a:off x="7913852" y="3679210"/>
            <a:ext cx="203065" cy="203065"/>
          </a:xfrm>
          <a:prstGeom prst="ellipse">
            <a:avLst/>
          </a:prstGeom>
          <a:solidFill>
            <a:srgbClr val="9B28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56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Freeform: Shape 24">
            <a:extLst>
              <a:ext uri="{FF2B5EF4-FFF2-40B4-BE49-F238E27FC236}">
                <a16:creationId xmlns:a16="http://schemas.microsoft.com/office/drawing/2014/main" id="{4C77D1B8-7D2C-48D7-B911-CEDA01131FCC}"/>
              </a:ext>
            </a:extLst>
          </p:cNvPr>
          <p:cNvSpPr/>
          <p:nvPr/>
        </p:nvSpPr>
        <p:spPr>
          <a:xfrm rot="5400000">
            <a:off x="8333883" y="2476163"/>
            <a:ext cx="986082" cy="1623077"/>
          </a:xfrm>
          <a:custGeom>
            <a:avLst/>
            <a:gdLst>
              <a:gd name="connsiteX0" fmla="*/ 0 w 1571637"/>
              <a:gd name="connsiteY0" fmla="*/ 2372422 h 2586890"/>
              <a:gd name="connsiteX1" fmla="*/ 0 w 1571637"/>
              <a:gd name="connsiteY1" fmla="*/ 214467 h 2586890"/>
              <a:gd name="connsiteX2" fmla="*/ 214467 w 1571637"/>
              <a:gd name="connsiteY2" fmla="*/ 0 h 2586890"/>
              <a:gd name="connsiteX3" fmla="*/ 1152697 w 1571637"/>
              <a:gd name="connsiteY3" fmla="*/ 0 h 2586890"/>
              <a:gd name="connsiteX4" fmla="*/ 1367164 w 1571637"/>
              <a:gd name="connsiteY4" fmla="*/ 214467 h 2586890"/>
              <a:gd name="connsiteX5" fmla="*/ 1367164 w 1571637"/>
              <a:gd name="connsiteY5" fmla="*/ 2372422 h 2586890"/>
              <a:gd name="connsiteX6" fmla="*/ 1366249 w 1571637"/>
              <a:gd name="connsiteY6" fmla="*/ 2381502 h 2586890"/>
              <a:gd name="connsiteX7" fmla="*/ 1571637 w 1571637"/>
              <a:gd name="connsiteY7" fmla="*/ 2586890 h 2586890"/>
              <a:gd name="connsiteX8" fmla="*/ 1104272 w 1571637"/>
              <a:gd name="connsiteY8" fmla="*/ 2586890 h 2586890"/>
              <a:gd name="connsiteX9" fmla="*/ 1104272 w 1571637"/>
              <a:gd name="connsiteY9" fmla="*/ 2586889 h 2586890"/>
              <a:gd name="connsiteX10" fmla="*/ 214467 w 1571637"/>
              <a:gd name="connsiteY10" fmla="*/ 2586889 h 2586890"/>
              <a:gd name="connsiteX11" fmla="*/ 0 w 1571637"/>
              <a:gd name="connsiteY11" fmla="*/ 2372422 h 258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1637" h="2586890">
                <a:moveTo>
                  <a:pt x="0" y="2372422"/>
                </a:moveTo>
                <a:lnTo>
                  <a:pt x="0" y="214467"/>
                </a:lnTo>
                <a:cubicBezTo>
                  <a:pt x="0" y="96020"/>
                  <a:pt x="96020" y="0"/>
                  <a:pt x="214467" y="0"/>
                </a:cubicBezTo>
                <a:lnTo>
                  <a:pt x="1152697" y="0"/>
                </a:lnTo>
                <a:cubicBezTo>
                  <a:pt x="1271144" y="0"/>
                  <a:pt x="1367164" y="96020"/>
                  <a:pt x="1367164" y="214467"/>
                </a:cubicBezTo>
                <a:lnTo>
                  <a:pt x="1367164" y="2372422"/>
                </a:lnTo>
                <a:lnTo>
                  <a:pt x="1366249" y="2381502"/>
                </a:lnTo>
                <a:lnTo>
                  <a:pt x="1571637" y="2586890"/>
                </a:lnTo>
                <a:lnTo>
                  <a:pt x="1104272" y="2586890"/>
                </a:lnTo>
                <a:lnTo>
                  <a:pt x="1104272" y="2586889"/>
                </a:lnTo>
                <a:lnTo>
                  <a:pt x="214467" y="2586889"/>
                </a:lnTo>
                <a:cubicBezTo>
                  <a:pt x="96020" y="2586889"/>
                  <a:pt x="0" y="2490869"/>
                  <a:pt x="0" y="2372422"/>
                </a:cubicBezTo>
                <a:close/>
              </a:path>
            </a:pathLst>
          </a:custGeom>
          <a:solidFill>
            <a:schemeClr val="bg1"/>
          </a:solidFill>
          <a:ln>
            <a:noFill/>
          </a:ln>
          <a:effectLst>
            <a:outerShdw blurRad="1028700" dist="228600" dir="8100000" algn="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56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Oval 30">
            <a:extLst>
              <a:ext uri="{FF2B5EF4-FFF2-40B4-BE49-F238E27FC236}">
                <a16:creationId xmlns:a16="http://schemas.microsoft.com/office/drawing/2014/main" id="{B8715A34-1D55-4309-8B8E-11D04BED31AB}"/>
              </a:ext>
            </a:extLst>
          </p:cNvPr>
          <p:cNvSpPr/>
          <p:nvPr/>
        </p:nvSpPr>
        <p:spPr>
          <a:xfrm>
            <a:off x="8278161" y="4880520"/>
            <a:ext cx="286733" cy="286733"/>
          </a:xfrm>
          <a:prstGeom prst="ellipse">
            <a:avLst/>
          </a:prstGeom>
          <a:solidFill>
            <a:srgbClr val="EA2B98">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56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Oval 31">
            <a:extLst>
              <a:ext uri="{FF2B5EF4-FFF2-40B4-BE49-F238E27FC236}">
                <a16:creationId xmlns:a16="http://schemas.microsoft.com/office/drawing/2014/main" id="{A20767D2-723B-44A7-BFC9-2D2D1263674E}"/>
              </a:ext>
            </a:extLst>
          </p:cNvPr>
          <p:cNvSpPr/>
          <p:nvPr/>
        </p:nvSpPr>
        <p:spPr>
          <a:xfrm>
            <a:off x="8319995" y="4922354"/>
            <a:ext cx="203065" cy="203065"/>
          </a:xfrm>
          <a:prstGeom prst="ellipse">
            <a:avLst/>
          </a:prstGeom>
          <a:solidFill>
            <a:srgbClr val="9B28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561"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Freeform: Shape 32">
            <a:extLst>
              <a:ext uri="{FF2B5EF4-FFF2-40B4-BE49-F238E27FC236}">
                <a16:creationId xmlns:a16="http://schemas.microsoft.com/office/drawing/2014/main" id="{6323D800-2B06-4B17-9871-EE75BB060153}"/>
              </a:ext>
            </a:extLst>
          </p:cNvPr>
          <p:cNvSpPr/>
          <p:nvPr/>
        </p:nvSpPr>
        <p:spPr>
          <a:xfrm rot="16200000" flipH="1">
            <a:off x="7116949" y="3719306"/>
            <a:ext cx="986082" cy="1623077"/>
          </a:xfrm>
          <a:custGeom>
            <a:avLst/>
            <a:gdLst>
              <a:gd name="connsiteX0" fmla="*/ 0 w 1571637"/>
              <a:gd name="connsiteY0" fmla="*/ 2372422 h 2586890"/>
              <a:gd name="connsiteX1" fmla="*/ 0 w 1571637"/>
              <a:gd name="connsiteY1" fmla="*/ 214467 h 2586890"/>
              <a:gd name="connsiteX2" fmla="*/ 214467 w 1571637"/>
              <a:gd name="connsiteY2" fmla="*/ 0 h 2586890"/>
              <a:gd name="connsiteX3" fmla="*/ 1152697 w 1571637"/>
              <a:gd name="connsiteY3" fmla="*/ 0 h 2586890"/>
              <a:gd name="connsiteX4" fmla="*/ 1367164 w 1571637"/>
              <a:gd name="connsiteY4" fmla="*/ 214467 h 2586890"/>
              <a:gd name="connsiteX5" fmla="*/ 1367164 w 1571637"/>
              <a:gd name="connsiteY5" fmla="*/ 2372422 h 2586890"/>
              <a:gd name="connsiteX6" fmla="*/ 1366249 w 1571637"/>
              <a:gd name="connsiteY6" fmla="*/ 2381502 h 2586890"/>
              <a:gd name="connsiteX7" fmla="*/ 1571637 w 1571637"/>
              <a:gd name="connsiteY7" fmla="*/ 2586890 h 2586890"/>
              <a:gd name="connsiteX8" fmla="*/ 1104272 w 1571637"/>
              <a:gd name="connsiteY8" fmla="*/ 2586890 h 2586890"/>
              <a:gd name="connsiteX9" fmla="*/ 1104272 w 1571637"/>
              <a:gd name="connsiteY9" fmla="*/ 2586889 h 2586890"/>
              <a:gd name="connsiteX10" fmla="*/ 214467 w 1571637"/>
              <a:gd name="connsiteY10" fmla="*/ 2586889 h 2586890"/>
              <a:gd name="connsiteX11" fmla="*/ 0 w 1571637"/>
              <a:gd name="connsiteY11" fmla="*/ 2372422 h 258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1637" h="2586890">
                <a:moveTo>
                  <a:pt x="0" y="2372422"/>
                </a:moveTo>
                <a:lnTo>
                  <a:pt x="0" y="214467"/>
                </a:lnTo>
                <a:cubicBezTo>
                  <a:pt x="0" y="96020"/>
                  <a:pt x="96020" y="0"/>
                  <a:pt x="214467" y="0"/>
                </a:cubicBezTo>
                <a:lnTo>
                  <a:pt x="1152697" y="0"/>
                </a:lnTo>
                <a:cubicBezTo>
                  <a:pt x="1271144" y="0"/>
                  <a:pt x="1367164" y="96020"/>
                  <a:pt x="1367164" y="214467"/>
                </a:cubicBezTo>
                <a:lnTo>
                  <a:pt x="1367164" y="2372422"/>
                </a:lnTo>
                <a:lnTo>
                  <a:pt x="1366249" y="2381502"/>
                </a:lnTo>
                <a:lnTo>
                  <a:pt x="1571637" y="2586890"/>
                </a:lnTo>
                <a:lnTo>
                  <a:pt x="1104272" y="2586890"/>
                </a:lnTo>
                <a:lnTo>
                  <a:pt x="1104272" y="2586889"/>
                </a:lnTo>
                <a:lnTo>
                  <a:pt x="214467" y="2586889"/>
                </a:lnTo>
                <a:cubicBezTo>
                  <a:pt x="96020" y="2586889"/>
                  <a:pt x="0" y="2490869"/>
                  <a:pt x="0" y="2372422"/>
                </a:cubicBezTo>
                <a:close/>
              </a:path>
            </a:pathLst>
          </a:custGeom>
          <a:solidFill>
            <a:schemeClr val="bg1"/>
          </a:solidFill>
          <a:ln>
            <a:noFill/>
          </a:ln>
          <a:effectLst>
            <a:outerShdw blurRad="1028700" dist="228600" dir="8100000" algn="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561"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0" name="Picture 2" descr="solaris bank ile ilgili görsel sonucu"/>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36170" y="4344465"/>
            <a:ext cx="3314252" cy="679421"/>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19">
            <a:extLst>
              <a:ext uri="{FF2B5EF4-FFF2-40B4-BE49-F238E27FC236}">
                <a16:creationId xmlns:a16="http://schemas.microsoft.com/office/drawing/2014/main" id="{8232B5DD-0392-4D2A-B3F7-02B5D13D914E}"/>
              </a:ext>
            </a:extLst>
          </p:cNvPr>
          <p:cNvSpPr txBox="1"/>
          <p:nvPr/>
        </p:nvSpPr>
        <p:spPr>
          <a:xfrm>
            <a:off x="8116917" y="2888508"/>
            <a:ext cx="1438441" cy="683264"/>
          </a:xfrm>
          <a:prstGeom prst="rect">
            <a:avLst/>
          </a:prstGeom>
          <a:noFill/>
        </p:spPr>
        <p:txBody>
          <a:bodyPr wrap="square" rtlCol="0">
            <a:spAutoFit/>
          </a:bodyPr>
          <a:lstStyle/>
          <a:p>
            <a:pPr lvl="0">
              <a:lnSpc>
                <a:spcPct val="80000"/>
              </a:lnSpc>
            </a:pPr>
            <a:r>
              <a:rPr lang="en-US" sz="1600" dirty="0">
                <a:solidFill>
                  <a:prstClr val="black">
                    <a:lumMod val="85000"/>
                    <a:lumOff val="15000"/>
                  </a:prstClr>
                </a:solidFill>
                <a:latin typeface="Franklin Gothic Medium Cond" panose="020B0606030402020204" pitchFamily="34" charset="0"/>
              </a:rPr>
              <a:t>Banking </a:t>
            </a:r>
            <a:r>
              <a:rPr lang="tr-TR" sz="1600" dirty="0">
                <a:solidFill>
                  <a:prstClr val="black">
                    <a:lumMod val="85000"/>
                    <a:lumOff val="15000"/>
                  </a:prstClr>
                </a:solidFill>
                <a:latin typeface="Franklin Gothic Medium Cond" panose="020B0606030402020204" pitchFamily="34" charset="0"/>
              </a:rPr>
              <a:t>Passport for </a:t>
            </a:r>
            <a:r>
              <a:rPr lang="en-US" sz="1600" dirty="0">
                <a:solidFill>
                  <a:prstClr val="black">
                    <a:lumMod val="85000"/>
                    <a:lumOff val="15000"/>
                  </a:prstClr>
                </a:solidFill>
                <a:latin typeface="Franklin Gothic Medium Cond" panose="020B0606030402020204" pitchFamily="34" charset="0"/>
              </a:rPr>
              <a:t>7 Countries</a:t>
            </a:r>
            <a:endParaRPr kumimoji="0" lang="en-US" sz="1600" b="0" i="0" u="none" strike="noStrike" kern="1200" cap="none" spc="0" normalizeH="0" baseline="0" noProof="0" dirty="0">
              <a:ln>
                <a:noFill/>
              </a:ln>
              <a:solidFill>
                <a:prstClr val="black">
                  <a:lumMod val="85000"/>
                  <a:lumOff val="15000"/>
                </a:prstClr>
              </a:solidFill>
              <a:effectLst/>
              <a:uLnTx/>
              <a:uFillTx/>
              <a:latin typeface="Franklin Gothic Medium Cond" panose="020B0606030402020204" pitchFamily="34" charset="0"/>
              <a:ea typeface="+mn-ea"/>
              <a:cs typeface="+mn-cs"/>
            </a:endParaRPr>
          </a:p>
        </p:txBody>
      </p:sp>
      <p:sp>
        <p:nvSpPr>
          <p:cNvPr id="39" name="TextBox 19">
            <a:extLst>
              <a:ext uri="{FF2B5EF4-FFF2-40B4-BE49-F238E27FC236}">
                <a16:creationId xmlns:a16="http://schemas.microsoft.com/office/drawing/2014/main" id="{8232B5DD-0392-4D2A-B3F7-02B5D13D914E}"/>
              </a:ext>
            </a:extLst>
          </p:cNvPr>
          <p:cNvSpPr txBox="1"/>
          <p:nvPr/>
        </p:nvSpPr>
        <p:spPr>
          <a:xfrm>
            <a:off x="6904637" y="4128043"/>
            <a:ext cx="1438441" cy="683264"/>
          </a:xfrm>
          <a:prstGeom prst="rect">
            <a:avLst/>
          </a:prstGeom>
          <a:noFill/>
        </p:spPr>
        <p:txBody>
          <a:bodyPr wrap="square" rtlCol="0">
            <a:spAutoFit/>
          </a:bodyPr>
          <a:lstStyle/>
          <a:p>
            <a:pPr lvl="0">
              <a:lnSpc>
                <a:spcPct val="80000"/>
              </a:lnSpc>
            </a:pPr>
            <a:r>
              <a:rPr lang="en-US" sz="1600" dirty="0">
                <a:solidFill>
                  <a:prstClr val="black">
                    <a:lumMod val="85000"/>
                    <a:lumOff val="15000"/>
                  </a:prstClr>
                </a:solidFill>
                <a:latin typeface="Franklin Gothic Medium Cond" panose="020B0606030402020204" pitchFamily="34" charset="0"/>
              </a:rPr>
              <a:t>120 Employees and Strong Investors</a:t>
            </a:r>
          </a:p>
        </p:txBody>
      </p:sp>
      <p:sp>
        <p:nvSpPr>
          <p:cNvPr id="21" name="Dikdörtgen 20"/>
          <p:cNvSpPr/>
          <p:nvPr/>
        </p:nvSpPr>
        <p:spPr>
          <a:xfrm>
            <a:off x="593770" y="224752"/>
            <a:ext cx="12112580" cy="683264"/>
          </a:xfrm>
          <a:prstGeom prst="rect">
            <a:avLst/>
          </a:prstGeom>
        </p:spPr>
        <p:txBody>
          <a:bodyPr wrap="square">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tr-TR" sz="4800" b="0" i="0" u="none" strike="noStrike" kern="1200" cap="none" spc="-90" normalizeH="0" baseline="0" noProof="0" dirty="0">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rPr>
              <a:t>BAAS (Banking as a service) Model</a:t>
            </a:r>
          </a:p>
        </p:txBody>
      </p:sp>
      <p:sp>
        <p:nvSpPr>
          <p:cNvPr id="22" name="Rounded Rectangle 15"/>
          <p:cNvSpPr>
            <a:spLocks/>
          </p:cNvSpPr>
          <p:nvPr/>
        </p:nvSpPr>
        <p:spPr>
          <a:xfrm>
            <a:off x="225449" y="-152401"/>
            <a:ext cx="212701" cy="1102549"/>
          </a:xfrm>
          <a:prstGeom prst="roundRect">
            <a:avLst>
              <a:gd name="adj" fmla="val 50000"/>
            </a:avLst>
          </a:prstGeom>
          <a:gradFill flip="none" rotWithShape="1">
            <a:gsLst>
              <a:gs pos="0">
                <a:srgbClr val="EC2B8C"/>
              </a:gs>
              <a:gs pos="100000">
                <a:srgbClr val="8D27CB"/>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17791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Box 31">
            <a:extLst>
              <a:ext uri="{FF2B5EF4-FFF2-40B4-BE49-F238E27FC236}">
                <a16:creationId xmlns:a16="http://schemas.microsoft.com/office/drawing/2014/main" id="{42F32A2E-9C62-4059-B8E5-03377FEE11AF}"/>
              </a:ext>
            </a:extLst>
          </p:cNvPr>
          <p:cNvSpPr txBox="1"/>
          <p:nvPr/>
        </p:nvSpPr>
        <p:spPr>
          <a:xfrm>
            <a:off x="467924" y="2731199"/>
            <a:ext cx="11724076" cy="634020"/>
          </a:xfrm>
          <a:prstGeom prst="rect">
            <a:avLst/>
          </a:prstGeom>
          <a:noFill/>
        </p:spPr>
        <p:txBody>
          <a:bodyPr wrap="square" rtlCol="0">
            <a:spAutoFit/>
          </a:bodyPr>
          <a:lstStyle/>
          <a:p>
            <a:pPr marL="0" marR="0" lvl="0" indent="0" algn="ctr" defTabSz="1439997" rtl="0" eaLnBrk="1" fontAlgn="auto" latinLnBrk="0" hangingPunct="1">
              <a:lnSpc>
                <a:spcPct val="80000"/>
              </a:lnSpc>
              <a:spcBef>
                <a:spcPts val="0"/>
              </a:spcBef>
              <a:spcAft>
                <a:spcPts val="0"/>
              </a:spcAft>
              <a:buClrTx/>
              <a:buSzTx/>
              <a:buFontTx/>
              <a:buNone/>
              <a:tabLst/>
              <a:defRPr/>
            </a:pPr>
            <a:r>
              <a:rPr kumimoji="0" lang="en-US" sz="4400" b="1" i="0" u="none" strike="noStrike" kern="1200" cap="none" spc="-90" normalizeH="0" baseline="0" noProof="0" dirty="0">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rPr>
              <a:t>Open a Shariah-compliant bank account only in 8 min.</a:t>
            </a:r>
          </a:p>
        </p:txBody>
      </p:sp>
      <p:pic>
        <p:nvPicPr>
          <p:cNvPr id="2" name="Resim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09595" y="353796"/>
            <a:ext cx="5292234" cy="1880242"/>
          </a:xfrm>
          <a:prstGeom prst="rect">
            <a:avLst/>
          </a:prstGeom>
        </p:spPr>
      </p:pic>
      <p:pic>
        <p:nvPicPr>
          <p:cNvPr id="10" name="Picture 18">
            <a:extLst>
              <a:ext uri="{FF2B5EF4-FFF2-40B4-BE49-F238E27FC236}">
                <a16:creationId xmlns:a16="http://schemas.microsoft.com/office/drawing/2014/main" id="{5EEF8810-0E54-45A2-9F6E-BDE8EA61BDC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28965" y="3935575"/>
            <a:ext cx="2705075" cy="4981102"/>
          </a:xfrm>
          <a:prstGeom prst="rect">
            <a:avLst/>
          </a:prstGeom>
        </p:spPr>
      </p:pic>
      <p:pic>
        <p:nvPicPr>
          <p:cNvPr id="9" name="Resim Yer Tutucusu 8"/>
          <p:cNvPicPr>
            <a:picLocks noGrp="1" noChangeAspect="1"/>
          </p:cNvPicPr>
          <p:nvPr>
            <p:ph type="pic" sz="quarter" idx="11"/>
          </p:nvPr>
        </p:nvPicPr>
        <p:blipFill>
          <a:blip r:embed="rId4" cstate="print">
            <a:extLst>
              <a:ext uri="{28A0092B-C50C-407E-A947-70E740481C1C}">
                <a14:useLocalDpi xmlns:a14="http://schemas.microsoft.com/office/drawing/2010/main" val="0"/>
              </a:ext>
            </a:extLst>
          </a:blip>
          <a:srcRect l="205" r="205"/>
          <a:stretch>
            <a:fillRect/>
          </a:stretch>
        </p:blipFill>
        <p:spPr>
          <a:xfrm>
            <a:off x="5290703" y="4168040"/>
            <a:ext cx="2209307" cy="4500438"/>
          </a:xfrm>
        </p:spPr>
      </p:pic>
    </p:spTree>
    <p:extLst>
      <p:ext uri="{BB962C8B-B14F-4D97-AF65-F5344CB8AC3E}">
        <p14:creationId xmlns:p14="http://schemas.microsoft.com/office/powerpoint/2010/main" val="30042847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Dikdörtgen 22"/>
          <p:cNvSpPr/>
          <p:nvPr/>
        </p:nvSpPr>
        <p:spPr>
          <a:xfrm>
            <a:off x="593770" y="224752"/>
            <a:ext cx="12112580" cy="683264"/>
          </a:xfrm>
          <a:prstGeom prst="rect">
            <a:avLst/>
          </a:prstGeom>
        </p:spPr>
        <p:txBody>
          <a:bodyPr wrap="square">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tr-TR" sz="4800" b="0" i="0" u="none" strike="noStrike" kern="1200" cap="none" spc="-90" normalizeH="0" baseline="0" noProof="0" dirty="0">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rPr>
              <a:t>Mobile App</a:t>
            </a:r>
          </a:p>
        </p:txBody>
      </p:sp>
      <p:sp>
        <p:nvSpPr>
          <p:cNvPr id="24" name="Rounded Rectangle 15"/>
          <p:cNvSpPr>
            <a:spLocks/>
          </p:cNvSpPr>
          <p:nvPr/>
        </p:nvSpPr>
        <p:spPr>
          <a:xfrm>
            <a:off x="225449" y="-152401"/>
            <a:ext cx="212701" cy="1102549"/>
          </a:xfrm>
          <a:prstGeom prst="roundRect">
            <a:avLst>
              <a:gd name="adj" fmla="val 50000"/>
            </a:avLst>
          </a:prstGeom>
          <a:gradFill flip="none" rotWithShape="1">
            <a:gsLst>
              <a:gs pos="0">
                <a:srgbClr val="EC2B8C"/>
              </a:gs>
              <a:gs pos="100000">
                <a:srgbClr val="8D27CB"/>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pic>
        <p:nvPicPr>
          <p:cNvPr id="14" name="Picture 18">
            <a:extLst>
              <a:ext uri="{FF2B5EF4-FFF2-40B4-BE49-F238E27FC236}">
                <a16:creationId xmlns:a16="http://schemas.microsoft.com/office/drawing/2014/main" id="{5EEF8810-0E54-45A2-9F6E-BDE8EA61BDC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56451" y="1325302"/>
            <a:ext cx="2322228" cy="4520400"/>
          </a:xfrm>
          <a:prstGeom prst="rect">
            <a:avLst/>
          </a:prstGeom>
        </p:spPr>
      </p:pic>
      <p:pic>
        <p:nvPicPr>
          <p:cNvPr id="20" name="Picture 18">
            <a:extLst>
              <a:ext uri="{FF2B5EF4-FFF2-40B4-BE49-F238E27FC236}">
                <a16:creationId xmlns:a16="http://schemas.microsoft.com/office/drawing/2014/main" id="{5EEF8810-0E54-45A2-9F6E-BDE8EA61BDC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88290" y="1325302"/>
            <a:ext cx="2322228" cy="4520400"/>
          </a:xfrm>
          <a:prstGeom prst="rect">
            <a:avLst/>
          </a:prstGeom>
        </p:spPr>
      </p:pic>
      <p:pic>
        <p:nvPicPr>
          <p:cNvPr id="8" name="Resim Yer Tutucusu 7"/>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l="2323" r="2323"/>
          <a:stretch>
            <a:fillRect/>
          </a:stretch>
        </p:blipFill>
        <p:spPr>
          <a:xfrm>
            <a:off x="1719263" y="1546225"/>
            <a:ext cx="1885950" cy="4065588"/>
          </a:xfrm>
        </p:spPr>
      </p:pic>
      <p:pic>
        <p:nvPicPr>
          <p:cNvPr id="22" name="Picture 18">
            <a:extLst>
              <a:ext uri="{FF2B5EF4-FFF2-40B4-BE49-F238E27FC236}">
                <a16:creationId xmlns:a16="http://schemas.microsoft.com/office/drawing/2014/main" id="{5EEF8810-0E54-45A2-9F6E-BDE8EA61BDC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4612" y="1325302"/>
            <a:ext cx="2322228" cy="4520400"/>
          </a:xfrm>
          <a:prstGeom prst="rect">
            <a:avLst/>
          </a:prstGeom>
        </p:spPr>
      </p:pic>
      <p:pic>
        <p:nvPicPr>
          <p:cNvPr id="9" name="Resim Yer Tutucusu 8"/>
          <p:cNvPicPr>
            <a:picLocks noGrp="1" noChangeAspect="1"/>
          </p:cNvPicPr>
          <p:nvPr>
            <p:ph type="pic" sz="quarter" idx="11"/>
          </p:nvPr>
        </p:nvPicPr>
        <p:blipFill>
          <a:blip r:embed="rId4" cstate="print">
            <a:extLst>
              <a:ext uri="{28A0092B-C50C-407E-A947-70E740481C1C}">
                <a14:useLocalDpi xmlns:a14="http://schemas.microsoft.com/office/drawing/2010/main" val="0"/>
              </a:ext>
            </a:extLst>
          </a:blip>
          <a:srcRect l="2323" r="2323"/>
          <a:stretch>
            <a:fillRect/>
          </a:stretch>
        </p:blipFill>
        <p:spPr>
          <a:xfrm>
            <a:off x="5086350" y="1546225"/>
            <a:ext cx="1885950" cy="4065588"/>
          </a:xfrm>
        </p:spPr>
      </p:pic>
      <p:pic>
        <p:nvPicPr>
          <p:cNvPr id="11" name="Resim Yer Tutucusu 10"/>
          <p:cNvPicPr>
            <a:picLocks noGrp="1" noChangeAspect="1"/>
          </p:cNvPicPr>
          <p:nvPr>
            <p:ph type="pic" sz="quarter" idx="11"/>
          </p:nvPr>
        </p:nvPicPr>
        <p:blipFill>
          <a:blip r:embed="rId5" cstate="print">
            <a:extLst>
              <a:ext uri="{28A0092B-C50C-407E-A947-70E740481C1C}">
                <a14:useLocalDpi xmlns:a14="http://schemas.microsoft.com/office/drawing/2010/main" val="0"/>
              </a:ext>
            </a:extLst>
          </a:blip>
          <a:srcRect l="2323" r="2323"/>
          <a:stretch>
            <a:fillRect/>
          </a:stretch>
        </p:blipFill>
        <p:spPr>
          <a:xfrm>
            <a:off x="8455025" y="1546225"/>
            <a:ext cx="1885950" cy="4065588"/>
          </a:xfrm>
        </p:spPr>
      </p:pic>
    </p:spTree>
    <p:extLst>
      <p:ext uri="{BB962C8B-B14F-4D97-AF65-F5344CB8AC3E}">
        <p14:creationId xmlns:p14="http://schemas.microsoft.com/office/powerpoint/2010/main" val="7197229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Dikdörtgen 22"/>
          <p:cNvSpPr/>
          <p:nvPr/>
        </p:nvSpPr>
        <p:spPr>
          <a:xfrm>
            <a:off x="593770" y="224752"/>
            <a:ext cx="12112580" cy="683264"/>
          </a:xfrm>
          <a:prstGeom prst="rect">
            <a:avLst/>
          </a:prstGeom>
        </p:spPr>
        <p:txBody>
          <a:bodyPr wrap="square">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tr-TR" sz="4800" b="0" i="0" u="none" strike="noStrike" kern="1200" cap="none" spc="-90" normalizeH="0" baseline="0" noProof="0" dirty="0">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rPr>
              <a:t>Mobile App</a:t>
            </a:r>
          </a:p>
        </p:txBody>
      </p:sp>
      <p:sp>
        <p:nvSpPr>
          <p:cNvPr id="24" name="Rounded Rectangle 15"/>
          <p:cNvSpPr>
            <a:spLocks/>
          </p:cNvSpPr>
          <p:nvPr/>
        </p:nvSpPr>
        <p:spPr>
          <a:xfrm>
            <a:off x="225449" y="-152401"/>
            <a:ext cx="212701" cy="1102549"/>
          </a:xfrm>
          <a:prstGeom prst="roundRect">
            <a:avLst>
              <a:gd name="adj" fmla="val 50000"/>
            </a:avLst>
          </a:prstGeom>
          <a:gradFill flip="none" rotWithShape="1">
            <a:gsLst>
              <a:gs pos="0">
                <a:srgbClr val="EC2B8C"/>
              </a:gs>
              <a:gs pos="100000">
                <a:srgbClr val="8D27CB"/>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pic>
        <p:nvPicPr>
          <p:cNvPr id="14" name="Picture 18">
            <a:extLst>
              <a:ext uri="{FF2B5EF4-FFF2-40B4-BE49-F238E27FC236}">
                <a16:creationId xmlns:a16="http://schemas.microsoft.com/office/drawing/2014/main" id="{5EEF8810-0E54-45A2-9F6E-BDE8EA61BDC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56451" y="1325302"/>
            <a:ext cx="2322228" cy="4520400"/>
          </a:xfrm>
          <a:prstGeom prst="rect">
            <a:avLst/>
          </a:prstGeom>
        </p:spPr>
      </p:pic>
      <p:pic>
        <p:nvPicPr>
          <p:cNvPr id="4" name="Resim Yer Tutucusu 3"/>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l="2323" r="2323"/>
          <a:stretch>
            <a:fillRect/>
          </a:stretch>
        </p:blipFill>
        <p:spPr>
          <a:xfrm>
            <a:off x="5086350" y="1546225"/>
            <a:ext cx="1885950" cy="4065588"/>
          </a:xfrm>
        </p:spPr>
      </p:pic>
      <p:pic>
        <p:nvPicPr>
          <p:cNvPr id="20" name="Picture 18">
            <a:extLst>
              <a:ext uri="{FF2B5EF4-FFF2-40B4-BE49-F238E27FC236}">
                <a16:creationId xmlns:a16="http://schemas.microsoft.com/office/drawing/2014/main" id="{5EEF8810-0E54-45A2-9F6E-BDE8EA61BDC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88290" y="1325302"/>
            <a:ext cx="2322228" cy="4520400"/>
          </a:xfrm>
          <a:prstGeom prst="rect">
            <a:avLst/>
          </a:prstGeom>
        </p:spPr>
      </p:pic>
      <p:pic>
        <p:nvPicPr>
          <p:cNvPr id="2" name="Resim Yer Tutucusu 1"/>
          <p:cNvPicPr>
            <a:picLocks noGrp="1" noChangeAspect="1"/>
          </p:cNvPicPr>
          <p:nvPr>
            <p:ph type="pic" sz="quarter" idx="11"/>
          </p:nvPr>
        </p:nvPicPr>
        <p:blipFill>
          <a:blip r:embed="rId4" cstate="print">
            <a:extLst>
              <a:ext uri="{28A0092B-C50C-407E-A947-70E740481C1C}">
                <a14:useLocalDpi xmlns:a14="http://schemas.microsoft.com/office/drawing/2010/main" val="0"/>
              </a:ext>
            </a:extLst>
          </a:blip>
          <a:srcRect l="2323" r="2323"/>
          <a:stretch>
            <a:fillRect/>
          </a:stretch>
        </p:blipFill>
        <p:spPr>
          <a:xfrm>
            <a:off x="1719263" y="1546225"/>
            <a:ext cx="1885950" cy="4065588"/>
          </a:xfrm>
        </p:spPr>
      </p:pic>
      <p:pic>
        <p:nvPicPr>
          <p:cNvPr id="22" name="Picture 18">
            <a:extLst>
              <a:ext uri="{FF2B5EF4-FFF2-40B4-BE49-F238E27FC236}">
                <a16:creationId xmlns:a16="http://schemas.microsoft.com/office/drawing/2014/main" id="{5EEF8810-0E54-45A2-9F6E-BDE8EA61BDC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4612" y="1325302"/>
            <a:ext cx="2322228" cy="4520400"/>
          </a:xfrm>
          <a:prstGeom prst="rect">
            <a:avLst/>
          </a:prstGeom>
        </p:spPr>
      </p:pic>
      <p:pic>
        <p:nvPicPr>
          <p:cNvPr id="5" name="Resim Yer Tutucusu 4"/>
          <p:cNvPicPr>
            <a:picLocks noGrp="1" noChangeAspect="1"/>
          </p:cNvPicPr>
          <p:nvPr>
            <p:ph type="pic" sz="quarter" idx="11"/>
          </p:nvPr>
        </p:nvPicPr>
        <p:blipFill>
          <a:blip r:embed="rId5" cstate="print">
            <a:extLst>
              <a:ext uri="{28A0092B-C50C-407E-A947-70E740481C1C}">
                <a14:useLocalDpi xmlns:a14="http://schemas.microsoft.com/office/drawing/2010/main" val="0"/>
              </a:ext>
            </a:extLst>
          </a:blip>
          <a:srcRect l="2323" r="2323"/>
          <a:stretch>
            <a:fillRect/>
          </a:stretch>
        </p:blipFill>
        <p:spPr>
          <a:xfrm>
            <a:off x="8455025" y="1546225"/>
            <a:ext cx="1885950" cy="4065588"/>
          </a:xfrm>
        </p:spPr>
      </p:pic>
    </p:spTree>
    <p:extLst>
      <p:ext uri="{BB962C8B-B14F-4D97-AF65-F5344CB8AC3E}">
        <p14:creationId xmlns:p14="http://schemas.microsoft.com/office/powerpoint/2010/main" val="6138914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Dikdörtgen 22"/>
          <p:cNvSpPr/>
          <p:nvPr/>
        </p:nvSpPr>
        <p:spPr>
          <a:xfrm>
            <a:off x="593770" y="224752"/>
            <a:ext cx="12112580" cy="683264"/>
          </a:xfrm>
          <a:prstGeom prst="rect">
            <a:avLst/>
          </a:prstGeom>
        </p:spPr>
        <p:txBody>
          <a:bodyPr wrap="square">
            <a:spAutoFit/>
          </a:bodyPr>
          <a:lstStyle/>
          <a:p>
            <a:pPr lvl="0">
              <a:lnSpc>
                <a:spcPct val="80000"/>
              </a:lnSpc>
              <a:defRPr/>
            </a:pPr>
            <a:r>
              <a:rPr lang="tr-TR" sz="4800" spc="-90" dirty="0" err="1">
                <a:gradFill>
                  <a:gsLst>
                    <a:gs pos="8000">
                      <a:srgbClr val="EC2B8C"/>
                    </a:gs>
                    <a:gs pos="100000">
                      <a:srgbClr val="8D27CB"/>
                    </a:gs>
                  </a:gsLst>
                  <a:lin ang="2700000" scaled="1"/>
                </a:gradFill>
                <a:latin typeface="Franklin Gothic Medium Cond" panose="020B0606030402020204" pitchFamily="34" charset="0"/>
              </a:rPr>
              <a:t>Debit</a:t>
            </a:r>
            <a:r>
              <a:rPr lang="tr-TR" sz="4800" spc="-90" dirty="0">
                <a:gradFill>
                  <a:gsLst>
                    <a:gs pos="8000">
                      <a:srgbClr val="EC2B8C"/>
                    </a:gs>
                    <a:gs pos="100000">
                      <a:srgbClr val="8D27CB"/>
                    </a:gs>
                  </a:gsLst>
                  <a:lin ang="2700000" scaled="1"/>
                </a:gradFill>
                <a:latin typeface="Franklin Gothic Medium Cond" panose="020B0606030402020204" pitchFamily="34" charset="0"/>
              </a:rPr>
              <a:t> </a:t>
            </a:r>
            <a:r>
              <a:rPr lang="tr-TR" sz="4800" spc="-90" dirty="0" err="1">
                <a:gradFill>
                  <a:gsLst>
                    <a:gs pos="8000">
                      <a:srgbClr val="EC2B8C"/>
                    </a:gs>
                    <a:gs pos="100000">
                      <a:srgbClr val="8D27CB"/>
                    </a:gs>
                  </a:gsLst>
                  <a:lin ang="2700000" scaled="1"/>
                </a:gradFill>
                <a:latin typeface="Franklin Gothic Medium Cond" panose="020B0606030402020204" pitchFamily="34" charset="0"/>
              </a:rPr>
              <a:t>Card</a:t>
            </a:r>
            <a:endParaRPr lang="tr-TR" sz="4800" spc="-90" dirty="0">
              <a:gradFill>
                <a:gsLst>
                  <a:gs pos="8000">
                    <a:srgbClr val="EC2B8C"/>
                  </a:gs>
                  <a:gs pos="100000">
                    <a:srgbClr val="8D27CB"/>
                  </a:gs>
                </a:gsLst>
                <a:lin ang="2700000" scaled="1"/>
              </a:gradFill>
              <a:latin typeface="Franklin Gothic Medium Cond" panose="020B0606030402020204" pitchFamily="34" charset="0"/>
            </a:endParaRPr>
          </a:p>
        </p:txBody>
      </p:sp>
      <p:sp>
        <p:nvSpPr>
          <p:cNvPr id="24" name="Rounded Rectangle 15"/>
          <p:cNvSpPr>
            <a:spLocks/>
          </p:cNvSpPr>
          <p:nvPr/>
        </p:nvSpPr>
        <p:spPr>
          <a:xfrm>
            <a:off x="225449" y="-152401"/>
            <a:ext cx="212701" cy="1102549"/>
          </a:xfrm>
          <a:prstGeom prst="roundRect">
            <a:avLst>
              <a:gd name="adj" fmla="val 50000"/>
            </a:avLst>
          </a:prstGeom>
          <a:gradFill flip="none" rotWithShape="1">
            <a:gsLst>
              <a:gs pos="0">
                <a:srgbClr val="EC2B8C"/>
              </a:gs>
              <a:gs pos="100000">
                <a:srgbClr val="8D27CB"/>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9" name="TextBox 50"/>
          <p:cNvSpPr txBox="1"/>
          <p:nvPr/>
        </p:nvSpPr>
        <p:spPr>
          <a:xfrm>
            <a:off x="800100" y="2154341"/>
            <a:ext cx="4821741" cy="954107"/>
          </a:xfrm>
          <a:prstGeom prst="rect">
            <a:avLst/>
          </a:prstGeom>
          <a:noFill/>
        </p:spPr>
        <p:txBody>
          <a:bodyPr wrap="square" rtlCol="0">
            <a:spAutoFit/>
          </a:bodyPr>
          <a:lstStyle/>
          <a:p>
            <a:pPr>
              <a:defRPr/>
            </a:pPr>
            <a:r>
              <a:rPr lang="en-US" sz="2800" spc="-50" dirty="0">
                <a:solidFill>
                  <a:schemeClr val="tx1">
                    <a:lumMod val="65000"/>
                    <a:lumOff val="35000"/>
                  </a:schemeClr>
                </a:solidFill>
                <a:latin typeface="Franklin Gothic Medium Cond" panose="020B0606030402020204" pitchFamily="34" charset="0"/>
              </a:rPr>
              <a:t>Stylish and vertical debit card.</a:t>
            </a:r>
            <a:endParaRPr lang="tr-TR" sz="2800" spc="-50" dirty="0">
              <a:solidFill>
                <a:schemeClr val="tx1">
                  <a:lumMod val="65000"/>
                  <a:lumOff val="35000"/>
                </a:schemeClr>
              </a:solidFill>
              <a:latin typeface="Franklin Gothic Medium Cond" panose="020B0606030402020204" pitchFamily="34" charset="0"/>
            </a:endParaRPr>
          </a:p>
          <a:p>
            <a:pPr>
              <a:defRPr/>
            </a:pPr>
            <a:r>
              <a:rPr lang="tr-TR" sz="2800" spc="-50" dirty="0">
                <a:solidFill>
                  <a:schemeClr val="tx1">
                    <a:lumMod val="65000"/>
                    <a:lumOff val="35000"/>
                  </a:schemeClr>
                </a:solidFill>
                <a:latin typeface="Franklin Gothic Medium Cond" panose="020B0606030402020204" pitchFamily="34" charset="0"/>
              </a:rPr>
              <a:t>Leading a new pure desing trend. </a:t>
            </a:r>
            <a:endParaRPr lang="en-US" sz="2800" spc="-50" dirty="0">
              <a:solidFill>
                <a:schemeClr val="tx1">
                  <a:lumMod val="65000"/>
                  <a:lumOff val="35000"/>
                </a:schemeClr>
              </a:solidFill>
              <a:latin typeface="Franklin Gothic Medium Cond" panose="020B0606030402020204" pitchFamily="34" charset="0"/>
            </a:endParaRPr>
          </a:p>
        </p:txBody>
      </p:sp>
      <p:pic>
        <p:nvPicPr>
          <p:cNvPr id="10" name="Resim 9"/>
          <p:cNvPicPr>
            <a:picLocks noChangeAspect="1"/>
          </p:cNvPicPr>
          <p:nvPr/>
        </p:nvPicPr>
        <p:blipFill rotWithShape="1">
          <a:blip r:embed="rId3" cstate="print">
            <a:extLst>
              <a:ext uri="{28A0092B-C50C-407E-A947-70E740481C1C}">
                <a14:useLocalDpi xmlns:a14="http://schemas.microsoft.com/office/drawing/2010/main" val="0"/>
              </a:ext>
            </a:extLst>
          </a:blip>
          <a:srcRect l="21660" t="24988" r="25572" b="24273"/>
          <a:stretch/>
        </p:blipFill>
        <p:spPr>
          <a:xfrm>
            <a:off x="6883400" y="908824"/>
            <a:ext cx="3454399" cy="5067300"/>
          </a:xfrm>
          <a:prstGeom prst="rect">
            <a:avLst/>
          </a:prstGeom>
        </p:spPr>
      </p:pic>
    </p:spTree>
    <p:extLst>
      <p:ext uri="{BB962C8B-B14F-4D97-AF65-F5344CB8AC3E}">
        <p14:creationId xmlns:p14="http://schemas.microsoft.com/office/powerpoint/2010/main" val="24962544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Dikdörtgen 22"/>
          <p:cNvSpPr/>
          <p:nvPr/>
        </p:nvSpPr>
        <p:spPr>
          <a:xfrm>
            <a:off x="593770" y="224752"/>
            <a:ext cx="12112580" cy="634020"/>
          </a:xfrm>
          <a:prstGeom prst="rect">
            <a:avLst/>
          </a:prstGeom>
        </p:spPr>
        <p:txBody>
          <a:bodyPr wrap="square">
            <a:spAutoFit/>
          </a:bodyPr>
          <a:lstStyle/>
          <a:p>
            <a:pPr>
              <a:lnSpc>
                <a:spcPct val="80000"/>
              </a:lnSpc>
              <a:defRPr/>
            </a:pPr>
            <a:r>
              <a:rPr lang="tr-TR" sz="4400" spc="-90" dirty="0">
                <a:gradFill>
                  <a:gsLst>
                    <a:gs pos="8000">
                      <a:srgbClr val="EC2B8C"/>
                    </a:gs>
                    <a:gs pos="100000">
                      <a:srgbClr val="8D27CB"/>
                    </a:gs>
                  </a:gsLst>
                  <a:lin ang="2700000" scaled="1"/>
                </a:gradFill>
                <a:latin typeface="Franklin Gothic Medium Cond" panose="020B0606030402020204" pitchFamily="34" charset="0"/>
              </a:rPr>
              <a:t>A </a:t>
            </a:r>
            <a:r>
              <a:rPr lang="tr-TR" sz="4400" spc="-90" dirty="0" err="1">
                <a:gradFill>
                  <a:gsLst>
                    <a:gs pos="8000">
                      <a:srgbClr val="EC2B8C"/>
                    </a:gs>
                    <a:gs pos="100000">
                      <a:srgbClr val="8D27CB"/>
                    </a:gs>
                  </a:gsLst>
                  <a:lin ang="2700000" scaled="1"/>
                </a:gradFill>
                <a:latin typeface="Franklin Gothic Medium Cond" panose="020B0606030402020204" pitchFamily="34" charset="0"/>
              </a:rPr>
              <a:t>Friendly</a:t>
            </a:r>
            <a:r>
              <a:rPr lang="tr-TR" sz="4400" spc="-90" dirty="0">
                <a:gradFill>
                  <a:gsLst>
                    <a:gs pos="8000">
                      <a:srgbClr val="EC2B8C"/>
                    </a:gs>
                    <a:gs pos="100000">
                      <a:srgbClr val="8D27CB"/>
                    </a:gs>
                  </a:gsLst>
                  <a:lin ang="2700000" scaled="1"/>
                </a:gradFill>
                <a:latin typeface="Franklin Gothic Medium Cond" panose="020B0606030402020204" pitchFamily="34" charset="0"/>
              </a:rPr>
              <a:t> </a:t>
            </a:r>
            <a:r>
              <a:rPr lang="tr-TR" sz="4400" spc="-90" dirty="0" err="1">
                <a:gradFill>
                  <a:gsLst>
                    <a:gs pos="8000">
                      <a:srgbClr val="EC2B8C"/>
                    </a:gs>
                    <a:gs pos="100000">
                      <a:srgbClr val="8D27CB"/>
                    </a:gs>
                  </a:gsLst>
                  <a:lin ang="2700000" scaled="1"/>
                </a:gradFill>
                <a:latin typeface="Franklin Gothic Medium Cond" panose="020B0606030402020204" pitchFamily="34" charset="0"/>
              </a:rPr>
              <a:t>Asistant</a:t>
            </a:r>
            <a:r>
              <a:rPr lang="tr-TR" sz="4400" spc="-90" dirty="0">
                <a:gradFill>
                  <a:gsLst>
                    <a:gs pos="8000">
                      <a:srgbClr val="EC2B8C"/>
                    </a:gs>
                    <a:gs pos="100000">
                      <a:srgbClr val="8D27CB"/>
                    </a:gs>
                  </a:gsLst>
                  <a:lin ang="2700000" scaled="1"/>
                </a:gradFill>
                <a:latin typeface="Franklin Gothic Medium Cond" panose="020B0606030402020204" pitchFamily="34" charset="0"/>
              </a:rPr>
              <a:t> </a:t>
            </a:r>
            <a:r>
              <a:rPr lang="tr-TR" sz="4400" spc="-90" dirty="0" err="1">
                <a:gradFill>
                  <a:gsLst>
                    <a:gs pos="8000">
                      <a:srgbClr val="EC2B8C"/>
                    </a:gs>
                    <a:gs pos="100000">
                      <a:srgbClr val="8D27CB"/>
                    </a:gs>
                  </a:gsLst>
                  <a:lin ang="2700000" scaled="1"/>
                </a:gradFill>
                <a:latin typeface="Franklin Gothic Medium Cond" panose="020B0606030402020204" pitchFamily="34" charset="0"/>
              </a:rPr>
              <a:t>to</a:t>
            </a:r>
            <a:r>
              <a:rPr lang="tr-TR" sz="4400" spc="-90" dirty="0">
                <a:gradFill>
                  <a:gsLst>
                    <a:gs pos="8000">
                      <a:srgbClr val="EC2B8C"/>
                    </a:gs>
                    <a:gs pos="100000">
                      <a:srgbClr val="8D27CB"/>
                    </a:gs>
                  </a:gsLst>
                  <a:lin ang="2700000" scaled="1"/>
                </a:gradFill>
                <a:latin typeface="Franklin Gothic Medium Cond" panose="020B0606030402020204" pitchFamily="34" charset="0"/>
              </a:rPr>
              <a:t> </a:t>
            </a:r>
            <a:r>
              <a:rPr lang="tr-TR" sz="4400" spc="-90" dirty="0" err="1">
                <a:gradFill>
                  <a:gsLst>
                    <a:gs pos="8000">
                      <a:srgbClr val="EC2B8C"/>
                    </a:gs>
                    <a:gs pos="100000">
                      <a:srgbClr val="8D27CB"/>
                    </a:gs>
                  </a:gsLst>
                  <a:lin ang="2700000" scaled="1"/>
                </a:gradFill>
                <a:latin typeface="Franklin Gothic Medium Cond" panose="020B0606030402020204" pitchFamily="34" charset="0"/>
              </a:rPr>
              <a:t>the</a:t>
            </a:r>
            <a:r>
              <a:rPr lang="tr-TR" sz="4400" spc="-90" dirty="0">
                <a:gradFill>
                  <a:gsLst>
                    <a:gs pos="8000">
                      <a:srgbClr val="EC2B8C"/>
                    </a:gs>
                    <a:gs pos="100000">
                      <a:srgbClr val="8D27CB"/>
                    </a:gs>
                  </a:gsLst>
                  <a:lin ang="2700000" scaled="1"/>
                </a:gradFill>
                <a:latin typeface="Franklin Gothic Medium Cond" panose="020B0606030402020204" pitchFamily="34" charset="0"/>
              </a:rPr>
              <a:t> </a:t>
            </a:r>
            <a:r>
              <a:rPr lang="tr-TR" sz="4400" spc="-90" dirty="0" err="1">
                <a:gradFill>
                  <a:gsLst>
                    <a:gs pos="8000">
                      <a:srgbClr val="EC2B8C"/>
                    </a:gs>
                    <a:gs pos="100000">
                      <a:srgbClr val="8D27CB"/>
                    </a:gs>
                  </a:gsLst>
                  <a:lin ang="2700000" scaled="1"/>
                </a:gradFill>
                <a:latin typeface="Franklin Gothic Medium Cond" panose="020B0606030402020204" pitchFamily="34" charset="0"/>
              </a:rPr>
              <a:t>Muslims</a:t>
            </a:r>
            <a:endParaRPr lang="tr-TR" sz="4400" spc="-90" dirty="0">
              <a:gradFill>
                <a:gsLst>
                  <a:gs pos="8000">
                    <a:srgbClr val="EC2B8C"/>
                  </a:gs>
                  <a:gs pos="100000">
                    <a:srgbClr val="8D27CB"/>
                  </a:gs>
                </a:gsLst>
                <a:lin ang="2700000" scaled="1"/>
              </a:gradFill>
              <a:latin typeface="Franklin Gothic Medium Cond" panose="020B0606030402020204" pitchFamily="34" charset="0"/>
            </a:endParaRPr>
          </a:p>
        </p:txBody>
      </p:sp>
      <p:sp>
        <p:nvSpPr>
          <p:cNvPr id="24" name="Rounded Rectangle 15"/>
          <p:cNvSpPr>
            <a:spLocks/>
          </p:cNvSpPr>
          <p:nvPr/>
        </p:nvSpPr>
        <p:spPr>
          <a:xfrm>
            <a:off x="225449" y="-152401"/>
            <a:ext cx="212701" cy="1102549"/>
          </a:xfrm>
          <a:prstGeom prst="roundRect">
            <a:avLst>
              <a:gd name="adj" fmla="val 50000"/>
            </a:avLst>
          </a:prstGeom>
          <a:gradFill flip="none" rotWithShape="1">
            <a:gsLst>
              <a:gs pos="0">
                <a:srgbClr val="EC2B8C"/>
              </a:gs>
              <a:gs pos="100000">
                <a:srgbClr val="8D27CB"/>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9" name="Hexagon 64">
            <a:extLst>
              <a:ext uri="{FF2B5EF4-FFF2-40B4-BE49-F238E27FC236}">
                <a16:creationId xmlns:a16="http://schemas.microsoft.com/office/drawing/2014/main" id="{EB043072-CD2C-4E87-8EDC-F40B3ACD9A5A}"/>
              </a:ext>
            </a:extLst>
          </p:cNvPr>
          <p:cNvSpPr/>
          <p:nvPr/>
        </p:nvSpPr>
        <p:spPr>
          <a:xfrm rot="5400000">
            <a:off x="7269287" y="3262344"/>
            <a:ext cx="2094300" cy="1904023"/>
          </a:xfrm>
          <a:prstGeom prst="hexagon">
            <a:avLst/>
          </a:prstGeom>
          <a:gradFill flip="none" rotWithShape="1">
            <a:gsLst>
              <a:gs pos="1000">
                <a:srgbClr val="EC2B8C"/>
              </a:gs>
              <a:gs pos="100000">
                <a:srgbClr val="8D27CB"/>
              </a:gs>
            </a:gsLst>
            <a:lin ang="27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0" name="Hexagon 64">
            <a:extLst>
              <a:ext uri="{FF2B5EF4-FFF2-40B4-BE49-F238E27FC236}">
                <a16:creationId xmlns:a16="http://schemas.microsoft.com/office/drawing/2014/main" id="{EB043072-CD2C-4E87-8EDC-F40B3ACD9A5A}"/>
              </a:ext>
            </a:extLst>
          </p:cNvPr>
          <p:cNvSpPr/>
          <p:nvPr/>
        </p:nvSpPr>
        <p:spPr>
          <a:xfrm rot="5400000">
            <a:off x="8217393" y="1655151"/>
            <a:ext cx="2094300" cy="1904023"/>
          </a:xfrm>
          <a:prstGeom prst="hexagon">
            <a:avLst/>
          </a:prstGeom>
          <a:gradFill flip="none" rotWithShape="1">
            <a:gsLst>
              <a:gs pos="1000">
                <a:srgbClr val="EC2B8C"/>
              </a:gs>
              <a:gs pos="100000">
                <a:srgbClr val="8D27CB"/>
              </a:gs>
            </a:gsLst>
            <a:lin ang="27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1" name="Hexagon 64">
            <a:extLst>
              <a:ext uri="{FF2B5EF4-FFF2-40B4-BE49-F238E27FC236}">
                <a16:creationId xmlns:a16="http://schemas.microsoft.com/office/drawing/2014/main" id="{EB043072-CD2C-4E87-8EDC-F40B3ACD9A5A}"/>
              </a:ext>
            </a:extLst>
          </p:cNvPr>
          <p:cNvSpPr/>
          <p:nvPr/>
        </p:nvSpPr>
        <p:spPr>
          <a:xfrm rot="5400000">
            <a:off x="8210150" y="4873352"/>
            <a:ext cx="2094300" cy="1904023"/>
          </a:xfrm>
          <a:prstGeom prst="hexagon">
            <a:avLst/>
          </a:prstGeom>
          <a:gradFill flip="none" rotWithShape="1">
            <a:gsLst>
              <a:gs pos="1000">
                <a:srgbClr val="EC2B8C"/>
              </a:gs>
              <a:gs pos="100000">
                <a:srgbClr val="8D27CB"/>
              </a:gs>
            </a:gsLst>
            <a:lin ang="27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32" name="Group 26">
            <a:extLst>
              <a:ext uri="{FF2B5EF4-FFF2-40B4-BE49-F238E27FC236}">
                <a16:creationId xmlns:a16="http://schemas.microsoft.com/office/drawing/2014/main" id="{4B13A7DD-F47D-42EA-AB72-14AA062F7F29}"/>
              </a:ext>
            </a:extLst>
          </p:cNvPr>
          <p:cNvGrpSpPr/>
          <p:nvPr/>
        </p:nvGrpSpPr>
        <p:grpSpPr>
          <a:xfrm>
            <a:off x="8463609" y="2185760"/>
            <a:ext cx="4341518" cy="4132411"/>
            <a:chOff x="7140581" y="1312067"/>
            <a:chExt cx="4341518" cy="4132411"/>
          </a:xfrm>
        </p:grpSpPr>
        <p:sp>
          <p:nvSpPr>
            <p:cNvPr id="33" name="Rectangle 27">
              <a:extLst>
                <a:ext uri="{FF2B5EF4-FFF2-40B4-BE49-F238E27FC236}">
                  <a16:creationId xmlns:a16="http://schemas.microsoft.com/office/drawing/2014/main" id="{5BF87513-5181-4038-B555-3761EDE21B6D}"/>
                </a:ext>
              </a:extLst>
            </p:cNvPr>
            <p:cNvSpPr/>
            <p:nvPr/>
          </p:nvSpPr>
          <p:spPr>
            <a:xfrm>
              <a:off x="8054683" y="3542340"/>
              <a:ext cx="3427416" cy="289310"/>
            </a:xfrm>
            <a:prstGeom prst="rect">
              <a:avLst/>
            </a:prstGeom>
          </p:spPr>
          <p:txBody>
            <a:bodyPr wrap="square">
              <a:spAutoFit/>
            </a:bodyPr>
            <a:lstStyle/>
            <a:p>
              <a:pPr marL="0" marR="0" lvl="0" indent="0" algn="l" defTabSz="1439997" rtl="0" eaLnBrk="1" fontAlgn="auto" latinLnBrk="0" hangingPunct="1">
                <a:lnSpc>
                  <a:spcPct val="80000"/>
                </a:lnSpc>
                <a:spcBef>
                  <a:spcPts val="0"/>
                </a:spcBef>
                <a:spcAft>
                  <a:spcPts val="0"/>
                </a:spcAft>
                <a:buClrTx/>
                <a:buSzTx/>
                <a:buFontTx/>
                <a:buNone/>
                <a:tabLst/>
                <a:defRPr/>
              </a:pPr>
              <a:endParaRPr kumimoji="0" lang="tr-TR" sz="1600" b="0" i="0" u="none" strike="noStrike" kern="1200" cap="none" spc="-90" normalizeH="0" baseline="0" noProof="0" dirty="0" err="1">
                <a:ln>
                  <a:noFill/>
                </a:ln>
                <a:solidFill>
                  <a:prstClr val="white"/>
                </a:solidFill>
                <a:effectLst/>
                <a:uLnTx/>
                <a:uFillTx/>
                <a:latin typeface="Franklin Gothic Medium Cond" panose="020B0606030402020204" pitchFamily="34" charset="0"/>
                <a:ea typeface="+mn-ea"/>
                <a:cs typeface="+mn-cs"/>
              </a:endParaRPr>
            </a:p>
          </p:txBody>
        </p:sp>
        <p:sp>
          <p:nvSpPr>
            <p:cNvPr id="34" name="TextBox 30">
              <a:extLst>
                <a:ext uri="{FF2B5EF4-FFF2-40B4-BE49-F238E27FC236}">
                  <a16:creationId xmlns:a16="http://schemas.microsoft.com/office/drawing/2014/main" id="{B9C6571C-4A83-4F34-A7A4-A18A485FAFA7}"/>
                </a:ext>
              </a:extLst>
            </p:cNvPr>
            <p:cNvSpPr txBox="1"/>
            <p:nvPr/>
          </p:nvSpPr>
          <p:spPr>
            <a:xfrm>
              <a:off x="7140581" y="1312067"/>
              <a:ext cx="3021745" cy="880241"/>
            </a:xfrm>
            <a:prstGeom prst="rect">
              <a:avLst/>
            </a:prstGeom>
            <a:noFill/>
          </p:spPr>
          <p:txBody>
            <a:bodyPr wrap="square" rtlCol="0">
              <a:spAutoFit/>
            </a:bodyPr>
            <a:lstStyle/>
            <a:p>
              <a:pPr marL="0" marR="0" lvl="0" indent="0" algn="l" defTabSz="1439997" rtl="0" eaLnBrk="1" fontAlgn="auto" latinLnBrk="0" hangingPunct="1">
                <a:lnSpc>
                  <a:spcPct val="80000"/>
                </a:lnSpc>
                <a:spcBef>
                  <a:spcPts val="0"/>
                </a:spcBef>
                <a:spcAft>
                  <a:spcPts val="0"/>
                </a:spcAft>
                <a:buClrTx/>
                <a:buSzTx/>
                <a:buFontTx/>
                <a:buNone/>
                <a:tabLst/>
                <a:defRPr/>
              </a:pPr>
              <a:r>
                <a:rPr kumimoji="0" lang="tr-TR" sz="3200" b="0" i="0" u="none" strike="noStrike" kern="1200" cap="none" spc="-90" normalizeH="0" baseline="0" noProof="0" dirty="0" err="1">
                  <a:ln>
                    <a:noFill/>
                  </a:ln>
                  <a:solidFill>
                    <a:prstClr val="white"/>
                  </a:solidFill>
                  <a:effectLst/>
                  <a:uLnTx/>
                  <a:uFillTx/>
                  <a:latin typeface="Franklin Gothic Medium Cond" panose="020B0606030402020204" pitchFamily="34" charset="0"/>
                  <a:ea typeface="+mn-ea"/>
                  <a:cs typeface="+mn-cs"/>
                </a:rPr>
                <a:t>Zakat</a:t>
              </a:r>
              <a:r>
                <a:rPr kumimoji="0" lang="tr-TR" sz="3200" b="0" i="0" u="none" strike="noStrike" kern="1200" cap="none" spc="-90" normalizeH="0" baseline="0" noProof="0" dirty="0">
                  <a:ln>
                    <a:noFill/>
                  </a:ln>
                  <a:solidFill>
                    <a:prstClr val="white"/>
                  </a:solidFill>
                  <a:effectLst/>
                  <a:uLnTx/>
                  <a:uFillTx/>
                  <a:latin typeface="Franklin Gothic Medium Cond" panose="020B0606030402020204" pitchFamily="34" charset="0"/>
                  <a:ea typeface="+mn-ea"/>
                  <a:cs typeface="+mn-cs"/>
                </a:rPr>
                <a:t> </a:t>
              </a:r>
            </a:p>
            <a:p>
              <a:pPr marL="0" marR="0" lvl="0" indent="0" algn="l" defTabSz="1439997" rtl="0" eaLnBrk="1" fontAlgn="auto" latinLnBrk="0" hangingPunct="1">
                <a:lnSpc>
                  <a:spcPct val="80000"/>
                </a:lnSpc>
                <a:spcBef>
                  <a:spcPts val="0"/>
                </a:spcBef>
                <a:spcAft>
                  <a:spcPts val="0"/>
                </a:spcAft>
                <a:buClrTx/>
                <a:buSzTx/>
                <a:buFontTx/>
                <a:buNone/>
                <a:tabLst/>
                <a:defRPr/>
              </a:pPr>
              <a:r>
                <a:rPr kumimoji="0" lang="tr-TR" sz="3200" b="0" i="0" u="none" strike="noStrike" kern="1200" cap="none" spc="-90" normalizeH="0" baseline="0" noProof="0" dirty="0" err="1">
                  <a:ln>
                    <a:noFill/>
                  </a:ln>
                  <a:solidFill>
                    <a:prstClr val="white"/>
                  </a:solidFill>
                  <a:effectLst/>
                  <a:uLnTx/>
                  <a:uFillTx/>
                  <a:latin typeface="Franklin Gothic Medium Cond" panose="020B0606030402020204" pitchFamily="34" charset="0"/>
                  <a:ea typeface="+mn-ea"/>
                  <a:cs typeface="+mn-cs"/>
                </a:rPr>
                <a:t>Calculation</a:t>
              </a:r>
              <a:endParaRPr kumimoji="0" lang="en-US" sz="3200" b="0" i="0" u="none" strike="noStrike" kern="1200" cap="none" spc="-90" normalizeH="0" baseline="0" noProof="0" dirty="0">
                <a:ln>
                  <a:noFill/>
                </a:ln>
                <a:solidFill>
                  <a:prstClr val="white"/>
                </a:solidFill>
                <a:effectLst/>
                <a:uLnTx/>
                <a:uFillTx/>
                <a:latin typeface="Franklin Gothic Medium Cond" panose="020B0606030402020204" pitchFamily="34" charset="0"/>
                <a:ea typeface="+mn-ea"/>
                <a:cs typeface="+mn-cs"/>
              </a:endParaRPr>
            </a:p>
          </p:txBody>
        </p:sp>
        <p:sp>
          <p:nvSpPr>
            <p:cNvPr id="35" name="TextBox 30">
              <a:extLst>
                <a:ext uri="{FF2B5EF4-FFF2-40B4-BE49-F238E27FC236}">
                  <a16:creationId xmlns:a16="http://schemas.microsoft.com/office/drawing/2014/main" id="{B9C6571C-4A83-4F34-A7A4-A18A485FAFA7}"/>
                </a:ext>
              </a:extLst>
            </p:cNvPr>
            <p:cNvSpPr txBox="1"/>
            <p:nvPr/>
          </p:nvSpPr>
          <p:spPr>
            <a:xfrm>
              <a:off x="7375411" y="4564237"/>
              <a:ext cx="3021745" cy="880241"/>
            </a:xfrm>
            <a:prstGeom prst="rect">
              <a:avLst/>
            </a:prstGeom>
            <a:noFill/>
          </p:spPr>
          <p:txBody>
            <a:bodyPr wrap="square" rtlCol="0">
              <a:spAutoFit/>
            </a:bodyPr>
            <a:lstStyle/>
            <a:p>
              <a:pPr marL="0" marR="0" lvl="0" indent="0" algn="l" defTabSz="1439997" rtl="0" eaLnBrk="1" fontAlgn="auto" latinLnBrk="0" hangingPunct="1">
                <a:lnSpc>
                  <a:spcPct val="80000"/>
                </a:lnSpc>
                <a:spcBef>
                  <a:spcPts val="0"/>
                </a:spcBef>
                <a:spcAft>
                  <a:spcPts val="0"/>
                </a:spcAft>
                <a:buClrTx/>
                <a:buSzTx/>
                <a:buFontTx/>
                <a:buNone/>
                <a:tabLst/>
                <a:defRPr/>
              </a:pPr>
              <a:r>
                <a:rPr kumimoji="0" lang="tr-TR" sz="3200" b="0" i="0" u="none" strike="noStrike" kern="1200" cap="none" spc="-90" normalizeH="0" baseline="0" noProof="0" dirty="0">
                  <a:ln>
                    <a:noFill/>
                  </a:ln>
                  <a:solidFill>
                    <a:prstClr val="white"/>
                  </a:solidFill>
                  <a:effectLst/>
                  <a:uLnTx/>
                  <a:uFillTx/>
                  <a:latin typeface="Franklin Gothic Medium Cond" panose="020B0606030402020204" pitchFamily="34" charset="0"/>
                  <a:ea typeface="+mn-ea"/>
                  <a:cs typeface="+mn-cs"/>
                </a:rPr>
                <a:t>And</a:t>
              </a:r>
            </a:p>
            <a:p>
              <a:pPr marL="0" marR="0" lvl="0" indent="0" algn="l" defTabSz="1439997" rtl="0" eaLnBrk="1" fontAlgn="auto" latinLnBrk="0" hangingPunct="1">
                <a:lnSpc>
                  <a:spcPct val="80000"/>
                </a:lnSpc>
                <a:spcBef>
                  <a:spcPts val="0"/>
                </a:spcBef>
                <a:spcAft>
                  <a:spcPts val="0"/>
                </a:spcAft>
                <a:buClrTx/>
                <a:buSzTx/>
                <a:buFontTx/>
                <a:buNone/>
                <a:tabLst/>
                <a:defRPr/>
              </a:pPr>
              <a:r>
                <a:rPr kumimoji="0" lang="tr-TR" sz="3200" b="0" i="0" u="none" strike="noStrike" kern="1200" cap="none" spc="-90" normalizeH="0" baseline="0" noProof="0" dirty="0" err="1">
                  <a:ln>
                    <a:noFill/>
                  </a:ln>
                  <a:solidFill>
                    <a:prstClr val="white"/>
                  </a:solidFill>
                  <a:effectLst/>
                  <a:uLnTx/>
                  <a:uFillTx/>
                  <a:latin typeface="Franklin Gothic Medium Cond" panose="020B0606030402020204" pitchFamily="34" charset="0"/>
                  <a:ea typeface="+mn-ea"/>
                  <a:cs typeface="+mn-cs"/>
                </a:rPr>
                <a:t>More</a:t>
              </a:r>
              <a:r>
                <a:rPr kumimoji="0" lang="tr-TR" sz="3200" b="0" i="0" u="none" strike="noStrike" kern="1200" cap="none" spc="-90" normalizeH="0" baseline="0" noProof="0" dirty="0">
                  <a:ln>
                    <a:noFill/>
                  </a:ln>
                  <a:solidFill>
                    <a:prstClr val="white"/>
                  </a:solidFill>
                  <a:effectLst/>
                  <a:uLnTx/>
                  <a:uFillTx/>
                  <a:latin typeface="Franklin Gothic Medium Cond" panose="020B0606030402020204" pitchFamily="34" charset="0"/>
                  <a:ea typeface="+mn-ea"/>
                  <a:cs typeface="+mn-cs"/>
                </a:rPr>
                <a:t>…</a:t>
              </a:r>
              <a:endParaRPr kumimoji="0" lang="en-US" sz="3200" b="0" i="0" u="none" strike="noStrike" kern="1200" cap="none" spc="-90" normalizeH="0" baseline="0" noProof="0" dirty="0">
                <a:ln>
                  <a:noFill/>
                </a:ln>
                <a:solidFill>
                  <a:prstClr val="white"/>
                </a:solidFill>
                <a:effectLst/>
                <a:uLnTx/>
                <a:uFillTx/>
                <a:latin typeface="Franklin Gothic Medium Cond" panose="020B0606030402020204" pitchFamily="34" charset="0"/>
                <a:ea typeface="+mn-ea"/>
                <a:cs typeface="+mn-cs"/>
              </a:endParaRPr>
            </a:p>
          </p:txBody>
        </p:sp>
      </p:grpSp>
      <p:grpSp>
        <p:nvGrpSpPr>
          <p:cNvPr id="36" name="Group 31">
            <a:extLst>
              <a:ext uri="{FF2B5EF4-FFF2-40B4-BE49-F238E27FC236}">
                <a16:creationId xmlns:a16="http://schemas.microsoft.com/office/drawing/2014/main" id="{572D20D2-8E69-45FB-A055-170C5CA64E61}"/>
              </a:ext>
            </a:extLst>
          </p:cNvPr>
          <p:cNvGrpSpPr/>
          <p:nvPr/>
        </p:nvGrpSpPr>
        <p:grpSpPr>
          <a:xfrm>
            <a:off x="7558116" y="3784974"/>
            <a:ext cx="4208695" cy="1735382"/>
            <a:chOff x="7326126" y="1811892"/>
            <a:chExt cx="4208695" cy="1735382"/>
          </a:xfrm>
        </p:grpSpPr>
        <p:sp>
          <p:nvSpPr>
            <p:cNvPr id="37" name="Rectangle 32">
              <a:extLst>
                <a:ext uri="{FF2B5EF4-FFF2-40B4-BE49-F238E27FC236}">
                  <a16:creationId xmlns:a16="http://schemas.microsoft.com/office/drawing/2014/main" id="{F9B37170-7B2C-48DA-B226-12FDB0162588}"/>
                </a:ext>
              </a:extLst>
            </p:cNvPr>
            <p:cNvSpPr/>
            <p:nvPr/>
          </p:nvSpPr>
          <p:spPr>
            <a:xfrm>
              <a:off x="8107405" y="3257964"/>
              <a:ext cx="3427416" cy="289310"/>
            </a:xfrm>
            <a:prstGeom prst="rect">
              <a:avLst/>
            </a:prstGeom>
          </p:spPr>
          <p:txBody>
            <a:bodyPr wrap="square">
              <a:spAutoFit/>
            </a:bodyPr>
            <a:lstStyle/>
            <a:p>
              <a:pPr marL="0" marR="0" lvl="0" indent="0" algn="l" defTabSz="1439997" rtl="0" eaLnBrk="1" fontAlgn="auto" latinLnBrk="0" hangingPunct="1">
                <a:lnSpc>
                  <a:spcPct val="80000"/>
                </a:lnSpc>
                <a:spcBef>
                  <a:spcPts val="0"/>
                </a:spcBef>
                <a:spcAft>
                  <a:spcPts val="0"/>
                </a:spcAft>
                <a:buClrTx/>
                <a:buSzTx/>
                <a:buFontTx/>
                <a:buNone/>
                <a:tabLst/>
                <a:defRPr/>
              </a:pPr>
              <a:endParaRPr kumimoji="0" lang="en-US" sz="1600" b="0" i="0" u="none" strike="noStrike" kern="1200" cap="none" spc="-90" normalizeH="0" baseline="0" noProof="0" dirty="0">
                <a:ln>
                  <a:noFill/>
                </a:ln>
                <a:gradFill>
                  <a:gsLst>
                    <a:gs pos="1000">
                      <a:srgbClr val="19C8EB">
                        <a:lumMod val="75000"/>
                        <a:alpha val="81000"/>
                      </a:srgbClr>
                    </a:gs>
                    <a:gs pos="100000">
                      <a:srgbClr val="0070C0"/>
                    </a:gs>
                  </a:gsLst>
                  <a:lin ang="2700000" scaled="1"/>
                </a:gradFill>
                <a:effectLst/>
                <a:uLnTx/>
                <a:uFillTx/>
                <a:latin typeface="Franklin Gothic Medium Cond" panose="020B0606030402020204" pitchFamily="34" charset="0"/>
                <a:ea typeface="+mn-ea"/>
                <a:cs typeface="+mn-cs"/>
              </a:endParaRPr>
            </a:p>
          </p:txBody>
        </p:sp>
        <p:sp>
          <p:nvSpPr>
            <p:cNvPr id="38" name="TextBox 35">
              <a:extLst>
                <a:ext uri="{FF2B5EF4-FFF2-40B4-BE49-F238E27FC236}">
                  <a16:creationId xmlns:a16="http://schemas.microsoft.com/office/drawing/2014/main" id="{523BADBC-29D3-40EB-AA3E-A7FC79B10838}"/>
                </a:ext>
              </a:extLst>
            </p:cNvPr>
            <p:cNvSpPr txBox="1"/>
            <p:nvPr/>
          </p:nvSpPr>
          <p:spPr>
            <a:xfrm>
              <a:off x="7326126" y="1811892"/>
              <a:ext cx="2742588" cy="880241"/>
            </a:xfrm>
            <a:prstGeom prst="rect">
              <a:avLst/>
            </a:prstGeom>
            <a:noFill/>
          </p:spPr>
          <p:txBody>
            <a:bodyPr wrap="square" rtlCol="0">
              <a:spAutoFit/>
            </a:bodyPr>
            <a:lstStyle/>
            <a:p>
              <a:pPr marL="0" marR="0" lvl="0" indent="0" algn="l" defTabSz="1439997" rtl="0" eaLnBrk="1" fontAlgn="auto" latinLnBrk="0" hangingPunct="1">
                <a:lnSpc>
                  <a:spcPct val="80000"/>
                </a:lnSpc>
                <a:spcBef>
                  <a:spcPts val="0"/>
                </a:spcBef>
                <a:spcAft>
                  <a:spcPts val="0"/>
                </a:spcAft>
                <a:buClrTx/>
                <a:buSzTx/>
                <a:buFontTx/>
                <a:buNone/>
                <a:tabLst/>
                <a:defRPr/>
              </a:pPr>
              <a:r>
                <a:rPr kumimoji="0" lang="tr-TR" sz="3200" b="0" i="0" u="none" strike="noStrike" kern="1200" cap="none" spc="-90" normalizeH="0" baseline="0" noProof="0" dirty="0" err="1">
                  <a:ln>
                    <a:noFill/>
                  </a:ln>
                  <a:solidFill>
                    <a:prstClr val="white"/>
                  </a:solidFill>
                  <a:effectLst/>
                  <a:uLnTx/>
                  <a:uFillTx/>
                  <a:latin typeface="Franklin Gothic Medium Cond" panose="020B0606030402020204" pitchFamily="34" charset="0"/>
                  <a:ea typeface="+mn-ea"/>
                  <a:cs typeface="+mn-cs"/>
                </a:rPr>
                <a:t>Prayer</a:t>
              </a:r>
              <a:r>
                <a:rPr kumimoji="0" lang="tr-TR" sz="3200" b="0" i="0" u="none" strike="noStrike" kern="1200" cap="none" spc="-90" normalizeH="0" baseline="0" noProof="0" dirty="0">
                  <a:ln>
                    <a:noFill/>
                  </a:ln>
                  <a:solidFill>
                    <a:prstClr val="white"/>
                  </a:solidFill>
                  <a:effectLst/>
                  <a:uLnTx/>
                  <a:uFillTx/>
                  <a:latin typeface="Franklin Gothic Medium Cond" panose="020B0606030402020204" pitchFamily="34" charset="0"/>
                  <a:ea typeface="+mn-ea"/>
                  <a:cs typeface="+mn-cs"/>
                </a:rPr>
                <a:t> </a:t>
              </a:r>
            </a:p>
            <a:p>
              <a:pPr marL="0" marR="0" lvl="0" indent="0" algn="l" defTabSz="1439997" rtl="0" eaLnBrk="1" fontAlgn="auto" latinLnBrk="0" hangingPunct="1">
                <a:lnSpc>
                  <a:spcPct val="80000"/>
                </a:lnSpc>
                <a:spcBef>
                  <a:spcPts val="0"/>
                </a:spcBef>
                <a:spcAft>
                  <a:spcPts val="0"/>
                </a:spcAft>
                <a:buClrTx/>
                <a:buSzTx/>
                <a:buFontTx/>
                <a:buNone/>
                <a:tabLst/>
                <a:defRPr/>
              </a:pPr>
              <a:r>
                <a:rPr kumimoji="0" lang="tr-TR" sz="3200" b="0" i="0" u="none" strike="noStrike" kern="1200" cap="none" spc="-90" normalizeH="0" baseline="0" noProof="0" dirty="0" err="1">
                  <a:ln>
                    <a:noFill/>
                  </a:ln>
                  <a:solidFill>
                    <a:prstClr val="white"/>
                  </a:solidFill>
                  <a:effectLst/>
                  <a:uLnTx/>
                  <a:uFillTx/>
                  <a:latin typeface="Franklin Gothic Medium Cond" panose="020B0606030402020204" pitchFamily="34" charset="0"/>
                  <a:ea typeface="+mn-ea"/>
                  <a:cs typeface="+mn-cs"/>
                </a:rPr>
                <a:t>Reminder</a:t>
              </a:r>
              <a:endParaRPr kumimoji="0" lang="en-US" sz="3200" b="0" i="0" u="none" strike="noStrike" kern="1200" cap="none" spc="-90" normalizeH="0" baseline="0" noProof="0" dirty="0">
                <a:ln>
                  <a:noFill/>
                </a:ln>
                <a:solidFill>
                  <a:prstClr val="white"/>
                </a:solidFill>
                <a:effectLst/>
                <a:uLnTx/>
                <a:uFillTx/>
                <a:latin typeface="Franklin Gothic Medium Cond" panose="020B0606030402020204" pitchFamily="34" charset="0"/>
                <a:ea typeface="+mn-ea"/>
                <a:cs typeface="+mn-cs"/>
              </a:endParaRPr>
            </a:p>
          </p:txBody>
        </p:sp>
      </p:grpSp>
      <p:sp>
        <p:nvSpPr>
          <p:cNvPr id="39" name="Rectangle 22">
            <a:extLst>
              <a:ext uri="{FF2B5EF4-FFF2-40B4-BE49-F238E27FC236}">
                <a16:creationId xmlns:a16="http://schemas.microsoft.com/office/drawing/2014/main" id="{83458149-ACAF-4118-BE73-46F42EB6DAE0}"/>
              </a:ext>
            </a:extLst>
          </p:cNvPr>
          <p:cNvSpPr/>
          <p:nvPr/>
        </p:nvSpPr>
        <p:spPr>
          <a:xfrm>
            <a:off x="8059091" y="1832392"/>
            <a:ext cx="3427416" cy="289310"/>
          </a:xfrm>
          <a:prstGeom prst="rect">
            <a:avLst/>
          </a:prstGeom>
        </p:spPr>
        <p:txBody>
          <a:bodyPr wrap="square">
            <a:spAutoFit/>
          </a:bodyPr>
          <a:lstStyle/>
          <a:p>
            <a:pPr marL="0" marR="0" lvl="0" indent="0" algn="l" defTabSz="1439997" rtl="0" eaLnBrk="1" fontAlgn="auto" latinLnBrk="0" hangingPunct="1">
              <a:lnSpc>
                <a:spcPct val="80000"/>
              </a:lnSpc>
              <a:spcBef>
                <a:spcPts val="0"/>
              </a:spcBef>
              <a:spcAft>
                <a:spcPts val="0"/>
              </a:spcAft>
              <a:buClrTx/>
              <a:buSzTx/>
              <a:buFontTx/>
              <a:buNone/>
              <a:tabLst/>
              <a:defRPr/>
            </a:pPr>
            <a:endParaRPr kumimoji="0" lang="en-US" sz="1600" b="0" i="0" u="none" strike="noStrike" kern="1200" cap="none" spc="-90" normalizeH="0" baseline="0" noProof="0" dirty="0">
              <a:ln>
                <a:noFill/>
              </a:ln>
              <a:solidFill>
                <a:prstClr val="white"/>
              </a:solidFill>
              <a:effectLst/>
              <a:uLnTx/>
              <a:uFillTx/>
              <a:latin typeface="Franklin Gothic Medium Cond" panose="020B0606030402020204" pitchFamily="34" charset="0"/>
              <a:ea typeface="+mn-ea"/>
              <a:cs typeface="+mn-cs"/>
            </a:endParaRPr>
          </a:p>
        </p:txBody>
      </p:sp>
      <p:sp>
        <p:nvSpPr>
          <p:cNvPr id="40" name="Hexagon 64">
            <a:extLst>
              <a:ext uri="{FF2B5EF4-FFF2-40B4-BE49-F238E27FC236}">
                <a16:creationId xmlns:a16="http://schemas.microsoft.com/office/drawing/2014/main" id="{EB043072-CD2C-4E87-8EDC-F40B3ACD9A5A}"/>
              </a:ext>
            </a:extLst>
          </p:cNvPr>
          <p:cNvSpPr/>
          <p:nvPr/>
        </p:nvSpPr>
        <p:spPr>
          <a:xfrm rot="5400000">
            <a:off x="7283801" y="41819"/>
            <a:ext cx="2094300" cy="1904023"/>
          </a:xfrm>
          <a:prstGeom prst="hexagon">
            <a:avLst/>
          </a:prstGeom>
          <a:gradFill flip="none" rotWithShape="1">
            <a:gsLst>
              <a:gs pos="1000">
                <a:srgbClr val="EC2B8C"/>
              </a:gs>
              <a:gs pos="100000">
                <a:srgbClr val="8D27CB"/>
              </a:gs>
            </a:gsLst>
            <a:lin ang="27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1" name="TextBox 30">
            <a:extLst>
              <a:ext uri="{FF2B5EF4-FFF2-40B4-BE49-F238E27FC236}">
                <a16:creationId xmlns:a16="http://schemas.microsoft.com/office/drawing/2014/main" id="{B9C6571C-4A83-4F34-A7A4-A18A485FAFA7}"/>
              </a:ext>
            </a:extLst>
          </p:cNvPr>
          <p:cNvSpPr txBox="1"/>
          <p:nvPr/>
        </p:nvSpPr>
        <p:spPr>
          <a:xfrm>
            <a:off x="7772090" y="623302"/>
            <a:ext cx="3021745" cy="880241"/>
          </a:xfrm>
          <a:prstGeom prst="rect">
            <a:avLst/>
          </a:prstGeom>
          <a:noFill/>
        </p:spPr>
        <p:txBody>
          <a:bodyPr wrap="square" rtlCol="0">
            <a:spAutoFit/>
          </a:bodyPr>
          <a:lstStyle/>
          <a:p>
            <a:pPr marL="0" marR="0" lvl="0" indent="0" algn="l" defTabSz="1439997" rtl="0" eaLnBrk="1" fontAlgn="auto" latinLnBrk="0" hangingPunct="1">
              <a:lnSpc>
                <a:spcPct val="80000"/>
              </a:lnSpc>
              <a:spcBef>
                <a:spcPts val="0"/>
              </a:spcBef>
              <a:spcAft>
                <a:spcPts val="0"/>
              </a:spcAft>
              <a:buClrTx/>
              <a:buSzTx/>
              <a:buFontTx/>
              <a:buNone/>
              <a:tabLst/>
              <a:defRPr/>
            </a:pPr>
            <a:r>
              <a:rPr kumimoji="0" lang="tr-TR" sz="3200" b="0" i="0" u="none" strike="noStrike" kern="1200" cap="none" spc="-90" normalizeH="0" baseline="0" noProof="0" dirty="0" err="1">
                <a:ln>
                  <a:noFill/>
                </a:ln>
                <a:solidFill>
                  <a:prstClr val="white"/>
                </a:solidFill>
                <a:effectLst/>
                <a:uLnTx/>
                <a:uFillTx/>
                <a:latin typeface="Franklin Gothic Medium Cond" panose="020B0606030402020204" pitchFamily="34" charset="0"/>
                <a:ea typeface="+mn-ea"/>
                <a:cs typeface="+mn-cs"/>
              </a:rPr>
              <a:t>Mosque</a:t>
            </a:r>
            <a:endParaRPr kumimoji="0" lang="tr-TR" sz="3200" b="0" i="0" u="none" strike="noStrike" kern="1200" cap="none" spc="-90" normalizeH="0" baseline="0" noProof="0" dirty="0">
              <a:ln>
                <a:noFill/>
              </a:ln>
              <a:solidFill>
                <a:prstClr val="white"/>
              </a:solidFill>
              <a:effectLst/>
              <a:uLnTx/>
              <a:uFillTx/>
              <a:latin typeface="Franklin Gothic Medium Cond" panose="020B0606030402020204" pitchFamily="34" charset="0"/>
              <a:ea typeface="+mn-ea"/>
              <a:cs typeface="+mn-cs"/>
            </a:endParaRPr>
          </a:p>
          <a:p>
            <a:pPr marL="0" marR="0" lvl="0" indent="0" algn="l" defTabSz="1439997" rtl="0" eaLnBrk="1" fontAlgn="auto" latinLnBrk="0" hangingPunct="1">
              <a:lnSpc>
                <a:spcPct val="80000"/>
              </a:lnSpc>
              <a:spcBef>
                <a:spcPts val="0"/>
              </a:spcBef>
              <a:spcAft>
                <a:spcPts val="0"/>
              </a:spcAft>
              <a:buClrTx/>
              <a:buSzTx/>
              <a:buFontTx/>
              <a:buNone/>
              <a:tabLst/>
              <a:defRPr/>
            </a:pPr>
            <a:r>
              <a:rPr kumimoji="0" lang="tr-TR" sz="3200" b="0" i="0" u="none" strike="noStrike" kern="1200" cap="none" spc="-90" normalizeH="0" baseline="0" noProof="0" dirty="0" err="1">
                <a:ln>
                  <a:noFill/>
                </a:ln>
                <a:solidFill>
                  <a:prstClr val="white"/>
                </a:solidFill>
                <a:effectLst/>
                <a:uLnTx/>
                <a:uFillTx/>
                <a:latin typeface="Franklin Gothic Medium Cond" panose="020B0606030402020204" pitchFamily="34" charset="0"/>
                <a:ea typeface="+mn-ea"/>
                <a:cs typeface="+mn-cs"/>
              </a:rPr>
              <a:t>Map</a:t>
            </a:r>
            <a:endParaRPr kumimoji="0" lang="en-US" sz="3200" b="0" i="0" u="none" strike="noStrike" kern="1200" cap="none" spc="-90" normalizeH="0" baseline="0" noProof="0" dirty="0">
              <a:ln>
                <a:noFill/>
              </a:ln>
              <a:solidFill>
                <a:prstClr val="white"/>
              </a:solidFill>
              <a:effectLst/>
              <a:uLnTx/>
              <a:uFillTx/>
              <a:latin typeface="Franklin Gothic Medium Cond" panose="020B0606030402020204" pitchFamily="34" charset="0"/>
              <a:ea typeface="+mn-ea"/>
              <a:cs typeface="+mn-cs"/>
            </a:endParaRPr>
          </a:p>
        </p:txBody>
      </p:sp>
      <p:pic>
        <p:nvPicPr>
          <p:cNvPr id="26" name="Picture 2" descr="Islamic Banki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55719" y="1189671"/>
            <a:ext cx="2585750" cy="51906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00525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Dikdörtgen 22"/>
          <p:cNvSpPr/>
          <p:nvPr/>
        </p:nvSpPr>
        <p:spPr>
          <a:xfrm>
            <a:off x="593770" y="224752"/>
            <a:ext cx="12112580" cy="683264"/>
          </a:xfrm>
          <a:prstGeom prst="rect">
            <a:avLst/>
          </a:prstGeom>
        </p:spPr>
        <p:txBody>
          <a:bodyPr wrap="square">
            <a:spAutoFit/>
          </a:bodyPr>
          <a:lstStyle/>
          <a:p>
            <a:pPr lvl="0">
              <a:lnSpc>
                <a:spcPct val="80000"/>
              </a:lnSpc>
              <a:defRPr/>
            </a:pPr>
            <a:r>
              <a:rPr lang="tr-TR" sz="4800" spc="-90" dirty="0">
                <a:gradFill>
                  <a:gsLst>
                    <a:gs pos="8000">
                      <a:srgbClr val="EC2B8C"/>
                    </a:gs>
                    <a:gs pos="100000">
                      <a:srgbClr val="8D27CB"/>
                    </a:gs>
                  </a:gsLst>
                  <a:lin ang="2700000" scaled="1"/>
                </a:gradFill>
                <a:latin typeface="Franklin Gothic Medium Cond" panose="020B0606030402020204" pitchFamily="34" charset="0"/>
              </a:rPr>
              <a:t>Website and Online Branch</a:t>
            </a:r>
          </a:p>
        </p:txBody>
      </p:sp>
      <p:sp>
        <p:nvSpPr>
          <p:cNvPr id="24" name="Rounded Rectangle 15"/>
          <p:cNvSpPr>
            <a:spLocks/>
          </p:cNvSpPr>
          <p:nvPr/>
        </p:nvSpPr>
        <p:spPr>
          <a:xfrm>
            <a:off x="225449" y="-152401"/>
            <a:ext cx="212701" cy="1102549"/>
          </a:xfrm>
          <a:prstGeom prst="roundRect">
            <a:avLst>
              <a:gd name="adj" fmla="val 50000"/>
            </a:avLst>
          </a:prstGeom>
          <a:gradFill flip="none" rotWithShape="1">
            <a:gsLst>
              <a:gs pos="0">
                <a:srgbClr val="EC2B8C"/>
              </a:gs>
              <a:gs pos="100000">
                <a:srgbClr val="8D27CB"/>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6" name="TextBox 50"/>
          <p:cNvSpPr txBox="1"/>
          <p:nvPr/>
        </p:nvSpPr>
        <p:spPr>
          <a:xfrm>
            <a:off x="800100" y="1854143"/>
            <a:ext cx="4014439"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2800" b="0" i="0" u="none" strike="noStrike" kern="1200" cap="none" spc="-50" normalizeH="0" baseline="0" noProof="0" dirty="0">
                <a:ln>
                  <a:noFill/>
                </a:ln>
                <a:solidFill>
                  <a:prstClr val="black">
                    <a:lumMod val="65000"/>
                    <a:lumOff val="35000"/>
                  </a:prstClr>
                </a:solidFill>
                <a:effectLst/>
                <a:uLnTx/>
                <a:uFillTx/>
                <a:latin typeface="Franklin Gothic Medium Cond" panose="020B0606030402020204" pitchFamily="34" charset="0"/>
                <a:ea typeface="+mn-ea"/>
                <a:cs typeface="+mn-cs"/>
              </a:rPr>
              <a:t>An </a:t>
            </a:r>
            <a:r>
              <a:rPr kumimoji="0" lang="tr-TR" sz="2800" b="0" i="0" u="none" strike="noStrike" kern="1200" cap="none" spc="-50" normalizeH="0" baseline="0" noProof="0" dirty="0" err="1">
                <a:ln>
                  <a:noFill/>
                </a:ln>
                <a:solidFill>
                  <a:prstClr val="black">
                    <a:lumMod val="65000"/>
                    <a:lumOff val="35000"/>
                  </a:prstClr>
                </a:solidFill>
                <a:effectLst/>
                <a:uLnTx/>
                <a:uFillTx/>
                <a:latin typeface="Franklin Gothic Medium Cond" panose="020B0606030402020204" pitchFamily="34" charset="0"/>
                <a:ea typeface="+mn-ea"/>
                <a:cs typeface="+mn-cs"/>
              </a:rPr>
              <a:t>informative</a:t>
            </a:r>
            <a:r>
              <a:rPr kumimoji="0" lang="tr-TR" sz="2800" b="0" i="0" u="none" strike="noStrike" kern="1200" cap="none" spc="-50" normalizeH="0" baseline="0" noProof="0" dirty="0">
                <a:ln>
                  <a:noFill/>
                </a:ln>
                <a:solidFill>
                  <a:prstClr val="black">
                    <a:lumMod val="65000"/>
                    <a:lumOff val="35000"/>
                  </a:prstClr>
                </a:solidFill>
                <a:effectLst/>
                <a:uLnTx/>
                <a:uFillTx/>
                <a:latin typeface="Franklin Gothic Medium Cond" panose="020B0606030402020204" pitchFamily="34" charset="0"/>
                <a:ea typeface="+mn-ea"/>
                <a:cs typeface="+mn-cs"/>
              </a:rPr>
              <a:t> </a:t>
            </a:r>
            <a:r>
              <a:rPr kumimoji="0" lang="tr-TR" sz="2800" b="0" i="0" u="none" strike="noStrike" kern="1200" cap="none" spc="-50" normalizeH="0" baseline="0" noProof="0" dirty="0" err="1">
                <a:ln>
                  <a:noFill/>
                </a:ln>
                <a:solidFill>
                  <a:prstClr val="black">
                    <a:lumMod val="65000"/>
                    <a:lumOff val="35000"/>
                  </a:prstClr>
                </a:solidFill>
                <a:effectLst/>
                <a:uLnTx/>
                <a:uFillTx/>
                <a:latin typeface="Franklin Gothic Medium Cond" panose="020B0606030402020204" pitchFamily="34" charset="0"/>
                <a:ea typeface="+mn-ea"/>
                <a:cs typeface="+mn-cs"/>
              </a:rPr>
              <a:t>content</a:t>
            </a:r>
            <a:r>
              <a:rPr kumimoji="0" lang="tr-TR" sz="2800" b="0" i="0" u="none" strike="noStrike" kern="1200" cap="none" spc="-50" normalizeH="0" baseline="0" noProof="0" dirty="0">
                <a:ln>
                  <a:noFill/>
                </a:ln>
                <a:solidFill>
                  <a:prstClr val="black">
                    <a:lumMod val="65000"/>
                    <a:lumOff val="35000"/>
                  </a:prstClr>
                </a:solidFill>
                <a:effectLst/>
                <a:uLnTx/>
                <a:uFillTx/>
                <a:latin typeface="Franklin Gothic Medium Cond" panose="020B0606030402020204" pitchFamily="34" charset="0"/>
                <a:ea typeface="+mn-ea"/>
                <a:cs typeface="+mn-cs"/>
              </a:rPr>
              <a:t> in </a:t>
            </a:r>
            <a:r>
              <a:rPr kumimoji="0" lang="tr-TR" sz="2800" b="0" i="0" u="none" strike="noStrike" kern="1200" cap="none" spc="-50" normalizeH="0" baseline="0" noProof="0" dirty="0" err="1">
                <a:ln>
                  <a:noFill/>
                </a:ln>
                <a:solidFill>
                  <a:prstClr val="black">
                    <a:lumMod val="65000"/>
                    <a:lumOff val="35000"/>
                  </a:prstClr>
                </a:solidFill>
                <a:effectLst/>
                <a:uLnTx/>
                <a:uFillTx/>
                <a:latin typeface="Franklin Gothic Medium Cond" panose="020B0606030402020204" pitchFamily="34" charset="0"/>
                <a:ea typeface="+mn-ea"/>
                <a:cs typeface="+mn-cs"/>
              </a:rPr>
              <a:t>three</a:t>
            </a:r>
            <a:r>
              <a:rPr kumimoji="0" lang="tr-TR" sz="2800" b="0" i="0" u="none" strike="noStrike" kern="1200" cap="none" spc="-50" normalizeH="0" baseline="0" noProof="0" dirty="0">
                <a:ln>
                  <a:noFill/>
                </a:ln>
                <a:solidFill>
                  <a:prstClr val="black">
                    <a:lumMod val="65000"/>
                    <a:lumOff val="35000"/>
                  </a:prstClr>
                </a:solidFill>
                <a:effectLst/>
                <a:uLnTx/>
                <a:uFillTx/>
                <a:latin typeface="Franklin Gothic Medium Cond" panose="020B0606030402020204" pitchFamily="34" charset="0"/>
                <a:ea typeface="+mn-ea"/>
                <a:cs typeface="+mn-cs"/>
              </a:rPr>
              <a:t> languages </a:t>
            </a:r>
            <a:r>
              <a:rPr kumimoji="0" lang="tr-TR" sz="2800" b="0" i="0" u="none" strike="noStrike" kern="1200" cap="none" spc="-50" normalizeH="0" baseline="0" noProof="0" dirty="0" err="1">
                <a:ln>
                  <a:noFill/>
                </a:ln>
                <a:solidFill>
                  <a:prstClr val="black">
                    <a:lumMod val="65000"/>
                    <a:lumOff val="35000"/>
                  </a:prstClr>
                </a:solidFill>
                <a:effectLst/>
                <a:uLnTx/>
                <a:uFillTx/>
                <a:latin typeface="Franklin Gothic Medium Cond" panose="020B0606030402020204" pitchFamily="34" charset="0"/>
                <a:ea typeface="+mn-ea"/>
                <a:cs typeface="+mn-cs"/>
              </a:rPr>
              <a:t>and</a:t>
            </a:r>
            <a:r>
              <a:rPr kumimoji="0" lang="tr-TR" sz="2800" b="0" i="0" u="none" strike="noStrike" kern="1200" cap="none" spc="-50" normalizeH="0" baseline="0" noProof="0" dirty="0">
                <a:ln>
                  <a:noFill/>
                </a:ln>
                <a:solidFill>
                  <a:prstClr val="black">
                    <a:lumMod val="65000"/>
                    <a:lumOff val="35000"/>
                  </a:prstClr>
                </a:solidFill>
                <a:effectLst/>
                <a:uLnTx/>
                <a:uFillTx/>
                <a:latin typeface="Franklin Gothic Medium Cond" panose="020B0606030402020204" pitchFamily="34" charset="0"/>
                <a:ea typeface="+mn-ea"/>
                <a:cs typeface="+mn-cs"/>
              </a:rPr>
              <a:t> </a:t>
            </a:r>
            <a:r>
              <a:rPr kumimoji="0" lang="tr-TR" sz="2800" b="0" i="0" u="none" strike="noStrike" kern="1200" cap="none" spc="-50" normalizeH="0" baseline="0" noProof="0" dirty="0" err="1">
                <a:ln>
                  <a:noFill/>
                </a:ln>
                <a:solidFill>
                  <a:prstClr val="black">
                    <a:lumMod val="65000"/>
                    <a:lumOff val="35000"/>
                  </a:prstClr>
                </a:solidFill>
                <a:effectLst/>
                <a:uLnTx/>
                <a:uFillTx/>
                <a:latin typeface="Franklin Gothic Medium Cond" panose="020B0606030402020204" pitchFamily="34" charset="0"/>
                <a:ea typeface="+mn-ea"/>
                <a:cs typeface="+mn-cs"/>
              </a:rPr>
              <a:t>fresh</a:t>
            </a:r>
            <a:r>
              <a:rPr kumimoji="0" lang="tr-TR" sz="2800" b="0" i="0" u="none" strike="noStrike" kern="1200" cap="none" spc="-50" normalizeH="0" baseline="0" noProof="0" dirty="0">
                <a:ln>
                  <a:noFill/>
                </a:ln>
                <a:solidFill>
                  <a:prstClr val="black">
                    <a:lumMod val="65000"/>
                    <a:lumOff val="35000"/>
                  </a:prstClr>
                </a:solidFill>
                <a:effectLst/>
                <a:uLnTx/>
                <a:uFillTx/>
                <a:latin typeface="Franklin Gothic Medium Cond" panose="020B0606030402020204" pitchFamily="34" charset="0"/>
                <a:ea typeface="+mn-ea"/>
                <a:cs typeface="+mn-cs"/>
              </a:rPr>
              <a:t> </a:t>
            </a:r>
            <a:r>
              <a:rPr kumimoji="0" lang="tr-TR" sz="2800" b="0" i="0" u="none" strike="noStrike" kern="1200" cap="none" spc="-50" normalizeH="0" baseline="0" noProof="0" dirty="0" err="1">
                <a:ln>
                  <a:noFill/>
                </a:ln>
                <a:solidFill>
                  <a:prstClr val="black">
                    <a:lumMod val="65000"/>
                    <a:lumOff val="35000"/>
                  </a:prstClr>
                </a:solidFill>
                <a:effectLst/>
                <a:uLnTx/>
                <a:uFillTx/>
                <a:latin typeface="Franklin Gothic Medium Cond" panose="020B0606030402020204" pitchFamily="34" charset="0"/>
                <a:ea typeface="+mn-ea"/>
                <a:cs typeface="+mn-cs"/>
              </a:rPr>
              <a:t>design</a:t>
            </a:r>
            <a:r>
              <a:rPr lang="tr-TR" sz="2800" spc="-50" dirty="0">
                <a:solidFill>
                  <a:prstClr val="black">
                    <a:lumMod val="65000"/>
                    <a:lumOff val="35000"/>
                  </a:prstClr>
                </a:solidFill>
                <a:latin typeface="Franklin Gothic Medium Cond" panose="020B0606030402020204" pitchFamily="34" charset="0"/>
              </a:rPr>
              <a:t>!</a:t>
            </a:r>
            <a:endParaRPr kumimoji="0" lang="tr-TR" sz="2000" b="0" i="0" u="none" strike="noStrike" kern="1200" cap="none" spc="-50" normalizeH="0" baseline="0" noProof="0" dirty="0">
              <a:ln>
                <a:noFill/>
              </a:ln>
              <a:solidFill>
                <a:prstClr val="black">
                  <a:lumMod val="65000"/>
                  <a:lumOff val="35000"/>
                </a:prstClr>
              </a:solidFill>
              <a:effectLst/>
              <a:uLnTx/>
              <a:uFillTx/>
              <a:latin typeface="Franklin Gothic Medium Cond" panose="020B0606030402020204" pitchFamily="34" charset="0"/>
              <a:ea typeface="+mn-ea"/>
              <a:cs typeface="+mn-cs"/>
            </a:endParaRPr>
          </a:p>
        </p:txBody>
      </p:sp>
      <p:pic>
        <p:nvPicPr>
          <p:cNvPr id="27" name="Picture 2" descr="mac png ile ilgili görsel sonucu"/>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97190" y="1854143"/>
            <a:ext cx="6188964" cy="3713379"/>
          </a:xfrm>
          <a:prstGeom prst="rect">
            <a:avLst/>
          </a:prstGeom>
          <a:noFill/>
          <a:extLst>
            <a:ext uri="{909E8E84-426E-40DD-AFC4-6F175D3DCCD1}">
              <a14:hiddenFill xmlns:a14="http://schemas.microsoft.com/office/drawing/2010/main">
                <a:solidFill>
                  <a:srgbClr val="FFFFFF"/>
                </a:solidFill>
              </a14:hiddenFill>
            </a:ext>
          </a:extLst>
        </p:spPr>
      </p:pic>
      <p:pic>
        <p:nvPicPr>
          <p:cNvPr id="3" name="Resim 2"/>
          <p:cNvPicPr>
            <a:picLocks noChangeAspect="1"/>
          </p:cNvPicPr>
          <p:nvPr/>
        </p:nvPicPr>
        <p:blipFill rotWithShape="1">
          <a:blip r:embed="rId4"/>
          <a:srcRect r="1110"/>
          <a:stretch/>
        </p:blipFill>
        <p:spPr>
          <a:xfrm>
            <a:off x="6244683" y="2176526"/>
            <a:ext cx="4499535" cy="2843779"/>
          </a:xfrm>
          <a:prstGeom prst="rect">
            <a:avLst/>
          </a:prstGeom>
        </p:spPr>
      </p:pic>
    </p:spTree>
    <p:extLst>
      <p:ext uri="{BB962C8B-B14F-4D97-AF65-F5344CB8AC3E}">
        <p14:creationId xmlns:p14="http://schemas.microsoft.com/office/powerpoint/2010/main" val="4015601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Nesne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9" name="think-cell Slide" r:id="rId5" imgW="344" imgH="345" progId="TCLayout.ActiveDocument.1">
                  <p:embed/>
                </p:oleObj>
              </mc:Choice>
              <mc:Fallback>
                <p:oleObj name="think-cell Slide" r:id="rId5" imgW="344" imgH="345" progId="TCLayout.ActiveDocument.1">
                  <p:embed/>
                  <p:pic>
                    <p:nvPicPr>
                      <p:cNvPr id="3" name="Nesne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5" name="TextBox 50"/>
          <p:cNvSpPr txBox="1"/>
          <p:nvPr/>
        </p:nvSpPr>
        <p:spPr>
          <a:xfrm>
            <a:off x="769434" y="1648294"/>
            <a:ext cx="4014439"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50" normalizeH="0" baseline="0" noProof="0" dirty="0" smtClean="0">
                <a:ln>
                  <a:noFill/>
                </a:ln>
                <a:solidFill>
                  <a:prstClr val="black">
                    <a:lumMod val="65000"/>
                    <a:lumOff val="35000"/>
                  </a:prstClr>
                </a:solidFill>
                <a:effectLst/>
                <a:uLnTx/>
                <a:uFillTx/>
                <a:latin typeface="Franklin Gothic Medium Cond" panose="020B0606030402020204" pitchFamily="34" charset="0"/>
                <a:ea typeface="+mn-ea"/>
                <a:cs typeface="+mn-cs"/>
              </a:rPr>
              <a:t>Call </a:t>
            </a:r>
            <a:r>
              <a:rPr kumimoji="0" lang="en-US" sz="2800" b="0" i="0" u="none" strike="noStrike" kern="1200" cap="none" spc="-50" normalizeH="0" baseline="0" noProof="0" dirty="0">
                <a:ln>
                  <a:noFill/>
                </a:ln>
                <a:solidFill>
                  <a:prstClr val="black">
                    <a:lumMod val="65000"/>
                    <a:lumOff val="35000"/>
                  </a:prstClr>
                </a:solidFill>
                <a:effectLst/>
                <a:uLnTx/>
                <a:uFillTx/>
                <a:latin typeface="Franklin Gothic Medium Cond" panose="020B0606030402020204" pitchFamily="34" charset="0"/>
                <a:ea typeface="+mn-ea"/>
                <a:cs typeface="+mn-cs"/>
              </a:rPr>
              <a:t>Center service </a:t>
            </a:r>
            <a:r>
              <a:rPr kumimoji="0" lang="tr-TR" sz="2800" b="0" i="0" u="none" strike="noStrike" kern="1200" cap="none" spc="-50" normalizeH="0" baseline="0" noProof="0" dirty="0" smtClean="0">
                <a:ln>
                  <a:noFill/>
                </a:ln>
                <a:solidFill>
                  <a:prstClr val="black">
                    <a:lumMod val="65000"/>
                    <a:lumOff val="35000"/>
                  </a:prstClr>
                </a:solidFill>
                <a:effectLst/>
                <a:uLnTx/>
                <a:uFillTx/>
                <a:latin typeface="Franklin Gothic Medium Cond" panose="020B0606030402020204" pitchFamily="34" charset="0"/>
                <a:ea typeface="+mn-ea"/>
                <a:cs typeface="+mn-cs"/>
              </a:rPr>
              <a:t>is </a:t>
            </a:r>
            <a:r>
              <a:rPr kumimoji="0" lang="en-US" sz="2800" b="0" i="0" u="none" strike="noStrike" kern="1200" cap="none" spc="-50" normalizeH="0" baseline="0" noProof="0" dirty="0" smtClean="0">
                <a:ln>
                  <a:noFill/>
                </a:ln>
                <a:solidFill>
                  <a:prstClr val="black">
                    <a:lumMod val="65000"/>
                    <a:lumOff val="35000"/>
                  </a:prstClr>
                </a:solidFill>
                <a:effectLst/>
                <a:uLnTx/>
                <a:uFillTx/>
                <a:latin typeface="Franklin Gothic Medium Cond" panose="020B0606030402020204" pitchFamily="34" charset="0"/>
                <a:ea typeface="+mn-ea"/>
                <a:cs typeface="+mn-cs"/>
              </a:rPr>
              <a:t>available </a:t>
            </a:r>
            <a:r>
              <a:rPr kumimoji="0" lang="en-US" sz="2800" b="0" i="0" u="none" strike="noStrike" kern="1200" cap="none" spc="-50" normalizeH="0" baseline="0" noProof="0" dirty="0">
                <a:ln>
                  <a:noFill/>
                </a:ln>
                <a:solidFill>
                  <a:prstClr val="black">
                    <a:lumMod val="65000"/>
                    <a:lumOff val="35000"/>
                  </a:prstClr>
                </a:solidFill>
                <a:effectLst/>
                <a:uLnTx/>
                <a:uFillTx/>
                <a:latin typeface="Franklin Gothic Medium Cond" panose="020B0606030402020204" pitchFamily="34" charset="0"/>
                <a:ea typeface="+mn-ea"/>
                <a:cs typeface="+mn-cs"/>
              </a:rPr>
              <a:t>in Turkish, German and English.</a:t>
            </a:r>
            <a:endParaRPr kumimoji="0" lang="tr-TR" sz="2800" b="0" i="0" u="none" strike="noStrike" kern="1200" cap="none" spc="-50" normalizeH="0" baseline="0" noProof="0" dirty="0">
              <a:ln>
                <a:noFill/>
              </a:ln>
              <a:solidFill>
                <a:prstClr val="black">
                  <a:lumMod val="65000"/>
                  <a:lumOff val="35000"/>
                </a:prstClr>
              </a:solidFill>
              <a:effectLst/>
              <a:uLnTx/>
              <a:uFillTx/>
              <a:latin typeface="Franklin Gothic Medium Cond" panose="020B0606030402020204" pitchFamily="34" charset="0"/>
              <a:ea typeface="+mn-ea"/>
              <a:cs typeface="+mn-cs"/>
            </a:endParaRPr>
          </a:p>
        </p:txBody>
      </p:sp>
      <p:pic>
        <p:nvPicPr>
          <p:cNvPr id="365570" name="Picture 2" descr="call center ile ilgili gÃ¶rsel sonucu"/>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866142" y="1743435"/>
            <a:ext cx="4781550" cy="31877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
        <p:nvSpPr>
          <p:cNvPr id="8" name="Dikdörtgen 7"/>
          <p:cNvSpPr/>
          <p:nvPr/>
        </p:nvSpPr>
        <p:spPr>
          <a:xfrm>
            <a:off x="593770" y="224752"/>
            <a:ext cx="12112580" cy="683264"/>
          </a:xfrm>
          <a:prstGeom prst="rect">
            <a:avLst/>
          </a:prstGeom>
        </p:spPr>
        <p:txBody>
          <a:bodyPr wrap="square">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tr-TR" sz="4800" b="0" i="0" u="none" strike="noStrike" kern="1200" cap="none" spc="-90" normalizeH="0" baseline="0" noProof="0" dirty="0">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rPr>
              <a:t>Call Center</a:t>
            </a:r>
          </a:p>
        </p:txBody>
      </p:sp>
      <p:sp>
        <p:nvSpPr>
          <p:cNvPr id="9" name="Rounded Rectangle 15"/>
          <p:cNvSpPr>
            <a:spLocks/>
          </p:cNvSpPr>
          <p:nvPr/>
        </p:nvSpPr>
        <p:spPr>
          <a:xfrm>
            <a:off x="225449" y="-152401"/>
            <a:ext cx="212701" cy="1102549"/>
          </a:xfrm>
          <a:prstGeom prst="roundRect">
            <a:avLst>
              <a:gd name="adj" fmla="val 50000"/>
            </a:avLst>
          </a:prstGeom>
          <a:gradFill flip="none" rotWithShape="1">
            <a:gsLst>
              <a:gs pos="0">
                <a:srgbClr val="EC2B8C"/>
              </a:gs>
              <a:gs pos="100000">
                <a:srgbClr val="8D27CB"/>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161683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Nesne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3" name="think-cell Slide" r:id="rId5" imgW="344" imgH="345" progId="TCLayout.ActiveDocument.1">
                  <p:embed/>
                </p:oleObj>
              </mc:Choice>
              <mc:Fallback>
                <p:oleObj name="think-cell Slide" r:id="rId5" imgW="344" imgH="345" progId="TCLayout.ActiveDocument.1">
                  <p:embed/>
                  <p:pic>
                    <p:nvPicPr>
                      <p:cNvPr id="3" name="Nesne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5" name="TextBox 50"/>
          <p:cNvSpPr txBox="1"/>
          <p:nvPr/>
        </p:nvSpPr>
        <p:spPr>
          <a:xfrm>
            <a:off x="951115" y="1414797"/>
            <a:ext cx="4014439"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2800" b="0" i="0" u="none" strike="noStrike" kern="1200" cap="none" spc="-50" normalizeH="0" baseline="0" noProof="0" dirty="0">
                <a:ln>
                  <a:noFill/>
                </a:ln>
                <a:solidFill>
                  <a:prstClr val="black">
                    <a:lumMod val="65000"/>
                    <a:lumOff val="35000"/>
                  </a:prstClr>
                </a:solidFill>
                <a:effectLst/>
                <a:uLnTx/>
                <a:uFillTx/>
                <a:latin typeface="Franklin Gothic Medium Cond" panose="020B0606030402020204" pitchFamily="34" charset="0"/>
                <a:ea typeface="+mn-ea"/>
                <a:cs typeface="+mn-cs"/>
              </a:rPr>
              <a:t>From </a:t>
            </a:r>
            <a:r>
              <a:rPr kumimoji="0" lang="en-US" sz="2800" b="0" i="0" u="none" strike="noStrike" kern="1200" cap="none" spc="-50" normalizeH="0" baseline="0" noProof="0" dirty="0">
                <a:ln>
                  <a:noFill/>
                </a:ln>
                <a:solidFill>
                  <a:prstClr val="black">
                    <a:lumMod val="65000"/>
                    <a:lumOff val="35000"/>
                  </a:prstClr>
                </a:solidFill>
                <a:effectLst/>
                <a:uLnTx/>
                <a:uFillTx/>
                <a:latin typeface="Franklin Gothic Medium Cond" panose="020B0606030402020204" pitchFamily="34" charset="0"/>
                <a:ea typeface="+mn-ea"/>
                <a:cs typeface="+mn-cs"/>
              </a:rPr>
              <a:t>Germany </a:t>
            </a:r>
            <a:r>
              <a:rPr kumimoji="0" lang="tr-TR" sz="2800" b="0" i="0" u="none" strike="noStrike" kern="1200" cap="none" spc="-50" normalizeH="0" baseline="0" noProof="0" dirty="0">
                <a:ln>
                  <a:noFill/>
                </a:ln>
                <a:solidFill>
                  <a:prstClr val="black">
                    <a:lumMod val="65000"/>
                    <a:lumOff val="35000"/>
                  </a:prstClr>
                </a:solidFill>
                <a:effectLst/>
                <a:uLnTx/>
                <a:uFillTx/>
                <a:latin typeface="Franklin Gothic Medium Cond" panose="020B0606030402020204" pitchFamily="34" charset="0"/>
                <a:ea typeface="+mn-ea"/>
                <a:cs typeface="+mn-cs"/>
              </a:rPr>
              <a:t>to </a:t>
            </a:r>
            <a:r>
              <a:rPr kumimoji="0" lang="en-US" sz="2800" b="0" i="0" u="none" strike="noStrike" kern="1200" cap="none" spc="-50" normalizeH="0" baseline="0" noProof="0" dirty="0">
                <a:ln>
                  <a:noFill/>
                </a:ln>
                <a:solidFill>
                  <a:prstClr val="black">
                    <a:lumMod val="65000"/>
                    <a:lumOff val="35000"/>
                  </a:prstClr>
                </a:solidFill>
                <a:effectLst/>
                <a:uLnTx/>
                <a:uFillTx/>
                <a:latin typeface="Franklin Gothic Medium Cond" panose="020B0606030402020204" pitchFamily="34" charset="0"/>
                <a:ea typeface="+mn-ea"/>
                <a:cs typeface="+mn-cs"/>
              </a:rPr>
              <a:t>Turkey </a:t>
            </a:r>
            <a:r>
              <a:rPr kumimoji="0" lang="tr-TR" sz="2800" b="0" i="0" u="none" strike="noStrike" kern="1200" cap="none" spc="-50" normalizeH="0" baseline="0" noProof="0" dirty="0">
                <a:ln>
                  <a:noFill/>
                </a:ln>
                <a:solidFill>
                  <a:prstClr val="black">
                    <a:lumMod val="65000"/>
                    <a:lumOff val="35000"/>
                  </a:prstClr>
                </a:solidFill>
                <a:effectLst/>
                <a:uLnTx/>
                <a:uFillTx/>
                <a:latin typeface="Franklin Gothic Medium Cond" panose="020B0606030402020204" pitchFamily="34" charset="0"/>
                <a:ea typeface="+mn-ea"/>
                <a:cs typeface="+mn-cs"/>
              </a:rPr>
              <a:t>- </a:t>
            </a:r>
            <a:r>
              <a:rPr kumimoji="0" lang="en-US" sz="2800" b="0" i="0" u="none" strike="noStrike" kern="1200" cap="none" spc="-50" normalizeH="0" baseline="0" noProof="0" dirty="0">
                <a:ln>
                  <a:noFill/>
                </a:ln>
                <a:solidFill>
                  <a:prstClr val="black">
                    <a:lumMod val="65000"/>
                    <a:lumOff val="35000"/>
                  </a:prstClr>
                </a:solidFill>
                <a:effectLst/>
                <a:uLnTx/>
                <a:uFillTx/>
                <a:latin typeface="Franklin Gothic Medium Cond" panose="020B0606030402020204" pitchFamily="34" charset="0"/>
                <a:ea typeface="+mn-ea"/>
                <a:cs typeface="+mn-cs"/>
              </a:rPr>
              <a:t>money transfer mechanism will work 7/24.</a:t>
            </a:r>
            <a:endParaRPr kumimoji="0" lang="tr-TR" sz="2800" b="0" i="0" u="none" strike="noStrike" kern="1200" cap="none" spc="-50" normalizeH="0" baseline="0" noProof="0" dirty="0">
              <a:ln>
                <a:noFill/>
              </a:ln>
              <a:solidFill>
                <a:prstClr val="black">
                  <a:lumMod val="65000"/>
                  <a:lumOff val="35000"/>
                </a:prstClr>
              </a:solidFill>
              <a:effectLst/>
              <a:uLnTx/>
              <a:uFillTx/>
              <a:latin typeface="Franklin Gothic Medium Cond" panose="020B0606030402020204" pitchFamily="34" charset="0"/>
              <a:ea typeface="+mn-ea"/>
              <a:cs typeface="+mn-cs"/>
            </a:endParaRPr>
          </a:p>
        </p:txBody>
      </p:sp>
      <p:grpSp>
        <p:nvGrpSpPr>
          <p:cNvPr id="19" name="Grup 18"/>
          <p:cNvGrpSpPr/>
          <p:nvPr/>
        </p:nvGrpSpPr>
        <p:grpSpPr>
          <a:xfrm>
            <a:off x="6678797" y="0"/>
            <a:ext cx="5513203" cy="4007248"/>
            <a:chOff x="3488260" y="1377795"/>
            <a:chExt cx="6215605" cy="4517785"/>
          </a:xfrm>
          <a:solidFill>
            <a:schemeClr val="bg2">
              <a:lumMod val="75000"/>
            </a:schemeClr>
          </a:solidFill>
        </p:grpSpPr>
        <p:sp>
          <p:nvSpPr>
            <p:cNvPr id="26" name="Freeform 5"/>
            <p:cNvSpPr>
              <a:spLocks/>
            </p:cNvSpPr>
            <p:nvPr/>
          </p:nvSpPr>
          <p:spPr bwMode="auto">
            <a:xfrm>
              <a:off x="5869657" y="3364368"/>
              <a:ext cx="43324" cy="142968"/>
            </a:xfrm>
            <a:custGeom>
              <a:avLst/>
              <a:gdLst>
                <a:gd name="T0" fmla="*/ 10 w 15"/>
                <a:gd name="T1" fmla="*/ 3 h 52"/>
                <a:gd name="T2" fmla="*/ 10 w 15"/>
                <a:gd name="T3" fmla="*/ 8 h 52"/>
                <a:gd name="T4" fmla="*/ 9 w 15"/>
                <a:gd name="T5" fmla="*/ 12 h 52"/>
                <a:gd name="T6" fmla="*/ 8 w 15"/>
                <a:gd name="T7" fmla="*/ 17 h 52"/>
                <a:gd name="T8" fmla="*/ 6 w 15"/>
                <a:gd name="T9" fmla="*/ 21 h 52"/>
                <a:gd name="T10" fmla="*/ 4 w 15"/>
                <a:gd name="T11" fmla="*/ 24 h 52"/>
                <a:gd name="T12" fmla="*/ 4 w 15"/>
                <a:gd name="T13" fmla="*/ 28 h 52"/>
                <a:gd name="T14" fmla="*/ 2 w 15"/>
                <a:gd name="T15" fmla="*/ 33 h 52"/>
                <a:gd name="T16" fmla="*/ 1 w 15"/>
                <a:gd name="T17" fmla="*/ 38 h 52"/>
                <a:gd name="T18" fmla="*/ 2 w 15"/>
                <a:gd name="T19" fmla="*/ 42 h 52"/>
                <a:gd name="T20" fmla="*/ 3 w 15"/>
                <a:gd name="T21" fmla="*/ 45 h 52"/>
                <a:gd name="T22" fmla="*/ 3 w 15"/>
                <a:gd name="T23" fmla="*/ 51 h 52"/>
                <a:gd name="T24" fmla="*/ 5 w 15"/>
                <a:gd name="T25" fmla="*/ 52 h 52"/>
                <a:gd name="T26" fmla="*/ 5 w 15"/>
                <a:gd name="T27" fmla="*/ 49 h 52"/>
                <a:gd name="T28" fmla="*/ 6 w 15"/>
                <a:gd name="T29" fmla="*/ 43 h 52"/>
                <a:gd name="T30" fmla="*/ 5 w 15"/>
                <a:gd name="T31" fmla="*/ 40 h 52"/>
                <a:gd name="T32" fmla="*/ 8 w 15"/>
                <a:gd name="T33" fmla="*/ 35 h 52"/>
                <a:gd name="T34" fmla="*/ 7 w 15"/>
                <a:gd name="T35" fmla="*/ 31 h 52"/>
                <a:gd name="T36" fmla="*/ 9 w 15"/>
                <a:gd name="T37" fmla="*/ 26 h 52"/>
                <a:gd name="T38" fmla="*/ 10 w 15"/>
                <a:gd name="T39" fmla="*/ 24 h 52"/>
                <a:gd name="T40" fmla="*/ 10 w 15"/>
                <a:gd name="T41" fmla="*/ 21 h 52"/>
                <a:gd name="T42" fmla="*/ 10 w 15"/>
                <a:gd name="T43" fmla="*/ 17 h 52"/>
                <a:gd name="T44" fmla="*/ 12 w 15"/>
                <a:gd name="T45" fmla="*/ 14 h 52"/>
                <a:gd name="T46" fmla="*/ 13 w 15"/>
                <a:gd name="T47" fmla="*/ 11 h 52"/>
                <a:gd name="T48" fmla="*/ 13 w 15"/>
                <a:gd name="T49" fmla="*/ 7 h 52"/>
                <a:gd name="T50" fmla="*/ 12 w 15"/>
                <a:gd name="T51" fmla="*/ 5 h 52"/>
                <a:gd name="T52" fmla="*/ 14 w 15"/>
                <a:gd name="T53" fmla="*/ 4 h 52"/>
                <a:gd name="T54" fmla="*/ 15 w 15"/>
                <a:gd name="T55" fmla="*/ 1 h 52"/>
                <a:gd name="T56" fmla="*/ 12 w 15"/>
                <a:gd name="T57" fmla="*/ 0 h 52"/>
                <a:gd name="T58" fmla="*/ 10 w 15"/>
                <a:gd name="T59"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 h="52">
                  <a:moveTo>
                    <a:pt x="10" y="3"/>
                  </a:moveTo>
                  <a:cubicBezTo>
                    <a:pt x="10" y="4"/>
                    <a:pt x="10" y="7"/>
                    <a:pt x="10" y="8"/>
                  </a:cubicBezTo>
                  <a:cubicBezTo>
                    <a:pt x="11" y="8"/>
                    <a:pt x="9" y="12"/>
                    <a:pt x="9" y="12"/>
                  </a:cubicBezTo>
                  <a:cubicBezTo>
                    <a:pt x="8" y="17"/>
                    <a:pt x="8" y="17"/>
                    <a:pt x="8" y="17"/>
                  </a:cubicBezTo>
                  <a:cubicBezTo>
                    <a:pt x="8" y="17"/>
                    <a:pt x="7" y="20"/>
                    <a:pt x="6" y="21"/>
                  </a:cubicBezTo>
                  <a:cubicBezTo>
                    <a:pt x="6" y="21"/>
                    <a:pt x="5" y="23"/>
                    <a:pt x="4" y="24"/>
                  </a:cubicBezTo>
                  <a:cubicBezTo>
                    <a:pt x="4" y="26"/>
                    <a:pt x="4" y="27"/>
                    <a:pt x="4" y="28"/>
                  </a:cubicBezTo>
                  <a:cubicBezTo>
                    <a:pt x="4" y="30"/>
                    <a:pt x="2" y="31"/>
                    <a:pt x="2" y="33"/>
                  </a:cubicBezTo>
                  <a:cubicBezTo>
                    <a:pt x="2" y="34"/>
                    <a:pt x="1" y="35"/>
                    <a:pt x="1" y="38"/>
                  </a:cubicBezTo>
                  <a:cubicBezTo>
                    <a:pt x="0" y="40"/>
                    <a:pt x="2" y="42"/>
                    <a:pt x="2" y="42"/>
                  </a:cubicBezTo>
                  <a:cubicBezTo>
                    <a:pt x="2" y="43"/>
                    <a:pt x="3" y="45"/>
                    <a:pt x="3" y="45"/>
                  </a:cubicBezTo>
                  <a:cubicBezTo>
                    <a:pt x="3" y="51"/>
                    <a:pt x="3" y="51"/>
                    <a:pt x="3" y="51"/>
                  </a:cubicBezTo>
                  <a:cubicBezTo>
                    <a:pt x="3" y="51"/>
                    <a:pt x="4" y="52"/>
                    <a:pt x="5" y="52"/>
                  </a:cubicBezTo>
                  <a:cubicBezTo>
                    <a:pt x="6" y="52"/>
                    <a:pt x="5" y="49"/>
                    <a:pt x="5" y="49"/>
                  </a:cubicBezTo>
                  <a:cubicBezTo>
                    <a:pt x="5" y="49"/>
                    <a:pt x="6" y="44"/>
                    <a:pt x="6" y="43"/>
                  </a:cubicBezTo>
                  <a:cubicBezTo>
                    <a:pt x="5" y="42"/>
                    <a:pt x="5" y="40"/>
                    <a:pt x="5" y="40"/>
                  </a:cubicBezTo>
                  <a:cubicBezTo>
                    <a:pt x="8" y="35"/>
                    <a:pt x="8" y="35"/>
                    <a:pt x="8" y="35"/>
                  </a:cubicBezTo>
                  <a:cubicBezTo>
                    <a:pt x="7" y="31"/>
                    <a:pt x="7" y="31"/>
                    <a:pt x="7" y="31"/>
                  </a:cubicBezTo>
                  <a:cubicBezTo>
                    <a:pt x="9" y="26"/>
                    <a:pt x="9" y="26"/>
                    <a:pt x="9" y="26"/>
                  </a:cubicBezTo>
                  <a:cubicBezTo>
                    <a:pt x="10" y="24"/>
                    <a:pt x="10" y="24"/>
                    <a:pt x="10" y="24"/>
                  </a:cubicBezTo>
                  <a:cubicBezTo>
                    <a:pt x="10" y="21"/>
                    <a:pt x="10" y="21"/>
                    <a:pt x="10" y="21"/>
                  </a:cubicBezTo>
                  <a:cubicBezTo>
                    <a:pt x="10" y="17"/>
                    <a:pt x="10" y="17"/>
                    <a:pt x="10" y="17"/>
                  </a:cubicBezTo>
                  <a:cubicBezTo>
                    <a:pt x="12" y="14"/>
                    <a:pt x="12" y="14"/>
                    <a:pt x="12" y="14"/>
                  </a:cubicBezTo>
                  <a:cubicBezTo>
                    <a:pt x="13" y="11"/>
                    <a:pt x="13" y="11"/>
                    <a:pt x="13" y="11"/>
                  </a:cubicBezTo>
                  <a:cubicBezTo>
                    <a:pt x="13" y="7"/>
                    <a:pt x="13" y="7"/>
                    <a:pt x="13" y="7"/>
                  </a:cubicBezTo>
                  <a:cubicBezTo>
                    <a:pt x="13" y="7"/>
                    <a:pt x="12" y="6"/>
                    <a:pt x="12" y="5"/>
                  </a:cubicBezTo>
                  <a:cubicBezTo>
                    <a:pt x="12" y="5"/>
                    <a:pt x="13" y="4"/>
                    <a:pt x="14" y="4"/>
                  </a:cubicBezTo>
                  <a:cubicBezTo>
                    <a:pt x="14" y="3"/>
                    <a:pt x="15" y="1"/>
                    <a:pt x="15" y="1"/>
                  </a:cubicBezTo>
                  <a:cubicBezTo>
                    <a:pt x="12" y="0"/>
                    <a:pt x="12" y="0"/>
                    <a:pt x="12" y="0"/>
                  </a:cubicBezTo>
                  <a:cubicBezTo>
                    <a:pt x="12" y="0"/>
                    <a:pt x="10" y="2"/>
                    <a:pt x="10" y="3"/>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6"/>
            <p:cNvSpPr>
              <a:spLocks/>
            </p:cNvSpPr>
            <p:nvPr/>
          </p:nvSpPr>
          <p:spPr bwMode="auto">
            <a:xfrm>
              <a:off x="5966415" y="3277225"/>
              <a:ext cx="75096" cy="141606"/>
            </a:xfrm>
            <a:custGeom>
              <a:avLst/>
              <a:gdLst>
                <a:gd name="T0" fmla="*/ 21 w 26"/>
                <a:gd name="T1" fmla="*/ 1 h 52"/>
                <a:gd name="T2" fmla="*/ 20 w 26"/>
                <a:gd name="T3" fmla="*/ 3 h 52"/>
                <a:gd name="T4" fmla="*/ 17 w 26"/>
                <a:gd name="T5" fmla="*/ 3 h 52"/>
                <a:gd name="T6" fmla="*/ 15 w 26"/>
                <a:gd name="T7" fmla="*/ 4 h 52"/>
                <a:gd name="T8" fmla="*/ 15 w 26"/>
                <a:gd name="T9" fmla="*/ 5 h 52"/>
                <a:gd name="T10" fmla="*/ 12 w 26"/>
                <a:gd name="T11" fmla="*/ 3 h 52"/>
                <a:gd name="T12" fmla="*/ 10 w 26"/>
                <a:gd name="T13" fmla="*/ 7 h 52"/>
                <a:gd name="T14" fmla="*/ 8 w 26"/>
                <a:gd name="T15" fmla="*/ 9 h 52"/>
                <a:gd name="T16" fmla="*/ 7 w 26"/>
                <a:gd name="T17" fmla="*/ 11 h 52"/>
                <a:gd name="T18" fmla="*/ 6 w 26"/>
                <a:gd name="T19" fmla="*/ 15 h 52"/>
                <a:gd name="T20" fmla="*/ 1 w 26"/>
                <a:gd name="T21" fmla="*/ 20 h 52"/>
                <a:gd name="T22" fmla="*/ 1 w 26"/>
                <a:gd name="T23" fmla="*/ 23 h 52"/>
                <a:gd name="T24" fmla="*/ 1 w 26"/>
                <a:gd name="T25" fmla="*/ 27 h 52"/>
                <a:gd name="T26" fmla="*/ 3 w 26"/>
                <a:gd name="T27" fmla="*/ 28 h 52"/>
                <a:gd name="T28" fmla="*/ 4 w 26"/>
                <a:gd name="T29" fmla="*/ 32 h 52"/>
                <a:gd name="T30" fmla="*/ 1 w 26"/>
                <a:gd name="T31" fmla="*/ 33 h 52"/>
                <a:gd name="T32" fmla="*/ 2 w 26"/>
                <a:gd name="T33" fmla="*/ 34 h 52"/>
                <a:gd name="T34" fmla="*/ 4 w 26"/>
                <a:gd name="T35" fmla="*/ 37 h 52"/>
                <a:gd name="T36" fmla="*/ 6 w 26"/>
                <a:gd name="T37" fmla="*/ 40 h 52"/>
                <a:gd name="T38" fmla="*/ 7 w 26"/>
                <a:gd name="T39" fmla="*/ 43 h 52"/>
                <a:gd name="T40" fmla="*/ 5 w 26"/>
                <a:gd name="T41" fmla="*/ 46 h 52"/>
                <a:gd name="T42" fmla="*/ 4 w 26"/>
                <a:gd name="T43" fmla="*/ 49 h 52"/>
                <a:gd name="T44" fmla="*/ 8 w 26"/>
                <a:gd name="T45" fmla="*/ 49 h 52"/>
                <a:gd name="T46" fmla="*/ 10 w 26"/>
                <a:gd name="T47" fmla="*/ 46 h 52"/>
                <a:gd name="T48" fmla="*/ 10 w 26"/>
                <a:gd name="T49" fmla="*/ 43 h 52"/>
                <a:gd name="T50" fmla="*/ 12 w 26"/>
                <a:gd name="T51" fmla="*/ 38 h 52"/>
                <a:gd name="T52" fmla="*/ 15 w 26"/>
                <a:gd name="T53" fmla="*/ 36 h 52"/>
                <a:gd name="T54" fmla="*/ 17 w 26"/>
                <a:gd name="T55" fmla="*/ 34 h 52"/>
                <a:gd name="T56" fmla="*/ 17 w 26"/>
                <a:gd name="T57" fmla="*/ 31 h 52"/>
                <a:gd name="T58" fmla="*/ 18 w 26"/>
                <a:gd name="T59" fmla="*/ 28 h 52"/>
                <a:gd name="T60" fmla="*/ 20 w 26"/>
                <a:gd name="T61" fmla="*/ 26 h 52"/>
                <a:gd name="T62" fmla="*/ 19 w 26"/>
                <a:gd name="T63" fmla="*/ 23 h 52"/>
                <a:gd name="T64" fmla="*/ 17 w 26"/>
                <a:gd name="T65" fmla="*/ 22 h 52"/>
                <a:gd name="T66" fmla="*/ 17 w 26"/>
                <a:gd name="T67" fmla="*/ 20 h 52"/>
                <a:gd name="T68" fmla="*/ 16 w 26"/>
                <a:gd name="T69" fmla="*/ 16 h 52"/>
                <a:gd name="T70" fmla="*/ 17 w 26"/>
                <a:gd name="T71" fmla="*/ 14 h 52"/>
                <a:gd name="T72" fmla="*/ 20 w 26"/>
                <a:gd name="T73" fmla="*/ 11 h 52"/>
                <a:gd name="T74" fmla="*/ 21 w 26"/>
                <a:gd name="T75" fmla="*/ 8 h 52"/>
                <a:gd name="T76" fmla="*/ 22 w 26"/>
                <a:gd name="T77" fmla="*/ 6 h 52"/>
                <a:gd name="T78" fmla="*/ 25 w 26"/>
                <a:gd name="T79" fmla="*/ 4 h 52"/>
                <a:gd name="T80" fmla="*/ 25 w 26"/>
                <a:gd name="T81" fmla="*/ 2 h 52"/>
                <a:gd name="T82" fmla="*/ 25 w 26"/>
                <a:gd name="T83" fmla="*/ 1 h 52"/>
                <a:gd name="T84" fmla="*/ 21 w 26"/>
                <a:gd name="T85" fmla="*/ 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 h="52">
                  <a:moveTo>
                    <a:pt x="21" y="1"/>
                  </a:moveTo>
                  <a:cubicBezTo>
                    <a:pt x="20" y="3"/>
                    <a:pt x="20" y="3"/>
                    <a:pt x="20" y="3"/>
                  </a:cubicBezTo>
                  <a:cubicBezTo>
                    <a:pt x="20" y="3"/>
                    <a:pt x="17" y="3"/>
                    <a:pt x="17" y="3"/>
                  </a:cubicBezTo>
                  <a:cubicBezTo>
                    <a:pt x="16" y="3"/>
                    <a:pt x="15" y="3"/>
                    <a:pt x="15" y="4"/>
                  </a:cubicBezTo>
                  <a:cubicBezTo>
                    <a:pt x="15" y="5"/>
                    <a:pt x="15" y="5"/>
                    <a:pt x="15" y="5"/>
                  </a:cubicBezTo>
                  <a:cubicBezTo>
                    <a:pt x="14" y="5"/>
                    <a:pt x="12" y="3"/>
                    <a:pt x="12" y="3"/>
                  </a:cubicBezTo>
                  <a:cubicBezTo>
                    <a:pt x="10" y="7"/>
                    <a:pt x="10" y="7"/>
                    <a:pt x="10" y="7"/>
                  </a:cubicBezTo>
                  <a:cubicBezTo>
                    <a:pt x="8" y="9"/>
                    <a:pt x="8" y="9"/>
                    <a:pt x="8" y="9"/>
                  </a:cubicBezTo>
                  <a:cubicBezTo>
                    <a:pt x="8" y="9"/>
                    <a:pt x="6" y="10"/>
                    <a:pt x="7" y="11"/>
                  </a:cubicBezTo>
                  <a:cubicBezTo>
                    <a:pt x="7" y="13"/>
                    <a:pt x="7" y="13"/>
                    <a:pt x="6" y="15"/>
                  </a:cubicBezTo>
                  <a:cubicBezTo>
                    <a:pt x="4" y="17"/>
                    <a:pt x="1" y="20"/>
                    <a:pt x="1" y="20"/>
                  </a:cubicBezTo>
                  <a:cubicBezTo>
                    <a:pt x="1" y="20"/>
                    <a:pt x="0" y="22"/>
                    <a:pt x="1" y="23"/>
                  </a:cubicBezTo>
                  <a:cubicBezTo>
                    <a:pt x="1" y="23"/>
                    <a:pt x="1" y="25"/>
                    <a:pt x="1" y="27"/>
                  </a:cubicBezTo>
                  <a:cubicBezTo>
                    <a:pt x="2" y="28"/>
                    <a:pt x="3" y="27"/>
                    <a:pt x="3" y="28"/>
                  </a:cubicBezTo>
                  <a:cubicBezTo>
                    <a:pt x="3" y="29"/>
                    <a:pt x="4" y="32"/>
                    <a:pt x="4" y="32"/>
                  </a:cubicBezTo>
                  <a:cubicBezTo>
                    <a:pt x="1" y="33"/>
                    <a:pt x="1" y="33"/>
                    <a:pt x="1" y="33"/>
                  </a:cubicBezTo>
                  <a:cubicBezTo>
                    <a:pt x="2" y="34"/>
                    <a:pt x="2" y="34"/>
                    <a:pt x="2" y="34"/>
                  </a:cubicBezTo>
                  <a:cubicBezTo>
                    <a:pt x="4" y="37"/>
                    <a:pt x="4" y="37"/>
                    <a:pt x="4" y="37"/>
                  </a:cubicBezTo>
                  <a:cubicBezTo>
                    <a:pt x="6" y="40"/>
                    <a:pt x="6" y="40"/>
                    <a:pt x="6" y="40"/>
                  </a:cubicBezTo>
                  <a:cubicBezTo>
                    <a:pt x="7" y="43"/>
                    <a:pt x="7" y="43"/>
                    <a:pt x="7" y="43"/>
                  </a:cubicBezTo>
                  <a:cubicBezTo>
                    <a:pt x="7" y="43"/>
                    <a:pt x="6" y="45"/>
                    <a:pt x="5" y="46"/>
                  </a:cubicBezTo>
                  <a:cubicBezTo>
                    <a:pt x="5" y="48"/>
                    <a:pt x="2" y="49"/>
                    <a:pt x="4" y="49"/>
                  </a:cubicBezTo>
                  <a:cubicBezTo>
                    <a:pt x="7" y="49"/>
                    <a:pt x="7" y="52"/>
                    <a:pt x="8" y="49"/>
                  </a:cubicBezTo>
                  <a:cubicBezTo>
                    <a:pt x="10" y="47"/>
                    <a:pt x="10" y="47"/>
                    <a:pt x="10" y="46"/>
                  </a:cubicBezTo>
                  <a:cubicBezTo>
                    <a:pt x="11" y="46"/>
                    <a:pt x="10" y="44"/>
                    <a:pt x="10" y="43"/>
                  </a:cubicBezTo>
                  <a:cubicBezTo>
                    <a:pt x="10" y="42"/>
                    <a:pt x="11" y="39"/>
                    <a:pt x="12" y="38"/>
                  </a:cubicBezTo>
                  <a:cubicBezTo>
                    <a:pt x="12" y="38"/>
                    <a:pt x="14" y="36"/>
                    <a:pt x="15" y="36"/>
                  </a:cubicBezTo>
                  <a:cubicBezTo>
                    <a:pt x="15" y="35"/>
                    <a:pt x="17" y="36"/>
                    <a:pt x="17" y="34"/>
                  </a:cubicBezTo>
                  <a:cubicBezTo>
                    <a:pt x="17" y="33"/>
                    <a:pt x="17" y="31"/>
                    <a:pt x="17" y="31"/>
                  </a:cubicBezTo>
                  <a:cubicBezTo>
                    <a:pt x="17" y="31"/>
                    <a:pt x="18" y="29"/>
                    <a:pt x="18" y="28"/>
                  </a:cubicBezTo>
                  <a:cubicBezTo>
                    <a:pt x="19" y="28"/>
                    <a:pt x="20" y="27"/>
                    <a:pt x="20" y="26"/>
                  </a:cubicBezTo>
                  <a:cubicBezTo>
                    <a:pt x="21" y="25"/>
                    <a:pt x="20" y="23"/>
                    <a:pt x="19" y="23"/>
                  </a:cubicBezTo>
                  <a:cubicBezTo>
                    <a:pt x="19" y="23"/>
                    <a:pt x="18" y="23"/>
                    <a:pt x="17" y="22"/>
                  </a:cubicBezTo>
                  <a:cubicBezTo>
                    <a:pt x="17" y="21"/>
                    <a:pt x="17" y="21"/>
                    <a:pt x="17" y="20"/>
                  </a:cubicBezTo>
                  <a:cubicBezTo>
                    <a:pt x="17" y="19"/>
                    <a:pt x="16" y="17"/>
                    <a:pt x="16" y="16"/>
                  </a:cubicBezTo>
                  <a:cubicBezTo>
                    <a:pt x="16" y="16"/>
                    <a:pt x="16" y="14"/>
                    <a:pt x="17" y="14"/>
                  </a:cubicBezTo>
                  <a:cubicBezTo>
                    <a:pt x="18" y="13"/>
                    <a:pt x="20" y="12"/>
                    <a:pt x="20" y="11"/>
                  </a:cubicBezTo>
                  <a:cubicBezTo>
                    <a:pt x="21" y="11"/>
                    <a:pt x="21" y="8"/>
                    <a:pt x="21" y="8"/>
                  </a:cubicBezTo>
                  <a:cubicBezTo>
                    <a:pt x="21" y="8"/>
                    <a:pt x="19" y="6"/>
                    <a:pt x="22" y="6"/>
                  </a:cubicBezTo>
                  <a:cubicBezTo>
                    <a:pt x="24" y="5"/>
                    <a:pt x="25" y="4"/>
                    <a:pt x="25" y="4"/>
                  </a:cubicBezTo>
                  <a:cubicBezTo>
                    <a:pt x="25" y="3"/>
                    <a:pt x="25" y="3"/>
                    <a:pt x="25" y="2"/>
                  </a:cubicBezTo>
                  <a:cubicBezTo>
                    <a:pt x="25" y="1"/>
                    <a:pt x="26" y="1"/>
                    <a:pt x="25" y="1"/>
                  </a:cubicBezTo>
                  <a:cubicBezTo>
                    <a:pt x="24" y="0"/>
                    <a:pt x="21" y="1"/>
                    <a:pt x="21" y="1"/>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7"/>
            <p:cNvSpPr>
              <a:spLocks/>
            </p:cNvSpPr>
            <p:nvPr/>
          </p:nvSpPr>
          <p:spPr bwMode="auto">
            <a:xfrm>
              <a:off x="5492735" y="1955113"/>
              <a:ext cx="652754" cy="1672043"/>
            </a:xfrm>
            <a:custGeom>
              <a:avLst/>
              <a:gdLst>
                <a:gd name="T0" fmla="*/ 169 w 225"/>
                <a:gd name="T1" fmla="*/ 413 h 612"/>
                <a:gd name="T2" fmla="*/ 175 w 225"/>
                <a:gd name="T3" fmla="*/ 405 h 612"/>
                <a:gd name="T4" fmla="*/ 160 w 225"/>
                <a:gd name="T5" fmla="*/ 389 h 612"/>
                <a:gd name="T6" fmla="*/ 140 w 225"/>
                <a:gd name="T7" fmla="*/ 374 h 612"/>
                <a:gd name="T8" fmla="*/ 129 w 225"/>
                <a:gd name="T9" fmla="*/ 366 h 612"/>
                <a:gd name="T10" fmla="*/ 121 w 225"/>
                <a:gd name="T11" fmla="*/ 341 h 612"/>
                <a:gd name="T12" fmla="*/ 128 w 225"/>
                <a:gd name="T13" fmla="*/ 329 h 612"/>
                <a:gd name="T14" fmla="*/ 125 w 225"/>
                <a:gd name="T15" fmla="*/ 302 h 612"/>
                <a:gd name="T16" fmla="*/ 131 w 225"/>
                <a:gd name="T17" fmla="*/ 283 h 612"/>
                <a:gd name="T18" fmla="*/ 141 w 225"/>
                <a:gd name="T19" fmla="*/ 268 h 612"/>
                <a:gd name="T20" fmla="*/ 150 w 225"/>
                <a:gd name="T21" fmla="*/ 255 h 612"/>
                <a:gd name="T22" fmla="*/ 159 w 225"/>
                <a:gd name="T23" fmla="*/ 245 h 612"/>
                <a:gd name="T24" fmla="*/ 170 w 225"/>
                <a:gd name="T25" fmla="*/ 233 h 612"/>
                <a:gd name="T26" fmla="*/ 180 w 225"/>
                <a:gd name="T27" fmla="*/ 211 h 612"/>
                <a:gd name="T28" fmla="*/ 187 w 225"/>
                <a:gd name="T29" fmla="*/ 191 h 612"/>
                <a:gd name="T30" fmla="*/ 178 w 225"/>
                <a:gd name="T31" fmla="*/ 177 h 612"/>
                <a:gd name="T32" fmla="*/ 185 w 225"/>
                <a:gd name="T33" fmla="*/ 161 h 612"/>
                <a:gd name="T34" fmla="*/ 188 w 225"/>
                <a:gd name="T35" fmla="*/ 148 h 612"/>
                <a:gd name="T36" fmla="*/ 196 w 225"/>
                <a:gd name="T37" fmla="*/ 140 h 612"/>
                <a:gd name="T38" fmla="*/ 210 w 225"/>
                <a:gd name="T39" fmla="*/ 133 h 612"/>
                <a:gd name="T40" fmla="*/ 216 w 225"/>
                <a:gd name="T41" fmla="*/ 138 h 612"/>
                <a:gd name="T42" fmla="*/ 221 w 225"/>
                <a:gd name="T43" fmla="*/ 133 h 612"/>
                <a:gd name="T44" fmla="*/ 224 w 225"/>
                <a:gd name="T45" fmla="*/ 130 h 612"/>
                <a:gd name="T46" fmla="*/ 212 w 225"/>
                <a:gd name="T47" fmla="*/ 97 h 612"/>
                <a:gd name="T48" fmla="*/ 199 w 225"/>
                <a:gd name="T49" fmla="*/ 63 h 612"/>
                <a:gd name="T50" fmla="*/ 188 w 225"/>
                <a:gd name="T51" fmla="*/ 34 h 612"/>
                <a:gd name="T52" fmla="*/ 162 w 225"/>
                <a:gd name="T53" fmla="*/ 21 h 612"/>
                <a:gd name="T54" fmla="*/ 145 w 225"/>
                <a:gd name="T55" fmla="*/ 4 h 612"/>
                <a:gd name="T56" fmla="*/ 134 w 225"/>
                <a:gd name="T57" fmla="*/ 23 h 612"/>
                <a:gd name="T58" fmla="*/ 103 w 225"/>
                <a:gd name="T59" fmla="*/ 52 h 612"/>
                <a:gd name="T60" fmla="*/ 76 w 225"/>
                <a:gd name="T61" fmla="*/ 76 h 612"/>
                <a:gd name="T62" fmla="*/ 67 w 225"/>
                <a:gd name="T63" fmla="*/ 133 h 612"/>
                <a:gd name="T64" fmla="*/ 54 w 225"/>
                <a:gd name="T65" fmla="*/ 178 h 612"/>
                <a:gd name="T66" fmla="*/ 46 w 225"/>
                <a:gd name="T67" fmla="*/ 231 h 612"/>
                <a:gd name="T68" fmla="*/ 15 w 225"/>
                <a:gd name="T69" fmla="*/ 281 h 612"/>
                <a:gd name="T70" fmla="*/ 28 w 225"/>
                <a:gd name="T71" fmla="*/ 343 h 612"/>
                <a:gd name="T72" fmla="*/ 24 w 225"/>
                <a:gd name="T73" fmla="*/ 378 h 612"/>
                <a:gd name="T74" fmla="*/ 23 w 225"/>
                <a:gd name="T75" fmla="*/ 410 h 612"/>
                <a:gd name="T76" fmla="*/ 13 w 225"/>
                <a:gd name="T77" fmla="*/ 426 h 612"/>
                <a:gd name="T78" fmla="*/ 10 w 225"/>
                <a:gd name="T79" fmla="*/ 458 h 612"/>
                <a:gd name="T80" fmla="*/ 2 w 225"/>
                <a:gd name="T81" fmla="*/ 474 h 612"/>
                <a:gd name="T82" fmla="*/ 11 w 225"/>
                <a:gd name="T83" fmla="*/ 483 h 612"/>
                <a:gd name="T84" fmla="*/ 13 w 225"/>
                <a:gd name="T85" fmla="*/ 498 h 612"/>
                <a:gd name="T86" fmla="*/ 18 w 225"/>
                <a:gd name="T87" fmla="*/ 510 h 612"/>
                <a:gd name="T88" fmla="*/ 24 w 225"/>
                <a:gd name="T89" fmla="*/ 523 h 612"/>
                <a:gd name="T90" fmla="*/ 40 w 225"/>
                <a:gd name="T91" fmla="*/ 553 h 612"/>
                <a:gd name="T92" fmla="*/ 40 w 225"/>
                <a:gd name="T93" fmla="*/ 563 h 612"/>
                <a:gd name="T94" fmla="*/ 45 w 225"/>
                <a:gd name="T95" fmla="*/ 586 h 612"/>
                <a:gd name="T96" fmla="*/ 49 w 225"/>
                <a:gd name="T97" fmla="*/ 608 h 612"/>
                <a:gd name="T98" fmla="*/ 67 w 225"/>
                <a:gd name="T99" fmla="*/ 606 h 612"/>
                <a:gd name="T100" fmla="*/ 84 w 225"/>
                <a:gd name="T101" fmla="*/ 604 h 612"/>
                <a:gd name="T102" fmla="*/ 82 w 225"/>
                <a:gd name="T103" fmla="*/ 588 h 612"/>
                <a:gd name="T104" fmla="*/ 96 w 225"/>
                <a:gd name="T105" fmla="*/ 583 h 612"/>
                <a:gd name="T106" fmla="*/ 105 w 225"/>
                <a:gd name="T107" fmla="*/ 573 h 612"/>
                <a:gd name="T108" fmla="*/ 129 w 225"/>
                <a:gd name="T109" fmla="*/ 547 h 612"/>
                <a:gd name="T110" fmla="*/ 132 w 225"/>
                <a:gd name="T111" fmla="*/ 502 h 612"/>
                <a:gd name="T112" fmla="*/ 129 w 225"/>
                <a:gd name="T113" fmla="*/ 472 h 612"/>
                <a:gd name="T114" fmla="*/ 145 w 225"/>
                <a:gd name="T115" fmla="*/ 452 h 612"/>
                <a:gd name="T116" fmla="*/ 151 w 225"/>
                <a:gd name="T117" fmla="*/ 449 h 612"/>
                <a:gd name="T118" fmla="*/ 164 w 225"/>
                <a:gd name="T119" fmla="*/ 433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5" h="612">
                  <a:moveTo>
                    <a:pt x="162" y="432"/>
                  </a:moveTo>
                  <a:cubicBezTo>
                    <a:pt x="161" y="430"/>
                    <a:pt x="161" y="430"/>
                    <a:pt x="161" y="430"/>
                  </a:cubicBezTo>
                  <a:cubicBezTo>
                    <a:pt x="161" y="430"/>
                    <a:pt x="162" y="428"/>
                    <a:pt x="162" y="429"/>
                  </a:cubicBezTo>
                  <a:cubicBezTo>
                    <a:pt x="163" y="430"/>
                    <a:pt x="164" y="432"/>
                    <a:pt x="164" y="432"/>
                  </a:cubicBezTo>
                  <a:cubicBezTo>
                    <a:pt x="165" y="431"/>
                    <a:pt x="167" y="429"/>
                    <a:pt x="167" y="429"/>
                  </a:cubicBezTo>
                  <a:cubicBezTo>
                    <a:pt x="168" y="427"/>
                    <a:pt x="162" y="424"/>
                    <a:pt x="160" y="423"/>
                  </a:cubicBezTo>
                  <a:cubicBezTo>
                    <a:pt x="160" y="420"/>
                    <a:pt x="168" y="416"/>
                    <a:pt x="169" y="415"/>
                  </a:cubicBezTo>
                  <a:cubicBezTo>
                    <a:pt x="169" y="414"/>
                    <a:pt x="169" y="413"/>
                    <a:pt x="169" y="413"/>
                  </a:cubicBezTo>
                  <a:cubicBezTo>
                    <a:pt x="169" y="412"/>
                    <a:pt x="168" y="412"/>
                    <a:pt x="168" y="412"/>
                  </a:cubicBezTo>
                  <a:cubicBezTo>
                    <a:pt x="167" y="413"/>
                    <a:pt x="167" y="414"/>
                    <a:pt x="166" y="414"/>
                  </a:cubicBezTo>
                  <a:cubicBezTo>
                    <a:pt x="166" y="414"/>
                    <a:pt x="165" y="414"/>
                    <a:pt x="165" y="414"/>
                  </a:cubicBezTo>
                  <a:cubicBezTo>
                    <a:pt x="165" y="414"/>
                    <a:pt x="164" y="412"/>
                    <a:pt x="165" y="412"/>
                  </a:cubicBezTo>
                  <a:cubicBezTo>
                    <a:pt x="165" y="411"/>
                    <a:pt x="164" y="411"/>
                    <a:pt x="166" y="410"/>
                  </a:cubicBezTo>
                  <a:cubicBezTo>
                    <a:pt x="167" y="409"/>
                    <a:pt x="167" y="409"/>
                    <a:pt x="168" y="409"/>
                  </a:cubicBezTo>
                  <a:cubicBezTo>
                    <a:pt x="169" y="408"/>
                    <a:pt x="169" y="408"/>
                    <a:pt x="170" y="408"/>
                  </a:cubicBezTo>
                  <a:cubicBezTo>
                    <a:pt x="171" y="408"/>
                    <a:pt x="175" y="405"/>
                    <a:pt x="175" y="405"/>
                  </a:cubicBezTo>
                  <a:cubicBezTo>
                    <a:pt x="175" y="403"/>
                    <a:pt x="175" y="403"/>
                    <a:pt x="175" y="403"/>
                  </a:cubicBezTo>
                  <a:cubicBezTo>
                    <a:pt x="175" y="403"/>
                    <a:pt x="174" y="401"/>
                    <a:pt x="173" y="401"/>
                  </a:cubicBezTo>
                  <a:cubicBezTo>
                    <a:pt x="173" y="401"/>
                    <a:pt x="169" y="398"/>
                    <a:pt x="169" y="398"/>
                  </a:cubicBezTo>
                  <a:cubicBezTo>
                    <a:pt x="169" y="398"/>
                    <a:pt x="168" y="398"/>
                    <a:pt x="168" y="397"/>
                  </a:cubicBezTo>
                  <a:cubicBezTo>
                    <a:pt x="167" y="397"/>
                    <a:pt x="166" y="395"/>
                    <a:pt x="166" y="395"/>
                  </a:cubicBezTo>
                  <a:cubicBezTo>
                    <a:pt x="164" y="392"/>
                    <a:pt x="163" y="394"/>
                    <a:pt x="160" y="393"/>
                  </a:cubicBezTo>
                  <a:cubicBezTo>
                    <a:pt x="159" y="393"/>
                    <a:pt x="158" y="390"/>
                    <a:pt x="158" y="390"/>
                  </a:cubicBezTo>
                  <a:cubicBezTo>
                    <a:pt x="158" y="390"/>
                    <a:pt x="160" y="390"/>
                    <a:pt x="160" y="389"/>
                  </a:cubicBezTo>
                  <a:cubicBezTo>
                    <a:pt x="160" y="388"/>
                    <a:pt x="158" y="386"/>
                    <a:pt x="158" y="386"/>
                  </a:cubicBezTo>
                  <a:cubicBezTo>
                    <a:pt x="156" y="384"/>
                    <a:pt x="156" y="384"/>
                    <a:pt x="156" y="384"/>
                  </a:cubicBezTo>
                  <a:cubicBezTo>
                    <a:pt x="154" y="381"/>
                    <a:pt x="154" y="388"/>
                    <a:pt x="151" y="382"/>
                  </a:cubicBezTo>
                  <a:cubicBezTo>
                    <a:pt x="151" y="382"/>
                    <a:pt x="151" y="382"/>
                    <a:pt x="150" y="380"/>
                  </a:cubicBezTo>
                  <a:cubicBezTo>
                    <a:pt x="149" y="379"/>
                    <a:pt x="146" y="377"/>
                    <a:pt x="146" y="377"/>
                  </a:cubicBezTo>
                  <a:cubicBezTo>
                    <a:pt x="146" y="377"/>
                    <a:pt x="146" y="375"/>
                    <a:pt x="145" y="374"/>
                  </a:cubicBezTo>
                  <a:cubicBezTo>
                    <a:pt x="145" y="374"/>
                    <a:pt x="144" y="372"/>
                    <a:pt x="144" y="372"/>
                  </a:cubicBezTo>
                  <a:cubicBezTo>
                    <a:pt x="140" y="374"/>
                    <a:pt x="140" y="374"/>
                    <a:pt x="140" y="374"/>
                  </a:cubicBezTo>
                  <a:cubicBezTo>
                    <a:pt x="138" y="377"/>
                    <a:pt x="138" y="377"/>
                    <a:pt x="138" y="377"/>
                  </a:cubicBezTo>
                  <a:cubicBezTo>
                    <a:pt x="138" y="377"/>
                    <a:pt x="137" y="376"/>
                    <a:pt x="137" y="375"/>
                  </a:cubicBezTo>
                  <a:cubicBezTo>
                    <a:pt x="137" y="375"/>
                    <a:pt x="137" y="372"/>
                    <a:pt x="137" y="372"/>
                  </a:cubicBezTo>
                  <a:cubicBezTo>
                    <a:pt x="137" y="372"/>
                    <a:pt x="135" y="371"/>
                    <a:pt x="134" y="371"/>
                  </a:cubicBezTo>
                  <a:cubicBezTo>
                    <a:pt x="134" y="371"/>
                    <a:pt x="131" y="371"/>
                    <a:pt x="131" y="371"/>
                  </a:cubicBezTo>
                  <a:cubicBezTo>
                    <a:pt x="128" y="370"/>
                    <a:pt x="128" y="370"/>
                    <a:pt x="128" y="370"/>
                  </a:cubicBezTo>
                  <a:cubicBezTo>
                    <a:pt x="128" y="368"/>
                    <a:pt x="128" y="368"/>
                    <a:pt x="128" y="368"/>
                  </a:cubicBezTo>
                  <a:cubicBezTo>
                    <a:pt x="128" y="368"/>
                    <a:pt x="129" y="367"/>
                    <a:pt x="129" y="366"/>
                  </a:cubicBezTo>
                  <a:cubicBezTo>
                    <a:pt x="129" y="365"/>
                    <a:pt x="127" y="363"/>
                    <a:pt x="127" y="363"/>
                  </a:cubicBezTo>
                  <a:cubicBezTo>
                    <a:pt x="127" y="361"/>
                    <a:pt x="127" y="361"/>
                    <a:pt x="127" y="361"/>
                  </a:cubicBezTo>
                  <a:cubicBezTo>
                    <a:pt x="124" y="359"/>
                    <a:pt x="124" y="359"/>
                    <a:pt x="124" y="359"/>
                  </a:cubicBezTo>
                  <a:cubicBezTo>
                    <a:pt x="124" y="359"/>
                    <a:pt x="125" y="356"/>
                    <a:pt x="125" y="356"/>
                  </a:cubicBezTo>
                  <a:cubicBezTo>
                    <a:pt x="125" y="355"/>
                    <a:pt x="123" y="348"/>
                    <a:pt x="123" y="348"/>
                  </a:cubicBezTo>
                  <a:cubicBezTo>
                    <a:pt x="123" y="348"/>
                    <a:pt x="124" y="344"/>
                    <a:pt x="124" y="344"/>
                  </a:cubicBezTo>
                  <a:cubicBezTo>
                    <a:pt x="124" y="344"/>
                    <a:pt x="123" y="341"/>
                    <a:pt x="123" y="341"/>
                  </a:cubicBezTo>
                  <a:cubicBezTo>
                    <a:pt x="121" y="341"/>
                    <a:pt x="121" y="341"/>
                    <a:pt x="121" y="341"/>
                  </a:cubicBezTo>
                  <a:cubicBezTo>
                    <a:pt x="121" y="337"/>
                    <a:pt x="121" y="337"/>
                    <a:pt x="121" y="337"/>
                  </a:cubicBezTo>
                  <a:cubicBezTo>
                    <a:pt x="121" y="335"/>
                    <a:pt x="121" y="335"/>
                    <a:pt x="121" y="335"/>
                  </a:cubicBezTo>
                  <a:cubicBezTo>
                    <a:pt x="120" y="333"/>
                    <a:pt x="120" y="333"/>
                    <a:pt x="120" y="333"/>
                  </a:cubicBezTo>
                  <a:cubicBezTo>
                    <a:pt x="120" y="333"/>
                    <a:pt x="121" y="332"/>
                    <a:pt x="122" y="332"/>
                  </a:cubicBezTo>
                  <a:cubicBezTo>
                    <a:pt x="122" y="332"/>
                    <a:pt x="122" y="329"/>
                    <a:pt x="122" y="329"/>
                  </a:cubicBezTo>
                  <a:cubicBezTo>
                    <a:pt x="122" y="329"/>
                    <a:pt x="123" y="327"/>
                    <a:pt x="123" y="327"/>
                  </a:cubicBezTo>
                  <a:cubicBezTo>
                    <a:pt x="123" y="327"/>
                    <a:pt x="126" y="329"/>
                    <a:pt x="126" y="329"/>
                  </a:cubicBezTo>
                  <a:cubicBezTo>
                    <a:pt x="126" y="329"/>
                    <a:pt x="128" y="330"/>
                    <a:pt x="128" y="329"/>
                  </a:cubicBezTo>
                  <a:cubicBezTo>
                    <a:pt x="128" y="328"/>
                    <a:pt x="128" y="326"/>
                    <a:pt x="128" y="326"/>
                  </a:cubicBezTo>
                  <a:cubicBezTo>
                    <a:pt x="128" y="326"/>
                    <a:pt x="126" y="324"/>
                    <a:pt x="125" y="324"/>
                  </a:cubicBezTo>
                  <a:cubicBezTo>
                    <a:pt x="125" y="323"/>
                    <a:pt x="125" y="319"/>
                    <a:pt x="125" y="319"/>
                  </a:cubicBezTo>
                  <a:cubicBezTo>
                    <a:pt x="125" y="319"/>
                    <a:pt x="124" y="316"/>
                    <a:pt x="124" y="316"/>
                  </a:cubicBezTo>
                  <a:cubicBezTo>
                    <a:pt x="124" y="316"/>
                    <a:pt x="125" y="314"/>
                    <a:pt x="125" y="314"/>
                  </a:cubicBezTo>
                  <a:cubicBezTo>
                    <a:pt x="126" y="308"/>
                    <a:pt x="126" y="308"/>
                    <a:pt x="126" y="308"/>
                  </a:cubicBezTo>
                  <a:cubicBezTo>
                    <a:pt x="126" y="304"/>
                    <a:pt x="126" y="304"/>
                    <a:pt x="126" y="304"/>
                  </a:cubicBezTo>
                  <a:cubicBezTo>
                    <a:pt x="125" y="302"/>
                    <a:pt x="125" y="302"/>
                    <a:pt x="125" y="302"/>
                  </a:cubicBezTo>
                  <a:cubicBezTo>
                    <a:pt x="124" y="300"/>
                    <a:pt x="124" y="300"/>
                    <a:pt x="124" y="300"/>
                  </a:cubicBezTo>
                  <a:cubicBezTo>
                    <a:pt x="122" y="298"/>
                    <a:pt x="122" y="298"/>
                    <a:pt x="122" y="298"/>
                  </a:cubicBezTo>
                  <a:cubicBezTo>
                    <a:pt x="124" y="294"/>
                    <a:pt x="124" y="294"/>
                    <a:pt x="124" y="294"/>
                  </a:cubicBezTo>
                  <a:cubicBezTo>
                    <a:pt x="126" y="293"/>
                    <a:pt x="126" y="293"/>
                    <a:pt x="126" y="293"/>
                  </a:cubicBezTo>
                  <a:cubicBezTo>
                    <a:pt x="128" y="291"/>
                    <a:pt x="128" y="291"/>
                    <a:pt x="128" y="291"/>
                  </a:cubicBezTo>
                  <a:cubicBezTo>
                    <a:pt x="128" y="291"/>
                    <a:pt x="131" y="289"/>
                    <a:pt x="131" y="289"/>
                  </a:cubicBezTo>
                  <a:cubicBezTo>
                    <a:pt x="131" y="288"/>
                    <a:pt x="131" y="285"/>
                    <a:pt x="131" y="285"/>
                  </a:cubicBezTo>
                  <a:cubicBezTo>
                    <a:pt x="131" y="283"/>
                    <a:pt x="131" y="283"/>
                    <a:pt x="131" y="283"/>
                  </a:cubicBezTo>
                  <a:cubicBezTo>
                    <a:pt x="133" y="284"/>
                    <a:pt x="133" y="284"/>
                    <a:pt x="133" y="284"/>
                  </a:cubicBezTo>
                  <a:cubicBezTo>
                    <a:pt x="132" y="281"/>
                    <a:pt x="132" y="281"/>
                    <a:pt x="132" y="281"/>
                  </a:cubicBezTo>
                  <a:cubicBezTo>
                    <a:pt x="132" y="281"/>
                    <a:pt x="133" y="279"/>
                    <a:pt x="133" y="279"/>
                  </a:cubicBezTo>
                  <a:cubicBezTo>
                    <a:pt x="134" y="279"/>
                    <a:pt x="135" y="278"/>
                    <a:pt x="135" y="278"/>
                  </a:cubicBezTo>
                  <a:cubicBezTo>
                    <a:pt x="135" y="278"/>
                    <a:pt x="136" y="275"/>
                    <a:pt x="136" y="275"/>
                  </a:cubicBezTo>
                  <a:cubicBezTo>
                    <a:pt x="136" y="275"/>
                    <a:pt x="137" y="276"/>
                    <a:pt x="138" y="275"/>
                  </a:cubicBezTo>
                  <a:cubicBezTo>
                    <a:pt x="139" y="274"/>
                    <a:pt x="139" y="274"/>
                    <a:pt x="139" y="273"/>
                  </a:cubicBezTo>
                  <a:cubicBezTo>
                    <a:pt x="139" y="272"/>
                    <a:pt x="141" y="268"/>
                    <a:pt x="141" y="268"/>
                  </a:cubicBezTo>
                  <a:cubicBezTo>
                    <a:pt x="141" y="268"/>
                    <a:pt x="141" y="267"/>
                    <a:pt x="141" y="267"/>
                  </a:cubicBezTo>
                  <a:cubicBezTo>
                    <a:pt x="142" y="267"/>
                    <a:pt x="144" y="267"/>
                    <a:pt x="143" y="266"/>
                  </a:cubicBezTo>
                  <a:cubicBezTo>
                    <a:pt x="143" y="265"/>
                    <a:pt x="141" y="263"/>
                    <a:pt x="141" y="263"/>
                  </a:cubicBezTo>
                  <a:cubicBezTo>
                    <a:pt x="143" y="260"/>
                    <a:pt x="143" y="260"/>
                    <a:pt x="143" y="260"/>
                  </a:cubicBezTo>
                  <a:cubicBezTo>
                    <a:pt x="143" y="260"/>
                    <a:pt x="146" y="258"/>
                    <a:pt x="146" y="258"/>
                  </a:cubicBezTo>
                  <a:cubicBezTo>
                    <a:pt x="146" y="258"/>
                    <a:pt x="147" y="259"/>
                    <a:pt x="147" y="258"/>
                  </a:cubicBezTo>
                  <a:cubicBezTo>
                    <a:pt x="148" y="258"/>
                    <a:pt x="148" y="257"/>
                    <a:pt x="149" y="257"/>
                  </a:cubicBezTo>
                  <a:cubicBezTo>
                    <a:pt x="149" y="257"/>
                    <a:pt x="150" y="256"/>
                    <a:pt x="150" y="255"/>
                  </a:cubicBezTo>
                  <a:cubicBezTo>
                    <a:pt x="151" y="255"/>
                    <a:pt x="152" y="253"/>
                    <a:pt x="152" y="253"/>
                  </a:cubicBezTo>
                  <a:cubicBezTo>
                    <a:pt x="152" y="252"/>
                    <a:pt x="153" y="248"/>
                    <a:pt x="153" y="248"/>
                  </a:cubicBezTo>
                  <a:cubicBezTo>
                    <a:pt x="153" y="246"/>
                    <a:pt x="153" y="246"/>
                    <a:pt x="153" y="246"/>
                  </a:cubicBezTo>
                  <a:cubicBezTo>
                    <a:pt x="154" y="245"/>
                    <a:pt x="154" y="245"/>
                    <a:pt x="154" y="245"/>
                  </a:cubicBezTo>
                  <a:cubicBezTo>
                    <a:pt x="156" y="243"/>
                    <a:pt x="156" y="243"/>
                    <a:pt x="156" y="243"/>
                  </a:cubicBezTo>
                  <a:cubicBezTo>
                    <a:pt x="156" y="243"/>
                    <a:pt x="157" y="243"/>
                    <a:pt x="157" y="243"/>
                  </a:cubicBezTo>
                  <a:cubicBezTo>
                    <a:pt x="157" y="244"/>
                    <a:pt x="157" y="245"/>
                    <a:pt x="157" y="245"/>
                  </a:cubicBezTo>
                  <a:cubicBezTo>
                    <a:pt x="159" y="245"/>
                    <a:pt x="159" y="245"/>
                    <a:pt x="159" y="245"/>
                  </a:cubicBezTo>
                  <a:cubicBezTo>
                    <a:pt x="159" y="245"/>
                    <a:pt x="159" y="244"/>
                    <a:pt x="159" y="244"/>
                  </a:cubicBezTo>
                  <a:cubicBezTo>
                    <a:pt x="159" y="245"/>
                    <a:pt x="160" y="245"/>
                    <a:pt x="160" y="245"/>
                  </a:cubicBezTo>
                  <a:cubicBezTo>
                    <a:pt x="160" y="245"/>
                    <a:pt x="161" y="243"/>
                    <a:pt x="161" y="243"/>
                  </a:cubicBezTo>
                  <a:cubicBezTo>
                    <a:pt x="161" y="240"/>
                    <a:pt x="161" y="240"/>
                    <a:pt x="161" y="240"/>
                  </a:cubicBezTo>
                  <a:cubicBezTo>
                    <a:pt x="161" y="240"/>
                    <a:pt x="163" y="239"/>
                    <a:pt x="163" y="238"/>
                  </a:cubicBezTo>
                  <a:cubicBezTo>
                    <a:pt x="164" y="237"/>
                    <a:pt x="166" y="234"/>
                    <a:pt x="166" y="234"/>
                  </a:cubicBezTo>
                  <a:cubicBezTo>
                    <a:pt x="168" y="234"/>
                    <a:pt x="168" y="234"/>
                    <a:pt x="168" y="234"/>
                  </a:cubicBezTo>
                  <a:cubicBezTo>
                    <a:pt x="168" y="234"/>
                    <a:pt x="169" y="233"/>
                    <a:pt x="170" y="233"/>
                  </a:cubicBezTo>
                  <a:cubicBezTo>
                    <a:pt x="170" y="233"/>
                    <a:pt x="173" y="230"/>
                    <a:pt x="173" y="230"/>
                  </a:cubicBezTo>
                  <a:cubicBezTo>
                    <a:pt x="173" y="230"/>
                    <a:pt x="173" y="229"/>
                    <a:pt x="173" y="228"/>
                  </a:cubicBezTo>
                  <a:cubicBezTo>
                    <a:pt x="174" y="228"/>
                    <a:pt x="175" y="227"/>
                    <a:pt x="175" y="227"/>
                  </a:cubicBezTo>
                  <a:cubicBezTo>
                    <a:pt x="175" y="227"/>
                    <a:pt x="177" y="223"/>
                    <a:pt x="177" y="223"/>
                  </a:cubicBezTo>
                  <a:cubicBezTo>
                    <a:pt x="178" y="223"/>
                    <a:pt x="178" y="223"/>
                    <a:pt x="178" y="222"/>
                  </a:cubicBezTo>
                  <a:cubicBezTo>
                    <a:pt x="178" y="221"/>
                    <a:pt x="179" y="218"/>
                    <a:pt x="179" y="218"/>
                  </a:cubicBezTo>
                  <a:cubicBezTo>
                    <a:pt x="180" y="216"/>
                    <a:pt x="180" y="216"/>
                    <a:pt x="180" y="216"/>
                  </a:cubicBezTo>
                  <a:cubicBezTo>
                    <a:pt x="180" y="211"/>
                    <a:pt x="180" y="211"/>
                    <a:pt x="180" y="211"/>
                  </a:cubicBezTo>
                  <a:cubicBezTo>
                    <a:pt x="182" y="207"/>
                    <a:pt x="182" y="207"/>
                    <a:pt x="182" y="207"/>
                  </a:cubicBezTo>
                  <a:cubicBezTo>
                    <a:pt x="182" y="207"/>
                    <a:pt x="183" y="205"/>
                    <a:pt x="183" y="205"/>
                  </a:cubicBezTo>
                  <a:cubicBezTo>
                    <a:pt x="183" y="205"/>
                    <a:pt x="184" y="203"/>
                    <a:pt x="185" y="203"/>
                  </a:cubicBezTo>
                  <a:cubicBezTo>
                    <a:pt x="185" y="202"/>
                    <a:pt x="187" y="199"/>
                    <a:pt x="187" y="199"/>
                  </a:cubicBezTo>
                  <a:cubicBezTo>
                    <a:pt x="187" y="199"/>
                    <a:pt x="188" y="197"/>
                    <a:pt x="188" y="196"/>
                  </a:cubicBezTo>
                  <a:cubicBezTo>
                    <a:pt x="188" y="196"/>
                    <a:pt x="188" y="196"/>
                    <a:pt x="188" y="196"/>
                  </a:cubicBezTo>
                  <a:cubicBezTo>
                    <a:pt x="188" y="194"/>
                    <a:pt x="188" y="194"/>
                    <a:pt x="188" y="194"/>
                  </a:cubicBezTo>
                  <a:cubicBezTo>
                    <a:pt x="187" y="191"/>
                    <a:pt x="187" y="191"/>
                    <a:pt x="187" y="191"/>
                  </a:cubicBezTo>
                  <a:cubicBezTo>
                    <a:pt x="183" y="188"/>
                    <a:pt x="183" y="188"/>
                    <a:pt x="183" y="188"/>
                  </a:cubicBezTo>
                  <a:cubicBezTo>
                    <a:pt x="181" y="188"/>
                    <a:pt x="181" y="188"/>
                    <a:pt x="181" y="188"/>
                  </a:cubicBezTo>
                  <a:cubicBezTo>
                    <a:pt x="180" y="186"/>
                    <a:pt x="180" y="186"/>
                    <a:pt x="180" y="186"/>
                  </a:cubicBezTo>
                  <a:cubicBezTo>
                    <a:pt x="181" y="185"/>
                    <a:pt x="181" y="185"/>
                    <a:pt x="181" y="185"/>
                  </a:cubicBezTo>
                  <a:cubicBezTo>
                    <a:pt x="179" y="182"/>
                    <a:pt x="179" y="182"/>
                    <a:pt x="179" y="182"/>
                  </a:cubicBezTo>
                  <a:cubicBezTo>
                    <a:pt x="178" y="181"/>
                    <a:pt x="178" y="181"/>
                    <a:pt x="178" y="181"/>
                  </a:cubicBezTo>
                  <a:cubicBezTo>
                    <a:pt x="177" y="179"/>
                    <a:pt x="177" y="179"/>
                    <a:pt x="177" y="179"/>
                  </a:cubicBezTo>
                  <a:cubicBezTo>
                    <a:pt x="177" y="179"/>
                    <a:pt x="178" y="177"/>
                    <a:pt x="178" y="177"/>
                  </a:cubicBezTo>
                  <a:cubicBezTo>
                    <a:pt x="178" y="177"/>
                    <a:pt x="179" y="176"/>
                    <a:pt x="179" y="175"/>
                  </a:cubicBezTo>
                  <a:cubicBezTo>
                    <a:pt x="179" y="175"/>
                    <a:pt x="181" y="173"/>
                    <a:pt x="181" y="173"/>
                  </a:cubicBezTo>
                  <a:cubicBezTo>
                    <a:pt x="181" y="173"/>
                    <a:pt x="182" y="171"/>
                    <a:pt x="182" y="170"/>
                  </a:cubicBezTo>
                  <a:cubicBezTo>
                    <a:pt x="182" y="170"/>
                    <a:pt x="183" y="170"/>
                    <a:pt x="183" y="169"/>
                  </a:cubicBezTo>
                  <a:cubicBezTo>
                    <a:pt x="183" y="168"/>
                    <a:pt x="182" y="165"/>
                    <a:pt x="182" y="165"/>
                  </a:cubicBezTo>
                  <a:cubicBezTo>
                    <a:pt x="182" y="165"/>
                    <a:pt x="182" y="163"/>
                    <a:pt x="183" y="162"/>
                  </a:cubicBezTo>
                  <a:cubicBezTo>
                    <a:pt x="183" y="162"/>
                    <a:pt x="183" y="161"/>
                    <a:pt x="183" y="161"/>
                  </a:cubicBezTo>
                  <a:cubicBezTo>
                    <a:pt x="183" y="161"/>
                    <a:pt x="185" y="161"/>
                    <a:pt x="185" y="161"/>
                  </a:cubicBezTo>
                  <a:cubicBezTo>
                    <a:pt x="186" y="162"/>
                    <a:pt x="186" y="160"/>
                    <a:pt x="186" y="160"/>
                  </a:cubicBezTo>
                  <a:cubicBezTo>
                    <a:pt x="186" y="160"/>
                    <a:pt x="186" y="157"/>
                    <a:pt x="185" y="157"/>
                  </a:cubicBezTo>
                  <a:cubicBezTo>
                    <a:pt x="185" y="157"/>
                    <a:pt x="184" y="156"/>
                    <a:pt x="184" y="156"/>
                  </a:cubicBezTo>
                  <a:cubicBezTo>
                    <a:pt x="184" y="156"/>
                    <a:pt x="184" y="155"/>
                    <a:pt x="184" y="155"/>
                  </a:cubicBezTo>
                  <a:cubicBezTo>
                    <a:pt x="185" y="155"/>
                    <a:pt x="186" y="154"/>
                    <a:pt x="186" y="154"/>
                  </a:cubicBezTo>
                  <a:cubicBezTo>
                    <a:pt x="189" y="153"/>
                    <a:pt x="189" y="153"/>
                    <a:pt x="189" y="153"/>
                  </a:cubicBezTo>
                  <a:cubicBezTo>
                    <a:pt x="188" y="150"/>
                    <a:pt x="188" y="150"/>
                    <a:pt x="188" y="150"/>
                  </a:cubicBezTo>
                  <a:cubicBezTo>
                    <a:pt x="188" y="148"/>
                    <a:pt x="188" y="148"/>
                    <a:pt x="188" y="148"/>
                  </a:cubicBezTo>
                  <a:cubicBezTo>
                    <a:pt x="188" y="148"/>
                    <a:pt x="191" y="149"/>
                    <a:pt x="191" y="149"/>
                  </a:cubicBezTo>
                  <a:cubicBezTo>
                    <a:pt x="191" y="149"/>
                    <a:pt x="191" y="151"/>
                    <a:pt x="192" y="151"/>
                  </a:cubicBezTo>
                  <a:cubicBezTo>
                    <a:pt x="193" y="150"/>
                    <a:pt x="193" y="149"/>
                    <a:pt x="193" y="149"/>
                  </a:cubicBezTo>
                  <a:cubicBezTo>
                    <a:pt x="193" y="149"/>
                    <a:pt x="193" y="147"/>
                    <a:pt x="194" y="147"/>
                  </a:cubicBezTo>
                  <a:cubicBezTo>
                    <a:pt x="196" y="148"/>
                    <a:pt x="197" y="146"/>
                    <a:pt x="197" y="146"/>
                  </a:cubicBezTo>
                  <a:cubicBezTo>
                    <a:pt x="197" y="146"/>
                    <a:pt x="199" y="144"/>
                    <a:pt x="199" y="144"/>
                  </a:cubicBezTo>
                  <a:cubicBezTo>
                    <a:pt x="199" y="144"/>
                    <a:pt x="199" y="141"/>
                    <a:pt x="198" y="141"/>
                  </a:cubicBezTo>
                  <a:cubicBezTo>
                    <a:pt x="197" y="141"/>
                    <a:pt x="197" y="141"/>
                    <a:pt x="196" y="140"/>
                  </a:cubicBezTo>
                  <a:cubicBezTo>
                    <a:pt x="196" y="139"/>
                    <a:pt x="197" y="139"/>
                    <a:pt x="198" y="138"/>
                  </a:cubicBezTo>
                  <a:cubicBezTo>
                    <a:pt x="199" y="138"/>
                    <a:pt x="199" y="139"/>
                    <a:pt x="200" y="138"/>
                  </a:cubicBezTo>
                  <a:cubicBezTo>
                    <a:pt x="201" y="137"/>
                    <a:pt x="202" y="136"/>
                    <a:pt x="202" y="136"/>
                  </a:cubicBezTo>
                  <a:cubicBezTo>
                    <a:pt x="202" y="135"/>
                    <a:pt x="204" y="135"/>
                    <a:pt x="204" y="135"/>
                  </a:cubicBezTo>
                  <a:cubicBezTo>
                    <a:pt x="207" y="134"/>
                    <a:pt x="207" y="134"/>
                    <a:pt x="207" y="134"/>
                  </a:cubicBezTo>
                  <a:cubicBezTo>
                    <a:pt x="207" y="132"/>
                    <a:pt x="207" y="132"/>
                    <a:pt x="207" y="132"/>
                  </a:cubicBezTo>
                  <a:cubicBezTo>
                    <a:pt x="207" y="132"/>
                    <a:pt x="209" y="132"/>
                    <a:pt x="209" y="132"/>
                  </a:cubicBezTo>
                  <a:cubicBezTo>
                    <a:pt x="209" y="132"/>
                    <a:pt x="210" y="133"/>
                    <a:pt x="210" y="133"/>
                  </a:cubicBezTo>
                  <a:cubicBezTo>
                    <a:pt x="210" y="133"/>
                    <a:pt x="211" y="133"/>
                    <a:pt x="212" y="132"/>
                  </a:cubicBezTo>
                  <a:cubicBezTo>
                    <a:pt x="212" y="132"/>
                    <a:pt x="211" y="131"/>
                    <a:pt x="212" y="131"/>
                  </a:cubicBezTo>
                  <a:cubicBezTo>
                    <a:pt x="213" y="132"/>
                    <a:pt x="213" y="132"/>
                    <a:pt x="213" y="132"/>
                  </a:cubicBezTo>
                  <a:cubicBezTo>
                    <a:pt x="213" y="133"/>
                    <a:pt x="214" y="133"/>
                    <a:pt x="214" y="133"/>
                  </a:cubicBezTo>
                  <a:cubicBezTo>
                    <a:pt x="214" y="133"/>
                    <a:pt x="215" y="134"/>
                    <a:pt x="215" y="134"/>
                  </a:cubicBezTo>
                  <a:cubicBezTo>
                    <a:pt x="216" y="134"/>
                    <a:pt x="216" y="135"/>
                    <a:pt x="216" y="136"/>
                  </a:cubicBezTo>
                  <a:cubicBezTo>
                    <a:pt x="216" y="136"/>
                    <a:pt x="216" y="136"/>
                    <a:pt x="216" y="137"/>
                  </a:cubicBezTo>
                  <a:cubicBezTo>
                    <a:pt x="216" y="138"/>
                    <a:pt x="216" y="138"/>
                    <a:pt x="216" y="138"/>
                  </a:cubicBezTo>
                  <a:cubicBezTo>
                    <a:pt x="216" y="138"/>
                    <a:pt x="218" y="140"/>
                    <a:pt x="218" y="139"/>
                  </a:cubicBezTo>
                  <a:cubicBezTo>
                    <a:pt x="218" y="139"/>
                    <a:pt x="218" y="139"/>
                    <a:pt x="218" y="138"/>
                  </a:cubicBezTo>
                  <a:cubicBezTo>
                    <a:pt x="218" y="136"/>
                    <a:pt x="218" y="136"/>
                    <a:pt x="218" y="135"/>
                  </a:cubicBezTo>
                  <a:cubicBezTo>
                    <a:pt x="218" y="134"/>
                    <a:pt x="216" y="132"/>
                    <a:pt x="217" y="132"/>
                  </a:cubicBezTo>
                  <a:cubicBezTo>
                    <a:pt x="217" y="132"/>
                    <a:pt x="217" y="131"/>
                    <a:pt x="218" y="131"/>
                  </a:cubicBezTo>
                  <a:cubicBezTo>
                    <a:pt x="219" y="131"/>
                    <a:pt x="218" y="130"/>
                    <a:pt x="219" y="131"/>
                  </a:cubicBezTo>
                  <a:cubicBezTo>
                    <a:pt x="220" y="132"/>
                    <a:pt x="220" y="132"/>
                    <a:pt x="221" y="133"/>
                  </a:cubicBezTo>
                  <a:cubicBezTo>
                    <a:pt x="221" y="133"/>
                    <a:pt x="221" y="132"/>
                    <a:pt x="221" y="133"/>
                  </a:cubicBezTo>
                  <a:cubicBezTo>
                    <a:pt x="222" y="133"/>
                    <a:pt x="222" y="134"/>
                    <a:pt x="222" y="135"/>
                  </a:cubicBezTo>
                  <a:cubicBezTo>
                    <a:pt x="222" y="135"/>
                    <a:pt x="222" y="136"/>
                    <a:pt x="222" y="136"/>
                  </a:cubicBezTo>
                  <a:cubicBezTo>
                    <a:pt x="222" y="137"/>
                    <a:pt x="224" y="139"/>
                    <a:pt x="224" y="139"/>
                  </a:cubicBezTo>
                  <a:cubicBezTo>
                    <a:pt x="224" y="139"/>
                    <a:pt x="225" y="137"/>
                    <a:pt x="225" y="137"/>
                  </a:cubicBezTo>
                  <a:cubicBezTo>
                    <a:pt x="225" y="137"/>
                    <a:pt x="225" y="136"/>
                    <a:pt x="225" y="135"/>
                  </a:cubicBezTo>
                  <a:cubicBezTo>
                    <a:pt x="225" y="135"/>
                    <a:pt x="225" y="134"/>
                    <a:pt x="225" y="134"/>
                  </a:cubicBezTo>
                  <a:cubicBezTo>
                    <a:pt x="225" y="134"/>
                    <a:pt x="223" y="131"/>
                    <a:pt x="223" y="131"/>
                  </a:cubicBezTo>
                  <a:cubicBezTo>
                    <a:pt x="223" y="131"/>
                    <a:pt x="223" y="131"/>
                    <a:pt x="224" y="130"/>
                  </a:cubicBezTo>
                  <a:cubicBezTo>
                    <a:pt x="224" y="130"/>
                    <a:pt x="224" y="129"/>
                    <a:pt x="225" y="129"/>
                  </a:cubicBezTo>
                  <a:cubicBezTo>
                    <a:pt x="219" y="119"/>
                    <a:pt x="219" y="119"/>
                    <a:pt x="219" y="119"/>
                  </a:cubicBezTo>
                  <a:cubicBezTo>
                    <a:pt x="211" y="113"/>
                    <a:pt x="211" y="113"/>
                    <a:pt x="211" y="113"/>
                  </a:cubicBezTo>
                  <a:cubicBezTo>
                    <a:pt x="211" y="108"/>
                    <a:pt x="211" y="108"/>
                    <a:pt x="211" y="108"/>
                  </a:cubicBezTo>
                  <a:cubicBezTo>
                    <a:pt x="209" y="105"/>
                    <a:pt x="209" y="105"/>
                    <a:pt x="209" y="105"/>
                  </a:cubicBezTo>
                  <a:cubicBezTo>
                    <a:pt x="209" y="105"/>
                    <a:pt x="209" y="105"/>
                    <a:pt x="209" y="105"/>
                  </a:cubicBezTo>
                  <a:cubicBezTo>
                    <a:pt x="209" y="105"/>
                    <a:pt x="209" y="101"/>
                    <a:pt x="210" y="100"/>
                  </a:cubicBezTo>
                  <a:cubicBezTo>
                    <a:pt x="211" y="100"/>
                    <a:pt x="211" y="98"/>
                    <a:pt x="212" y="97"/>
                  </a:cubicBezTo>
                  <a:cubicBezTo>
                    <a:pt x="211" y="96"/>
                    <a:pt x="211" y="94"/>
                    <a:pt x="211" y="92"/>
                  </a:cubicBezTo>
                  <a:cubicBezTo>
                    <a:pt x="211" y="92"/>
                    <a:pt x="212" y="88"/>
                    <a:pt x="212" y="88"/>
                  </a:cubicBezTo>
                  <a:cubicBezTo>
                    <a:pt x="211" y="85"/>
                    <a:pt x="211" y="85"/>
                    <a:pt x="211" y="85"/>
                  </a:cubicBezTo>
                  <a:cubicBezTo>
                    <a:pt x="202" y="73"/>
                    <a:pt x="202" y="73"/>
                    <a:pt x="202" y="73"/>
                  </a:cubicBezTo>
                  <a:cubicBezTo>
                    <a:pt x="202" y="67"/>
                    <a:pt x="202" y="67"/>
                    <a:pt x="202" y="67"/>
                  </a:cubicBezTo>
                  <a:cubicBezTo>
                    <a:pt x="201" y="66"/>
                    <a:pt x="201" y="66"/>
                    <a:pt x="201" y="66"/>
                  </a:cubicBezTo>
                  <a:cubicBezTo>
                    <a:pt x="201" y="65"/>
                    <a:pt x="201" y="64"/>
                    <a:pt x="201" y="63"/>
                  </a:cubicBezTo>
                  <a:cubicBezTo>
                    <a:pt x="199" y="63"/>
                    <a:pt x="199" y="63"/>
                    <a:pt x="199" y="63"/>
                  </a:cubicBezTo>
                  <a:cubicBezTo>
                    <a:pt x="196" y="59"/>
                    <a:pt x="196" y="59"/>
                    <a:pt x="196" y="59"/>
                  </a:cubicBezTo>
                  <a:cubicBezTo>
                    <a:pt x="197" y="54"/>
                    <a:pt x="197" y="54"/>
                    <a:pt x="197" y="54"/>
                  </a:cubicBezTo>
                  <a:cubicBezTo>
                    <a:pt x="195" y="44"/>
                    <a:pt x="195" y="44"/>
                    <a:pt x="195" y="44"/>
                  </a:cubicBezTo>
                  <a:cubicBezTo>
                    <a:pt x="196" y="40"/>
                    <a:pt x="196" y="40"/>
                    <a:pt x="196" y="40"/>
                  </a:cubicBezTo>
                  <a:cubicBezTo>
                    <a:pt x="193" y="39"/>
                    <a:pt x="193" y="39"/>
                    <a:pt x="193" y="39"/>
                  </a:cubicBezTo>
                  <a:cubicBezTo>
                    <a:pt x="190" y="35"/>
                    <a:pt x="190" y="35"/>
                    <a:pt x="190" y="35"/>
                  </a:cubicBezTo>
                  <a:cubicBezTo>
                    <a:pt x="190" y="35"/>
                    <a:pt x="190" y="35"/>
                    <a:pt x="190" y="35"/>
                  </a:cubicBezTo>
                  <a:cubicBezTo>
                    <a:pt x="189" y="35"/>
                    <a:pt x="188" y="35"/>
                    <a:pt x="188" y="34"/>
                  </a:cubicBezTo>
                  <a:cubicBezTo>
                    <a:pt x="188" y="34"/>
                    <a:pt x="187" y="33"/>
                    <a:pt x="183" y="27"/>
                  </a:cubicBezTo>
                  <a:cubicBezTo>
                    <a:pt x="177" y="25"/>
                    <a:pt x="177" y="25"/>
                    <a:pt x="177" y="25"/>
                  </a:cubicBezTo>
                  <a:cubicBezTo>
                    <a:pt x="173" y="24"/>
                    <a:pt x="173" y="24"/>
                    <a:pt x="173" y="24"/>
                  </a:cubicBezTo>
                  <a:cubicBezTo>
                    <a:pt x="171" y="23"/>
                    <a:pt x="171" y="23"/>
                    <a:pt x="171" y="23"/>
                  </a:cubicBezTo>
                  <a:cubicBezTo>
                    <a:pt x="170" y="24"/>
                    <a:pt x="170" y="24"/>
                    <a:pt x="169" y="24"/>
                  </a:cubicBezTo>
                  <a:cubicBezTo>
                    <a:pt x="168" y="24"/>
                    <a:pt x="167" y="24"/>
                    <a:pt x="166" y="22"/>
                  </a:cubicBezTo>
                  <a:cubicBezTo>
                    <a:pt x="166" y="21"/>
                    <a:pt x="165" y="21"/>
                    <a:pt x="165" y="20"/>
                  </a:cubicBezTo>
                  <a:cubicBezTo>
                    <a:pt x="162" y="21"/>
                    <a:pt x="162" y="21"/>
                    <a:pt x="162" y="21"/>
                  </a:cubicBezTo>
                  <a:cubicBezTo>
                    <a:pt x="159" y="18"/>
                    <a:pt x="159" y="18"/>
                    <a:pt x="159" y="18"/>
                  </a:cubicBezTo>
                  <a:cubicBezTo>
                    <a:pt x="159" y="17"/>
                    <a:pt x="159" y="17"/>
                    <a:pt x="158" y="17"/>
                  </a:cubicBezTo>
                  <a:cubicBezTo>
                    <a:pt x="157" y="17"/>
                    <a:pt x="155" y="16"/>
                    <a:pt x="155" y="15"/>
                  </a:cubicBezTo>
                  <a:cubicBezTo>
                    <a:pt x="155" y="15"/>
                    <a:pt x="155" y="15"/>
                    <a:pt x="155" y="15"/>
                  </a:cubicBezTo>
                  <a:cubicBezTo>
                    <a:pt x="153" y="11"/>
                    <a:pt x="153" y="11"/>
                    <a:pt x="153" y="11"/>
                  </a:cubicBezTo>
                  <a:cubicBezTo>
                    <a:pt x="150" y="11"/>
                    <a:pt x="150" y="11"/>
                    <a:pt x="150" y="11"/>
                  </a:cubicBezTo>
                  <a:cubicBezTo>
                    <a:pt x="145" y="8"/>
                    <a:pt x="145" y="8"/>
                    <a:pt x="145" y="8"/>
                  </a:cubicBezTo>
                  <a:cubicBezTo>
                    <a:pt x="145" y="4"/>
                    <a:pt x="145" y="4"/>
                    <a:pt x="145" y="4"/>
                  </a:cubicBezTo>
                  <a:cubicBezTo>
                    <a:pt x="140" y="2"/>
                    <a:pt x="140" y="2"/>
                    <a:pt x="140" y="2"/>
                  </a:cubicBezTo>
                  <a:cubicBezTo>
                    <a:pt x="140" y="2"/>
                    <a:pt x="140" y="2"/>
                    <a:pt x="140" y="2"/>
                  </a:cubicBezTo>
                  <a:cubicBezTo>
                    <a:pt x="140" y="2"/>
                    <a:pt x="139" y="1"/>
                    <a:pt x="139" y="0"/>
                  </a:cubicBezTo>
                  <a:cubicBezTo>
                    <a:pt x="137" y="1"/>
                    <a:pt x="137" y="1"/>
                    <a:pt x="137" y="1"/>
                  </a:cubicBezTo>
                  <a:cubicBezTo>
                    <a:pt x="134" y="1"/>
                    <a:pt x="134" y="1"/>
                    <a:pt x="134" y="1"/>
                  </a:cubicBezTo>
                  <a:cubicBezTo>
                    <a:pt x="134" y="1"/>
                    <a:pt x="133" y="2"/>
                    <a:pt x="133" y="2"/>
                  </a:cubicBezTo>
                  <a:cubicBezTo>
                    <a:pt x="133" y="3"/>
                    <a:pt x="136" y="10"/>
                    <a:pt x="136" y="12"/>
                  </a:cubicBezTo>
                  <a:cubicBezTo>
                    <a:pt x="137" y="13"/>
                    <a:pt x="137" y="18"/>
                    <a:pt x="134" y="23"/>
                  </a:cubicBezTo>
                  <a:cubicBezTo>
                    <a:pt x="137" y="25"/>
                    <a:pt x="137" y="25"/>
                    <a:pt x="137" y="25"/>
                  </a:cubicBezTo>
                  <a:cubicBezTo>
                    <a:pt x="134" y="30"/>
                    <a:pt x="134" y="30"/>
                    <a:pt x="134" y="30"/>
                  </a:cubicBezTo>
                  <a:cubicBezTo>
                    <a:pt x="129" y="31"/>
                    <a:pt x="129" y="31"/>
                    <a:pt x="129" y="31"/>
                  </a:cubicBezTo>
                  <a:cubicBezTo>
                    <a:pt x="129" y="31"/>
                    <a:pt x="124" y="30"/>
                    <a:pt x="123" y="29"/>
                  </a:cubicBezTo>
                  <a:cubicBezTo>
                    <a:pt x="122" y="28"/>
                    <a:pt x="119" y="26"/>
                    <a:pt x="117" y="27"/>
                  </a:cubicBezTo>
                  <a:cubicBezTo>
                    <a:pt x="116" y="27"/>
                    <a:pt x="105" y="27"/>
                    <a:pt x="105" y="27"/>
                  </a:cubicBezTo>
                  <a:cubicBezTo>
                    <a:pt x="102" y="30"/>
                    <a:pt x="104" y="47"/>
                    <a:pt x="104" y="49"/>
                  </a:cubicBezTo>
                  <a:cubicBezTo>
                    <a:pt x="103" y="52"/>
                    <a:pt x="103" y="52"/>
                    <a:pt x="103" y="52"/>
                  </a:cubicBezTo>
                  <a:cubicBezTo>
                    <a:pt x="98" y="52"/>
                    <a:pt x="98" y="52"/>
                    <a:pt x="98" y="52"/>
                  </a:cubicBezTo>
                  <a:cubicBezTo>
                    <a:pt x="91" y="48"/>
                    <a:pt x="91" y="48"/>
                    <a:pt x="91" y="48"/>
                  </a:cubicBezTo>
                  <a:cubicBezTo>
                    <a:pt x="87" y="55"/>
                    <a:pt x="87" y="55"/>
                    <a:pt x="87" y="55"/>
                  </a:cubicBezTo>
                  <a:cubicBezTo>
                    <a:pt x="87" y="55"/>
                    <a:pt x="84" y="58"/>
                    <a:pt x="84" y="59"/>
                  </a:cubicBezTo>
                  <a:cubicBezTo>
                    <a:pt x="84" y="60"/>
                    <a:pt x="82" y="63"/>
                    <a:pt x="82" y="64"/>
                  </a:cubicBezTo>
                  <a:cubicBezTo>
                    <a:pt x="82" y="64"/>
                    <a:pt x="83" y="70"/>
                    <a:pt x="83" y="70"/>
                  </a:cubicBezTo>
                  <a:cubicBezTo>
                    <a:pt x="81" y="73"/>
                    <a:pt x="81" y="73"/>
                    <a:pt x="81" y="73"/>
                  </a:cubicBezTo>
                  <a:cubicBezTo>
                    <a:pt x="76" y="76"/>
                    <a:pt x="76" y="76"/>
                    <a:pt x="76" y="76"/>
                  </a:cubicBezTo>
                  <a:cubicBezTo>
                    <a:pt x="76" y="80"/>
                    <a:pt x="76" y="80"/>
                    <a:pt x="76" y="80"/>
                  </a:cubicBezTo>
                  <a:cubicBezTo>
                    <a:pt x="76" y="80"/>
                    <a:pt x="79" y="85"/>
                    <a:pt x="80" y="86"/>
                  </a:cubicBezTo>
                  <a:cubicBezTo>
                    <a:pt x="81" y="87"/>
                    <a:pt x="82" y="94"/>
                    <a:pt x="82" y="94"/>
                  </a:cubicBezTo>
                  <a:cubicBezTo>
                    <a:pt x="82" y="94"/>
                    <a:pt x="80" y="99"/>
                    <a:pt x="79" y="101"/>
                  </a:cubicBezTo>
                  <a:cubicBezTo>
                    <a:pt x="78" y="103"/>
                    <a:pt x="72" y="111"/>
                    <a:pt x="72" y="111"/>
                  </a:cubicBezTo>
                  <a:cubicBezTo>
                    <a:pt x="68" y="121"/>
                    <a:pt x="68" y="121"/>
                    <a:pt x="68" y="121"/>
                  </a:cubicBezTo>
                  <a:cubicBezTo>
                    <a:pt x="68" y="129"/>
                    <a:pt x="68" y="129"/>
                    <a:pt x="68" y="129"/>
                  </a:cubicBezTo>
                  <a:cubicBezTo>
                    <a:pt x="67" y="133"/>
                    <a:pt x="67" y="133"/>
                    <a:pt x="67" y="133"/>
                  </a:cubicBezTo>
                  <a:cubicBezTo>
                    <a:pt x="62" y="138"/>
                    <a:pt x="62" y="138"/>
                    <a:pt x="62" y="138"/>
                  </a:cubicBezTo>
                  <a:cubicBezTo>
                    <a:pt x="54" y="139"/>
                    <a:pt x="54" y="139"/>
                    <a:pt x="54" y="139"/>
                  </a:cubicBezTo>
                  <a:cubicBezTo>
                    <a:pt x="52" y="142"/>
                    <a:pt x="52" y="142"/>
                    <a:pt x="52" y="142"/>
                  </a:cubicBezTo>
                  <a:cubicBezTo>
                    <a:pt x="56" y="155"/>
                    <a:pt x="56" y="155"/>
                    <a:pt x="56" y="155"/>
                  </a:cubicBezTo>
                  <a:cubicBezTo>
                    <a:pt x="54" y="161"/>
                    <a:pt x="54" y="161"/>
                    <a:pt x="54" y="161"/>
                  </a:cubicBezTo>
                  <a:cubicBezTo>
                    <a:pt x="53" y="167"/>
                    <a:pt x="53" y="167"/>
                    <a:pt x="53" y="167"/>
                  </a:cubicBezTo>
                  <a:cubicBezTo>
                    <a:pt x="53" y="167"/>
                    <a:pt x="52" y="172"/>
                    <a:pt x="53" y="173"/>
                  </a:cubicBezTo>
                  <a:cubicBezTo>
                    <a:pt x="54" y="174"/>
                    <a:pt x="54" y="178"/>
                    <a:pt x="54" y="178"/>
                  </a:cubicBezTo>
                  <a:cubicBezTo>
                    <a:pt x="51" y="180"/>
                    <a:pt x="51" y="180"/>
                    <a:pt x="51" y="180"/>
                  </a:cubicBezTo>
                  <a:cubicBezTo>
                    <a:pt x="52" y="185"/>
                    <a:pt x="52" y="185"/>
                    <a:pt x="52" y="185"/>
                  </a:cubicBezTo>
                  <a:cubicBezTo>
                    <a:pt x="39" y="205"/>
                    <a:pt x="39" y="205"/>
                    <a:pt x="39" y="205"/>
                  </a:cubicBezTo>
                  <a:cubicBezTo>
                    <a:pt x="42" y="210"/>
                    <a:pt x="42" y="210"/>
                    <a:pt x="42" y="210"/>
                  </a:cubicBezTo>
                  <a:cubicBezTo>
                    <a:pt x="49" y="211"/>
                    <a:pt x="49" y="211"/>
                    <a:pt x="49" y="211"/>
                  </a:cubicBezTo>
                  <a:cubicBezTo>
                    <a:pt x="50" y="224"/>
                    <a:pt x="50" y="224"/>
                    <a:pt x="50" y="224"/>
                  </a:cubicBezTo>
                  <a:cubicBezTo>
                    <a:pt x="47" y="230"/>
                    <a:pt x="47" y="230"/>
                    <a:pt x="47" y="230"/>
                  </a:cubicBezTo>
                  <a:cubicBezTo>
                    <a:pt x="46" y="231"/>
                    <a:pt x="46" y="231"/>
                    <a:pt x="46" y="231"/>
                  </a:cubicBezTo>
                  <a:cubicBezTo>
                    <a:pt x="27" y="233"/>
                    <a:pt x="27" y="233"/>
                    <a:pt x="27" y="233"/>
                  </a:cubicBezTo>
                  <a:cubicBezTo>
                    <a:pt x="16" y="246"/>
                    <a:pt x="16" y="246"/>
                    <a:pt x="16" y="246"/>
                  </a:cubicBezTo>
                  <a:cubicBezTo>
                    <a:pt x="15" y="254"/>
                    <a:pt x="15" y="254"/>
                    <a:pt x="15" y="254"/>
                  </a:cubicBezTo>
                  <a:cubicBezTo>
                    <a:pt x="15" y="259"/>
                    <a:pt x="15" y="259"/>
                    <a:pt x="15" y="259"/>
                  </a:cubicBezTo>
                  <a:cubicBezTo>
                    <a:pt x="15" y="259"/>
                    <a:pt x="12" y="263"/>
                    <a:pt x="11" y="264"/>
                  </a:cubicBezTo>
                  <a:cubicBezTo>
                    <a:pt x="11" y="265"/>
                    <a:pt x="11" y="270"/>
                    <a:pt x="11" y="270"/>
                  </a:cubicBezTo>
                  <a:cubicBezTo>
                    <a:pt x="15" y="276"/>
                    <a:pt x="15" y="276"/>
                    <a:pt x="15" y="276"/>
                  </a:cubicBezTo>
                  <a:cubicBezTo>
                    <a:pt x="15" y="281"/>
                    <a:pt x="15" y="281"/>
                    <a:pt x="15" y="281"/>
                  </a:cubicBezTo>
                  <a:cubicBezTo>
                    <a:pt x="13" y="284"/>
                    <a:pt x="13" y="284"/>
                    <a:pt x="13" y="284"/>
                  </a:cubicBezTo>
                  <a:cubicBezTo>
                    <a:pt x="14" y="289"/>
                    <a:pt x="14" y="289"/>
                    <a:pt x="14" y="289"/>
                  </a:cubicBezTo>
                  <a:cubicBezTo>
                    <a:pt x="14" y="289"/>
                    <a:pt x="15" y="291"/>
                    <a:pt x="14" y="292"/>
                  </a:cubicBezTo>
                  <a:cubicBezTo>
                    <a:pt x="13" y="293"/>
                    <a:pt x="13" y="295"/>
                    <a:pt x="13" y="296"/>
                  </a:cubicBezTo>
                  <a:cubicBezTo>
                    <a:pt x="13" y="297"/>
                    <a:pt x="19" y="308"/>
                    <a:pt x="19" y="308"/>
                  </a:cubicBezTo>
                  <a:cubicBezTo>
                    <a:pt x="20" y="333"/>
                    <a:pt x="20" y="333"/>
                    <a:pt x="20" y="333"/>
                  </a:cubicBezTo>
                  <a:cubicBezTo>
                    <a:pt x="22" y="339"/>
                    <a:pt x="22" y="339"/>
                    <a:pt x="22" y="339"/>
                  </a:cubicBezTo>
                  <a:cubicBezTo>
                    <a:pt x="28" y="343"/>
                    <a:pt x="28" y="343"/>
                    <a:pt x="28" y="343"/>
                  </a:cubicBezTo>
                  <a:cubicBezTo>
                    <a:pt x="32" y="348"/>
                    <a:pt x="32" y="348"/>
                    <a:pt x="32" y="348"/>
                  </a:cubicBezTo>
                  <a:cubicBezTo>
                    <a:pt x="33" y="354"/>
                    <a:pt x="33" y="354"/>
                    <a:pt x="33" y="354"/>
                  </a:cubicBezTo>
                  <a:cubicBezTo>
                    <a:pt x="33" y="354"/>
                    <a:pt x="32" y="360"/>
                    <a:pt x="32" y="361"/>
                  </a:cubicBezTo>
                  <a:cubicBezTo>
                    <a:pt x="32" y="362"/>
                    <a:pt x="28" y="361"/>
                    <a:pt x="28" y="361"/>
                  </a:cubicBezTo>
                  <a:cubicBezTo>
                    <a:pt x="24" y="362"/>
                    <a:pt x="24" y="362"/>
                    <a:pt x="24" y="362"/>
                  </a:cubicBezTo>
                  <a:cubicBezTo>
                    <a:pt x="20" y="366"/>
                    <a:pt x="20" y="366"/>
                    <a:pt x="20" y="366"/>
                  </a:cubicBezTo>
                  <a:cubicBezTo>
                    <a:pt x="21" y="371"/>
                    <a:pt x="21" y="371"/>
                    <a:pt x="21" y="371"/>
                  </a:cubicBezTo>
                  <a:cubicBezTo>
                    <a:pt x="24" y="378"/>
                    <a:pt x="24" y="378"/>
                    <a:pt x="24" y="378"/>
                  </a:cubicBezTo>
                  <a:cubicBezTo>
                    <a:pt x="29" y="384"/>
                    <a:pt x="29" y="384"/>
                    <a:pt x="29" y="384"/>
                  </a:cubicBezTo>
                  <a:cubicBezTo>
                    <a:pt x="30" y="389"/>
                    <a:pt x="30" y="389"/>
                    <a:pt x="30" y="389"/>
                  </a:cubicBezTo>
                  <a:cubicBezTo>
                    <a:pt x="28" y="394"/>
                    <a:pt x="28" y="394"/>
                    <a:pt x="28" y="394"/>
                  </a:cubicBezTo>
                  <a:cubicBezTo>
                    <a:pt x="26" y="396"/>
                    <a:pt x="26" y="396"/>
                    <a:pt x="26" y="396"/>
                  </a:cubicBezTo>
                  <a:cubicBezTo>
                    <a:pt x="28" y="400"/>
                    <a:pt x="28" y="400"/>
                    <a:pt x="28" y="400"/>
                  </a:cubicBezTo>
                  <a:cubicBezTo>
                    <a:pt x="28" y="404"/>
                    <a:pt x="28" y="404"/>
                    <a:pt x="28" y="404"/>
                  </a:cubicBezTo>
                  <a:cubicBezTo>
                    <a:pt x="28" y="404"/>
                    <a:pt x="26" y="407"/>
                    <a:pt x="26" y="407"/>
                  </a:cubicBezTo>
                  <a:cubicBezTo>
                    <a:pt x="26" y="408"/>
                    <a:pt x="23" y="410"/>
                    <a:pt x="23" y="410"/>
                  </a:cubicBezTo>
                  <a:cubicBezTo>
                    <a:pt x="21" y="413"/>
                    <a:pt x="21" y="413"/>
                    <a:pt x="21" y="413"/>
                  </a:cubicBezTo>
                  <a:cubicBezTo>
                    <a:pt x="18" y="414"/>
                    <a:pt x="18" y="414"/>
                    <a:pt x="18" y="414"/>
                  </a:cubicBezTo>
                  <a:cubicBezTo>
                    <a:pt x="18" y="414"/>
                    <a:pt x="17" y="413"/>
                    <a:pt x="16" y="413"/>
                  </a:cubicBezTo>
                  <a:cubicBezTo>
                    <a:pt x="15" y="414"/>
                    <a:pt x="14" y="415"/>
                    <a:pt x="14" y="415"/>
                  </a:cubicBezTo>
                  <a:cubicBezTo>
                    <a:pt x="14" y="418"/>
                    <a:pt x="14" y="418"/>
                    <a:pt x="14" y="418"/>
                  </a:cubicBezTo>
                  <a:cubicBezTo>
                    <a:pt x="16" y="420"/>
                    <a:pt x="16" y="420"/>
                    <a:pt x="16" y="420"/>
                  </a:cubicBezTo>
                  <a:cubicBezTo>
                    <a:pt x="15" y="424"/>
                    <a:pt x="15" y="424"/>
                    <a:pt x="15" y="424"/>
                  </a:cubicBezTo>
                  <a:cubicBezTo>
                    <a:pt x="13" y="426"/>
                    <a:pt x="13" y="426"/>
                    <a:pt x="13" y="426"/>
                  </a:cubicBezTo>
                  <a:cubicBezTo>
                    <a:pt x="10" y="427"/>
                    <a:pt x="10" y="427"/>
                    <a:pt x="10" y="427"/>
                  </a:cubicBezTo>
                  <a:cubicBezTo>
                    <a:pt x="11" y="432"/>
                    <a:pt x="11" y="432"/>
                    <a:pt x="11" y="432"/>
                  </a:cubicBezTo>
                  <a:cubicBezTo>
                    <a:pt x="15" y="437"/>
                    <a:pt x="15" y="437"/>
                    <a:pt x="15" y="437"/>
                  </a:cubicBezTo>
                  <a:cubicBezTo>
                    <a:pt x="15" y="442"/>
                    <a:pt x="15" y="442"/>
                    <a:pt x="15" y="442"/>
                  </a:cubicBezTo>
                  <a:cubicBezTo>
                    <a:pt x="12" y="447"/>
                    <a:pt x="12" y="447"/>
                    <a:pt x="12" y="447"/>
                  </a:cubicBezTo>
                  <a:cubicBezTo>
                    <a:pt x="12" y="453"/>
                    <a:pt x="12" y="453"/>
                    <a:pt x="12" y="453"/>
                  </a:cubicBezTo>
                  <a:cubicBezTo>
                    <a:pt x="11" y="457"/>
                    <a:pt x="11" y="457"/>
                    <a:pt x="11" y="457"/>
                  </a:cubicBezTo>
                  <a:cubicBezTo>
                    <a:pt x="10" y="458"/>
                    <a:pt x="10" y="458"/>
                    <a:pt x="10" y="458"/>
                  </a:cubicBezTo>
                  <a:cubicBezTo>
                    <a:pt x="7" y="458"/>
                    <a:pt x="7" y="458"/>
                    <a:pt x="7" y="458"/>
                  </a:cubicBezTo>
                  <a:cubicBezTo>
                    <a:pt x="7" y="458"/>
                    <a:pt x="7" y="453"/>
                    <a:pt x="6" y="453"/>
                  </a:cubicBezTo>
                  <a:cubicBezTo>
                    <a:pt x="6" y="452"/>
                    <a:pt x="1" y="448"/>
                    <a:pt x="1" y="448"/>
                  </a:cubicBezTo>
                  <a:cubicBezTo>
                    <a:pt x="0" y="452"/>
                    <a:pt x="0" y="452"/>
                    <a:pt x="0" y="452"/>
                  </a:cubicBezTo>
                  <a:cubicBezTo>
                    <a:pt x="0" y="458"/>
                    <a:pt x="0" y="458"/>
                    <a:pt x="0" y="458"/>
                  </a:cubicBezTo>
                  <a:cubicBezTo>
                    <a:pt x="0" y="458"/>
                    <a:pt x="1" y="461"/>
                    <a:pt x="1" y="462"/>
                  </a:cubicBezTo>
                  <a:cubicBezTo>
                    <a:pt x="2" y="463"/>
                    <a:pt x="3" y="468"/>
                    <a:pt x="3" y="468"/>
                  </a:cubicBezTo>
                  <a:cubicBezTo>
                    <a:pt x="2" y="474"/>
                    <a:pt x="2" y="474"/>
                    <a:pt x="2" y="474"/>
                  </a:cubicBezTo>
                  <a:cubicBezTo>
                    <a:pt x="2" y="474"/>
                    <a:pt x="3" y="478"/>
                    <a:pt x="4" y="478"/>
                  </a:cubicBezTo>
                  <a:cubicBezTo>
                    <a:pt x="4" y="479"/>
                    <a:pt x="4" y="482"/>
                    <a:pt x="4" y="482"/>
                  </a:cubicBezTo>
                  <a:cubicBezTo>
                    <a:pt x="7" y="481"/>
                    <a:pt x="7" y="481"/>
                    <a:pt x="7" y="481"/>
                  </a:cubicBezTo>
                  <a:cubicBezTo>
                    <a:pt x="7" y="479"/>
                    <a:pt x="7" y="479"/>
                    <a:pt x="7" y="479"/>
                  </a:cubicBezTo>
                  <a:cubicBezTo>
                    <a:pt x="9" y="482"/>
                    <a:pt x="9" y="482"/>
                    <a:pt x="9" y="482"/>
                  </a:cubicBezTo>
                  <a:cubicBezTo>
                    <a:pt x="9" y="482"/>
                    <a:pt x="8" y="483"/>
                    <a:pt x="9" y="483"/>
                  </a:cubicBezTo>
                  <a:cubicBezTo>
                    <a:pt x="10" y="482"/>
                    <a:pt x="12" y="481"/>
                    <a:pt x="12" y="481"/>
                  </a:cubicBezTo>
                  <a:cubicBezTo>
                    <a:pt x="11" y="483"/>
                    <a:pt x="11" y="483"/>
                    <a:pt x="11" y="483"/>
                  </a:cubicBezTo>
                  <a:cubicBezTo>
                    <a:pt x="9" y="486"/>
                    <a:pt x="9" y="486"/>
                    <a:pt x="9" y="486"/>
                  </a:cubicBezTo>
                  <a:cubicBezTo>
                    <a:pt x="10" y="487"/>
                    <a:pt x="10" y="487"/>
                    <a:pt x="10" y="487"/>
                  </a:cubicBezTo>
                  <a:cubicBezTo>
                    <a:pt x="12" y="488"/>
                    <a:pt x="12" y="488"/>
                    <a:pt x="12" y="488"/>
                  </a:cubicBezTo>
                  <a:cubicBezTo>
                    <a:pt x="9" y="492"/>
                    <a:pt x="9" y="492"/>
                    <a:pt x="9" y="492"/>
                  </a:cubicBezTo>
                  <a:cubicBezTo>
                    <a:pt x="9" y="492"/>
                    <a:pt x="11" y="494"/>
                    <a:pt x="11" y="495"/>
                  </a:cubicBezTo>
                  <a:cubicBezTo>
                    <a:pt x="11" y="495"/>
                    <a:pt x="15" y="492"/>
                    <a:pt x="15" y="492"/>
                  </a:cubicBezTo>
                  <a:cubicBezTo>
                    <a:pt x="15" y="492"/>
                    <a:pt x="15" y="493"/>
                    <a:pt x="15" y="494"/>
                  </a:cubicBezTo>
                  <a:cubicBezTo>
                    <a:pt x="15" y="495"/>
                    <a:pt x="12" y="497"/>
                    <a:pt x="13" y="498"/>
                  </a:cubicBezTo>
                  <a:cubicBezTo>
                    <a:pt x="13" y="499"/>
                    <a:pt x="18" y="498"/>
                    <a:pt x="17" y="498"/>
                  </a:cubicBezTo>
                  <a:cubicBezTo>
                    <a:pt x="16" y="499"/>
                    <a:pt x="16" y="501"/>
                    <a:pt x="16" y="501"/>
                  </a:cubicBezTo>
                  <a:cubicBezTo>
                    <a:pt x="16" y="501"/>
                    <a:pt x="14" y="503"/>
                    <a:pt x="15" y="504"/>
                  </a:cubicBezTo>
                  <a:cubicBezTo>
                    <a:pt x="16" y="504"/>
                    <a:pt x="18" y="505"/>
                    <a:pt x="18" y="506"/>
                  </a:cubicBezTo>
                  <a:cubicBezTo>
                    <a:pt x="17" y="506"/>
                    <a:pt x="15" y="508"/>
                    <a:pt x="15" y="508"/>
                  </a:cubicBezTo>
                  <a:cubicBezTo>
                    <a:pt x="15" y="508"/>
                    <a:pt x="14" y="510"/>
                    <a:pt x="15" y="510"/>
                  </a:cubicBezTo>
                  <a:cubicBezTo>
                    <a:pt x="16" y="511"/>
                    <a:pt x="18" y="511"/>
                    <a:pt x="18" y="511"/>
                  </a:cubicBezTo>
                  <a:cubicBezTo>
                    <a:pt x="18" y="511"/>
                    <a:pt x="18" y="510"/>
                    <a:pt x="18" y="510"/>
                  </a:cubicBezTo>
                  <a:cubicBezTo>
                    <a:pt x="18" y="511"/>
                    <a:pt x="17" y="513"/>
                    <a:pt x="17" y="513"/>
                  </a:cubicBezTo>
                  <a:cubicBezTo>
                    <a:pt x="17" y="513"/>
                    <a:pt x="17" y="514"/>
                    <a:pt x="17" y="515"/>
                  </a:cubicBezTo>
                  <a:cubicBezTo>
                    <a:pt x="18" y="515"/>
                    <a:pt x="20" y="515"/>
                    <a:pt x="20" y="515"/>
                  </a:cubicBezTo>
                  <a:cubicBezTo>
                    <a:pt x="20" y="515"/>
                    <a:pt x="20" y="516"/>
                    <a:pt x="20" y="517"/>
                  </a:cubicBezTo>
                  <a:cubicBezTo>
                    <a:pt x="20" y="518"/>
                    <a:pt x="20" y="520"/>
                    <a:pt x="19" y="521"/>
                  </a:cubicBezTo>
                  <a:cubicBezTo>
                    <a:pt x="19" y="521"/>
                    <a:pt x="20" y="523"/>
                    <a:pt x="20" y="523"/>
                  </a:cubicBezTo>
                  <a:cubicBezTo>
                    <a:pt x="20" y="523"/>
                    <a:pt x="19" y="524"/>
                    <a:pt x="21" y="524"/>
                  </a:cubicBezTo>
                  <a:cubicBezTo>
                    <a:pt x="23" y="524"/>
                    <a:pt x="23" y="523"/>
                    <a:pt x="24" y="523"/>
                  </a:cubicBezTo>
                  <a:cubicBezTo>
                    <a:pt x="24" y="523"/>
                    <a:pt x="25" y="524"/>
                    <a:pt x="25" y="525"/>
                  </a:cubicBezTo>
                  <a:cubicBezTo>
                    <a:pt x="25" y="526"/>
                    <a:pt x="26" y="527"/>
                    <a:pt x="26" y="528"/>
                  </a:cubicBezTo>
                  <a:cubicBezTo>
                    <a:pt x="26" y="529"/>
                    <a:pt x="29" y="537"/>
                    <a:pt x="29" y="537"/>
                  </a:cubicBezTo>
                  <a:cubicBezTo>
                    <a:pt x="29" y="537"/>
                    <a:pt x="30" y="540"/>
                    <a:pt x="31" y="541"/>
                  </a:cubicBezTo>
                  <a:cubicBezTo>
                    <a:pt x="31" y="542"/>
                    <a:pt x="32" y="543"/>
                    <a:pt x="32" y="543"/>
                  </a:cubicBezTo>
                  <a:cubicBezTo>
                    <a:pt x="33" y="544"/>
                    <a:pt x="35" y="546"/>
                    <a:pt x="35" y="546"/>
                  </a:cubicBezTo>
                  <a:cubicBezTo>
                    <a:pt x="37" y="547"/>
                    <a:pt x="37" y="547"/>
                    <a:pt x="37" y="547"/>
                  </a:cubicBezTo>
                  <a:cubicBezTo>
                    <a:pt x="40" y="553"/>
                    <a:pt x="40" y="553"/>
                    <a:pt x="40" y="553"/>
                  </a:cubicBezTo>
                  <a:cubicBezTo>
                    <a:pt x="40" y="553"/>
                    <a:pt x="42" y="555"/>
                    <a:pt x="43" y="555"/>
                  </a:cubicBezTo>
                  <a:cubicBezTo>
                    <a:pt x="43" y="555"/>
                    <a:pt x="45" y="553"/>
                    <a:pt x="45" y="553"/>
                  </a:cubicBezTo>
                  <a:cubicBezTo>
                    <a:pt x="45" y="553"/>
                    <a:pt x="47" y="554"/>
                    <a:pt x="47" y="555"/>
                  </a:cubicBezTo>
                  <a:cubicBezTo>
                    <a:pt x="47" y="555"/>
                    <a:pt x="45" y="559"/>
                    <a:pt x="46" y="560"/>
                  </a:cubicBezTo>
                  <a:cubicBezTo>
                    <a:pt x="46" y="560"/>
                    <a:pt x="46" y="562"/>
                    <a:pt x="46" y="562"/>
                  </a:cubicBezTo>
                  <a:cubicBezTo>
                    <a:pt x="45" y="563"/>
                    <a:pt x="45" y="563"/>
                    <a:pt x="45" y="563"/>
                  </a:cubicBezTo>
                  <a:cubicBezTo>
                    <a:pt x="43" y="564"/>
                    <a:pt x="43" y="564"/>
                    <a:pt x="43" y="564"/>
                  </a:cubicBezTo>
                  <a:cubicBezTo>
                    <a:pt x="40" y="563"/>
                    <a:pt x="40" y="563"/>
                    <a:pt x="40" y="563"/>
                  </a:cubicBezTo>
                  <a:cubicBezTo>
                    <a:pt x="39" y="566"/>
                    <a:pt x="39" y="566"/>
                    <a:pt x="39" y="566"/>
                  </a:cubicBezTo>
                  <a:cubicBezTo>
                    <a:pt x="42" y="568"/>
                    <a:pt x="42" y="568"/>
                    <a:pt x="42" y="568"/>
                  </a:cubicBezTo>
                  <a:cubicBezTo>
                    <a:pt x="42" y="568"/>
                    <a:pt x="44" y="570"/>
                    <a:pt x="44" y="570"/>
                  </a:cubicBezTo>
                  <a:cubicBezTo>
                    <a:pt x="44" y="571"/>
                    <a:pt x="45" y="574"/>
                    <a:pt x="44" y="574"/>
                  </a:cubicBezTo>
                  <a:cubicBezTo>
                    <a:pt x="44" y="574"/>
                    <a:pt x="40" y="573"/>
                    <a:pt x="40" y="573"/>
                  </a:cubicBezTo>
                  <a:cubicBezTo>
                    <a:pt x="40" y="573"/>
                    <a:pt x="39" y="576"/>
                    <a:pt x="39" y="576"/>
                  </a:cubicBezTo>
                  <a:cubicBezTo>
                    <a:pt x="39" y="577"/>
                    <a:pt x="38" y="577"/>
                    <a:pt x="39" y="579"/>
                  </a:cubicBezTo>
                  <a:cubicBezTo>
                    <a:pt x="41" y="581"/>
                    <a:pt x="45" y="586"/>
                    <a:pt x="45" y="586"/>
                  </a:cubicBezTo>
                  <a:cubicBezTo>
                    <a:pt x="45" y="586"/>
                    <a:pt x="48" y="591"/>
                    <a:pt x="48" y="591"/>
                  </a:cubicBezTo>
                  <a:cubicBezTo>
                    <a:pt x="48" y="591"/>
                    <a:pt x="50" y="594"/>
                    <a:pt x="50" y="595"/>
                  </a:cubicBezTo>
                  <a:cubicBezTo>
                    <a:pt x="51" y="595"/>
                    <a:pt x="51" y="598"/>
                    <a:pt x="51" y="598"/>
                  </a:cubicBezTo>
                  <a:cubicBezTo>
                    <a:pt x="50" y="599"/>
                    <a:pt x="50" y="599"/>
                    <a:pt x="50" y="599"/>
                  </a:cubicBezTo>
                  <a:cubicBezTo>
                    <a:pt x="49" y="602"/>
                    <a:pt x="49" y="602"/>
                    <a:pt x="49" y="602"/>
                  </a:cubicBezTo>
                  <a:cubicBezTo>
                    <a:pt x="49" y="604"/>
                    <a:pt x="49" y="604"/>
                    <a:pt x="49" y="604"/>
                  </a:cubicBezTo>
                  <a:cubicBezTo>
                    <a:pt x="49" y="606"/>
                    <a:pt x="49" y="606"/>
                    <a:pt x="49" y="606"/>
                  </a:cubicBezTo>
                  <a:cubicBezTo>
                    <a:pt x="49" y="608"/>
                    <a:pt x="49" y="608"/>
                    <a:pt x="49" y="608"/>
                  </a:cubicBezTo>
                  <a:cubicBezTo>
                    <a:pt x="47" y="610"/>
                    <a:pt x="47" y="610"/>
                    <a:pt x="47" y="610"/>
                  </a:cubicBezTo>
                  <a:cubicBezTo>
                    <a:pt x="51" y="611"/>
                    <a:pt x="51" y="611"/>
                    <a:pt x="51" y="611"/>
                  </a:cubicBezTo>
                  <a:cubicBezTo>
                    <a:pt x="56" y="610"/>
                    <a:pt x="56" y="610"/>
                    <a:pt x="56" y="610"/>
                  </a:cubicBezTo>
                  <a:cubicBezTo>
                    <a:pt x="56" y="610"/>
                    <a:pt x="56" y="611"/>
                    <a:pt x="57" y="612"/>
                  </a:cubicBezTo>
                  <a:cubicBezTo>
                    <a:pt x="58" y="612"/>
                    <a:pt x="61" y="612"/>
                    <a:pt x="61" y="612"/>
                  </a:cubicBezTo>
                  <a:cubicBezTo>
                    <a:pt x="65" y="610"/>
                    <a:pt x="65" y="610"/>
                    <a:pt x="65" y="610"/>
                  </a:cubicBezTo>
                  <a:cubicBezTo>
                    <a:pt x="67" y="609"/>
                    <a:pt x="67" y="609"/>
                    <a:pt x="67" y="609"/>
                  </a:cubicBezTo>
                  <a:cubicBezTo>
                    <a:pt x="67" y="606"/>
                    <a:pt x="67" y="606"/>
                    <a:pt x="67" y="606"/>
                  </a:cubicBezTo>
                  <a:cubicBezTo>
                    <a:pt x="67" y="606"/>
                    <a:pt x="68" y="604"/>
                    <a:pt x="69" y="604"/>
                  </a:cubicBezTo>
                  <a:cubicBezTo>
                    <a:pt x="69" y="604"/>
                    <a:pt x="72" y="605"/>
                    <a:pt x="72" y="605"/>
                  </a:cubicBezTo>
                  <a:cubicBezTo>
                    <a:pt x="72" y="605"/>
                    <a:pt x="74" y="605"/>
                    <a:pt x="74" y="606"/>
                  </a:cubicBezTo>
                  <a:cubicBezTo>
                    <a:pt x="74" y="606"/>
                    <a:pt x="76" y="607"/>
                    <a:pt x="76" y="607"/>
                  </a:cubicBezTo>
                  <a:cubicBezTo>
                    <a:pt x="79" y="607"/>
                    <a:pt x="79" y="607"/>
                    <a:pt x="79" y="607"/>
                  </a:cubicBezTo>
                  <a:cubicBezTo>
                    <a:pt x="81" y="607"/>
                    <a:pt x="81" y="607"/>
                    <a:pt x="81" y="607"/>
                  </a:cubicBezTo>
                  <a:cubicBezTo>
                    <a:pt x="84" y="606"/>
                    <a:pt x="84" y="606"/>
                    <a:pt x="84" y="606"/>
                  </a:cubicBezTo>
                  <a:cubicBezTo>
                    <a:pt x="84" y="606"/>
                    <a:pt x="83" y="604"/>
                    <a:pt x="84" y="604"/>
                  </a:cubicBezTo>
                  <a:cubicBezTo>
                    <a:pt x="85" y="604"/>
                    <a:pt x="87" y="605"/>
                    <a:pt x="87" y="605"/>
                  </a:cubicBezTo>
                  <a:cubicBezTo>
                    <a:pt x="87" y="605"/>
                    <a:pt x="88" y="606"/>
                    <a:pt x="88" y="606"/>
                  </a:cubicBezTo>
                  <a:cubicBezTo>
                    <a:pt x="89" y="606"/>
                    <a:pt x="91" y="604"/>
                    <a:pt x="90" y="603"/>
                  </a:cubicBezTo>
                  <a:cubicBezTo>
                    <a:pt x="89" y="602"/>
                    <a:pt x="86" y="601"/>
                    <a:pt x="86" y="601"/>
                  </a:cubicBezTo>
                  <a:cubicBezTo>
                    <a:pt x="86" y="601"/>
                    <a:pt x="84" y="599"/>
                    <a:pt x="84" y="598"/>
                  </a:cubicBezTo>
                  <a:cubicBezTo>
                    <a:pt x="84" y="597"/>
                    <a:pt x="83" y="595"/>
                    <a:pt x="82" y="594"/>
                  </a:cubicBezTo>
                  <a:cubicBezTo>
                    <a:pt x="81" y="594"/>
                    <a:pt x="81" y="593"/>
                    <a:pt x="81" y="591"/>
                  </a:cubicBezTo>
                  <a:cubicBezTo>
                    <a:pt x="81" y="589"/>
                    <a:pt x="82" y="588"/>
                    <a:pt x="82" y="588"/>
                  </a:cubicBezTo>
                  <a:cubicBezTo>
                    <a:pt x="82" y="587"/>
                    <a:pt x="81" y="584"/>
                    <a:pt x="81" y="584"/>
                  </a:cubicBezTo>
                  <a:cubicBezTo>
                    <a:pt x="81" y="584"/>
                    <a:pt x="81" y="583"/>
                    <a:pt x="83" y="581"/>
                  </a:cubicBezTo>
                  <a:cubicBezTo>
                    <a:pt x="85" y="579"/>
                    <a:pt x="86" y="578"/>
                    <a:pt x="86" y="579"/>
                  </a:cubicBezTo>
                  <a:cubicBezTo>
                    <a:pt x="87" y="579"/>
                    <a:pt x="89" y="581"/>
                    <a:pt x="89" y="581"/>
                  </a:cubicBezTo>
                  <a:cubicBezTo>
                    <a:pt x="90" y="582"/>
                    <a:pt x="91" y="582"/>
                    <a:pt x="91" y="583"/>
                  </a:cubicBezTo>
                  <a:cubicBezTo>
                    <a:pt x="91" y="583"/>
                    <a:pt x="91" y="584"/>
                    <a:pt x="92" y="584"/>
                  </a:cubicBezTo>
                  <a:cubicBezTo>
                    <a:pt x="93" y="584"/>
                    <a:pt x="94" y="584"/>
                    <a:pt x="94" y="584"/>
                  </a:cubicBezTo>
                  <a:cubicBezTo>
                    <a:pt x="94" y="584"/>
                    <a:pt x="96" y="584"/>
                    <a:pt x="96" y="583"/>
                  </a:cubicBezTo>
                  <a:cubicBezTo>
                    <a:pt x="95" y="583"/>
                    <a:pt x="95" y="580"/>
                    <a:pt x="94" y="580"/>
                  </a:cubicBezTo>
                  <a:cubicBezTo>
                    <a:pt x="94" y="580"/>
                    <a:pt x="93" y="578"/>
                    <a:pt x="93" y="578"/>
                  </a:cubicBezTo>
                  <a:cubicBezTo>
                    <a:pt x="93" y="578"/>
                    <a:pt x="94" y="578"/>
                    <a:pt x="92" y="577"/>
                  </a:cubicBezTo>
                  <a:cubicBezTo>
                    <a:pt x="90" y="575"/>
                    <a:pt x="89" y="575"/>
                    <a:pt x="91" y="574"/>
                  </a:cubicBezTo>
                  <a:cubicBezTo>
                    <a:pt x="92" y="573"/>
                    <a:pt x="95" y="573"/>
                    <a:pt x="95" y="573"/>
                  </a:cubicBezTo>
                  <a:cubicBezTo>
                    <a:pt x="98" y="573"/>
                    <a:pt x="98" y="573"/>
                    <a:pt x="98" y="573"/>
                  </a:cubicBezTo>
                  <a:cubicBezTo>
                    <a:pt x="98" y="573"/>
                    <a:pt x="99" y="572"/>
                    <a:pt x="101" y="572"/>
                  </a:cubicBezTo>
                  <a:cubicBezTo>
                    <a:pt x="102" y="573"/>
                    <a:pt x="105" y="573"/>
                    <a:pt x="105" y="573"/>
                  </a:cubicBezTo>
                  <a:cubicBezTo>
                    <a:pt x="109" y="573"/>
                    <a:pt x="109" y="573"/>
                    <a:pt x="109" y="573"/>
                  </a:cubicBezTo>
                  <a:cubicBezTo>
                    <a:pt x="111" y="571"/>
                    <a:pt x="111" y="571"/>
                    <a:pt x="111" y="571"/>
                  </a:cubicBezTo>
                  <a:cubicBezTo>
                    <a:pt x="114" y="573"/>
                    <a:pt x="114" y="573"/>
                    <a:pt x="114" y="573"/>
                  </a:cubicBezTo>
                  <a:cubicBezTo>
                    <a:pt x="114" y="573"/>
                    <a:pt x="114" y="573"/>
                    <a:pt x="116" y="573"/>
                  </a:cubicBezTo>
                  <a:cubicBezTo>
                    <a:pt x="118" y="574"/>
                    <a:pt x="120" y="572"/>
                    <a:pt x="121" y="572"/>
                  </a:cubicBezTo>
                  <a:cubicBezTo>
                    <a:pt x="121" y="571"/>
                    <a:pt x="124" y="566"/>
                    <a:pt x="124" y="566"/>
                  </a:cubicBezTo>
                  <a:cubicBezTo>
                    <a:pt x="127" y="549"/>
                    <a:pt x="127" y="549"/>
                    <a:pt x="127" y="549"/>
                  </a:cubicBezTo>
                  <a:cubicBezTo>
                    <a:pt x="127" y="549"/>
                    <a:pt x="129" y="547"/>
                    <a:pt x="129" y="547"/>
                  </a:cubicBezTo>
                  <a:cubicBezTo>
                    <a:pt x="129" y="546"/>
                    <a:pt x="129" y="540"/>
                    <a:pt x="129" y="540"/>
                  </a:cubicBezTo>
                  <a:cubicBezTo>
                    <a:pt x="129" y="539"/>
                    <a:pt x="131" y="533"/>
                    <a:pt x="131" y="533"/>
                  </a:cubicBezTo>
                  <a:cubicBezTo>
                    <a:pt x="131" y="533"/>
                    <a:pt x="134" y="531"/>
                    <a:pt x="133" y="528"/>
                  </a:cubicBezTo>
                  <a:cubicBezTo>
                    <a:pt x="131" y="526"/>
                    <a:pt x="130" y="523"/>
                    <a:pt x="130" y="523"/>
                  </a:cubicBezTo>
                  <a:cubicBezTo>
                    <a:pt x="130" y="523"/>
                    <a:pt x="129" y="518"/>
                    <a:pt x="130" y="518"/>
                  </a:cubicBezTo>
                  <a:cubicBezTo>
                    <a:pt x="130" y="517"/>
                    <a:pt x="133" y="513"/>
                    <a:pt x="133" y="513"/>
                  </a:cubicBezTo>
                  <a:cubicBezTo>
                    <a:pt x="130" y="505"/>
                    <a:pt x="130" y="505"/>
                    <a:pt x="130" y="505"/>
                  </a:cubicBezTo>
                  <a:cubicBezTo>
                    <a:pt x="130" y="505"/>
                    <a:pt x="132" y="503"/>
                    <a:pt x="132" y="502"/>
                  </a:cubicBezTo>
                  <a:cubicBezTo>
                    <a:pt x="132" y="502"/>
                    <a:pt x="131" y="495"/>
                    <a:pt x="131" y="495"/>
                  </a:cubicBezTo>
                  <a:cubicBezTo>
                    <a:pt x="130" y="492"/>
                    <a:pt x="130" y="492"/>
                    <a:pt x="130" y="492"/>
                  </a:cubicBezTo>
                  <a:cubicBezTo>
                    <a:pt x="130" y="492"/>
                    <a:pt x="133" y="489"/>
                    <a:pt x="133" y="488"/>
                  </a:cubicBezTo>
                  <a:cubicBezTo>
                    <a:pt x="133" y="487"/>
                    <a:pt x="132" y="483"/>
                    <a:pt x="132" y="483"/>
                  </a:cubicBezTo>
                  <a:cubicBezTo>
                    <a:pt x="131" y="478"/>
                    <a:pt x="131" y="478"/>
                    <a:pt x="131" y="478"/>
                  </a:cubicBezTo>
                  <a:cubicBezTo>
                    <a:pt x="131" y="478"/>
                    <a:pt x="132" y="477"/>
                    <a:pt x="132" y="476"/>
                  </a:cubicBezTo>
                  <a:cubicBezTo>
                    <a:pt x="131" y="475"/>
                    <a:pt x="130" y="474"/>
                    <a:pt x="130" y="474"/>
                  </a:cubicBezTo>
                  <a:cubicBezTo>
                    <a:pt x="129" y="472"/>
                    <a:pt x="129" y="472"/>
                    <a:pt x="129" y="472"/>
                  </a:cubicBezTo>
                  <a:cubicBezTo>
                    <a:pt x="130" y="471"/>
                    <a:pt x="130" y="471"/>
                    <a:pt x="130" y="471"/>
                  </a:cubicBezTo>
                  <a:cubicBezTo>
                    <a:pt x="133" y="469"/>
                    <a:pt x="133" y="469"/>
                    <a:pt x="133" y="469"/>
                  </a:cubicBezTo>
                  <a:cubicBezTo>
                    <a:pt x="131" y="465"/>
                    <a:pt x="131" y="465"/>
                    <a:pt x="131" y="465"/>
                  </a:cubicBezTo>
                  <a:cubicBezTo>
                    <a:pt x="128" y="464"/>
                    <a:pt x="128" y="464"/>
                    <a:pt x="128" y="464"/>
                  </a:cubicBezTo>
                  <a:cubicBezTo>
                    <a:pt x="128" y="464"/>
                    <a:pt x="128" y="462"/>
                    <a:pt x="129" y="462"/>
                  </a:cubicBezTo>
                  <a:cubicBezTo>
                    <a:pt x="130" y="462"/>
                    <a:pt x="136" y="459"/>
                    <a:pt x="136" y="459"/>
                  </a:cubicBezTo>
                  <a:cubicBezTo>
                    <a:pt x="136" y="459"/>
                    <a:pt x="138" y="456"/>
                    <a:pt x="138" y="456"/>
                  </a:cubicBezTo>
                  <a:cubicBezTo>
                    <a:pt x="139" y="456"/>
                    <a:pt x="145" y="452"/>
                    <a:pt x="145" y="452"/>
                  </a:cubicBezTo>
                  <a:cubicBezTo>
                    <a:pt x="145" y="452"/>
                    <a:pt x="145" y="449"/>
                    <a:pt x="145" y="449"/>
                  </a:cubicBezTo>
                  <a:cubicBezTo>
                    <a:pt x="146" y="448"/>
                    <a:pt x="146" y="447"/>
                    <a:pt x="146" y="446"/>
                  </a:cubicBezTo>
                  <a:cubicBezTo>
                    <a:pt x="146" y="446"/>
                    <a:pt x="145" y="439"/>
                    <a:pt x="145" y="436"/>
                  </a:cubicBezTo>
                  <a:cubicBezTo>
                    <a:pt x="146" y="434"/>
                    <a:pt x="147" y="438"/>
                    <a:pt x="147" y="438"/>
                  </a:cubicBezTo>
                  <a:cubicBezTo>
                    <a:pt x="149" y="440"/>
                    <a:pt x="149" y="440"/>
                    <a:pt x="149" y="440"/>
                  </a:cubicBezTo>
                  <a:cubicBezTo>
                    <a:pt x="148" y="446"/>
                    <a:pt x="148" y="446"/>
                    <a:pt x="148" y="446"/>
                  </a:cubicBezTo>
                  <a:cubicBezTo>
                    <a:pt x="151" y="446"/>
                    <a:pt x="151" y="446"/>
                    <a:pt x="151" y="446"/>
                  </a:cubicBezTo>
                  <a:cubicBezTo>
                    <a:pt x="151" y="449"/>
                    <a:pt x="151" y="449"/>
                    <a:pt x="151" y="449"/>
                  </a:cubicBezTo>
                  <a:cubicBezTo>
                    <a:pt x="151" y="449"/>
                    <a:pt x="150" y="451"/>
                    <a:pt x="151" y="451"/>
                  </a:cubicBezTo>
                  <a:cubicBezTo>
                    <a:pt x="152" y="450"/>
                    <a:pt x="153" y="450"/>
                    <a:pt x="153" y="450"/>
                  </a:cubicBezTo>
                  <a:cubicBezTo>
                    <a:pt x="153" y="445"/>
                    <a:pt x="153" y="445"/>
                    <a:pt x="153" y="445"/>
                  </a:cubicBezTo>
                  <a:cubicBezTo>
                    <a:pt x="153" y="445"/>
                    <a:pt x="156" y="445"/>
                    <a:pt x="156" y="444"/>
                  </a:cubicBezTo>
                  <a:cubicBezTo>
                    <a:pt x="156" y="443"/>
                    <a:pt x="155" y="441"/>
                    <a:pt x="156" y="441"/>
                  </a:cubicBezTo>
                  <a:cubicBezTo>
                    <a:pt x="161" y="441"/>
                    <a:pt x="158" y="441"/>
                    <a:pt x="161" y="439"/>
                  </a:cubicBezTo>
                  <a:cubicBezTo>
                    <a:pt x="161" y="439"/>
                    <a:pt x="163" y="436"/>
                    <a:pt x="163" y="435"/>
                  </a:cubicBezTo>
                  <a:cubicBezTo>
                    <a:pt x="163" y="435"/>
                    <a:pt x="164" y="433"/>
                    <a:pt x="164" y="433"/>
                  </a:cubicBezTo>
                  <a:lnTo>
                    <a:pt x="162" y="432"/>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8"/>
            <p:cNvSpPr>
              <a:spLocks/>
            </p:cNvSpPr>
            <p:nvPr/>
          </p:nvSpPr>
          <p:spPr bwMode="auto">
            <a:xfrm>
              <a:off x="6197478" y="3388877"/>
              <a:ext cx="414470" cy="298190"/>
            </a:xfrm>
            <a:custGeom>
              <a:avLst/>
              <a:gdLst>
                <a:gd name="T0" fmla="*/ 84 w 143"/>
                <a:gd name="T1" fmla="*/ 108 h 109"/>
                <a:gd name="T2" fmla="*/ 103 w 143"/>
                <a:gd name="T3" fmla="*/ 104 h 109"/>
                <a:gd name="T4" fmla="*/ 107 w 143"/>
                <a:gd name="T5" fmla="*/ 97 h 109"/>
                <a:gd name="T6" fmla="*/ 113 w 143"/>
                <a:gd name="T7" fmla="*/ 93 h 109"/>
                <a:gd name="T8" fmla="*/ 115 w 143"/>
                <a:gd name="T9" fmla="*/ 90 h 109"/>
                <a:gd name="T10" fmla="*/ 123 w 143"/>
                <a:gd name="T11" fmla="*/ 85 h 109"/>
                <a:gd name="T12" fmla="*/ 124 w 143"/>
                <a:gd name="T13" fmla="*/ 72 h 109"/>
                <a:gd name="T14" fmla="*/ 124 w 143"/>
                <a:gd name="T15" fmla="*/ 59 h 109"/>
                <a:gd name="T16" fmla="*/ 132 w 143"/>
                <a:gd name="T17" fmla="*/ 47 h 109"/>
                <a:gd name="T18" fmla="*/ 140 w 143"/>
                <a:gd name="T19" fmla="*/ 41 h 109"/>
                <a:gd name="T20" fmla="*/ 135 w 143"/>
                <a:gd name="T21" fmla="*/ 39 h 109"/>
                <a:gd name="T22" fmla="*/ 135 w 143"/>
                <a:gd name="T23" fmla="*/ 23 h 109"/>
                <a:gd name="T24" fmla="*/ 130 w 143"/>
                <a:gd name="T25" fmla="*/ 22 h 109"/>
                <a:gd name="T26" fmla="*/ 123 w 143"/>
                <a:gd name="T27" fmla="*/ 17 h 109"/>
                <a:gd name="T28" fmla="*/ 116 w 143"/>
                <a:gd name="T29" fmla="*/ 11 h 109"/>
                <a:gd name="T30" fmla="*/ 109 w 143"/>
                <a:gd name="T31" fmla="*/ 8 h 109"/>
                <a:gd name="T32" fmla="*/ 97 w 143"/>
                <a:gd name="T33" fmla="*/ 10 h 109"/>
                <a:gd name="T34" fmla="*/ 90 w 143"/>
                <a:gd name="T35" fmla="*/ 4 h 109"/>
                <a:gd name="T36" fmla="*/ 82 w 143"/>
                <a:gd name="T37" fmla="*/ 7 h 109"/>
                <a:gd name="T38" fmla="*/ 74 w 143"/>
                <a:gd name="T39" fmla="*/ 11 h 109"/>
                <a:gd name="T40" fmla="*/ 60 w 143"/>
                <a:gd name="T41" fmla="*/ 10 h 109"/>
                <a:gd name="T42" fmla="*/ 50 w 143"/>
                <a:gd name="T43" fmla="*/ 11 h 109"/>
                <a:gd name="T44" fmla="*/ 42 w 143"/>
                <a:gd name="T45" fmla="*/ 11 h 109"/>
                <a:gd name="T46" fmla="*/ 27 w 143"/>
                <a:gd name="T47" fmla="*/ 15 h 109"/>
                <a:gd name="T48" fmla="*/ 15 w 143"/>
                <a:gd name="T49" fmla="*/ 21 h 109"/>
                <a:gd name="T50" fmla="*/ 7 w 143"/>
                <a:gd name="T51" fmla="*/ 26 h 109"/>
                <a:gd name="T52" fmla="*/ 1 w 143"/>
                <a:gd name="T53" fmla="*/ 34 h 109"/>
                <a:gd name="T54" fmla="*/ 3 w 143"/>
                <a:gd name="T55" fmla="*/ 43 h 109"/>
                <a:gd name="T56" fmla="*/ 9 w 143"/>
                <a:gd name="T57" fmla="*/ 55 h 109"/>
                <a:gd name="T58" fmla="*/ 12 w 143"/>
                <a:gd name="T59" fmla="*/ 64 h 109"/>
                <a:gd name="T60" fmla="*/ 14 w 143"/>
                <a:gd name="T61" fmla="*/ 64 h 109"/>
                <a:gd name="T62" fmla="*/ 16 w 143"/>
                <a:gd name="T63" fmla="*/ 65 h 109"/>
                <a:gd name="T64" fmla="*/ 26 w 143"/>
                <a:gd name="T65" fmla="*/ 70 h 109"/>
                <a:gd name="T66" fmla="*/ 39 w 143"/>
                <a:gd name="T67" fmla="*/ 68 h 109"/>
                <a:gd name="T68" fmla="*/ 50 w 143"/>
                <a:gd name="T69" fmla="*/ 70 h 109"/>
                <a:gd name="T70" fmla="*/ 56 w 143"/>
                <a:gd name="T71" fmla="*/ 76 h 109"/>
                <a:gd name="T72" fmla="*/ 55 w 143"/>
                <a:gd name="T73" fmla="*/ 83 h 109"/>
                <a:gd name="T74" fmla="*/ 57 w 143"/>
                <a:gd name="T75" fmla="*/ 95 h 109"/>
                <a:gd name="T76" fmla="*/ 58 w 143"/>
                <a:gd name="T77" fmla="*/ 95 h 109"/>
                <a:gd name="T78" fmla="*/ 60 w 143"/>
                <a:gd name="T79" fmla="*/ 93 h 109"/>
                <a:gd name="T80" fmla="*/ 63 w 143"/>
                <a:gd name="T81" fmla="*/ 94 h 109"/>
                <a:gd name="T82" fmla="*/ 65 w 143"/>
                <a:gd name="T83" fmla="*/ 97 h 109"/>
                <a:gd name="T84" fmla="*/ 69 w 143"/>
                <a:gd name="T85" fmla="*/ 97 h 109"/>
                <a:gd name="T86" fmla="*/ 79 w 143"/>
                <a:gd name="T87" fmla="*/ 10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3" h="109">
                  <a:moveTo>
                    <a:pt x="79" y="106"/>
                  </a:moveTo>
                  <a:cubicBezTo>
                    <a:pt x="80" y="109"/>
                    <a:pt x="80" y="109"/>
                    <a:pt x="80" y="109"/>
                  </a:cubicBezTo>
                  <a:cubicBezTo>
                    <a:pt x="84" y="108"/>
                    <a:pt x="84" y="108"/>
                    <a:pt x="84" y="108"/>
                  </a:cubicBezTo>
                  <a:cubicBezTo>
                    <a:pt x="93" y="104"/>
                    <a:pt x="93" y="104"/>
                    <a:pt x="93" y="104"/>
                  </a:cubicBezTo>
                  <a:cubicBezTo>
                    <a:pt x="98" y="105"/>
                    <a:pt x="98" y="105"/>
                    <a:pt x="98" y="105"/>
                  </a:cubicBezTo>
                  <a:cubicBezTo>
                    <a:pt x="103" y="104"/>
                    <a:pt x="103" y="104"/>
                    <a:pt x="103" y="104"/>
                  </a:cubicBezTo>
                  <a:cubicBezTo>
                    <a:pt x="106" y="101"/>
                    <a:pt x="106" y="101"/>
                    <a:pt x="106" y="101"/>
                  </a:cubicBezTo>
                  <a:cubicBezTo>
                    <a:pt x="108" y="101"/>
                    <a:pt x="108" y="101"/>
                    <a:pt x="108" y="101"/>
                  </a:cubicBezTo>
                  <a:cubicBezTo>
                    <a:pt x="107" y="97"/>
                    <a:pt x="107" y="97"/>
                    <a:pt x="107" y="97"/>
                  </a:cubicBezTo>
                  <a:cubicBezTo>
                    <a:pt x="107" y="97"/>
                    <a:pt x="107" y="97"/>
                    <a:pt x="107" y="97"/>
                  </a:cubicBezTo>
                  <a:cubicBezTo>
                    <a:pt x="107" y="96"/>
                    <a:pt x="108" y="93"/>
                    <a:pt x="111" y="93"/>
                  </a:cubicBezTo>
                  <a:cubicBezTo>
                    <a:pt x="112" y="93"/>
                    <a:pt x="112" y="93"/>
                    <a:pt x="113" y="93"/>
                  </a:cubicBezTo>
                  <a:cubicBezTo>
                    <a:pt x="114" y="93"/>
                    <a:pt x="114" y="93"/>
                    <a:pt x="114" y="93"/>
                  </a:cubicBezTo>
                  <a:cubicBezTo>
                    <a:pt x="115" y="92"/>
                    <a:pt x="115" y="92"/>
                    <a:pt x="115" y="92"/>
                  </a:cubicBezTo>
                  <a:cubicBezTo>
                    <a:pt x="115" y="90"/>
                    <a:pt x="115" y="90"/>
                    <a:pt x="115" y="90"/>
                  </a:cubicBezTo>
                  <a:cubicBezTo>
                    <a:pt x="122" y="87"/>
                    <a:pt x="122" y="87"/>
                    <a:pt x="122" y="87"/>
                  </a:cubicBezTo>
                  <a:cubicBezTo>
                    <a:pt x="123" y="85"/>
                    <a:pt x="123" y="85"/>
                    <a:pt x="123" y="85"/>
                  </a:cubicBezTo>
                  <a:cubicBezTo>
                    <a:pt x="123" y="85"/>
                    <a:pt x="123" y="85"/>
                    <a:pt x="123" y="85"/>
                  </a:cubicBezTo>
                  <a:cubicBezTo>
                    <a:pt x="123" y="84"/>
                    <a:pt x="122" y="83"/>
                    <a:pt x="123" y="82"/>
                  </a:cubicBezTo>
                  <a:cubicBezTo>
                    <a:pt x="124" y="76"/>
                    <a:pt x="124" y="76"/>
                    <a:pt x="124" y="76"/>
                  </a:cubicBezTo>
                  <a:cubicBezTo>
                    <a:pt x="124" y="72"/>
                    <a:pt x="124" y="72"/>
                    <a:pt x="124" y="72"/>
                  </a:cubicBezTo>
                  <a:cubicBezTo>
                    <a:pt x="123" y="65"/>
                    <a:pt x="123" y="65"/>
                    <a:pt x="123" y="65"/>
                  </a:cubicBezTo>
                  <a:cubicBezTo>
                    <a:pt x="124" y="62"/>
                    <a:pt x="124" y="62"/>
                    <a:pt x="124" y="62"/>
                  </a:cubicBezTo>
                  <a:cubicBezTo>
                    <a:pt x="124" y="59"/>
                    <a:pt x="124" y="59"/>
                    <a:pt x="124" y="59"/>
                  </a:cubicBezTo>
                  <a:cubicBezTo>
                    <a:pt x="126" y="55"/>
                    <a:pt x="126" y="55"/>
                    <a:pt x="126" y="55"/>
                  </a:cubicBezTo>
                  <a:cubicBezTo>
                    <a:pt x="132" y="52"/>
                    <a:pt x="132" y="52"/>
                    <a:pt x="132" y="52"/>
                  </a:cubicBezTo>
                  <a:cubicBezTo>
                    <a:pt x="132" y="47"/>
                    <a:pt x="132" y="47"/>
                    <a:pt x="132" y="47"/>
                  </a:cubicBezTo>
                  <a:cubicBezTo>
                    <a:pt x="136" y="43"/>
                    <a:pt x="136" y="43"/>
                    <a:pt x="136" y="43"/>
                  </a:cubicBezTo>
                  <a:cubicBezTo>
                    <a:pt x="141" y="43"/>
                    <a:pt x="141" y="43"/>
                    <a:pt x="141" y="43"/>
                  </a:cubicBezTo>
                  <a:cubicBezTo>
                    <a:pt x="140" y="41"/>
                    <a:pt x="140" y="41"/>
                    <a:pt x="140" y="41"/>
                  </a:cubicBezTo>
                  <a:cubicBezTo>
                    <a:pt x="143" y="40"/>
                    <a:pt x="143" y="40"/>
                    <a:pt x="143" y="40"/>
                  </a:cubicBezTo>
                  <a:cubicBezTo>
                    <a:pt x="139" y="41"/>
                    <a:pt x="139" y="41"/>
                    <a:pt x="139" y="41"/>
                  </a:cubicBezTo>
                  <a:cubicBezTo>
                    <a:pt x="135" y="39"/>
                    <a:pt x="135" y="39"/>
                    <a:pt x="135" y="39"/>
                  </a:cubicBezTo>
                  <a:cubicBezTo>
                    <a:pt x="135" y="33"/>
                    <a:pt x="135" y="33"/>
                    <a:pt x="135" y="33"/>
                  </a:cubicBezTo>
                  <a:cubicBezTo>
                    <a:pt x="136" y="29"/>
                    <a:pt x="136" y="29"/>
                    <a:pt x="136" y="29"/>
                  </a:cubicBezTo>
                  <a:cubicBezTo>
                    <a:pt x="135" y="23"/>
                    <a:pt x="135" y="23"/>
                    <a:pt x="135" y="23"/>
                  </a:cubicBezTo>
                  <a:cubicBezTo>
                    <a:pt x="135" y="23"/>
                    <a:pt x="135" y="22"/>
                    <a:pt x="135" y="22"/>
                  </a:cubicBezTo>
                  <a:cubicBezTo>
                    <a:pt x="135" y="22"/>
                    <a:pt x="135" y="22"/>
                    <a:pt x="135" y="22"/>
                  </a:cubicBezTo>
                  <a:cubicBezTo>
                    <a:pt x="130" y="22"/>
                    <a:pt x="130" y="22"/>
                    <a:pt x="130" y="22"/>
                  </a:cubicBezTo>
                  <a:cubicBezTo>
                    <a:pt x="127" y="21"/>
                    <a:pt x="127" y="21"/>
                    <a:pt x="127" y="21"/>
                  </a:cubicBezTo>
                  <a:cubicBezTo>
                    <a:pt x="125" y="18"/>
                    <a:pt x="125" y="18"/>
                    <a:pt x="125" y="18"/>
                  </a:cubicBezTo>
                  <a:cubicBezTo>
                    <a:pt x="123" y="17"/>
                    <a:pt x="123" y="17"/>
                    <a:pt x="123" y="17"/>
                  </a:cubicBezTo>
                  <a:cubicBezTo>
                    <a:pt x="121" y="15"/>
                    <a:pt x="121" y="15"/>
                    <a:pt x="121" y="15"/>
                  </a:cubicBezTo>
                  <a:cubicBezTo>
                    <a:pt x="118" y="14"/>
                    <a:pt x="118" y="14"/>
                    <a:pt x="118" y="14"/>
                  </a:cubicBezTo>
                  <a:cubicBezTo>
                    <a:pt x="116" y="11"/>
                    <a:pt x="116" y="11"/>
                    <a:pt x="116" y="11"/>
                  </a:cubicBezTo>
                  <a:cubicBezTo>
                    <a:pt x="112" y="11"/>
                    <a:pt x="112" y="11"/>
                    <a:pt x="112" y="11"/>
                  </a:cubicBezTo>
                  <a:cubicBezTo>
                    <a:pt x="109" y="9"/>
                    <a:pt x="109" y="9"/>
                    <a:pt x="109" y="9"/>
                  </a:cubicBezTo>
                  <a:cubicBezTo>
                    <a:pt x="109" y="8"/>
                    <a:pt x="109" y="8"/>
                    <a:pt x="109" y="8"/>
                  </a:cubicBezTo>
                  <a:cubicBezTo>
                    <a:pt x="106" y="8"/>
                    <a:pt x="106" y="8"/>
                    <a:pt x="106" y="8"/>
                  </a:cubicBezTo>
                  <a:cubicBezTo>
                    <a:pt x="103" y="8"/>
                    <a:pt x="103" y="8"/>
                    <a:pt x="103" y="8"/>
                  </a:cubicBezTo>
                  <a:cubicBezTo>
                    <a:pt x="97" y="10"/>
                    <a:pt x="97" y="10"/>
                    <a:pt x="97" y="10"/>
                  </a:cubicBezTo>
                  <a:cubicBezTo>
                    <a:pt x="94" y="8"/>
                    <a:pt x="94" y="8"/>
                    <a:pt x="94" y="8"/>
                  </a:cubicBezTo>
                  <a:cubicBezTo>
                    <a:pt x="94" y="7"/>
                    <a:pt x="94" y="7"/>
                    <a:pt x="94" y="7"/>
                  </a:cubicBezTo>
                  <a:cubicBezTo>
                    <a:pt x="90" y="4"/>
                    <a:pt x="90" y="4"/>
                    <a:pt x="90" y="4"/>
                  </a:cubicBezTo>
                  <a:cubicBezTo>
                    <a:pt x="88" y="0"/>
                    <a:pt x="88" y="0"/>
                    <a:pt x="88" y="0"/>
                  </a:cubicBezTo>
                  <a:cubicBezTo>
                    <a:pt x="88" y="0"/>
                    <a:pt x="85" y="2"/>
                    <a:pt x="85" y="2"/>
                  </a:cubicBezTo>
                  <a:cubicBezTo>
                    <a:pt x="84" y="2"/>
                    <a:pt x="82" y="7"/>
                    <a:pt x="82" y="7"/>
                  </a:cubicBezTo>
                  <a:cubicBezTo>
                    <a:pt x="81" y="9"/>
                    <a:pt x="81" y="9"/>
                    <a:pt x="81" y="9"/>
                  </a:cubicBezTo>
                  <a:cubicBezTo>
                    <a:pt x="77" y="8"/>
                    <a:pt x="77" y="8"/>
                    <a:pt x="77" y="8"/>
                  </a:cubicBezTo>
                  <a:cubicBezTo>
                    <a:pt x="77" y="8"/>
                    <a:pt x="74" y="11"/>
                    <a:pt x="74" y="11"/>
                  </a:cubicBezTo>
                  <a:cubicBezTo>
                    <a:pt x="73" y="12"/>
                    <a:pt x="70" y="10"/>
                    <a:pt x="70" y="10"/>
                  </a:cubicBezTo>
                  <a:cubicBezTo>
                    <a:pt x="65" y="10"/>
                    <a:pt x="65" y="10"/>
                    <a:pt x="65" y="10"/>
                  </a:cubicBezTo>
                  <a:cubicBezTo>
                    <a:pt x="65" y="10"/>
                    <a:pt x="60" y="10"/>
                    <a:pt x="60" y="10"/>
                  </a:cubicBezTo>
                  <a:cubicBezTo>
                    <a:pt x="59" y="9"/>
                    <a:pt x="59" y="11"/>
                    <a:pt x="59" y="11"/>
                  </a:cubicBezTo>
                  <a:cubicBezTo>
                    <a:pt x="55" y="11"/>
                    <a:pt x="55" y="11"/>
                    <a:pt x="55" y="11"/>
                  </a:cubicBezTo>
                  <a:cubicBezTo>
                    <a:pt x="50" y="11"/>
                    <a:pt x="50" y="11"/>
                    <a:pt x="50" y="11"/>
                  </a:cubicBezTo>
                  <a:cubicBezTo>
                    <a:pt x="50" y="11"/>
                    <a:pt x="49" y="15"/>
                    <a:pt x="48" y="16"/>
                  </a:cubicBezTo>
                  <a:cubicBezTo>
                    <a:pt x="47" y="16"/>
                    <a:pt x="45" y="13"/>
                    <a:pt x="44" y="12"/>
                  </a:cubicBezTo>
                  <a:cubicBezTo>
                    <a:pt x="44" y="12"/>
                    <a:pt x="42" y="11"/>
                    <a:pt x="42" y="11"/>
                  </a:cubicBezTo>
                  <a:cubicBezTo>
                    <a:pt x="39" y="13"/>
                    <a:pt x="39" y="13"/>
                    <a:pt x="39" y="13"/>
                  </a:cubicBezTo>
                  <a:cubicBezTo>
                    <a:pt x="39" y="13"/>
                    <a:pt x="33" y="14"/>
                    <a:pt x="32" y="14"/>
                  </a:cubicBezTo>
                  <a:cubicBezTo>
                    <a:pt x="32" y="14"/>
                    <a:pt x="27" y="15"/>
                    <a:pt x="27" y="15"/>
                  </a:cubicBezTo>
                  <a:cubicBezTo>
                    <a:pt x="22" y="15"/>
                    <a:pt x="22" y="15"/>
                    <a:pt x="22" y="15"/>
                  </a:cubicBezTo>
                  <a:cubicBezTo>
                    <a:pt x="20" y="18"/>
                    <a:pt x="20" y="18"/>
                    <a:pt x="20" y="18"/>
                  </a:cubicBezTo>
                  <a:cubicBezTo>
                    <a:pt x="15" y="21"/>
                    <a:pt x="15" y="21"/>
                    <a:pt x="15" y="21"/>
                  </a:cubicBezTo>
                  <a:cubicBezTo>
                    <a:pt x="12" y="21"/>
                    <a:pt x="12" y="21"/>
                    <a:pt x="12" y="21"/>
                  </a:cubicBezTo>
                  <a:cubicBezTo>
                    <a:pt x="10" y="24"/>
                    <a:pt x="10" y="24"/>
                    <a:pt x="10" y="24"/>
                  </a:cubicBezTo>
                  <a:cubicBezTo>
                    <a:pt x="7" y="26"/>
                    <a:pt x="7" y="26"/>
                    <a:pt x="7" y="26"/>
                  </a:cubicBezTo>
                  <a:cubicBezTo>
                    <a:pt x="5" y="28"/>
                    <a:pt x="5" y="28"/>
                    <a:pt x="5" y="28"/>
                  </a:cubicBezTo>
                  <a:cubicBezTo>
                    <a:pt x="5" y="32"/>
                    <a:pt x="5" y="32"/>
                    <a:pt x="5" y="32"/>
                  </a:cubicBezTo>
                  <a:cubicBezTo>
                    <a:pt x="5" y="32"/>
                    <a:pt x="3" y="33"/>
                    <a:pt x="1" y="34"/>
                  </a:cubicBezTo>
                  <a:cubicBezTo>
                    <a:pt x="0" y="34"/>
                    <a:pt x="2" y="35"/>
                    <a:pt x="2" y="35"/>
                  </a:cubicBezTo>
                  <a:cubicBezTo>
                    <a:pt x="1" y="39"/>
                    <a:pt x="1" y="39"/>
                    <a:pt x="1" y="39"/>
                  </a:cubicBezTo>
                  <a:cubicBezTo>
                    <a:pt x="3" y="43"/>
                    <a:pt x="3" y="43"/>
                    <a:pt x="3" y="43"/>
                  </a:cubicBezTo>
                  <a:cubicBezTo>
                    <a:pt x="4" y="48"/>
                    <a:pt x="4" y="48"/>
                    <a:pt x="4" y="48"/>
                  </a:cubicBezTo>
                  <a:cubicBezTo>
                    <a:pt x="5" y="51"/>
                    <a:pt x="5" y="51"/>
                    <a:pt x="5" y="51"/>
                  </a:cubicBezTo>
                  <a:cubicBezTo>
                    <a:pt x="9" y="55"/>
                    <a:pt x="9" y="55"/>
                    <a:pt x="9" y="55"/>
                  </a:cubicBezTo>
                  <a:cubicBezTo>
                    <a:pt x="10" y="59"/>
                    <a:pt x="10" y="59"/>
                    <a:pt x="10" y="59"/>
                  </a:cubicBezTo>
                  <a:cubicBezTo>
                    <a:pt x="11" y="63"/>
                    <a:pt x="11" y="63"/>
                    <a:pt x="11" y="63"/>
                  </a:cubicBezTo>
                  <a:cubicBezTo>
                    <a:pt x="12" y="64"/>
                    <a:pt x="12" y="64"/>
                    <a:pt x="12" y="64"/>
                  </a:cubicBezTo>
                  <a:cubicBezTo>
                    <a:pt x="13" y="64"/>
                    <a:pt x="13" y="64"/>
                    <a:pt x="13" y="64"/>
                  </a:cubicBezTo>
                  <a:cubicBezTo>
                    <a:pt x="13" y="64"/>
                    <a:pt x="13" y="64"/>
                    <a:pt x="13" y="64"/>
                  </a:cubicBezTo>
                  <a:cubicBezTo>
                    <a:pt x="14" y="64"/>
                    <a:pt x="14" y="64"/>
                    <a:pt x="14" y="64"/>
                  </a:cubicBezTo>
                  <a:cubicBezTo>
                    <a:pt x="14" y="64"/>
                    <a:pt x="14" y="64"/>
                    <a:pt x="15" y="64"/>
                  </a:cubicBezTo>
                  <a:cubicBezTo>
                    <a:pt x="16" y="64"/>
                    <a:pt x="16" y="64"/>
                    <a:pt x="16" y="64"/>
                  </a:cubicBezTo>
                  <a:cubicBezTo>
                    <a:pt x="16" y="65"/>
                    <a:pt x="16" y="65"/>
                    <a:pt x="16" y="65"/>
                  </a:cubicBezTo>
                  <a:cubicBezTo>
                    <a:pt x="19" y="67"/>
                    <a:pt x="19" y="67"/>
                    <a:pt x="19" y="67"/>
                  </a:cubicBezTo>
                  <a:cubicBezTo>
                    <a:pt x="21" y="67"/>
                    <a:pt x="21" y="67"/>
                    <a:pt x="21" y="67"/>
                  </a:cubicBezTo>
                  <a:cubicBezTo>
                    <a:pt x="26" y="70"/>
                    <a:pt x="26" y="70"/>
                    <a:pt x="26" y="70"/>
                  </a:cubicBezTo>
                  <a:cubicBezTo>
                    <a:pt x="34" y="71"/>
                    <a:pt x="34" y="71"/>
                    <a:pt x="34" y="71"/>
                  </a:cubicBezTo>
                  <a:cubicBezTo>
                    <a:pt x="35" y="69"/>
                    <a:pt x="35" y="69"/>
                    <a:pt x="35" y="69"/>
                  </a:cubicBezTo>
                  <a:cubicBezTo>
                    <a:pt x="39" y="68"/>
                    <a:pt x="39" y="68"/>
                    <a:pt x="39" y="68"/>
                  </a:cubicBezTo>
                  <a:cubicBezTo>
                    <a:pt x="46" y="66"/>
                    <a:pt x="46" y="66"/>
                    <a:pt x="46" y="66"/>
                  </a:cubicBezTo>
                  <a:cubicBezTo>
                    <a:pt x="49" y="70"/>
                    <a:pt x="49" y="70"/>
                    <a:pt x="49" y="70"/>
                  </a:cubicBezTo>
                  <a:cubicBezTo>
                    <a:pt x="50" y="70"/>
                    <a:pt x="50" y="70"/>
                    <a:pt x="50" y="70"/>
                  </a:cubicBezTo>
                  <a:cubicBezTo>
                    <a:pt x="50" y="70"/>
                    <a:pt x="50" y="70"/>
                    <a:pt x="50" y="70"/>
                  </a:cubicBezTo>
                  <a:cubicBezTo>
                    <a:pt x="51" y="71"/>
                    <a:pt x="53" y="73"/>
                    <a:pt x="54" y="74"/>
                  </a:cubicBezTo>
                  <a:cubicBezTo>
                    <a:pt x="55" y="75"/>
                    <a:pt x="56" y="76"/>
                    <a:pt x="56" y="76"/>
                  </a:cubicBezTo>
                  <a:cubicBezTo>
                    <a:pt x="56" y="76"/>
                    <a:pt x="56" y="76"/>
                    <a:pt x="56" y="76"/>
                  </a:cubicBezTo>
                  <a:cubicBezTo>
                    <a:pt x="57" y="77"/>
                    <a:pt x="57" y="77"/>
                    <a:pt x="57" y="77"/>
                  </a:cubicBezTo>
                  <a:cubicBezTo>
                    <a:pt x="55" y="83"/>
                    <a:pt x="55" y="83"/>
                    <a:pt x="55" y="83"/>
                  </a:cubicBezTo>
                  <a:cubicBezTo>
                    <a:pt x="56" y="86"/>
                    <a:pt x="56" y="86"/>
                    <a:pt x="56" y="86"/>
                  </a:cubicBezTo>
                  <a:cubicBezTo>
                    <a:pt x="55" y="93"/>
                    <a:pt x="55" y="93"/>
                    <a:pt x="55" y="93"/>
                  </a:cubicBezTo>
                  <a:cubicBezTo>
                    <a:pt x="57" y="95"/>
                    <a:pt x="57" y="95"/>
                    <a:pt x="57" y="95"/>
                  </a:cubicBezTo>
                  <a:cubicBezTo>
                    <a:pt x="57" y="95"/>
                    <a:pt x="57" y="95"/>
                    <a:pt x="57" y="95"/>
                  </a:cubicBezTo>
                  <a:cubicBezTo>
                    <a:pt x="57" y="95"/>
                    <a:pt x="57" y="95"/>
                    <a:pt x="57" y="95"/>
                  </a:cubicBezTo>
                  <a:cubicBezTo>
                    <a:pt x="58" y="95"/>
                    <a:pt x="58" y="95"/>
                    <a:pt x="58" y="95"/>
                  </a:cubicBezTo>
                  <a:cubicBezTo>
                    <a:pt x="59" y="94"/>
                    <a:pt x="59" y="94"/>
                    <a:pt x="60" y="93"/>
                  </a:cubicBezTo>
                  <a:cubicBezTo>
                    <a:pt x="60" y="93"/>
                    <a:pt x="60" y="93"/>
                    <a:pt x="60" y="93"/>
                  </a:cubicBezTo>
                  <a:cubicBezTo>
                    <a:pt x="60" y="93"/>
                    <a:pt x="60" y="93"/>
                    <a:pt x="60" y="93"/>
                  </a:cubicBezTo>
                  <a:cubicBezTo>
                    <a:pt x="61" y="93"/>
                    <a:pt x="61" y="93"/>
                    <a:pt x="61" y="93"/>
                  </a:cubicBezTo>
                  <a:cubicBezTo>
                    <a:pt x="61" y="93"/>
                    <a:pt x="61" y="93"/>
                    <a:pt x="61" y="93"/>
                  </a:cubicBezTo>
                  <a:cubicBezTo>
                    <a:pt x="62" y="93"/>
                    <a:pt x="63" y="94"/>
                    <a:pt x="63" y="94"/>
                  </a:cubicBezTo>
                  <a:cubicBezTo>
                    <a:pt x="64" y="95"/>
                    <a:pt x="64" y="95"/>
                    <a:pt x="64" y="95"/>
                  </a:cubicBezTo>
                  <a:cubicBezTo>
                    <a:pt x="64" y="95"/>
                    <a:pt x="64" y="95"/>
                    <a:pt x="64" y="95"/>
                  </a:cubicBezTo>
                  <a:cubicBezTo>
                    <a:pt x="64" y="96"/>
                    <a:pt x="64" y="96"/>
                    <a:pt x="65" y="97"/>
                  </a:cubicBezTo>
                  <a:cubicBezTo>
                    <a:pt x="65" y="97"/>
                    <a:pt x="65" y="97"/>
                    <a:pt x="65" y="97"/>
                  </a:cubicBezTo>
                  <a:cubicBezTo>
                    <a:pt x="65" y="97"/>
                    <a:pt x="65" y="97"/>
                    <a:pt x="65" y="97"/>
                  </a:cubicBezTo>
                  <a:cubicBezTo>
                    <a:pt x="66" y="97"/>
                    <a:pt x="67" y="97"/>
                    <a:pt x="69" y="97"/>
                  </a:cubicBezTo>
                  <a:cubicBezTo>
                    <a:pt x="72" y="97"/>
                    <a:pt x="74" y="97"/>
                    <a:pt x="75" y="99"/>
                  </a:cubicBezTo>
                  <a:cubicBezTo>
                    <a:pt x="75" y="100"/>
                    <a:pt x="75" y="101"/>
                    <a:pt x="76" y="103"/>
                  </a:cubicBezTo>
                  <a:lnTo>
                    <a:pt x="79" y="106"/>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9"/>
            <p:cNvSpPr>
              <a:spLocks/>
            </p:cNvSpPr>
            <p:nvPr/>
          </p:nvSpPr>
          <p:spPr bwMode="auto">
            <a:xfrm>
              <a:off x="8742064" y="4666056"/>
              <a:ext cx="40436" cy="5446"/>
            </a:xfrm>
            <a:custGeom>
              <a:avLst/>
              <a:gdLst>
                <a:gd name="T0" fmla="*/ 12 w 14"/>
                <a:gd name="T1" fmla="*/ 2 h 2"/>
                <a:gd name="T2" fmla="*/ 12 w 14"/>
                <a:gd name="T3" fmla="*/ 2 h 2"/>
                <a:gd name="T4" fmla="*/ 12 w 14"/>
                <a:gd name="T5" fmla="*/ 2 h 2"/>
                <a:gd name="T6" fmla="*/ 12 w 14"/>
                <a:gd name="T7" fmla="*/ 2 h 2"/>
                <a:gd name="T8" fmla="*/ 13 w 14"/>
                <a:gd name="T9" fmla="*/ 2 h 2"/>
                <a:gd name="T10" fmla="*/ 13 w 14"/>
                <a:gd name="T11" fmla="*/ 2 h 2"/>
                <a:gd name="T12" fmla="*/ 13 w 14"/>
                <a:gd name="T13" fmla="*/ 1 h 2"/>
                <a:gd name="T14" fmla="*/ 13 w 14"/>
                <a:gd name="T15" fmla="*/ 1 h 2"/>
                <a:gd name="T16" fmla="*/ 13 w 14"/>
                <a:gd name="T17" fmla="*/ 1 h 2"/>
                <a:gd name="T18" fmla="*/ 13 w 14"/>
                <a:gd name="T19" fmla="*/ 1 h 2"/>
                <a:gd name="T20" fmla="*/ 13 w 14"/>
                <a:gd name="T21" fmla="*/ 1 h 2"/>
                <a:gd name="T22" fmla="*/ 13 w 14"/>
                <a:gd name="T23" fmla="*/ 1 h 2"/>
                <a:gd name="T24" fmla="*/ 13 w 14"/>
                <a:gd name="T25" fmla="*/ 1 h 2"/>
                <a:gd name="T26" fmla="*/ 13 w 14"/>
                <a:gd name="T27" fmla="*/ 1 h 2"/>
                <a:gd name="T28" fmla="*/ 13 w 14"/>
                <a:gd name="T29" fmla="*/ 1 h 2"/>
                <a:gd name="T30" fmla="*/ 13 w 14"/>
                <a:gd name="T31" fmla="*/ 1 h 2"/>
                <a:gd name="T32" fmla="*/ 13 w 14"/>
                <a:gd name="T33" fmla="*/ 1 h 2"/>
                <a:gd name="T34" fmla="*/ 13 w 14"/>
                <a:gd name="T35" fmla="*/ 1 h 2"/>
                <a:gd name="T36" fmla="*/ 13 w 14"/>
                <a:gd name="T37" fmla="*/ 1 h 2"/>
                <a:gd name="T38" fmla="*/ 13 w 14"/>
                <a:gd name="T39" fmla="*/ 1 h 2"/>
                <a:gd name="T40" fmla="*/ 13 w 14"/>
                <a:gd name="T41" fmla="*/ 1 h 2"/>
                <a:gd name="T42" fmla="*/ 13 w 14"/>
                <a:gd name="T43" fmla="*/ 1 h 2"/>
                <a:gd name="T44" fmla="*/ 13 w 14"/>
                <a:gd name="T45" fmla="*/ 1 h 2"/>
                <a:gd name="T46" fmla="*/ 14 w 14"/>
                <a:gd name="T47" fmla="*/ 1 h 2"/>
                <a:gd name="T48" fmla="*/ 14 w 14"/>
                <a:gd name="T49" fmla="*/ 1 h 2"/>
                <a:gd name="T50" fmla="*/ 14 w 14"/>
                <a:gd name="T51" fmla="*/ 1 h 2"/>
                <a:gd name="T52" fmla="*/ 14 w 14"/>
                <a:gd name="T53" fmla="*/ 1 h 2"/>
                <a:gd name="T54" fmla="*/ 0 w 14"/>
                <a:gd name="T55" fmla="*/ 0 h 2"/>
                <a:gd name="T56" fmla="*/ 0 w 14"/>
                <a:gd name="T57" fmla="*/ 1 h 2"/>
                <a:gd name="T58" fmla="*/ 12 w 14"/>
                <a:gd name="T5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 h="2">
                  <a:moveTo>
                    <a:pt x="12" y="2"/>
                  </a:moveTo>
                  <a:cubicBezTo>
                    <a:pt x="12" y="2"/>
                    <a:pt x="12" y="2"/>
                    <a:pt x="12" y="2"/>
                  </a:cubicBezTo>
                  <a:cubicBezTo>
                    <a:pt x="12" y="2"/>
                    <a:pt x="12" y="2"/>
                    <a:pt x="12" y="2"/>
                  </a:cubicBezTo>
                  <a:cubicBezTo>
                    <a:pt x="12" y="2"/>
                    <a:pt x="12" y="2"/>
                    <a:pt x="12" y="2"/>
                  </a:cubicBezTo>
                  <a:cubicBezTo>
                    <a:pt x="13" y="2"/>
                    <a:pt x="13" y="2"/>
                    <a:pt x="13" y="2"/>
                  </a:cubicBezTo>
                  <a:cubicBezTo>
                    <a:pt x="13" y="2"/>
                    <a:pt x="13" y="2"/>
                    <a:pt x="13" y="2"/>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4" y="1"/>
                    <a:pt x="14" y="1"/>
                    <a:pt x="14" y="1"/>
                  </a:cubicBezTo>
                  <a:cubicBezTo>
                    <a:pt x="14" y="1"/>
                    <a:pt x="14" y="1"/>
                    <a:pt x="14" y="1"/>
                  </a:cubicBezTo>
                  <a:cubicBezTo>
                    <a:pt x="14" y="1"/>
                    <a:pt x="14" y="1"/>
                    <a:pt x="14" y="1"/>
                  </a:cubicBezTo>
                  <a:cubicBezTo>
                    <a:pt x="14" y="1"/>
                    <a:pt x="14" y="1"/>
                    <a:pt x="14" y="1"/>
                  </a:cubicBezTo>
                  <a:cubicBezTo>
                    <a:pt x="0" y="0"/>
                    <a:pt x="0" y="0"/>
                    <a:pt x="0" y="0"/>
                  </a:cubicBezTo>
                  <a:cubicBezTo>
                    <a:pt x="0" y="1"/>
                    <a:pt x="0" y="1"/>
                    <a:pt x="0" y="1"/>
                  </a:cubicBezTo>
                  <a:cubicBezTo>
                    <a:pt x="0" y="1"/>
                    <a:pt x="9" y="2"/>
                    <a:pt x="12" y="2"/>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10"/>
            <p:cNvSpPr>
              <a:spLocks/>
            </p:cNvSpPr>
            <p:nvPr/>
          </p:nvSpPr>
          <p:spPr bwMode="auto">
            <a:xfrm>
              <a:off x="6997535" y="4704181"/>
              <a:ext cx="1848507" cy="936780"/>
            </a:xfrm>
            <a:custGeom>
              <a:avLst/>
              <a:gdLst>
                <a:gd name="T0" fmla="*/ 608 w 638"/>
                <a:gd name="T1" fmla="*/ 105 h 343"/>
                <a:gd name="T2" fmla="*/ 576 w 638"/>
                <a:gd name="T3" fmla="*/ 69 h 343"/>
                <a:gd name="T4" fmla="*/ 578 w 638"/>
                <a:gd name="T5" fmla="*/ 46 h 343"/>
                <a:gd name="T6" fmla="*/ 553 w 638"/>
                <a:gd name="T7" fmla="*/ 49 h 343"/>
                <a:gd name="T8" fmla="*/ 544 w 638"/>
                <a:gd name="T9" fmla="*/ 36 h 343"/>
                <a:gd name="T10" fmla="*/ 541 w 638"/>
                <a:gd name="T11" fmla="*/ 15 h 343"/>
                <a:gd name="T12" fmla="*/ 523 w 638"/>
                <a:gd name="T13" fmla="*/ 11 h 343"/>
                <a:gd name="T14" fmla="*/ 501 w 638"/>
                <a:gd name="T15" fmla="*/ 6 h 343"/>
                <a:gd name="T16" fmla="*/ 465 w 638"/>
                <a:gd name="T17" fmla="*/ 12 h 343"/>
                <a:gd name="T18" fmla="*/ 448 w 638"/>
                <a:gd name="T19" fmla="*/ 35 h 343"/>
                <a:gd name="T20" fmla="*/ 426 w 638"/>
                <a:gd name="T21" fmla="*/ 49 h 343"/>
                <a:gd name="T22" fmla="*/ 401 w 638"/>
                <a:gd name="T23" fmla="*/ 56 h 343"/>
                <a:gd name="T24" fmla="*/ 378 w 638"/>
                <a:gd name="T25" fmla="*/ 69 h 343"/>
                <a:gd name="T26" fmla="*/ 355 w 638"/>
                <a:gd name="T27" fmla="*/ 68 h 343"/>
                <a:gd name="T28" fmla="*/ 330 w 638"/>
                <a:gd name="T29" fmla="*/ 68 h 343"/>
                <a:gd name="T30" fmla="*/ 304 w 638"/>
                <a:gd name="T31" fmla="*/ 66 h 343"/>
                <a:gd name="T32" fmla="*/ 274 w 638"/>
                <a:gd name="T33" fmla="*/ 64 h 343"/>
                <a:gd name="T34" fmla="*/ 240 w 638"/>
                <a:gd name="T35" fmla="*/ 66 h 343"/>
                <a:gd name="T36" fmla="*/ 178 w 638"/>
                <a:gd name="T37" fmla="*/ 99 h 343"/>
                <a:gd name="T38" fmla="*/ 162 w 638"/>
                <a:gd name="T39" fmla="*/ 125 h 343"/>
                <a:gd name="T40" fmla="*/ 107 w 638"/>
                <a:gd name="T41" fmla="*/ 130 h 343"/>
                <a:gd name="T42" fmla="*/ 64 w 638"/>
                <a:gd name="T43" fmla="*/ 124 h 343"/>
                <a:gd name="T44" fmla="*/ 45 w 638"/>
                <a:gd name="T45" fmla="*/ 109 h 343"/>
                <a:gd name="T46" fmla="*/ 18 w 638"/>
                <a:gd name="T47" fmla="*/ 115 h 343"/>
                <a:gd name="T48" fmla="*/ 1 w 638"/>
                <a:gd name="T49" fmla="*/ 129 h 343"/>
                <a:gd name="T50" fmla="*/ 8 w 638"/>
                <a:gd name="T51" fmla="*/ 131 h 343"/>
                <a:gd name="T52" fmla="*/ 19 w 638"/>
                <a:gd name="T53" fmla="*/ 147 h 343"/>
                <a:gd name="T54" fmla="*/ 10 w 638"/>
                <a:gd name="T55" fmla="*/ 173 h 343"/>
                <a:gd name="T56" fmla="*/ 8 w 638"/>
                <a:gd name="T57" fmla="*/ 180 h 343"/>
                <a:gd name="T58" fmla="*/ 18 w 638"/>
                <a:gd name="T59" fmla="*/ 184 h 343"/>
                <a:gd name="T60" fmla="*/ 11 w 638"/>
                <a:gd name="T61" fmla="*/ 204 h 343"/>
                <a:gd name="T62" fmla="*/ 24 w 638"/>
                <a:gd name="T63" fmla="*/ 184 h 343"/>
                <a:gd name="T64" fmla="*/ 54 w 638"/>
                <a:gd name="T65" fmla="*/ 150 h 343"/>
                <a:gd name="T66" fmla="*/ 103 w 638"/>
                <a:gd name="T67" fmla="*/ 143 h 343"/>
                <a:gd name="T68" fmla="*/ 107 w 638"/>
                <a:gd name="T69" fmla="*/ 151 h 343"/>
                <a:gd name="T70" fmla="*/ 104 w 638"/>
                <a:gd name="T71" fmla="*/ 162 h 343"/>
                <a:gd name="T72" fmla="*/ 73 w 638"/>
                <a:gd name="T73" fmla="*/ 173 h 343"/>
                <a:gd name="T74" fmla="*/ 60 w 638"/>
                <a:gd name="T75" fmla="*/ 170 h 343"/>
                <a:gd name="T76" fmla="*/ 46 w 638"/>
                <a:gd name="T77" fmla="*/ 178 h 343"/>
                <a:gd name="T78" fmla="*/ 27 w 638"/>
                <a:gd name="T79" fmla="*/ 184 h 343"/>
                <a:gd name="T80" fmla="*/ 15 w 638"/>
                <a:gd name="T81" fmla="*/ 209 h 343"/>
                <a:gd name="T82" fmla="*/ 23 w 638"/>
                <a:gd name="T83" fmla="*/ 228 h 343"/>
                <a:gd name="T84" fmla="*/ 38 w 638"/>
                <a:gd name="T85" fmla="*/ 230 h 343"/>
                <a:gd name="T86" fmla="*/ 48 w 638"/>
                <a:gd name="T87" fmla="*/ 248 h 343"/>
                <a:gd name="T88" fmla="*/ 46 w 638"/>
                <a:gd name="T89" fmla="*/ 260 h 343"/>
                <a:gd name="T90" fmla="*/ 46 w 638"/>
                <a:gd name="T91" fmla="*/ 267 h 343"/>
                <a:gd name="T92" fmla="*/ 39 w 638"/>
                <a:gd name="T93" fmla="*/ 271 h 343"/>
                <a:gd name="T94" fmla="*/ 46 w 638"/>
                <a:gd name="T95" fmla="*/ 284 h 343"/>
                <a:gd name="T96" fmla="*/ 71 w 638"/>
                <a:gd name="T97" fmla="*/ 285 h 343"/>
                <a:gd name="T98" fmla="*/ 69 w 638"/>
                <a:gd name="T99" fmla="*/ 300 h 343"/>
                <a:gd name="T100" fmla="*/ 80 w 638"/>
                <a:gd name="T101" fmla="*/ 321 h 343"/>
                <a:gd name="T102" fmla="*/ 103 w 638"/>
                <a:gd name="T103" fmla="*/ 331 h 343"/>
                <a:gd name="T104" fmla="*/ 142 w 638"/>
                <a:gd name="T105" fmla="*/ 335 h 343"/>
                <a:gd name="T106" fmla="*/ 209 w 638"/>
                <a:gd name="T107" fmla="*/ 303 h 343"/>
                <a:gd name="T108" fmla="*/ 300 w 638"/>
                <a:gd name="T109" fmla="*/ 302 h 343"/>
                <a:gd name="T110" fmla="*/ 352 w 638"/>
                <a:gd name="T111" fmla="*/ 267 h 343"/>
                <a:gd name="T112" fmla="*/ 379 w 638"/>
                <a:gd name="T113" fmla="*/ 299 h 343"/>
                <a:gd name="T114" fmla="*/ 400 w 638"/>
                <a:gd name="T115" fmla="*/ 256 h 343"/>
                <a:gd name="T116" fmla="*/ 504 w 638"/>
                <a:gd name="T117" fmla="*/ 205 h 343"/>
                <a:gd name="T118" fmla="*/ 562 w 638"/>
                <a:gd name="T119" fmla="*/ 178 h 343"/>
                <a:gd name="T120" fmla="*/ 619 w 638"/>
                <a:gd name="T121" fmla="*/ 15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38" h="343">
                  <a:moveTo>
                    <a:pt x="636" y="140"/>
                  </a:moveTo>
                  <a:cubicBezTo>
                    <a:pt x="632" y="139"/>
                    <a:pt x="626" y="140"/>
                    <a:pt x="626" y="138"/>
                  </a:cubicBezTo>
                  <a:cubicBezTo>
                    <a:pt x="629" y="133"/>
                    <a:pt x="621" y="135"/>
                    <a:pt x="623" y="132"/>
                  </a:cubicBezTo>
                  <a:cubicBezTo>
                    <a:pt x="624" y="128"/>
                    <a:pt x="619" y="126"/>
                    <a:pt x="620" y="125"/>
                  </a:cubicBezTo>
                  <a:cubicBezTo>
                    <a:pt x="619" y="124"/>
                    <a:pt x="608" y="126"/>
                    <a:pt x="607" y="123"/>
                  </a:cubicBezTo>
                  <a:cubicBezTo>
                    <a:pt x="605" y="111"/>
                    <a:pt x="606" y="118"/>
                    <a:pt x="607" y="109"/>
                  </a:cubicBezTo>
                  <a:cubicBezTo>
                    <a:pt x="607" y="106"/>
                    <a:pt x="607" y="105"/>
                    <a:pt x="608" y="105"/>
                  </a:cubicBezTo>
                  <a:cubicBezTo>
                    <a:pt x="608" y="105"/>
                    <a:pt x="607" y="105"/>
                    <a:pt x="607" y="104"/>
                  </a:cubicBezTo>
                  <a:cubicBezTo>
                    <a:pt x="601" y="103"/>
                    <a:pt x="601" y="103"/>
                    <a:pt x="601" y="103"/>
                  </a:cubicBezTo>
                  <a:cubicBezTo>
                    <a:pt x="596" y="92"/>
                    <a:pt x="596" y="92"/>
                    <a:pt x="596" y="92"/>
                  </a:cubicBezTo>
                  <a:cubicBezTo>
                    <a:pt x="589" y="84"/>
                    <a:pt x="589" y="84"/>
                    <a:pt x="589" y="84"/>
                  </a:cubicBezTo>
                  <a:cubicBezTo>
                    <a:pt x="586" y="75"/>
                    <a:pt x="586" y="75"/>
                    <a:pt x="586" y="75"/>
                  </a:cubicBezTo>
                  <a:cubicBezTo>
                    <a:pt x="581" y="74"/>
                    <a:pt x="581" y="74"/>
                    <a:pt x="581" y="74"/>
                  </a:cubicBezTo>
                  <a:cubicBezTo>
                    <a:pt x="576" y="69"/>
                    <a:pt x="576" y="69"/>
                    <a:pt x="576" y="69"/>
                  </a:cubicBezTo>
                  <a:cubicBezTo>
                    <a:pt x="576" y="67"/>
                    <a:pt x="576" y="67"/>
                    <a:pt x="576" y="67"/>
                  </a:cubicBezTo>
                  <a:cubicBezTo>
                    <a:pt x="584" y="63"/>
                    <a:pt x="584" y="63"/>
                    <a:pt x="584" y="63"/>
                  </a:cubicBezTo>
                  <a:cubicBezTo>
                    <a:pt x="584" y="63"/>
                    <a:pt x="587" y="60"/>
                    <a:pt x="587" y="58"/>
                  </a:cubicBezTo>
                  <a:cubicBezTo>
                    <a:pt x="586" y="57"/>
                    <a:pt x="584" y="55"/>
                    <a:pt x="583" y="54"/>
                  </a:cubicBezTo>
                  <a:cubicBezTo>
                    <a:pt x="583" y="54"/>
                    <a:pt x="584" y="52"/>
                    <a:pt x="584" y="50"/>
                  </a:cubicBezTo>
                  <a:cubicBezTo>
                    <a:pt x="584" y="49"/>
                    <a:pt x="582" y="48"/>
                    <a:pt x="582" y="48"/>
                  </a:cubicBezTo>
                  <a:cubicBezTo>
                    <a:pt x="582" y="48"/>
                    <a:pt x="579" y="46"/>
                    <a:pt x="578" y="46"/>
                  </a:cubicBezTo>
                  <a:cubicBezTo>
                    <a:pt x="577" y="46"/>
                    <a:pt x="575" y="46"/>
                    <a:pt x="574" y="46"/>
                  </a:cubicBezTo>
                  <a:cubicBezTo>
                    <a:pt x="573" y="46"/>
                    <a:pt x="569" y="46"/>
                    <a:pt x="569" y="46"/>
                  </a:cubicBezTo>
                  <a:cubicBezTo>
                    <a:pt x="565" y="48"/>
                    <a:pt x="565" y="48"/>
                    <a:pt x="565" y="48"/>
                  </a:cubicBezTo>
                  <a:cubicBezTo>
                    <a:pt x="565" y="48"/>
                    <a:pt x="564" y="49"/>
                    <a:pt x="563" y="49"/>
                  </a:cubicBezTo>
                  <a:cubicBezTo>
                    <a:pt x="561" y="49"/>
                    <a:pt x="560" y="50"/>
                    <a:pt x="560" y="50"/>
                  </a:cubicBezTo>
                  <a:cubicBezTo>
                    <a:pt x="560" y="50"/>
                    <a:pt x="557" y="49"/>
                    <a:pt x="556" y="49"/>
                  </a:cubicBezTo>
                  <a:cubicBezTo>
                    <a:pt x="555" y="49"/>
                    <a:pt x="555" y="49"/>
                    <a:pt x="553" y="49"/>
                  </a:cubicBezTo>
                  <a:cubicBezTo>
                    <a:pt x="552" y="49"/>
                    <a:pt x="548" y="49"/>
                    <a:pt x="548" y="49"/>
                  </a:cubicBezTo>
                  <a:cubicBezTo>
                    <a:pt x="550" y="46"/>
                    <a:pt x="550" y="46"/>
                    <a:pt x="550" y="46"/>
                  </a:cubicBezTo>
                  <a:cubicBezTo>
                    <a:pt x="550" y="46"/>
                    <a:pt x="551" y="45"/>
                    <a:pt x="550" y="44"/>
                  </a:cubicBezTo>
                  <a:cubicBezTo>
                    <a:pt x="550" y="44"/>
                    <a:pt x="549" y="43"/>
                    <a:pt x="548" y="42"/>
                  </a:cubicBezTo>
                  <a:cubicBezTo>
                    <a:pt x="548" y="42"/>
                    <a:pt x="546" y="41"/>
                    <a:pt x="546" y="41"/>
                  </a:cubicBezTo>
                  <a:cubicBezTo>
                    <a:pt x="546" y="41"/>
                    <a:pt x="546" y="40"/>
                    <a:pt x="545" y="39"/>
                  </a:cubicBezTo>
                  <a:cubicBezTo>
                    <a:pt x="545" y="38"/>
                    <a:pt x="544" y="36"/>
                    <a:pt x="544" y="36"/>
                  </a:cubicBezTo>
                  <a:cubicBezTo>
                    <a:pt x="543" y="35"/>
                    <a:pt x="543" y="35"/>
                    <a:pt x="543" y="35"/>
                  </a:cubicBezTo>
                  <a:cubicBezTo>
                    <a:pt x="543" y="35"/>
                    <a:pt x="541" y="33"/>
                    <a:pt x="541" y="32"/>
                  </a:cubicBezTo>
                  <a:cubicBezTo>
                    <a:pt x="542" y="30"/>
                    <a:pt x="544" y="26"/>
                    <a:pt x="544" y="26"/>
                  </a:cubicBezTo>
                  <a:cubicBezTo>
                    <a:pt x="545" y="21"/>
                    <a:pt x="545" y="21"/>
                    <a:pt x="545" y="21"/>
                  </a:cubicBezTo>
                  <a:cubicBezTo>
                    <a:pt x="544" y="19"/>
                    <a:pt x="544" y="19"/>
                    <a:pt x="544" y="19"/>
                  </a:cubicBezTo>
                  <a:cubicBezTo>
                    <a:pt x="542" y="17"/>
                    <a:pt x="542" y="17"/>
                    <a:pt x="542" y="17"/>
                  </a:cubicBezTo>
                  <a:cubicBezTo>
                    <a:pt x="542" y="17"/>
                    <a:pt x="541" y="17"/>
                    <a:pt x="541" y="15"/>
                  </a:cubicBezTo>
                  <a:cubicBezTo>
                    <a:pt x="541" y="14"/>
                    <a:pt x="540" y="14"/>
                    <a:pt x="540" y="13"/>
                  </a:cubicBezTo>
                  <a:cubicBezTo>
                    <a:pt x="540" y="13"/>
                    <a:pt x="539" y="12"/>
                    <a:pt x="539" y="12"/>
                  </a:cubicBezTo>
                  <a:cubicBezTo>
                    <a:pt x="536" y="13"/>
                    <a:pt x="536" y="13"/>
                    <a:pt x="536" y="13"/>
                  </a:cubicBezTo>
                  <a:cubicBezTo>
                    <a:pt x="532" y="11"/>
                    <a:pt x="532" y="11"/>
                    <a:pt x="532" y="11"/>
                  </a:cubicBezTo>
                  <a:cubicBezTo>
                    <a:pt x="528" y="12"/>
                    <a:pt x="528" y="12"/>
                    <a:pt x="528" y="12"/>
                  </a:cubicBezTo>
                  <a:cubicBezTo>
                    <a:pt x="523" y="12"/>
                    <a:pt x="523" y="12"/>
                    <a:pt x="523" y="12"/>
                  </a:cubicBezTo>
                  <a:cubicBezTo>
                    <a:pt x="523" y="12"/>
                    <a:pt x="523" y="12"/>
                    <a:pt x="523" y="11"/>
                  </a:cubicBezTo>
                  <a:cubicBezTo>
                    <a:pt x="522" y="10"/>
                    <a:pt x="520" y="8"/>
                    <a:pt x="520" y="8"/>
                  </a:cubicBezTo>
                  <a:cubicBezTo>
                    <a:pt x="516" y="6"/>
                    <a:pt x="516" y="6"/>
                    <a:pt x="516" y="6"/>
                  </a:cubicBezTo>
                  <a:cubicBezTo>
                    <a:pt x="512" y="3"/>
                    <a:pt x="512" y="3"/>
                    <a:pt x="512" y="3"/>
                  </a:cubicBezTo>
                  <a:cubicBezTo>
                    <a:pt x="510" y="1"/>
                    <a:pt x="510" y="1"/>
                    <a:pt x="510" y="1"/>
                  </a:cubicBezTo>
                  <a:cubicBezTo>
                    <a:pt x="510" y="1"/>
                    <a:pt x="508" y="0"/>
                    <a:pt x="506" y="0"/>
                  </a:cubicBezTo>
                  <a:cubicBezTo>
                    <a:pt x="505" y="1"/>
                    <a:pt x="500" y="3"/>
                    <a:pt x="500" y="3"/>
                  </a:cubicBezTo>
                  <a:cubicBezTo>
                    <a:pt x="501" y="6"/>
                    <a:pt x="501" y="6"/>
                    <a:pt x="501" y="6"/>
                  </a:cubicBezTo>
                  <a:cubicBezTo>
                    <a:pt x="501" y="6"/>
                    <a:pt x="500" y="7"/>
                    <a:pt x="498" y="9"/>
                  </a:cubicBezTo>
                  <a:cubicBezTo>
                    <a:pt x="496" y="10"/>
                    <a:pt x="487" y="11"/>
                    <a:pt x="487" y="11"/>
                  </a:cubicBezTo>
                  <a:cubicBezTo>
                    <a:pt x="483" y="12"/>
                    <a:pt x="483" y="12"/>
                    <a:pt x="483" y="12"/>
                  </a:cubicBezTo>
                  <a:cubicBezTo>
                    <a:pt x="479" y="13"/>
                    <a:pt x="479" y="13"/>
                    <a:pt x="479" y="13"/>
                  </a:cubicBezTo>
                  <a:cubicBezTo>
                    <a:pt x="479" y="13"/>
                    <a:pt x="472" y="16"/>
                    <a:pt x="470" y="15"/>
                  </a:cubicBezTo>
                  <a:cubicBezTo>
                    <a:pt x="468" y="15"/>
                    <a:pt x="467" y="13"/>
                    <a:pt x="466" y="12"/>
                  </a:cubicBezTo>
                  <a:cubicBezTo>
                    <a:pt x="466" y="12"/>
                    <a:pt x="465" y="12"/>
                    <a:pt x="465" y="12"/>
                  </a:cubicBezTo>
                  <a:cubicBezTo>
                    <a:pt x="462" y="12"/>
                    <a:pt x="464" y="14"/>
                    <a:pt x="463" y="16"/>
                  </a:cubicBezTo>
                  <a:cubicBezTo>
                    <a:pt x="461" y="18"/>
                    <a:pt x="462" y="19"/>
                    <a:pt x="462" y="21"/>
                  </a:cubicBezTo>
                  <a:cubicBezTo>
                    <a:pt x="461" y="22"/>
                    <a:pt x="460" y="23"/>
                    <a:pt x="459" y="25"/>
                  </a:cubicBezTo>
                  <a:cubicBezTo>
                    <a:pt x="457" y="26"/>
                    <a:pt x="456" y="27"/>
                    <a:pt x="455" y="28"/>
                  </a:cubicBezTo>
                  <a:cubicBezTo>
                    <a:pt x="453" y="29"/>
                    <a:pt x="454" y="28"/>
                    <a:pt x="454" y="30"/>
                  </a:cubicBezTo>
                  <a:cubicBezTo>
                    <a:pt x="454" y="31"/>
                    <a:pt x="452" y="32"/>
                    <a:pt x="451" y="33"/>
                  </a:cubicBezTo>
                  <a:cubicBezTo>
                    <a:pt x="450" y="33"/>
                    <a:pt x="449" y="35"/>
                    <a:pt x="448" y="35"/>
                  </a:cubicBezTo>
                  <a:cubicBezTo>
                    <a:pt x="447" y="35"/>
                    <a:pt x="447" y="37"/>
                    <a:pt x="447" y="39"/>
                  </a:cubicBezTo>
                  <a:cubicBezTo>
                    <a:pt x="447" y="40"/>
                    <a:pt x="446" y="39"/>
                    <a:pt x="445" y="40"/>
                  </a:cubicBezTo>
                  <a:cubicBezTo>
                    <a:pt x="443" y="40"/>
                    <a:pt x="443" y="41"/>
                    <a:pt x="441" y="42"/>
                  </a:cubicBezTo>
                  <a:cubicBezTo>
                    <a:pt x="439" y="43"/>
                    <a:pt x="439" y="45"/>
                    <a:pt x="439" y="45"/>
                  </a:cubicBezTo>
                  <a:cubicBezTo>
                    <a:pt x="439" y="45"/>
                    <a:pt x="437" y="48"/>
                    <a:pt x="434" y="50"/>
                  </a:cubicBezTo>
                  <a:cubicBezTo>
                    <a:pt x="431" y="52"/>
                    <a:pt x="430" y="51"/>
                    <a:pt x="430" y="51"/>
                  </a:cubicBezTo>
                  <a:cubicBezTo>
                    <a:pt x="429" y="51"/>
                    <a:pt x="427" y="50"/>
                    <a:pt x="426" y="49"/>
                  </a:cubicBezTo>
                  <a:cubicBezTo>
                    <a:pt x="425" y="49"/>
                    <a:pt x="423" y="53"/>
                    <a:pt x="421" y="53"/>
                  </a:cubicBezTo>
                  <a:cubicBezTo>
                    <a:pt x="420" y="54"/>
                    <a:pt x="415" y="53"/>
                    <a:pt x="415" y="53"/>
                  </a:cubicBezTo>
                  <a:cubicBezTo>
                    <a:pt x="408" y="52"/>
                    <a:pt x="408" y="52"/>
                    <a:pt x="408" y="52"/>
                  </a:cubicBezTo>
                  <a:cubicBezTo>
                    <a:pt x="407" y="53"/>
                    <a:pt x="407" y="53"/>
                    <a:pt x="407" y="53"/>
                  </a:cubicBezTo>
                  <a:cubicBezTo>
                    <a:pt x="404" y="54"/>
                    <a:pt x="404" y="54"/>
                    <a:pt x="404" y="54"/>
                  </a:cubicBezTo>
                  <a:cubicBezTo>
                    <a:pt x="403" y="54"/>
                    <a:pt x="403" y="54"/>
                    <a:pt x="403" y="54"/>
                  </a:cubicBezTo>
                  <a:cubicBezTo>
                    <a:pt x="403" y="54"/>
                    <a:pt x="402" y="55"/>
                    <a:pt x="401" y="56"/>
                  </a:cubicBezTo>
                  <a:cubicBezTo>
                    <a:pt x="400" y="56"/>
                    <a:pt x="399" y="58"/>
                    <a:pt x="399" y="58"/>
                  </a:cubicBezTo>
                  <a:cubicBezTo>
                    <a:pt x="399" y="58"/>
                    <a:pt x="394" y="59"/>
                    <a:pt x="393" y="59"/>
                  </a:cubicBezTo>
                  <a:cubicBezTo>
                    <a:pt x="392" y="59"/>
                    <a:pt x="392" y="60"/>
                    <a:pt x="392" y="60"/>
                  </a:cubicBezTo>
                  <a:cubicBezTo>
                    <a:pt x="392" y="60"/>
                    <a:pt x="392" y="62"/>
                    <a:pt x="390" y="63"/>
                  </a:cubicBezTo>
                  <a:cubicBezTo>
                    <a:pt x="387" y="64"/>
                    <a:pt x="387" y="64"/>
                    <a:pt x="387" y="64"/>
                  </a:cubicBezTo>
                  <a:cubicBezTo>
                    <a:pt x="387" y="64"/>
                    <a:pt x="383" y="67"/>
                    <a:pt x="380" y="68"/>
                  </a:cubicBezTo>
                  <a:cubicBezTo>
                    <a:pt x="378" y="69"/>
                    <a:pt x="377" y="69"/>
                    <a:pt x="378" y="69"/>
                  </a:cubicBezTo>
                  <a:cubicBezTo>
                    <a:pt x="378" y="69"/>
                    <a:pt x="378" y="69"/>
                    <a:pt x="378" y="69"/>
                  </a:cubicBezTo>
                  <a:cubicBezTo>
                    <a:pt x="378" y="69"/>
                    <a:pt x="378" y="69"/>
                    <a:pt x="378" y="69"/>
                  </a:cubicBezTo>
                  <a:cubicBezTo>
                    <a:pt x="376" y="70"/>
                    <a:pt x="370" y="70"/>
                    <a:pt x="369" y="70"/>
                  </a:cubicBezTo>
                  <a:cubicBezTo>
                    <a:pt x="368" y="70"/>
                    <a:pt x="365" y="69"/>
                    <a:pt x="364" y="69"/>
                  </a:cubicBezTo>
                  <a:cubicBezTo>
                    <a:pt x="363" y="68"/>
                    <a:pt x="359" y="68"/>
                    <a:pt x="359" y="68"/>
                  </a:cubicBezTo>
                  <a:cubicBezTo>
                    <a:pt x="358" y="67"/>
                    <a:pt x="359" y="68"/>
                    <a:pt x="356" y="68"/>
                  </a:cubicBezTo>
                  <a:cubicBezTo>
                    <a:pt x="354" y="68"/>
                    <a:pt x="355" y="68"/>
                    <a:pt x="355" y="68"/>
                  </a:cubicBezTo>
                  <a:cubicBezTo>
                    <a:pt x="355" y="68"/>
                    <a:pt x="355" y="71"/>
                    <a:pt x="354" y="72"/>
                  </a:cubicBezTo>
                  <a:cubicBezTo>
                    <a:pt x="354" y="72"/>
                    <a:pt x="352" y="73"/>
                    <a:pt x="352" y="73"/>
                  </a:cubicBezTo>
                  <a:cubicBezTo>
                    <a:pt x="345" y="71"/>
                    <a:pt x="345" y="71"/>
                    <a:pt x="345" y="71"/>
                  </a:cubicBezTo>
                  <a:cubicBezTo>
                    <a:pt x="342" y="71"/>
                    <a:pt x="342" y="71"/>
                    <a:pt x="342" y="71"/>
                  </a:cubicBezTo>
                  <a:cubicBezTo>
                    <a:pt x="337" y="72"/>
                    <a:pt x="337" y="72"/>
                    <a:pt x="337" y="72"/>
                  </a:cubicBezTo>
                  <a:cubicBezTo>
                    <a:pt x="337" y="72"/>
                    <a:pt x="333" y="70"/>
                    <a:pt x="333" y="69"/>
                  </a:cubicBezTo>
                  <a:cubicBezTo>
                    <a:pt x="333" y="69"/>
                    <a:pt x="330" y="68"/>
                    <a:pt x="330" y="68"/>
                  </a:cubicBezTo>
                  <a:cubicBezTo>
                    <a:pt x="330" y="68"/>
                    <a:pt x="326" y="67"/>
                    <a:pt x="323" y="67"/>
                  </a:cubicBezTo>
                  <a:cubicBezTo>
                    <a:pt x="321" y="68"/>
                    <a:pt x="320" y="69"/>
                    <a:pt x="320" y="69"/>
                  </a:cubicBezTo>
                  <a:cubicBezTo>
                    <a:pt x="319" y="75"/>
                    <a:pt x="319" y="75"/>
                    <a:pt x="319" y="75"/>
                  </a:cubicBezTo>
                  <a:cubicBezTo>
                    <a:pt x="319" y="75"/>
                    <a:pt x="314" y="74"/>
                    <a:pt x="313" y="74"/>
                  </a:cubicBezTo>
                  <a:cubicBezTo>
                    <a:pt x="312" y="73"/>
                    <a:pt x="309" y="72"/>
                    <a:pt x="309" y="72"/>
                  </a:cubicBezTo>
                  <a:cubicBezTo>
                    <a:pt x="304" y="69"/>
                    <a:pt x="304" y="69"/>
                    <a:pt x="304" y="69"/>
                  </a:cubicBezTo>
                  <a:cubicBezTo>
                    <a:pt x="304" y="69"/>
                    <a:pt x="304" y="67"/>
                    <a:pt x="304" y="66"/>
                  </a:cubicBezTo>
                  <a:cubicBezTo>
                    <a:pt x="305" y="65"/>
                    <a:pt x="302" y="62"/>
                    <a:pt x="302" y="62"/>
                  </a:cubicBezTo>
                  <a:cubicBezTo>
                    <a:pt x="301" y="62"/>
                    <a:pt x="299" y="59"/>
                    <a:pt x="299" y="59"/>
                  </a:cubicBezTo>
                  <a:cubicBezTo>
                    <a:pt x="299" y="59"/>
                    <a:pt x="293" y="61"/>
                    <a:pt x="291" y="62"/>
                  </a:cubicBezTo>
                  <a:cubicBezTo>
                    <a:pt x="289" y="63"/>
                    <a:pt x="288" y="64"/>
                    <a:pt x="287" y="64"/>
                  </a:cubicBezTo>
                  <a:cubicBezTo>
                    <a:pt x="287" y="65"/>
                    <a:pt x="283" y="66"/>
                    <a:pt x="283" y="66"/>
                  </a:cubicBezTo>
                  <a:cubicBezTo>
                    <a:pt x="283" y="66"/>
                    <a:pt x="279" y="65"/>
                    <a:pt x="278" y="64"/>
                  </a:cubicBezTo>
                  <a:cubicBezTo>
                    <a:pt x="277" y="64"/>
                    <a:pt x="275" y="64"/>
                    <a:pt x="274" y="64"/>
                  </a:cubicBezTo>
                  <a:cubicBezTo>
                    <a:pt x="274" y="63"/>
                    <a:pt x="271" y="62"/>
                    <a:pt x="269" y="61"/>
                  </a:cubicBezTo>
                  <a:cubicBezTo>
                    <a:pt x="266" y="60"/>
                    <a:pt x="267" y="59"/>
                    <a:pt x="267" y="58"/>
                  </a:cubicBezTo>
                  <a:cubicBezTo>
                    <a:pt x="267" y="58"/>
                    <a:pt x="268" y="55"/>
                    <a:pt x="268" y="55"/>
                  </a:cubicBezTo>
                  <a:cubicBezTo>
                    <a:pt x="261" y="54"/>
                    <a:pt x="261" y="54"/>
                    <a:pt x="261" y="54"/>
                  </a:cubicBezTo>
                  <a:cubicBezTo>
                    <a:pt x="260" y="57"/>
                    <a:pt x="260" y="57"/>
                    <a:pt x="260" y="57"/>
                  </a:cubicBezTo>
                  <a:cubicBezTo>
                    <a:pt x="254" y="62"/>
                    <a:pt x="254" y="62"/>
                    <a:pt x="254" y="62"/>
                  </a:cubicBezTo>
                  <a:cubicBezTo>
                    <a:pt x="240" y="66"/>
                    <a:pt x="240" y="66"/>
                    <a:pt x="240" y="66"/>
                  </a:cubicBezTo>
                  <a:cubicBezTo>
                    <a:pt x="240" y="66"/>
                    <a:pt x="218" y="69"/>
                    <a:pt x="215" y="70"/>
                  </a:cubicBezTo>
                  <a:cubicBezTo>
                    <a:pt x="211" y="70"/>
                    <a:pt x="211" y="71"/>
                    <a:pt x="210" y="73"/>
                  </a:cubicBezTo>
                  <a:cubicBezTo>
                    <a:pt x="208" y="74"/>
                    <a:pt x="203" y="79"/>
                    <a:pt x="201" y="79"/>
                  </a:cubicBezTo>
                  <a:cubicBezTo>
                    <a:pt x="199" y="78"/>
                    <a:pt x="191" y="85"/>
                    <a:pt x="189" y="85"/>
                  </a:cubicBezTo>
                  <a:cubicBezTo>
                    <a:pt x="187" y="86"/>
                    <a:pt x="184" y="92"/>
                    <a:pt x="184" y="92"/>
                  </a:cubicBezTo>
                  <a:cubicBezTo>
                    <a:pt x="182" y="95"/>
                    <a:pt x="182" y="95"/>
                    <a:pt x="182" y="95"/>
                  </a:cubicBezTo>
                  <a:cubicBezTo>
                    <a:pt x="182" y="95"/>
                    <a:pt x="178" y="99"/>
                    <a:pt x="178" y="99"/>
                  </a:cubicBezTo>
                  <a:cubicBezTo>
                    <a:pt x="177" y="99"/>
                    <a:pt x="176" y="102"/>
                    <a:pt x="175" y="103"/>
                  </a:cubicBezTo>
                  <a:cubicBezTo>
                    <a:pt x="175" y="103"/>
                    <a:pt x="173" y="106"/>
                    <a:pt x="173" y="106"/>
                  </a:cubicBezTo>
                  <a:cubicBezTo>
                    <a:pt x="172" y="107"/>
                    <a:pt x="170" y="109"/>
                    <a:pt x="168" y="111"/>
                  </a:cubicBezTo>
                  <a:cubicBezTo>
                    <a:pt x="166" y="112"/>
                    <a:pt x="165" y="113"/>
                    <a:pt x="163" y="114"/>
                  </a:cubicBezTo>
                  <a:cubicBezTo>
                    <a:pt x="161" y="115"/>
                    <a:pt x="162" y="116"/>
                    <a:pt x="162" y="116"/>
                  </a:cubicBezTo>
                  <a:cubicBezTo>
                    <a:pt x="162" y="116"/>
                    <a:pt x="163" y="118"/>
                    <a:pt x="163" y="120"/>
                  </a:cubicBezTo>
                  <a:cubicBezTo>
                    <a:pt x="164" y="122"/>
                    <a:pt x="162" y="125"/>
                    <a:pt x="162" y="125"/>
                  </a:cubicBezTo>
                  <a:cubicBezTo>
                    <a:pt x="162" y="125"/>
                    <a:pt x="155" y="127"/>
                    <a:pt x="154" y="127"/>
                  </a:cubicBezTo>
                  <a:cubicBezTo>
                    <a:pt x="153" y="127"/>
                    <a:pt x="144" y="129"/>
                    <a:pt x="144" y="129"/>
                  </a:cubicBezTo>
                  <a:cubicBezTo>
                    <a:pt x="135" y="119"/>
                    <a:pt x="135" y="119"/>
                    <a:pt x="135" y="119"/>
                  </a:cubicBezTo>
                  <a:cubicBezTo>
                    <a:pt x="128" y="123"/>
                    <a:pt x="128" y="123"/>
                    <a:pt x="128" y="123"/>
                  </a:cubicBezTo>
                  <a:cubicBezTo>
                    <a:pt x="124" y="126"/>
                    <a:pt x="124" y="126"/>
                    <a:pt x="124" y="126"/>
                  </a:cubicBezTo>
                  <a:cubicBezTo>
                    <a:pt x="124" y="126"/>
                    <a:pt x="117" y="128"/>
                    <a:pt x="115" y="128"/>
                  </a:cubicBezTo>
                  <a:cubicBezTo>
                    <a:pt x="113" y="127"/>
                    <a:pt x="109" y="129"/>
                    <a:pt x="107" y="130"/>
                  </a:cubicBezTo>
                  <a:cubicBezTo>
                    <a:pt x="106" y="130"/>
                    <a:pt x="101" y="131"/>
                    <a:pt x="99" y="130"/>
                  </a:cubicBezTo>
                  <a:cubicBezTo>
                    <a:pt x="98" y="130"/>
                    <a:pt x="95" y="129"/>
                    <a:pt x="95" y="129"/>
                  </a:cubicBezTo>
                  <a:cubicBezTo>
                    <a:pt x="90" y="130"/>
                    <a:pt x="90" y="130"/>
                    <a:pt x="90" y="130"/>
                  </a:cubicBezTo>
                  <a:cubicBezTo>
                    <a:pt x="85" y="126"/>
                    <a:pt x="85" y="126"/>
                    <a:pt x="85" y="126"/>
                  </a:cubicBezTo>
                  <a:cubicBezTo>
                    <a:pt x="75" y="128"/>
                    <a:pt x="75" y="128"/>
                    <a:pt x="75" y="128"/>
                  </a:cubicBezTo>
                  <a:cubicBezTo>
                    <a:pt x="75" y="128"/>
                    <a:pt x="69" y="125"/>
                    <a:pt x="69" y="125"/>
                  </a:cubicBezTo>
                  <a:cubicBezTo>
                    <a:pt x="69" y="124"/>
                    <a:pt x="64" y="124"/>
                    <a:pt x="64" y="124"/>
                  </a:cubicBezTo>
                  <a:cubicBezTo>
                    <a:pt x="64" y="124"/>
                    <a:pt x="59" y="121"/>
                    <a:pt x="58" y="120"/>
                  </a:cubicBezTo>
                  <a:cubicBezTo>
                    <a:pt x="58" y="119"/>
                    <a:pt x="59" y="118"/>
                    <a:pt x="58" y="117"/>
                  </a:cubicBezTo>
                  <a:cubicBezTo>
                    <a:pt x="50" y="112"/>
                    <a:pt x="54" y="120"/>
                    <a:pt x="52" y="105"/>
                  </a:cubicBezTo>
                  <a:cubicBezTo>
                    <a:pt x="52" y="105"/>
                    <a:pt x="52" y="105"/>
                    <a:pt x="52" y="105"/>
                  </a:cubicBezTo>
                  <a:cubicBezTo>
                    <a:pt x="52" y="105"/>
                    <a:pt x="52" y="105"/>
                    <a:pt x="52" y="105"/>
                  </a:cubicBezTo>
                  <a:cubicBezTo>
                    <a:pt x="51" y="105"/>
                    <a:pt x="47" y="107"/>
                    <a:pt x="47" y="107"/>
                  </a:cubicBezTo>
                  <a:cubicBezTo>
                    <a:pt x="45" y="109"/>
                    <a:pt x="45" y="109"/>
                    <a:pt x="45" y="109"/>
                  </a:cubicBezTo>
                  <a:cubicBezTo>
                    <a:pt x="45" y="109"/>
                    <a:pt x="43" y="108"/>
                    <a:pt x="42" y="109"/>
                  </a:cubicBezTo>
                  <a:cubicBezTo>
                    <a:pt x="40" y="110"/>
                    <a:pt x="36" y="112"/>
                    <a:pt x="36" y="112"/>
                  </a:cubicBezTo>
                  <a:cubicBezTo>
                    <a:pt x="30" y="109"/>
                    <a:pt x="30" y="109"/>
                    <a:pt x="30" y="109"/>
                  </a:cubicBezTo>
                  <a:cubicBezTo>
                    <a:pt x="26" y="107"/>
                    <a:pt x="26" y="107"/>
                    <a:pt x="26" y="107"/>
                  </a:cubicBezTo>
                  <a:cubicBezTo>
                    <a:pt x="24" y="110"/>
                    <a:pt x="24" y="110"/>
                    <a:pt x="24" y="110"/>
                  </a:cubicBezTo>
                  <a:cubicBezTo>
                    <a:pt x="20" y="111"/>
                    <a:pt x="20" y="111"/>
                    <a:pt x="20" y="111"/>
                  </a:cubicBezTo>
                  <a:cubicBezTo>
                    <a:pt x="18" y="115"/>
                    <a:pt x="18" y="115"/>
                    <a:pt x="18" y="115"/>
                  </a:cubicBezTo>
                  <a:cubicBezTo>
                    <a:pt x="18" y="115"/>
                    <a:pt x="12" y="117"/>
                    <a:pt x="10" y="117"/>
                  </a:cubicBezTo>
                  <a:cubicBezTo>
                    <a:pt x="9" y="118"/>
                    <a:pt x="6" y="121"/>
                    <a:pt x="6" y="121"/>
                  </a:cubicBezTo>
                  <a:cubicBezTo>
                    <a:pt x="7" y="124"/>
                    <a:pt x="7" y="124"/>
                    <a:pt x="7" y="124"/>
                  </a:cubicBezTo>
                  <a:cubicBezTo>
                    <a:pt x="4" y="126"/>
                    <a:pt x="4" y="126"/>
                    <a:pt x="4" y="126"/>
                  </a:cubicBezTo>
                  <a:cubicBezTo>
                    <a:pt x="4" y="126"/>
                    <a:pt x="1" y="127"/>
                    <a:pt x="1" y="129"/>
                  </a:cubicBezTo>
                  <a:cubicBezTo>
                    <a:pt x="1" y="129"/>
                    <a:pt x="1" y="129"/>
                    <a:pt x="1" y="129"/>
                  </a:cubicBezTo>
                  <a:cubicBezTo>
                    <a:pt x="1" y="129"/>
                    <a:pt x="1" y="129"/>
                    <a:pt x="1" y="129"/>
                  </a:cubicBezTo>
                  <a:cubicBezTo>
                    <a:pt x="1" y="129"/>
                    <a:pt x="1" y="129"/>
                    <a:pt x="1" y="129"/>
                  </a:cubicBezTo>
                  <a:cubicBezTo>
                    <a:pt x="1" y="129"/>
                    <a:pt x="1" y="129"/>
                    <a:pt x="1" y="129"/>
                  </a:cubicBezTo>
                  <a:cubicBezTo>
                    <a:pt x="1" y="129"/>
                    <a:pt x="1" y="129"/>
                    <a:pt x="1" y="129"/>
                  </a:cubicBezTo>
                  <a:cubicBezTo>
                    <a:pt x="1" y="129"/>
                    <a:pt x="1" y="129"/>
                    <a:pt x="1" y="129"/>
                  </a:cubicBezTo>
                  <a:cubicBezTo>
                    <a:pt x="1" y="129"/>
                    <a:pt x="2" y="129"/>
                    <a:pt x="2" y="129"/>
                  </a:cubicBezTo>
                  <a:cubicBezTo>
                    <a:pt x="3" y="129"/>
                    <a:pt x="4" y="130"/>
                    <a:pt x="5" y="130"/>
                  </a:cubicBezTo>
                  <a:cubicBezTo>
                    <a:pt x="7" y="130"/>
                    <a:pt x="8" y="130"/>
                    <a:pt x="8" y="131"/>
                  </a:cubicBezTo>
                  <a:cubicBezTo>
                    <a:pt x="9" y="131"/>
                    <a:pt x="13" y="133"/>
                    <a:pt x="14" y="133"/>
                  </a:cubicBezTo>
                  <a:cubicBezTo>
                    <a:pt x="14" y="133"/>
                    <a:pt x="14" y="133"/>
                    <a:pt x="14" y="133"/>
                  </a:cubicBezTo>
                  <a:cubicBezTo>
                    <a:pt x="14" y="134"/>
                    <a:pt x="14" y="134"/>
                    <a:pt x="14" y="134"/>
                  </a:cubicBezTo>
                  <a:cubicBezTo>
                    <a:pt x="15" y="134"/>
                    <a:pt x="16" y="140"/>
                    <a:pt x="16" y="140"/>
                  </a:cubicBezTo>
                  <a:cubicBezTo>
                    <a:pt x="16" y="140"/>
                    <a:pt x="17" y="140"/>
                    <a:pt x="17" y="141"/>
                  </a:cubicBezTo>
                  <a:cubicBezTo>
                    <a:pt x="19" y="143"/>
                    <a:pt x="20" y="145"/>
                    <a:pt x="19" y="146"/>
                  </a:cubicBezTo>
                  <a:cubicBezTo>
                    <a:pt x="19" y="147"/>
                    <a:pt x="19" y="147"/>
                    <a:pt x="19" y="147"/>
                  </a:cubicBezTo>
                  <a:cubicBezTo>
                    <a:pt x="18" y="147"/>
                    <a:pt x="18" y="147"/>
                    <a:pt x="18" y="147"/>
                  </a:cubicBezTo>
                  <a:cubicBezTo>
                    <a:pt x="17" y="148"/>
                    <a:pt x="15" y="148"/>
                    <a:pt x="14" y="149"/>
                  </a:cubicBezTo>
                  <a:cubicBezTo>
                    <a:pt x="13" y="150"/>
                    <a:pt x="13" y="150"/>
                    <a:pt x="13" y="150"/>
                  </a:cubicBezTo>
                  <a:cubicBezTo>
                    <a:pt x="12" y="151"/>
                    <a:pt x="12" y="152"/>
                    <a:pt x="11" y="153"/>
                  </a:cubicBezTo>
                  <a:cubicBezTo>
                    <a:pt x="12" y="154"/>
                    <a:pt x="11" y="156"/>
                    <a:pt x="11" y="157"/>
                  </a:cubicBezTo>
                  <a:cubicBezTo>
                    <a:pt x="15" y="167"/>
                    <a:pt x="15" y="167"/>
                    <a:pt x="15" y="167"/>
                  </a:cubicBezTo>
                  <a:cubicBezTo>
                    <a:pt x="10" y="173"/>
                    <a:pt x="10" y="173"/>
                    <a:pt x="10" y="173"/>
                  </a:cubicBezTo>
                  <a:cubicBezTo>
                    <a:pt x="6" y="177"/>
                    <a:pt x="6" y="177"/>
                    <a:pt x="6" y="177"/>
                  </a:cubicBezTo>
                  <a:cubicBezTo>
                    <a:pt x="4" y="177"/>
                    <a:pt x="4" y="177"/>
                    <a:pt x="4" y="177"/>
                  </a:cubicBezTo>
                  <a:cubicBezTo>
                    <a:pt x="4" y="177"/>
                    <a:pt x="4" y="177"/>
                    <a:pt x="4" y="177"/>
                  </a:cubicBezTo>
                  <a:cubicBezTo>
                    <a:pt x="3" y="177"/>
                    <a:pt x="1" y="177"/>
                    <a:pt x="0" y="177"/>
                  </a:cubicBezTo>
                  <a:cubicBezTo>
                    <a:pt x="1" y="179"/>
                    <a:pt x="1" y="179"/>
                    <a:pt x="1" y="179"/>
                  </a:cubicBezTo>
                  <a:cubicBezTo>
                    <a:pt x="1" y="179"/>
                    <a:pt x="3" y="181"/>
                    <a:pt x="5" y="180"/>
                  </a:cubicBezTo>
                  <a:cubicBezTo>
                    <a:pt x="6" y="180"/>
                    <a:pt x="7" y="180"/>
                    <a:pt x="8" y="180"/>
                  </a:cubicBezTo>
                  <a:cubicBezTo>
                    <a:pt x="9" y="180"/>
                    <a:pt x="15" y="178"/>
                    <a:pt x="15" y="178"/>
                  </a:cubicBezTo>
                  <a:cubicBezTo>
                    <a:pt x="15" y="178"/>
                    <a:pt x="18" y="177"/>
                    <a:pt x="20" y="176"/>
                  </a:cubicBezTo>
                  <a:cubicBezTo>
                    <a:pt x="22" y="176"/>
                    <a:pt x="25" y="174"/>
                    <a:pt x="27" y="174"/>
                  </a:cubicBezTo>
                  <a:cubicBezTo>
                    <a:pt x="29" y="174"/>
                    <a:pt x="28" y="175"/>
                    <a:pt x="28" y="176"/>
                  </a:cubicBezTo>
                  <a:cubicBezTo>
                    <a:pt x="28" y="177"/>
                    <a:pt x="25" y="179"/>
                    <a:pt x="24" y="179"/>
                  </a:cubicBezTo>
                  <a:cubicBezTo>
                    <a:pt x="24" y="180"/>
                    <a:pt x="23" y="181"/>
                    <a:pt x="21" y="182"/>
                  </a:cubicBezTo>
                  <a:cubicBezTo>
                    <a:pt x="19" y="184"/>
                    <a:pt x="19" y="183"/>
                    <a:pt x="18" y="184"/>
                  </a:cubicBezTo>
                  <a:cubicBezTo>
                    <a:pt x="16" y="184"/>
                    <a:pt x="17" y="185"/>
                    <a:pt x="16" y="187"/>
                  </a:cubicBezTo>
                  <a:cubicBezTo>
                    <a:pt x="14" y="188"/>
                    <a:pt x="14" y="188"/>
                    <a:pt x="13" y="189"/>
                  </a:cubicBezTo>
                  <a:cubicBezTo>
                    <a:pt x="12" y="190"/>
                    <a:pt x="13" y="190"/>
                    <a:pt x="12" y="192"/>
                  </a:cubicBezTo>
                  <a:cubicBezTo>
                    <a:pt x="11" y="195"/>
                    <a:pt x="12" y="193"/>
                    <a:pt x="12" y="193"/>
                  </a:cubicBezTo>
                  <a:cubicBezTo>
                    <a:pt x="13" y="197"/>
                    <a:pt x="13" y="197"/>
                    <a:pt x="13" y="197"/>
                  </a:cubicBezTo>
                  <a:cubicBezTo>
                    <a:pt x="13" y="197"/>
                    <a:pt x="13" y="199"/>
                    <a:pt x="12" y="199"/>
                  </a:cubicBezTo>
                  <a:cubicBezTo>
                    <a:pt x="11" y="200"/>
                    <a:pt x="11" y="203"/>
                    <a:pt x="11" y="204"/>
                  </a:cubicBezTo>
                  <a:cubicBezTo>
                    <a:pt x="11" y="205"/>
                    <a:pt x="13" y="203"/>
                    <a:pt x="13" y="203"/>
                  </a:cubicBezTo>
                  <a:cubicBezTo>
                    <a:pt x="13" y="200"/>
                    <a:pt x="13" y="200"/>
                    <a:pt x="13" y="200"/>
                  </a:cubicBezTo>
                  <a:cubicBezTo>
                    <a:pt x="15" y="198"/>
                    <a:pt x="15" y="198"/>
                    <a:pt x="15" y="198"/>
                  </a:cubicBezTo>
                  <a:cubicBezTo>
                    <a:pt x="15" y="198"/>
                    <a:pt x="17" y="194"/>
                    <a:pt x="18" y="193"/>
                  </a:cubicBezTo>
                  <a:cubicBezTo>
                    <a:pt x="18" y="192"/>
                    <a:pt x="20" y="188"/>
                    <a:pt x="20" y="188"/>
                  </a:cubicBezTo>
                  <a:cubicBezTo>
                    <a:pt x="20" y="188"/>
                    <a:pt x="23" y="184"/>
                    <a:pt x="23" y="183"/>
                  </a:cubicBezTo>
                  <a:cubicBezTo>
                    <a:pt x="23" y="183"/>
                    <a:pt x="24" y="184"/>
                    <a:pt x="24" y="184"/>
                  </a:cubicBezTo>
                  <a:cubicBezTo>
                    <a:pt x="24" y="184"/>
                    <a:pt x="30" y="179"/>
                    <a:pt x="30" y="179"/>
                  </a:cubicBezTo>
                  <a:cubicBezTo>
                    <a:pt x="31" y="178"/>
                    <a:pt x="34" y="175"/>
                    <a:pt x="34" y="175"/>
                  </a:cubicBezTo>
                  <a:cubicBezTo>
                    <a:pt x="39" y="171"/>
                    <a:pt x="39" y="171"/>
                    <a:pt x="39" y="171"/>
                  </a:cubicBezTo>
                  <a:cubicBezTo>
                    <a:pt x="39" y="171"/>
                    <a:pt x="43" y="166"/>
                    <a:pt x="43" y="164"/>
                  </a:cubicBezTo>
                  <a:cubicBezTo>
                    <a:pt x="43" y="163"/>
                    <a:pt x="44" y="157"/>
                    <a:pt x="46" y="156"/>
                  </a:cubicBezTo>
                  <a:cubicBezTo>
                    <a:pt x="47" y="155"/>
                    <a:pt x="49" y="154"/>
                    <a:pt x="51" y="153"/>
                  </a:cubicBezTo>
                  <a:cubicBezTo>
                    <a:pt x="53" y="152"/>
                    <a:pt x="54" y="150"/>
                    <a:pt x="54" y="150"/>
                  </a:cubicBezTo>
                  <a:cubicBezTo>
                    <a:pt x="54" y="150"/>
                    <a:pt x="58" y="151"/>
                    <a:pt x="60" y="150"/>
                  </a:cubicBezTo>
                  <a:cubicBezTo>
                    <a:pt x="61" y="149"/>
                    <a:pt x="65" y="145"/>
                    <a:pt x="65" y="145"/>
                  </a:cubicBezTo>
                  <a:cubicBezTo>
                    <a:pt x="66" y="144"/>
                    <a:pt x="70" y="143"/>
                    <a:pt x="71" y="143"/>
                  </a:cubicBezTo>
                  <a:cubicBezTo>
                    <a:pt x="71" y="143"/>
                    <a:pt x="76" y="144"/>
                    <a:pt x="78" y="144"/>
                  </a:cubicBezTo>
                  <a:cubicBezTo>
                    <a:pt x="80" y="144"/>
                    <a:pt x="89" y="143"/>
                    <a:pt x="89" y="143"/>
                  </a:cubicBezTo>
                  <a:cubicBezTo>
                    <a:pt x="89" y="143"/>
                    <a:pt x="95" y="141"/>
                    <a:pt x="96" y="141"/>
                  </a:cubicBezTo>
                  <a:cubicBezTo>
                    <a:pt x="96" y="141"/>
                    <a:pt x="101" y="141"/>
                    <a:pt x="103" y="143"/>
                  </a:cubicBezTo>
                  <a:cubicBezTo>
                    <a:pt x="105" y="145"/>
                    <a:pt x="107" y="146"/>
                    <a:pt x="108" y="146"/>
                  </a:cubicBezTo>
                  <a:cubicBezTo>
                    <a:pt x="109" y="146"/>
                    <a:pt x="116" y="145"/>
                    <a:pt x="119" y="143"/>
                  </a:cubicBezTo>
                  <a:cubicBezTo>
                    <a:pt x="123" y="140"/>
                    <a:pt x="121" y="142"/>
                    <a:pt x="123" y="142"/>
                  </a:cubicBezTo>
                  <a:cubicBezTo>
                    <a:pt x="125" y="141"/>
                    <a:pt x="127" y="142"/>
                    <a:pt x="128" y="142"/>
                  </a:cubicBezTo>
                  <a:cubicBezTo>
                    <a:pt x="128" y="142"/>
                    <a:pt x="126" y="144"/>
                    <a:pt x="122" y="145"/>
                  </a:cubicBezTo>
                  <a:cubicBezTo>
                    <a:pt x="118" y="146"/>
                    <a:pt x="118" y="146"/>
                    <a:pt x="117" y="146"/>
                  </a:cubicBezTo>
                  <a:cubicBezTo>
                    <a:pt x="116" y="146"/>
                    <a:pt x="110" y="150"/>
                    <a:pt x="107" y="151"/>
                  </a:cubicBezTo>
                  <a:cubicBezTo>
                    <a:pt x="103" y="153"/>
                    <a:pt x="103" y="153"/>
                    <a:pt x="102" y="154"/>
                  </a:cubicBezTo>
                  <a:cubicBezTo>
                    <a:pt x="100" y="154"/>
                    <a:pt x="100" y="155"/>
                    <a:pt x="99" y="156"/>
                  </a:cubicBezTo>
                  <a:cubicBezTo>
                    <a:pt x="97" y="156"/>
                    <a:pt x="97" y="157"/>
                    <a:pt x="96" y="158"/>
                  </a:cubicBezTo>
                  <a:cubicBezTo>
                    <a:pt x="94" y="159"/>
                    <a:pt x="95" y="159"/>
                    <a:pt x="94" y="161"/>
                  </a:cubicBezTo>
                  <a:cubicBezTo>
                    <a:pt x="93" y="162"/>
                    <a:pt x="96" y="162"/>
                    <a:pt x="96" y="162"/>
                  </a:cubicBezTo>
                  <a:cubicBezTo>
                    <a:pt x="96" y="163"/>
                    <a:pt x="100" y="162"/>
                    <a:pt x="100" y="162"/>
                  </a:cubicBezTo>
                  <a:cubicBezTo>
                    <a:pt x="104" y="162"/>
                    <a:pt x="104" y="162"/>
                    <a:pt x="104" y="162"/>
                  </a:cubicBezTo>
                  <a:cubicBezTo>
                    <a:pt x="106" y="163"/>
                    <a:pt x="106" y="163"/>
                    <a:pt x="106" y="163"/>
                  </a:cubicBezTo>
                  <a:cubicBezTo>
                    <a:pt x="106" y="163"/>
                    <a:pt x="104" y="165"/>
                    <a:pt x="103" y="166"/>
                  </a:cubicBezTo>
                  <a:cubicBezTo>
                    <a:pt x="103" y="167"/>
                    <a:pt x="101" y="166"/>
                    <a:pt x="99" y="166"/>
                  </a:cubicBezTo>
                  <a:cubicBezTo>
                    <a:pt x="97" y="165"/>
                    <a:pt x="90" y="170"/>
                    <a:pt x="90" y="170"/>
                  </a:cubicBezTo>
                  <a:cubicBezTo>
                    <a:pt x="85" y="171"/>
                    <a:pt x="85" y="171"/>
                    <a:pt x="85" y="171"/>
                  </a:cubicBezTo>
                  <a:cubicBezTo>
                    <a:pt x="77" y="172"/>
                    <a:pt x="77" y="172"/>
                    <a:pt x="77" y="172"/>
                  </a:cubicBezTo>
                  <a:cubicBezTo>
                    <a:pt x="77" y="172"/>
                    <a:pt x="74" y="173"/>
                    <a:pt x="73" y="173"/>
                  </a:cubicBezTo>
                  <a:cubicBezTo>
                    <a:pt x="72" y="174"/>
                    <a:pt x="72" y="175"/>
                    <a:pt x="72" y="175"/>
                  </a:cubicBezTo>
                  <a:cubicBezTo>
                    <a:pt x="72" y="175"/>
                    <a:pt x="68" y="176"/>
                    <a:pt x="67" y="176"/>
                  </a:cubicBezTo>
                  <a:cubicBezTo>
                    <a:pt x="67" y="176"/>
                    <a:pt x="67" y="175"/>
                    <a:pt x="67" y="174"/>
                  </a:cubicBezTo>
                  <a:cubicBezTo>
                    <a:pt x="66" y="174"/>
                    <a:pt x="67" y="173"/>
                    <a:pt x="68" y="173"/>
                  </a:cubicBezTo>
                  <a:cubicBezTo>
                    <a:pt x="69" y="172"/>
                    <a:pt x="68" y="170"/>
                    <a:pt x="68" y="170"/>
                  </a:cubicBezTo>
                  <a:cubicBezTo>
                    <a:pt x="68" y="170"/>
                    <a:pt x="65" y="170"/>
                    <a:pt x="63" y="170"/>
                  </a:cubicBezTo>
                  <a:cubicBezTo>
                    <a:pt x="62" y="170"/>
                    <a:pt x="61" y="170"/>
                    <a:pt x="60" y="170"/>
                  </a:cubicBezTo>
                  <a:cubicBezTo>
                    <a:pt x="60" y="170"/>
                    <a:pt x="58" y="174"/>
                    <a:pt x="58" y="174"/>
                  </a:cubicBezTo>
                  <a:cubicBezTo>
                    <a:pt x="58" y="175"/>
                    <a:pt x="58" y="175"/>
                    <a:pt x="58" y="175"/>
                  </a:cubicBezTo>
                  <a:cubicBezTo>
                    <a:pt x="58" y="175"/>
                    <a:pt x="63" y="176"/>
                    <a:pt x="63" y="176"/>
                  </a:cubicBezTo>
                  <a:cubicBezTo>
                    <a:pt x="64" y="176"/>
                    <a:pt x="63" y="178"/>
                    <a:pt x="63" y="178"/>
                  </a:cubicBezTo>
                  <a:cubicBezTo>
                    <a:pt x="59" y="180"/>
                    <a:pt x="59" y="180"/>
                    <a:pt x="59" y="180"/>
                  </a:cubicBezTo>
                  <a:cubicBezTo>
                    <a:pt x="50" y="182"/>
                    <a:pt x="50" y="182"/>
                    <a:pt x="50" y="182"/>
                  </a:cubicBezTo>
                  <a:cubicBezTo>
                    <a:pt x="50" y="182"/>
                    <a:pt x="46" y="178"/>
                    <a:pt x="46" y="178"/>
                  </a:cubicBezTo>
                  <a:cubicBezTo>
                    <a:pt x="46" y="177"/>
                    <a:pt x="44" y="178"/>
                    <a:pt x="43" y="179"/>
                  </a:cubicBezTo>
                  <a:cubicBezTo>
                    <a:pt x="41" y="179"/>
                    <a:pt x="40" y="179"/>
                    <a:pt x="40" y="179"/>
                  </a:cubicBezTo>
                  <a:cubicBezTo>
                    <a:pt x="39" y="179"/>
                    <a:pt x="37" y="180"/>
                    <a:pt x="37" y="180"/>
                  </a:cubicBezTo>
                  <a:cubicBezTo>
                    <a:pt x="35" y="180"/>
                    <a:pt x="35" y="180"/>
                    <a:pt x="35" y="180"/>
                  </a:cubicBezTo>
                  <a:cubicBezTo>
                    <a:pt x="34" y="182"/>
                    <a:pt x="34" y="182"/>
                    <a:pt x="34" y="182"/>
                  </a:cubicBezTo>
                  <a:cubicBezTo>
                    <a:pt x="34" y="182"/>
                    <a:pt x="31" y="184"/>
                    <a:pt x="31" y="184"/>
                  </a:cubicBezTo>
                  <a:cubicBezTo>
                    <a:pt x="30" y="184"/>
                    <a:pt x="27" y="184"/>
                    <a:pt x="27" y="184"/>
                  </a:cubicBezTo>
                  <a:cubicBezTo>
                    <a:pt x="25" y="187"/>
                    <a:pt x="25" y="187"/>
                    <a:pt x="25" y="187"/>
                  </a:cubicBezTo>
                  <a:cubicBezTo>
                    <a:pt x="25" y="187"/>
                    <a:pt x="20" y="192"/>
                    <a:pt x="19" y="193"/>
                  </a:cubicBezTo>
                  <a:cubicBezTo>
                    <a:pt x="19" y="193"/>
                    <a:pt x="17" y="196"/>
                    <a:pt x="17" y="197"/>
                  </a:cubicBezTo>
                  <a:cubicBezTo>
                    <a:pt x="17" y="197"/>
                    <a:pt x="16" y="200"/>
                    <a:pt x="16" y="200"/>
                  </a:cubicBezTo>
                  <a:cubicBezTo>
                    <a:pt x="15" y="202"/>
                    <a:pt x="15" y="202"/>
                    <a:pt x="15" y="202"/>
                  </a:cubicBezTo>
                  <a:cubicBezTo>
                    <a:pt x="14" y="205"/>
                    <a:pt x="14" y="205"/>
                    <a:pt x="14" y="205"/>
                  </a:cubicBezTo>
                  <a:cubicBezTo>
                    <a:pt x="15" y="209"/>
                    <a:pt x="15" y="209"/>
                    <a:pt x="15" y="209"/>
                  </a:cubicBezTo>
                  <a:cubicBezTo>
                    <a:pt x="15" y="209"/>
                    <a:pt x="16" y="212"/>
                    <a:pt x="16" y="213"/>
                  </a:cubicBezTo>
                  <a:cubicBezTo>
                    <a:pt x="16" y="214"/>
                    <a:pt x="16" y="218"/>
                    <a:pt x="16" y="218"/>
                  </a:cubicBezTo>
                  <a:cubicBezTo>
                    <a:pt x="16" y="219"/>
                    <a:pt x="17" y="222"/>
                    <a:pt x="18" y="222"/>
                  </a:cubicBezTo>
                  <a:cubicBezTo>
                    <a:pt x="18" y="223"/>
                    <a:pt x="16" y="224"/>
                    <a:pt x="16" y="224"/>
                  </a:cubicBezTo>
                  <a:cubicBezTo>
                    <a:pt x="16" y="224"/>
                    <a:pt x="15" y="229"/>
                    <a:pt x="16" y="230"/>
                  </a:cubicBezTo>
                  <a:cubicBezTo>
                    <a:pt x="16" y="230"/>
                    <a:pt x="19" y="230"/>
                    <a:pt x="19" y="230"/>
                  </a:cubicBezTo>
                  <a:cubicBezTo>
                    <a:pt x="19" y="230"/>
                    <a:pt x="23" y="228"/>
                    <a:pt x="23" y="228"/>
                  </a:cubicBezTo>
                  <a:cubicBezTo>
                    <a:pt x="24" y="228"/>
                    <a:pt x="26" y="226"/>
                    <a:pt x="26" y="226"/>
                  </a:cubicBezTo>
                  <a:cubicBezTo>
                    <a:pt x="27" y="225"/>
                    <a:pt x="30" y="224"/>
                    <a:pt x="31" y="224"/>
                  </a:cubicBezTo>
                  <a:cubicBezTo>
                    <a:pt x="31" y="224"/>
                    <a:pt x="34" y="223"/>
                    <a:pt x="34" y="223"/>
                  </a:cubicBezTo>
                  <a:cubicBezTo>
                    <a:pt x="34" y="223"/>
                    <a:pt x="37" y="220"/>
                    <a:pt x="37" y="220"/>
                  </a:cubicBezTo>
                  <a:cubicBezTo>
                    <a:pt x="38" y="220"/>
                    <a:pt x="43" y="220"/>
                    <a:pt x="43" y="220"/>
                  </a:cubicBezTo>
                  <a:cubicBezTo>
                    <a:pt x="43" y="220"/>
                    <a:pt x="42" y="225"/>
                    <a:pt x="39" y="227"/>
                  </a:cubicBezTo>
                  <a:cubicBezTo>
                    <a:pt x="37" y="229"/>
                    <a:pt x="38" y="230"/>
                    <a:pt x="38" y="230"/>
                  </a:cubicBezTo>
                  <a:cubicBezTo>
                    <a:pt x="38" y="231"/>
                    <a:pt x="38" y="233"/>
                    <a:pt x="38" y="234"/>
                  </a:cubicBezTo>
                  <a:cubicBezTo>
                    <a:pt x="38" y="234"/>
                    <a:pt x="43" y="237"/>
                    <a:pt x="43" y="237"/>
                  </a:cubicBezTo>
                  <a:cubicBezTo>
                    <a:pt x="43" y="237"/>
                    <a:pt x="44" y="239"/>
                    <a:pt x="44" y="239"/>
                  </a:cubicBezTo>
                  <a:cubicBezTo>
                    <a:pt x="45" y="240"/>
                    <a:pt x="45" y="241"/>
                    <a:pt x="45" y="241"/>
                  </a:cubicBezTo>
                  <a:cubicBezTo>
                    <a:pt x="45" y="241"/>
                    <a:pt x="45" y="243"/>
                    <a:pt x="45" y="244"/>
                  </a:cubicBezTo>
                  <a:cubicBezTo>
                    <a:pt x="44" y="244"/>
                    <a:pt x="45" y="246"/>
                    <a:pt x="45" y="247"/>
                  </a:cubicBezTo>
                  <a:cubicBezTo>
                    <a:pt x="46" y="247"/>
                    <a:pt x="47" y="248"/>
                    <a:pt x="48" y="248"/>
                  </a:cubicBezTo>
                  <a:cubicBezTo>
                    <a:pt x="48" y="248"/>
                    <a:pt x="53" y="246"/>
                    <a:pt x="54" y="246"/>
                  </a:cubicBezTo>
                  <a:cubicBezTo>
                    <a:pt x="55" y="246"/>
                    <a:pt x="53" y="249"/>
                    <a:pt x="53" y="249"/>
                  </a:cubicBezTo>
                  <a:cubicBezTo>
                    <a:pt x="52" y="253"/>
                    <a:pt x="52" y="253"/>
                    <a:pt x="52" y="253"/>
                  </a:cubicBezTo>
                  <a:cubicBezTo>
                    <a:pt x="52" y="253"/>
                    <a:pt x="49" y="254"/>
                    <a:pt x="49" y="254"/>
                  </a:cubicBezTo>
                  <a:cubicBezTo>
                    <a:pt x="48" y="254"/>
                    <a:pt x="46" y="255"/>
                    <a:pt x="46" y="255"/>
                  </a:cubicBezTo>
                  <a:cubicBezTo>
                    <a:pt x="45" y="255"/>
                    <a:pt x="45" y="257"/>
                    <a:pt x="45" y="258"/>
                  </a:cubicBezTo>
                  <a:cubicBezTo>
                    <a:pt x="45" y="258"/>
                    <a:pt x="46" y="260"/>
                    <a:pt x="46" y="260"/>
                  </a:cubicBezTo>
                  <a:cubicBezTo>
                    <a:pt x="46" y="260"/>
                    <a:pt x="48" y="261"/>
                    <a:pt x="49" y="262"/>
                  </a:cubicBezTo>
                  <a:cubicBezTo>
                    <a:pt x="49" y="262"/>
                    <a:pt x="50" y="263"/>
                    <a:pt x="51" y="263"/>
                  </a:cubicBezTo>
                  <a:cubicBezTo>
                    <a:pt x="51" y="264"/>
                    <a:pt x="56" y="267"/>
                    <a:pt x="56" y="267"/>
                  </a:cubicBezTo>
                  <a:cubicBezTo>
                    <a:pt x="56" y="267"/>
                    <a:pt x="55" y="271"/>
                    <a:pt x="54" y="271"/>
                  </a:cubicBezTo>
                  <a:cubicBezTo>
                    <a:pt x="53" y="271"/>
                    <a:pt x="52" y="270"/>
                    <a:pt x="50" y="270"/>
                  </a:cubicBezTo>
                  <a:cubicBezTo>
                    <a:pt x="49" y="269"/>
                    <a:pt x="48" y="271"/>
                    <a:pt x="48" y="271"/>
                  </a:cubicBezTo>
                  <a:cubicBezTo>
                    <a:pt x="47" y="270"/>
                    <a:pt x="46" y="267"/>
                    <a:pt x="46" y="267"/>
                  </a:cubicBezTo>
                  <a:cubicBezTo>
                    <a:pt x="46" y="267"/>
                    <a:pt x="43" y="264"/>
                    <a:pt x="43" y="264"/>
                  </a:cubicBezTo>
                  <a:cubicBezTo>
                    <a:pt x="42" y="264"/>
                    <a:pt x="41" y="262"/>
                    <a:pt x="41" y="262"/>
                  </a:cubicBezTo>
                  <a:cubicBezTo>
                    <a:pt x="39" y="261"/>
                    <a:pt x="39" y="261"/>
                    <a:pt x="39" y="261"/>
                  </a:cubicBezTo>
                  <a:cubicBezTo>
                    <a:pt x="38" y="261"/>
                    <a:pt x="39" y="261"/>
                    <a:pt x="38" y="261"/>
                  </a:cubicBezTo>
                  <a:cubicBezTo>
                    <a:pt x="37" y="260"/>
                    <a:pt x="34" y="263"/>
                    <a:pt x="35" y="266"/>
                  </a:cubicBezTo>
                  <a:cubicBezTo>
                    <a:pt x="35" y="267"/>
                    <a:pt x="37" y="268"/>
                    <a:pt x="37" y="268"/>
                  </a:cubicBezTo>
                  <a:cubicBezTo>
                    <a:pt x="37" y="268"/>
                    <a:pt x="38" y="270"/>
                    <a:pt x="39" y="271"/>
                  </a:cubicBezTo>
                  <a:cubicBezTo>
                    <a:pt x="39" y="272"/>
                    <a:pt x="42" y="272"/>
                    <a:pt x="41" y="272"/>
                  </a:cubicBezTo>
                  <a:cubicBezTo>
                    <a:pt x="40" y="272"/>
                    <a:pt x="40" y="277"/>
                    <a:pt x="40" y="277"/>
                  </a:cubicBezTo>
                  <a:cubicBezTo>
                    <a:pt x="40" y="277"/>
                    <a:pt x="35" y="275"/>
                    <a:pt x="36" y="275"/>
                  </a:cubicBezTo>
                  <a:cubicBezTo>
                    <a:pt x="37" y="275"/>
                    <a:pt x="34" y="279"/>
                    <a:pt x="34" y="279"/>
                  </a:cubicBezTo>
                  <a:cubicBezTo>
                    <a:pt x="34" y="279"/>
                    <a:pt x="37" y="280"/>
                    <a:pt x="37" y="281"/>
                  </a:cubicBezTo>
                  <a:cubicBezTo>
                    <a:pt x="38" y="282"/>
                    <a:pt x="41" y="282"/>
                    <a:pt x="42" y="282"/>
                  </a:cubicBezTo>
                  <a:cubicBezTo>
                    <a:pt x="43" y="281"/>
                    <a:pt x="45" y="283"/>
                    <a:pt x="46" y="284"/>
                  </a:cubicBezTo>
                  <a:cubicBezTo>
                    <a:pt x="49" y="287"/>
                    <a:pt x="49" y="284"/>
                    <a:pt x="49" y="283"/>
                  </a:cubicBezTo>
                  <a:cubicBezTo>
                    <a:pt x="49" y="283"/>
                    <a:pt x="49" y="279"/>
                    <a:pt x="49" y="280"/>
                  </a:cubicBezTo>
                  <a:cubicBezTo>
                    <a:pt x="49" y="280"/>
                    <a:pt x="52" y="279"/>
                    <a:pt x="52" y="279"/>
                  </a:cubicBezTo>
                  <a:cubicBezTo>
                    <a:pt x="56" y="281"/>
                    <a:pt x="56" y="281"/>
                    <a:pt x="56" y="281"/>
                  </a:cubicBezTo>
                  <a:cubicBezTo>
                    <a:pt x="56" y="281"/>
                    <a:pt x="58" y="282"/>
                    <a:pt x="59" y="283"/>
                  </a:cubicBezTo>
                  <a:cubicBezTo>
                    <a:pt x="61" y="284"/>
                    <a:pt x="60" y="284"/>
                    <a:pt x="60" y="284"/>
                  </a:cubicBezTo>
                  <a:cubicBezTo>
                    <a:pt x="71" y="285"/>
                    <a:pt x="71" y="285"/>
                    <a:pt x="71" y="285"/>
                  </a:cubicBezTo>
                  <a:cubicBezTo>
                    <a:pt x="71" y="285"/>
                    <a:pt x="72" y="285"/>
                    <a:pt x="73" y="286"/>
                  </a:cubicBezTo>
                  <a:cubicBezTo>
                    <a:pt x="74" y="287"/>
                    <a:pt x="73" y="287"/>
                    <a:pt x="73" y="288"/>
                  </a:cubicBezTo>
                  <a:cubicBezTo>
                    <a:pt x="72" y="293"/>
                    <a:pt x="76" y="295"/>
                    <a:pt x="76" y="296"/>
                  </a:cubicBezTo>
                  <a:cubicBezTo>
                    <a:pt x="76" y="296"/>
                    <a:pt x="72" y="297"/>
                    <a:pt x="71" y="297"/>
                  </a:cubicBezTo>
                  <a:cubicBezTo>
                    <a:pt x="70" y="297"/>
                    <a:pt x="70" y="297"/>
                    <a:pt x="70" y="297"/>
                  </a:cubicBezTo>
                  <a:cubicBezTo>
                    <a:pt x="70" y="297"/>
                    <a:pt x="70" y="297"/>
                    <a:pt x="70" y="297"/>
                  </a:cubicBezTo>
                  <a:cubicBezTo>
                    <a:pt x="70" y="298"/>
                    <a:pt x="69" y="299"/>
                    <a:pt x="69" y="300"/>
                  </a:cubicBezTo>
                  <a:cubicBezTo>
                    <a:pt x="70" y="300"/>
                    <a:pt x="70" y="300"/>
                    <a:pt x="70" y="300"/>
                  </a:cubicBezTo>
                  <a:cubicBezTo>
                    <a:pt x="78" y="302"/>
                    <a:pt x="74" y="302"/>
                    <a:pt x="76" y="308"/>
                  </a:cubicBezTo>
                  <a:cubicBezTo>
                    <a:pt x="80" y="319"/>
                    <a:pt x="79" y="304"/>
                    <a:pt x="81" y="308"/>
                  </a:cubicBezTo>
                  <a:cubicBezTo>
                    <a:pt x="81" y="309"/>
                    <a:pt x="84" y="308"/>
                    <a:pt x="86" y="311"/>
                  </a:cubicBezTo>
                  <a:cubicBezTo>
                    <a:pt x="87" y="314"/>
                    <a:pt x="91" y="306"/>
                    <a:pt x="93" y="315"/>
                  </a:cubicBezTo>
                  <a:cubicBezTo>
                    <a:pt x="94" y="317"/>
                    <a:pt x="89" y="319"/>
                    <a:pt x="87" y="320"/>
                  </a:cubicBezTo>
                  <a:cubicBezTo>
                    <a:pt x="83" y="322"/>
                    <a:pt x="83" y="320"/>
                    <a:pt x="80" y="321"/>
                  </a:cubicBezTo>
                  <a:cubicBezTo>
                    <a:pt x="80" y="321"/>
                    <a:pt x="78" y="327"/>
                    <a:pt x="82" y="327"/>
                  </a:cubicBezTo>
                  <a:cubicBezTo>
                    <a:pt x="83" y="327"/>
                    <a:pt x="83" y="325"/>
                    <a:pt x="85" y="325"/>
                  </a:cubicBezTo>
                  <a:cubicBezTo>
                    <a:pt x="88" y="324"/>
                    <a:pt x="88" y="327"/>
                    <a:pt x="90" y="326"/>
                  </a:cubicBezTo>
                  <a:cubicBezTo>
                    <a:pt x="94" y="326"/>
                    <a:pt x="94" y="325"/>
                    <a:pt x="100" y="323"/>
                  </a:cubicBezTo>
                  <a:cubicBezTo>
                    <a:pt x="104" y="322"/>
                    <a:pt x="108" y="315"/>
                    <a:pt x="109" y="315"/>
                  </a:cubicBezTo>
                  <a:cubicBezTo>
                    <a:pt x="110" y="315"/>
                    <a:pt x="118" y="319"/>
                    <a:pt x="118" y="321"/>
                  </a:cubicBezTo>
                  <a:cubicBezTo>
                    <a:pt x="118" y="322"/>
                    <a:pt x="105" y="331"/>
                    <a:pt x="103" y="331"/>
                  </a:cubicBezTo>
                  <a:cubicBezTo>
                    <a:pt x="93" y="334"/>
                    <a:pt x="102" y="336"/>
                    <a:pt x="104" y="335"/>
                  </a:cubicBezTo>
                  <a:cubicBezTo>
                    <a:pt x="111" y="331"/>
                    <a:pt x="110" y="336"/>
                    <a:pt x="113" y="334"/>
                  </a:cubicBezTo>
                  <a:cubicBezTo>
                    <a:pt x="115" y="333"/>
                    <a:pt x="114" y="339"/>
                    <a:pt x="116" y="338"/>
                  </a:cubicBezTo>
                  <a:cubicBezTo>
                    <a:pt x="118" y="337"/>
                    <a:pt x="121" y="330"/>
                    <a:pt x="123" y="328"/>
                  </a:cubicBezTo>
                  <a:cubicBezTo>
                    <a:pt x="127" y="324"/>
                    <a:pt x="130" y="323"/>
                    <a:pt x="131" y="324"/>
                  </a:cubicBezTo>
                  <a:cubicBezTo>
                    <a:pt x="132" y="325"/>
                    <a:pt x="132" y="322"/>
                    <a:pt x="138" y="324"/>
                  </a:cubicBezTo>
                  <a:cubicBezTo>
                    <a:pt x="141" y="325"/>
                    <a:pt x="139" y="324"/>
                    <a:pt x="142" y="335"/>
                  </a:cubicBezTo>
                  <a:cubicBezTo>
                    <a:pt x="143" y="337"/>
                    <a:pt x="151" y="343"/>
                    <a:pt x="151" y="341"/>
                  </a:cubicBezTo>
                  <a:cubicBezTo>
                    <a:pt x="165" y="342"/>
                    <a:pt x="165" y="342"/>
                    <a:pt x="165" y="342"/>
                  </a:cubicBezTo>
                  <a:cubicBezTo>
                    <a:pt x="173" y="336"/>
                    <a:pt x="173" y="336"/>
                    <a:pt x="173" y="336"/>
                  </a:cubicBezTo>
                  <a:cubicBezTo>
                    <a:pt x="187" y="334"/>
                    <a:pt x="187" y="334"/>
                    <a:pt x="187" y="334"/>
                  </a:cubicBezTo>
                  <a:cubicBezTo>
                    <a:pt x="191" y="331"/>
                    <a:pt x="186" y="320"/>
                    <a:pt x="190" y="319"/>
                  </a:cubicBezTo>
                  <a:cubicBezTo>
                    <a:pt x="190" y="309"/>
                    <a:pt x="191" y="315"/>
                    <a:pt x="189" y="306"/>
                  </a:cubicBezTo>
                  <a:cubicBezTo>
                    <a:pt x="192" y="305"/>
                    <a:pt x="207" y="303"/>
                    <a:pt x="209" y="303"/>
                  </a:cubicBezTo>
                  <a:cubicBezTo>
                    <a:pt x="217" y="303"/>
                    <a:pt x="217" y="303"/>
                    <a:pt x="217" y="303"/>
                  </a:cubicBezTo>
                  <a:cubicBezTo>
                    <a:pt x="230" y="307"/>
                    <a:pt x="230" y="307"/>
                    <a:pt x="230" y="307"/>
                  </a:cubicBezTo>
                  <a:cubicBezTo>
                    <a:pt x="235" y="313"/>
                    <a:pt x="240" y="305"/>
                    <a:pt x="241" y="311"/>
                  </a:cubicBezTo>
                  <a:cubicBezTo>
                    <a:pt x="243" y="317"/>
                    <a:pt x="261" y="322"/>
                    <a:pt x="267" y="323"/>
                  </a:cubicBezTo>
                  <a:cubicBezTo>
                    <a:pt x="268" y="322"/>
                    <a:pt x="277" y="315"/>
                    <a:pt x="279" y="315"/>
                  </a:cubicBezTo>
                  <a:cubicBezTo>
                    <a:pt x="283" y="315"/>
                    <a:pt x="288" y="311"/>
                    <a:pt x="291" y="310"/>
                  </a:cubicBezTo>
                  <a:cubicBezTo>
                    <a:pt x="297" y="309"/>
                    <a:pt x="298" y="303"/>
                    <a:pt x="300" y="302"/>
                  </a:cubicBezTo>
                  <a:cubicBezTo>
                    <a:pt x="304" y="301"/>
                    <a:pt x="297" y="298"/>
                    <a:pt x="306" y="295"/>
                  </a:cubicBezTo>
                  <a:cubicBezTo>
                    <a:pt x="312" y="286"/>
                    <a:pt x="312" y="286"/>
                    <a:pt x="312" y="286"/>
                  </a:cubicBezTo>
                  <a:cubicBezTo>
                    <a:pt x="314" y="284"/>
                    <a:pt x="315" y="279"/>
                    <a:pt x="317" y="275"/>
                  </a:cubicBezTo>
                  <a:cubicBezTo>
                    <a:pt x="324" y="271"/>
                    <a:pt x="324" y="271"/>
                    <a:pt x="324" y="271"/>
                  </a:cubicBezTo>
                  <a:cubicBezTo>
                    <a:pt x="327" y="272"/>
                    <a:pt x="334" y="273"/>
                    <a:pt x="340" y="276"/>
                  </a:cubicBezTo>
                  <a:cubicBezTo>
                    <a:pt x="345" y="278"/>
                    <a:pt x="350" y="273"/>
                    <a:pt x="351" y="274"/>
                  </a:cubicBezTo>
                  <a:cubicBezTo>
                    <a:pt x="355" y="275"/>
                    <a:pt x="345" y="267"/>
                    <a:pt x="352" y="267"/>
                  </a:cubicBezTo>
                  <a:cubicBezTo>
                    <a:pt x="358" y="263"/>
                    <a:pt x="358" y="263"/>
                    <a:pt x="358" y="263"/>
                  </a:cubicBezTo>
                  <a:cubicBezTo>
                    <a:pt x="363" y="254"/>
                    <a:pt x="363" y="254"/>
                    <a:pt x="363" y="254"/>
                  </a:cubicBezTo>
                  <a:cubicBezTo>
                    <a:pt x="364" y="256"/>
                    <a:pt x="371" y="258"/>
                    <a:pt x="372" y="260"/>
                  </a:cubicBezTo>
                  <a:cubicBezTo>
                    <a:pt x="373" y="265"/>
                    <a:pt x="374" y="264"/>
                    <a:pt x="373" y="267"/>
                  </a:cubicBezTo>
                  <a:cubicBezTo>
                    <a:pt x="373" y="268"/>
                    <a:pt x="363" y="280"/>
                    <a:pt x="365" y="284"/>
                  </a:cubicBezTo>
                  <a:cubicBezTo>
                    <a:pt x="366" y="287"/>
                    <a:pt x="371" y="289"/>
                    <a:pt x="373" y="292"/>
                  </a:cubicBezTo>
                  <a:cubicBezTo>
                    <a:pt x="375" y="295"/>
                    <a:pt x="377" y="297"/>
                    <a:pt x="379" y="299"/>
                  </a:cubicBezTo>
                  <a:cubicBezTo>
                    <a:pt x="382" y="301"/>
                    <a:pt x="387" y="291"/>
                    <a:pt x="387" y="291"/>
                  </a:cubicBezTo>
                  <a:cubicBezTo>
                    <a:pt x="388" y="291"/>
                    <a:pt x="383" y="282"/>
                    <a:pt x="386" y="280"/>
                  </a:cubicBezTo>
                  <a:cubicBezTo>
                    <a:pt x="388" y="278"/>
                    <a:pt x="393" y="278"/>
                    <a:pt x="393" y="276"/>
                  </a:cubicBezTo>
                  <a:cubicBezTo>
                    <a:pt x="394" y="273"/>
                    <a:pt x="387" y="271"/>
                    <a:pt x="387" y="268"/>
                  </a:cubicBezTo>
                  <a:cubicBezTo>
                    <a:pt x="386" y="265"/>
                    <a:pt x="388" y="264"/>
                    <a:pt x="386" y="261"/>
                  </a:cubicBezTo>
                  <a:cubicBezTo>
                    <a:pt x="382" y="256"/>
                    <a:pt x="386" y="251"/>
                    <a:pt x="393" y="251"/>
                  </a:cubicBezTo>
                  <a:cubicBezTo>
                    <a:pt x="400" y="256"/>
                    <a:pt x="400" y="256"/>
                    <a:pt x="400" y="256"/>
                  </a:cubicBezTo>
                  <a:cubicBezTo>
                    <a:pt x="405" y="256"/>
                    <a:pt x="410" y="254"/>
                    <a:pt x="414" y="251"/>
                  </a:cubicBezTo>
                  <a:cubicBezTo>
                    <a:pt x="425" y="242"/>
                    <a:pt x="425" y="242"/>
                    <a:pt x="425" y="242"/>
                  </a:cubicBezTo>
                  <a:cubicBezTo>
                    <a:pt x="425" y="242"/>
                    <a:pt x="433" y="233"/>
                    <a:pt x="435" y="233"/>
                  </a:cubicBezTo>
                  <a:cubicBezTo>
                    <a:pt x="438" y="232"/>
                    <a:pt x="443" y="231"/>
                    <a:pt x="443" y="231"/>
                  </a:cubicBezTo>
                  <a:cubicBezTo>
                    <a:pt x="453" y="236"/>
                    <a:pt x="453" y="236"/>
                    <a:pt x="453" y="236"/>
                  </a:cubicBezTo>
                  <a:cubicBezTo>
                    <a:pt x="466" y="233"/>
                    <a:pt x="480" y="230"/>
                    <a:pt x="489" y="221"/>
                  </a:cubicBezTo>
                  <a:cubicBezTo>
                    <a:pt x="502" y="209"/>
                    <a:pt x="490" y="209"/>
                    <a:pt x="504" y="205"/>
                  </a:cubicBezTo>
                  <a:cubicBezTo>
                    <a:pt x="512" y="197"/>
                    <a:pt x="512" y="197"/>
                    <a:pt x="512" y="197"/>
                  </a:cubicBezTo>
                  <a:cubicBezTo>
                    <a:pt x="530" y="192"/>
                    <a:pt x="530" y="192"/>
                    <a:pt x="530" y="192"/>
                  </a:cubicBezTo>
                  <a:cubicBezTo>
                    <a:pt x="538" y="187"/>
                    <a:pt x="538" y="187"/>
                    <a:pt x="538" y="187"/>
                  </a:cubicBezTo>
                  <a:cubicBezTo>
                    <a:pt x="550" y="182"/>
                    <a:pt x="550" y="182"/>
                    <a:pt x="550" y="182"/>
                  </a:cubicBezTo>
                  <a:cubicBezTo>
                    <a:pt x="554" y="173"/>
                    <a:pt x="554" y="173"/>
                    <a:pt x="554" y="173"/>
                  </a:cubicBezTo>
                  <a:cubicBezTo>
                    <a:pt x="559" y="174"/>
                    <a:pt x="559" y="174"/>
                    <a:pt x="559" y="174"/>
                  </a:cubicBezTo>
                  <a:cubicBezTo>
                    <a:pt x="560" y="174"/>
                    <a:pt x="556" y="177"/>
                    <a:pt x="562" y="178"/>
                  </a:cubicBezTo>
                  <a:cubicBezTo>
                    <a:pt x="564" y="178"/>
                    <a:pt x="565" y="176"/>
                    <a:pt x="567" y="175"/>
                  </a:cubicBezTo>
                  <a:cubicBezTo>
                    <a:pt x="571" y="173"/>
                    <a:pt x="570" y="163"/>
                    <a:pt x="571" y="163"/>
                  </a:cubicBezTo>
                  <a:cubicBezTo>
                    <a:pt x="579" y="164"/>
                    <a:pt x="573" y="163"/>
                    <a:pt x="580" y="162"/>
                  </a:cubicBezTo>
                  <a:cubicBezTo>
                    <a:pt x="583" y="155"/>
                    <a:pt x="586" y="162"/>
                    <a:pt x="592" y="159"/>
                  </a:cubicBezTo>
                  <a:cubicBezTo>
                    <a:pt x="608" y="157"/>
                    <a:pt x="608" y="157"/>
                    <a:pt x="608" y="157"/>
                  </a:cubicBezTo>
                  <a:cubicBezTo>
                    <a:pt x="611" y="151"/>
                    <a:pt x="611" y="151"/>
                    <a:pt x="611" y="151"/>
                  </a:cubicBezTo>
                  <a:cubicBezTo>
                    <a:pt x="619" y="150"/>
                    <a:pt x="619" y="150"/>
                    <a:pt x="619" y="150"/>
                  </a:cubicBezTo>
                  <a:cubicBezTo>
                    <a:pt x="620" y="157"/>
                    <a:pt x="620" y="157"/>
                    <a:pt x="620" y="157"/>
                  </a:cubicBezTo>
                  <a:cubicBezTo>
                    <a:pt x="626" y="160"/>
                    <a:pt x="626" y="160"/>
                    <a:pt x="626" y="160"/>
                  </a:cubicBezTo>
                  <a:cubicBezTo>
                    <a:pt x="627" y="159"/>
                    <a:pt x="628" y="158"/>
                    <a:pt x="629" y="156"/>
                  </a:cubicBezTo>
                  <a:cubicBezTo>
                    <a:pt x="629" y="155"/>
                    <a:pt x="626" y="153"/>
                    <a:pt x="631" y="149"/>
                  </a:cubicBezTo>
                  <a:cubicBezTo>
                    <a:pt x="635" y="146"/>
                    <a:pt x="635" y="148"/>
                    <a:pt x="637" y="145"/>
                  </a:cubicBezTo>
                  <a:cubicBezTo>
                    <a:pt x="638" y="145"/>
                    <a:pt x="638" y="141"/>
                    <a:pt x="636" y="140"/>
                  </a:cubicBezTo>
                  <a:close/>
                </a:path>
              </a:pathLst>
            </a:custGeom>
            <a:solidFill>
              <a:srgbClr val="FF0000"/>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11"/>
            <p:cNvSpPr>
              <a:spLocks/>
            </p:cNvSpPr>
            <p:nvPr/>
          </p:nvSpPr>
          <p:spPr bwMode="auto">
            <a:xfrm>
              <a:off x="6232138" y="4657887"/>
              <a:ext cx="423135" cy="428904"/>
            </a:xfrm>
            <a:custGeom>
              <a:avLst/>
              <a:gdLst>
                <a:gd name="T0" fmla="*/ 135 w 146"/>
                <a:gd name="T1" fmla="*/ 101 h 157"/>
                <a:gd name="T2" fmla="*/ 121 w 146"/>
                <a:gd name="T3" fmla="*/ 88 h 157"/>
                <a:gd name="T4" fmla="*/ 125 w 146"/>
                <a:gd name="T5" fmla="*/ 73 h 157"/>
                <a:gd name="T6" fmla="*/ 124 w 146"/>
                <a:gd name="T7" fmla="*/ 63 h 157"/>
                <a:gd name="T8" fmla="*/ 120 w 146"/>
                <a:gd name="T9" fmla="*/ 54 h 157"/>
                <a:gd name="T10" fmla="*/ 124 w 146"/>
                <a:gd name="T11" fmla="*/ 50 h 157"/>
                <a:gd name="T12" fmla="*/ 111 w 146"/>
                <a:gd name="T13" fmla="*/ 51 h 157"/>
                <a:gd name="T14" fmla="*/ 102 w 146"/>
                <a:gd name="T15" fmla="*/ 55 h 157"/>
                <a:gd name="T16" fmla="*/ 91 w 146"/>
                <a:gd name="T17" fmla="*/ 54 h 157"/>
                <a:gd name="T18" fmla="*/ 81 w 146"/>
                <a:gd name="T19" fmla="*/ 46 h 157"/>
                <a:gd name="T20" fmla="*/ 79 w 146"/>
                <a:gd name="T21" fmla="*/ 40 h 157"/>
                <a:gd name="T22" fmla="*/ 81 w 146"/>
                <a:gd name="T23" fmla="*/ 32 h 157"/>
                <a:gd name="T24" fmla="*/ 71 w 146"/>
                <a:gd name="T25" fmla="*/ 30 h 157"/>
                <a:gd name="T26" fmla="*/ 59 w 146"/>
                <a:gd name="T27" fmla="*/ 24 h 157"/>
                <a:gd name="T28" fmla="*/ 57 w 146"/>
                <a:gd name="T29" fmla="*/ 14 h 157"/>
                <a:gd name="T30" fmla="*/ 47 w 146"/>
                <a:gd name="T31" fmla="*/ 5 h 157"/>
                <a:gd name="T32" fmla="*/ 38 w 146"/>
                <a:gd name="T33" fmla="*/ 1 h 157"/>
                <a:gd name="T34" fmla="*/ 27 w 146"/>
                <a:gd name="T35" fmla="*/ 1 h 157"/>
                <a:gd name="T36" fmla="*/ 18 w 146"/>
                <a:gd name="T37" fmla="*/ 3 h 157"/>
                <a:gd name="T38" fmla="*/ 8 w 146"/>
                <a:gd name="T39" fmla="*/ 11 h 157"/>
                <a:gd name="T40" fmla="*/ 4 w 146"/>
                <a:gd name="T41" fmla="*/ 12 h 157"/>
                <a:gd name="T42" fmla="*/ 3 w 146"/>
                <a:gd name="T43" fmla="*/ 25 h 157"/>
                <a:gd name="T44" fmla="*/ 7 w 146"/>
                <a:gd name="T45" fmla="*/ 33 h 157"/>
                <a:gd name="T46" fmla="*/ 9 w 146"/>
                <a:gd name="T47" fmla="*/ 37 h 157"/>
                <a:gd name="T48" fmla="*/ 14 w 146"/>
                <a:gd name="T49" fmla="*/ 39 h 157"/>
                <a:gd name="T50" fmla="*/ 21 w 146"/>
                <a:gd name="T51" fmla="*/ 41 h 157"/>
                <a:gd name="T52" fmla="*/ 12 w 146"/>
                <a:gd name="T53" fmla="*/ 47 h 157"/>
                <a:gd name="T54" fmla="*/ 12 w 146"/>
                <a:gd name="T55" fmla="*/ 53 h 157"/>
                <a:gd name="T56" fmla="*/ 18 w 146"/>
                <a:gd name="T57" fmla="*/ 69 h 157"/>
                <a:gd name="T58" fmla="*/ 16 w 146"/>
                <a:gd name="T59" fmla="*/ 75 h 157"/>
                <a:gd name="T60" fmla="*/ 23 w 146"/>
                <a:gd name="T61" fmla="*/ 82 h 157"/>
                <a:gd name="T62" fmla="*/ 30 w 146"/>
                <a:gd name="T63" fmla="*/ 88 h 157"/>
                <a:gd name="T64" fmla="*/ 33 w 146"/>
                <a:gd name="T65" fmla="*/ 94 h 157"/>
                <a:gd name="T66" fmla="*/ 30 w 146"/>
                <a:gd name="T67" fmla="*/ 102 h 157"/>
                <a:gd name="T68" fmla="*/ 31 w 146"/>
                <a:gd name="T69" fmla="*/ 114 h 157"/>
                <a:gd name="T70" fmla="*/ 26 w 146"/>
                <a:gd name="T71" fmla="*/ 115 h 157"/>
                <a:gd name="T72" fmla="*/ 29 w 146"/>
                <a:gd name="T73" fmla="*/ 118 h 157"/>
                <a:gd name="T74" fmla="*/ 32 w 146"/>
                <a:gd name="T75" fmla="*/ 120 h 157"/>
                <a:gd name="T76" fmla="*/ 37 w 146"/>
                <a:gd name="T77" fmla="*/ 124 h 157"/>
                <a:gd name="T78" fmla="*/ 43 w 146"/>
                <a:gd name="T79" fmla="*/ 126 h 157"/>
                <a:gd name="T80" fmla="*/ 48 w 146"/>
                <a:gd name="T81" fmla="*/ 126 h 157"/>
                <a:gd name="T82" fmla="*/ 53 w 146"/>
                <a:gd name="T83" fmla="*/ 128 h 157"/>
                <a:gd name="T84" fmla="*/ 60 w 146"/>
                <a:gd name="T85" fmla="*/ 132 h 157"/>
                <a:gd name="T86" fmla="*/ 68 w 146"/>
                <a:gd name="T87" fmla="*/ 138 h 157"/>
                <a:gd name="T88" fmla="*/ 73 w 146"/>
                <a:gd name="T89" fmla="*/ 126 h 157"/>
                <a:gd name="T90" fmla="*/ 76 w 146"/>
                <a:gd name="T91" fmla="*/ 118 h 157"/>
                <a:gd name="T92" fmla="*/ 90 w 146"/>
                <a:gd name="T93" fmla="*/ 126 h 157"/>
                <a:gd name="T94" fmla="*/ 104 w 146"/>
                <a:gd name="T95" fmla="*/ 136 h 157"/>
                <a:gd name="T96" fmla="*/ 112 w 146"/>
                <a:gd name="T97" fmla="*/ 140 h 157"/>
                <a:gd name="T98" fmla="*/ 109 w 146"/>
                <a:gd name="T99" fmla="*/ 150 h 157"/>
                <a:gd name="T100" fmla="*/ 109 w 146"/>
                <a:gd name="T101" fmla="*/ 156 h 157"/>
                <a:gd name="T102" fmla="*/ 113 w 146"/>
                <a:gd name="T103" fmla="*/ 156 h 157"/>
                <a:gd name="T104" fmla="*/ 124 w 146"/>
                <a:gd name="T105" fmla="*/ 151 h 157"/>
                <a:gd name="T106" fmla="*/ 134 w 146"/>
                <a:gd name="T107" fmla="*/ 148 h 157"/>
                <a:gd name="T108" fmla="*/ 133 w 146"/>
                <a:gd name="T109" fmla="*/ 131 h 157"/>
                <a:gd name="T110" fmla="*/ 140 w 146"/>
                <a:gd name="T111" fmla="*/ 12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6" h="157">
                  <a:moveTo>
                    <a:pt x="146" y="107"/>
                  </a:moveTo>
                  <a:cubicBezTo>
                    <a:pt x="143" y="107"/>
                    <a:pt x="143" y="107"/>
                    <a:pt x="143" y="107"/>
                  </a:cubicBezTo>
                  <a:cubicBezTo>
                    <a:pt x="140" y="106"/>
                    <a:pt x="140" y="106"/>
                    <a:pt x="140" y="106"/>
                  </a:cubicBezTo>
                  <a:cubicBezTo>
                    <a:pt x="139" y="105"/>
                    <a:pt x="137" y="102"/>
                    <a:pt x="136" y="101"/>
                  </a:cubicBezTo>
                  <a:cubicBezTo>
                    <a:pt x="136" y="101"/>
                    <a:pt x="136" y="101"/>
                    <a:pt x="135" y="101"/>
                  </a:cubicBezTo>
                  <a:cubicBezTo>
                    <a:pt x="134" y="100"/>
                    <a:pt x="132" y="100"/>
                    <a:pt x="132" y="99"/>
                  </a:cubicBezTo>
                  <a:cubicBezTo>
                    <a:pt x="131" y="99"/>
                    <a:pt x="129" y="98"/>
                    <a:pt x="128" y="98"/>
                  </a:cubicBezTo>
                  <a:cubicBezTo>
                    <a:pt x="128" y="98"/>
                    <a:pt x="125" y="94"/>
                    <a:pt x="125" y="93"/>
                  </a:cubicBezTo>
                  <a:cubicBezTo>
                    <a:pt x="124" y="91"/>
                    <a:pt x="123" y="91"/>
                    <a:pt x="123" y="91"/>
                  </a:cubicBezTo>
                  <a:cubicBezTo>
                    <a:pt x="123" y="91"/>
                    <a:pt x="122" y="89"/>
                    <a:pt x="121" y="88"/>
                  </a:cubicBezTo>
                  <a:cubicBezTo>
                    <a:pt x="121" y="87"/>
                    <a:pt x="120" y="85"/>
                    <a:pt x="120" y="85"/>
                  </a:cubicBezTo>
                  <a:cubicBezTo>
                    <a:pt x="120" y="85"/>
                    <a:pt x="121" y="83"/>
                    <a:pt x="121" y="82"/>
                  </a:cubicBezTo>
                  <a:cubicBezTo>
                    <a:pt x="120" y="81"/>
                    <a:pt x="120" y="77"/>
                    <a:pt x="120" y="77"/>
                  </a:cubicBezTo>
                  <a:cubicBezTo>
                    <a:pt x="122" y="74"/>
                    <a:pt x="122" y="74"/>
                    <a:pt x="122" y="74"/>
                  </a:cubicBezTo>
                  <a:cubicBezTo>
                    <a:pt x="122" y="74"/>
                    <a:pt x="124" y="73"/>
                    <a:pt x="125" y="73"/>
                  </a:cubicBezTo>
                  <a:cubicBezTo>
                    <a:pt x="126" y="72"/>
                    <a:pt x="126" y="72"/>
                    <a:pt x="125" y="71"/>
                  </a:cubicBezTo>
                  <a:cubicBezTo>
                    <a:pt x="125" y="68"/>
                    <a:pt x="125" y="68"/>
                    <a:pt x="125" y="68"/>
                  </a:cubicBezTo>
                  <a:cubicBezTo>
                    <a:pt x="125" y="62"/>
                    <a:pt x="125" y="62"/>
                    <a:pt x="125" y="62"/>
                  </a:cubicBezTo>
                  <a:cubicBezTo>
                    <a:pt x="125" y="63"/>
                    <a:pt x="125" y="63"/>
                    <a:pt x="125" y="63"/>
                  </a:cubicBezTo>
                  <a:cubicBezTo>
                    <a:pt x="124" y="63"/>
                    <a:pt x="124" y="63"/>
                    <a:pt x="124" y="63"/>
                  </a:cubicBezTo>
                  <a:cubicBezTo>
                    <a:pt x="121" y="62"/>
                    <a:pt x="121" y="62"/>
                    <a:pt x="121" y="62"/>
                  </a:cubicBezTo>
                  <a:cubicBezTo>
                    <a:pt x="121" y="62"/>
                    <a:pt x="121" y="61"/>
                    <a:pt x="121" y="60"/>
                  </a:cubicBezTo>
                  <a:cubicBezTo>
                    <a:pt x="121" y="60"/>
                    <a:pt x="119" y="59"/>
                    <a:pt x="118" y="58"/>
                  </a:cubicBezTo>
                  <a:cubicBezTo>
                    <a:pt x="116" y="56"/>
                    <a:pt x="116" y="56"/>
                    <a:pt x="116" y="56"/>
                  </a:cubicBezTo>
                  <a:cubicBezTo>
                    <a:pt x="120" y="54"/>
                    <a:pt x="120" y="54"/>
                    <a:pt x="120" y="54"/>
                  </a:cubicBezTo>
                  <a:cubicBezTo>
                    <a:pt x="120" y="54"/>
                    <a:pt x="120" y="52"/>
                    <a:pt x="120" y="52"/>
                  </a:cubicBezTo>
                  <a:cubicBezTo>
                    <a:pt x="121" y="51"/>
                    <a:pt x="122" y="52"/>
                    <a:pt x="122" y="52"/>
                  </a:cubicBezTo>
                  <a:cubicBezTo>
                    <a:pt x="123" y="52"/>
                    <a:pt x="124" y="53"/>
                    <a:pt x="124" y="53"/>
                  </a:cubicBezTo>
                  <a:cubicBezTo>
                    <a:pt x="125" y="53"/>
                    <a:pt x="126" y="52"/>
                    <a:pt x="126" y="51"/>
                  </a:cubicBezTo>
                  <a:cubicBezTo>
                    <a:pt x="126" y="51"/>
                    <a:pt x="125" y="51"/>
                    <a:pt x="124" y="50"/>
                  </a:cubicBezTo>
                  <a:cubicBezTo>
                    <a:pt x="120" y="50"/>
                    <a:pt x="120" y="50"/>
                    <a:pt x="120" y="50"/>
                  </a:cubicBezTo>
                  <a:cubicBezTo>
                    <a:pt x="120" y="50"/>
                    <a:pt x="118" y="48"/>
                    <a:pt x="116" y="47"/>
                  </a:cubicBezTo>
                  <a:cubicBezTo>
                    <a:pt x="116" y="47"/>
                    <a:pt x="115" y="47"/>
                    <a:pt x="115" y="47"/>
                  </a:cubicBezTo>
                  <a:cubicBezTo>
                    <a:pt x="114" y="48"/>
                    <a:pt x="112" y="49"/>
                    <a:pt x="112" y="49"/>
                  </a:cubicBezTo>
                  <a:cubicBezTo>
                    <a:pt x="112" y="50"/>
                    <a:pt x="111" y="50"/>
                    <a:pt x="111" y="51"/>
                  </a:cubicBezTo>
                  <a:cubicBezTo>
                    <a:pt x="111" y="52"/>
                    <a:pt x="110" y="52"/>
                    <a:pt x="110" y="53"/>
                  </a:cubicBezTo>
                  <a:cubicBezTo>
                    <a:pt x="109" y="54"/>
                    <a:pt x="108" y="56"/>
                    <a:pt x="108" y="56"/>
                  </a:cubicBezTo>
                  <a:cubicBezTo>
                    <a:pt x="108" y="56"/>
                    <a:pt x="107" y="57"/>
                    <a:pt x="107" y="57"/>
                  </a:cubicBezTo>
                  <a:cubicBezTo>
                    <a:pt x="107" y="57"/>
                    <a:pt x="107" y="58"/>
                    <a:pt x="107" y="58"/>
                  </a:cubicBezTo>
                  <a:cubicBezTo>
                    <a:pt x="106" y="58"/>
                    <a:pt x="103" y="57"/>
                    <a:pt x="102" y="55"/>
                  </a:cubicBezTo>
                  <a:cubicBezTo>
                    <a:pt x="102" y="53"/>
                    <a:pt x="101" y="53"/>
                    <a:pt x="101" y="53"/>
                  </a:cubicBezTo>
                  <a:cubicBezTo>
                    <a:pt x="101" y="53"/>
                    <a:pt x="97" y="53"/>
                    <a:pt x="96" y="53"/>
                  </a:cubicBezTo>
                  <a:cubicBezTo>
                    <a:pt x="95" y="53"/>
                    <a:pt x="95" y="53"/>
                    <a:pt x="95" y="53"/>
                  </a:cubicBezTo>
                  <a:cubicBezTo>
                    <a:pt x="95" y="53"/>
                    <a:pt x="94" y="53"/>
                    <a:pt x="94" y="53"/>
                  </a:cubicBezTo>
                  <a:cubicBezTo>
                    <a:pt x="93" y="53"/>
                    <a:pt x="92" y="53"/>
                    <a:pt x="91" y="54"/>
                  </a:cubicBezTo>
                  <a:cubicBezTo>
                    <a:pt x="90" y="54"/>
                    <a:pt x="89" y="53"/>
                    <a:pt x="89" y="51"/>
                  </a:cubicBezTo>
                  <a:cubicBezTo>
                    <a:pt x="88" y="50"/>
                    <a:pt x="88" y="50"/>
                    <a:pt x="88" y="50"/>
                  </a:cubicBezTo>
                  <a:cubicBezTo>
                    <a:pt x="87" y="50"/>
                    <a:pt x="86" y="49"/>
                    <a:pt x="85" y="49"/>
                  </a:cubicBezTo>
                  <a:cubicBezTo>
                    <a:pt x="84" y="49"/>
                    <a:pt x="83" y="50"/>
                    <a:pt x="82" y="49"/>
                  </a:cubicBezTo>
                  <a:cubicBezTo>
                    <a:pt x="81" y="48"/>
                    <a:pt x="81" y="46"/>
                    <a:pt x="81" y="46"/>
                  </a:cubicBezTo>
                  <a:cubicBezTo>
                    <a:pt x="82" y="46"/>
                    <a:pt x="84" y="46"/>
                    <a:pt x="84" y="45"/>
                  </a:cubicBezTo>
                  <a:cubicBezTo>
                    <a:pt x="85" y="45"/>
                    <a:pt x="86" y="44"/>
                    <a:pt x="87" y="43"/>
                  </a:cubicBezTo>
                  <a:cubicBezTo>
                    <a:pt x="86" y="42"/>
                    <a:pt x="86" y="42"/>
                    <a:pt x="86" y="42"/>
                  </a:cubicBezTo>
                  <a:cubicBezTo>
                    <a:pt x="84" y="41"/>
                    <a:pt x="84" y="41"/>
                    <a:pt x="84" y="41"/>
                  </a:cubicBezTo>
                  <a:cubicBezTo>
                    <a:pt x="84" y="41"/>
                    <a:pt x="81" y="41"/>
                    <a:pt x="79" y="40"/>
                  </a:cubicBezTo>
                  <a:cubicBezTo>
                    <a:pt x="79" y="40"/>
                    <a:pt x="78" y="40"/>
                    <a:pt x="78" y="39"/>
                  </a:cubicBezTo>
                  <a:cubicBezTo>
                    <a:pt x="78" y="39"/>
                    <a:pt x="79" y="38"/>
                    <a:pt x="80" y="38"/>
                  </a:cubicBezTo>
                  <a:cubicBezTo>
                    <a:pt x="79" y="36"/>
                    <a:pt x="79" y="36"/>
                    <a:pt x="79" y="36"/>
                  </a:cubicBezTo>
                  <a:cubicBezTo>
                    <a:pt x="81" y="33"/>
                    <a:pt x="81" y="33"/>
                    <a:pt x="81" y="33"/>
                  </a:cubicBezTo>
                  <a:cubicBezTo>
                    <a:pt x="81" y="32"/>
                    <a:pt x="81" y="32"/>
                    <a:pt x="81" y="32"/>
                  </a:cubicBezTo>
                  <a:cubicBezTo>
                    <a:pt x="81" y="32"/>
                    <a:pt x="80" y="31"/>
                    <a:pt x="78" y="31"/>
                  </a:cubicBezTo>
                  <a:cubicBezTo>
                    <a:pt x="77" y="31"/>
                    <a:pt x="77" y="31"/>
                    <a:pt x="76" y="31"/>
                  </a:cubicBezTo>
                  <a:cubicBezTo>
                    <a:pt x="75" y="31"/>
                    <a:pt x="75" y="31"/>
                    <a:pt x="75" y="31"/>
                  </a:cubicBezTo>
                  <a:cubicBezTo>
                    <a:pt x="75" y="31"/>
                    <a:pt x="74" y="31"/>
                    <a:pt x="72" y="30"/>
                  </a:cubicBezTo>
                  <a:cubicBezTo>
                    <a:pt x="71" y="30"/>
                    <a:pt x="71" y="30"/>
                    <a:pt x="71" y="30"/>
                  </a:cubicBezTo>
                  <a:cubicBezTo>
                    <a:pt x="69" y="29"/>
                    <a:pt x="69" y="29"/>
                    <a:pt x="69" y="29"/>
                  </a:cubicBezTo>
                  <a:cubicBezTo>
                    <a:pt x="69" y="29"/>
                    <a:pt x="68" y="28"/>
                    <a:pt x="67" y="28"/>
                  </a:cubicBezTo>
                  <a:cubicBezTo>
                    <a:pt x="67" y="28"/>
                    <a:pt x="66" y="28"/>
                    <a:pt x="65" y="27"/>
                  </a:cubicBezTo>
                  <a:cubicBezTo>
                    <a:pt x="63" y="26"/>
                    <a:pt x="62" y="26"/>
                    <a:pt x="61" y="26"/>
                  </a:cubicBezTo>
                  <a:cubicBezTo>
                    <a:pt x="61" y="26"/>
                    <a:pt x="59" y="25"/>
                    <a:pt x="59" y="24"/>
                  </a:cubicBezTo>
                  <a:cubicBezTo>
                    <a:pt x="58" y="23"/>
                    <a:pt x="58" y="23"/>
                    <a:pt x="58" y="23"/>
                  </a:cubicBezTo>
                  <a:cubicBezTo>
                    <a:pt x="58" y="23"/>
                    <a:pt x="58" y="22"/>
                    <a:pt x="58" y="22"/>
                  </a:cubicBezTo>
                  <a:cubicBezTo>
                    <a:pt x="58" y="21"/>
                    <a:pt x="57" y="20"/>
                    <a:pt x="57" y="20"/>
                  </a:cubicBezTo>
                  <a:cubicBezTo>
                    <a:pt x="56" y="18"/>
                    <a:pt x="56" y="17"/>
                    <a:pt x="56" y="17"/>
                  </a:cubicBezTo>
                  <a:cubicBezTo>
                    <a:pt x="56" y="17"/>
                    <a:pt x="56" y="14"/>
                    <a:pt x="57" y="14"/>
                  </a:cubicBezTo>
                  <a:cubicBezTo>
                    <a:pt x="57" y="13"/>
                    <a:pt x="56" y="12"/>
                    <a:pt x="56" y="11"/>
                  </a:cubicBezTo>
                  <a:cubicBezTo>
                    <a:pt x="56" y="11"/>
                    <a:pt x="55" y="11"/>
                    <a:pt x="55" y="11"/>
                  </a:cubicBezTo>
                  <a:cubicBezTo>
                    <a:pt x="54" y="11"/>
                    <a:pt x="53" y="11"/>
                    <a:pt x="53" y="10"/>
                  </a:cubicBezTo>
                  <a:cubicBezTo>
                    <a:pt x="53" y="10"/>
                    <a:pt x="52" y="10"/>
                    <a:pt x="52" y="10"/>
                  </a:cubicBezTo>
                  <a:cubicBezTo>
                    <a:pt x="51" y="9"/>
                    <a:pt x="47" y="6"/>
                    <a:pt x="47" y="5"/>
                  </a:cubicBezTo>
                  <a:cubicBezTo>
                    <a:pt x="47" y="5"/>
                    <a:pt x="45" y="4"/>
                    <a:pt x="44" y="4"/>
                  </a:cubicBezTo>
                  <a:cubicBezTo>
                    <a:pt x="44" y="4"/>
                    <a:pt x="43" y="4"/>
                    <a:pt x="42" y="3"/>
                  </a:cubicBezTo>
                  <a:cubicBezTo>
                    <a:pt x="42" y="3"/>
                    <a:pt x="41" y="3"/>
                    <a:pt x="41" y="3"/>
                  </a:cubicBezTo>
                  <a:cubicBezTo>
                    <a:pt x="40" y="3"/>
                    <a:pt x="39" y="2"/>
                    <a:pt x="39" y="2"/>
                  </a:cubicBezTo>
                  <a:cubicBezTo>
                    <a:pt x="38" y="1"/>
                    <a:pt x="38" y="1"/>
                    <a:pt x="38" y="1"/>
                  </a:cubicBezTo>
                  <a:cubicBezTo>
                    <a:pt x="37" y="1"/>
                    <a:pt x="36" y="1"/>
                    <a:pt x="35" y="1"/>
                  </a:cubicBezTo>
                  <a:cubicBezTo>
                    <a:pt x="34" y="1"/>
                    <a:pt x="34" y="1"/>
                    <a:pt x="34" y="1"/>
                  </a:cubicBezTo>
                  <a:cubicBezTo>
                    <a:pt x="33" y="1"/>
                    <a:pt x="33" y="1"/>
                    <a:pt x="33" y="1"/>
                  </a:cubicBezTo>
                  <a:cubicBezTo>
                    <a:pt x="32" y="0"/>
                    <a:pt x="32" y="0"/>
                    <a:pt x="32" y="0"/>
                  </a:cubicBezTo>
                  <a:cubicBezTo>
                    <a:pt x="27" y="1"/>
                    <a:pt x="27" y="1"/>
                    <a:pt x="27" y="1"/>
                  </a:cubicBezTo>
                  <a:cubicBezTo>
                    <a:pt x="22" y="3"/>
                    <a:pt x="22" y="3"/>
                    <a:pt x="22" y="3"/>
                  </a:cubicBezTo>
                  <a:cubicBezTo>
                    <a:pt x="22" y="2"/>
                    <a:pt x="22" y="2"/>
                    <a:pt x="22" y="2"/>
                  </a:cubicBezTo>
                  <a:cubicBezTo>
                    <a:pt x="21" y="2"/>
                    <a:pt x="21" y="2"/>
                    <a:pt x="21" y="2"/>
                  </a:cubicBezTo>
                  <a:cubicBezTo>
                    <a:pt x="20" y="2"/>
                    <a:pt x="19" y="2"/>
                    <a:pt x="19" y="2"/>
                  </a:cubicBezTo>
                  <a:cubicBezTo>
                    <a:pt x="19" y="3"/>
                    <a:pt x="18" y="3"/>
                    <a:pt x="18" y="3"/>
                  </a:cubicBezTo>
                  <a:cubicBezTo>
                    <a:pt x="18" y="4"/>
                    <a:pt x="16" y="5"/>
                    <a:pt x="16" y="5"/>
                  </a:cubicBezTo>
                  <a:cubicBezTo>
                    <a:pt x="16" y="5"/>
                    <a:pt x="14" y="6"/>
                    <a:pt x="14" y="7"/>
                  </a:cubicBezTo>
                  <a:cubicBezTo>
                    <a:pt x="11" y="10"/>
                    <a:pt x="11" y="10"/>
                    <a:pt x="11" y="10"/>
                  </a:cubicBezTo>
                  <a:cubicBezTo>
                    <a:pt x="11" y="11"/>
                    <a:pt x="11" y="11"/>
                    <a:pt x="11" y="11"/>
                  </a:cubicBezTo>
                  <a:cubicBezTo>
                    <a:pt x="10" y="11"/>
                    <a:pt x="9" y="11"/>
                    <a:pt x="8" y="11"/>
                  </a:cubicBezTo>
                  <a:cubicBezTo>
                    <a:pt x="8" y="11"/>
                    <a:pt x="8" y="11"/>
                    <a:pt x="8" y="11"/>
                  </a:cubicBezTo>
                  <a:cubicBezTo>
                    <a:pt x="7" y="11"/>
                    <a:pt x="7" y="11"/>
                    <a:pt x="5" y="12"/>
                  </a:cubicBezTo>
                  <a:cubicBezTo>
                    <a:pt x="5" y="12"/>
                    <a:pt x="5" y="12"/>
                    <a:pt x="5" y="12"/>
                  </a:cubicBezTo>
                  <a:cubicBezTo>
                    <a:pt x="4" y="12"/>
                    <a:pt x="4" y="12"/>
                    <a:pt x="4" y="12"/>
                  </a:cubicBezTo>
                  <a:cubicBezTo>
                    <a:pt x="4" y="12"/>
                    <a:pt x="4" y="12"/>
                    <a:pt x="4" y="12"/>
                  </a:cubicBezTo>
                  <a:cubicBezTo>
                    <a:pt x="2" y="15"/>
                    <a:pt x="2" y="15"/>
                    <a:pt x="2" y="15"/>
                  </a:cubicBezTo>
                  <a:cubicBezTo>
                    <a:pt x="0" y="16"/>
                    <a:pt x="0" y="16"/>
                    <a:pt x="0" y="16"/>
                  </a:cubicBezTo>
                  <a:cubicBezTo>
                    <a:pt x="2" y="16"/>
                    <a:pt x="2" y="16"/>
                    <a:pt x="2" y="16"/>
                  </a:cubicBezTo>
                  <a:cubicBezTo>
                    <a:pt x="2" y="22"/>
                    <a:pt x="2" y="22"/>
                    <a:pt x="2" y="22"/>
                  </a:cubicBezTo>
                  <a:cubicBezTo>
                    <a:pt x="3" y="25"/>
                    <a:pt x="3" y="25"/>
                    <a:pt x="3" y="25"/>
                  </a:cubicBezTo>
                  <a:cubicBezTo>
                    <a:pt x="3" y="25"/>
                    <a:pt x="3" y="25"/>
                    <a:pt x="3" y="25"/>
                  </a:cubicBezTo>
                  <a:cubicBezTo>
                    <a:pt x="3" y="26"/>
                    <a:pt x="3" y="26"/>
                    <a:pt x="3" y="27"/>
                  </a:cubicBezTo>
                  <a:cubicBezTo>
                    <a:pt x="3" y="27"/>
                    <a:pt x="3" y="27"/>
                    <a:pt x="4" y="27"/>
                  </a:cubicBezTo>
                  <a:cubicBezTo>
                    <a:pt x="5" y="27"/>
                    <a:pt x="7" y="27"/>
                    <a:pt x="8" y="29"/>
                  </a:cubicBezTo>
                  <a:cubicBezTo>
                    <a:pt x="8" y="30"/>
                    <a:pt x="8" y="31"/>
                    <a:pt x="7" y="33"/>
                  </a:cubicBezTo>
                  <a:cubicBezTo>
                    <a:pt x="6" y="34"/>
                    <a:pt x="6" y="34"/>
                    <a:pt x="6" y="34"/>
                  </a:cubicBezTo>
                  <a:cubicBezTo>
                    <a:pt x="6" y="34"/>
                    <a:pt x="6" y="34"/>
                    <a:pt x="6" y="34"/>
                  </a:cubicBezTo>
                  <a:cubicBezTo>
                    <a:pt x="6" y="35"/>
                    <a:pt x="7" y="35"/>
                    <a:pt x="8" y="37"/>
                  </a:cubicBezTo>
                  <a:cubicBezTo>
                    <a:pt x="8" y="37"/>
                    <a:pt x="9" y="37"/>
                    <a:pt x="9" y="37"/>
                  </a:cubicBezTo>
                  <a:cubicBezTo>
                    <a:pt x="9" y="37"/>
                    <a:pt x="9" y="37"/>
                    <a:pt x="9" y="37"/>
                  </a:cubicBezTo>
                  <a:cubicBezTo>
                    <a:pt x="10" y="37"/>
                    <a:pt x="11" y="37"/>
                    <a:pt x="11" y="37"/>
                  </a:cubicBezTo>
                  <a:cubicBezTo>
                    <a:pt x="11" y="37"/>
                    <a:pt x="11" y="37"/>
                    <a:pt x="11" y="37"/>
                  </a:cubicBezTo>
                  <a:cubicBezTo>
                    <a:pt x="12" y="38"/>
                    <a:pt x="12" y="38"/>
                    <a:pt x="12" y="38"/>
                  </a:cubicBezTo>
                  <a:cubicBezTo>
                    <a:pt x="12" y="38"/>
                    <a:pt x="12" y="38"/>
                    <a:pt x="12" y="38"/>
                  </a:cubicBezTo>
                  <a:cubicBezTo>
                    <a:pt x="12" y="38"/>
                    <a:pt x="13" y="39"/>
                    <a:pt x="14" y="39"/>
                  </a:cubicBezTo>
                  <a:cubicBezTo>
                    <a:pt x="14" y="39"/>
                    <a:pt x="14" y="39"/>
                    <a:pt x="14" y="39"/>
                  </a:cubicBezTo>
                  <a:cubicBezTo>
                    <a:pt x="15" y="39"/>
                    <a:pt x="15" y="38"/>
                    <a:pt x="16" y="38"/>
                  </a:cubicBezTo>
                  <a:cubicBezTo>
                    <a:pt x="16" y="38"/>
                    <a:pt x="16" y="38"/>
                    <a:pt x="16" y="38"/>
                  </a:cubicBezTo>
                  <a:cubicBezTo>
                    <a:pt x="18" y="38"/>
                    <a:pt x="19" y="40"/>
                    <a:pt x="20" y="41"/>
                  </a:cubicBezTo>
                  <a:cubicBezTo>
                    <a:pt x="21" y="41"/>
                    <a:pt x="21" y="41"/>
                    <a:pt x="21" y="41"/>
                  </a:cubicBezTo>
                  <a:cubicBezTo>
                    <a:pt x="20" y="42"/>
                    <a:pt x="20" y="42"/>
                    <a:pt x="20" y="42"/>
                  </a:cubicBezTo>
                  <a:cubicBezTo>
                    <a:pt x="20" y="44"/>
                    <a:pt x="17" y="46"/>
                    <a:pt x="15" y="47"/>
                  </a:cubicBezTo>
                  <a:cubicBezTo>
                    <a:pt x="14" y="47"/>
                    <a:pt x="14" y="47"/>
                    <a:pt x="14" y="47"/>
                  </a:cubicBezTo>
                  <a:cubicBezTo>
                    <a:pt x="14" y="47"/>
                    <a:pt x="14" y="47"/>
                    <a:pt x="13" y="47"/>
                  </a:cubicBezTo>
                  <a:cubicBezTo>
                    <a:pt x="13" y="47"/>
                    <a:pt x="13" y="47"/>
                    <a:pt x="12" y="47"/>
                  </a:cubicBezTo>
                  <a:cubicBezTo>
                    <a:pt x="12" y="47"/>
                    <a:pt x="11" y="47"/>
                    <a:pt x="10" y="47"/>
                  </a:cubicBezTo>
                  <a:cubicBezTo>
                    <a:pt x="10" y="47"/>
                    <a:pt x="10" y="47"/>
                    <a:pt x="10" y="47"/>
                  </a:cubicBezTo>
                  <a:cubicBezTo>
                    <a:pt x="10" y="47"/>
                    <a:pt x="10" y="47"/>
                    <a:pt x="10" y="47"/>
                  </a:cubicBezTo>
                  <a:cubicBezTo>
                    <a:pt x="11" y="49"/>
                    <a:pt x="12" y="51"/>
                    <a:pt x="12" y="51"/>
                  </a:cubicBezTo>
                  <a:cubicBezTo>
                    <a:pt x="12" y="53"/>
                    <a:pt x="12" y="53"/>
                    <a:pt x="12" y="53"/>
                  </a:cubicBezTo>
                  <a:cubicBezTo>
                    <a:pt x="20" y="54"/>
                    <a:pt x="20" y="54"/>
                    <a:pt x="20" y="54"/>
                  </a:cubicBezTo>
                  <a:cubicBezTo>
                    <a:pt x="21" y="59"/>
                    <a:pt x="21" y="59"/>
                    <a:pt x="21" y="59"/>
                  </a:cubicBezTo>
                  <a:cubicBezTo>
                    <a:pt x="21" y="62"/>
                    <a:pt x="21" y="62"/>
                    <a:pt x="21" y="62"/>
                  </a:cubicBezTo>
                  <a:cubicBezTo>
                    <a:pt x="20" y="66"/>
                    <a:pt x="20" y="66"/>
                    <a:pt x="20" y="66"/>
                  </a:cubicBezTo>
                  <a:cubicBezTo>
                    <a:pt x="18" y="69"/>
                    <a:pt x="18" y="69"/>
                    <a:pt x="18" y="69"/>
                  </a:cubicBezTo>
                  <a:cubicBezTo>
                    <a:pt x="18" y="69"/>
                    <a:pt x="18" y="70"/>
                    <a:pt x="18" y="71"/>
                  </a:cubicBezTo>
                  <a:cubicBezTo>
                    <a:pt x="18" y="71"/>
                    <a:pt x="18" y="72"/>
                    <a:pt x="17" y="73"/>
                  </a:cubicBezTo>
                  <a:cubicBezTo>
                    <a:pt x="17" y="75"/>
                    <a:pt x="17" y="75"/>
                    <a:pt x="17" y="75"/>
                  </a:cubicBezTo>
                  <a:cubicBezTo>
                    <a:pt x="16" y="75"/>
                    <a:pt x="16" y="75"/>
                    <a:pt x="16" y="75"/>
                  </a:cubicBezTo>
                  <a:cubicBezTo>
                    <a:pt x="16" y="75"/>
                    <a:pt x="16" y="75"/>
                    <a:pt x="16" y="75"/>
                  </a:cubicBezTo>
                  <a:cubicBezTo>
                    <a:pt x="17" y="76"/>
                    <a:pt x="17" y="79"/>
                    <a:pt x="17" y="81"/>
                  </a:cubicBezTo>
                  <a:cubicBezTo>
                    <a:pt x="17" y="81"/>
                    <a:pt x="17" y="81"/>
                    <a:pt x="17" y="81"/>
                  </a:cubicBezTo>
                  <a:cubicBezTo>
                    <a:pt x="18" y="81"/>
                    <a:pt x="18" y="81"/>
                    <a:pt x="18" y="81"/>
                  </a:cubicBezTo>
                  <a:cubicBezTo>
                    <a:pt x="19" y="81"/>
                    <a:pt x="19" y="81"/>
                    <a:pt x="19" y="81"/>
                  </a:cubicBezTo>
                  <a:cubicBezTo>
                    <a:pt x="21" y="81"/>
                    <a:pt x="22" y="81"/>
                    <a:pt x="23" y="82"/>
                  </a:cubicBezTo>
                  <a:cubicBezTo>
                    <a:pt x="25" y="83"/>
                    <a:pt x="25" y="84"/>
                    <a:pt x="25" y="84"/>
                  </a:cubicBezTo>
                  <a:cubicBezTo>
                    <a:pt x="25" y="85"/>
                    <a:pt x="25" y="85"/>
                    <a:pt x="26" y="85"/>
                  </a:cubicBezTo>
                  <a:cubicBezTo>
                    <a:pt x="26" y="85"/>
                    <a:pt x="26" y="85"/>
                    <a:pt x="26" y="85"/>
                  </a:cubicBezTo>
                  <a:cubicBezTo>
                    <a:pt x="27" y="85"/>
                    <a:pt x="27" y="85"/>
                    <a:pt x="27" y="85"/>
                  </a:cubicBezTo>
                  <a:cubicBezTo>
                    <a:pt x="28" y="85"/>
                    <a:pt x="30" y="87"/>
                    <a:pt x="30" y="88"/>
                  </a:cubicBezTo>
                  <a:cubicBezTo>
                    <a:pt x="30" y="88"/>
                    <a:pt x="30" y="88"/>
                    <a:pt x="30" y="88"/>
                  </a:cubicBezTo>
                  <a:cubicBezTo>
                    <a:pt x="30" y="88"/>
                    <a:pt x="30" y="88"/>
                    <a:pt x="31" y="88"/>
                  </a:cubicBezTo>
                  <a:cubicBezTo>
                    <a:pt x="32" y="89"/>
                    <a:pt x="33" y="89"/>
                    <a:pt x="34" y="90"/>
                  </a:cubicBezTo>
                  <a:cubicBezTo>
                    <a:pt x="34" y="91"/>
                    <a:pt x="34" y="92"/>
                    <a:pt x="34" y="93"/>
                  </a:cubicBezTo>
                  <a:cubicBezTo>
                    <a:pt x="34" y="94"/>
                    <a:pt x="33" y="94"/>
                    <a:pt x="33" y="94"/>
                  </a:cubicBezTo>
                  <a:cubicBezTo>
                    <a:pt x="32" y="95"/>
                    <a:pt x="32" y="96"/>
                    <a:pt x="30" y="97"/>
                  </a:cubicBezTo>
                  <a:cubicBezTo>
                    <a:pt x="26" y="97"/>
                    <a:pt x="26" y="97"/>
                    <a:pt x="26" y="97"/>
                  </a:cubicBezTo>
                  <a:cubicBezTo>
                    <a:pt x="26" y="98"/>
                    <a:pt x="26" y="98"/>
                    <a:pt x="26" y="98"/>
                  </a:cubicBezTo>
                  <a:cubicBezTo>
                    <a:pt x="27" y="99"/>
                    <a:pt x="28" y="100"/>
                    <a:pt x="29" y="100"/>
                  </a:cubicBezTo>
                  <a:cubicBezTo>
                    <a:pt x="29" y="101"/>
                    <a:pt x="30" y="102"/>
                    <a:pt x="30" y="102"/>
                  </a:cubicBezTo>
                  <a:cubicBezTo>
                    <a:pt x="33" y="106"/>
                    <a:pt x="33" y="106"/>
                    <a:pt x="33" y="106"/>
                  </a:cubicBezTo>
                  <a:cubicBezTo>
                    <a:pt x="33" y="106"/>
                    <a:pt x="33" y="106"/>
                    <a:pt x="33" y="106"/>
                  </a:cubicBezTo>
                  <a:cubicBezTo>
                    <a:pt x="34" y="107"/>
                    <a:pt x="34" y="108"/>
                    <a:pt x="34" y="111"/>
                  </a:cubicBezTo>
                  <a:cubicBezTo>
                    <a:pt x="34" y="114"/>
                    <a:pt x="32" y="114"/>
                    <a:pt x="31" y="114"/>
                  </a:cubicBezTo>
                  <a:cubicBezTo>
                    <a:pt x="31" y="114"/>
                    <a:pt x="31" y="114"/>
                    <a:pt x="31" y="114"/>
                  </a:cubicBezTo>
                  <a:cubicBezTo>
                    <a:pt x="30" y="114"/>
                    <a:pt x="30" y="114"/>
                    <a:pt x="30" y="114"/>
                  </a:cubicBezTo>
                  <a:cubicBezTo>
                    <a:pt x="29" y="114"/>
                    <a:pt x="29" y="114"/>
                    <a:pt x="29" y="114"/>
                  </a:cubicBezTo>
                  <a:cubicBezTo>
                    <a:pt x="28" y="114"/>
                    <a:pt x="28" y="114"/>
                    <a:pt x="27" y="114"/>
                  </a:cubicBezTo>
                  <a:cubicBezTo>
                    <a:pt x="27" y="114"/>
                    <a:pt x="27" y="114"/>
                    <a:pt x="27" y="114"/>
                  </a:cubicBezTo>
                  <a:cubicBezTo>
                    <a:pt x="26" y="115"/>
                    <a:pt x="26" y="115"/>
                    <a:pt x="26" y="115"/>
                  </a:cubicBezTo>
                  <a:cubicBezTo>
                    <a:pt x="28" y="116"/>
                    <a:pt x="28" y="116"/>
                    <a:pt x="28" y="116"/>
                  </a:cubicBezTo>
                  <a:cubicBezTo>
                    <a:pt x="27" y="116"/>
                    <a:pt x="27" y="116"/>
                    <a:pt x="27" y="116"/>
                  </a:cubicBezTo>
                  <a:cubicBezTo>
                    <a:pt x="28" y="117"/>
                    <a:pt x="28" y="117"/>
                    <a:pt x="28" y="117"/>
                  </a:cubicBezTo>
                  <a:cubicBezTo>
                    <a:pt x="28" y="117"/>
                    <a:pt x="28" y="117"/>
                    <a:pt x="28" y="117"/>
                  </a:cubicBezTo>
                  <a:cubicBezTo>
                    <a:pt x="28" y="117"/>
                    <a:pt x="28" y="117"/>
                    <a:pt x="29" y="118"/>
                  </a:cubicBezTo>
                  <a:cubicBezTo>
                    <a:pt x="29" y="118"/>
                    <a:pt x="29" y="118"/>
                    <a:pt x="29" y="118"/>
                  </a:cubicBezTo>
                  <a:cubicBezTo>
                    <a:pt x="30" y="118"/>
                    <a:pt x="30" y="118"/>
                    <a:pt x="30" y="118"/>
                  </a:cubicBezTo>
                  <a:cubicBezTo>
                    <a:pt x="30" y="118"/>
                    <a:pt x="31" y="119"/>
                    <a:pt x="31" y="119"/>
                  </a:cubicBezTo>
                  <a:cubicBezTo>
                    <a:pt x="32" y="120"/>
                    <a:pt x="32" y="120"/>
                    <a:pt x="32" y="120"/>
                  </a:cubicBezTo>
                  <a:cubicBezTo>
                    <a:pt x="32" y="120"/>
                    <a:pt x="32" y="120"/>
                    <a:pt x="32" y="120"/>
                  </a:cubicBezTo>
                  <a:cubicBezTo>
                    <a:pt x="32" y="120"/>
                    <a:pt x="33" y="120"/>
                    <a:pt x="33" y="120"/>
                  </a:cubicBezTo>
                  <a:cubicBezTo>
                    <a:pt x="33" y="120"/>
                    <a:pt x="33" y="120"/>
                    <a:pt x="33" y="120"/>
                  </a:cubicBezTo>
                  <a:cubicBezTo>
                    <a:pt x="35" y="120"/>
                    <a:pt x="35" y="122"/>
                    <a:pt x="35" y="123"/>
                  </a:cubicBezTo>
                  <a:cubicBezTo>
                    <a:pt x="35" y="123"/>
                    <a:pt x="36" y="123"/>
                    <a:pt x="36" y="123"/>
                  </a:cubicBezTo>
                  <a:cubicBezTo>
                    <a:pt x="36" y="123"/>
                    <a:pt x="37" y="123"/>
                    <a:pt x="37" y="124"/>
                  </a:cubicBezTo>
                  <a:cubicBezTo>
                    <a:pt x="39" y="125"/>
                    <a:pt x="39" y="125"/>
                    <a:pt x="39" y="125"/>
                  </a:cubicBezTo>
                  <a:cubicBezTo>
                    <a:pt x="39" y="125"/>
                    <a:pt x="39" y="126"/>
                    <a:pt x="39" y="126"/>
                  </a:cubicBezTo>
                  <a:cubicBezTo>
                    <a:pt x="40" y="125"/>
                    <a:pt x="40" y="125"/>
                    <a:pt x="41" y="125"/>
                  </a:cubicBezTo>
                  <a:cubicBezTo>
                    <a:pt x="42" y="125"/>
                    <a:pt x="42" y="125"/>
                    <a:pt x="42" y="125"/>
                  </a:cubicBezTo>
                  <a:cubicBezTo>
                    <a:pt x="43" y="126"/>
                    <a:pt x="43" y="126"/>
                    <a:pt x="43" y="126"/>
                  </a:cubicBezTo>
                  <a:cubicBezTo>
                    <a:pt x="43" y="126"/>
                    <a:pt x="44" y="127"/>
                    <a:pt x="44" y="127"/>
                  </a:cubicBezTo>
                  <a:cubicBezTo>
                    <a:pt x="44" y="127"/>
                    <a:pt x="44" y="127"/>
                    <a:pt x="44" y="127"/>
                  </a:cubicBezTo>
                  <a:cubicBezTo>
                    <a:pt x="44" y="127"/>
                    <a:pt x="44" y="127"/>
                    <a:pt x="44" y="127"/>
                  </a:cubicBezTo>
                  <a:cubicBezTo>
                    <a:pt x="45" y="127"/>
                    <a:pt x="45" y="127"/>
                    <a:pt x="45" y="127"/>
                  </a:cubicBezTo>
                  <a:cubicBezTo>
                    <a:pt x="46" y="126"/>
                    <a:pt x="47" y="126"/>
                    <a:pt x="48" y="126"/>
                  </a:cubicBezTo>
                  <a:cubicBezTo>
                    <a:pt x="48" y="126"/>
                    <a:pt x="48" y="126"/>
                    <a:pt x="48" y="126"/>
                  </a:cubicBezTo>
                  <a:cubicBezTo>
                    <a:pt x="49" y="126"/>
                    <a:pt x="49" y="126"/>
                    <a:pt x="50" y="126"/>
                  </a:cubicBezTo>
                  <a:cubicBezTo>
                    <a:pt x="50" y="126"/>
                    <a:pt x="50" y="126"/>
                    <a:pt x="50" y="126"/>
                  </a:cubicBezTo>
                  <a:cubicBezTo>
                    <a:pt x="51" y="128"/>
                    <a:pt x="51" y="128"/>
                    <a:pt x="51" y="128"/>
                  </a:cubicBezTo>
                  <a:cubicBezTo>
                    <a:pt x="51" y="128"/>
                    <a:pt x="53" y="128"/>
                    <a:pt x="53" y="128"/>
                  </a:cubicBezTo>
                  <a:cubicBezTo>
                    <a:pt x="53" y="128"/>
                    <a:pt x="54" y="129"/>
                    <a:pt x="56" y="131"/>
                  </a:cubicBezTo>
                  <a:cubicBezTo>
                    <a:pt x="57" y="131"/>
                    <a:pt x="57" y="131"/>
                    <a:pt x="57" y="131"/>
                  </a:cubicBezTo>
                  <a:cubicBezTo>
                    <a:pt x="57" y="131"/>
                    <a:pt x="57" y="131"/>
                    <a:pt x="57" y="131"/>
                  </a:cubicBezTo>
                  <a:cubicBezTo>
                    <a:pt x="58" y="131"/>
                    <a:pt x="58" y="131"/>
                    <a:pt x="58" y="131"/>
                  </a:cubicBezTo>
                  <a:cubicBezTo>
                    <a:pt x="59" y="131"/>
                    <a:pt x="60" y="132"/>
                    <a:pt x="60" y="132"/>
                  </a:cubicBezTo>
                  <a:cubicBezTo>
                    <a:pt x="62" y="132"/>
                    <a:pt x="63" y="133"/>
                    <a:pt x="63" y="134"/>
                  </a:cubicBezTo>
                  <a:cubicBezTo>
                    <a:pt x="64" y="134"/>
                    <a:pt x="64" y="135"/>
                    <a:pt x="65" y="135"/>
                  </a:cubicBezTo>
                  <a:cubicBezTo>
                    <a:pt x="66" y="136"/>
                    <a:pt x="67" y="137"/>
                    <a:pt x="67" y="137"/>
                  </a:cubicBezTo>
                  <a:cubicBezTo>
                    <a:pt x="68" y="138"/>
                    <a:pt x="68" y="138"/>
                    <a:pt x="68" y="138"/>
                  </a:cubicBezTo>
                  <a:cubicBezTo>
                    <a:pt x="68" y="138"/>
                    <a:pt x="68" y="138"/>
                    <a:pt x="68" y="138"/>
                  </a:cubicBezTo>
                  <a:cubicBezTo>
                    <a:pt x="69" y="137"/>
                    <a:pt x="69" y="137"/>
                    <a:pt x="69" y="137"/>
                  </a:cubicBezTo>
                  <a:cubicBezTo>
                    <a:pt x="67" y="134"/>
                    <a:pt x="67" y="134"/>
                    <a:pt x="67" y="134"/>
                  </a:cubicBezTo>
                  <a:cubicBezTo>
                    <a:pt x="72" y="130"/>
                    <a:pt x="72" y="130"/>
                    <a:pt x="72" y="130"/>
                  </a:cubicBezTo>
                  <a:cubicBezTo>
                    <a:pt x="73" y="126"/>
                    <a:pt x="73" y="126"/>
                    <a:pt x="73" y="126"/>
                  </a:cubicBezTo>
                  <a:cubicBezTo>
                    <a:pt x="73" y="126"/>
                    <a:pt x="73" y="126"/>
                    <a:pt x="73" y="126"/>
                  </a:cubicBezTo>
                  <a:cubicBezTo>
                    <a:pt x="73" y="126"/>
                    <a:pt x="72" y="125"/>
                    <a:pt x="71" y="124"/>
                  </a:cubicBezTo>
                  <a:cubicBezTo>
                    <a:pt x="70" y="123"/>
                    <a:pt x="70" y="122"/>
                    <a:pt x="71" y="122"/>
                  </a:cubicBezTo>
                  <a:cubicBezTo>
                    <a:pt x="71" y="121"/>
                    <a:pt x="72" y="121"/>
                    <a:pt x="72" y="121"/>
                  </a:cubicBezTo>
                  <a:cubicBezTo>
                    <a:pt x="73" y="120"/>
                    <a:pt x="73" y="120"/>
                    <a:pt x="74" y="120"/>
                  </a:cubicBezTo>
                  <a:cubicBezTo>
                    <a:pt x="75" y="119"/>
                    <a:pt x="76" y="119"/>
                    <a:pt x="76" y="118"/>
                  </a:cubicBezTo>
                  <a:cubicBezTo>
                    <a:pt x="78" y="117"/>
                    <a:pt x="79" y="119"/>
                    <a:pt x="79" y="119"/>
                  </a:cubicBezTo>
                  <a:cubicBezTo>
                    <a:pt x="79" y="119"/>
                    <a:pt x="79" y="122"/>
                    <a:pt x="81" y="122"/>
                  </a:cubicBezTo>
                  <a:cubicBezTo>
                    <a:pt x="82" y="123"/>
                    <a:pt x="83" y="123"/>
                    <a:pt x="83" y="123"/>
                  </a:cubicBezTo>
                  <a:cubicBezTo>
                    <a:pt x="86" y="123"/>
                    <a:pt x="86" y="123"/>
                    <a:pt x="86" y="123"/>
                  </a:cubicBezTo>
                  <a:cubicBezTo>
                    <a:pt x="90" y="126"/>
                    <a:pt x="90" y="126"/>
                    <a:pt x="90" y="126"/>
                  </a:cubicBezTo>
                  <a:cubicBezTo>
                    <a:pt x="90" y="126"/>
                    <a:pt x="91" y="127"/>
                    <a:pt x="91" y="127"/>
                  </a:cubicBezTo>
                  <a:cubicBezTo>
                    <a:pt x="92" y="128"/>
                    <a:pt x="93" y="130"/>
                    <a:pt x="93" y="131"/>
                  </a:cubicBezTo>
                  <a:cubicBezTo>
                    <a:pt x="99" y="133"/>
                    <a:pt x="99" y="133"/>
                    <a:pt x="99" y="133"/>
                  </a:cubicBezTo>
                  <a:cubicBezTo>
                    <a:pt x="100" y="136"/>
                    <a:pt x="100" y="136"/>
                    <a:pt x="100" y="136"/>
                  </a:cubicBezTo>
                  <a:cubicBezTo>
                    <a:pt x="100" y="136"/>
                    <a:pt x="103" y="136"/>
                    <a:pt x="104" y="136"/>
                  </a:cubicBezTo>
                  <a:cubicBezTo>
                    <a:pt x="106" y="137"/>
                    <a:pt x="107" y="138"/>
                    <a:pt x="107" y="138"/>
                  </a:cubicBezTo>
                  <a:cubicBezTo>
                    <a:pt x="107" y="138"/>
                    <a:pt x="107" y="138"/>
                    <a:pt x="107" y="138"/>
                  </a:cubicBezTo>
                  <a:cubicBezTo>
                    <a:pt x="108" y="137"/>
                    <a:pt x="108" y="137"/>
                    <a:pt x="108" y="137"/>
                  </a:cubicBezTo>
                  <a:cubicBezTo>
                    <a:pt x="113" y="138"/>
                    <a:pt x="113" y="138"/>
                    <a:pt x="113" y="138"/>
                  </a:cubicBezTo>
                  <a:cubicBezTo>
                    <a:pt x="113" y="139"/>
                    <a:pt x="113" y="139"/>
                    <a:pt x="112" y="140"/>
                  </a:cubicBezTo>
                  <a:cubicBezTo>
                    <a:pt x="111" y="140"/>
                    <a:pt x="111" y="142"/>
                    <a:pt x="112" y="143"/>
                  </a:cubicBezTo>
                  <a:cubicBezTo>
                    <a:pt x="112" y="144"/>
                    <a:pt x="112" y="145"/>
                    <a:pt x="111" y="146"/>
                  </a:cubicBezTo>
                  <a:cubicBezTo>
                    <a:pt x="111" y="147"/>
                    <a:pt x="110" y="147"/>
                    <a:pt x="109" y="147"/>
                  </a:cubicBezTo>
                  <a:cubicBezTo>
                    <a:pt x="108" y="147"/>
                    <a:pt x="109" y="148"/>
                    <a:pt x="109" y="149"/>
                  </a:cubicBezTo>
                  <a:cubicBezTo>
                    <a:pt x="109" y="149"/>
                    <a:pt x="109" y="150"/>
                    <a:pt x="109" y="150"/>
                  </a:cubicBezTo>
                  <a:cubicBezTo>
                    <a:pt x="110" y="151"/>
                    <a:pt x="110" y="151"/>
                    <a:pt x="109" y="152"/>
                  </a:cubicBezTo>
                  <a:cubicBezTo>
                    <a:pt x="108" y="153"/>
                    <a:pt x="107" y="154"/>
                    <a:pt x="107" y="154"/>
                  </a:cubicBezTo>
                  <a:cubicBezTo>
                    <a:pt x="107" y="154"/>
                    <a:pt x="107" y="154"/>
                    <a:pt x="107" y="154"/>
                  </a:cubicBezTo>
                  <a:cubicBezTo>
                    <a:pt x="109" y="156"/>
                    <a:pt x="109" y="156"/>
                    <a:pt x="109" y="156"/>
                  </a:cubicBezTo>
                  <a:cubicBezTo>
                    <a:pt x="109" y="156"/>
                    <a:pt x="109" y="156"/>
                    <a:pt x="109" y="156"/>
                  </a:cubicBezTo>
                  <a:cubicBezTo>
                    <a:pt x="109" y="156"/>
                    <a:pt x="111" y="156"/>
                    <a:pt x="112" y="156"/>
                  </a:cubicBezTo>
                  <a:cubicBezTo>
                    <a:pt x="112" y="157"/>
                    <a:pt x="112" y="157"/>
                    <a:pt x="112" y="157"/>
                  </a:cubicBezTo>
                  <a:cubicBezTo>
                    <a:pt x="112" y="157"/>
                    <a:pt x="112" y="157"/>
                    <a:pt x="112" y="157"/>
                  </a:cubicBezTo>
                  <a:cubicBezTo>
                    <a:pt x="112" y="156"/>
                    <a:pt x="112" y="156"/>
                    <a:pt x="112" y="156"/>
                  </a:cubicBezTo>
                  <a:cubicBezTo>
                    <a:pt x="112" y="156"/>
                    <a:pt x="113" y="156"/>
                    <a:pt x="113" y="156"/>
                  </a:cubicBezTo>
                  <a:cubicBezTo>
                    <a:pt x="113" y="155"/>
                    <a:pt x="115" y="153"/>
                    <a:pt x="115" y="153"/>
                  </a:cubicBezTo>
                  <a:cubicBezTo>
                    <a:pt x="117" y="153"/>
                    <a:pt x="117" y="153"/>
                    <a:pt x="117" y="153"/>
                  </a:cubicBezTo>
                  <a:cubicBezTo>
                    <a:pt x="119" y="151"/>
                    <a:pt x="119" y="151"/>
                    <a:pt x="119" y="151"/>
                  </a:cubicBezTo>
                  <a:cubicBezTo>
                    <a:pt x="119" y="151"/>
                    <a:pt x="121" y="151"/>
                    <a:pt x="121" y="151"/>
                  </a:cubicBezTo>
                  <a:cubicBezTo>
                    <a:pt x="122" y="151"/>
                    <a:pt x="123" y="151"/>
                    <a:pt x="124" y="151"/>
                  </a:cubicBezTo>
                  <a:cubicBezTo>
                    <a:pt x="125" y="151"/>
                    <a:pt x="125" y="150"/>
                    <a:pt x="125" y="150"/>
                  </a:cubicBezTo>
                  <a:cubicBezTo>
                    <a:pt x="125" y="150"/>
                    <a:pt x="127" y="149"/>
                    <a:pt x="129" y="148"/>
                  </a:cubicBezTo>
                  <a:cubicBezTo>
                    <a:pt x="130" y="148"/>
                    <a:pt x="131" y="148"/>
                    <a:pt x="131" y="148"/>
                  </a:cubicBezTo>
                  <a:cubicBezTo>
                    <a:pt x="131" y="148"/>
                    <a:pt x="132" y="148"/>
                    <a:pt x="133" y="148"/>
                  </a:cubicBezTo>
                  <a:cubicBezTo>
                    <a:pt x="133" y="148"/>
                    <a:pt x="134" y="148"/>
                    <a:pt x="134" y="148"/>
                  </a:cubicBezTo>
                  <a:cubicBezTo>
                    <a:pt x="135" y="148"/>
                    <a:pt x="135" y="147"/>
                    <a:pt x="135" y="147"/>
                  </a:cubicBezTo>
                  <a:cubicBezTo>
                    <a:pt x="137" y="142"/>
                    <a:pt x="137" y="142"/>
                    <a:pt x="137" y="142"/>
                  </a:cubicBezTo>
                  <a:cubicBezTo>
                    <a:pt x="137" y="142"/>
                    <a:pt x="136" y="140"/>
                    <a:pt x="136" y="140"/>
                  </a:cubicBezTo>
                  <a:cubicBezTo>
                    <a:pt x="136" y="140"/>
                    <a:pt x="135" y="139"/>
                    <a:pt x="133" y="139"/>
                  </a:cubicBezTo>
                  <a:cubicBezTo>
                    <a:pt x="133" y="131"/>
                    <a:pt x="133" y="131"/>
                    <a:pt x="133" y="131"/>
                  </a:cubicBezTo>
                  <a:cubicBezTo>
                    <a:pt x="131" y="128"/>
                    <a:pt x="131" y="128"/>
                    <a:pt x="131" y="128"/>
                  </a:cubicBezTo>
                  <a:cubicBezTo>
                    <a:pt x="131" y="127"/>
                    <a:pt x="133" y="126"/>
                    <a:pt x="133" y="126"/>
                  </a:cubicBezTo>
                  <a:cubicBezTo>
                    <a:pt x="133" y="125"/>
                    <a:pt x="134" y="124"/>
                    <a:pt x="135" y="124"/>
                  </a:cubicBezTo>
                  <a:cubicBezTo>
                    <a:pt x="138" y="124"/>
                    <a:pt x="138" y="124"/>
                    <a:pt x="138" y="124"/>
                  </a:cubicBezTo>
                  <a:cubicBezTo>
                    <a:pt x="139" y="123"/>
                    <a:pt x="140" y="123"/>
                    <a:pt x="140" y="122"/>
                  </a:cubicBezTo>
                  <a:cubicBezTo>
                    <a:pt x="140" y="122"/>
                    <a:pt x="140" y="120"/>
                    <a:pt x="140" y="119"/>
                  </a:cubicBezTo>
                  <a:cubicBezTo>
                    <a:pt x="140" y="118"/>
                    <a:pt x="141" y="116"/>
                    <a:pt x="142" y="115"/>
                  </a:cubicBezTo>
                  <a:cubicBezTo>
                    <a:pt x="142" y="115"/>
                    <a:pt x="144" y="113"/>
                    <a:pt x="145" y="112"/>
                  </a:cubicBezTo>
                  <a:cubicBezTo>
                    <a:pt x="145" y="111"/>
                    <a:pt x="146" y="108"/>
                    <a:pt x="146" y="107"/>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12"/>
            <p:cNvSpPr>
              <a:spLocks/>
            </p:cNvSpPr>
            <p:nvPr/>
          </p:nvSpPr>
          <p:spPr bwMode="auto">
            <a:xfrm>
              <a:off x="6006851" y="5056835"/>
              <a:ext cx="23106" cy="10893"/>
            </a:xfrm>
            <a:custGeom>
              <a:avLst/>
              <a:gdLst>
                <a:gd name="T0" fmla="*/ 7 w 8"/>
                <a:gd name="T1" fmla="*/ 0 h 4"/>
                <a:gd name="T2" fmla="*/ 5 w 8"/>
                <a:gd name="T3" fmla="*/ 0 h 4"/>
                <a:gd name="T4" fmla="*/ 4 w 8"/>
                <a:gd name="T5" fmla="*/ 0 h 4"/>
                <a:gd name="T6" fmla="*/ 1 w 8"/>
                <a:gd name="T7" fmla="*/ 1 h 4"/>
                <a:gd name="T8" fmla="*/ 1 w 8"/>
                <a:gd name="T9" fmla="*/ 2 h 4"/>
                <a:gd name="T10" fmla="*/ 3 w 8"/>
                <a:gd name="T11" fmla="*/ 3 h 4"/>
                <a:gd name="T12" fmla="*/ 4 w 8"/>
                <a:gd name="T13" fmla="*/ 4 h 4"/>
                <a:gd name="T14" fmla="*/ 7 w 8"/>
                <a:gd name="T15" fmla="*/ 2 h 4"/>
                <a:gd name="T16" fmla="*/ 8 w 8"/>
                <a:gd name="T17" fmla="*/ 1 h 4"/>
                <a:gd name="T18" fmla="*/ 7 w 8"/>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4">
                  <a:moveTo>
                    <a:pt x="7" y="0"/>
                  </a:moveTo>
                  <a:cubicBezTo>
                    <a:pt x="6" y="0"/>
                    <a:pt x="5" y="0"/>
                    <a:pt x="5" y="0"/>
                  </a:cubicBezTo>
                  <a:cubicBezTo>
                    <a:pt x="5" y="0"/>
                    <a:pt x="4" y="0"/>
                    <a:pt x="4" y="0"/>
                  </a:cubicBezTo>
                  <a:cubicBezTo>
                    <a:pt x="4" y="0"/>
                    <a:pt x="2" y="0"/>
                    <a:pt x="1" y="1"/>
                  </a:cubicBezTo>
                  <a:cubicBezTo>
                    <a:pt x="0" y="1"/>
                    <a:pt x="1" y="2"/>
                    <a:pt x="1" y="2"/>
                  </a:cubicBezTo>
                  <a:cubicBezTo>
                    <a:pt x="1" y="2"/>
                    <a:pt x="2" y="3"/>
                    <a:pt x="3" y="3"/>
                  </a:cubicBezTo>
                  <a:cubicBezTo>
                    <a:pt x="4" y="4"/>
                    <a:pt x="4" y="4"/>
                    <a:pt x="4" y="4"/>
                  </a:cubicBezTo>
                  <a:cubicBezTo>
                    <a:pt x="4" y="4"/>
                    <a:pt x="6" y="3"/>
                    <a:pt x="7" y="2"/>
                  </a:cubicBezTo>
                  <a:cubicBezTo>
                    <a:pt x="7" y="1"/>
                    <a:pt x="7" y="2"/>
                    <a:pt x="8" y="1"/>
                  </a:cubicBezTo>
                  <a:cubicBezTo>
                    <a:pt x="8" y="1"/>
                    <a:pt x="7" y="0"/>
                    <a:pt x="7" y="0"/>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13"/>
            <p:cNvSpPr>
              <a:spLocks/>
            </p:cNvSpPr>
            <p:nvPr/>
          </p:nvSpPr>
          <p:spPr bwMode="auto">
            <a:xfrm>
              <a:off x="5834997" y="4837618"/>
              <a:ext cx="28883" cy="70803"/>
            </a:xfrm>
            <a:custGeom>
              <a:avLst/>
              <a:gdLst>
                <a:gd name="T0" fmla="*/ 7 w 10"/>
                <a:gd name="T1" fmla="*/ 22 h 26"/>
                <a:gd name="T2" fmla="*/ 5 w 10"/>
                <a:gd name="T3" fmla="*/ 19 h 26"/>
                <a:gd name="T4" fmla="*/ 4 w 10"/>
                <a:gd name="T5" fmla="*/ 16 h 26"/>
                <a:gd name="T6" fmla="*/ 6 w 10"/>
                <a:gd name="T7" fmla="*/ 18 h 26"/>
                <a:gd name="T8" fmla="*/ 8 w 10"/>
                <a:gd name="T9" fmla="*/ 17 h 26"/>
                <a:gd name="T10" fmla="*/ 6 w 10"/>
                <a:gd name="T11" fmla="*/ 13 h 26"/>
                <a:gd name="T12" fmla="*/ 5 w 10"/>
                <a:gd name="T13" fmla="*/ 11 h 26"/>
                <a:gd name="T14" fmla="*/ 5 w 10"/>
                <a:gd name="T15" fmla="*/ 9 h 26"/>
                <a:gd name="T16" fmla="*/ 4 w 10"/>
                <a:gd name="T17" fmla="*/ 7 h 26"/>
                <a:gd name="T18" fmla="*/ 4 w 10"/>
                <a:gd name="T19" fmla="*/ 5 h 26"/>
                <a:gd name="T20" fmla="*/ 4 w 10"/>
                <a:gd name="T21" fmla="*/ 3 h 26"/>
                <a:gd name="T22" fmla="*/ 7 w 10"/>
                <a:gd name="T23" fmla="*/ 3 h 26"/>
                <a:gd name="T24" fmla="*/ 5 w 10"/>
                <a:gd name="T25" fmla="*/ 2 h 26"/>
                <a:gd name="T26" fmla="*/ 3 w 10"/>
                <a:gd name="T27" fmla="*/ 2 h 26"/>
                <a:gd name="T28" fmla="*/ 2 w 10"/>
                <a:gd name="T29" fmla="*/ 0 h 26"/>
                <a:gd name="T30" fmla="*/ 1 w 10"/>
                <a:gd name="T31" fmla="*/ 1 h 26"/>
                <a:gd name="T32" fmla="*/ 1 w 10"/>
                <a:gd name="T33" fmla="*/ 3 h 26"/>
                <a:gd name="T34" fmla="*/ 2 w 10"/>
                <a:gd name="T35" fmla="*/ 6 h 26"/>
                <a:gd name="T36" fmla="*/ 0 w 10"/>
                <a:gd name="T37" fmla="*/ 5 h 26"/>
                <a:gd name="T38" fmla="*/ 1 w 10"/>
                <a:gd name="T39" fmla="*/ 7 h 26"/>
                <a:gd name="T40" fmla="*/ 1 w 10"/>
                <a:gd name="T41" fmla="*/ 10 h 26"/>
                <a:gd name="T42" fmla="*/ 2 w 10"/>
                <a:gd name="T43" fmla="*/ 12 h 26"/>
                <a:gd name="T44" fmla="*/ 4 w 10"/>
                <a:gd name="T45" fmla="*/ 13 h 26"/>
                <a:gd name="T46" fmla="*/ 2 w 10"/>
                <a:gd name="T47" fmla="*/ 14 h 26"/>
                <a:gd name="T48" fmla="*/ 2 w 10"/>
                <a:gd name="T49" fmla="*/ 17 h 26"/>
                <a:gd name="T50" fmla="*/ 3 w 10"/>
                <a:gd name="T51" fmla="*/ 18 h 26"/>
                <a:gd name="T52" fmla="*/ 3 w 10"/>
                <a:gd name="T53" fmla="*/ 19 h 26"/>
                <a:gd name="T54" fmla="*/ 4 w 10"/>
                <a:gd name="T55" fmla="*/ 20 h 26"/>
                <a:gd name="T56" fmla="*/ 5 w 10"/>
                <a:gd name="T57" fmla="*/ 21 h 26"/>
                <a:gd name="T58" fmla="*/ 8 w 10"/>
                <a:gd name="T59" fmla="*/ 24 h 26"/>
                <a:gd name="T60" fmla="*/ 9 w 10"/>
                <a:gd name="T61" fmla="*/ 25 h 26"/>
                <a:gd name="T62" fmla="*/ 8 w 10"/>
                <a:gd name="T63" fmla="*/ 2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 h="26">
                  <a:moveTo>
                    <a:pt x="8" y="23"/>
                  </a:moveTo>
                  <a:cubicBezTo>
                    <a:pt x="8" y="22"/>
                    <a:pt x="7" y="22"/>
                    <a:pt x="7" y="22"/>
                  </a:cubicBezTo>
                  <a:cubicBezTo>
                    <a:pt x="7" y="22"/>
                    <a:pt x="6" y="21"/>
                    <a:pt x="5" y="20"/>
                  </a:cubicBezTo>
                  <a:cubicBezTo>
                    <a:pt x="5" y="19"/>
                    <a:pt x="5" y="19"/>
                    <a:pt x="5" y="19"/>
                  </a:cubicBezTo>
                  <a:cubicBezTo>
                    <a:pt x="5" y="19"/>
                    <a:pt x="4" y="18"/>
                    <a:pt x="4" y="18"/>
                  </a:cubicBezTo>
                  <a:cubicBezTo>
                    <a:pt x="4" y="18"/>
                    <a:pt x="4" y="17"/>
                    <a:pt x="4" y="16"/>
                  </a:cubicBezTo>
                  <a:cubicBezTo>
                    <a:pt x="5" y="16"/>
                    <a:pt x="5" y="17"/>
                    <a:pt x="5" y="17"/>
                  </a:cubicBezTo>
                  <a:cubicBezTo>
                    <a:pt x="5" y="17"/>
                    <a:pt x="6" y="18"/>
                    <a:pt x="6" y="18"/>
                  </a:cubicBezTo>
                  <a:cubicBezTo>
                    <a:pt x="7" y="19"/>
                    <a:pt x="7" y="18"/>
                    <a:pt x="7" y="18"/>
                  </a:cubicBezTo>
                  <a:cubicBezTo>
                    <a:pt x="7" y="18"/>
                    <a:pt x="8" y="17"/>
                    <a:pt x="8" y="17"/>
                  </a:cubicBezTo>
                  <a:cubicBezTo>
                    <a:pt x="8" y="16"/>
                    <a:pt x="7" y="15"/>
                    <a:pt x="6" y="15"/>
                  </a:cubicBezTo>
                  <a:cubicBezTo>
                    <a:pt x="6" y="15"/>
                    <a:pt x="6" y="13"/>
                    <a:pt x="6" y="13"/>
                  </a:cubicBezTo>
                  <a:cubicBezTo>
                    <a:pt x="6" y="12"/>
                    <a:pt x="6" y="12"/>
                    <a:pt x="6" y="12"/>
                  </a:cubicBezTo>
                  <a:cubicBezTo>
                    <a:pt x="5" y="11"/>
                    <a:pt x="5" y="11"/>
                    <a:pt x="5" y="11"/>
                  </a:cubicBezTo>
                  <a:cubicBezTo>
                    <a:pt x="5" y="11"/>
                    <a:pt x="5" y="10"/>
                    <a:pt x="5" y="10"/>
                  </a:cubicBezTo>
                  <a:cubicBezTo>
                    <a:pt x="5" y="10"/>
                    <a:pt x="5" y="9"/>
                    <a:pt x="5" y="9"/>
                  </a:cubicBezTo>
                  <a:cubicBezTo>
                    <a:pt x="5" y="8"/>
                    <a:pt x="5" y="8"/>
                    <a:pt x="5" y="8"/>
                  </a:cubicBezTo>
                  <a:cubicBezTo>
                    <a:pt x="5" y="8"/>
                    <a:pt x="4" y="7"/>
                    <a:pt x="4" y="7"/>
                  </a:cubicBezTo>
                  <a:cubicBezTo>
                    <a:pt x="4" y="6"/>
                    <a:pt x="4" y="6"/>
                    <a:pt x="4" y="5"/>
                  </a:cubicBezTo>
                  <a:cubicBezTo>
                    <a:pt x="5" y="5"/>
                    <a:pt x="4" y="5"/>
                    <a:pt x="4" y="5"/>
                  </a:cubicBezTo>
                  <a:cubicBezTo>
                    <a:pt x="4" y="4"/>
                    <a:pt x="4" y="3"/>
                    <a:pt x="4" y="3"/>
                  </a:cubicBezTo>
                  <a:cubicBezTo>
                    <a:pt x="4" y="2"/>
                    <a:pt x="4" y="3"/>
                    <a:pt x="4" y="3"/>
                  </a:cubicBezTo>
                  <a:cubicBezTo>
                    <a:pt x="4" y="3"/>
                    <a:pt x="5" y="4"/>
                    <a:pt x="6" y="4"/>
                  </a:cubicBezTo>
                  <a:cubicBezTo>
                    <a:pt x="6" y="4"/>
                    <a:pt x="7" y="3"/>
                    <a:pt x="7" y="3"/>
                  </a:cubicBezTo>
                  <a:cubicBezTo>
                    <a:pt x="7" y="2"/>
                    <a:pt x="6" y="2"/>
                    <a:pt x="6" y="2"/>
                  </a:cubicBezTo>
                  <a:cubicBezTo>
                    <a:pt x="6" y="2"/>
                    <a:pt x="5" y="2"/>
                    <a:pt x="5" y="2"/>
                  </a:cubicBezTo>
                  <a:cubicBezTo>
                    <a:pt x="5" y="2"/>
                    <a:pt x="4" y="2"/>
                    <a:pt x="4" y="2"/>
                  </a:cubicBezTo>
                  <a:cubicBezTo>
                    <a:pt x="3" y="2"/>
                    <a:pt x="4" y="2"/>
                    <a:pt x="3" y="2"/>
                  </a:cubicBezTo>
                  <a:cubicBezTo>
                    <a:pt x="3" y="2"/>
                    <a:pt x="3" y="2"/>
                    <a:pt x="3" y="1"/>
                  </a:cubicBezTo>
                  <a:cubicBezTo>
                    <a:pt x="2" y="1"/>
                    <a:pt x="2" y="0"/>
                    <a:pt x="2" y="0"/>
                  </a:cubicBezTo>
                  <a:cubicBezTo>
                    <a:pt x="2" y="0"/>
                    <a:pt x="1" y="0"/>
                    <a:pt x="1" y="0"/>
                  </a:cubicBezTo>
                  <a:cubicBezTo>
                    <a:pt x="1" y="0"/>
                    <a:pt x="1" y="1"/>
                    <a:pt x="1" y="1"/>
                  </a:cubicBezTo>
                  <a:cubicBezTo>
                    <a:pt x="1" y="1"/>
                    <a:pt x="1" y="2"/>
                    <a:pt x="1" y="2"/>
                  </a:cubicBezTo>
                  <a:cubicBezTo>
                    <a:pt x="1" y="3"/>
                    <a:pt x="1" y="3"/>
                    <a:pt x="1" y="3"/>
                  </a:cubicBezTo>
                  <a:cubicBezTo>
                    <a:pt x="1" y="3"/>
                    <a:pt x="2" y="3"/>
                    <a:pt x="2" y="4"/>
                  </a:cubicBezTo>
                  <a:cubicBezTo>
                    <a:pt x="3" y="4"/>
                    <a:pt x="2" y="5"/>
                    <a:pt x="2" y="6"/>
                  </a:cubicBezTo>
                  <a:cubicBezTo>
                    <a:pt x="2" y="6"/>
                    <a:pt x="2" y="5"/>
                    <a:pt x="1" y="5"/>
                  </a:cubicBezTo>
                  <a:cubicBezTo>
                    <a:pt x="1" y="5"/>
                    <a:pt x="0" y="5"/>
                    <a:pt x="0" y="5"/>
                  </a:cubicBezTo>
                  <a:cubicBezTo>
                    <a:pt x="0" y="5"/>
                    <a:pt x="0" y="6"/>
                    <a:pt x="0" y="6"/>
                  </a:cubicBezTo>
                  <a:cubicBezTo>
                    <a:pt x="0" y="7"/>
                    <a:pt x="0" y="7"/>
                    <a:pt x="1" y="7"/>
                  </a:cubicBezTo>
                  <a:cubicBezTo>
                    <a:pt x="1" y="8"/>
                    <a:pt x="1" y="8"/>
                    <a:pt x="1" y="8"/>
                  </a:cubicBezTo>
                  <a:cubicBezTo>
                    <a:pt x="1" y="8"/>
                    <a:pt x="1" y="9"/>
                    <a:pt x="1" y="10"/>
                  </a:cubicBezTo>
                  <a:cubicBezTo>
                    <a:pt x="2" y="10"/>
                    <a:pt x="2" y="10"/>
                    <a:pt x="2" y="11"/>
                  </a:cubicBezTo>
                  <a:cubicBezTo>
                    <a:pt x="2" y="11"/>
                    <a:pt x="2" y="12"/>
                    <a:pt x="2" y="12"/>
                  </a:cubicBezTo>
                  <a:cubicBezTo>
                    <a:pt x="2" y="12"/>
                    <a:pt x="3" y="13"/>
                    <a:pt x="3" y="13"/>
                  </a:cubicBezTo>
                  <a:cubicBezTo>
                    <a:pt x="3" y="13"/>
                    <a:pt x="4" y="13"/>
                    <a:pt x="4" y="13"/>
                  </a:cubicBezTo>
                  <a:cubicBezTo>
                    <a:pt x="3" y="15"/>
                    <a:pt x="3" y="15"/>
                    <a:pt x="3" y="15"/>
                  </a:cubicBezTo>
                  <a:cubicBezTo>
                    <a:pt x="2" y="14"/>
                    <a:pt x="2" y="14"/>
                    <a:pt x="2" y="14"/>
                  </a:cubicBezTo>
                  <a:cubicBezTo>
                    <a:pt x="2" y="14"/>
                    <a:pt x="2" y="15"/>
                    <a:pt x="2" y="16"/>
                  </a:cubicBezTo>
                  <a:cubicBezTo>
                    <a:pt x="2" y="16"/>
                    <a:pt x="2" y="16"/>
                    <a:pt x="2" y="17"/>
                  </a:cubicBezTo>
                  <a:cubicBezTo>
                    <a:pt x="2" y="17"/>
                    <a:pt x="2" y="17"/>
                    <a:pt x="3" y="17"/>
                  </a:cubicBezTo>
                  <a:cubicBezTo>
                    <a:pt x="3" y="17"/>
                    <a:pt x="3" y="17"/>
                    <a:pt x="3" y="18"/>
                  </a:cubicBezTo>
                  <a:cubicBezTo>
                    <a:pt x="3" y="18"/>
                    <a:pt x="4" y="19"/>
                    <a:pt x="4" y="19"/>
                  </a:cubicBezTo>
                  <a:cubicBezTo>
                    <a:pt x="4" y="19"/>
                    <a:pt x="3" y="19"/>
                    <a:pt x="3" y="19"/>
                  </a:cubicBezTo>
                  <a:cubicBezTo>
                    <a:pt x="2" y="19"/>
                    <a:pt x="2" y="20"/>
                    <a:pt x="2" y="20"/>
                  </a:cubicBezTo>
                  <a:cubicBezTo>
                    <a:pt x="2" y="20"/>
                    <a:pt x="4" y="20"/>
                    <a:pt x="4" y="20"/>
                  </a:cubicBezTo>
                  <a:cubicBezTo>
                    <a:pt x="4" y="20"/>
                    <a:pt x="5" y="20"/>
                    <a:pt x="5" y="20"/>
                  </a:cubicBezTo>
                  <a:cubicBezTo>
                    <a:pt x="5" y="20"/>
                    <a:pt x="5" y="21"/>
                    <a:pt x="5" y="21"/>
                  </a:cubicBezTo>
                  <a:cubicBezTo>
                    <a:pt x="5" y="21"/>
                    <a:pt x="6" y="22"/>
                    <a:pt x="7" y="22"/>
                  </a:cubicBezTo>
                  <a:cubicBezTo>
                    <a:pt x="7" y="22"/>
                    <a:pt x="7" y="24"/>
                    <a:pt x="8" y="24"/>
                  </a:cubicBezTo>
                  <a:cubicBezTo>
                    <a:pt x="8" y="25"/>
                    <a:pt x="8" y="25"/>
                    <a:pt x="9" y="25"/>
                  </a:cubicBezTo>
                  <a:cubicBezTo>
                    <a:pt x="9" y="26"/>
                    <a:pt x="9" y="25"/>
                    <a:pt x="9" y="25"/>
                  </a:cubicBezTo>
                  <a:cubicBezTo>
                    <a:pt x="10" y="25"/>
                    <a:pt x="9" y="24"/>
                    <a:pt x="9" y="24"/>
                  </a:cubicBezTo>
                  <a:cubicBezTo>
                    <a:pt x="9" y="23"/>
                    <a:pt x="9" y="23"/>
                    <a:pt x="8" y="23"/>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14"/>
            <p:cNvSpPr>
              <a:spLocks/>
            </p:cNvSpPr>
            <p:nvPr/>
          </p:nvSpPr>
          <p:spPr bwMode="auto">
            <a:xfrm>
              <a:off x="6006851" y="5067728"/>
              <a:ext cx="5777" cy="5446"/>
            </a:xfrm>
            <a:custGeom>
              <a:avLst/>
              <a:gdLst>
                <a:gd name="T0" fmla="*/ 1 w 2"/>
                <a:gd name="T1" fmla="*/ 0 h 2"/>
                <a:gd name="T2" fmla="*/ 0 w 2"/>
                <a:gd name="T3" fmla="*/ 2 h 2"/>
                <a:gd name="T4" fmla="*/ 1 w 2"/>
                <a:gd name="T5" fmla="*/ 2 h 2"/>
                <a:gd name="T6" fmla="*/ 2 w 2"/>
                <a:gd name="T7" fmla="*/ 1 h 2"/>
                <a:gd name="T8" fmla="*/ 1 w 2"/>
                <a:gd name="T9" fmla="*/ 0 h 2"/>
              </a:gdLst>
              <a:ahLst/>
              <a:cxnLst>
                <a:cxn ang="0">
                  <a:pos x="T0" y="T1"/>
                </a:cxn>
                <a:cxn ang="0">
                  <a:pos x="T2" y="T3"/>
                </a:cxn>
                <a:cxn ang="0">
                  <a:pos x="T4" y="T5"/>
                </a:cxn>
                <a:cxn ang="0">
                  <a:pos x="T6" y="T7"/>
                </a:cxn>
                <a:cxn ang="0">
                  <a:pos x="T8" y="T9"/>
                </a:cxn>
              </a:cxnLst>
              <a:rect l="0" t="0" r="r" b="b"/>
              <a:pathLst>
                <a:path w="2" h="2">
                  <a:moveTo>
                    <a:pt x="1" y="0"/>
                  </a:moveTo>
                  <a:cubicBezTo>
                    <a:pt x="0" y="0"/>
                    <a:pt x="0" y="2"/>
                    <a:pt x="0" y="2"/>
                  </a:cubicBezTo>
                  <a:cubicBezTo>
                    <a:pt x="0" y="2"/>
                    <a:pt x="1" y="2"/>
                    <a:pt x="1" y="2"/>
                  </a:cubicBezTo>
                  <a:cubicBezTo>
                    <a:pt x="1" y="2"/>
                    <a:pt x="2" y="1"/>
                    <a:pt x="2" y="1"/>
                  </a:cubicBezTo>
                  <a:cubicBezTo>
                    <a:pt x="2" y="0"/>
                    <a:pt x="1" y="0"/>
                    <a:pt x="1" y="0"/>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15"/>
            <p:cNvSpPr>
              <a:spLocks/>
            </p:cNvSpPr>
            <p:nvPr/>
          </p:nvSpPr>
          <p:spPr bwMode="auto">
            <a:xfrm>
              <a:off x="6018404" y="5010541"/>
              <a:ext cx="63542" cy="16339"/>
            </a:xfrm>
            <a:custGeom>
              <a:avLst/>
              <a:gdLst>
                <a:gd name="T0" fmla="*/ 6 w 22"/>
                <a:gd name="T1" fmla="*/ 3 h 6"/>
                <a:gd name="T2" fmla="*/ 4 w 22"/>
                <a:gd name="T3" fmla="*/ 2 h 6"/>
                <a:gd name="T4" fmla="*/ 2 w 22"/>
                <a:gd name="T5" fmla="*/ 0 h 6"/>
                <a:gd name="T6" fmla="*/ 0 w 22"/>
                <a:gd name="T7" fmla="*/ 1 h 6"/>
                <a:gd name="T8" fmla="*/ 1 w 22"/>
                <a:gd name="T9" fmla="*/ 2 h 6"/>
                <a:gd name="T10" fmla="*/ 3 w 22"/>
                <a:gd name="T11" fmla="*/ 2 h 6"/>
                <a:gd name="T12" fmla="*/ 6 w 22"/>
                <a:gd name="T13" fmla="*/ 4 h 6"/>
                <a:gd name="T14" fmla="*/ 8 w 22"/>
                <a:gd name="T15" fmla="*/ 5 h 6"/>
                <a:gd name="T16" fmla="*/ 11 w 22"/>
                <a:gd name="T17" fmla="*/ 5 h 6"/>
                <a:gd name="T18" fmla="*/ 12 w 22"/>
                <a:gd name="T19" fmla="*/ 6 h 6"/>
                <a:gd name="T20" fmla="*/ 16 w 22"/>
                <a:gd name="T21" fmla="*/ 5 h 6"/>
                <a:gd name="T22" fmla="*/ 18 w 22"/>
                <a:gd name="T23" fmla="*/ 5 h 6"/>
                <a:gd name="T24" fmla="*/ 21 w 22"/>
                <a:gd name="T25" fmla="*/ 4 h 6"/>
                <a:gd name="T26" fmla="*/ 21 w 22"/>
                <a:gd name="T27" fmla="*/ 2 h 6"/>
                <a:gd name="T28" fmla="*/ 19 w 22"/>
                <a:gd name="T29" fmla="*/ 1 h 6"/>
                <a:gd name="T30" fmla="*/ 17 w 22"/>
                <a:gd name="T31" fmla="*/ 1 h 6"/>
                <a:gd name="T32" fmla="*/ 14 w 22"/>
                <a:gd name="T33" fmla="*/ 1 h 6"/>
                <a:gd name="T34" fmla="*/ 11 w 22"/>
                <a:gd name="T35" fmla="*/ 0 h 6"/>
                <a:gd name="T36" fmla="*/ 9 w 22"/>
                <a:gd name="T37" fmla="*/ 0 h 6"/>
                <a:gd name="T38" fmla="*/ 7 w 22"/>
                <a:gd name="T39" fmla="*/ 0 h 6"/>
                <a:gd name="T40" fmla="*/ 8 w 22"/>
                <a:gd name="T41" fmla="*/ 1 h 6"/>
                <a:gd name="T42" fmla="*/ 7 w 22"/>
                <a:gd name="T43" fmla="*/ 3 h 6"/>
                <a:gd name="T44" fmla="*/ 6 w 22"/>
                <a:gd name="T4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6">
                  <a:moveTo>
                    <a:pt x="6" y="3"/>
                  </a:moveTo>
                  <a:cubicBezTo>
                    <a:pt x="6" y="3"/>
                    <a:pt x="4" y="2"/>
                    <a:pt x="4" y="2"/>
                  </a:cubicBezTo>
                  <a:cubicBezTo>
                    <a:pt x="3" y="2"/>
                    <a:pt x="3" y="1"/>
                    <a:pt x="2" y="0"/>
                  </a:cubicBezTo>
                  <a:cubicBezTo>
                    <a:pt x="1" y="0"/>
                    <a:pt x="1" y="1"/>
                    <a:pt x="0" y="1"/>
                  </a:cubicBezTo>
                  <a:cubicBezTo>
                    <a:pt x="0" y="1"/>
                    <a:pt x="1" y="2"/>
                    <a:pt x="1" y="2"/>
                  </a:cubicBezTo>
                  <a:cubicBezTo>
                    <a:pt x="2" y="2"/>
                    <a:pt x="3" y="2"/>
                    <a:pt x="3" y="2"/>
                  </a:cubicBezTo>
                  <a:cubicBezTo>
                    <a:pt x="3" y="3"/>
                    <a:pt x="6" y="4"/>
                    <a:pt x="6" y="4"/>
                  </a:cubicBezTo>
                  <a:cubicBezTo>
                    <a:pt x="6" y="4"/>
                    <a:pt x="7" y="4"/>
                    <a:pt x="8" y="5"/>
                  </a:cubicBezTo>
                  <a:cubicBezTo>
                    <a:pt x="8" y="5"/>
                    <a:pt x="9" y="5"/>
                    <a:pt x="11" y="5"/>
                  </a:cubicBezTo>
                  <a:cubicBezTo>
                    <a:pt x="13" y="6"/>
                    <a:pt x="12" y="6"/>
                    <a:pt x="12" y="6"/>
                  </a:cubicBezTo>
                  <a:cubicBezTo>
                    <a:pt x="12" y="6"/>
                    <a:pt x="14" y="6"/>
                    <a:pt x="16" y="5"/>
                  </a:cubicBezTo>
                  <a:cubicBezTo>
                    <a:pt x="18" y="5"/>
                    <a:pt x="17" y="5"/>
                    <a:pt x="18" y="5"/>
                  </a:cubicBezTo>
                  <a:cubicBezTo>
                    <a:pt x="20" y="5"/>
                    <a:pt x="19" y="5"/>
                    <a:pt x="21" y="4"/>
                  </a:cubicBezTo>
                  <a:cubicBezTo>
                    <a:pt x="22" y="3"/>
                    <a:pt x="21" y="3"/>
                    <a:pt x="21" y="2"/>
                  </a:cubicBezTo>
                  <a:cubicBezTo>
                    <a:pt x="21" y="2"/>
                    <a:pt x="20" y="1"/>
                    <a:pt x="19" y="1"/>
                  </a:cubicBezTo>
                  <a:cubicBezTo>
                    <a:pt x="19" y="1"/>
                    <a:pt x="18" y="1"/>
                    <a:pt x="17" y="1"/>
                  </a:cubicBezTo>
                  <a:cubicBezTo>
                    <a:pt x="16" y="1"/>
                    <a:pt x="16" y="0"/>
                    <a:pt x="14" y="1"/>
                  </a:cubicBezTo>
                  <a:cubicBezTo>
                    <a:pt x="11" y="1"/>
                    <a:pt x="12" y="1"/>
                    <a:pt x="11" y="0"/>
                  </a:cubicBezTo>
                  <a:cubicBezTo>
                    <a:pt x="11" y="0"/>
                    <a:pt x="10" y="0"/>
                    <a:pt x="9" y="0"/>
                  </a:cubicBezTo>
                  <a:cubicBezTo>
                    <a:pt x="9" y="0"/>
                    <a:pt x="7" y="0"/>
                    <a:pt x="7" y="0"/>
                  </a:cubicBezTo>
                  <a:cubicBezTo>
                    <a:pt x="7" y="1"/>
                    <a:pt x="7" y="1"/>
                    <a:pt x="8" y="1"/>
                  </a:cubicBezTo>
                  <a:cubicBezTo>
                    <a:pt x="8" y="2"/>
                    <a:pt x="7" y="3"/>
                    <a:pt x="7" y="3"/>
                  </a:cubicBezTo>
                  <a:cubicBezTo>
                    <a:pt x="7" y="4"/>
                    <a:pt x="6" y="3"/>
                    <a:pt x="6" y="3"/>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16"/>
            <p:cNvSpPr>
              <a:spLocks/>
            </p:cNvSpPr>
            <p:nvPr/>
          </p:nvSpPr>
          <p:spPr bwMode="auto">
            <a:xfrm>
              <a:off x="5829221" y="4821279"/>
              <a:ext cx="11553" cy="16339"/>
            </a:xfrm>
            <a:custGeom>
              <a:avLst/>
              <a:gdLst>
                <a:gd name="T0" fmla="*/ 2 w 4"/>
                <a:gd name="T1" fmla="*/ 1 h 6"/>
                <a:gd name="T2" fmla="*/ 1 w 4"/>
                <a:gd name="T3" fmla="*/ 1 h 6"/>
                <a:gd name="T4" fmla="*/ 1 w 4"/>
                <a:gd name="T5" fmla="*/ 2 h 6"/>
                <a:gd name="T6" fmla="*/ 1 w 4"/>
                <a:gd name="T7" fmla="*/ 4 h 6"/>
                <a:gd name="T8" fmla="*/ 1 w 4"/>
                <a:gd name="T9" fmla="*/ 5 h 6"/>
                <a:gd name="T10" fmla="*/ 2 w 4"/>
                <a:gd name="T11" fmla="*/ 6 h 6"/>
                <a:gd name="T12" fmla="*/ 4 w 4"/>
                <a:gd name="T13" fmla="*/ 6 h 6"/>
                <a:gd name="T14" fmla="*/ 3 w 4"/>
                <a:gd name="T15" fmla="*/ 5 h 6"/>
                <a:gd name="T16" fmla="*/ 3 w 4"/>
                <a:gd name="T17" fmla="*/ 4 h 6"/>
                <a:gd name="T18" fmla="*/ 3 w 4"/>
                <a:gd name="T19" fmla="*/ 3 h 6"/>
                <a:gd name="T20" fmla="*/ 2 w 4"/>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6">
                  <a:moveTo>
                    <a:pt x="2" y="1"/>
                  </a:moveTo>
                  <a:cubicBezTo>
                    <a:pt x="2" y="0"/>
                    <a:pt x="1" y="1"/>
                    <a:pt x="1" y="1"/>
                  </a:cubicBezTo>
                  <a:cubicBezTo>
                    <a:pt x="1" y="1"/>
                    <a:pt x="1" y="2"/>
                    <a:pt x="1" y="2"/>
                  </a:cubicBezTo>
                  <a:cubicBezTo>
                    <a:pt x="0" y="3"/>
                    <a:pt x="1" y="3"/>
                    <a:pt x="1" y="4"/>
                  </a:cubicBezTo>
                  <a:cubicBezTo>
                    <a:pt x="1" y="4"/>
                    <a:pt x="1" y="4"/>
                    <a:pt x="1" y="5"/>
                  </a:cubicBezTo>
                  <a:cubicBezTo>
                    <a:pt x="1" y="5"/>
                    <a:pt x="2" y="6"/>
                    <a:pt x="2" y="6"/>
                  </a:cubicBezTo>
                  <a:cubicBezTo>
                    <a:pt x="4" y="6"/>
                    <a:pt x="4" y="6"/>
                    <a:pt x="4" y="6"/>
                  </a:cubicBezTo>
                  <a:cubicBezTo>
                    <a:pt x="4" y="6"/>
                    <a:pt x="4" y="5"/>
                    <a:pt x="3" y="5"/>
                  </a:cubicBezTo>
                  <a:cubicBezTo>
                    <a:pt x="3" y="4"/>
                    <a:pt x="3" y="4"/>
                    <a:pt x="3" y="4"/>
                  </a:cubicBezTo>
                  <a:cubicBezTo>
                    <a:pt x="3" y="4"/>
                    <a:pt x="3" y="3"/>
                    <a:pt x="3" y="3"/>
                  </a:cubicBezTo>
                  <a:cubicBezTo>
                    <a:pt x="3" y="2"/>
                    <a:pt x="3" y="1"/>
                    <a:pt x="2" y="1"/>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17"/>
            <p:cNvSpPr>
              <a:spLocks/>
            </p:cNvSpPr>
            <p:nvPr/>
          </p:nvSpPr>
          <p:spPr bwMode="auto">
            <a:xfrm>
              <a:off x="5829221" y="4878466"/>
              <a:ext cx="5777" cy="10893"/>
            </a:xfrm>
            <a:custGeom>
              <a:avLst/>
              <a:gdLst>
                <a:gd name="T0" fmla="*/ 2 w 2"/>
                <a:gd name="T1" fmla="*/ 0 h 4"/>
                <a:gd name="T2" fmla="*/ 1 w 2"/>
                <a:gd name="T3" fmla="*/ 1 h 4"/>
                <a:gd name="T4" fmla="*/ 1 w 2"/>
                <a:gd name="T5" fmla="*/ 2 h 4"/>
                <a:gd name="T6" fmla="*/ 0 w 2"/>
                <a:gd name="T7" fmla="*/ 3 h 4"/>
                <a:gd name="T8" fmla="*/ 1 w 2"/>
                <a:gd name="T9" fmla="*/ 4 h 4"/>
                <a:gd name="T10" fmla="*/ 2 w 2"/>
                <a:gd name="T11" fmla="*/ 3 h 4"/>
                <a:gd name="T12" fmla="*/ 2 w 2"/>
                <a:gd name="T13" fmla="*/ 1 h 4"/>
                <a:gd name="T14" fmla="*/ 2 w 2"/>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2" y="0"/>
                  </a:moveTo>
                  <a:cubicBezTo>
                    <a:pt x="2" y="0"/>
                    <a:pt x="1" y="1"/>
                    <a:pt x="1" y="1"/>
                  </a:cubicBezTo>
                  <a:cubicBezTo>
                    <a:pt x="1" y="1"/>
                    <a:pt x="1" y="2"/>
                    <a:pt x="1" y="2"/>
                  </a:cubicBezTo>
                  <a:cubicBezTo>
                    <a:pt x="0" y="2"/>
                    <a:pt x="0" y="2"/>
                    <a:pt x="0" y="3"/>
                  </a:cubicBezTo>
                  <a:cubicBezTo>
                    <a:pt x="0" y="3"/>
                    <a:pt x="1" y="4"/>
                    <a:pt x="1" y="4"/>
                  </a:cubicBezTo>
                  <a:cubicBezTo>
                    <a:pt x="1" y="4"/>
                    <a:pt x="2" y="3"/>
                    <a:pt x="2" y="3"/>
                  </a:cubicBezTo>
                  <a:cubicBezTo>
                    <a:pt x="2" y="3"/>
                    <a:pt x="2" y="1"/>
                    <a:pt x="2" y="1"/>
                  </a:cubicBezTo>
                  <a:cubicBezTo>
                    <a:pt x="2" y="1"/>
                    <a:pt x="2" y="0"/>
                    <a:pt x="2" y="0"/>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18"/>
            <p:cNvSpPr>
              <a:spLocks/>
            </p:cNvSpPr>
            <p:nvPr/>
          </p:nvSpPr>
          <p:spPr bwMode="auto">
            <a:xfrm>
              <a:off x="5834997" y="4897528"/>
              <a:ext cx="5777" cy="5446"/>
            </a:xfrm>
            <a:custGeom>
              <a:avLst/>
              <a:gdLst>
                <a:gd name="T0" fmla="*/ 0 w 2"/>
                <a:gd name="T1" fmla="*/ 0 h 2"/>
                <a:gd name="T2" fmla="*/ 0 w 2"/>
                <a:gd name="T3" fmla="*/ 1 h 2"/>
                <a:gd name="T4" fmla="*/ 1 w 2"/>
                <a:gd name="T5" fmla="*/ 2 h 2"/>
                <a:gd name="T6" fmla="*/ 2 w 2"/>
                <a:gd name="T7" fmla="*/ 1 h 2"/>
                <a:gd name="T8" fmla="*/ 2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cubicBezTo>
                    <a:pt x="0" y="1"/>
                    <a:pt x="0" y="1"/>
                    <a:pt x="0" y="1"/>
                  </a:cubicBezTo>
                  <a:cubicBezTo>
                    <a:pt x="0" y="1"/>
                    <a:pt x="1" y="2"/>
                    <a:pt x="1" y="2"/>
                  </a:cubicBezTo>
                  <a:cubicBezTo>
                    <a:pt x="1" y="2"/>
                    <a:pt x="2" y="1"/>
                    <a:pt x="2" y="1"/>
                  </a:cubicBezTo>
                  <a:cubicBezTo>
                    <a:pt x="2" y="1"/>
                    <a:pt x="2" y="0"/>
                    <a:pt x="2" y="0"/>
                  </a:cubicBezTo>
                  <a:cubicBezTo>
                    <a:pt x="1" y="0"/>
                    <a:pt x="0" y="0"/>
                    <a:pt x="0" y="0"/>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Freeform 19"/>
            <p:cNvSpPr>
              <a:spLocks/>
            </p:cNvSpPr>
            <p:nvPr/>
          </p:nvSpPr>
          <p:spPr bwMode="auto">
            <a:xfrm>
              <a:off x="5849439" y="488935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20"/>
            <p:cNvSpPr>
              <a:spLocks/>
            </p:cNvSpPr>
            <p:nvPr/>
          </p:nvSpPr>
          <p:spPr bwMode="auto">
            <a:xfrm>
              <a:off x="6035734" y="5029603"/>
              <a:ext cx="77984" cy="16339"/>
            </a:xfrm>
            <a:custGeom>
              <a:avLst/>
              <a:gdLst>
                <a:gd name="T0" fmla="*/ 9 w 27"/>
                <a:gd name="T1" fmla="*/ 5 h 6"/>
                <a:gd name="T2" fmla="*/ 11 w 27"/>
                <a:gd name="T3" fmla="*/ 6 h 6"/>
                <a:gd name="T4" fmla="*/ 11 w 27"/>
                <a:gd name="T5" fmla="*/ 5 h 6"/>
                <a:gd name="T6" fmla="*/ 11 w 27"/>
                <a:gd name="T7" fmla="*/ 4 h 6"/>
                <a:gd name="T8" fmla="*/ 14 w 27"/>
                <a:gd name="T9" fmla="*/ 3 h 6"/>
                <a:gd name="T10" fmla="*/ 16 w 27"/>
                <a:gd name="T11" fmla="*/ 3 h 6"/>
                <a:gd name="T12" fmla="*/ 18 w 27"/>
                <a:gd name="T13" fmla="*/ 3 h 6"/>
                <a:gd name="T14" fmla="*/ 20 w 27"/>
                <a:gd name="T15" fmla="*/ 3 h 6"/>
                <a:gd name="T16" fmla="*/ 21 w 27"/>
                <a:gd name="T17" fmla="*/ 4 h 6"/>
                <a:gd name="T18" fmla="*/ 23 w 27"/>
                <a:gd name="T19" fmla="*/ 3 h 6"/>
                <a:gd name="T20" fmla="*/ 24 w 27"/>
                <a:gd name="T21" fmla="*/ 4 h 6"/>
                <a:gd name="T22" fmla="*/ 25 w 27"/>
                <a:gd name="T23" fmla="*/ 5 h 6"/>
                <a:gd name="T24" fmla="*/ 27 w 27"/>
                <a:gd name="T25" fmla="*/ 4 h 6"/>
                <a:gd name="T26" fmla="*/ 27 w 27"/>
                <a:gd name="T27" fmla="*/ 3 h 6"/>
                <a:gd name="T28" fmla="*/ 27 w 27"/>
                <a:gd name="T29" fmla="*/ 1 h 6"/>
                <a:gd name="T30" fmla="*/ 25 w 27"/>
                <a:gd name="T31" fmla="*/ 1 h 6"/>
                <a:gd name="T32" fmla="*/ 24 w 27"/>
                <a:gd name="T33" fmla="*/ 2 h 6"/>
                <a:gd name="T34" fmla="*/ 23 w 27"/>
                <a:gd name="T35" fmla="*/ 2 h 6"/>
                <a:gd name="T36" fmla="*/ 22 w 27"/>
                <a:gd name="T37" fmla="*/ 3 h 6"/>
                <a:gd name="T38" fmla="*/ 21 w 27"/>
                <a:gd name="T39" fmla="*/ 2 h 6"/>
                <a:gd name="T40" fmla="*/ 19 w 27"/>
                <a:gd name="T41" fmla="*/ 2 h 6"/>
                <a:gd name="T42" fmla="*/ 18 w 27"/>
                <a:gd name="T43" fmla="*/ 2 h 6"/>
                <a:gd name="T44" fmla="*/ 13 w 27"/>
                <a:gd name="T45" fmla="*/ 1 h 6"/>
                <a:gd name="T46" fmla="*/ 11 w 27"/>
                <a:gd name="T47" fmla="*/ 2 h 6"/>
                <a:gd name="T48" fmla="*/ 10 w 27"/>
                <a:gd name="T49" fmla="*/ 1 h 6"/>
                <a:gd name="T50" fmla="*/ 9 w 27"/>
                <a:gd name="T51" fmla="*/ 0 h 6"/>
                <a:gd name="T52" fmla="*/ 7 w 27"/>
                <a:gd name="T53" fmla="*/ 1 h 6"/>
                <a:gd name="T54" fmla="*/ 6 w 27"/>
                <a:gd name="T55" fmla="*/ 0 h 6"/>
                <a:gd name="T56" fmla="*/ 5 w 27"/>
                <a:gd name="T57" fmla="*/ 1 h 6"/>
                <a:gd name="T58" fmla="*/ 4 w 27"/>
                <a:gd name="T59" fmla="*/ 2 h 6"/>
                <a:gd name="T60" fmla="*/ 3 w 27"/>
                <a:gd name="T61" fmla="*/ 2 h 6"/>
                <a:gd name="T62" fmla="*/ 2 w 27"/>
                <a:gd name="T63" fmla="*/ 1 h 6"/>
                <a:gd name="T64" fmla="*/ 1 w 27"/>
                <a:gd name="T65" fmla="*/ 2 h 6"/>
                <a:gd name="T66" fmla="*/ 0 w 27"/>
                <a:gd name="T67" fmla="*/ 4 h 6"/>
                <a:gd name="T68" fmla="*/ 2 w 27"/>
                <a:gd name="T69" fmla="*/ 4 h 6"/>
                <a:gd name="T70" fmla="*/ 3 w 27"/>
                <a:gd name="T71" fmla="*/ 3 h 6"/>
                <a:gd name="T72" fmla="*/ 6 w 27"/>
                <a:gd name="T73" fmla="*/ 4 h 6"/>
                <a:gd name="T74" fmla="*/ 8 w 27"/>
                <a:gd name="T75" fmla="*/ 4 h 6"/>
                <a:gd name="T76" fmla="*/ 9 w 27"/>
                <a:gd name="T7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 h="6">
                  <a:moveTo>
                    <a:pt x="9" y="5"/>
                  </a:moveTo>
                  <a:cubicBezTo>
                    <a:pt x="10" y="6"/>
                    <a:pt x="10" y="6"/>
                    <a:pt x="11" y="6"/>
                  </a:cubicBezTo>
                  <a:cubicBezTo>
                    <a:pt x="12" y="6"/>
                    <a:pt x="11" y="5"/>
                    <a:pt x="11" y="5"/>
                  </a:cubicBezTo>
                  <a:cubicBezTo>
                    <a:pt x="11" y="5"/>
                    <a:pt x="11" y="4"/>
                    <a:pt x="11" y="4"/>
                  </a:cubicBezTo>
                  <a:cubicBezTo>
                    <a:pt x="11" y="4"/>
                    <a:pt x="13" y="4"/>
                    <a:pt x="14" y="3"/>
                  </a:cubicBezTo>
                  <a:cubicBezTo>
                    <a:pt x="14" y="3"/>
                    <a:pt x="15" y="3"/>
                    <a:pt x="16" y="3"/>
                  </a:cubicBezTo>
                  <a:cubicBezTo>
                    <a:pt x="17" y="3"/>
                    <a:pt x="17" y="3"/>
                    <a:pt x="18" y="3"/>
                  </a:cubicBezTo>
                  <a:cubicBezTo>
                    <a:pt x="18" y="3"/>
                    <a:pt x="20" y="3"/>
                    <a:pt x="20" y="3"/>
                  </a:cubicBezTo>
                  <a:cubicBezTo>
                    <a:pt x="20" y="3"/>
                    <a:pt x="20" y="4"/>
                    <a:pt x="21" y="4"/>
                  </a:cubicBezTo>
                  <a:cubicBezTo>
                    <a:pt x="21" y="4"/>
                    <a:pt x="23" y="3"/>
                    <a:pt x="23" y="3"/>
                  </a:cubicBezTo>
                  <a:cubicBezTo>
                    <a:pt x="23" y="3"/>
                    <a:pt x="24" y="4"/>
                    <a:pt x="24" y="4"/>
                  </a:cubicBezTo>
                  <a:cubicBezTo>
                    <a:pt x="24" y="4"/>
                    <a:pt x="25" y="5"/>
                    <a:pt x="25" y="5"/>
                  </a:cubicBezTo>
                  <a:cubicBezTo>
                    <a:pt x="25" y="5"/>
                    <a:pt x="27" y="4"/>
                    <a:pt x="27" y="4"/>
                  </a:cubicBezTo>
                  <a:cubicBezTo>
                    <a:pt x="27" y="3"/>
                    <a:pt x="27" y="3"/>
                    <a:pt x="27" y="3"/>
                  </a:cubicBezTo>
                  <a:cubicBezTo>
                    <a:pt x="27" y="1"/>
                    <a:pt x="27" y="1"/>
                    <a:pt x="27" y="1"/>
                  </a:cubicBezTo>
                  <a:cubicBezTo>
                    <a:pt x="25" y="1"/>
                    <a:pt x="25" y="1"/>
                    <a:pt x="25" y="1"/>
                  </a:cubicBezTo>
                  <a:cubicBezTo>
                    <a:pt x="25" y="1"/>
                    <a:pt x="25" y="1"/>
                    <a:pt x="24" y="2"/>
                  </a:cubicBezTo>
                  <a:cubicBezTo>
                    <a:pt x="23" y="3"/>
                    <a:pt x="23" y="2"/>
                    <a:pt x="23" y="2"/>
                  </a:cubicBezTo>
                  <a:cubicBezTo>
                    <a:pt x="23" y="2"/>
                    <a:pt x="23" y="3"/>
                    <a:pt x="22" y="3"/>
                  </a:cubicBezTo>
                  <a:cubicBezTo>
                    <a:pt x="21" y="3"/>
                    <a:pt x="22" y="3"/>
                    <a:pt x="21" y="2"/>
                  </a:cubicBezTo>
                  <a:cubicBezTo>
                    <a:pt x="21" y="2"/>
                    <a:pt x="20" y="2"/>
                    <a:pt x="19" y="2"/>
                  </a:cubicBezTo>
                  <a:cubicBezTo>
                    <a:pt x="18" y="2"/>
                    <a:pt x="18" y="2"/>
                    <a:pt x="18" y="2"/>
                  </a:cubicBezTo>
                  <a:cubicBezTo>
                    <a:pt x="17" y="2"/>
                    <a:pt x="15" y="1"/>
                    <a:pt x="13" y="1"/>
                  </a:cubicBezTo>
                  <a:cubicBezTo>
                    <a:pt x="12" y="1"/>
                    <a:pt x="12" y="2"/>
                    <a:pt x="11" y="2"/>
                  </a:cubicBezTo>
                  <a:cubicBezTo>
                    <a:pt x="11" y="2"/>
                    <a:pt x="10" y="1"/>
                    <a:pt x="10" y="1"/>
                  </a:cubicBezTo>
                  <a:cubicBezTo>
                    <a:pt x="10" y="1"/>
                    <a:pt x="9" y="1"/>
                    <a:pt x="9" y="0"/>
                  </a:cubicBezTo>
                  <a:cubicBezTo>
                    <a:pt x="8" y="0"/>
                    <a:pt x="7" y="1"/>
                    <a:pt x="7" y="1"/>
                  </a:cubicBezTo>
                  <a:cubicBezTo>
                    <a:pt x="7" y="1"/>
                    <a:pt x="6" y="0"/>
                    <a:pt x="6" y="0"/>
                  </a:cubicBezTo>
                  <a:cubicBezTo>
                    <a:pt x="6" y="0"/>
                    <a:pt x="5" y="0"/>
                    <a:pt x="5" y="1"/>
                  </a:cubicBezTo>
                  <a:cubicBezTo>
                    <a:pt x="5" y="1"/>
                    <a:pt x="4" y="2"/>
                    <a:pt x="4" y="2"/>
                  </a:cubicBezTo>
                  <a:cubicBezTo>
                    <a:pt x="4" y="2"/>
                    <a:pt x="3" y="2"/>
                    <a:pt x="3" y="2"/>
                  </a:cubicBezTo>
                  <a:cubicBezTo>
                    <a:pt x="3" y="2"/>
                    <a:pt x="2" y="1"/>
                    <a:pt x="2" y="1"/>
                  </a:cubicBezTo>
                  <a:cubicBezTo>
                    <a:pt x="1" y="1"/>
                    <a:pt x="1" y="2"/>
                    <a:pt x="1" y="2"/>
                  </a:cubicBezTo>
                  <a:cubicBezTo>
                    <a:pt x="0" y="2"/>
                    <a:pt x="0" y="4"/>
                    <a:pt x="0" y="4"/>
                  </a:cubicBezTo>
                  <a:cubicBezTo>
                    <a:pt x="0" y="4"/>
                    <a:pt x="2" y="4"/>
                    <a:pt x="2" y="4"/>
                  </a:cubicBezTo>
                  <a:cubicBezTo>
                    <a:pt x="2" y="4"/>
                    <a:pt x="3" y="3"/>
                    <a:pt x="3" y="3"/>
                  </a:cubicBezTo>
                  <a:cubicBezTo>
                    <a:pt x="4" y="3"/>
                    <a:pt x="6" y="4"/>
                    <a:pt x="6" y="4"/>
                  </a:cubicBezTo>
                  <a:cubicBezTo>
                    <a:pt x="6" y="4"/>
                    <a:pt x="7" y="4"/>
                    <a:pt x="8" y="4"/>
                  </a:cubicBezTo>
                  <a:cubicBezTo>
                    <a:pt x="10" y="4"/>
                    <a:pt x="9" y="4"/>
                    <a:pt x="9" y="5"/>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Freeform 21"/>
            <p:cNvSpPr>
              <a:spLocks/>
            </p:cNvSpPr>
            <p:nvPr/>
          </p:nvSpPr>
          <p:spPr bwMode="auto">
            <a:xfrm>
              <a:off x="5872545" y="4908421"/>
              <a:ext cx="5777" cy="8170"/>
            </a:xfrm>
            <a:custGeom>
              <a:avLst/>
              <a:gdLst>
                <a:gd name="T0" fmla="*/ 1 w 2"/>
                <a:gd name="T1" fmla="*/ 0 h 3"/>
                <a:gd name="T2" fmla="*/ 0 w 2"/>
                <a:gd name="T3" fmla="*/ 0 h 3"/>
                <a:gd name="T4" fmla="*/ 0 w 2"/>
                <a:gd name="T5" fmla="*/ 0 h 3"/>
                <a:gd name="T6" fmla="*/ 0 w 2"/>
                <a:gd name="T7" fmla="*/ 1 h 3"/>
                <a:gd name="T8" fmla="*/ 0 w 2"/>
                <a:gd name="T9" fmla="*/ 2 h 3"/>
                <a:gd name="T10" fmla="*/ 1 w 2"/>
                <a:gd name="T11" fmla="*/ 3 h 3"/>
                <a:gd name="T12" fmla="*/ 1 w 2"/>
                <a:gd name="T13" fmla="*/ 2 h 3"/>
                <a:gd name="T14" fmla="*/ 1 w 2"/>
                <a:gd name="T15" fmla="*/ 1 h 3"/>
                <a:gd name="T16" fmla="*/ 1 w 2"/>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3">
                  <a:moveTo>
                    <a:pt x="1" y="0"/>
                  </a:moveTo>
                  <a:cubicBezTo>
                    <a:pt x="1" y="0"/>
                    <a:pt x="0" y="0"/>
                    <a:pt x="0" y="0"/>
                  </a:cubicBezTo>
                  <a:cubicBezTo>
                    <a:pt x="0" y="0"/>
                    <a:pt x="0" y="0"/>
                    <a:pt x="0" y="0"/>
                  </a:cubicBezTo>
                  <a:cubicBezTo>
                    <a:pt x="0" y="1"/>
                    <a:pt x="0" y="1"/>
                    <a:pt x="0" y="1"/>
                  </a:cubicBezTo>
                  <a:cubicBezTo>
                    <a:pt x="0" y="2"/>
                    <a:pt x="0" y="2"/>
                    <a:pt x="0" y="2"/>
                  </a:cubicBezTo>
                  <a:cubicBezTo>
                    <a:pt x="0" y="2"/>
                    <a:pt x="0" y="2"/>
                    <a:pt x="1" y="3"/>
                  </a:cubicBezTo>
                  <a:cubicBezTo>
                    <a:pt x="2" y="3"/>
                    <a:pt x="1" y="3"/>
                    <a:pt x="1" y="2"/>
                  </a:cubicBezTo>
                  <a:cubicBezTo>
                    <a:pt x="1" y="2"/>
                    <a:pt x="1" y="2"/>
                    <a:pt x="1" y="1"/>
                  </a:cubicBezTo>
                  <a:cubicBezTo>
                    <a:pt x="1" y="1"/>
                    <a:pt x="1" y="1"/>
                    <a:pt x="1" y="0"/>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Freeform 22"/>
            <p:cNvSpPr>
              <a:spLocks/>
            </p:cNvSpPr>
            <p:nvPr/>
          </p:nvSpPr>
          <p:spPr bwMode="auto">
            <a:xfrm>
              <a:off x="5881210" y="4905698"/>
              <a:ext cx="2888" cy="10893"/>
            </a:xfrm>
            <a:custGeom>
              <a:avLst/>
              <a:gdLst>
                <a:gd name="T0" fmla="*/ 1 w 1"/>
                <a:gd name="T1" fmla="*/ 1 h 4"/>
                <a:gd name="T2" fmla="*/ 0 w 1"/>
                <a:gd name="T3" fmla="*/ 0 h 4"/>
                <a:gd name="T4" fmla="*/ 0 w 1"/>
                <a:gd name="T5" fmla="*/ 1 h 4"/>
                <a:gd name="T6" fmla="*/ 0 w 1"/>
                <a:gd name="T7" fmla="*/ 2 h 4"/>
                <a:gd name="T8" fmla="*/ 0 w 1"/>
                <a:gd name="T9" fmla="*/ 3 h 4"/>
                <a:gd name="T10" fmla="*/ 1 w 1"/>
                <a:gd name="T11" fmla="*/ 4 h 4"/>
                <a:gd name="T12" fmla="*/ 1 w 1"/>
                <a:gd name="T13" fmla="*/ 3 h 4"/>
                <a:gd name="T14" fmla="*/ 1 w 1"/>
                <a:gd name="T15" fmla="*/ 2 h 4"/>
                <a:gd name="T16" fmla="*/ 1 w 1"/>
                <a:gd name="T17"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4">
                  <a:moveTo>
                    <a:pt x="1" y="1"/>
                  </a:moveTo>
                  <a:cubicBezTo>
                    <a:pt x="1" y="0"/>
                    <a:pt x="0" y="0"/>
                    <a:pt x="0" y="0"/>
                  </a:cubicBezTo>
                  <a:cubicBezTo>
                    <a:pt x="0" y="0"/>
                    <a:pt x="0" y="1"/>
                    <a:pt x="0" y="1"/>
                  </a:cubicBezTo>
                  <a:cubicBezTo>
                    <a:pt x="0" y="1"/>
                    <a:pt x="0" y="2"/>
                    <a:pt x="0" y="2"/>
                  </a:cubicBezTo>
                  <a:cubicBezTo>
                    <a:pt x="0" y="2"/>
                    <a:pt x="0" y="3"/>
                    <a:pt x="0" y="3"/>
                  </a:cubicBezTo>
                  <a:cubicBezTo>
                    <a:pt x="0" y="3"/>
                    <a:pt x="0" y="4"/>
                    <a:pt x="1" y="4"/>
                  </a:cubicBezTo>
                  <a:cubicBezTo>
                    <a:pt x="1" y="4"/>
                    <a:pt x="1" y="3"/>
                    <a:pt x="1" y="3"/>
                  </a:cubicBezTo>
                  <a:cubicBezTo>
                    <a:pt x="1" y="2"/>
                    <a:pt x="1" y="2"/>
                    <a:pt x="1" y="2"/>
                  </a:cubicBezTo>
                  <a:cubicBezTo>
                    <a:pt x="1" y="1"/>
                    <a:pt x="1" y="1"/>
                    <a:pt x="1" y="1"/>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23"/>
            <p:cNvSpPr>
              <a:spLocks/>
            </p:cNvSpPr>
            <p:nvPr/>
          </p:nvSpPr>
          <p:spPr bwMode="auto">
            <a:xfrm>
              <a:off x="5872545" y="4845787"/>
              <a:ext cx="8665" cy="8170"/>
            </a:xfrm>
            <a:custGeom>
              <a:avLst/>
              <a:gdLst>
                <a:gd name="T0" fmla="*/ 1 w 3"/>
                <a:gd name="T1" fmla="*/ 2 h 3"/>
                <a:gd name="T2" fmla="*/ 2 w 3"/>
                <a:gd name="T3" fmla="*/ 3 h 3"/>
                <a:gd name="T4" fmla="*/ 3 w 3"/>
                <a:gd name="T5" fmla="*/ 2 h 3"/>
                <a:gd name="T6" fmla="*/ 3 w 3"/>
                <a:gd name="T7" fmla="*/ 1 h 3"/>
                <a:gd name="T8" fmla="*/ 2 w 3"/>
                <a:gd name="T9" fmla="*/ 1 h 3"/>
                <a:gd name="T10" fmla="*/ 1 w 3"/>
                <a:gd name="T11" fmla="*/ 1 h 3"/>
                <a:gd name="T12" fmla="*/ 1 w 3"/>
                <a:gd name="T13" fmla="*/ 0 h 3"/>
                <a:gd name="T14" fmla="*/ 0 w 3"/>
                <a:gd name="T15" fmla="*/ 0 h 3"/>
                <a:gd name="T16" fmla="*/ 0 w 3"/>
                <a:gd name="T17" fmla="*/ 1 h 3"/>
                <a:gd name="T18" fmla="*/ 1 w 3"/>
                <a:gd name="T19"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1" y="2"/>
                  </a:moveTo>
                  <a:cubicBezTo>
                    <a:pt x="1" y="2"/>
                    <a:pt x="2" y="3"/>
                    <a:pt x="2" y="3"/>
                  </a:cubicBezTo>
                  <a:cubicBezTo>
                    <a:pt x="3" y="3"/>
                    <a:pt x="3" y="2"/>
                    <a:pt x="3" y="2"/>
                  </a:cubicBezTo>
                  <a:cubicBezTo>
                    <a:pt x="3" y="2"/>
                    <a:pt x="3" y="2"/>
                    <a:pt x="3" y="1"/>
                  </a:cubicBezTo>
                  <a:cubicBezTo>
                    <a:pt x="2" y="1"/>
                    <a:pt x="2" y="1"/>
                    <a:pt x="2" y="1"/>
                  </a:cubicBezTo>
                  <a:cubicBezTo>
                    <a:pt x="1" y="1"/>
                    <a:pt x="1" y="1"/>
                    <a:pt x="1" y="1"/>
                  </a:cubicBezTo>
                  <a:cubicBezTo>
                    <a:pt x="1" y="0"/>
                    <a:pt x="1" y="0"/>
                    <a:pt x="1" y="0"/>
                  </a:cubicBezTo>
                  <a:cubicBezTo>
                    <a:pt x="0" y="0"/>
                    <a:pt x="0" y="0"/>
                    <a:pt x="0" y="0"/>
                  </a:cubicBezTo>
                  <a:cubicBezTo>
                    <a:pt x="0" y="0"/>
                    <a:pt x="0" y="1"/>
                    <a:pt x="0" y="1"/>
                  </a:cubicBezTo>
                  <a:cubicBezTo>
                    <a:pt x="0" y="1"/>
                    <a:pt x="1" y="2"/>
                    <a:pt x="1" y="2"/>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24"/>
            <p:cNvSpPr>
              <a:spLocks/>
            </p:cNvSpPr>
            <p:nvPr/>
          </p:nvSpPr>
          <p:spPr bwMode="auto">
            <a:xfrm>
              <a:off x="5886987" y="4897528"/>
              <a:ext cx="11553" cy="10893"/>
            </a:xfrm>
            <a:custGeom>
              <a:avLst/>
              <a:gdLst>
                <a:gd name="T0" fmla="*/ 2 w 4"/>
                <a:gd name="T1" fmla="*/ 4 h 4"/>
                <a:gd name="T2" fmla="*/ 3 w 4"/>
                <a:gd name="T3" fmla="*/ 4 h 4"/>
                <a:gd name="T4" fmla="*/ 3 w 4"/>
                <a:gd name="T5" fmla="*/ 2 h 4"/>
                <a:gd name="T6" fmla="*/ 1 w 4"/>
                <a:gd name="T7" fmla="*/ 2 h 4"/>
                <a:gd name="T8" fmla="*/ 1 w 4"/>
                <a:gd name="T9" fmla="*/ 1 h 4"/>
                <a:gd name="T10" fmla="*/ 0 w 4"/>
                <a:gd name="T11" fmla="*/ 1 h 4"/>
                <a:gd name="T12" fmla="*/ 1 w 4"/>
                <a:gd name="T13" fmla="*/ 2 h 4"/>
                <a:gd name="T14" fmla="*/ 2 w 4"/>
                <a:gd name="T15" fmla="*/ 3 h 4"/>
                <a:gd name="T16" fmla="*/ 2 w 4"/>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2" y="4"/>
                  </a:moveTo>
                  <a:cubicBezTo>
                    <a:pt x="3" y="4"/>
                    <a:pt x="3" y="4"/>
                    <a:pt x="3" y="4"/>
                  </a:cubicBezTo>
                  <a:cubicBezTo>
                    <a:pt x="4" y="4"/>
                    <a:pt x="3" y="3"/>
                    <a:pt x="3" y="2"/>
                  </a:cubicBezTo>
                  <a:cubicBezTo>
                    <a:pt x="3" y="2"/>
                    <a:pt x="2" y="2"/>
                    <a:pt x="1" y="2"/>
                  </a:cubicBezTo>
                  <a:cubicBezTo>
                    <a:pt x="1" y="1"/>
                    <a:pt x="1" y="1"/>
                    <a:pt x="1" y="1"/>
                  </a:cubicBezTo>
                  <a:cubicBezTo>
                    <a:pt x="0" y="0"/>
                    <a:pt x="0" y="1"/>
                    <a:pt x="0" y="1"/>
                  </a:cubicBezTo>
                  <a:cubicBezTo>
                    <a:pt x="0" y="1"/>
                    <a:pt x="1" y="2"/>
                    <a:pt x="1" y="2"/>
                  </a:cubicBezTo>
                  <a:cubicBezTo>
                    <a:pt x="1" y="3"/>
                    <a:pt x="2" y="3"/>
                    <a:pt x="2" y="3"/>
                  </a:cubicBezTo>
                  <a:cubicBezTo>
                    <a:pt x="2" y="3"/>
                    <a:pt x="2" y="3"/>
                    <a:pt x="2" y="4"/>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25"/>
            <p:cNvSpPr>
              <a:spLocks/>
            </p:cNvSpPr>
            <p:nvPr/>
          </p:nvSpPr>
          <p:spPr bwMode="auto">
            <a:xfrm>
              <a:off x="6165707" y="5059558"/>
              <a:ext cx="72207" cy="46294"/>
            </a:xfrm>
            <a:custGeom>
              <a:avLst/>
              <a:gdLst>
                <a:gd name="T0" fmla="*/ 23 w 25"/>
                <a:gd name="T1" fmla="*/ 12 h 17"/>
                <a:gd name="T2" fmla="*/ 19 w 25"/>
                <a:gd name="T3" fmla="*/ 10 h 17"/>
                <a:gd name="T4" fmla="*/ 13 w 25"/>
                <a:gd name="T5" fmla="*/ 8 h 17"/>
                <a:gd name="T6" fmla="*/ 10 w 25"/>
                <a:gd name="T7" fmla="*/ 6 h 17"/>
                <a:gd name="T8" fmla="*/ 8 w 25"/>
                <a:gd name="T9" fmla="*/ 4 h 17"/>
                <a:gd name="T10" fmla="*/ 7 w 25"/>
                <a:gd name="T11" fmla="*/ 3 h 17"/>
                <a:gd name="T12" fmla="*/ 5 w 25"/>
                <a:gd name="T13" fmla="*/ 1 h 17"/>
                <a:gd name="T14" fmla="*/ 3 w 25"/>
                <a:gd name="T15" fmla="*/ 0 h 17"/>
                <a:gd name="T16" fmla="*/ 3 w 25"/>
                <a:gd name="T17" fmla="*/ 0 h 17"/>
                <a:gd name="T18" fmla="*/ 1 w 25"/>
                <a:gd name="T19" fmla="*/ 0 h 17"/>
                <a:gd name="T20" fmla="*/ 0 w 25"/>
                <a:gd name="T21" fmla="*/ 1 h 17"/>
                <a:gd name="T22" fmla="*/ 0 w 25"/>
                <a:gd name="T23" fmla="*/ 2 h 17"/>
                <a:gd name="T24" fmla="*/ 2 w 25"/>
                <a:gd name="T25" fmla="*/ 1 h 17"/>
                <a:gd name="T26" fmla="*/ 3 w 25"/>
                <a:gd name="T27" fmla="*/ 2 h 17"/>
                <a:gd name="T28" fmla="*/ 4 w 25"/>
                <a:gd name="T29" fmla="*/ 2 h 17"/>
                <a:gd name="T30" fmla="*/ 5 w 25"/>
                <a:gd name="T31" fmla="*/ 4 h 17"/>
                <a:gd name="T32" fmla="*/ 9 w 25"/>
                <a:gd name="T33" fmla="*/ 5 h 17"/>
                <a:gd name="T34" fmla="*/ 10 w 25"/>
                <a:gd name="T35" fmla="*/ 7 h 17"/>
                <a:gd name="T36" fmla="*/ 14 w 25"/>
                <a:gd name="T37" fmla="*/ 9 h 17"/>
                <a:gd name="T38" fmla="*/ 16 w 25"/>
                <a:gd name="T39" fmla="*/ 11 h 17"/>
                <a:gd name="T40" fmla="*/ 18 w 25"/>
                <a:gd name="T41" fmla="*/ 12 h 17"/>
                <a:gd name="T42" fmla="*/ 21 w 25"/>
                <a:gd name="T43" fmla="*/ 14 h 17"/>
                <a:gd name="T44" fmla="*/ 23 w 25"/>
                <a:gd name="T45" fmla="*/ 16 h 17"/>
                <a:gd name="T46" fmla="*/ 25 w 25"/>
                <a:gd name="T47" fmla="*/ 16 h 17"/>
                <a:gd name="T48" fmla="*/ 23 w 25"/>
                <a:gd name="T49" fmla="*/ 13 h 17"/>
                <a:gd name="T50" fmla="*/ 23 w 25"/>
                <a:gd name="T5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 h="17">
                  <a:moveTo>
                    <a:pt x="23" y="12"/>
                  </a:moveTo>
                  <a:cubicBezTo>
                    <a:pt x="21" y="12"/>
                    <a:pt x="19" y="10"/>
                    <a:pt x="19" y="10"/>
                  </a:cubicBezTo>
                  <a:cubicBezTo>
                    <a:pt x="13" y="8"/>
                    <a:pt x="13" y="8"/>
                    <a:pt x="13" y="8"/>
                  </a:cubicBezTo>
                  <a:cubicBezTo>
                    <a:pt x="10" y="6"/>
                    <a:pt x="10" y="6"/>
                    <a:pt x="10" y="6"/>
                  </a:cubicBezTo>
                  <a:cubicBezTo>
                    <a:pt x="8" y="4"/>
                    <a:pt x="8" y="4"/>
                    <a:pt x="8" y="4"/>
                  </a:cubicBezTo>
                  <a:cubicBezTo>
                    <a:pt x="7" y="3"/>
                    <a:pt x="7" y="3"/>
                    <a:pt x="7" y="3"/>
                  </a:cubicBezTo>
                  <a:cubicBezTo>
                    <a:pt x="5" y="1"/>
                    <a:pt x="5" y="1"/>
                    <a:pt x="5" y="1"/>
                  </a:cubicBezTo>
                  <a:cubicBezTo>
                    <a:pt x="3" y="0"/>
                    <a:pt x="3" y="0"/>
                    <a:pt x="3" y="0"/>
                  </a:cubicBezTo>
                  <a:cubicBezTo>
                    <a:pt x="3" y="0"/>
                    <a:pt x="3" y="0"/>
                    <a:pt x="3" y="0"/>
                  </a:cubicBezTo>
                  <a:cubicBezTo>
                    <a:pt x="1" y="0"/>
                    <a:pt x="1" y="0"/>
                    <a:pt x="1" y="0"/>
                  </a:cubicBezTo>
                  <a:cubicBezTo>
                    <a:pt x="1" y="0"/>
                    <a:pt x="0" y="1"/>
                    <a:pt x="0" y="1"/>
                  </a:cubicBezTo>
                  <a:cubicBezTo>
                    <a:pt x="0" y="2"/>
                    <a:pt x="0" y="2"/>
                    <a:pt x="0" y="2"/>
                  </a:cubicBezTo>
                  <a:cubicBezTo>
                    <a:pt x="1" y="2"/>
                    <a:pt x="2" y="1"/>
                    <a:pt x="2" y="1"/>
                  </a:cubicBezTo>
                  <a:cubicBezTo>
                    <a:pt x="2" y="1"/>
                    <a:pt x="2" y="1"/>
                    <a:pt x="3" y="2"/>
                  </a:cubicBezTo>
                  <a:cubicBezTo>
                    <a:pt x="4" y="2"/>
                    <a:pt x="3" y="1"/>
                    <a:pt x="4" y="2"/>
                  </a:cubicBezTo>
                  <a:cubicBezTo>
                    <a:pt x="4" y="3"/>
                    <a:pt x="2" y="3"/>
                    <a:pt x="5" y="4"/>
                  </a:cubicBezTo>
                  <a:cubicBezTo>
                    <a:pt x="8" y="5"/>
                    <a:pt x="7" y="5"/>
                    <a:pt x="9" y="5"/>
                  </a:cubicBezTo>
                  <a:cubicBezTo>
                    <a:pt x="10" y="6"/>
                    <a:pt x="10" y="5"/>
                    <a:pt x="10" y="7"/>
                  </a:cubicBezTo>
                  <a:cubicBezTo>
                    <a:pt x="11" y="9"/>
                    <a:pt x="11" y="8"/>
                    <a:pt x="14" y="9"/>
                  </a:cubicBezTo>
                  <a:cubicBezTo>
                    <a:pt x="16" y="9"/>
                    <a:pt x="16" y="10"/>
                    <a:pt x="16" y="11"/>
                  </a:cubicBezTo>
                  <a:cubicBezTo>
                    <a:pt x="17" y="11"/>
                    <a:pt x="17" y="12"/>
                    <a:pt x="18" y="12"/>
                  </a:cubicBezTo>
                  <a:cubicBezTo>
                    <a:pt x="18" y="13"/>
                    <a:pt x="20" y="13"/>
                    <a:pt x="21" y="14"/>
                  </a:cubicBezTo>
                  <a:cubicBezTo>
                    <a:pt x="22" y="14"/>
                    <a:pt x="23" y="16"/>
                    <a:pt x="23" y="16"/>
                  </a:cubicBezTo>
                  <a:cubicBezTo>
                    <a:pt x="23" y="16"/>
                    <a:pt x="25" y="17"/>
                    <a:pt x="25" y="16"/>
                  </a:cubicBezTo>
                  <a:cubicBezTo>
                    <a:pt x="25" y="16"/>
                    <a:pt x="23" y="14"/>
                    <a:pt x="23" y="13"/>
                  </a:cubicBezTo>
                  <a:cubicBezTo>
                    <a:pt x="23" y="13"/>
                    <a:pt x="23" y="13"/>
                    <a:pt x="23" y="12"/>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26"/>
            <p:cNvSpPr>
              <a:spLocks/>
            </p:cNvSpPr>
            <p:nvPr/>
          </p:nvSpPr>
          <p:spPr bwMode="auto">
            <a:xfrm>
              <a:off x="6128159" y="5070451"/>
              <a:ext cx="40436" cy="10893"/>
            </a:xfrm>
            <a:custGeom>
              <a:avLst/>
              <a:gdLst>
                <a:gd name="T0" fmla="*/ 12 w 14"/>
                <a:gd name="T1" fmla="*/ 2 h 4"/>
                <a:gd name="T2" fmla="*/ 10 w 14"/>
                <a:gd name="T3" fmla="*/ 1 h 4"/>
                <a:gd name="T4" fmla="*/ 9 w 14"/>
                <a:gd name="T5" fmla="*/ 1 h 4"/>
                <a:gd name="T6" fmla="*/ 6 w 14"/>
                <a:gd name="T7" fmla="*/ 1 h 4"/>
                <a:gd name="T8" fmla="*/ 1 w 14"/>
                <a:gd name="T9" fmla="*/ 0 h 4"/>
                <a:gd name="T10" fmla="*/ 0 w 14"/>
                <a:gd name="T11" fmla="*/ 0 h 4"/>
                <a:gd name="T12" fmla="*/ 0 w 14"/>
                <a:gd name="T13" fmla="*/ 1 h 4"/>
                <a:gd name="T14" fmla="*/ 1 w 14"/>
                <a:gd name="T15" fmla="*/ 2 h 4"/>
                <a:gd name="T16" fmla="*/ 4 w 14"/>
                <a:gd name="T17" fmla="*/ 2 h 4"/>
                <a:gd name="T18" fmla="*/ 6 w 14"/>
                <a:gd name="T19" fmla="*/ 3 h 4"/>
                <a:gd name="T20" fmla="*/ 8 w 14"/>
                <a:gd name="T21" fmla="*/ 3 h 4"/>
                <a:gd name="T22" fmla="*/ 9 w 14"/>
                <a:gd name="T23" fmla="*/ 3 h 4"/>
                <a:gd name="T24" fmla="*/ 11 w 14"/>
                <a:gd name="T25" fmla="*/ 3 h 4"/>
                <a:gd name="T26" fmla="*/ 12 w 14"/>
                <a:gd name="T27" fmla="*/ 4 h 4"/>
                <a:gd name="T28" fmla="*/ 13 w 14"/>
                <a:gd name="T29" fmla="*/ 3 h 4"/>
                <a:gd name="T30" fmla="*/ 13 w 14"/>
                <a:gd name="T31" fmla="*/ 2 h 4"/>
                <a:gd name="T32" fmla="*/ 12 w 14"/>
                <a:gd name="T33"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4">
                  <a:moveTo>
                    <a:pt x="12" y="2"/>
                  </a:moveTo>
                  <a:cubicBezTo>
                    <a:pt x="12" y="1"/>
                    <a:pt x="11" y="1"/>
                    <a:pt x="10" y="1"/>
                  </a:cubicBezTo>
                  <a:cubicBezTo>
                    <a:pt x="10" y="1"/>
                    <a:pt x="9" y="1"/>
                    <a:pt x="9" y="1"/>
                  </a:cubicBezTo>
                  <a:cubicBezTo>
                    <a:pt x="6" y="1"/>
                    <a:pt x="6" y="1"/>
                    <a:pt x="6" y="1"/>
                  </a:cubicBezTo>
                  <a:cubicBezTo>
                    <a:pt x="6" y="1"/>
                    <a:pt x="2" y="0"/>
                    <a:pt x="1" y="0"/>
                  </a:cubicBezTo>
                  <a:cubicBezTo>
                    <a:pt x="1" y="0"/>
                    <a:pt x="0" y="0"/>
                    <a:pt x="0" y="0"/>
                  </a:cubicBezTo>
                  <a:cubicBezTo>
                    <a:pt x="0" y="0"/>
                    <a:pt x="0" y="1"/>
                    <a:pt x="0" y="1"/>
                  </a:cubicBezTo>
                  <a:cubicBezTo>
                    <a:pt x="0" y="1"/>
                    <a:pt x="1" y="2"/>
                    <a:pt x="1" y="2"/>
                  </a:cubicBezTo>
                  <a:cubicBezTo>
                    <a:pt x="1" y="2"/>
                    <a:pt x="4" y="2"/>
                    <a:pt x="4" y="2"/>
                  </a:cubicBezTo>
                  <a:cubicBezTo>
                    <a:pt x="5" y="2"/>
                    <a:pt x="6" y="2"/>
                    <a:pt x="6" y="3"/>
                  </a:cubicBezTo>
                  <a:cubicBezTo>
                    <a:pt x="6" y="3"/>
                    <a:pt x="8" y="3"/>
                    <a:pt x="8" y="3"/>
                  </a:cubicBezTo>
                  <a:cubicBezTo>
                    <a:pt x="9" y="3"/>
                    <a:pt x="9" y="3"/>
                    <a:pt x="9" y="3"/>
                  </a:cubicBezTo>
                  <a:cubicBezTo>
                    <a:pt x="11" y="3"/>
                    <a:pt x="11" y="3"/>
                    <a:pt x="11" y="3"/>
                  </a:cubicBezTo>
                  <a:cubicBezTo>
                    <a:pt x="11" y="3"/>
                    <a:pt x="12" y="3"/>
                    <a:pt x="12" y="4"/>
                  </a:cubicBezTo>
                  <a:cubicBezTo>
                    <a:pt x="12" y="4"/>
                    <a:pt x="13" y="4"/>
                    <a:pt x="13" y="3"/>
                  </a:cubicBezTo>
                  <a:cubicBezTo>
                    <a:pt x="14" y="3"/>
                    <a:pt x="13" y="3"/>
                    <a:pt x="13" y="2"/>
                  </a:cubicBezTo>
                  <a:cubicBezTo>
                    <a:pt x="13" y="2"/>
                    <a:pt x="13" y="2"/>
                    <a:pt x="12" y="2"/>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Freeform 27"/>
            <p:cNvSpPr>
              <a:spLocks/>
            </p:cNvSpPr>
            <p:nvPr/>
          </p:nvSpPr>
          <p:spPr bwMode="auto">
            <a:xfrm>
              <a:off x="5866769" y="4853957"/>
              <a:ext cx="17330" cy="19062"/>
            </a:xfrm>
            <a:custGeom>
              <a:avLst/>
              <a:gdLst>
                <a:gd name="T0" fmla="*/ 1 w 6"/>
                <a:gd name="T1" fmla="*/ 2 h 7"/>
                <a:gd name="T2" fmla="*/ 0 w 6"/>
                <a:gd name="T3" fmla="*/ 3 h 7"/>
                <a:gd name="T4" fmla="*/ 0 w 6"/>
                <a:gd name="T5" fmla="*/ 4 h 7"/>
                <a:gd name="T6" fmla="*/ 2 w 6"/>
                <a:gd name="T7" fmla="*/ 5 h 7"/>
                <a:gd name="T8" fmla="*/ 3 w 6"/>
                <a:gd name="T9" fmla="*/ 6 h 7"/>
                <a:gd name="T10" fmla="*/ 5 w 6"/>
                <a:gd name="T11" fmla="*/ 7 h 7"/>
                <a:gd name="T12" fmla="*/ 5 w 6"/>
                <a:gd name="T13" fmla="*/ 7 h 7"/>
                <a:gd name="T14" fmla="*/ 6 w 6"/>
                <a:gd name="T15" fmla="*/ 6 h 7"/>
                <a:gd name="T16" fmla="*/ 5 w 6"/>
                <a:gd name="T17" fmla="*/ 5 h 7"/>
                <a:gd name="T18" fmla="*/ 4 w 6"/>
                <a:gd name="T19" fmla="*/ 4 h 7"/>
                <a:gd name="T20" fmla="*/ 3 w 6"/>
                <a:gd name="T21" fmla="*/ 4 h 7"/>
                <a:gd name="T22" fmla="*/ 3 w 6"/>
                <a:gd name="T23" fmla="*/ 2 h 7"/>
                <a:gd name="T24" fmla="*/ 5 w 6"/>
                <a:gd name="T25" fmla="*/ 2 h 7"/>
                <a:gd name="T26" fmla="*/ 3 w 6"/>
                <a:gd name="T27" fmla="*/ 0 h 7"/>
                <a:gd name="T28" fmla="*/ 2 w 6"/>
                <a:gd name="T29" fmla="*/ 0 h 7"/>
                <a:gd name="T30" fmla="*/ 2 w 6"/>
                <a:gd name="T31" fmla="*/ 1 h 7"/>
                <a:gd name="T32" fmla="*/ 2 w 6"/>
                <a:gd name="T33" fmla="*/ 2 h 7"/>
                <a:gd name="T34" fmla="*/ 1 w 6"/>
                <a:gd name="T35"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 h="7">
                  <a:moveTo>
                    <a:pt x="1" y="2"/>
                  </a:moveTo>
                  <a:cubicBezTo>
                    <a:pt x="1" y="2"/>
                    <a:pt x="1" y="3"/>
                    <a:pt x="0" y="3"/>
                  </a:cubicBezTo>
                  <a:cubicBezTo>
                    <a:pt x="0" y="4"/>
                    <a:pt x="0" y="4"/>
                    <a:pt x="0" y="4"/>
                  </a:cubicBezTo>
                  <a:cubicBezTo>
                    <a:pt x="1" y="4"/>
                    <a:pt x="2" y="5"/>
                    <a:pt x="2" y="5"/>
                  </a:cubicBezTo>
                  <a:cubicBezTo>
                    <a:pt x="3" y="5"/>
                    <a:pt x="3" y="6"/>
                    <a:pt x="3" y="6"/>
                  </a:cubicBezTo>
                  <a:cubicBezTo>
                    <a:pt x="4" y="6"/>
                    <a:pt x="5" y="7"/>
                    <a:pt x="5" y="7"/>
                  </a:cubicBezTo>
                  <a:cubicBezTo>
                    <a:pt x="5" y="7"/>
                    <a:pt x="5" y="7"/>
                    <a:pt x="5" y="7"/>
                  </a:cubicBezTo>
                  <a:cubicBezTo>
                    <a:pt x="6" y="7"/>
                    <a:pt x="6" y="7"/>
                    <a:pt x="6" y="6"/>
                  </a:cubicBezTo>
                  <a:cubicBezTo>
                    <a:pt x="6" y="5"/>
                    <a:pt x="6" y="5"/>
                    <a:pt x="5" y="5"/>
                  </a:cubicBezTo>
                  <a:cubicBezTo>
                    <a:pt x="4" y="4"/>
                    <a:pt x="4" y="4"/>
                    <a:pt x="4" y="4"/>
                  </a:cubicBezTo>
                  <a:cubicBezTo>
                    <a:pt x="4" y="4"/>
                    <a:pt x="4" y="5"/>
                    <a:pt x="3" y="4"/>
                  </a:cubicBezTo>
                  <a:cubicBezTo>
                    <a:pt x="3" y="2"/>
                    <a:pt x="3" y="2"/>
                    <a:pt x="3" y="2"/>
                  </a:cubicBezTo>
                  <a:cubicBezTo>
                    <a:pt x="3" y="2"/>
                    <a:pt x="5" y="2"/>
                    <a:pt x="5" y="2"/>
                  </a:cubicBezTo>
                  <a:cubicBezTo>
                    <a:pt x="5" y="2"/>
                    <a:pt x="3" y="0"/>
                    <a:pt x="3" y="0"/>
                  </a:cubicBezTo>
                  <a:cubicBezTo>
                    <a:pt x="3" y="0"/>
                    <a:pt x="2" y="0"/>
                    <a:pt x="2" y="0"/>
                  </a:cubicBezTo>
                  <a:cubicBezTo>
                    <a:pt x="2" y="1"/>
                    <a:pt x="2" y="1"/>
                    <a:pt x="2" y="1"/>
                  </a:cubicBezTo>
                  <a:cubicBezTo>
                    <a:pt x="2" y="2"/>
                    <a:pt x="2" y="2"/>
                    <a:pt x="2" y="2"/>
                  </a:cubicBezTo>
                  <a:cubicBezTo>
                    <a:pt x="2" y="2"/>
                    <a:pt x="1" y="2"/>
                    <a:pt x="1" y="2"/>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28"/>
            <p:cNvSpPr>
              <a:spLocks/>
            </p:cNvSpPr>
            <p:nvPr/>
          </p:nvSpPr>
          <p:spPr bwMode="auto">
            <a:xfrm>
              <a:off x="6079058" y="5075897"/>
              <a:ext cx="14441" cy="10893"/>
            </a:xfrm>
            <a:custGeom>
              <a:avLst/>
              <a:gdLst>
                <a:gd name="T0" fmla="*/ 0 w 5"/>
                <a:gd name="T1" fmla="*/ 1 h 4"/>
                <a:gd name="T2" fmla="*/ 0 w 5"/>
                <a:gd name="T3" fmla="*/ 3 h 4"/>
                <a:gd name="T4" fmla="*/ 3 w 5"/>
                <a:gd name="T5" fmla="*/ 4 h 4"/>
                <a:gd name="T6" fmla="*/ 4 w 5"/>
                <a:gd name="T7" fmla="*/ 2 h 4"/>
                <a:gd name="T8" fmla="*/ 5 w 5"/>
                <a:gd name="T9" fmla="*/ 1 h 4"/>
                <a:gd name="T10" fmla="*/ 3 w 5"/>
                <a:gd name="T11" fmla="*/ 0 h 4"/>
                <a:gd name="T12" fmla="*/ 0 w 5"/>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0" y="1"/>
                  </a:moveTo>
                  <a:cubicBezTo>
                    <a:pt x="0" y="3"/>
                    <a:pt x="0" y="3"/>
                    <a:pt x="0" y="3"/>
                  </a:cubicBezTo>
                  <a:cubicBezTo>
                    <a:pt x="3" y="4"/>
                    <a:pt x="3" y="4"/>
                    <a:pt x="3" y="4"/>
                  </a:cubicBezTo>
                  <a:cubicBezTo>
                    <a:pt x="3" y="4"/>
                    <a:pt x="4" y="2"/>
                    <a:pt x="4" y="2"/>
                  </a:cubicBezTo>
                  <a:cubicBezTo>
                    <a:pt x="5" y="2"/>
                    <a:pt x="5" y="1"/>
                    <a:pt x="5" y="1"/>
                  </a:cubicBezTo>
                  <a:cubicBezTo>
                    <a:pt x="3" y="0"/>
                    <a:pt x="3" y="0"/>
                    <a:pt x="3" y="0"/>
                  </a:cubicBezTo>
                  <a:cubicBezTo>
                    <a:pt x="3" y="0"/>
                    <a:pt x="0" y="1"/>
                    <a:pt x="0" y="1"/>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Freeform 29"/>
            <p:cNvSpPr>
              <a:spLocks/>
            </p:cNvSpPr>
            <p:nvPr/>
          </p:nvSpPr>
          <p:spPr bwMode="auto">
            <a:xfrm>
              <a:off x="5759902" y="4649717"/>
              <a:ext cx="524225" cy="431627"/>
            </a:xfrm>
            <a:custGeom>
              <a:avLst/>
              <a:gdLst>
                <a:gd name="T0" fmla="*/ 166 w 181"/>
                <a:gd name="T1" fmla="*/ 36 h 158"/>
                <a:gd name="T2" fmla="*/ 163 w 181"/>
                <a:gd name="T3" fmla="*/ 26 h 158"/>
                <a:gd name="T4" fmla="*/ 141 w 181"/>
                <a:gd name="T5" fmla="*/ 28 h 158"/>
                <a:gd name="T6" fmla="*/ 122 w 181"/>
                <a:gd name="T7" fmla="*/ 25 h 158"/>
                <a:gd name="T8" fmla="*/ 90 w 181"/>
                <a:gd name="T9" fmla="*/ 4 h 158"/>
                <a:gd name="T10" fmla="*/ 81 w 181"/>
                <a:gd name="T11" fmla="*/ 7 h 158"/>
                <a:gd name="T12" fmla="*/ 69 w 181"/>
                <a:gd name="T13" fmla="*/ 14 h 158"/>
                <a:gd name="T14" fmla="*/ 66 w 181"/>
                <a:gd name="T15" fmla="*/ 19 h 158"/>
                <a:gd name="T16" fmla="*/ 64 w 181"/>
                <a:gd name="T17" fmla="*/ 33 h 158"/>
                <a:gd name="T18" fmla="*/ 59 w 181"/>
                <a:gd name="T19" fmla="*/ 39 h 158"/>
                <a:gd name="T20" fmla="*/ 58 w 181"/>
                <a:gd name="T21" fmla="*/ 48 h 158"/>
                <a:gd name="T22" fmla="*/ 49 w 181"/>
                <a:gd name="T23" fmla="*/ 51 h 158"/>
                <a:gd name="T24" fmla="*/ 37 w 181"/>
                <a:gd name="T25" fmla="*/ 49 h 158"/>
                <a:gd name="T26" fmla="*/ 26 w 181"/>
                <a:gd name="T27" fmla="*/ 52 h 158"/>
                <a:gd name="T28" fmla="*/ 16 w 181"/>
                <a:gd name="T29" fmla="*/ 53 h 158"/>
                <a:gd name="T30" fmla="*/ 8 w 181"/>
                <a:gd name="T31" fmla="*/ 54 h 158"/>
                <a:gd name="T32" fmla="*/ 2 w 181"/>
                <a:gd name="T33" fmla="*/ 59 h 158"/>
                <a:gd name="T34" fmla="*/ 7 w 181"/>
                <a:gd name="T35" fmla="*/ 71 h 158"/>
                <a:gd name="T36" fmla="*/ 16 w 181"/>
                <a:gd name="T37" fmla="*/ 80 h 158"/>
                <a:gd name="T38" fmla="*/ 21 w 181"/>
                <a:gd name="T39" fmla="*/ 69 h 158"/>
                <a:gd name="T40" fmla="*/ 31 w 181"/>
                <a:gd name="T41" fmla="*/ 64 h 158"/>
                <a:gd name="T42" fmla="*/ 39 w 181"/>
                <a:gd name="T43" fmla="*/ 72 h 158"/>
                <a:gd name="T44" fmla="*/ 41 w 181"/>
                <a:gd name="T45" fmla="*/ 67 h 158"/>
                <a:gd name="T46" fmla="*/ 57 w 181"/>
                <a:gd name="T47" fmla="*/ 95 h 158"/>
                <a:gd name="T48" fmla="*/ 49 w 181"/>
                <a:gd name="T49" fmla="*/ 89 h 158"/>
                <a:gd name="T50" fmla="*/ 45 w 181"/>
                <a:gd name="T51" fmla="*/ 89 h 158"/>
                <a:gd name="T52" fmla="*/ 54 w 181"/>
                <a:gd name="T53" fmla="*/ 98 h 158"/>
                <a:gd name="T54" fmla="*/ 55 w 181"/>
                <a:gd name="T55" fmla="*/ 99 h 158"/>
                <a:gd name="T56" fmla="*/ 61 w 181"/>
                <a:gd name="T57" fmla="*/ 111 h 158"/>
                <a:gd name="T58" fmla="*/ 64 w 181"/>
                <a:gd name="T59" fmla="*/ 115 h 158"/>
                <a:gd name="T60" fmla="*/ 53 w 181"/>
                <a:gd name="T61" fmla="*/ 110 h 158"/>
                <a:gd name="T62" fmla="*/ 48 w 181"/>
                <a:gd name="T63" fmla="*/ 104 h 158"/>
                <a:gd name="T64" fmla="*/ 40 w 181"/>
                <a:gd name="T65" fmla="*/ 101 h 158"/>
                <a:gd name="T66" fmla="*/ 52 w 181"/>
                <a:gd name="T67" fmla="*/ 110 h 158"/>
                <a:gd name="T68" fmla="*/ 59 w 181"/>
                <a:gd name="T69" fmla="*/ 118 h 158"/>
                <a:gd name="T70" fmla="*/ 67 w 181"/>
                <a:gd name="T71" fmla="*/ 124 h 158"/>
                <a:gd name="T72" fmla="*/ 58 w 181"/>
                <a:gd name="T73" fmla="*/ 115 h 158"/>
                <a:gd name="T74" fmla="*/ 70 w 181"/>
                <a:gd name="T75" fmla="*/ 117 h 158"/>
                <a:gd name="T76" fmla="*/ 70 w 181"/>
                <a:gd name="T77" fmla="*/ 123 h 158"/>
                <a:gd name="T78" fmla="*/ 76 w 181"/>
                <a:gd name="T79" fmla="*/ 122 h 158"/>
                <a:gd name="T80" fmla="*/ 84 w 181"/>
                <a:gd name="T81" fmla="*/ 131 h 158"/>
                <a:gd name="T82" fmla="*/ 99 w 181"/>
                <a:gd name="T83" fmla="*/ 129 h 158"/>
                <a:gd name="T84" fmla="*/ 123 w 181"/>
                <a:gd name="T85" fmla="*/ 140 h 158"/>
                <a:gd name="T86" fmla="*/ 124 w 181"/>
                <a:gd name="T87" fmla="*/ 146 h 158"/>
                <a:gd name="T88" fmla="*/ 105 w 181"/>
                <a:gd name="T89" fmla="*/ 149 h 158"/>
                <a:gd name="T90" fmla="*/ 122 w 181"/>
                <a:gd name="T91" fmla="*/ 147 h 158"/>
                <a:gd name="T92" fmla="*/ 143 w 181"/>
                <a:gd name="T93" fmla="*/ 157 h 158"/>
                <a:gd name="T94" fmla="*/ 139 w 181"/>
                <a:gd name="T95" fmla="*/ 152 h 158"/>
                <a:gd name="T96" fmla="*/ 135 w 181"/>
                <a:gd name="T97" fmla="*/ 148 h 158"/>
                <a:gd name="T98" fmla="*/ 124 w 181"/>
                <a:gd name="T99" fmla="*/ 134 h 158"/>
                <a:gd name="T100" fmla="*/ 111 w 181"/>
                <a:gd name="T101" fmla="*/ 120 h 158"/>
                <a:gd name="T102" fmla="*/ 97 w 181"/>
                <a:gd name="T103" fmla="*/ 108 h 158"/>
                <a:gd name="T104" fmla="*/ 85 w 181"/>
                <a:gd name="T105" fmla="*/ 93 h 158"/>
                <a:gd name="T106" fmla="*/ 75 w 181"/>
                <a:gd name="T107" fmla="*/ 78 h 158"/>
                <a:gd name="T108" fmla="*/ 69 w 181"/>
                <a:gd name="T109" fmla="*/ 66 h 158"/>
                <a:gd name="T110" fmla="*/ 80 w 181"/>
                <a:gd name="T111" fmla="*/ 60 h 158"/>
                <a:gd name="T112" fmla="*/ 94 w 181"/>
                <a:gd name="T113" fmla="*/ 55 h 158"/>
                <a:gd name="T114" fmla="*/ 112 w 181"/>
                <a:gd name="T115" fmla="*/ 55 h 158"/>
                <a:gd name="T116" fmla="*/ 132 w 181"/>
                <a:gd name="T117" fmla="*/ 56 h 158"/>
                <a:gd name="T118" fmla="*/ 144 w 181"/>
                <a:gd name="T119" fmla="*/ 53 h 158"/>
                <a:gd name="T120" fmla="*/ 158 w 181"/>
                <a:gd name="T121" fmla="*/ 53 h 158"/>
                <a:gd name="T122" fmla="*/ 175 w 181"/>
                <a:gd name="T123" fmla="*/ 58 h 158"/>
                <a:gd name="T124" fmla="*/ 170 w 181"/>
                <a:gd name="T125" fmla="*/ 5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1" h="158">
                  <a:moveTo>
                    <a:pt x="179" y="44"/>
                  </a:moveTo>
                  <a:cubicBezTo>
                    <a:pt x="178" y="44"/>
                    <a:pt x="179" y="45"/>
                    <a:pt x="177" y="44"/>
                  </a:cubicBezTo>
                  <a:cubicBezTo>
                    <a:pt x="174" y="44"/>
                    <a:pt x="173" y="43"/>
                    <a:pt x="173" y="43"/>
                  </a:cubicBezTo>
                  <a:cubicBezTo>
                    <a:pt x="173" y="43"/>
                    <a:pt x="173" y="42"/>
                    <a:pt x="172" y="43"/>
                  </a:cubicBezTo>
                  <a:cubicBezTo>
                    <a:pt x="171" y="43"/>
                    <a:pt x="171" y="43"/>
                    <a:pt x="170" y="42"/>
                  </a:cubicBezTo>
                  <a:cubicBezTo>
                    <a:pt x="169" y="41"/>
                    <a:pt x="167" y="39"/>
                    <a:pt x="167" y="39"/>
                  </a:cubicBezTo>
                  <a:cubicBezTo>
                    <a:pt x="167" y="39"/>
                    <a:pt x="166" y="40"/>
                    <a:pt x="166" y="39"/>
                  </a:cubicBezTo>
                  <a:cubicBezTo>
                    <a:pt x="166" y="38"/>
                    <a:pt x="166" y="37"/>
                    <a:pt x="167" y="37"/>
                  </a:cubicBezTo>
                  <a:cubicBezTo>
                    <a:pt x="166" y="36"/>
                    <a:pt x="166" y="36"/>
                    <a:pt x="166" y="36"/>
                  </a:cubicBezTo>
                  <a:cubicBezTo>
                    <a:pt x="166" y="35"/>
                    <a:pt x="166" y="35"/>
                    <a:pt x="166" y="35"/>
                  </a:cubicBezTo>
                  <a:cubicBezTo>
                    <a:pt x="166" y="35"/>
                    <a:pt x="167" y="35"/>
                    <a:pt x="167" y="35"/>
                  </a:cubicBezTo>
                  <a:cubicBezTo>
                    <a:pt x="168" y="34"/>
                    <a:pt x="168" y="34"/>
                    <a:pt x="168" y="34"/>
                  </a:cubicBezTo>
                  <a:cubicBezTo>
                    <a:pt x="169" y="33"/>
                    <a:pt x="168" y="31"/>
                    <a:pt x="165" y="32"/>
                  </a:cubicBezTo>
                  <a:cubicBezTo>
                    <a:pt x="165" y="32"/>
                    <a:pt x="164" y="33"/>
                    <a:pt x="164" y="33"/>
                  </a:cubicBezTo>
                  <a:cubicBezTo>
                    <a:pt x="163" y="33"/>
                    <a:pt x="162" y="32"/>
                    <a:pt x="162" y="31"/>
                  </a:cubicBezTo>
                  <a:cubicBezTo>
                    <a:pt x="162" y="31"/>
                    <a:pt x="161" y="30"/>
                    <a:pt x="162" y="30"/>
                  </a:cubicBezTo>
                  <a:cubicBezTo>
                    <a:pt x="163" y="30"/>
                    <a:pt x="164" y="28"/>
                    <a:pt x="164" y="28"/>
                  </a:cubicBezTo>
                  <a:cubicBezTo>
                    <a:pt x="163" y="26"/>
                    <a:pt x="163" y="26"/>
                    <a:pt x="163" y="26"/>
                  </a:cubicBezTo>
                  <a:cubicBezTo>
                    <a:pt x="163" y="21"/>
                    <a:pt x="163" y="21"/>
                    <a:pt x="163" y="21"/>
                  </a:cubicBezTo>
                  <a:cubicBezTo>
                    <a:pt x="161" y="20"/>
                    <a:pt x="161" y="20"/>
                    <a:pt x="161" y="20"/>
                  </a:cubicBezTo>
                  <a:cubicBezTo>
                    <a:pt x="160" y="21"/>
                    <a:pt x="160" y="21"/>
                    <a:pt x="160" y="21"/>
                  </a:cubicBezTo>
                  <a:cubicBezTo>
                    <a:pt x="159" y="21"/>
                    <a:pt x="159" y="21"/>
                    <a:pt x="159" y="21"/>
                  </a:cubicBezTo>
                  <a:cubicBezTo>
                    <a:pt x="158" y="23"/>
                    <a:pt x="158" y="23"/>
                    <a:pt x="158" y="23"/>
                  </a:cubicBezTo>
                  <a:cubicBezTo>
                    <a:pt x="158" y="23"/>
                    <a:pt x="158" y="23"/>
                    <a:pt x="158" y="23"/>
                  </a:cubicBezTo>
                  <a:cubicBezTo>
                    <a:pt x="157" y="24"/>
                    <a:pt x="156" y="24"/>
                    <a:pt x="156" y="25"/>
                  </a:cubicBezTo>
                  <a:cubicBezTo>
                    <a:pt x="155" y="26"/>
                    <a:pt x="154" y="26"/>
                    <a:pt x="150" y="26"/>
                  </a:cubicBezTo>
                  <a:cubicBezTo>
                    <a:pt x="141" y="28"/>
                    <a:pt x="141" y="28"/>
                    <a:pt x="141" y="28"/>
                  </a:cubicBezTo>
                  <a:cubicBezTo>
                    <a:pt x="141" y="28"/>
                    <a:pt x="139" y="28"/>
                    <a:pt x="138" y="28"/>
                  </a:cubicBezTo>
                  <a:cubicBezTo>
                    <a:pt x="138" y="28"/>
                    <a:pt x="138" y="28"/>
                    <a:pt x="138" y="28"/>
                  </a:cubicBezTo>
                  <a:cubicBezTo>
                    <a:pt x="136" y="28"/>
                    <a:pt x="134" y="28"/>
                    <a:pt x="134" y="28"/>
                  </a:cubicBezTo>
                  <a:cubicBezTo>
                    <a:pt x="131" y="29"/>
                    <a:pt x="131" y="29"/>
                    <a:pt x="131" y="29"/>
                  </a:cubicBezTo>
                  <a:cubicBezTo>
                    <a:pt x="131" y="29"/>
                    <a:pt x="131" y="29"/>
                    <a:pt x="131" y="29"/>
                  </a:cubicBezTo>
                  <a:cubicBezTo>
                    <a:pt x="130" y="29"/>
                    <a:pt x="130" y="29"/>
                    <a:pt x="130" y="29"/>
                  </a:cubicBezTo>
                  <a:cubicBezTo>
                    <a:pt x="130" y="29"/>
                    <a:pt x="130" y="29"/>
                    <a:pt x="130" y="29"/>
                  </a:cubicBezTo>
                  <a:cubicBezTo>
                    <a:pt x="124" y="27"/>
                    <a:pt x="124" y="27"/>
                    <a:pt x="124" y="27"/>
                  </a:cubicBezTo>
                  <a:cubicBezTo>
                    <a:pt x="122" y="25"/>
                    <a:pt x="122" y="25"/>
                    <a:pt x="122" y="25"/>
                  </a:cubicBezTo>
                  <a:cubicBezTo>
                    <a:pt x="118" y="24"/>
                    <a:pt x="118" y="24"/>
                    <a:pt x="118" y="24"/>
                  </a:cubicBezTo>
                  <a:cubicBezTo>
                    <a:pt x="117" y="22"/>
                    <a:pt x="117" y="22"/>
                    <a:pt x="117" y="22"/>
                  </a:cubicBezTo>
                  <a:cubicBezTo>
                    <a:pt x="114" y="22"/>
                    <a:pt x="114" y="22"/>
                    <a:pt x="114" y="22"/>
                  </a:cubicBezTo>
                  <a:cubicBezTo>
                    <a:pt x="110" y="19"/>
                    <a:pt x="110" y="19"/>
                    <a:pt x="110" y="19"/>
                  </a:cubicBezTo>
                  <a:cubicBezTo>
                    <a:pt x="106" y="14"/>
                    <a:pt x="106" y="14"/>
                    <a:pt x="106" y="14"/>
                  </a:cubicBezTo>
                  <a:cubicBezTo>
                    <a:pt x="99" y="12"/>
                    <a:pt x="99" y="12"/>
                    <a:pt x="99" y="12"/>
                  </a:cubicBezTo>
                  <a:cubicBezTo>
                    <a:pt x="96" y="8"/>
                    <a:pt x="96" y="8"/>
                    <a:pt x="96" y="8"/>
                  </a:cubicBezTo>
                  <a:cubicBezTo>
                    <a:pt x="93" y="7"/>
                    <a:pt x="93" y="7"/>
                    <a:pt x="93" y="7"/>
                  </a:cubicBezTo>
                  <a:cubicBezTo>
                    <a:pt x="90" y="4"/>
                    <a:pt x="90" y="4"/>
                    <a:pt x="90" y="4"/>
                  </a:cubicBezTo>
                  <a:cubicBezTo>
                    <a:pt x="85" y="0"/>
                    <a:pt x="85" y="0"/>
                    <a:pt x="85" y="0"/>
                  </a:cubicBezTo>
                  <a:cubicBezTo>
                    <a:pt x="85" y="0"/>
                    <a:pt x="85" y="0"/>
                    <a:pt x="85" y="0"/>
                  </a:cubicBezTo>
                  <a:cubicBezTo>
                    <a:pt x="85" y="0"/>
                    <a:pt x="85" y="0"/>
                    <a:pt x="85" y="0"/>
                  </a:cubicBezTo>
                  <a:cubicBezTo>
                    <a:pt x="83" y="0"/>
                    <a:pt x="83" y="0"/>
                    <a:pt x="83" y="0"/>
                  </a:cubicBezTo>
                  <a:cubicBezTo>
                    <a:pt x="83" y="0"/>
                    <a:pt x="83" y="0"/>
                    <a:pt x="83" y="0"/>
                  </a:cubicBezTo>
                  <a:cubicBezTo>
                    <a:pt x="83" y="0"/>
                    <a:pt x="83" y="1"/>
                    <a:pt x="83" y="1"/>
                  </a:cubicBezTo>
                  <a:cubicBezTo>
                    <a:pt x="83" y="2"/>
                    <a:pt x="83" y="2"/>
                    <a:pt x="83" y="2"/>
                  </a:cubicBezTo>
                  <a:cubicBezTo>
                    <a:pt x="84" y="3"/>
                    <a:pt x="84" y="4"/>
                    <a:pt x="83" y="6"/>
                  </a:cubicBezTo>
                  <a:cubicBezTo>
                    <a:pt x="83" y="7"/>
                    <a:pt x="81" y="7"/>
                    <a:pt x="81" y="7"/>
                  </a:cubicBezTo>
                  <a:cubicBezTo>
                    <a:pt x="80" y="7"/>
                    <a:pt x="80" y="7"/>
                    <a:pt x="78" y="7"/>
                  </a:cubicBezTo>
                  <a:cubicBezTo>
                    <a:pt x="78" y="6"/>
                    <a:pt x="78" y="6"/>
                    <a:pt x="78" y="6"/>
                  </a:cubicBezTo>
                  <a:cubicBezTo>
                    <a:pt x="77" y="6"/>
                    <a:pt x="77" y="6"/>
                    <a:pt x="77" y="6"/>
                  </a:cubicBezTo>
                  <a:cubicBezTo>
                    <a:pt x="77" y="7"/>
                    <a:pt x="77" y="7"/>
                    <a:pt x="77" y="7"/>
                  </a:cubicBezTo>
                  <a:cubicBezTo>
                    <a:pt x="75" y="10"/>
                    <a:pt x="75" y="10"/>
                    <a:pt x="75" y="10"/>
                  </a:cubicBezTo>
                  <a:cubicBezTo>
                    <a:pt x="71" y="12"/>
                    <a:pt x="71" y="12"/>
                    <a:pt x="71" y="12"/>
                  </a:cubicBezTo>
                  <a:cubicBezTo>
                    <a:pt x="69" y="13"/>
                    <a:pt x="69" y="13"/>
                    <a:pt x="69" y="13"/>
                  </a:cubicBezTo>
                  <a:cubicBezTo>
                    <a:pt x="69" y="13"/>
                    <a:pt x="69" y="13"/>
                    <a:pt x="69" y="13"/>
                  </a:cubicBezTo>
                  <a:cubicBezTo>
                    <a:pt x="69" y="14"/>
                    <a:pt x="69" y="14"/>
                    <a:pt x="69" y="14"/>
                  </a:cubicBezTo>
                  <a:cubicBezTo>
                    <a:pt x="68" y="15"/>
                    <a:pt x="68" y="15"/>
                    <a:pt x="68" y="15"/>
                  </a:cubicBezTo>
                  <a:cubicBezTo>
                    <a:pt x="67" y="15"/>
                    <a:pt x="66" y="15"/>
                    <a:pt x="66" y="15"/>
                  </a:cubicBezTo>
                  <a:cubicBezTo>
                    <a:pt x="65" y="15"/>
                    <a:pt x="65" y="15"/>
                    <a:pt x="64" y="15"/>
                  </a:cubicBezTo>
                  <a:cubicBezTo>
                    <a:pt x="64" y="15"/>
                    <a:pt x="64" y="15"/>
                    <a:pt x="64" y="15"/>
                  </a:cubicBezTo>
                  <a:cubicBezTo>
                    <a:pt x="64" y="16"/>
                    <a:pt x="64" y="16"/>
                    <a:pt x="64" y="16"/>
                  </a:cubicBezTo>
                  <a:cubicBezTo>
                    <a:pt x="64" y="16"/>
                    <a:pt x="63" y="16"/>
                    <a:pt x="63" y="16"/>
                  </a:cubicBezTo>
                  <a:cubicBezTo>
                    <a:pt x="63" y="17"/>
                    <a:pt x="63" y="17"/>
                    <a:pt x="63" y="17"/>
                  </a:cubicBezTo>
                  <a:cubicBezTo>
                    <a:pt x="64" y="17"/>
                    <a:pt x="65" y="18"/>
                    <a:pt x="65" y="18"/>
                  </a:cubicBezTo>
                  <a:cubicBezTo>
                    <a:pt x="66" y="19"/>
                    <a:pt x="66" y="19"/>
                    <a:pt x="66" y="19"/>
                  </a:cubicBezTo>
                  <a:cubicBezTo>
                    <a:pt x="67" y="20"/>
                    <a:pt x="67" y="20"/>
                    <a:pt x="67" y="20"/>
                  </a:cubicBezTo>
                  <a:cubicBezTo>
                    <a:pt x="67" y="21"/>
                    <a:pt x="67" y="22"/>
                    <a:pt x="67" y="23"/>
                  </a:cubicBezTo>
                  <a:cubicBezTo>
                    <a:pt x="67" y="23"/>
                    <a:pt x="67" y="23"/>
                    <a:pt x="67" y="24"/>
                  </a:cubicBezTo>
                  <a:cubicBezTo>
                    <a:pt x="67" y="26"/>
                    <a:pt x="67" y="26"/>
                    <a:pt x="67" y="26"/>
                  </a:cubicBezTo>
                  <a:cubicBezTo>
                    <a:pt x="67" y="27"/>
                    <a:pt x="67" y="27"/>
                    <a:pt x="67" y="27"/>
                  </a:cubicBezTo>
                  <a:cubicBezTo>
                    <a:pt x="67" y="27"/>
                    <a:pt x="67" y="27"/>
                    <a:pt x="67" y="27"/>
                  </a:cubicBezTo>
                  <a:cubicBezTo>
                    <a:pt x="68" y="28"/>
                    <a:pt x="68" y="30"/>
                    <a:pt x="67" y="31"/>
                  </a:cubicBezTo>
                  <a:cubicBezTo>
                    <a:pt x="65" y="33"/>
                    <a:pt x="65" y="33"/>
                    <a:pt x="64" y="33"/>
                  </a:cubicBezTo>
                  <a:cubicBezTo>
                    <a:pt x="64" y="33"/>
                    <a:pt x="64" y="33"/>
                    <a:pt x="64" y="33"/>
                  </a:cubicBezTo>
                  <a:cubicBezTo>
                    <a:pt x="64" y="33"/>
                    <a:pt x="62" y="33"/>
                    <a:pt x="61" y="33"/>
                  </a:cubicBezTo>
                  <a:cubicBezTo>
                    <a:pt x="60" y="34"/>
                    <a:pt x="60" y="34"/>
                    <a:pt x="60" y="34"/>
                  </a:cubicBezTo>
                  <a:cubicBezTo>
                    <a:pt x="60" y="34"/>
                    <a:pt x="60" y="34"/>
                    <a:pt x="60" y="34"/>
                  </a:cubicBezTo>
                  <a:cubicBezTo>
                    <a:pt x="57" y="35"/>
                    <a:pt x="57" y="35"/>
                    <a:pt x="57" y="35"/>
                  </a:cubicBezTo>
                  <a:cubicBezTo>
                    <a:pt x="57" y="36"/>
                    <a:pt x="58" y="36"/>
                    <a:pt x="58" y="36"/>
                  </a:cubicBezTo>
                  <a:cubicBezTo>
                    <a:pt x="59" y="39"/>
                    <a:pt x="59" y="39"/>
                    <a:pt x="59" y="39"/>
                  </a:cubicBezTo>
                  <a:cubicBezTo>
                    <a:pt x="59" y="39"/>
                    <a:pt x="59" y="39"/>
                    <a:pt x="59" y="39"/>
                  </a:cubicBezTo>
                  <a:cubicBezTo>
                    <a:pt x="60" y="39"/>
                    <a:pt x="60" y="39"/>
                    <a:pt x="60" y="39"/>
                  </a:cubicBezTo>
                  <a:cubicBezTo>
                    <a:pt x="59" y="39"/>
                    <a:pt x="59" y="39"/>
                    <a:pt x="59" y="39"/>
                  </a:cubicBezTo>
                  <a:cubicBezTo>
                    <a:pt x="59" y="40"/>
                    <a:pt x="58" y="41"/>
                    <a:pt x="57" y="41"/>
                  </a:cubicBezTo>
                  <a:cubicBezTo>
                    <a:pt x="57" y="42"/>
                    <a:pt x="56" y="42"/>
                    <a:pt x="56" y="42"/>
                  </a:cubicBezTo>
                  <a:cubicBezTo>
                    <a:pt x="56" y="42"/>
                    <a:pt x="56" y="42"/>
                    <a:pt x="56" y="43"/>
                  </a:cubicBezTo>
                  <a:cubicBezTo>
                    <a:pt x="56" y="43"/>
                    <a:pt x="56" y="43"/>
                    <a:pt x="56" y="43"/>
                  </a:cubicBezTo>
                  <a:cubicBezTo>
                    <a:pt x="56" y="43"/>
                    <a:pt x="57" y="43"/>
                    <a:pt x="57" y="43"/>
                  </a:cubicBezTo>
                  <a:cubicBezTo>
                    <a:pt x="57" y="43"/>
                    <a:pt x="58" y="44"/>
                    <a:pt x="58" y="44"/>
                  </a:cubicBezTo>
                  <a:cubicBezTo>
                    <a:pt x="59" y="45"/>
                    <a:pt x="59" y="46"/>
                    <a:pt x="59" y="47"/>
                  </a:cubicBezTo>
                  <a:cubicBezTo>
                    <a:pt x="59" y="48"/>
                    <a:pt x="59" y="48"/>
                    <a:pt x="59" y="48"/>
                  </a:cubicBezTo>
                  <a:cubicBezTo>
                    <a:pt x="58" y="48"/>
                    <a:pt x="58" y="48"/>
                    <a:pt x="58" y="48"/>
                  </a:cubicBezTo>
                  <a:cubicBezTo>
                    <a:pt x="58" y="49"/>
                    <a:pt x="56" y="50"/>
                    <a:pt x="55" y="50"/>
                  </a:cubicBezTo>
                  <a:cubicBezTo>
                    <a:pt x="55" y="50"/>
                    <a:pt x="55" y="50"/>
                    <a:pt x="55" y="50"/>
                  </a:cubicBezTo>
                  <a:cubicBezTo>
                    <a:pt x="55" y="50"/>
                    <a:pt x="54" y="50"/>
                    <a:pt x="54" y="50"/>
                  </a:cubicBezTo>
                  <a:cubicBezTo>
                    <a:pt x="54" y="50"/>
                    <a:pt x="54" y="51"/>
                    <a:pt x="54" y="51"/>
                  </a:cubicBezTo>
                  <a:cubicBezTo>
                    <a:pt x="53" y="51"/>
                    <a:pt x="53" y="51"/>
                    <a:pt x="53" y="51"/>
                  </a:cubicBezTo>
                  <a:cubicBezTo>
                    <a:pt x="52" y="51"/>
                    <a:pt x="52" y="51"/>
                    <a:pt x="52" y="51"/>
                  </a:cubicBezTo>
                  <a:cubicBezTo>
                    <a:pt x="51" y="51"/>
                    <a:pt x="51" y="51"/>
                    <a:pt x="50" y="51"/>
                  </a:cubicBezTo>
                  <a:cubicBezTo>
                    <a:pt x="50" y="51"/>
                    <a:pt x="50" y="51"/>
                    <a:pt x="50" y="51"/>
                  </a:cubicBezTo>
                  <a:cubicBezTo>
                    <a:pt x="50" y="51"/>
                    <a:pt x="49" y="51"/>
                    <a:pt x="49" y="51"/>
                  </a:cubicBezTo>
                  <a:cubicBezTo>
                    <a:pt x="48" y="50"/>
                    <a:pt x="47" y="50"/>
                    <a:pt x="47" y="50"/>
                  </a:cubicBezTo>
                  <a:cubicBezTo>
                    <a:pt x="46" y="50"/>
                    <a:pt x="46" y="50"/>
                    <a:pt x="46" y="50"/>
                  </a:cubicBezTo>
                  <a:cubicBezTo>
                    <a:pt x="46" y="50"/>
                    <a:pt x="46" y="49"/>
                    <a:pt x="46" y="49"/>
                  </a:cubicBezTo>
                  <a:cubicBezTo>
                    <a:pt x="46" y="49"/>
                    <a:pt x="46" y="49"/>
                    <a:pt x="46" y="49"/>
                  </a:cubicBezTo>
                  <a:cubicBezTo>
                    <a:pt x="45" y="49"/>
                    <a:pt x="45" y="49"/>
                    <a:pt x="45" y="49"/>
                  </a:cubicBezTo>
                  <a:cubicBezTo>
                    <a:pt x="44" y="50"/>
                    <a:pt x="44" y="50"/>
                    <a:pt x="43" y="50"/>
                  </a:cubicBezTo>
                  <a:cubicBezTo>
                    <a:pt x="42" y="51"/>
                    <a:pt x="42" y="51"/>
                    <a:pt x="42" y="51"/>
                  </a:cubicBezTo>
                  <a:cubicBezTo>
                    <a:pt x="41" y="51"/>
                    <a:pt x="41" y="51"/>
                    <a:pt x="41" y="51"/>
                  </a:cubicBezTo>
                  <a:cubicBezTo>
                    <a:pt x="39" y="51"/>
                    <a:pt x="38" y="50"/>
                    <a:pt x="37" y="49"/>
                  </a:cubicBezTo>
                  <a:cubicBezTo>
                    <a:pt x="37" y="49"/>
                    <a:pt x="36" y="49"/>
                    <a:pt x="36" y="48"/>
                  </a:cubicBezTo>
                  <a:cubicBezTo>
                    <a:pt x="36" y="48"/>
                    <a:pt x="35" y="48"/>
                    <a:pt x="35" y="48"/>
                  </a:cubicBezTo>
                  <a:cubicBezTo>
                    <a:pt x="34" y="48"/>
                    <a:pt x="33" y="48"/>
                    <a:pt x="33" y="46"/>
                  </a:cubicBezTo>
                  <a:cubicBezTo>
                    <a:pt x="33" y="45"/>
                    <a:pt x="32" y="45"/>
                    <a:pt x="32" y="45"/>
                  </a:cubicBezTo>
                  <a:cubicBezTo>
                    <a:pt x="32" y="45"/>
                    <a:pt x="32" y="45"/>
                    <a:pt x="32" y="45"/>
                  </a:cubicBezTo>
                  <a:cubicBezTo>
                    <a:pt x="32" y="45"/>
                    <a:pt x="32" y="45"/>
                    <a:pt x="32" y="45"/>
                  </a:cubicBezTo>
                  <a:cubicBezTo>
                    <a:pt x="32" y="47"/>
                    <a:pt x="31" y="48"/>
                    <a:pt x="30" y="49"/>
                  </a:cubicBezTo>
                  <a:cubicBezTo>
                    <a:pt x="29" y="49"/>
                    <a:pt x="29" y="49"/>
                    <a:pt x="29" y="49"/>
                  </a:cubicBezTo>
                  <a:cubicBezTo>
                    <a:pt x="26" y="52"/>
                    <a:pt x="26" y="52"/>
                    <a:pt x="26" y="52"/>
                  </a:cubicBezTo>
                  <a:cubicBezTo>
                    <a:pt x="22" y="51"/>
                    <a:pt x="22" y="51"/>
                    <a:pt x="22" y="51"/>
                  </a:cubicBezTo>
                  <a:cubicBezTo>
                    <a:pt x="21" y="52"/>
                    <a:pt x="21" y="52"/>
                    <a:pt x="21" y="52"/>
                  </a:cubicBezTo>
                  <a:cubicBezTo>
                    <a:pt x="21" y="52"/>
                    <a:pt x="21" y="52"/>
                    <a:pt x="20" y="52"/>
                  </a:cubicBezTo>
                  <a:cubicBezTo>
                    <a:pt x="20" y="52"/>
                    <a:pt x="20" y="52"/>
                    <a:pt x="20" y="52"/>
                  </a:cubicBezTo>
                  <a:cubicBezTo>
                    <a:pt x="19" y="52"/>
                    <a:pt x="19" y="52"/>
                    <a:pt x="19" y="52"/>
                  </a:cubicBezTo>
                  <a:cubicBezTo>
                    <a:pt x="18" y="52"/>
                    <a:pt x="18" y="52"/>
                    <a:pt x="17" y="52"/>
                  </a:cubicBezTo>
                  <a:cubicBezTo>
                    <a:pt x="17" y="52"/>
                    <a:pt x="17" y="52"/>
                    <a:pt x="17" y="52"/>
                  </a:cubicBezTo>
                  <a:cubicBezTo>
                    <a:pt x="17" y="52"/>
                    <a:pt x="17" y="52"/>
                    <a:pt x="16" y="53"/>
                  </a:cubicBezTo>
                  <a:cubicBezTo>
                    <a:pt x="16" y="53"/>
                    <a:pt x="16" y="53"/>
                    <a:pt x="16" y="53"/>
                  </a:cubicBezTo>
                  <a:cubicBezTo>
                    <a:pt x="16" y="53"/>
                    <a:pt x="15" y="54"/>
                    <a:pt x="15" y="54"/>
                  </a:cubicBezTo>
                  <a:cubicBezTo>
                    <a:pt x="15" y="54"/>
                    <a:pt x="14" y="54"/>
                    <a:pt x="14" y="54"/>
                  </a:cubicBezTo>
                  <a:cubicBezTo>
                    <a:pt x="14" y="54"/>
                    <a:pt x="14" y="55"/>
                    <a:pt x="14" y="55"/>
                  </a:cubicBezTo>
                  <a:cubicBezTo>
                    <a:pt x="12" y="55"/>
                    <a:pt x="12" y="55"/>
                    <a:pt x="12" y="55"/>
                  </a:cubicBezTo>
                  <a:cubicBezTo>
                    <a:pt x="12" y="55"/>
                    <a:pt x="12" y="55"/>
                    <a:pt x="12" y="55"/>
                  </a:cubicBezTo>
                  <a:cubicBezTo>
                    <a:pt x="10" y="55"/>
                    <a:pt x="10" y="55"/>
                    <a:pt x="10" y="55"/>
                  </a:cubicBezTo>
                  <a:cubicBezTo>
                    <a:pt x="10" y="55"/>
                    <a:pt x="10" y="55"/>
                    <a:pt x="10" y="55"/>
                  </a:cubicBezTo>
                  <a:cubicBezTo>
                    <a:pt x="10" y="55"/>
                    <a:pt x="9" y="55"/>
                    <a:pt x="9" y="55"/>
                  </a:cubicBezTo>
                  <a:cubicBezTo>
                    <a:pt x="9" y="55"/>
                    <a:pt x="8" y="54"/>
                    <a:pt x="8" y="54"/>
                  </a:cubicBezTo>
                  <a:cubicBezTo>
                    <a:pt x="7" y="54"/>
                    <a:pt x="6" y="54"/>
                    <a:pt x="6" y="54"/>
                  </a:cubicBezTo>
                  <a:cubicBezTo>
                    <a:pt x="5" y="54"/>
                    <a:pt x="5" y="54"/>
                    <a:pt x="4" y="54"/>
                  </a:cubicBezTo>
                  <a:cubicBezTo>
                    <a:pt x="3" y="54"/>
                    <a:pt x="2" y="54"/>
                    <a:pt x="2" y="54"/>
                  </a:cubicBezTo>
                  <a:cubicBezTo>
                    <a:pt x="1" y="54"/>
                    <a:pt x="1" y="53"/>
                    <a:pt x="0" y="53"/>
                  </a:cubicBezTo>
                  <a:cubicBezTo>
                    <a:pt x="1" y="54"/>
                    <a:pt x="1" y="54"/>
                    <a:pt x="1" y="54"/>
                  </a:cubicBezTo>
                  <a:cubicBezTo>
                    <a:pt x="0" y="56"/>
                    <a:pt x="0" y="56"/>
                    <a:pt x="0" y="56"/>
                  </a:cubicBezTo>
                  <a:cubicBezTo>
                    <a:pt x="0" y="56"/>
                    <a:pt x="1" y="56"/>
                    <a:pt x="1" y="57"/>
                  </a:cubicBezTo>
                  <a:cubicBezTo>
                    <a:pt x="1" y="57"/>
                    <a:pt x="2" y="57"/>
                    <a:pt x="2" y="58"/>
                  </a:cubicBezTo>
                  <a:cubicBezTo>
                    <a:pt x="2" y="58"/>
                    <a:pt x="2" y="59"/>
                    <a:pt x="2" y="59"/>
                  </a:cubicBezTo>
                  <a:cubicBezTo>
                    <a:pt x="2" y="59"/>
                    <a:pt x="2" y="59"/>
                    <a:pt x="2" y="59"/>
                  </a:cubicBezTo>
                  <a:cubicBezTo>
                    <a:pt x="3" y="61"/>
                    <a:pt x="3" y="61"/>
                    <a:pt x="3" y="61"/>
                  </a:cubicBezTo>
                  <a:cubicBezTo>
                    <a:pt x="3" y="62"/>
                    <a:pt x="3" y="62"/>
                    <a:pt x="3" y="62"/>
                  </a:cubicBezTo>
                  <a:cubicBezTo>
                    <a:pt x="4" y="64"/>
                    <a:pt x="4" y="64"/>
                    <a:pt x="4" y="64"/>
                  </a:cubicBezTo>
                  <a:cubicBezTo>
                    <a:pt x="4" y="64"/>
                    <a:pt x="4" y="65"/>
                    <a:pt x="4" y="65"/>
                  </a:cubicBezTo>
                  <a:cubicBezTo>
                    <a:pt x="4" y="65"/>
                    <a:pt x="4" y="66"/>
                    <a:pt x="4" y="66"/>
                  </a:cubicBezTo>
                  <a:cubicBezTo>
                    <a:pt x="4" y="67"/>
                    <a:pt x="5" y="68"/>
                    <a:pt x="5" y="68"/>
                  </a:cubicBezTo>
                  <a:cubicBezTo>
                    <a:pt x="5" y="70"/>
                    <a:pt x="5" y="70"/>
                    <a:pt x="5" y="70"/>
                  </a:cubicBezTo>
                  <a:cubicBezTo>
                    <a:pt x="5" y="70"/>
                    <a:pt x="7" y="71"/>
                    <a:pt x="7" y="71"/>
                  </a:cubicBezTo>
                  <a:cubicBezTo>
                    <a:pt x="7" y="71"/>
                    <a:pt x="8" y="72"/>
                    <a:pt x="8" y="72"/>
                  </a:cubicBezTo>
                  <a:cubicBezTo>
                    <a:pt x="9" y="74"/>
                    <a:pt x="9" y="74"/>
                    <a:pt x="9" y="74"/>
                  </a:cubicBezTo>
                  <a:cubicBezTo>
                    <a:pt x="9" y="75"/>
                    <a:pt x="9" y="75"/>
                    <a:pt x="9" y="75"/>
                  </a:cubicBezTo>
                  <a:cubicBezTo>
                    <a:pt x="11" y="77"/>
                    <a:pt x="11" y="77"/>
                    <a:pt x="11" y="77"/>
                  </a:cubicBezTo>
                  <a:cubicBezTo>
                    <a:pt x="11" y="78"/>
                    <a:pt x="11" y="78"/>
                    <a:pt x="11" y="78"/>
                  </a:cubicBezTo>
                  <a:cubicBezTo>
                    <a:pt x="12" y="79"/>
                    <a:pt x="12" y="79"/>
                    <a:pt x="12" y="79"/>
                  </a:cubicBezTo>
                  <a:cubicBezTo>
                    <a:pt x="13" y="80"/>
                    <a:pt x="13" y="80"/>
                    <a:pt x="13" y="80"/>
                  </a:cubicBezTo>
                  <a:cubicBezTo>
                    <a:pt x="13" y="80"/>
                    <a:pt x="13" y="80"/>
                    <a:pt x="13" y="80"/>
                  </a:cubicBezTo>
                  <a:cubicBezTo>
                    <a:pt x="14" y="80"/>
                    <a:pt x="15" y="81"/>
                    <a:pt x="16" y="80"/>
                  </a:cubicBezTo>
                  <a:cubicBezTo>
                    <a:pt x="16" y="80"/>
                    <a:pt x="16" y="81"/>
                    <a:pt x="17" y="79"/>
                  </a:cubicBezTo>
                  <a:cubicBezTo>
                    <a:pt x="17" y="77"/>
                    <a:pt x="17" y="77"/>
                    <a:pt x="17" y="77"/>
                  </a:cubicBezTo>
                  <a:cubicBezTo>
                    <a:pt x="17" y="77"/>
                    <a:pt x="17" y="76"/>
                    <a:pt x="18" y="76"/>
                  </a:cubicBezTo>
                  <a:cubicBezTo>
                    <a:pt x="19" y="75"/>
                    <a:pt x="19" y="75"/>
                    <a:pt x="19" y="74"/>
                  </a:cubicBezTo>
                  <a:cubicBezTo>
                    <a:pt x="19" y="73"/>
                    <a:pt x="17" y="72"/>
                    <a:pt x="17" y="72"/>
                  </a:cubicBezTo>
                  <a:cubicBezTo>
                    <a:pt x="17" y="72"/>
                    <a:pt x="20" y="72"/>
                    <a:pt x="20" y="72"/>
                  </a:cubicBezTo>
                  <a:cubicBezTo>
                    <a:pt x="20" y="73"/>
                    <a:pt x="20" y="74"/>
                    <a:pt x="21" y="73"/>
                  </a:cubicBezTo>
                  <a:cubicBezTo>
                    <a:pt x="22" y="71"/>
                    <a:pt x="22" y="72"/>
                    <a:pt x="21" y="71"/>
                  </a:cubicBezTo>
                  <a:cubicBezTo>
                    <a:pt x="21" y="70"/>
                    <a:pt x="21" y="70"/>
                    <a:pt x="21" y="69"/>
                  </a:cubicBezTo>
                  <a:cubicBezTo>
                    <a:pt x="21" y="69"/>
                    <a:pt x="22" y="69"/>
                    <a:pt x="22" y="68"/>
                  </a:cubicBezTo>
                  <a:cubicBezTo>
                    <a:pt x="22" y="66"/>
                    <a:pt x="22" y="66"/>
                    <a:pt x="22" y="65"/>
                  </a:cubicBezTo>
                  <a:cubicBezTo>
                    <a:pt x="23" y="64"/>
                    <a:pt x="23" y="64"/>
                    <a:pt x="23" y="63"/>
                  </a:cubicBezTo>
                  <a:cubicBezTo>
                    <a:pt x="23" y="62"/>
                    <a:pt x="23" y="62"/>
                    <a:pt x="24" y="60"/>
                  </a:cubicBezTo>
                  <a:cubicBezTo>
                    <a:pt x="24" y="57"/>
                    <a:pt x="25" y="57"/>
                    <a:pt x="25" y="57"/>
                  </a:cubicBezTo>
                  <a:cubicBezTo>
                    <a:pt x="25" y="57"/>
                    <a:pt x="31" y="59"/>
                    <a:pt x="31" y="59"/>
                  </a:cubicBezTo>
                  <a:cubicBezTo>
                    <a:pt x="31" y="59"/>
                    <a:pt x="32" y="60"/>
                    <a:pt x="32" y="60"/>
                  </a:cubicBezTo>
                  <a:cubicBezTo>
                    <a:pt x="32" y="61"/>
                    <a:pt x="32" y="62"/>
                    <a:pt x="32" y="62"/>
                  </a:cubicBezTo>
                  <a:cubicBezTo>
                    <a:pt x="32" y="63"/>
                    <a:pt x="31" y="64"/>
                    <a:pt x="31" y="64"/>
                  </a:cubicBezTo>
                  <a:cubicBezTo>
                    <a:pt x="31" y="65"/>
                    <a:pt x="31" y="65"/>
                    <a:pt x="31" y="65"/>
                  </a:cubicBezTo>
                  <a:cubicBezTo>
                    <a:pt x="31" y="65"/>
                    <a:pt x="30" y="65"/>
                    <a:pt x="30" y="66"/>
                  </a:cubicBezTo>
                  <a:cubicBezTo>
                    <a:pt x="29" y="67"/>
                    <a:pt x="29" y="68"/>
                    <a:pt x="30" y="69"/>
                  </a:cubicBezTo>
                  <a:cubicBezTo>
                    <a:pt x="31" y="69"/>
                    <a:pt x="31" y="70"/>
                    <a:pt x="32" y="70"/>
                  </a:cubicBezTo>
                  <a:cubicBezTo>
                    <a:pt x="32" y="70"/>
                    <a:pt x="33" y="69"/>
                    <a:pt x="33" y="69"/>
                  </a:cubicBezTo>
                  <a:cubicBezTo>
                    <a:pt x="34" y="69"/>
                    <a:pt x="35" y="69"/>
                    <a:pt x="35" y="69"/>
                  </a:cubicBezTo>
                  <a:cubicBezTo>
                    <a:pt x="35" y="70"/>
                    <a:pt x="35" y="71"/>
                    <a:pt x="35" y="71"/>
                  </a:cubicBezTo>
                  <a:cubicBezTo>
                    <a:pt x="36" y="72"/>
                    <a:pt x="37" y="72"/>
                    <a:pt x="37" y="72"/>
                  </a:cubicBezTo>
                  <a:cubicBezTo>
                    <a:pt x="38" y="72"/>
                    <a:pt x="39" y="72"/>
                    <a:pt x="39" y="72"/>
                  </a:cubicBezTo>
                  <a:cubicBezTo>
                    <a:pt x="39" y="72"/>
                    <a:pt x="39" y="72"/>
                    <a:pt x="40" y="71"/>
                  </a:cubicBezTo>
                  <a:cubicBezTo>
                    <a:pt x="41" y="71"/>
                    <a:pt x="42" y="74"/>
                    <a:pt x="41" y="71"/>
                  </a:cubicBezTo>
                  <a:cubicBezTo>
                    <a:pt x="39" y="68"/>
                    <a:pt x="39" y="68"/>
                    <a:pt x="38" y="68"/>
                  </a:cubicBezTo>
                  <a:cubicBezTo>
                    <a:pt x="38" y="67"/>
                    <a:pt x="37" y="67"/>
                    <a:pt x="37" y="67"/>
                  </a:cubicBezTo>
                  <a:cubicBezTo>
                    <a:pt x="37" y="67"/>
                    <a:pt x="37" y="67"/>
                    <a:pt x="37" y="67"/>
                  </a:cubicBezTo>
                  <a:cubicBezTo>
                    <a:pt x="37" y="67"/>
                    <a:pt x="36" y="66"/>
                    <a:pt x="36" y="65"/>
                  </a:cubicBezTo>
                  <a:cubicBezTo>
                    <a:pt x="37" y="64"/>
                    <a:pt x="37" y="64"/>
                    <a:pt x="38" y="64"/>
                  </a:cubicBezTo>
                  <a:cubicBezTo>
                    <a:pt x="38" y="64"/>
                    <a:pt x="39" y="64"/>
                    <a:pt x="40" y="65"/>
                  </a:cubicBezTo>
                  <a:cubicBezTo>
                    <a:pt x="41" y="66"/>
                    <a:pt x="41" y="66"/>
                    <a:pt x="41" y="67"/>
                  </a:cubicBezTo>
                  <a:cubicBezTo>
                    <a:pt x="42" y="68"/>
                    <a:pt x="43" y="69"/>
                    <a:pt x="43" y="70"/>
                  </a:cubicBezTo>
                  <a:cubicBezTo>
                    <a:pt x="44" y="70"/>
                    <a:pt x="44" y="70"/>
                    <a:pt x="44" y="71"/>
                  </a:cubicBezTo>
                  <a:cubicBezTo>
                    <a:pt x="44" y="73"/>
                    <a:pt x="44" y="75"/>
                    <a:pt x="44" y="75"/>
                  </a:cubicBezTo>
                  <a:cubicBezTo>
                    <a:pt x="44" y="76"/>
                    <a:pt x="44" y="79"/>
                    <a:pt x="44" y="79"/>
                  </a:cubicBezTo>
                  <a:cubicBezTo>
                    <a:pt x="44" y="79"/>
                    <a:pt x="44" y="80"/>
                    <a:pt x="44" y="81"/>
                  </a:cubicBezTo>
                  <a:cubicBezTo>
                    <a:pt x="44" y="82"/>
                    <a:pt x="48" y="87"/>
                    <a:pt x="48" y="87"/>
                  </a:cubicBezTo>
                  <a:cubicBezTo>
                    <a:pt x="48" y="87"/>
                    <a:pt x="50" y="90"/>
                    <a:pt x="50" y="90"/>
                  </a:cubicBezTo>
                  <a:cubicBezTo>
                    <a:pt x="51" y="90"/>
                    <a:pt x="51" y="92"/>
                    <a:pt x="52" y="93"/>
                  </a:cubicBezTo>
                  <a:cubicBezTo>
                    <a:pt x="54" y="93"/>
                    <a:pt x="57" y="95"/>
                    <a:pt x="57" y="95"/>
                  </a:cubicBezTo>
                  <a:cubicBezTo>
                    <a:pt x="62" y="98"/>
                    <a:pt x="62" y="98"/>
                    <a:pt x="62" y="98"/>
                  </a:cubicBezTo>
                  <a:cubicBezTo>
                    <a:pt x="62" y="98"/>
                    <a:pt x="65" y="100"/>
                    <a:pt x="65" y="100"/>
                  </a:cubicBezTo>
                  <a:cubicBezTo>
                    <a:pt x="65" y="100"/>
                    <a:pt x="69" y="100"/>
                    <a:pt x="66" y="100"/>
                  </a:cubicBezTo>
                  <a:cubicBezTo>
                    <a:pt x="64" y="100"/>
                    <a:pt x="60" y="98"/>
                    <a:pt x="60" y="98"/>
                  </a:cubicBezTo>
                  <a:cubicBezTo>
                    <a:pt x="60" y="98"/>
                    <a:pt x="60" y="97"/>
                    <a:pt x="59" y="97"/>
                  </a:cubicBezTo>
                  <a:cubicBezTo>
                    <a:pt x="59" y="97"/>
                    <a:pt x="55" y="96"/>
                    <a:pt x="55" y="96"/>
                  </a:cubicBezTo>
                  <a:cubicBezTo>
                    <a:pt x="54" y="95"/>
                    <a:pt x="54" y="95"/>
                    <a:pt x="53" y="94"/>
                  </a:cubicBezTo>
                  <a:cubicBezTo>
                    <a:pt x="52" y="93"/>
                    <a:pt x="51" y="91"/>
                    <a:pt x="51" y="91"/>
                  </a:cubicBezTo>
                  <a:cubicBezTo>
                    <a:pt x="51" y="91"/>
                    <a:pt x="50" y="90"/>
                    <a:pt x="49" y="89"/>
                  </a:cubicBezTo>
                  <a:cubicBezTo>
                    <a:pt x="48" y="88"/>
                    <a:pt x="49" y="88"/>
                    <a:pt x="48" y="88"/>
                  </a:cubicBezTo>
                  <a:cubicBezTo>
                    <a:pt x="47" y="87"/>
                    <a:pt x="48" y="88"/>
                    <a:pt x="47" y="87"/>
                  </a:cubicBezTo>
                  <a:cubicBezTo>
                    <a:pt x="45" y="86"/>
                    <a:pt x="45" y="85"/>
                    <a:pt x="44" y="85"/>
                  </a:cubicBezTo>
                  <a:cubicBezTo>
                    <a:pt x="44" y="85"/>
                    <a:pt x="42" y="85"/>
                    <a:pt x="42" y="84"/>
                  </a:cubicBezTo>
                  <a:cubicBezTo>
                    <a:pt x="41" y="84"/>
                    <a:pt x="40" y="83"/>
                    <a:pt x="40" y="83"/>
                  </a:cubicBezTo>
                  <a:cubicBezTo>
                    <a:pt x="40" y="83"/>
                    <a:pt x="40" y="84"/>
                    <a:pt x="41" y="85"/>
                  </a:cubicBezTo>
                  <a:cubicBezTo>
                    <a:pt x="42" y="85"/>
                    <a:pt x="44" y="87"/>
                    <a:pt x="44" y="87"/>
                  </a:cubicBezTo>
                  <a:cubicBezTo>
                    <a:pt x="44" y="87"/>
                    <a:pt x="45" y="87"/>
                    <a:pt x="45" y="87"/>
                  </a:cubicBezTo>
                  <a:cubicBezTo>
                    <a:pt x="45" y="87"/>
                    <a:pt x="45" y="89"/>
                    <a:pt x="45" y="89"/>
                  </a:cubicBezTo>
                  <a:cubicBezTo>
                    <a:pt x="45" y="89"/>
                    <a:pt x="43" y="88"/>
                    <a:pt x="45" y="89"/>
                  </a:cubicBezTo>
                  <a:cubicBezTo>
                    <a:pt x="47" y="90"/>
                    <a:pt x="48" y="90"/>
                    <a:pt x="48" y="90"/>
                  </a:cubicBezTo>
                  <a:cubicBezTo>
                    <a:pt x="48" y="90"/>
                    <a:pt x="46" y="91"/>
                    <a:pt x="46" y="91"/>
                  </a:cubicBezTo>
                  <a:cubicBezTo>
                    <a:pt x="46" y="91"/>
                    <a:pt x="47" y="94"/>
                    <a:pt x="48" y="94"/>
                  </a:cubicBezTo>
                  <a:cubicBezTo>
                    <a:pt x="48" y="94"/>
                    <a:pt x="49" y="94"/>
                    <a:pt x="50" y="94"/>
                  </a:cubicBezTo>
                  <a:cubicBezTo>
                    <a:pt x="50" y="94"/>
                    <a:pt x="51" y="94"/>
                    <a:pt x="52" y="94"/>
                  </a:cubicBezTo>
                  <a:cubicBezTo>
                    <a:pt x="52" y="95"/>
                    <a:pt x="52" y="95"/>
                    <a:pt x="52" y="95"/>
                  </a:cubicBezTo>
                  <a:cubicBezTo>
                    <a:pt x="52" y="96"/>
                    <a:pt x="52" y="98"/>
                    <a:pt x="52" y="98"/>
                  </a:cubicBezTo>
                  <a:cubicBezTo>
                    <a:pt x="54" y="98"/>
                    <a:pt x="54" y="98"/>
                    <a:pt x="54" y="98"/>
                  </a:cubicBezTo>
                  <a:cubicBezTo>
                    <a:pt x="54" y="98"/>
                    <a:pt x="52" y="98"/>
                    <a:pt x="51" y="98"/>
                  </a:cubicBezTo>
                  <a:cubicBezTo>
                    <a:pt x="51" y="97"/>
                    <a:pt x="50" y="97"/>
                    <a:pt x="50" y="97"/>
                  </a:cubicBezTo>
                  <a:cubicBezTo>
                    <a:pt x="49" y="98"/>
                    <a:pt x="49" y="98"/>
                    <a:pt x="49" y="99"/>
                  </a:cubicBezTo>
                  <a:cubicBezTo>
                    <a:pt x="50" y="99"/>
                    <a:pt x="51" y="100"/>
                    <a:pt x="51" y="100"/>
                  </a:cubicBezTo>
                  <a:cubicBezTo>
                    <a:pt x="52" y="99"/>
                    <a:pt x="52" y="99"/>
                    <a:pt x="52" y="99"/>
                  </a:cubicBezTo>
                  <a:cubicBezTo>
                    <a:pt x="52" y="99"/>
                    <a:pt x="52" y="99"/>
                    <a:pt x="53" y="99"/>
                  </a:cubicBezTo>
                  <a:cubicBezTo>
                    <a:pt x="53" y="99"/>
                    <a:pt x="54" y="99"/>
                    <a:pt x="54" y="99"/>
                  </a:cubicBezTo>
                  <a:cubicBezTo>
                    <a:pt x="55" y="98"/>
                    <a:pt x="55" y="98"/>
                    <a:pt x="55" y="98"/>
                  </a:cubicBezTo>
                  <a:cubicBezTo>
                    <a:pt x="55" y="98"/>
                    <a:pt x="55" y="98"/>
                    <a:pt x="55" y="99"/>
                  </a:cubicBezTo>
                  <a:cubicBezTo>
                    <a:pt x="55" y="99"/>
                    <a:pt x="55" y="99"/>
                    <a:pt x="55" y="100"/>
                  </a:cubicBezTo>
                  <a:cubicBezTo>
                    <a:pt x="54" y="101"/>
                    <a:pt x="54" y="100"/>
                    <a:pt x="54" y="101"/>
                  </a:cubicBezTo>
                  <a:cubicBezTo>
                    <a:pt x="54" y="101"/>
                    <a:pt x="53" y="101"/>
                    <a:pt x="54" y="102"/>
                  </a:cubicBezTo>
                  <a:cubicBezTo>
                    <a:pt x="54" y="103"/>
                    <a:pt x="54" y="103"/>
                    <a:pt x="54" y="103"/>
                  </a:cubicBezTo>
                  <a:cubicBezTo>
                    <a:pt x="54" y="103"/>
                    <a:pt x="54" y="103"/>
                    <a:pt x="55" y="104"/>
                  </a:cubicBezTo>
                  <a:cubicBezTo>
                    <a:pt x="55" y="105"/>
                    <a:pt x="55" y="105"/>
                    <a:pt x="56" y="106"/>
                  </a:cubicBezTo>
                  <a:cubicBezTo>
                    <a:pt x="56" y="106"/>
                    <a:pt x="58" y="108"/>
                    <a:pt x="58" y="108"/>
                  </a:cubicBezTo>
                  <a:cubicBezTo>
                    <a:pt x="58" y="108"/>
                    <a:pt x="60" y="110"/>
                    <a:pt x="60" y="110"/>
                  </a:cubicBezTo>
                  <a:cubicBezTo>
                    <a:pt x="60" y="110"/>
                    <a:pt x="61" y="111"/>
                    <a:pt x="61" y="111"/>
                  </a:cubicBezTo>
                  <a:cubicBezTo>
                    <a:pt x="61" y="111"/>
                    <a:pt x="61" y="112"/>
                    <a:pt x="61" y="111"/>
                  </a:cubicBezTo>
                  <a:cubicBezTo>
                    <a:pt x="60" y="110"/>
                    <a:pt x="58" y="109"/>
                    <a:pt x="58" y="109"/>
                  </a:cubicBezTo>
                  <a:cubicBezTo>
                    <a:pt x="58" y="111"/>
                    <a:pt x="58" y="111"/>
                    <a:pt x="58" y="111"/>
                  </a:cubicBezTo>
                  <a:cubicBezTo>
                    <a:pt x="58" y="111"/>
                    <a:pt x="59" y="112"/>
                    <a:pt x="59" y="112"/>
                  </a:cubicBezTo>
                  <a:cubicBezTo>
                    <a:pt x="60" y="112"/>
                    <a:pt x="60" y="113"/>
                    <a:pt x="60" y="113"/>
                  </a:cubicBezTo>
                  <a:cubicBezTo>
                    <a:pt x="61" y="113"/>
                    <a:pt x="62" y="113"/>
                    <a:pt x="62" y="114"/>
                  </a:cubicBezTo>
                  <a:cubicBezTo>
                    <a:pt x="63" y="114"/>
                    <a:pt x="63" y="113"/>
                    <a:pt x="63" y="113"/>
                  </a:cubicBezTo>
                  <a:cubicBezTo>
                    <a:pt x="63" y="113"/>
                    <a:pt x="63" y="113"/>
                    <a:pt x="64" y="113"/>
                  </a:cubicBezTo>
                  <a:cubicBezTo>
                    <a:pt x="64" y="113"/>
                    <a:pt x="64" y="114"/>
                    <a:pt x="64" y="115"/>
                  </a:cubicBezTo>
                  <a:cubicBezTo>
                    <a:pt x="64" y="115"/>
                    <a:pt x="63" y="116"/>
                    <a:pt x="63" y="115"/>
                  </a:cubicBezTo>
                  <a:cubicBezTo>
                    <a:pt x="62" y="115"/>
                    <a:pt x="61" y="114"/>
                    <a:pt x="61" y="114"/>
                  </a:cubicBezTo>
                  <a:cubicBezTo>
                    <a:pt x="60" y="114"/>
                    <a:pt x="60" y="114"/>
                    <a:pt x="59" y="114"/>
                  </a:cubicBezTo>
                  <a:cubicBezTo>
                    <a:pt x="58" y="114"/>
                    <a:pt x="57" y="113"/>
                    <a:pt x="57" y="114"/>
                  </a:cubicBezTo>
                  <a:cubicBezTo>
                    <a:pt x="57" y="115"/>
                    <a:pt x="57" y="115"/>
                    <a:pt x="57" y="115"/>
                  </a:cubicBezTo>
                  <a:cubicBezTo>
                    <a:pt x="57" y="115"/>
                    <a:pt x="56" y="113"/>
                    <a:pt x="55" y="112"/>
                  </a:cubicBezTo>
                  <a:cubicBezTo>
                    <a:pt x="54" y="112"/>
                    <a:pt x="53" y="111"/>
                    <a:pt x="53" y="111"/>
                  </a:cubicBezTo>
                  <a:cubicBezTo>
                    <a:pt x="52" y="110"/>
                    <a:pt x="52" y="110"/>
                    <a:pt x="52" y="110"/>
                  </a:cubicBezTo>
                  <a:cubicBezTo>
                    <a:pt x="52" y="110"/>
                    <a:pt x="53" y="110"/>
                    <a:pt x="53" y="110"/>
                  </a:cubicBezTo>
                  <a:cubicBezTo>
                    <a:pt x="54" y="111"/>
                    <a:pt x="53" y="111"/>
                    <a:pt x="54" y="111"/>
                  </a:cubicBezTo>
                  <a:cubicBezTo>
                    <a:pt x="55" y="111"/>
                    <a:pt x="53" y="109"/>
                    <a:pt x="55" y="109"/>
                  </a:cubicBezTo>
                  <a:cubicBezTo>
                    <a:pt x="56" y="109"/>
                    <a:pt x="56" y="109"/>
                    <a:pt x="56" y="109"/>
                  </a:cubicBezTo>
                  <a:cubicBezTo>
                    <a:pt x="57" y="109"/>
                    <a:pt x="58" y="108"/>
                    <a:pt x="56" y="108"/>
                  </a:cubicBezTo>
                  <a:cubicBezTo>
                    <a:pt x="55" y="107"/>
                    <a:pt x="55" y="107"/>
                    <a:pt x="54" y="107"/>
                  </a:cubicBezTo>
                  <a:cubicBezTo>
                    <a:pt x="54" y="107"/>
                    <a:pt x="54" y="107"/>
                    <a:pt x="54" y="106"/>
                  </a:cubicBezTo>
                  <a:cubicBezTo>
                    <a:pt x="53" y="105"/>
                    <a:pt x="53" y="104"/>
                    <a:pt x="52" y="104"/>
                  </a:cubicBezTo>
                  <a:cubicBezTo>
                    <a:pt x="52" y="104"/>
                    <a:pt x="50" y="104"/>
                    <a:pt x="50" y="104"/>
                  </a:cubicBezTo>
                  <a:cubicBezTo>
                    <a:pt x="50" y="104"/>
                    <a:pt x="49" y="104"/>
                    <a:pt x="48" y="104"/>
                  </a:cubicBezTo>
                  <a:cubicBezTo>
                    <a:pt x="47" y="103"/>
                    <a:pt x="46" y="102"/>
                    <a:pt x="46" y="102"/>
                  </a:cubicBezTo>
                  <a:cubicBezTo>
                    <a:pt x="45" y="102"/>
                    <a:pt x="43" y="101"/>
                    <a:pt x="43" y="100"/>
                  </a:cubicBezTo>
                  <a:cubicBezTo>
                    <a:pt x="43" y="100"/>
                    <a:pt x="42" y="99"/>
                    <a:pt x="41" y="99"/>
                  </a:cubicBezTo>
                  <a:cubicBezTo>
                    <a:pt x="40" y="99"/>
                    <a:pt x="40" y="100"/>
                    <a:pt x="39" y="100"/>
                  </a:cubicBezTo>
                  <a:cubicBezTo>
                    <a:pt x="39" y="99"/>
                    <a:pt x="38" y="98"/>
                    <a:pt x="38" y="98"/>
                  </a:cubicBezTo>
                  <a:cubicBezTo>
                    <a:pt x="37" y="98"/>
                    <a:pt x="37" y="97"/>
                    <a:pt x="37" y="97"/>
                  </a:cubicBezTo>
                  <a:cubicBezTo>
                    <a:pt x="37" y="98"/>
                    <a:pt x="36" y="98"/>
                    <a:pt x="38" y="99"/>
                  </a:cubicBezTo>
                  <a:cubicBezTo>
                    <a:pt x="39" y="99"/>
                    <a:pt x="40" y="100"/>
                    <a:pt x="40" y="100"/>
                  </a:cubicBezTo>
                  <a:cubicBezTo>
                    <a:pt x="40" y="100"/>
                    <a:pt x="40" y="100"/>
                    <a:pt x="40" y="101"/>
                  </a:cubicBezTo>
                  <a:cubicBezTo>
                    <a:pt x="40" y="101"/>
                    <a:pt x="41" y="101"/>
                    <a:pt x="41" y="101"/>
                  </a:cubicBezTo>
                  <a:cubicBezTo>
                    <a:pt x="42" y="101"/>
                    <a:pt x="43" y="101"/>
                    <a:pt x="43" y="102"/>
                  </a:cubicBezTo>
                  <a:cubicBezTo>
                    <a:pt x="43" y="102"/>
                    <a:pt x="45" y="102"/>
                    <a:pt x="45" y="103"/>
                  </a:cubicBezTo>
                  <a:cubicBezTo>
                    <a:pt x="45" y="104"/>
                    <a:pt x="46" y="104"/>
                    <a:pt x="45" y="104"/>
                  </a:cubicBezTo>
                  <a:cubicBezTo>
                    <a:pt x="45" y="104"/>
                    <a:pt x="44" y="105"/>
                    <a:pt x="45" y="105"/>
                  </a:cubicBezTo>
                  <a:cubicBezTo>
                    <a:pt x="45" y="106"/>
                    <a:pt x="46" y="106"/>
                    <a:pt x="46" y="106"/>
                  </a:cubicBezTo>
                  <a:cubicBezTo>
                    <a:pt x="47" y="106"/>
                    <a:pt x="47" y="106"/>
                    <a:pt x="48" y="107"/>
                  </a:cubicBezTo>
                  <a:cubicBezTo>
                    <a:pt x="50" y="107"/>
                    <a:pt x="50" y="108"/>
                    <a:pt x="50" y="109"/>
                  </a:cubicBezTo>
                  <a:cubicBezTo>
                    <a:pt x="50" y="109"/>
                    <a:pt x="52" y="110"/>
                    <a:pt x="52" y="110"/>
                  </a:cubicBezTo>
                  <a:cubicBezTo>
                    <a:pt x="52" y="110"/>
                    <a:pt x="51" y="110"/>
                    <a:pt x="51" y="111"/>
                  </a:cubicBezTo>
                  <a:cubicBezTo>
                    <a:pt x="51" y="111"/>
                    <a:pt x="51" y="111"/>
                    <a:pt x="52" y="112"/>
                  </a:cubicBezTo>
                  <a:cubicBezTo>
                    <a:pt x="53" y="112"/>
                    <a:pt x="53" y="112"/>
                    <a:pt x="53" y="112"/>
                  </a:cubicBezTo>
                  <a:cubicBezTo>
                    <a:pt x="53" y="112"/>
                    <a:pt x="53" y="113"/>
                    <a:pt x="53" y="113"/>
                  </a:cubicBezTo>
                  <a:cubicBezTo>
                    <a:pt x="53" y="114"/>
                    <a:pt x="52" y="114"/>
                    <a:pt x="54" y="115"/>
                  </a:cubicBezTo>
                  <a:cubicBezTo>
                    <a:pt x="56" y="115"/>
                    <a:pt x="56" y="115"/>
                    <a:pt x="56" y="115"/>
                  </a:cubicBezTo>
                  <a:cubicBezTo>
                    <a:pt x="56" y="116"/>
                    <a:pt x="56" y="116"/>
                    <a:pt x="56" y="116"/>
                  </a:cubicBezTo>
                  <a:cubicBezTo>
                    <a:pt x="56" y="116"/>
                    <a:pt x="55" y="116"/>
                    <a:pt x="56" y="117"/>
                  </a:cubicBezTo>
                  <a:cubicBezTo>
                    <a:pt x="57" y="118"/>
                    <a:pt x="59" y="118"/>
                    <a:pt x="59" y="118"/>
                  </a:cubicBezTo>
                  <a:cubicBezTo>
                    <a:pt x="60" y="117"/>
                    <a:pt x="60" y="117"/>
                    <a:pt x="60" y="117"/>
                  </a:cubicBezTo>
                  <a:cubicBezTo>
                    <a:pt x="60" y="117"/>
                    <a:pt x="61" y="118"/>
                    <a:pt x="61" y="118"/>
                  </a:cubicBezTo>
                  <a:cubicBezTo>
                    <a:pt x="60" y="119"/>
                    <a:pt x="60" y="119"/>
                    <a:pt x="60" y="119"/>
                  </a:cubicBezTo>
                  <a:cubicBezTo>
                    <a:pt x="60" y="119"/>
                    <a:pt x="60" y="120"/>
                    <a:pt x="60" y="120"/>
                  </a:cubicBezTo>
                  <a:cubicBezTo>
                    <a:pt x="61" y="121"/>
                    <a:pt x="62" y="121"/>
                    <a:pt x="62" y="121"/>
                  </a:cubicBezTo>
                  <a:cubicBezTo>
                    <a:pt x="62" y="121"/>
                    <a:pt x="63" y="121"/>
                    <a:pt x="63" y="122"/>
                  </a:cubicBezTo>
                  <a:cubicBezTo>
                    <a:pt x="63" y="122"/>
                    <a:pt x="63" y="123"/>
                    <a:pt x="64" y="123"/>
                  </a:cubicBezTo>
                  <a:cubicBezTo>
                    <a:pt x="64" y="123"/>
                    <a:pt x="65" y="123"/>
                    <a:pt x="65" y="123"/>
                  </a:cubicBezTo>
                  <a:cubicBezTo>
                    <a:pt x="66" y="124"/>
                    <a:pt x="66" y="124"/>
                    <a:pt x="67" y="124"/>
                  </a:cubicBezTo>
                  <a:cubicBezTo>
                    <a:pt x="67" y="123"/>
                    <a:pt x="67" y="123"/>
                    <a:pt x="67" y="122"/>
                  </a:cubicBezTo>
                  <a:cubicBezTo>
                    <a:pt x="66" y="122"/>
                    <a:pt x="65" y="121"/>
                    <a:pt x="64" y="121"/>
                  </a:cubicBezTo>
                  <a:cubicBezTo>
                    <a:pt x="64" y="121"/>
                    <a:pt x="63" y="121"/>
                    <a:pt x="63" y="121"/>
                  </a:cubicBezTo>
                  <a:cubicBezTo>
                    <a:pt x="63" y="120"/>
                    <a:pt x="63" y="121"/>
                    <a:pt x="63" y="120"/>
                  </a:cubicBezTo>
                  <a:cubicBezTo>
                    <a:pt x="63" y="119"/>
                    <a:pt x="62" y="118"/>
                    <a:pt x="62" y="118"/>
                  </a:cubicBezTo>
                  <a:cubicBezTo>
                    <a:pt x="62" y="118"/>
                    <a:pt x="62" y="117"/>
                    <a:pt x="62" y="117"/>
                  </a:cubicBezTo>
                  <a:cubicBezTo>
                    <a:pt x="61" y="117"/>
                    <a:pt x="61" y="117"/>
                    <a:pt x="60" y="116"/>
                  </a:cubicBezTo>
                  <a:cubicBezTo>
                    <a:pt x="60" y="116"/>
                    <a:pt x="60" y="116"/>
                    <a:pt x="59" y="116"/>
                  </a:cubicBezTo>
                  <a:cubicBezTo>
                    <a:pt x="59" y="116"/>
                    <a:pt x="58" y="116"/>
                    <a:pt x="58" y="115"/>
                  </a:cubicBezTo>
                  <a:cubicBezTo>
                    <a:pt x="58" y="115"/>
                    <a:pt x="58" y="115"/>
                    <a:pt x="59" y="115"/>
                  </a:cubicBezTo>
                  <a:cubicBezTo>
                    <a:pt x="59" y="115"/>
                    <a:pt x="60" y="115"/>
                    <a:pt x="60" y="115"/>
                  </a:cubicBezTo>
                  <a:cubicBezTo>
                    <a:pt x="61" y="115"/>
                    <a:pt x="61" y="115"/>
                    <a:pt x="62" y="115"/>
                  </a:cubicBezTo>
                  <a:cubicBezTo>
                    <a:pt x="63" y="116"/>
                    <a:pt x="62" y="116"/>
                    <a:pt x="63" y="116"/>
                  </a:cubicBezTo>
                  <a:cubicBezTo>
                    <a:pt x="64" y="116"/>
                    <a:pt x="64" y="116"/>
                    <a:pt x="64" y="116"/>
                  </a:cubicBezTo>
                  <a:cubicBezTo>
                    <a:pt x="66" y="115"/>
                    <a:pt x="66" y="115"/>
                    <a:pt x="66" y="115"/>
                  </a:cubicBezTo>
                  <a:cubicBezTo>
                    <a:pt x="66" y="115"/>
                    <a:pt x="66" y="115"/>
                    <a:pt x="66" y="115"/>
                  </a:cubicBezTo>
                  <a:cubicBezTo>
                    <a:pt x="67" y="116"/>
                    <a:pt x="66" y="116"/>
                    <a:pt x="68" y="116"/>
                  </a:cubicBezTo>
                  <a:cubicBezTo>
                    <a:pt x="70" y="116"/>
                    <a:pt x="70" y="116"/>
                    <a:pt x="70" y="117"/>
                  </a:cubicBezTo>
                  <a:cubicBezTo>
                    <a:pt x="70" y="117"/>
                    <a:pt x="70" y="118"/>
                    <a:pt x="70" y="118"/>
                  </a:cubicBezTo>
                  <a:cubicBezTo>
                    <a:pt x="70" y="118"/>
                    <a:pt x="70" y="119"/>
                    <a:pt x="70" y="119"/>
                  </a:cubicBezTo>
                  <a:cubicBezTo>
                    <a:pt x="71" y="119"/>
                    <a:pt x="72" y="119"/>
                    <a:pt x="72" y="119"/>
                  </a:cubicBezTo>
                  <a:cubicBezTo>
                    <a:pt x="72" y="119"/>
                    <a:pt x="74" y="119"/>
                    <a:pt x="74" y="120"/>
                  </a:cubicBezTo>
                  <a:cubicBezTo>
                    <a:pt x="74" y="120"/>
                    <a:pt x="72" y="121"/>
                    <a:pt x="72" y="121"/>
                  </a:cubicBezTo>
                  <a:cubicBezTo>
                    <a:pt x="72" y="121"/>
                    <a:pt x="71" y="121"/>
                    <a:pt x="71" y="121"/>
                  </a:cubicBezTo>
                  <a:cubicBezTo>
                    <a:pt x="71" y="122"/>
                    <a:pt x="70" y="123"/>
                    <a:pt x="71" y="123"/>
                  </a:cubicBezTo>
                  <a:cubicBezTo>
                    <a:pt x="71" y="123"/>
                    <a:pt x="71" y="123"/>
                    <a:pt x="70" y="123"/>
                  </a:cubicBezTo>
                  <a:cubicBezTo>
                    <a:pt x="70" y="123"/>
                    <a:pt x="69" y="122"/>
                    <a:pt x="70" y="123"/>
                  </a:cubicBezTo>
                  <a:cubicBezTo>
                    <a:pt x="70" y="125"/>
                    <a:pt x="71" y="125"/>
                    <a:pt x="71" y="125"/>
                  </a:cubicBezTo>
                  <a:cubicBezTo>
                    <a:pt x="72" y="125"/>
                    <a:pt x="73" y="125"/>
                    <a:pt x="74" y="125"/>
                  </a:cubicBezTo>
                  <a:cubicBezTo>
                    <a:pt x="74" y="125"/>
                    <a:pt x="74" y="125"/>
                    <a:pt x="74" y="125"/>
                  </a:cubicBezTo>
                  <a:cubicBezTo>
                    <a:pt x="73" y="125"/>
                    <a:pt x="73" y="124"/>
                    <a:pt x="73" y="124"/>
                  </a:cubicBezTo>
                  <a:cubicBezTo>
                    <a:pt x="73" y="124"/>
                    <a:pt x="72" y="124"/>
                    <a:pt x="72" y="124"/>
                  </a:cubicBezTo>
                  <a:cubicBezTo>
                    <a:pt x="72" y="124"/>
                    <a:pt x="73" y="124"/>
                    <a:pt x="73" y="123"/>
                  </a:cubicBezTo>
                  <a:cubicBezTo>
                    <a:pt x="73" y="123"/>
                    <a:pt x="74" y="122"/>
                    <a:pt x="74" y="122"/>
                  </a:cubicBezTo>
                  <a:cubicBezTo>
                    <a:pt x="74" y="122"/>
                    <a:pt x="75" y="120"/>
                    <a:pt x="75" y="121"/>
                  </a:cubicBezTo>
                  <a:cubicBezTo>
                    <a:pt x="76" y="122"/>
                    <a:pt x="75" y="122"/>
                    <a:pt x="76" y="122"/>
                  </a:cubicBezTo>
                  <a:cubicBezTo>
                    <a:pt x="77" y="122"/>
                    <a:pt x="79" y="120"/>
                    <a:pt x="79" y="120"/>
                  </a:cubicBezTo>
                  <a:cubicBezTo>
                    <a:pt x="79" y="120"/>
                    <a:pt x="80" y="120"/>
                    <a:pt x="79" y="121"/>
                  </a:cubicBezTo>
                  <a:cubicBezTo>
                    <a:pt x="79" y="121"/>
                    <a:pt x="78" y="122"/>
                    <a:pt x="78" y="123"/>
                  </a:cubicBezTo>
                  <a:cubicBezTo>
                    <a:pt x="79" y="124"/>
                    <a:pt x="79" y="123"/>
                    <a:pt x="79" y="124"/>
                  </a:cubicBezTo>
                  <a:cubicBezTo>
                    <a:pt x="79" y="125"/>
                    <a:pt x="79" y="125"/>
                    <a:pt x="79" y="125"/>
                  </a:cubicBezTo>
                  <a:cubicBezTo>
                    <a:pt x="80" y="126"/>
                    <a:pt x="80" y="126"/>
                    <a:pt x="80" y="126"/>
                  </a:cubicBezTo>
                  <a:cubicBezTo>
                    <a:pt x="80" y="127"/>
                    <a:pt x="81" y="128"/>
                    <a:pt x="81" y="128"/>
                  </a:cubicBezTo>
                  <a:cubicBezTo>
                    <a:pt x="81" y="129"/>
                    <a:pt x="81" y="129"/>
                    <a:pt x="81" y="130"/>
                  </a:cubicBezTo>
                  <a:cubicBezTo>
                    <a:pt x="82" y="130"/>
                    <a:pt x="84" y="131"/>
                    <a:pt x="84" y="131"/>
                  </a:cubicBezTo>
                  <a:cubicBezTo>
                    <a:pt x="84" y="130"/>
                    <a:pt x="84" y="130"/>
                    <a:pt x="84" y="130"/>
                  </a:cubicBezTo>
                  <a:cubicBezTo>
                    <a:pt x="84" y="130"/>
                    <a:pt x="84" y="131"/>
                    <a:pt x="85" y="130"/>
                  </a:cubicBezTo>
                  <a:cubicBezTo>
                    <a:pt x="85" y="129"/>
                    <a:pt x="86" y="129"/>
                    <a:pt x="86" y="129"/>
                  </a:cubicBezTo>
                  <a:cubicBezTo>
                    <a:pt x="87" y="129"/>
                    <a:pt x="86" y="129"/>
                    <a:pt x="88" y="129"/>
                  </a:cubicBezTo>
                  <a:cubicBezTo>
                    <a:pt x="89" y="129"/>
                    <a:pt x="90" y="130"/>
                    <a:pt x="90" y="129"/>
                  </a:cubicBezTo>
                  <a:cubicBezTo>
                    <a:pt x="91" y="129"/>
                    <a:pt x="90" y="129"/>
                    <a:pt x="92" y="129"/>
                  </a:cubicBezTo>
                  <a:cubicBezTo>
                    <a:pt x="93" y="129"/>
                    <a:pt x="95" y="128"/>
                    <a:pt x="95" y="127"/>
                  </a:cubicBezTo>
                  <a:cubicBezTo>
                    <a:pt x="95" y="127"/>
                    <a:pt x="98" y="128"/>
                    <a:pt x="98" y="128"/>
                  </a:cubicBezTo>
                  <a:cubicBezTo>
                    <a:pt x="99" y="129"/>
                    <a:pt x="99" y="129"/>
                    <a:pt x="99" y="129"/>
                  </a:cubicBezTo>
                  <a:cubicBezTo>
                    <a:pt x="99" y="129"/>
                    <a:pt x="100" y="129"/>
                    <a:pt x="100" y="129"/>
                  </a:cubicBezTo>
                  <a:cubicBezTo>
                    <a:pt x="101" y="129"/>
                    <a:pt x="102" y="129"/>
                    <a:pt x="102" y="129"/>
                  </a:cubicBezTo>
                  <a:cubicBezTo>
                    <a:pt x="102" y="129"/>
                    <a:pt x="106" y="130"/>
                    <a:pt x="106" y="130"/>
                  </a:cubicBezTo>
                  <a:cubicBezTo>
                    <a:pt x="108" y="131"/>
                    <a:pt x="108" y="131"/>
                    <a:pt x="108" y="131"/>
                  </a:cubicBezTo>
                  <a:cubicBezTo>
                    <a:pt x="110" y="132"/>
                    <a:pt x="110" y="132"/>
                    <a:pt x="110" y="132"/>
                  </a:cubicBezTo>
                  <a:cubicBezTo>
                    <a:pt x="114" y="134"/>
                    <a:pt x="114" y="134"/>
                    <a:pt x="114" y="134"/>
                  </a:cubicBezTo>
                  <a:cubicBezTo>
                    <a:pt x="117" y="138"/>
                    <a:pt x="117" y="138"/>
                    <a:pt x="117" y="138"/>
                  </a:cubicBezTo>
                  <a:cubicBezTo>
                    <a:pt x="120" y="139"/>
                    <a:pt x="120" y="139"/>
                    <a:pt x="120" y="139"/>
                  </a:cubicBezTo>
                  <a:cubicBezTo>
                    <a:pt x="123" y="140"/>
                    <a:pt x="123" y="140"/>
                    <a:pt x="123" y="140"/>
                  </a:cubicBezTo>
                  <a:cubicBezTo>
                    <a:pt x="125" y="142"/>
                    <a:pt x="125" y="142"/>
                    <a:pt x="125" y="142"/>
                  </a:cubicBezTo>
                  <a:cubicBezTo>
                    <a:pt x="125" y="142"/>
                    <a:pt x="127" y="144"/>
                    <a:pt x="127" y="144"/>
                  </a:cubicBezTo>
                  <a:cubicBezTo>
                    <a:pt x="128" y="144"/>
                    <a:pt x="130" y="146"/>
                    <a:pt x="130" y="146"/>
                  </a:cubicBezTo>
                  <a:cubicBezTo>
                    <a:pt x="133" y="147"/>
                    <a:pt x="133" y="147"/>
                    <a:pt x="133" y="147"/>
                  </a:cubicBezTo>
                  <a:cubicBezTo>
                    <a:pt x="133" y="147"/>
                    <a:pt x="134" y="149"/>
                    <a:pt x="134" y="149"/>
                  </a:cubicBezTo>
                  <a:cubicBezTo>
                    <a:pt x="133" y="149"/>
                    <a:pt x="132" y="149"/>
                    <a:pt x="132" y="149"/>
                  </a:cubicBezTo>
                  <a:cubicBezTo>
                    <a:pt x="131" y="149"/>
                    <a:pt x="128" y="148"/>
                    <a:pt x="128" y="148"/>
                  </a:cubicBezTo>
                  <a:cubicBezTo>
                    <a:pt x="126" y="146"/>
                    <a:pt x="126" y="146"/>
                    <a:pt x="126" y="146"/>
                  </a:cubicBezTo>
                  <a:cubicBezTo>
                    <a:pt x="124" y="146"/>
                    <a:pt x="124" y="146"/>
                    <a:pt x="124" y="146"/>
                  </a:cubicBezTo>
                  <a:cubicBezTo>
                    <a:pt x="122" y="146"/>
                    <a:pt x="122" y="146"/>
                    <a:pt x="122" y="146"/>
                  </a:cubicBezTo>
                  <a:cubicBezTo>
                    <a:pt x="119" y="146"/>
                    <a:pt x="119" y="146"/>
                    <a:pt x="119" y="146"/>
                  </a:cubicBezTo>
                  <a:cubicBezTo>
                    <a:pt x="117" y="145"/>
                    <a:pt x="117" y="145"/>
                    <a:pt x="117" y="145"/>
                  </a:cubicBezTo>
                  <a:cubicBezTo>
                    <a:pt x="117" y="145"/>
                    <a:pt x="116" y="146"/>
                    <a:pt x="116" y="146"/>
                  </a:cubicBezTo>
                  <a:cubicBezTo>
                    <a:pt x="116" y="146"/>
                    <a:pt x="116" y="147"/>
                    <a:pt x="116" y="147"/>
                  </a:cubicBezTo>
                  <a:cubicBezTo>
                    <a:pt x="115" y="148"/>
                    <a:pt x="115" y="148"/>
                    <a:pt x="115" y="148"/>
                  </a:cubicBezTo>
                  <a:cubicBezTo>
                    <a:pt x="111" y="149"/>
                    <a:pt x="111" y="149"/>
                    <a:pt x="111" y="149"/>
                  </a:cubicBezTo>
                  <a:cubicBezTo>
                    <a:pt x="108" y="149"/>
                    <a:pt x="108" y="149"/>
                    <a:pt x="108" y="149"/>
                  </a:cubicBezTo>
                  <a:cubicBezTo>
                    <a:pt x="105" y="149"/>
                    <a:pt x="105" y="149"/>
                    <a:pt x="105" y="149"/>
                  </a:cubicBezTo>
                  <a:cubicBezTo>
                    <a:pt x="105" y="151"/>
                    <a:pt x="105" y="151"/>
                    <a:pt x="105" y="151"/>
                  </a:cubicBezTo>
                  <a:cubicBezTo>
                    <a:pt x="105" y="151"/>
                    <a:pt x="102" y="151"/>
                    <a:pt x="105" y="152"/>
                  </a:cubicBezTo>
                  <a:cubicBezTo>
                    <a:pt x="108" y="152"/>
                    <a:pt x="110" y="152"/>
                    <a:pt x="110" y="151"/>
                  </a:cubicBezTo>
                  <a:cubicBezTo>
                    <a:pt x="111" y="151"/>
                    <a:pt x="111" y="150"/>
                    <a:pt x="111" y="150"/>
                  </a:cubicBezTo>
                  <a:cubicBezTo>
                    <a:pt x="112" y="150"/>
                    <a:pt x="114" y="150"/>
                    <a:pt x="115" y="150"/>
                  </a:cubicBezTo>
                  <a:cubicBezTo>
                    <a:pt x="115" y="150"/>
                    <a:pt x="116" y="150"/>
                    <a:pt x="117" y="150"/>
                  </a:cubicBezTo>
                  <a:cubicBezTo>
                    <a:pt x="119" y="150"/>
                    <a:pt x="119" y="149"/>
                    <a:pt x="120" y="150"/>
                  </a:cubicBezTo>
                  <a:cubicBezTo>
                    <a:pt x="121" y="150"/>
                    <a:pt x="121" y="148"/>
                    <a:pt x="121" y="148"/>
                  </a:cubicBezTo>
                  <a:cubicBezTo>
                    <a:pt x="121" y="148"/>
                    <a:pt x="120" y="147"/>
                    <a:pt x="122" y="147"/>
                  </a:cubicBezTo>
                  <a:cubicBezTo>
                    <a:pt x="123" y="148"/>
                    <a:pt x="123" y="148"/>
                    <a:pt x="123" y="148"/>
                  </a:cubicBezTo>
                  <a:cubicBezTo>
                    <a:pt x="124" y="148"/>
                    <a:pt x="125" y="149"/>
                    <a:pt x="126" y="149"/>
                  </a:cubicBezTo>
                  <a:cubicBezTo>
                    <a:pt x="126" y="149"/>
                    <a:pt x="129" y="149"/>
                    <a:pt x="129" y="149"/>
                  </a:cubicBezTo>
                  <a:cubicBezTo>
                    <a:pt x="129" y="149"/>
                    <a:pt x="130" y="152"/>
                    <a:pt x="130" y="152"/>
                  </a:cubicBezTo>
                  <a:cubicBezTo>
                    <a:pt x="131" y="152"/>
                    <a:pt x="133" y="152"/>
                    <a:pt x="134" y="152"/>
                  </a:cubicBezTo>
                  <a:cubicBezTo>
                    <a:pt x="135" y="152"/>
                    <a:pt x="137" y="152"/>
                    <a:pt x="137" y="152"/>
                  </a:cubicBezTo>
                  <a:cubicBezTo>
                    <a:pt x="138" y="153"/>
                    <a:pt x="139" y="153"/>
                    <a:pt x="139" y="153"/>
                  </a:cubicBezTo>
                  <a:cubicBezTo>
                    <a:pt x="139" y="153"/>
                    <a:pt x="140" y="154"/>
                    <a:pt x="140" y="155"/>
                  </a:cubicBezTo>
                  <a:cubicBezTo>
                    <a:pt x="141" y="155"/>
                    <a:pt x="143" y="157"/>
                    <a:pt x="143" y="157"/>
                  </a:cubicBezTo>
                  <a:cubicBezTo>
                    <a:pt x="143" y="157"/>
                    <a:pt x="147" y="158"/>
                    <a:pt x="147" y="158"/>
                  </a:cubicBezTo>
                  <a:cubicBezTo>
                    <a:pt x="148" y="158"/>
                    <a:pt x="148" y="158"/>
                    <a:pt x="148" y="157"/>
                  </a:cubicBezTo>
                  <a:cubicBezTo>
                    <a:pt x="148" y="157"/>
                    <a:pt x="148" y="156"/>
                    <a:pt x="148" y="156"/>
                  </a:cubicBezTo>
                  <a:cubicBezTo>
                    <a:pt x="147" y="155"/>
                    <a:pt x="144" y="154"/>
                    <a:pt x="144" y="154"/>
                  </a:cubicBezTo>
                  <a:cubicBezTo>
                    <a:pt x="144" y="154"/>
                    <a:pt x="142" y="154"/>
                    <a:pt x="142" y="153"/>
                  </a:cubicBezTo>
                  <a:cubicBezTo>
                    <a:pt x="141" y="150"/>
                    <a:pt x="142" y="153"/>
                    <a:pt x="140" y="152"/>
                  </a:cubicBezTo>
                  <a:cubicBezTo>
                    <a:pt x="140" y="152"/>
                    <a:pt x="140" y="152"/>
                    <a:pt x="140" y="152"/>
                  </a:cubicBezTo>
                  <a:cubicBezTo>
                    <a:pt x="139" y="152"/>
                    <a:pt x="139" y="152"/>
                    <a:pt x="139" y="152"/>
                  </a:cubicBezTo>
                  <a:cubicBezTo>
                    <a:pt x="139" y="153"/>
                    <a:pt x="139" y="152"/>
                    <a:pt x="139" y="152"/>
                  </a:cubicBezTo>
                  <a:cubicBezTo>
                    <a:pt x="138" y="151"/>
                    <a:pt x="138" y="151"/>
                    <a:pt x="138" y="151"/>
                  </a:cubicBezTo>
                  <a:cubicBezTo>
                    <a:pt x="138" y="150"/>
                    <a:pt x="138" y="150"/>
                    <a:pt x="138" y="150"/>
                  </a:cubicBezTo>
                  <a:cubicBezTo>
                    <a:pt x="138" y="150"/>
                    <a:pt x="136" y="149"/>
                    <a:pt x="137" y="148"/>
                  </a:cubicBezTo>
                  <a:cubicBezTo>
                    <a:pt x="138" y="148"/>
                    <a:pt x="137" y="152"/>
                    <a:pt x="140" y="147"/>
                  </a:cubicBezTo>
                  <a:cubicBezTo>
                    <a:pt x="140" y="147"/>
                    <a:pt x="140" y="146"/>
                    <a:pt x="140" y="146"/>
                  </a:cubicBezTo>
                  <a:cubicBezTo>
                    <a:pt x="139" y="146"/>
                    <a:pt x="139" y="146"/>
                    <a:pt x="139" y="146"/>
                  </a:cubicBezTo>
                  <a:cubicBezTo>
                    <a:pt x="137" y="146"/>
                    <a:pt x="137" y="146"/>
                    <a:pt x="137" y="146"/>
                  </a:cubicBezTo>
                  <a:cubicBezTo>
                    <a:pt x="137" y="146"/>
                    <a:pt x="136" y="147"/>
                    <a:pt x="136" y="148"/>
                  </a:cubicBezTo>
                  <a:cubicBezTo>
                    <a:pt x="135" y="149"/>
                    <a:pt x="135" y="148"/>
                    <a:pt x="135" y="148"/>
                  </a:cubicBezTo>
                  <a:cubicBezTo>
                    <a:pt x="135" y="147"/>
                    <a:pt x="135" y="147"/>
                    <a:pt x="135" y="147"/>
                  </a:cubicBezTo>
                  <a:cubicBezTo>
                    <a:pt x="136" y="146"/>
                    <a:pt x="136" y="146"/>
                    <a:pt x="136" y="146"/>
                  </a:cubicBezTo>
                  <a:cubicBezTo>
                    <a:pt x="136" y="146"/>
                    <a:pt x="136" y="144"/>
                    <a:pt x="136" y="143"/>
                  </a:cubicBezTo>
                  <a:cubicBezTo>
                    <a:pt x="136" y="143"/>
                    <a:pt x="136" y="143"/>
                    <a:pt x="136" y="143"/>
                  </a:cubicBezTo>
                  <a:cubicBezTo>
                    <a:pt x="133" y="141"/>
                    <a:pt x="133" y="141"/>
                    <a:pt x="133" y="141"/>
                  </a:cubicBezTo>
                  <a:cubicBezTo>
                    <a:pt x="132" y="140"/>
                    <a:pt x="132" y="140"/>
                    <a:pt x="132" y="140"/>
                  </a:cubicBezTo>
                  <a:cubicBezTo>
                    <a:pt x="130" y="138"/>
                    <a:pt x="130" y="138"/>
                    <a:pt x="130" y="138"/>
                  </a:cubicBezTo>
                  <a:cubicBezTo>
                    <a:pt x="126" y="135"/>
                    <a:pt x="126" y="135"/>
                    <a:pt x="126" y="135"/>
                  </a:cubicBezTo>
                  <a:cubicBezTo>
                    <a:pt x="124" y="134"/>
                    <a:pt x="124" y="134"/>
                    <a:pt x="124" y="134"/>
                  </a:cubicBezTo>
                  <a:cubicBezTo>
                    <a:pt x="123" y="132"/>
                    <a:pt x="123" y="132"/>
                    <a:pt x="123" y="132"/>
                  </a:cubicBezTo>
                  <a:cubicBezTo>
                    <a:pt x="123" y="131"/>
                    <a:pt x="123" y="131"/>
                    <a:pt x="123" y="131"/>
                  </a:cubicBezTo>
                  <a:cubicBezTo>
                    <a:pt x="122" y="128"/>
                    <a:pt x="122" y="128"/>
                    <a:pt x="122" y="128"/>
                  </a:cubicBezTo>
                  <a:cubicBezTo>
                    <a:pt x="122" y="128"/>
                    <a:pt x="122" y="128"/>
                    <a:pt x="122" y="128"/>
                  </a:cubicBezTo>
                  <a:cubicBezTo>
                    <a:pt x="122" y="128"/>
                    <a:pt x="119" y="127"/>
                    <a:pt x="118" y="126"/>
                  </a:cubicBezTo>
                  <a:cubicBezTo>
                    <a:pt x="116" y="125"/>
                    <a:pt x="116" y="125"/>
                    <a:pt x="116" y="125"/>
                  </a:cubicBezTo>
                  <a:cubicBezTo>
                    <a:pt x="114" y="123"/>
                    <a:pt x="114" y="123"/>
                    <a:pt x="114" y="123"/>
                  </a:cubicBezTo>
                  <a:cubicBezTo>
                    <a:pt x="113" y="122"/>
                    <a:pt x="113" y="122"/>
                    <a:pt x="113" y="122"/>
                  </a:cubicBezTo>
                  <a:cubicBezTo>
                    <a:pt x="111" y="120"/>
                    <a:pt x="111" y="120"/>
                    <a:pt x="111" y="120"/>
                  </a:cubicBezTo>
                  <a:cubicBezTo>
                    <a:pt x="111" y="119"/>
                    <a:pt x="111" y="119"/>
                    <a:pt x="111" y="119"/>
                  </a:cubicBezTo>
                  <a:cubicBezTo>
                    <a:pt x="106" y="118"/>
                    <a:pt x="106" y="118"/>
                    <a:pt x="106" y="118"/>
                  </a:cubicBezTo>
                  <a:cubicBezTo>
                    <a:pt x="105" y="116"/>
                    <a:pt x="105" y="116"/>
                    <a:pt x="105" y="116"/>
                  </a:cubicBezTo>
                  <a:cubicBezTo>
                    <a:pt x="104" y="116"/>
                    <a:pt x="104" y="116"/>
                    <a:pt x="104" y="116"/>
                  </a:cubicBezTo>
                  <a:cubicBezTo>
                    <a:pt x="103" y="114"/>
                    <a:pt x="103" y="114"/>
                    <a:pt x="103" y="114"/>
                  </a:cubicBezTo>
                  <a:cubicBezTo>
                    <a:pt x="101" y="113"/>
                    <a:pt x="101" y="113"/>
                    <a:pt x="101" y="113"/>
                  </a:cubicBezTo>
                  <a:cubicBezTo>
                    <a:pt x="100" y="112"/>
                    <a:pt x="100" y="112"/>
                    <a:pt x="100" y="112"/>
                  </a:cubicBezTo>
                  <a:cubicBezTo>
                    <a:pt x="99" y="111"/>
                    <a:pt x="99" y="111"/>
                    <a:pt x="99" y="111"/>
                  </a:cubicBezTo>
                  <a:cubicBezTo>
                    <a:pt x="97" y="108"/>
                    <a:pt x="97" y="108"/>
                    <a:pt x="97" y="108"/>
                  </a:cubicBezTo>
                  <a:cubicBezTo>
                    <a:pt x="94" y="106"/>
                    <a:pt x="94" y="106"/>
                    <a:pt x="94" y="106"/>
                  </a:cubicBezTo>
                  <a:cubicBezTo>
                    <a:pt x="93" y="105"/>
                    <a:pt x="93" y="105"/>
                    <a:pt x="93" y="105"/>
                  </a:cubicBezTo>
                  <a:cubicBezTo>
                    <a:pt x="92" y="105"/>
                    <a:pt x="92" y="105"/>
                    <a:pt x="92" y="105"/>
                  </a:cubicBezTo>
                  <a:cubicBezTo>
                    <a:pt x="91" y="102"/>
                    <a:pt x="91" y="102"/>
                    <a:pt x="91" y="102"/>
                  </a:cubicBezTo>
                  <a:cubicBezTo>
                    <a:pt x="88" y="99"/>
                    <a:pt x="88" y="99"/>
                    <a:pt x="88" y="99"/>
                  </a:cubicBezTo>
                  <a:cubicBezTo>
                    <a:pt x="87" y="98"/>
                    <a:pt x="87" y="98"/>
                    <a:pt x="87" y="98"/>
                  </a:cubicBezTo>
                  <a:cubicBezTo>
                    <a:pt x="85" y="96"/>
                    <a:pt x="85" y="96"/>
                    <a:pt x="85" y="96"/>
                  </a:cubicBezTo>
                  <a:cubicBezTo>
                    <a:pt x="86" y="94"/>
                    <a:pt x="86" y="94"/>
                    <a:pt x="86" y="94"/>
                  </a:cubicBezTo>
                  <a:cubicBezTo>
                    <a:pt x="86" y="93"/>
                    <a:pt x="85" y="93"/>
                    <a:pt x="85" y="93"/>
                  </a:cubicBezTo>
                  <a:cubicBezTo>
                    <a:pt x="84" y="92"/>
                    <a:pt x="83" y="91"/>
                    <a:pt x="83" y="91"/>
                  </a:cubicBezTo>
                  <a:cubicBezTo>
                    <a:pt x="84" y="90"/>
                    <a:pt x="83" y="89"/>
                    <a:pt x="83" y="87"/>
                  </a:cubicBezTo>
                  <a:cubicBezTo>
                    <a:pt x="83" y="87"/>
                    <a:pt x="83" y="86"/>
                    <a:pt x="82" y="86"/>
                  </a:cubicBezTo>
                  <a:cubicBezTo>
                    <a:pt x="81" y="85"/>
                    <a:pt x="81" y="85"/>
                    <a:pt x="81" y="85"/>
                  </a:cubicBezTo>
                  <a:cubicBezTo>
                    <a:pt x="80" y="85"/>
                    <a:pt x="80" y="85"/>
                    <a:pt x="80" y="85"/>
                  </a:cubicBezTo>
                  <a:cubicBezTo>
                    <a:pt x="79" y="85"/>
                    <a:pt x="79" y="85"/>
                    <a:pt x="79" y="85"/>
                  </a:cubicBezTo>
                  <a:cubicBezTo>
                    <a:pt x="79" y="85"/>
                    <a:pt x="79" y="83"/>
                    <a:pt x="79" y="82"/>
                  </a:cubicBezTo>
                  <a:cubicBezTo>
                    <a:pt x="77" y="81"/>
                    <a:pt x="77" y="81"/>
                    <a:pt x="77" y="81"/>
                  </a:cubicBezTo>
                  <a:cubicBezTo>
                    <a:pt x="77" y="81"/>
                    <a:pt x="76" y="79"/>
                    <a:pt x="75" y="78"/>
                  </a:cubicBezTo>
                  <a:cubicBezTo>
                    <a:pt x="73" y="78"/>
                    <a:pt x="73" y="78"/>
                    <a:pt x="73" y="78"/>
                  </a:cubicBezTo>
                  <a:cubicBezTo>
                    <a:pt x="73" y="79"/>
                    <a:pt x="72" y="79"/>
                    <a:pt x="72" y="79"/>
                  </a:cubicBezTo>
                  <a:cubicBezTo>
                    <a:pt x="69" y="77"/>
                    <a:pt x="69" y="77"/>
                    <a:pt x="69" y="77"/>
                  </a:cubicBezTo>
                  <a:cubicBezTo>
                    <a:pt x="69" y="77"/>
                    <a:pt x="69" y="75"/>
                    <a:pt x="70" y="74"/>
                  </a:cubicBezTo>
                  <a:cubicBezTo>
                    <a:pt x="72" y="72"/>
                    <a:pt x="70" y="72"/>
                    <a:pt x="70" y="72"/>
                  </a:cubicBezTo>
                  <a:cubicBezTo>
                    <a:pt x="69" y="69"/>
                    <a:pt x="69" y="69"/>
                    <a:pt x="69" y="69"/>
                  </a:cubicBezTo>
                  <a:cubicBezTo>
                    <a:pt x="70" y="67"/>
                    <a:pt x="70" y="67"/>
                    <a:pt x="70" y="67"/>
                  </a:cubicBezTo>
                  <a:cubicBezTo>
                    <a:pt x="69" y="66"/>
                    <a:pt x="69" y="66"/>
                    <a:pt x="69" y="66"/>
                  </a:cubicBezTo>
                  <a:cubicBezTo>
                    <a:pt x="69" y="66"/>
                    <a:pt x="69" y="66"/>
                    <a:pt x="69" y="66"/>
                  </a:cubicBezTo>
                  <a:cubicBezTo>
                    <a:pt x="69" y="66"/>
                    <a:pt x="69" y="66"/>
                    <a:pt x="69" y="66"/>
                  </a:cubicBezTo>
                  <a:cubicBezTo>
                    <a:pt x="69" y="66"/>
                    <a:pt x="69" y="66"/>
                    <a:pt x="69" y="66"/>
                  </a:cubicBezTo>
                  <a:cubicBezTo>
                    <a:pt x="70" y="63"/>
                    <a:pt x="70" y="63"/>
                    <a:pt x="70" y="63"/>
                  </a:cubicBezTo>
                  <a:cubicBezTo>
                    <a:pt x="70" y="63"/>
                    <a:pt x="69" y="59"/>
                    <a:pt x="70" y="59"/>
                  </a:cubicBezTo>
                  <a:cubicBezTo>
                    <a:pt x="70" y="59"/>
                    <a:pt x="70" y="58"/>
                    <a:pt x="70" y="58"/>
                  </a:cubicBezTo>
                  <a:cubicBezTo>
                    <a:pt x="70" y="58"/>
                    <a:pt x="70" y="58"/>
                    <a:pt x="70" y="58"/>
                  </a:cubicBezTo>
                  <a:cubicBezTo>
                    <a:pt x="71" y="57"/>
                    <a:pt x="74" y="56"/>
                    <a:pt x="74" y="56"/>
                  </a:cubicBezTo>
                  <a:cubicBezTo>
                    <a:pt x="76" y="56"/>
                    <a:pt x="76" y="56"/>
                    <a:pt x="76" y="56"/>
                  </a:cubicBezTo>
                  <a:cubicBezTo>
                    <a:pt x="80" y="60"/>
                    <a:pt x="80" y="60"/>
                    <a:pt x="80" y="60"/>
                  </a:cubicBezTo>
                  <a:cubicBezTo>
                    <a:pt x="82" y="63"/>
                    <a:pt x="82" y="63"/>
                    <a:pt x="82" y="63"/>
                  </a:cubicBezTo>
                  <a:cubicBezTo>
                    <a:pt x="85" y="64"/>
                    <a:pt x="85" y="64"/>
                    <a:pt x="85" y="64"/>
                  </a:cubicBezTo>
                  <a:cubicBezTo>
                    <a:pt x="85" y="64"/>
                    <a:pt x="86" y="64"/>
                    <a:pt x="87" y="63"/>
                  </a:cubicBezTo>
                  <a:cubicBezTo>
                    <a:pt x="87" y="62"/>
                    <a:pt x="87" y="61"/>
                    <a:pt x="87" y="61"/>
                  </a:cubicBezTo>
                  <a:cubicBezTo>
                    <a:pt x="88" y="59"/>
                    <a:pt x="88" y="59"/>
                    <a:pt x="88" y="59"/>
                  </a:cubicBezTo>
                  <a:cubicBezTo>
                    <a:pt x="89" y="58"/>
                    <a:pt x="89" y="58"/>
                    <a:pt x="89" y="58"/>
                  </a:cubicBezTo>
                  <a:cubicBezTo>
                    <a:pt x="90" y="57"/>
                    <a:pt x="90" y="57"/>
                    <a:pt x="90" y="57"/>
                  </a:cubicBezTo>
                  <a:cubicBezTo>
                    <a:pt x="91" y="55"/>
                    <a:pt x="91" y="55"/>
                    <a:pt x="91" y="55"/>
                  </a:cubicBezTo>
                  <a:cubicBezTo>
                    <a:pt x="94" y="55"/>
                    <a:pt x="94" y="55"/>
                    <a:pt x="94" y="55"/>
                  </a:cubicBezTo>
                  <a:cubicBezTo>
                    <a:pt x="96" y="54"/>
                    <a:pt x="96" y="54"/>
                    <a:pt x="96" y="54"/>
                  </a:cubicBezTo>
                  <a:cubicBezTo>
                    <a:pt x="96" y="54"/>
                    <a:pt x="99" y="54"/>
                    <a:pt x="100" y="54"/>
                  </a:cubicBezTo>
                  <a:cubicBezTo>
                    <a:pt x="100" y="54"/>
                    <a:pt x="100" y="54"/>
                    <a:pt x="101" y="54"/>
                  </a:cubicBezTo>
                  <a:cubicBezTo>
                    <a:pt x="102" y="52"/>
                    <a:pt x="102" y="52"/>
                    <a:pt x="102" y="52"/>
                  </a:cubicBezTo>
                  <a:cubicBezTo>
                    <a:pt x="102" y="52"/>
                    <a:pt x="102" y="52"/>
                    <a:pt x="102" y="52"/>
                  </a:cubicBezTo>
                  <a:cubicBezTo>
                    <a:pt x="103" y="51"/>
                    <a:pt x="103" y="51"/>
                    <a:pt x="103" y="51"/>
                  </a:cubicBezTo>
                  <a:cubicBezTo>
                    <a:pt x="107" y="52"/>
                    <a:pt x="107" y="52"/>
                    <a:pt x="107" y="52"/>
                  </a:cubicBezTo>
                  <a:cubicBezTo>
                    <a:pt x="109" y="54"/>
                    <a:pt x="109" y="54"/>
                    <a:pt x="109" y="54"/>
                  </a:cubicBezTo>
                  <a:cubicBezTo>
                    <a:pt x="112" y="55"/>
                    <a:pt x="112" y="55"/>
                    <a:pt x="112" y="55"/>
                  </a:cubicBezTo>
                  <a:cubicBezTo>
                    <a:pt x="112" y="55"/>
                    <a:pt x="112" y="55"/>
                    <a:pt x="112" y="55"/>
                  </a:cubicBezTo>
                  <a:cubicBezTo>
                    <a:pt x="114" y="54"/>
                    <a:pt x="114" y="54"/>
                    <a:pt x="114" y="54"/>
                  </a:cubicBezTo>
                  <a:cubicBezTo>
                    <a:pt x="114" y="54"/>
                    <a:pt x="114" y="54"/>
                    <a:pt x="114" y="54"/>
                  </a:cubicBezTo>
                  <a:cubicBezTo>
                    <a:pt x="118" y="53"/>
                    <a:pt x="118" y="53"/>
                    <a:pt x="118" y="53"/>
                  </a:cubicBezTo>
                  <a:cubicBezTo>
                    <a:pt x="121" y="55"/>
                    <a:pt x="121" y="55"/>
                    <a:pt x="121" y="55"/>
                  </a:cubicBezTo>
                  <a:cubicBezTo>
                    <a:pt x="124" y="54"/>
                    <a:pt x="124" y="54"/>
                    <a:pt x="124" y="54"/>
                  </a:cubicBezTo>
                  <a:cubicBezTo>
                    <a:pt x="128" y="55"/>
                    <a:pt x="128" y="55"/>
                    <a:pt x="128" y="55"/>
                  </a:cubicBezTo>
                  <a:cubicBezTo>
                    <a:pt x="130" y="55"/>
                    <a:pt x="130" y="55"/>
                    <a:pt x="130" y="55"/>
                  </a:cubicBezTo>
                  <a:cubicBezTo>
                    <a:pt x="132" y="56"/>
                    <a:pt x="132" y="56"/>
                    <a:pt x="132" y="56"/>
                  </a:cubicBezTo>
                  <a:cubicBezTo>
                    <a:pt x="132" y="56"/>
                    <a:pt x="132" y="56"/>
                    <a:pt x="132" y="56"/>
                  </a:cubicBezTo>
                  <a:cubicBezTo>
                    <a:pt x="133" y="55"/>
                    <a:pt x="135" y="55"/>
                    <a:pt x="135" y="55"/>
                  </a:cubicBezTo>
                  <a:cubicBezTo>
                    <a:pt x="136" y="53"/>
                    <a:pt x="136" y="53"/>
                    <a:pt x="136" y="53"/>
                  </a:cubicBezTo>
                  <a:cubicBezTo>
                    <a:pt x="137" y="55"/>
                    <a:pt x="137" y="55"/>
                    <a:pt x="137" y="55"/>
                  </a:cubicBezTo>
                  <a:cubicBezTo>
                    <a:pt x="138" y="54"/>
                    <a:pt x="139" y="54"/>
                    <a:pt x="139" y="54"/>
                  </a:cubicBezTo>
                  <a:cubicBezTo>
                    <a:pt x="140" y="52"/>
                    <a:pt x="140" y="52"/>
                    <a:pt x="140" y="52"/>
                  </a:cubicBezTo>
                  <a:cubicBezTo>
                    <a:pt x="141" y="53"/>
                    <a:pt x="141" y="53"/>
                    <a:pt x="141" y="53"/>
                  </a:cubicBezTo>
                  <a:cubicBezTo>
                    <a:pt x="141" y="53"/>
                    <a:pt x="142" y="53"/>
                    <a:pt x="142" y="53"/>
                  </a:cubicBezTo>
                  <a:cubicBezTo>
                    <a:pt x="143" y="53"/>
                    <a:pt x="144" y="53"/>
                    <a:pt x="144" y="53"/>
                  </a:cubicBezTo>
                  <a:cubicBezTo>
                    <a:pt x="144" y="53"/>
                    <a:pt x="144" y="53"/>
                    <a:pt x="145" y="53"/>
                  </a:cubicBezTo>
                  <a:cubicBezTo>
                    <a:pt x="145" y="53"/>
                    <a:pt x="146" y="52"/>
                    <a:pt x="146" y="52"/>
                  </a:cubicBezTo>
                  <a:cubicBezTo>
                    <a:pt x="148" y="52"/>
                    <a:pt x="149" y="52"/>
                    <a:pt x="149" y="52"/>
                  </a:cubicBezTo>
                  <a:cubicBezTo>
                    <a:pt x="149" y="52"/>
                    <a:pt x="150" y="53"/>
                    <a:pt x="151" y="54"/>
                  </a:cubicBezTo>
                  <a:cubicBezTo>
                    <a:pt x="151" y="54"/>
                    <a:pt x="151" y="54"/>
                    <a:pt x="151" y="54"/>
                  </a:cubicBezTo>
                  <a:cubicBezTo>
                    <a:pt x="153" y="54"/>
                    <a:pt x="153" y="54"/>
                    <a:pt x="153" y="54"/>
                  </a:cubicBezTo>
                  <a:cubicBezTo>
                    <a:pt x="153" y="54"/>
                    <a:pt x="153" y="54"/>
                    <a:pt x="153" y="54"/>
                  </a:cubicBezTo>
                  <a:cubicBezTo>
                    <a:pt x="153" y="53"/>
                    <a:pt x="153" y="53"/>
                    <a:pt x="154" y="53"/>
                  </a:cubicBezTo>
                  <a:cubicBezTo>
                    <a:pt x="156" y="53"/>
                    <a:pt x="157" y="53"/>
                    <a:pt x="158" y="53"/>
                  </a:cubicBezTo>
                  <a:cubicBezTo>
                    <a:pt x="159" y="53"/>
                    <a:pt x="160" y="55"/>
                    <a:pt x="160" y="55"/>
                  </a:cubicBezTo>
                  <a:cubicBezTo>
                    <a:pt x="162" y="57"/>
                    <a:pt x="162" y="57"/>
                    <a:pt x="162" y="57"/>
                  </a:cubicBezTo>
                  <a:cubicBezTo>
                    <a:pt x="162" y="57"/>
                    <a:pt x="163" y="59"/>
                    <a:pt x="163" y="60"/>
                  </a:cubicBezTo>
                  <a:cubicBezTo>
                    <a:pt x="164" y="60"/>
                    <a:pt x="164" y="61"/>
                    <a:pt x="164" y="61"/>
                  </a:cubicBezTo>
                  <a:cubicBezTo>
                    <a:pt x="164" y="61"/>
                    <a:pt x="171" y="63"/>
                    <a:pt x="171" y="63"/>
                  </a:cubicBezTo>
                  <a:cubicBezTo>
                    <a:pt x="171" y="63"/>
                    <a:pt x="172" y="63"/>
                    <a:pt x="172" y="63"/>
                  </a:cubicBezTo>
                  <a:cubicBezTo>
                    <a:pt x="172" y="62"/>
                    <a:pt x="172" y="61"/>
                    <a:pt x="173" y="61"/>
                  </a:cubicBezTo>
                  <a:cubicBezTo>
                    <a:pt x="173" y="60"/>
                    <a:pt x="175" y="62"/>
                    <a:pt x="175" y="60"/>
                  </a:cubicBezTo>
                  <a:cubicBezTo>
                    <a:pt x="175" y="59"/>
                    <a:pt x="175" y="59"/>
                    <a:pt x="175" y="58"/>
                  </a:cubicBezTo>
                  <a:cubicBezTo>
                    <a:pt x="175" y="58"/>
                    <a:pt x="175" y="58"/>
                    <a:pt x="175" y="58"/>
                  </a:cubicBezTo>
                  <a:cubicBezTo>
                    <a:pt x="175" y="58"/>
                    <a:pt x="175" y="58"/>
                    <a:pt x="175" y="58"/>
                  </a:cubicBezTo>
                  <a:cubicBezTo>
                    <a:pt x="175" y="58"/>
                    <a:pt x="174" y="60"/>
                    <a:pt x="174" y="60"/>
                  </a:cubicBezTo>
                  <a:cubicBezTo>
                    <a:pt x="173" y="60"/>
                    <a:pt x="173" y="60"/>
                    <a:pt x="172" y="60"/>
                  </a:cubicBezTo>
                  <a:cubicBezTo>
                    <a:pt x="171" y="60"/>
                    <a:pt x="171" y="59"/>
                    <a:pt x="171" y="59"/>
                  </a:cubicBezTo>
                  <a:cubicBezTo>
                    <a:pt x="173" y="57"/>
                    <a:pt x="173" y="57"/>
                    <a:pt x="173" y="57"/>
                  </a:cubicBezTo>
                  <a:cubicBezTo>
                    <a:pt x="173" y="54"/>
                    <a:pt x="173" y="54"/>
                    <a:pt x="173" y="54"/>
                  </a:cubicBezTo>
                  <a:cubicBezTo>
                    <a:pt x="173" y="54"/>
                    <a:pt x="172" y="53"/>
                    <a:pt x="171" y="52"/>
                  </a:cubicBezTo>
                  <a:cubicBezTo>
                    <a:pt x="171" y="51"/>
                    <a:pt x="170" y="50"/>
                    <a:pt x="170" y="50"/>
                  </a:cubicBezTo>
                  <a:cubicBezTo>
                    <a:pt x="172" y="48"/>
                    <a:pt x="172" y="48"/>
                    <a:pt x="172" y="48"/>
                  </a:cubicBezTo>
                  <a:cubicBezTo>
                    <a:pt x="172" y="48"/>
                    <a:pt x="172" y="48"/>
                    <a:pt x="172" y="48"/>
                  </a:cubicBezTo>
                  <a:cubicBezTo>
                    <a:pt x="173" y="47"/>
                    <a:pt x="173" y="47"/>
                    <a:pt x="173" y="47"/>
                  </a:cubicBezTo>
                  <a:cubicBezTo>
                    <a:pt x="173" y="47"/>
                    <a:pt x="174" y="48"/>
                    <a:pt x="176" y="48"/>
                  </a:cubicBezTo>
                  <a:cubicBezTo>
                    <a:pt x="177" y="48"/>
                    <a:pt x="176" y="48"/>
                    <a:pt x="178" y="48"/>
                  </a:cubicBezTo>
                  <a:cubicBezTo>
                    <a:pt x="179" y="47"/>
                    <a:pt x="181" y="45"/>
                    <a:pt x="181" y="45"/>
                  </a:cubicBezTo>
                  <a:cubicBezTo>
                    <a:pt x="181" y="45"/>
                    <a:pt x="180" y="43"/>
                    <a:pt x="179" y="44"/>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30"/>
            <p:cNvSpPr>
              <a:spLocks/>
            </p:cNvSpPr>
            <p:nvPr/>
          </p:nvSpPr>
          <p:spPr bwMode="auto">
            <a:xfrm>
              <a:off x="5742572" y="3646219"/>
              <a:ext cx="817387" cy="648121"/>
            </a:xfrm>
            <a:custGeom>
              <a:avLst/>
              <a:gdLst>
                <a:gd name="T0" fmla="*/ 263 w 282"/>
                <a:gd name="T1" fmla="*/ 130 h 237"/>
                <a:gd name="T2" fmla="*/ 255 w 282"/>
                <a:gd name="T3" fmla="*/ 112 h 237"/>
                <a:gd name="T4" fmla="*/ 242 w 282"/>
                <a:gd name="T5" fmla="*/ 90 h 237"/>
                <a:gd name="T6" fmla="*/ 256 w 282"/>
                <a:gd name="T7" fmla="*/ 63 h 237"/>
                <a:gd name="T8" fmla="*/ 235 w 282"/>
                <a:gd name="T9" fmla="*/ 20 h 237"/>
                <a:gd name="T10" fmla="*/ 216 w 282"/>
                <a:gd name="T11" fmla="*/ 3 h 237"/>
                <a:gd name="T12" fmla="*/ 155 w 282"/>
                <a:gd name="T13" fmla="*/ 13 h 237"/>
                <a:gd name="T14" fmla="*/ 118 w 282"/>
                <a:gd name="T15" fmla="*/ 20 h 237"/>
                <a:gd name="T16" fmla="*/ 103 w 282"/>
                <a:gd name="T17" fmla="*/ 6 h 237"/>
                <a:gd name="T18" fmla="*/ 76 w 282"/>
                <a:gd name="T19" fmla="*/ 8 h 237"/>
                <a:gd name="T20" fmla="*/ 53 w 282"/>
                <a:gd name="T21" fmla="*/ 23 h 237"/>
                <a:gd name="T22" fmla="*/ 36 w 282"/>
                <a:gd name="T23" fmla="*/ 37 h 237"/>
                <a:gd name="T24" fmla="*/ 1 w 282"/>
                <a:gd name="T25" fmla="*/ 52 h 237"/>
                <a:gd name="T26" fmla="*/ 4 w 282"/>
                <a:gd name="T27" fmla="*/ 59 h 237"/>
                <a:gd name="T28" fmla="*/ 9 w 282"/>
                <a:gd name="T29" fmla="*/ 82 h 237"/>
                <a:gd name="T30" fmla="*/ 15 w 282"/>
                <a:gd name="T31" fmla="*/ 105 h 237"/>
                <a:gd name="T32" fmla="*/ 21 w 282"/>
                <a:gd name="T33" fmla="*/ 131 h 237"/>
                <a:gd name="T34" fmla="*/ 25 w 282"/>
                <a:gd name="T35" fmla="*/ 147 h 237"/>
                <a:gd name="T36" fmla="*/ 30 w 282"/>
                <a:gd name="T37" fmla="*/ 156 h 237"/>
                <a:gd name="T38" fmla="*/ 35 w 282"/>
                <a:gd name="T39" fmla="*/ 166 h 237"/>
                <a:gd name="T40" fmla="*/ 36 w 282"/>
                <a:gd name="T41" fmla="*/ 174 h 237"/>
                <a:gd name="T42" fmla="*/ 42 w 282"/>
                <a:gd name="T43" fmla="*/ 180 h 237"/>
                <a:gd name="T44" fmla="*/ 52 w 282"/>
                <a:gd name="T45" fmla="*/ 184 h 237"/>
                <a:gd name="T46" fmla="*/ 61 w 282"/>
                <a:gd name="T47" fmla="*/ 185 h 237"/>
                <a:gd name="T48" fmla="*/ 73 w 282"/>
                <a:gd name="T49" fmla="*/ 192 h 237"/>
                <a:gd name="T50" fmla="*/ 80 w 282"/>
                <a:gd name="T51" fmla="*/ 207 h 237"/>
                <a:gd name="T52" fmla="*/ 84 w 282"/>
                <a:gd name="T53" fmla="*/ 195 h 237"/>
                <a:gd name="T54" fmla="*/ 95 w 282"/>
                <a:gd name="T55" fmla="*/ 194 h 237"/>
                <a:gd name="T56" fmla="*/ 108 w 282"/>
                <a:gd name="T57" fmla="*/ 195 h 237"/>
                <a:gd name="T58" fmla="*/ 112 w 282"/>
                <a:gd name="T59" fmla="*/ 207 h 237"/>
                <a:gd name="T60" fmla="*/ 125 w 282"/>
                <a:gd name="T61" fmla="*/ 209 h 237"/>
                <a:gd name="T62" fmla="*/ 145 w 282"/>
                <a:gd name="T63" fmla="*/ 222 h 237"/>
                <a:gd name="T64" fmla="*/ 148 w 282"/>
                <a:gd name="T65" fmla="*/ 233 h 237"/>
                <a:gd name="T66" fmla="*/ 158 w 282"/>
                <a:gd name="T67" fmla="*/ 224 h 237"/>
                <a:gd name="T68" fmla="*/ 169 w 282"/>
                <a:gd name="T69" fmla="*/ 230 h 237"/>
                <a:gd name="T70" fmla="*/ 171 w 282"/>
                <a:gd name="T71" fmla="*/ 237 h 237"/>
                <a:gd name="T72" fmla="*/ 178 w 282"/>
                <a:gd name="T73" fmla="*/ 235 h 237"/>
                <a:gd name="T74" fmla="*/ 181 w 282"/>
                <a:gd name="T75" fmla="*/ 233 h 237"/>
                <a:gd name="T76" fmla="*/ 185 w 282"/>
                <a:gd name="T77" fmla="*/ 229 h 237"/>
                <a:gd name="T78" fmla="*/ 190 w 282"/>
                <a:gd name="T79" fmla="*/ 225 h 237"/>
                <a:gd name="T80" fmla="*/ 194 w 282"/>
                <a:gd name="T81" fmla="*/ 224 h 237"/>
                <a:gd name="T82" fmla="*/ 200 w 282"/>
                <a:gd name="T83" fmla="*/ 227 h 237"/>
                <a:gd name="T84" fmla="*/ 205 w 282"/>
                <a:gd name="T85" fmla="*/ 225 h 237"/>
                <a:gd name="T86" fmla="*/ 210 w 282"/>
                <a:gd name="T87" fmla="*/ 221 h 237"/>
                <a:gd name="T88" fmla="*/ 216 w 282"/>
                <a:gd name="T89" fmla="*/ 220 h 237"/>
                <a:gd name="T90" fmla="*/ 225 w 282"/>
                <a:gd name="T91" fmla="*/ 220 h 237"/>
                <a:gd name="T92" fmla="*/ 232 w 282"/>
                <a:gd name="T93" fmla="*/ 220 h 237"/>
                <a:gd name="T94" fmla="*/ 237 w 282"/>
                <a:gd name="T95" fmla="*/ 226 h 237"/>
                <a:gd name="T96" fmla="*/ 243 w 282"/>
                <a:gd name="T97" fmla="*/ 227 h 237"/>
                <a:gd name="T98" fmla="*/ 251 w 282"/>
                <a:gd name="T99" fmla="*/ 229 h 237"/>
                <a:gd name="T100" fmla="*/ 260 w 282"/>
                <a:gd name="T101" fmla="*/ 229 h 237"/>
                <a:gd name="T102" fmla="*/ 255 w 282"/>
                <a:gd name="T103" fmla="*/ 220 h 237"/>
                <a:gd name="T104" fmla="*/ 263 w 282"/>
                <a:gd name="T105" fmla="*/ 189 h 237"/>
                <a:gd name="T106" fmla="*/ 278 w 282"/>
                <a:gd name="T107" fmla="*/ 167 h 237"/>
                <a:gd name="T108" fmla="*/ 277 w 282"/>
                <a:gd name="T109" fmla="*/ 14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2" h="237">
                  <a:moveTo>
                    <a:pt x="279" y="146"/>
                  </a:moveTo>
                  <a:cubicBezTo>
                    <a:pt x="278" y="145"/>
                    <a:pt x="278" y="142"/>
                    <a:pt x="276" y="142"/>
                  </a:cubicBezTo>
                  <a:cubicBezTo>
                    <a:pt x="274" y="141"/>
                    <a:pt x="272" y="140"/>
                    <a:pt x="271" y="140"/>
                  </a:cubicBezTo>
                  <a:cubicBezTo>
                    <a:pt x="269" y="139"/>
                    <a:pt x="270" y="136"/>
                    <a:pt x="270" y="136"/>
                  </a:cubicBezTo>
                  <a:cubicBezTo>
                    <a:pt x="270" y="136"/>
                    <a:pt x="266" y="134"/>
                    <a:pt x="265" y="132"/>
                  </a:cubicBezTo>
                  <a:cubicBezTo>
                    <a:pt x="265" y="131"/>
                    <a:pt x="265" y="130"/>
                    <a:pt x="263" y="130"/>
                  </a:cubicBezTo>
                  <a:cubicBezTo>
                    <a:pt x="262" y="130"/>
                    <a:pt x="261" y="127"/>
                    <a:pt x="261" y="127"/>
                  </a:cubicBezTo>
                  <a:cubicBezTo>
                    <a:pt x="262" y="124"/>
                    <a:pt x="262" y="124"/>
                    <a:pt x="262" y="124"/>
                  </a:cubicBezTo>
                  <a:cubicBezTo>
                    <a:pt x="260" y="120"/>
                    <a:pt x="260" y="120"/>
                    <a:pt x="260" y="120"/>
                  </a:cubicBezTo>
                  <a:cubicBezTo>
                    <a:pt x="260" y="120"/>
                    <a:pt x="260" y="120"/>
                    <a:pt x="260" y="119"/>
                  </a:cubicBezTo>
                  <a:cubicBezTo>
                    <a:pt x="259" y="119"/>
                    <a:pt x="258" y="117"/>
                    <a:pt x="257" y="116"/>
                  </a:cubicBezTo>
                  <a:cubicBezTo>
                    <a:pt x="256" y="115"/>
                    <a:pt x="255" y="112"/>
                    <a:pt x="255" y="112"/>
                  </a:cubicBezTo>
                  <a:cubicBezTo>
                    <a:pt x="255" y="112"/>
                    <a:pt x="256" y="107"/>
                    <a:pt x="256" y="106"/>
                  </a:cubicBezTo>
                  <a:cubicBezTo>
                    <a:pt x="256" y="106"/>
                    <a:pt x="255" y="100"/>
                    <a:pt x="255" y="100"/>
                  </a:cubicBezTo>
                  <a:cubicBezTo>
                    <a:pt x="255" y="96"/>
                    <a:pt x="255" y="96"/>
                    <a:pt x="255" y="96"/>
                  </a:cubicBezTo>
                  <a:cubicBezTo>
                    <a:pt x="250" y="93"/>
                    <a:pt x="250" y="93"/>
                    <a:pt x="250" y="93"/>
                  </a:cubicBezTo>
                  <a:cubicBezTo>
                    <a:pt x="250" y="93"/>
                    <a:pt x="245" y="92"/>
                    <a:pt x="243" y="92"/>
                  </a:cubicBezTo>
                  <a:cubicBezTo>
                    <a:pt x="242" y="92"/>
                    <a:pt x="242" y="90"/>
                    <a:pt x="242" y="90"/>
                  </a:cubicBezTo>
                  <a:cubicBezTo>
                    <a:pt x="242" y="88"/>
                    <a:pt x="242" y="88"/>
                    <a:pt x="242" y="88"/>
                  </a:cubicBezTo>
                  <a:cubicBezTo>
                    <a:pt x="245" y="80"/>
                    <a:pt x="245" y="80"/>
                    <a:pt x="245" y="80"/>
                  </a:cubicBezTo>
                  <a:cubicBezTo>
                    <a:pt x="249" y="75"/>
                    <a:pt x="249" y="75"/>
                    <a:pt x="249" y="75"/>
                  </a:cubicBezTo>
                  <a:cubicBezTo>
                    <a:pt x="252" y="73"/>
                    <a:pt x="252" y="73"/>
                    <a:pt x="252" y="73"/>
                  </a:cubicBezTo>
                  <a:cubicBezTo>
                    <a:pt x="252" y="73"/>
                    <a:pt x="256" y="68"/>
                    <a:pt x="256" y="67"/>
                  </a:cubicBezTo>
                  <a:cubicBezTo>
                    <a:pt x="257" y="67"/>
                    <a:pt x="256" y="64"/>
                    <a:pt x="256" y="63"/>
                  </a:cubicBezTo>
                  <a:cubicBezTo>
                    <a:pt x="255" y="62"/>
                    <a:pt x="255" y="60"/>
                    <a:pt x="255" y="59"/>
                  </a:cubicBezTo>
                  <a:cubicBezTo>
                    <a:pt x="255" y="58"/>
                    <a:pt x="253" y="55"/>
                    <a:pt x="253" y="55"/>
                  </a:cubicBezTo>
                  <a:cubicBezTo>
                    <a:pt x="252" y="49"/>
                    <a:pt x="252" y="49"/>
                    <a:pt x="252" y="49"/>
                  </a:cubicBezTo>
                  <a:cubicBezTo>
                    <a:pt x="246" y="40"/>
                    <a:pt x="246" y="40"/>
                    <a:pt x="246" y="40"/>
                  </a:cubicBezTo>
                  <a:cubicBezTo>
                    <a:pt x="241" y="31"/>
                    <a:pt x="241" y="31"/>
                    <a:pt x="241" y="31"/>
                  </a:cubicBezTo>
                  <a:cubicBezTo>
                    <a:pt x="241" y="31"/>
                    <a:pt x="236" y="22"/>
                    <a:pt x="235" y="20"/>
                  </a:cubicBezTo>
                  <a:cubicBezTo>
                    <a:pt x="235" y="17"/>
                    <a:pt x="234" y="13"/>
                    <a:pt x="234" y="13"/>
                  </a:cubicBezTo>
                  <a:cubicBezTo>
                    <a:pt x="231" y="11"/>
                    <a:pt x="231" y="11"/>
                    <a:pt x="231" y="11"/>
                  </a:cubicBezTo>
                  <a:cubicBezTo>
                    <a:pt x="231" y="11"/>
                    <a:pt x="230" y="7"/>
                    <a:pt x="230" y="6"/>
                  </a:cubicBezTo>
                  <a:cubicBezTo>
                    <a:pt x="229" y="5"/>
                    <a:pt x="220" y="5"/>
                    <a:pt x="220" y="5"/>
                  </a:cubicBezTo>
                  <a:cubicBezTo>
                    <a:pt x="220" y="5"/>
                    <a:pt x="219" y="3"/>
                    <a:pt x="219" y="2"/>
                  </a:cubicBezTo>
                  <a:cubicBezTo>
                    <a:pt x="218" y="0"/>
                    <a:pt x="216" y="3"/>
                    <a:pt x="216" y="3"/>
                  </a:cubicBezTo>
                  <a:cubicBezTo>
                    <a:pt x="208" y="4"/>
                    <a:pt x="208" y="4"/>
                    <a:pt x="208" y="4"/>
                  </a:cubicBezTo>
                  <a:cubicBezTo>
                    <a:pt x="202" y="9"/>
                    <a:pt x="202" y="9"/>
                    <a:pt x="202" y="9"/>
                  </a:cubicBezTo>
                  <a:cubicBezTo>
                    <a:pt x="202" y="9"/>
                    <a:pt x="187" y="10"/>
                    <a:pt x="186" y="10"/>
                  </a:cubicBezTo>
                  <a:cubicBezTo>
                    <a:pt x="184" y="10"/>
                    <a:pt x="174" y="11"/>
                    <a:pt x="174" y="11"/>
                  </a:cubicBezTo>
                  <a:cubicBezTo>
                    <a:pt x="173" y="11"/>
                    <a:pt x="167" y="12"/>
                    <a:pt x="166" y="12"/>
                  </a:cubicBezTo>
                  <a:cubicBezTo>
                    <a:pt x="164" y="13"/>
                    <a:pt x="157" y="13"/>
                    <a:pt x="155" y="13"/>
                  </a:cubicBezTo>
                  <a:cubicBezTo>
                    <a:pt x="154" y="13"/>
                    <a:pt x="150" y="13"/>
                    <a:pt x="150" y="13"/>
                  </a:cubicBezTo>
                  <a:cubicBezTo>
                    <a:pt x="150" y="13"/>
                    <a:pt x="142" y="15"/>
                    <a:pt x="139" y="15"/>
                  </a:cubicBezTo>
                  <a:cubicBezTo>
                    <a:pt x="137" y="15"/>
                    <a:pt x="133" y="13"/>
                    <a:pt x="133" y="13"/>
                  </a:cubicBezTo>
                  <a:cubicBezTo>
                    <a:pt x="133" y="13"/>
                    <a:pt x="126" y="19"/>
                    <a:pt x="124" y="19"/>
                  </a:cubicBezTo>
                  <a:cubicBezTo>
                    <a:pt x="124" y="19"/>
                    <a:pt x="122" y="20"/>
                    <a:pt x="121" y="20"/>
                  </a:cubicBezTo>
                  <a:cubicBezTo>
                    <a:pt x="120" y="20"/>
                    <a:pt x="118" y="20"/>
                    <a:pt x="118" y="20"/>
                  </a:cubicBezTo>
                  <a:cubicBezTo>
                    <a:pt x="118" y="20"/>
                    <a:pt x="115" y="21"/>
                    <a:pt x="112" y="20"/>
                  </a:cubicBezTo>
                  <a:cubicBezTo>
                    <a:pt x="109" y="18"/>
                    <a:pt x="110" y="18"/>
                    <a:pt x="110" y="18"/>
                  </a:cubicBezTo>
                  <a:cubicBezTo>
                    <a:pt x="110" y="18"/>
                    <a:pt x="108" y="16"/>
                    <a:pt x="107" y="15"/>
                  </a:cubicBezTo>
                  <a:cubicBezTo>
                    <a:pt x="106" y="14"/>
                    <a:pt x="105" y="13"/>
                    <a:pt x="105" y="12"/>
                  </a:cubicBezTo>
                  <a:cubicBezTo>
                    <a:pt x="105" y="12"/>
                    <a:pt x="107" y="10"/>
                    <a:pt x="107" y="10"/>
                  </a:cubicBezTo>
                  <a:cubicBezTo>
                    <a:pt x="107" y="10"/>
                    <a:pt x="103" y="7"/>
                    <a:pt x="103" y="6"/>
                  </a:cubicBezTo>
                  <a:cubicBezTo>
                    <a:pt x="102" y="5"/>
                    <a:pt x="103" y="5"/>
                    <a:pt x="103" y="4"/>
                  </a:cubicBezTo>
                  <a:cubicBezTo>
                    <a:pt x="104" y="3"/>
                    <a:pt x="102" y="2"/>
                    <a:pt x="102" y="2"/>
                  </a:cubicBezTo>
                  <a:cubicBezTo>
                    <a:pt x="102" y="2"/>
                    <a:pt x="97" y="3"/>
                    <a:pt x="97" y="2"/>
                  </a:cubicBezTo>
                  <a:cubicBezTo>
                    <a:pt x="96" y="2"/>
                    <a:pt x="92" y="3"/>
                    <a:pt x="91" y="3"/>
                  </a:cubicBezTo>
                  <a:cubicBezTo>
                    <a:pt x="91" y="2"/>
                    <a:pt x="85" y="5"/>
                    <a:pt x="85" y="5"/>
                  </a:cubicBezTo>
                  <a:cubicBezTo>
                    <a:pt x="85" y="5"/>
                    <a:pt x="77" y="8"/>
                    <a:pt x="76" y="8"/>
                  </a:cubicBezTo>
                  <a:cubicBezTo>
                    <a:pt x="75" y="8"/>
                    <a:pt x="75" y="9"/>
                    <a:pt x="75" y="9"/>
                  </a:cubicBezTo>
                  <a:cubicBezTo>
                    <a:pt x="74" y="9"/>
                    <a:pt x="72" y="10"/>
                    <a:pt x="71" y="10"/>
                  </a:cubicBezTo>
                  <a:cubicBezTo>
                    <a:pt x="71" y="11"/>
                    <a:pt x="69" y="14"/>
                    <a:pt x="69" y="14"/>
                  </a:cubicBezTo>
                  <a:cubicBezTo>
                    <a:pt x="69" y="15"/>
                    <a:pt x="62" y="18"/>
                    <a:pt x="61" y="18"/>
                  </a:cubicBezTo>
                  <a:cubicBezTo>
                    <a:pt x="60" y="19"/>
                    <a:pt x="56" y="20"/>
                    <a:pt x="55" y="20"/>
                  </a:cubicBezTo>
                  <a:cubicBezTo>
                    <a:pt x="55" y="21"/>
                    <a:pt x="54" y="22"/>
                    <a:pt x="53" y="23"/>
                  </a:cubicBezTo>
                  <a:cubicBezTo>
                    <a:pt x="53" y="24"/>
                    <a:pt x="52" y="25"/>
                    <a:pt x="51" y="26"/>
                  </a:cubicBezTo>
                  <a:cubicBezTo>
                    <a:pt x="51" y="27"/>
                    <a:pt x="50" y="29"/>
                    <a:pt x="50" y="30"/>
                  </a:cubicBezTo>
                  <a:cubicBezTo>
                    <a:pt x="49" y="31"/>
                    <a:pt x="48" y="33"/>
                    <a:pt x="48" y="33"/>
                  </a:cubicBezTo>
                  <a:cubicBezTo>
                    <a:pt x="48" y="33"/>
                    <a:pt x="45" y="33"/>
                    <a:pt x="43" y="33"/>
                  </a:cubicBezTo>
                  <a:cubicBezTo>
                    <a:pt x="42" y="33"/>
                    <a:pt x="42" y="34"/>
                    <a:pt x="41" y="34"/>
                  </a:cubicBezTo>
                  <a:cubicBezTo>
                    <a:pt x="40" y="34"/>
                    <a:pt x="36" y="37"/>
                    <a:pt x="36" y="37"/>
                  </a:cubicBezTo>
                  <a:cubicBezTo>
                    <a:pt x="36" y="37"/>
                    <a:pt x="20" y="42"/>
                    <a:pt x="19" y="43"/>
                  </a:cubicBezTo>
                  <a:cubicBezTo>
                    <a:pt x="18" y="44"/>
                    <a:pt x="18" y="44"/>
                    <a:pt x="16" y="46"/>
                  </a:cubicBezTo>
                  <a:cubicBezTo>
                    <a:pt x="13" y="47"/>
                    <a:pt x="11" y="47"/>
                    <a:pt x="10" y="47"/>
                  </a:cubicBezTo>
                  <a:cubicBezTo>
                    <a:pt x="9" y="48"/>
                    <a:pt x="9" y="48"/>
                    <a:pt x="8" y="49"/>
                  </a:cubicBezTo>
                  <a:cubicBezTo>
                    <a:pt x="7" y="50"/>
                    <a:pt x="6" y="51"/>
                    <a:pt x="4" y="51"/>
                  </a:cubicBezTo>
                  <a:cubicBezTo>
                    <a:pt x="3" y="51"/>
                    <a:pt x="2" y="52"/>
                    <a:pt x="1" y="52"/>
                  </a:cubicBezTo>
                  <a:cubicBezTo>
                    <a:pt x="1" y="52"/>
                    <a:pt x="0" y="52"/>
                    <a:pt x="0" y="53"/>
                  </a:cubicBezTo>
                  <a:cubicBezTo>
                    <a:pt x="0" y="54"/>
                    <a:pt x="0" y="54"/>
                    <a:pt x="0" y="54"/>
                  </a:cubicBezTo>
                  <a:cubicBezTo>
                    <a:pt x="0" y="54"/>
                    <a:pt x="1" y="55"/>
                    <a:pt x="1" y="56"/>
                  </a:cubicBezTo>
                  <a:cubicBezTo>
                    <a:pt x="2" y="56"/>
                    <a:pt x="2" y="56"/>
                    <a:pt x="2" y="56"/>
                  </a:cubicBezTo>
                  <a:cubicBezTo>
                    <a:pt x="3" y="57"/>
                    <a:pt x="3" y="57"/>
                    <a:pt x="3" y="57"/>
                  </a:cubicBezTo>
                  <a:cubicBezTo>
                    <a:pt x="3" y="58"/>
                    <a:pt x="4" y="58"/>
                    <a:pt x="4" y="59"/>
                  </a:cubicBezTo>
                  <a:cubicBezTo>
                    <a:pt x="4" y="59"/>
                    <a:pt x="4" y="60"/>
                    <a:pt x="4" y="60"/>
                  </a:cubicBezTo>
                  <a:cubicBezTo>
                    <a:pt x="4" y="60"/>
                    <a:pt x="4" y="61"/>
                    <a:pt x="5" y="62"/>
                  </a:cubicBezTo>
                  <a:cubicBezTo>
                    <a:pt x="5" y="63"/>
                    <a:pt x="5" y="64"/>
                    <a:pt x="5" y="64"/>
                  </a:cubicBezTo>
                  <a:cubicBezTo>
                    <a:pt x="5" y="65"/>
                    <a:pt x="6" y="67"/>
                    <a:pt x="7" y="69"/>
                  </a:cubicBezTo>
                  <a:cubicBezTo>
                    <a:pt x="9" y="72"/>
                    <a:pt x="9" y="74"/>
                    <a:pt x="9" y="75"/>
                  </a:cubicBezTo>
                  <a:cubicBezTo>
                    <a:pt x="9" y="82"/>
                    <a:pt x="9" y="82"/>
                    <a:pt x="9" y="82"/>
                  </a:cubicBezTo>
                  <a:cubicBezTo>
                    <a:pt x="9" y="90"/>
                    <a:pt x="9" y="90"/>
                    <a:pt x="9" y="90"/>
                  </a:cubicBezTo>
                  <a:cubicBezTo>
                    <a:pt x="5" y="93"/>
                    <a:pt x="5" y="93"/>
                    <a:pt x="5" y="93"/>
                  </a:cubicBezTo>
                  <a:cubicBezTo>
                    <a:pt x="4" y="97"/>
                    <a:pt x="4" y="97"/>
                    <a:pt x="4" y="97"/>
                  </a:cubicBezTo>
                  <a:cubicBezTo>
                    <a:pt x="5" y="98"/>
                    <a:pt x="6" y="99"/>
                    <a:pt x="8" y="101"/>
                  </a:cubicBezTo>
                  <a:cubicBezTo>
                    <a:pt x="8" y="102"/>
                    <a:pt x="11" y="103"/>
                    <a:pt x="12" y="104"/>
                  </a:cubicBezTo>
                  <a:cubicBezTo>
                    <a:pt x="15" y="105"/>
                    <a:pt x="15" y="105"/>
                    <a:pt x="15" y="105"/>
                  </a:cubicBezTo>
                  <a:cubicBezTo>
                    <a:pt x="18" y="106"/>
                    <a:pt x="19" y="110"/>
                    <a:pt x="18" y="112"/>
                  </a:cubicBezTo>
                  <a:cubicBezTo>
                    <a:pt x="18" y="113"/>
                    <a:pt x="18" y="113"/>
                    <a:pt x="18" y="113"/>
                  </a:cubicBezTo>
                  <a:cubicBezTo>
                    <a:pt x="16" y="118"/>
                    <a:pt x="16" y="118"/>
                    <a:pt x="16" y="118"/>
                  </a:cubicBezTo>
                  <a:cubicBezTo>
                    <a:pt x="17" y="118"/>
                    <a:pt x="17" y="118"/>
                    <a:pt x="17" y="119"/>
                  </a:cubicBezTo>
                  <a:cubicBezTo>
                    <a:pt x="19" y="119"/>
                    <a:pt x="20" y="121"/>
                    <a:pt x="20" y="125"/>
                  </a:cubicBezTo>
                  <a:cubicBezTo>
                    <a:pt x="21" y="128"/>
                    <a:pt x="21" y="130"/>
                    <a:pt x="21" y="131"/>
                  </a:cubicBezTo>
                  <a:cubicBezTo>
                    <a:pt x="23" y="135"/>
                    <a:pt x="23" y="135"/>
                    <a:pt x="23" y="135"/>
                  </a:cubicBezTo>
                  <a:cubicBezTo>
                    <a:pt x="23" y="135"/>
                    <a:pt x="23" y="135"/>
                    <a:pt x="23" y="135"/>
                  </a:cubicBezTo>
                  <a:cubicBezTo>
                    <a:pt x="23" y="136"/>
                    <a:pt x="21" y="140"/>
                    <a:pt x="21" y="140"/>
                  </a:cubicBezTo>
                  <a:cubicBezTo>
                    <a:pt x="21" y="141"/>
                    <a:pt x="21" y="141"/>
                    <a:pt x="20" y="142"/>
                  </a:cubicBezTo>
                  <a:cubicBezTo>
                    <a:pt x="21" y="143"/>
                    <a:pt x="21" y="143"/>
                    <a:pt x="21" y="143"/>
                  </a:cubicBezTo>
                  <a:cubicBezTo>
                    <a:pt x="25" y="147"/>
                    <a:pt x="25" y="147"/>
                    <a:pt x="25" y="147"/>
                  </a:cubicBezTo>
                  <a:cubicBezTo>
                    <a:pt x="24" y="152"/>
                    <a:pt x="24" y="152"/>
                    <a:pt x="24" y="152"/>
                  </a:cubicBezTo>
                  <a:cubicBezTo>
                    <a:pt x="24" y="153"/>
                    <a:pt x="24" y="153"/>
                    <a:pt x="24" y="153"/>
                  </a:cubicBezTo>
                  <a:cubicBezTo>
                    <a:pt x="25" y="153"/>
                    <a:pt x="25" y="153"/>
                    <a:pt x="26" y="153"/>
                  </a:cubicBezTo>
                  <a:cubicBezTo>
                    <a:pt x="27" y="154"/>
                    <a:pt x="28" y="155"/>
                    <a:pt x="29" y="155"/>
                  </a:cubicBezTo>
                  <a:cubicBezTo>
                    <a:pt x="29" y="155"/>
                    <a:pt x="29" y="155"/>
                    <a:pt x="29" y="155"/>
                  </a:cubicBezTo>
                  <a:cubicBezTo>
                    <a:pt x="30" y="156"/>
                    <a:pt x="30" y="156"/>
                    <a:pt x="30" y="156"/>
                  </a:cubicBezTo>
                  <a:cubicBezTo>
                    <a:pt x="30" y="156"/>
                    <a:pt x="30" y="157"/>
                    <a:pt x="30" y="158"/>
                  </a:cubicBezTo>
                  <a:cubicBezTo>
                    <a:pt x="30" y="158"/>
                    <a:pt x="30" y="158"/>
                    <a:pt x="30" y="159"/>
                  </a:cubicBezTo>
                  <a:cubicBezTo>
                    <a:pt x="30" y="159"/>
                    <a:pt x="32" y="161"/>
                    <a:pt x="32" y="161"/>
                  </a:cubicBezTo>
                  <a:cubicBezTo>
                    <a:pt x="32" y="162"/>
                    <a:pt x="34" y="164"/>
                    <a:pt x="35" y="165"/>
                  </a:cubicBezTo>
                  <a:cubicBezTo>
                    <a:pt x="35" y="165"/>
                    <a:pt x="35" y="165"/>
                    <a:pt x="35" y="165"/>
                  </a:cubicBezTo>
                  <a:cubicBezTo>
                    <a:pt x="35" y="166"/>
                    <a:pt x="35" y="166"/>
                    <a:pt x="35" y="166"/>
                  </a:cubicBezTo>
                  <a:cubicBezTo>
                    <a:pt x="35" y="167"/>
                    <a:pt x="35" y="169"/>
                    <a:pt x="32" y="171"/>
                  </a:cubicBezTo>
                  <a:cubicBezTo>
                    <a:pt x="32" y="172"/>
                    <a:pt x="32" y="172"/>
                    <a:pt x="32" y="172"/>
                  </a:cubicBezTo>
                  <a:cubicBezTo>
                    <a:pt x="32" y="172"/>
                    <a:pt x="32" y="173"/>
                    <a:pt x="32" y="173"/>
                  </a:cubicBezTo>
                  <a:cubicBezTo>
                    <a:pt x="32" y="173"/>
                    <a:pt x="32" y="173"/>
                    <a:pt x="32" y="173"/>
                  </a:cubicBezTo>
                  <a:cubicBezTo>
                    <a:pt x="33" y="173"/>
                    <a:pt x="33" y="173"/>
                    <a:pt x="33" y="173"/>
                  </a:cubicBezTo>
                  <a:cubicBezTo>
                    <a:pt x="34" y="173"/>
                    <a:pt x="35" y="174"/>
                    <a:pt x="36" y="174"/>
                  </a:cubicBezTo>
                  <a:cubicBezTo>
                    <a:pt x="36" y="174"/>
                    <a:pt x="36" y="174"/>
                    <a:pt x="36" y="174"/>
                  </a:cubicBezTo>
                  <a:cubicBezTo>
                    <a:pt x="36" y="174"/>
                    <a:pt x="36" y="174"/>
                    <a:pt x="36" y="174"/>
                  </a:cubicBezTo>
                  <a:cubicBezTo>
                    <a:pt x="37" y="175"/>
                    <a:pt x="37" y="175"/>
                    <a:pt x="38" y="175"/>
                  </a:cubicBezTo>
                  <a:cubicBezTo>
                    <a:pt x="39" y="175"/>
                    <a:pt x="40" y="176"/>
                    <a:pt x="40" y="176"/>
                  </a:cubicBezTo>
                  <a:cubicBezTo>
                    <a:pt x="41" y="177"/>
                    <a:pt x="41" y="178"/>
                    <a:pt x="41" y="179"/>
                  </a:cubicBezTo>
                  <a:cubicBezTo>
                    <a:pt x="41" y="179"/>
                    <a:pt x="42" y="180"/>
                    <a:pt x="42" y="180"/>
                  </a:cubicBezTo>
                  <a:cubicBezTo>
                    <a:pt x="43" y="181"/>
                    <a:pt x="44" y="182"/>
                    <a:pt x="44" y="182"/>
                  </a:cubicBezTo>
                  <a:cubicBezTo>
                    <a:pt x="47" y="181"/>
                    <a:pt x="47" y="181"/>
                    <a:pt x="47" y="181"/>
                  </a:cubicBezTo>
                  <a:cubicBezTo>
                    <a:pt x="48" y="181"/>
                    <a:pt x="48" y="181"/>
                    <a:pt x="48" y="181"/>
                  </a:cubicBezTo>
                  <a:cubicBezTo>
                    <a:pt x="49" y="182"/>
                    <a:pt x="50" y="183"/>
                    <a:pt x="51" y="184"/>
                  </a:cubicBezTo>
                  <a:cubicBezTo>
                    <a:pt x="51" y="184"/>
                    <a:pt x="51" y="184"/>
                    <a:pt x="51" y="184"/>
                  </a:cubicBezTo>
                  <a:cubicBezTo>
                    <a:pt x="51" y="184"/>
                    <a:pt x="52" y="184"/>
                    <a:pt x="52" y="184"/>
                  </a:cubicBezTo>
                  <a:cubicBezTo>
                    <a:pt x="52" y="183"/>
                    <a:pt x="52" y="183"/>
                    <a:pt x="52" y="183"/>
                  </a:cubicBezTo>
                  <a:cubicBezTo>
                    <a:pt x="56" y="185"/>
                    <a:pt x="56" y="185"/>
                    <a:pt x="56" y="185"/>
                  </a:cubicBezTo>
                  <a:cubicBezTo>
                    <a:pt x="57" y="186"/>
                    <a:pt x="57" y="186"/>
                    <a:pt x="57" y="186"/>
                  </a:cubicBezTo>
                  <a:cubicBezTo>
                    <a:pt x="58" y="185"/>
                    <a:pt x="59" y="185"/>
                    <a:pt x="59" y="185"/>
                  </a:cubicBezTo>
                  <a:cubicBezTo>
                    <a:pt x="60" y="185"/>
                    <a:pt x="60" y="185"/>
                    <a:pt x="60" y="185"/>
                  </a:cubicBezTo>
                  <a:cubicBezTo>
                    <a:pt x="61" y="185"/>
                    <a:pt x="61" y="185"/>
                    <a:pt x="61" y="185"/>
                  </a:cubicBezTo>
                  <a:cubicBezTo>
                    <a:pt x="61" y="185"/>
                    <a:pt x="62" y="186"/>
                    <a:pt x="62" y="188"/>
                  </a:cubicBezTo>
                  <a:cubicBezTo>
                    <a:pt x="63" y="188"/>
                    <a:pt x="63" y="188"/>
                    <a:pt x="63" y="188"/>
                  </a:cubicBezTo>
                  <a:cubicBezTo>
                    <a:pt x="68" y="186"/>
                    <a:pt x="68" y="186"/>
                    <a:pt x="68" y="186"/>
                  </a:cubicBezTo>
                  <a:cubicBezTo>
                    <a:pt x="69" y="186"/>
                    <a:pt x="69" y="186"/>
                    <a:pt x="69" y="186"/>
                  </a:cubicBezTo>
                  <a:cubicBezTo>
                    <a:pt x="70" y="186"/>
                    <a:pt x="71" y="186"/>
                    <a:pt x="72" y="187"/>
                  </a:cubicBezTo>
                  <a:cubicBezTo>
                    <a:pt x="73" y="188"/>
                    <a:pt x="73" y="190"/>
                    <a:pt x="73" y="192"/>
                  </a:cubicBezTo>
                  <a:cubicBezTo>
                    <a:pt x="73" y="194"/>
                    <a:pt x="72" y="196"/>
                    <a:pt x="71" y="197"/>
                  </a:cubicBezTo>
                  <a:cubicBezTo>
                    <a:pt x="70" y="197"/>
                    <a:pt x="70" y="197"/>
                    <a:pt x="70" y="197"/>
                  </a:cubicBezTo>
                  <a:cubicBezTo>
                    <a:pt x="72" y="198"/>
                    <a:pt x="73" y="199"/>
                    <a:pt x="73" y="201"/>
                  </a:cubicBezTo>
                  <a:cubicBezTo>
                    <a:pt x="75" y="201"/>
                    <a:pt x="75" y="201"/>
                    <a:pt x="75" y="201"/>
                  </a:cubicBezTo>
                  <a:cubicBezTo>
                    <a:pt x="76" y="202"/>
                    <a:pt x="77" y="203"/>
                    <a:pt x="77" y="203"/>
                  </a:cubicBezTo>
                  <a:cubicBezTo>
                    <a:pt x="79" y="204"/>
                    <a:pt x="80" y="206"/>
                    <a:pt x="80" y="207"/>
                  </a:cubicBezTo>
                  <a:cubicBezTo>
                    <a:pt x="80" y="209"/>
                    <a:pt x="80" y="209"/>
                    <a:pt x="80" y="209"/>
                  </a:cubicBezTo>
                  <a:cubicBezTo>
                    <a:pt x="81" y="208"/>
                    <a:pt x="81" y="208"/>
                    <a:pt x="82" y="208"/>
                  </a:cubicBezTo>
                  <a:cubicBezTo>
                    <a:pt x="83" y="204"/>
                    <a:pt x="83" y="204"/>
                    <a:pt x="83" y="204"/>
                  </a:cubicBezTo>
                  <a:cubicBezTo>
                    <a:pt x="87" y="202"/>
                    <a:pt x="87" y="202"/>
                    <a:pt x="87" y="202"/>
                  </a:cubicBezTo>
                  <a:cubicBezTo>
                    <a:pt x="84" y="196"/>
                    <a:pt x="84" y="196"/>
                    <a:pt x="84" y="196"/>
                  </a:cubicBezTo>
                  <a:cubicBezTo>
                    <a:pt x="84" y="195"/>
                    <a:pt x="84" y="195"/>
                    <a:pt x="84" y="195"/>
                  </a:cubicBezTo>
                  <a:cubicBezTo>
                    <a:pt x="85" y="194"/>
                    <a:pt x="86" y="194"/>
                    <a:pt x="87" y="194"/>
                  </a:cubicBezTo>
                  <a:cubicBezTo>
                    <a:pt x="87" y="194"/>
                    <a:pt x="88" y="194"/>
                    <a:pt x="89" y="194"/>
                  </a:cubicBezTo>
                  <a:cubicBezTo>
                    <a:pt x="89" y="194"/>
                    <a:pt x="90" y="194"/>
                    <a:pt x="90" y="194"/>
                  </a:cubicBezTo>
                  <a:cubicBezTo>
                    <a:pt x="90" y="194"/>
                    <a:pt x="90" y="194"/>
                    <a:pt x="90" y="194"/>
                  </a:cubicBezTo>
                  <a:cubicBezTo>
                    <a:pt x="92" y="194"/>
                    <a:pt x="94" y="194"/>
                    <a:pt x="94" y="194"/>
                  </a:cubicBezTo>
                  <a:cubicBezTo>
                    <a:pt x="95" y="194"/>
                    <a:pt x="95" y="194"/>
                    <a:pt x="95" y="194"/>
                  </a:cubicBezTo>
                  <a:cubicBezTo>
                    <a:pt x="103" y="198"/>
                    <a:pt x="103" y="198"/>
                    <a:pt x="103" y="198"/>
                  </a:cubicBezTo>
                  <a:cubicBezTo>
                    <a:pt x="103" y="198"/>
                    <a:pt x="103" y="198"/>
                    <a:pt x="103" y="198"/>
                  </a:cubicBezTo>
                  <a:cubicBezTo>
                    <a:pt x="104" y="198"/>
                    <a:pt x="105" y="198"/>
                    <a:pt x="106" y="197"/>
                  </a:cubicBezTo>
                  <a:cubicBezTo>
                    <a:pt x="106" y="196"/>
                    <a:pt x="106" y="196"/>
                    <a:pt x="106" y="196"/>
                  </a:cubicBezTo>
                  <a:cubicBezTo>
                    <a:pt x="107" y="195"/>
                    <a:pt x="107" y="195"/>
                    <a:pt x="107" y="195"/>
                  </a:cubicBezTo>
                  <a:cubicBezTo>
                    <a:pt x="108" y="195"/>
                    <a:pt x="108" y="195"/>
                    <a:pt x="108" y="195"/>
                  </a:cubicBezTo>
                  <a:cubicBezTo>
                    <a:pt x="108" y="195"/>
                    <a:pt x="108" y="195"/>
                    <a:pt x="108" y="195"/>
                  </a:cubicBezTo>
                  <a:cubicBezTo>
                    <a:pt x="110" y="195"/>
                    <a:pt x="111" y="197"/>
                    <a:pt x="112" y="199"/>
                  </a:cubicBezTo>
                  <a:cubicBezTo>
                    <a:pt x="113" y="200"/>
                    <a:pt x="113" y="201"/>
                    <a:pt x="113" y="202"/>
                  </a:cubicBezTo>
                  <a:cubicBezTo>
                    <a:pt x="113" y="203"/>
                    <a:pt x="112" y="204"/>
                    <a:pt x="111" y="204"/>
                  </a:cubicBezTo>
                  <a:cubicBezTo>
                    <a:pt x="111" y="204"/>
                    <a:pt x="111" y="204"/>
                    <a:pt x="110" y="205"/>
                  </a:cubicBezTo>
                  <a:cubicBezTo>
                    <a:pt x="112" y="205"/>
                    <a:pt x="112" y="206"/>
                    <a:pt x="112" y="207"/>
                  </a:cubicBezTo>
                  <a:cubicBezTo>
                    <a:pt x="112" y="207"/>
                    <a:pt x="113" y="207"/>
                    <a:pt x="113" y="208"/>
                  </a:cubicBezTo>
                  <a:cubicBezTo>
                    <a:pt x="113" y="208"/>
                    <a:pt x="114" y="208"/>
                    <a:pt x="116" y="209"/>
                  </a:cubicBezTo>
                  <a:cubicBezTo>
                    <a:pt x="117" y="209"/>
                    <a:pt x="117" y="209"/>
                    <a:pt x="117" y="209"/>
                  </a:cubicBezTo>
                  <a:cubicBezTo>
                    <a:pt x="119" y="206"/>
                    <a:pt x="119" y="206"/>
                    <a:pt x="119" y="206"/>
                  </a:cubicBezTo>
                  <a:cubicBezTo>
                    <a:pt x="120" y="206"/>
                    <a:pt x="120" y="206"/>
                    <a:pt x="120" y="206"/>
                  </a:cubicBezTo>
                  <a:cubicBezTo>
                    <a:pt x="121" y="206"/>
                    <a:pt x="124" y="208"/>
                    <a:pt x="125" y="209"/>
                  </a:cubicBezTo>
                  <a:cubicBezTo>
                    <a:pt x="125" y="209"/>
                    <a:pt x="127" y="210"/>
                    <a:pt x="129" y="210"/>
                  </a:cubicBezTo>
                  <a:cubicBezTo>
                    <a:pt x="136" y="208"/>
                    <a:pt x="136" y="208"/>
                    <a:pt x="136" y="208"/>
                  </a:cubicBezTo>
                  <a:cubicBezTo>
                    <a:pt x="138" y="216"/>
                    <a:pt x="138" y="216"/>
                    <a:pt x="138" y="216"/>
                  </a:cubicBezTo>
                  <a:cubicBezTo>
                    <a:pt x="139" y="216"/>
                    <a:pt x="140" y="217"/>
                    <a:pt x="141" y="219"/>
                  </a:cubicBezTo>
                  <a:cubicBezTo>
                    <a:pt x="141" y="219"/>
                    <a:pt x="141" y="219"/>
                    <a:pt x="141" y="219"/>
                  </a:cubicBezTo>
                  <a:cubicBezTo>
                    <a:pt x="142" y="219"/>
                    <a:pt x="145" y="220"/>
                    <a:pt x="145" y="222"/>
                  </a:cubicBezTo>
                  <a:cubicBezTo>
                    <a:pt x="145" y="223"/>
                    <a:pt x="145" y="223"/>
                    <a:pt x="146" y="224"/>
                  </a:cubicBezTo>
                  <a:cubicBezTo>
                    <a:pt x="146" y="224"/>
                    <a:pt x="146" y="224"/>
                    <a:pt x="146" y="224"/>
                  </a:cubicBezTo>
                  <a:cubicBezTo>
                    <a:pt x="148" y="229"/>
                    <a:pt x="148" y="229"/>
                    <a:pt x="148" y="229"/>
                  </a:cubicBezTo>
                  <a:cubicBezTo>
                    <a:pt x="147" y="230"/>
                    <a:pt x="147" y="230"/>
                    <a:pt x="147" y="230"/>
                  </a:cubicBezTo>
                  <a:cubicBezTo>
                    <a:pt x="147" y="230"/>
                    <a:pt x="147" y="230"/>
                    <a:pt x="147" y="231"/>
                  </a:cubicBezTo>
                  <a:cubicBezTo>
                    <a:pt x="147" y="231"/>
                    <a:pt x="148" y="233"/>
                    <a:pt x="148" y="233"/>
                  </a:cubicBezTo>
                  <a:cubicBezTo>
                    <a:pt x="148" y="233"/>
                    <a:pt x="150" y="233"/>
                    <a:pt x="151" y="232"/>
                  </a:cubicBezTo>
                  <a:cubicBezTo>
                    <a:pt x="151" y="231"/>
                    <a:pt x="153" y="230"/>
                    <a:pt x="153" y="230"/>
                  </a:cubicBezTo>
                  <a:cubicBezTo>
                    <a:pt x="153" y="230"/>
                    <a:pt x="155" y="232"/>
                    <a:pt x="155" y="231"/>
                  </a:cubicBezTo>
                  <a:cubicBezTo>
                    <a:pt x="155" y="230"/>
                    <a:pt x="155" y="227"/>
                    <a:pt x="155" y="227"/>
                  </a:cubicBezTo>
                  <a:cubicBezTo>
                    <a:pt x="157" y="225"/>
                    <a:pt x="157" y="225"/>
                    <a:pt x="157" y="225"/>
                  </a:cubicBezTo>
                  <a:cubicBezTo>
                    <a:pt x="157" y="225"/>
                    <a:pt x="158" y="225"/>
                    <a:pt x="158" y="224"/>
                  </a:cubicBezTo>
                  <a:cubicBezTo>
                    <a:pt x="158" y="223"/>
                    <a:pt x="159" y="221"/>
                    <a:pt x="159" y="221"/>
                  </a:cubicBezTo>
                  <a:cubicBezTo>
                    <a:pt x="162" y="222"/>
                    <a:pt x="162" y="222"/>
                    <a:pt x="162" y="222"/>
                  </a:cubicBezTo>
                  <a:cubicBezTo>
                    <a:pt x="164" y="226"/>
                    <a:pt x="164" y="226"/>
                    <a:pt x="164" y="226"/>
                  </a:cubicBezTo>
                  <a:cubicBezTo>
                    <a:pt x="166" y="228"/>
                    <a:pt x="166" y="228"/>
                    <a:pt x="166" y="228"/>
                  </a:cubicBezTo>
                  <a:cubicBezTo>
                    <a:pt x="167" y="229"/>
                    <a:pt x="167" y="229"/>
                    <a:pt x="167" y="229"/>
                  </a:cubicBezTo>
                  <a:cubicBezTo>
                    <a:pt x="169" y="230"/>
                    <a:pt x="169" y="230"/>
                    <a:pt x="169" y="230"/>
                  </a:cubicBezTo>
                  <a:cubicBezTo>
                    <a:pt x="171" y="229"/>
                    <a:pt x="171" y="229"/>
                    <a:pt x="171" y="229"/>
                  </a:cubicBezTo>
                  <a:cubicBezTo>
                    <a:pt x="171" y="231"/>
                    <a:pt x="171" y="231"/>
                    <a:pt x="171" y="231"/>
                  </a:cubicBezTo>
                  <a:cubicBezTo>
                    <a:pt x="172" y="232"/>
                    <a:pt x="172" y="232"/>
                    <a:pt x="172" y="232"/>
                  </a:cubicBezTo>
                  <a:cubicBezTo>
                    <a:pt x="173" y="235"/>
                    <a:pt x="173" y="235"/>
                    <a:pt x="173" y="235"/>
                  </a:cubicBezTo>
                  <a:cubicBezTo>
                    <a:pt x="172" y="236"/>
                    <a:pt x="172" y="236"/>
                    <a:pt x="172" y="236"/>
                  </a:cubicBezTo>
                  <a:cubicBezTo>
                    <a:pt x="171" y="237"/>
                    <a:pt x="171" y="237"/>
                    <a:pt x="171" y="237"/>
                  </a:cubicBezTo>
                  <a:cubicBezTo>
                    <a:pt x="172" y="237"/>
                    <a:pt x="172" y="237"/>
                    <a:pt x="172" y="237"/>
                  </a:cubicBezTo>
                  <a:cubicBezTo>
                    <a:pt x="172" y="237"/>
                    <a:pt x="173" y="237"/>
                    <a:pt x="173" y="237"/>
                  </a:cubicBezTo>
                  <a:cubicBezTo>
                    <a:pt x="174" y="237"/>
                    <a:pt x="175" y="237"/>
                    <a:pt x="175" y="237"/>
                  </a:cubicBezTo>
                  <a:cubicBezTo>
                    <a:pt x="175" y="236"/>
                    <a:pt x="176" y="236"/>
                    <a:pt x="176" y="236"/>
                  </a:cubicBezTo>
                  <a:cubicBezTo>
                    <a:pt x="176" y="236"/>
                    <a:pt x="177" y="235"/>
                    <a:pt x="177" y="235"/>
                  </a:cubicBezTo>
                  <a:cubicBezTo>
                    <a:pt x="177" y="235"/>
                    <a:pt x="178" y="235"/>
                    <a:pt x="178" y="235"/>
                  </a:cubicBezTo>
                  <a:cubicBezTo>
                    <a:pt x="178" y="236"/>
                    <a:pt x="179" y="237"/>
                    <a:pt x="179" y="237"/>
                  </a:cubicBezTo>
                  <a:cubicBezTo>
                    <a:pt x="179" y="237"/>
                    <a:pt x="179" y="236"/>
                    <a:pt x="180" y="237"/>
                  </a:cubicBezTo>
                  <a:cubicBezTo>
                    <a:pt x="180" y="237"/>
                    <a:pt x="180" y="237"/>
                    <a:pt x="180" y="237"/>
                  </a:cubicBezTo>
                  <a:cubicBezTo>
                    <a:pt x="180" y="237"/>
                    <a:pt x="181" y="237"/>
                    <a:pt x="181" y="236"/>
                  </a:cubicBezTo>
                  <a:cubicBezTo>
                    <a:pt x="180" y="235"/>
                    <a:pt x="180" y="234"/>
                    <a:pt x="180" y="234"/>
                  </a:cubicBezTo>
                  <a:cubicBezTo>
                    <a:pt x="180" y="234"/>
                    <a:pt x="180" y="233"/>
                    <a:pt x="181" y="233"/>
                  </a:cubicBezTo>
                  <a:cubicBezTo>
                    <a:pt x="181" y="232"/>
                    <a:pt x="181" y="232"/>
                    <a:pt x="181" y="231"/>
                  </a:cubicBezTo>
                  <a:cubicBezTo>
                    <a:pt x="181" y="231"/>
                    <a:pt x="181" y="231"/>
                    <a:pt x="181" y="231"/>
                  </a:cubicBezTo>
                  <a:cubicBezTo>
                    <a:pt x="182" y="231"/>
                    <a:pt x="183" y="230"/>
                    <a:pt x="183" y="230"/>
                  </a:cubicBezTo>
                  <a:cubicBezTo>
                    <a:pt x="183" y="230"/>
                    <a:pt x="183" y="230"/>
                    <a:pt x="183" y="229"/>
                  </a:cubicBezTo>
                  <a:cubicBezTo>
                    <a:pt x="183" y="229"/>
                    <a:pt x="184" y="229"/>
                    <a:pt x="184" y="229"/>
                  </a:cubicBezTo>
                  <a:cubicBezTo>
                    <a:pt x="185" y="229"/>
                    <a:pt x="184" y="229"/>
                    <a:pt x="185" y="229"/>
                  </a:cubicBezTo>
                  <a:cubicBezTo>
                    <a:pt x="186" y="228"/>
                    <a:pt x="186" y="228"/>
                    <a:pt x="185" y="228"/>
                  </a:cubicBezTo>
                  <a:cubicBezTo>
                    <a:pt x="185" y="227"/>
                    <a:pt x="185" y="227"/>
                    <a:pt x="185" y="227"/>
                  </a:cubicBezTo>
                  <a:cubicBezTo>
                    <a:pt x="186" y="227"/>
                    <a:pt x="185" y="227"/>
                    <a:pt x="187" y="227"/>
                  </a:cubicBezTo>
                  <a:cubicBezTo>
                    <a:pt x="188" y="227"/>
                    <a:pt x="189" y="227"/>
                    <a:pt x="189" y="226"/>
                  </a:cubicBezTo>
                  <a:cubicBezTo>
                    <a:pt x="189" y="226"/>
                    <a:pt x="189" y="225"/>
                    <a:pt x="189" y="225"/>
                  </a:cubicBezTo>
                  <a:cubicBezTo>
                    <a:pt x="190" y="225"/>
                    <a:pt x="190" y="225"/>
                    <a:pt x="190" y="225"/>
                  </a:cubicBezTo>
                  <a:cubicBezTo>
                    <a:pt x="190" y="225"/>
                    <a:pt x="190" y="225"/>
                    <a:pt x="190" y="225"/>
                  </a:cubicBezTo>
                  <a:cubicBezTo>
                    <a:pt x="190" y="225"/>
                    <a:pt x="191" y="226"/>
                    <a:pt x="191" y="226"/>
                  </a:cubicBezTo>
                  <a:cubicBezTo>
                    <a:pt x="192" y="226"/>
                    <a:pt x="192" y="226"/>
                    <a:pt x="192" y="226"/>
                  </a:cubicBezTo>
                  <a:cubicBezTo>
                    <a:pt x="193" y="226"/>
                    <a:pt x="193" y="225"/>
                    <a:pt x="193" y="225"/>
                  </a:cubicBezTo>
                  <a:cubicBezTo>
                    <a:pt x="193" y="225"/>
                    <a:pt x="193" y="225"/>
                    <a:pt x="193" y="225"/>
                  </a:cubicBezTo>
                  <a:cubicBezTo>
                    <a:pt x="193" y="225"/>
                    <a:pt x="193" y="224"/>
                    <a:pt x="194" y="224"/>
                  </a:cubicBezTo>
                  <a:cubicBezTo>
                    <a:pt x="195" y="224"/>
                    <a:pt x="194" y="225"/>
                    <a:pt x="195" y="224"/>
                  </a:cubicBezTo>
                  <a:cubicBezTo>
                    <a:pt x="195" y="224"/>
                    <a:pt x="196" y="223"/>
                    <a:pt x="196" y="223"/>
                  </a:cubicBezTo>
                  <a:cubicBezTo>
                    <a:pt x="196" y="223"/>
                    <a:pt x="196" y="224"/>
                    <a:pt x="197" y="224"/>
                  </a:cubicBezTo>
                  <a:cubicBezTo>
                    <a:pt x="198" y="225"/>
                    <a:pt x="198" y="225"/>
                    <a:pt x="199" y="226"/>
                  </a:cubicBezTo>
                  <a:cubicBezTo>
                    <a:pt x="199" y="226"/>
                    <a:pt x="199" y="226"/>
                    <a:pt x="199" y="226"/>
                  </a:cubicBezTo>
                  <a:cubicBezTo>
                    <a:pt x="199" y="226"/>
                    <a:pt x="200" y="227"/>
                    <a:pt x="200" y="227"/>
                  </a:cubicBezTo>
                  <a:cubicBezTo>
                    <a:pt x="201" y="227"/>
                    <a:pt x="201" y="227"/>
                    <a:pt x="201" y="227"/>
                  </a:cubicBezTo>
                  <a:cubicBezTo>
                    <a:pt x="202" y="227"/>
                    <a:pt x="202" y="227"/>
                    <a:pt x="202" y="227"/>
                  </a:cubicBezTo>
                  <a:cubicBezTo>
                    <a:pt x="202" y="227"/>
                    <a:pt x="201" y="227"/>
                    <a:pt x="202" y="227"/>
                  </a:cubicBezTo>
                  <a:cubicBezTo>
                    <a:pt x="203" y="228"/>
                    <a:pt x="204" y="228"/>
                    <a:pt x="204" y="228"/>
                  </a:cubicBezTo>
                  <a:cubicBezTo>
                    <a:pt x="204" y="228"/>
                    <a:pt x="204" y="227"/>
                    <a:pt x="204" y="226"/>
                  </a:cubicBezTo>
                  <a:cubicBezTo>
                    <a:pt x="205" y="226"/>
                    <a:pt x="205" y="225"/>
                    <a:pt x="205" y="225"/>
                  </a:cubicBezTo>
                  <a:cubicBezTo>
                    <a:pt x="206" y="225"/>
                    <a:pt x="208" y="224"/>
                    <a:pt x="208" y="224"/>
                  </a:cubicBezTo>
                  <a:cubicBezTo>
                    <a:pt x="208" y="224"/>
                    <a:pt x="207" y="223"/>
                    <a:pt x="206" y="222"/>
                  </a:cubicBezTo>
                  <a:cubicBezTo>
                    <a:pt x="206" y="222"/>
                    <a:pt x="205" y="221"/>
                    <a:pt x="207" y="221"/>
                  </a:cubicBezTo>
                  <a:cubicBezTo>
                    <a:pt x="208" y="221"/>
                    <a:pt x="209" y="221"/>
                    <a:pt x="209" y="221"/>
                  </a:cubicBezTo>
                  <a:cubicBezTo>
                    <a:pt x="210" y="222"/>
                    <a:pt x="210" y="222"/>
                    <a:pt x="210" y="222"/>
                  </a:cubicBezTo>
                  <a:cubicBezTo>
                    <a:pt x="210" y="221"/>
                    <a:pt x="210" y="221"/>
                    <a:pt x="210" y="221"/>
                  </a:cubicBezTo>
                  <a:cubicBezTo>
                    <a:pt x="211" y="220"/>
                    <a:pt x="211" y="220"/>
                    <a:pt x="211" y="220"/>
                  </a:cubicBezTo>
                  <a:cubicBezTo>
                    <a:pt x="211" y="220"/>
                    <a:pt x="211" y="219"/>
                    <a:pt x="212" y="219"/>
                  </a:cubicBezTo>
                  <a:cubicBezTo>
                    <a:pt x="212" y="219"/>
                    <a:pt x="213" y="219"/>
                    <a:pt x="213" y="219"/>
                  </a:cubicBezTo>
                  <a:cubicBezTo>
                    <a:pt x="213" y="219"/>
                    <a:pt x="214" y="220"/>
                    <a:pt x="214" y="220"/>
                  </a:cubicBezTo>
                  <a:cubicBezTo>
                    <a:pt x="214" y="220"/>
                    <a:pt x="215" y="220"/>
                    <a:pt x="215" y="220"/>
                  </a:cubicBezTo>
                  <a:cubicBezTo>
                    <a:pt x="215" y="220"/>
                    <a:pt x="216" y="220"/>
                    <a:pt x="216" y="220"/>
                  </a:cubicBezTo>
                  <a:cubicBezTo>
                    <a:pt x="216" y="220"/>
                    <a:pt x="218" y="220"/>
                    <a:pt x="218" y="220"/>
                  </a:cubicBezTo>
                  <a:cubicBezTo>
                    <a:pt x="218" y="220"/>
                    <a:pt x="218" y="219"/>
                    <a:pt x="218" y="219"/>
                  </a:cubicBezTo>
                  <a:cubicBezTo>
                    <a:pt x="218" y="219"/>
                    <a:pt x="221" y="219"/>
                    <a:pt x="221" y="219"/>
                  </a:cubicBezTo>
                  <a:cubicBezTo>
                    <a:pt x="221" y="219"/>
                    <a:pt x="222" y="219"/>
                    <a:pt x="222" y="219"/>
                  </a:cubicBezTo>
                  <a:cubicBezTo>
                    <a:pt x="223" y="219"/>
                    <a:pt x="224" y="219"/>
                    <a:pt x="224" y="219"/>
                  </a:cubicBezTo>
                  <a:cubicBezTo>
                    <a:pt x="224" y="219"/>
                    <a:pt x="225" y="220"/>
                    <a:pt x="225" y="220"/>
                  </a:cubicBezTo>
                  <a:cubicBezTo>
                    <a:pt x="226" y="220"/>
                    <a:pt x="227" y="220"/>
                    <a:pt x="227" y="220"/>
                  </a:cubicBezTo>
                  <a:cubicBezTo>
                    <a:pt x="227" y="220"/>
                    <a:pt x="227" y="219"/>
                    <a:pt x="227" y="219"/>
                  </a:cubicBezTo>
                  <a:cubicBezTo>
                    <a:pt x="228" y="219"/>
                    <a:pt x="228" y="219"/>
                    <a:pt x="228" y="219"/>
                  </a:cubicBezTo>
                  <a:cubicBezTo>
                    <a:pt x="230" y="220"/>
                    <a:pt x="230" y="220"/>
                    <a:pt x="230" y="220"/>
                  </a:cubicBezTo>
                  <a:cubicBezTo>
                    <a:pt x="230" y="220"/>
                    <a:pt x="231" y="220"/>
                    <a:pt x="231" y="220"/>
                  </a:cubicBezTo>
                  <a:cubicBezTo>
                    <a:pt x="231" y="220"/>
                    <a:pt x="232" y="220"/>
                    <a:pt x="232" y="220"/>
                  </a:cubicBezTo>
                  <a:cubicBezTo>
                    <a:pt x="232" y="220"/>
                    <a:pt x="232" y="221"/>
                    <a:pt x="232" y="221"/>
                  </a:cubicBezTo>
                  <a:cubicBezTo>
                    <a:pt x="233" y="222"/>
                    <a:pt x="233" y="222"/>
                    <a:pt x="233" y="223"/>
                  </a:cubicBezTo>
                  <a:cubicBezTo>
                    <a:pt x="234" y="223"/>
                    <a:pt x="234" y="223"/>
                    <a:pt x="234" y="223"/>
                  </a:cubicBezTo>
                  <a:cubicBezTo>
                    <a:pt x="234" y="224"/>
                    <a:pt x="234" y="224"/>
                    <a:pt x="234" y="225"/>
                  </a:cubicBezTo>
                  <a:cubicBezTo>
                    <a:pt x="234" y="225"/>
                    <a:pt x="234" y="225"/>
                    <a:pt x="235" y="225"/>
                  </a:cubicBezTo>
                  <a:cubicBezTo>
                    <a:pt x="235" y="226"/>
                    <a:pt x="237" y="226"/>
                    <a:pt x="237" y="226"/>
                  </a:cubicBezTo>
                  <a:cubicBezTo>
                    <a:pt x="237" y="226"/>
                    <a:pt x="238" y="226"/>
                    <a:pt x="238" y="226"/>
                  </a:cubicBezTo>
                  <a:cubicBezTo>
                    <a:pt x="239" y="226"/>
                    <a:pt x="240" y="226"/>
                    <a:pt x="240" y="226"/>
                  </a:cubicBezTo>
                  <a:cubicBezTo>
                    <a:pt x="240" y="226"/>
                    <a:pt x="241" y="226"/>
                    <a:pt x="241" y="226"/>
                  </a:cubicBezTo>
                  <a:cubicBezTo>
                    <a:pt x="241" y="226"/>
                    <a:pt x="241" y="227"/>
                    <a:pt x="241" y="227"/>
                  </a:cubicBezTo>
                  <a:cubicBezTo>
                    <a:pt x="243" y="227"/>
                    <a:pt x="243" y="227"/>
                    <a:pt x="243" y="227"/>
                  </a:cubicBezTo>
                  <a:cubicBezTo>
                    <a:pt x="243" y="227"/>
                    <a:pt x="243" y="227"/>
                    <a:pt x="243" y="227"/>
                  </a:cubicBezTo>
                  <a:cubicBezTo>
                    <a:pt x="243" y="227"/>
                    <a:pt x="244" y="227"/>
                    <a:pt x="244" y="227"/>
                  </a:cubicBezTo>
                  <a:cubicBezTo>
                    <a:pt x="244" y="227"/>
                    <a:pt x="245" y="227"/>
                    <a:pt x="245" y="227"/>
                  </a:cubicBezTo>
                  <a:cubicBezTo>
                    <a:pt x="245" y="228"/>
                    <a:pt x="246" y="228"/>
                    <a:pt x="246" y="228"/>
                  </a:cubicBezTo>
                  <a:cubicBezTo>
                    <a:pt x="246" y="228"/>
                    <a:pt x="247" y="228"/>
                    <a:pt x="248" y="228"/>
                  </a:cubicBezTo>
                  <a:cubicBezTo>
                    <a:pt x="248" y="228"/>
                    <a:pt x="250" y="228"/>
                    <a:pt x="250" y="228"/>
                  </a:cubicBezTo>
                  <a:cubicBezTo>
                    <a:pt x="250" y="228"/>
                    <a:pt x="251" y="229"/>
                    <a:pt x="251" y="229"/>
                  </a:cubicBezTo>
                  <a:cubicBezTo>
                    <a:pt x="251" y="229"/>
                    <a:pt x="251" y="230"/>
                    <a:pt x="251" y="230"/>
                  </a:cubicBezTo>
                  <a:cubicBezTo>
                    <a:pt x="251" y="230"/>
                    <a:pt x="251" y="230"/>
                    <a:pt x="252" y="230"/>
                  </a:cubicBezTo>
                  <a:cubicBezTo>
                    <a:pt x="252" y="230"/>
                    <a:pt x="252" y="229"/>
                    <a:pt x="253" y="229"/>
                  </a:cubicBezTo>
                  <a:cubicBezTo>
                    <a:pt x="254" y="229"/>
                    <a:pt x="256" y="230"/>
                    <a:pt x="257" y="230"/>
                  </a:cubicBezTo>
                  <a:cubicBezTo>
                    <a:pt x="258" y="231"/>
                    <a:pt x="258" y="230"/>
                    <a:pt x="259" y="230"/>
                  </a:cubicBezTo>
                  <a:cubicBezTo>
                    <a:pt x="260" y="230"/>
                    <a:pt x="260" y="229"/>
                    <a:pt x="260" y="229"/>
                  </a:cubicBezTo>
                  <a:cubicBezTo>
                    <a:pt x="260" y="229"/>
                    <a:pt x="260" y="228"/>
                    <a:pt x="260" y="227"/>
                  </a:cubicBezTo>
                  <a:cubicBezTo>
                    <a:pt x="260" y="227"/>
                    <a:pt x="258" y="226"/>
                    <a:pt x="258" y="226"/>
                  </a:cubicBezTo>
                  <a:cubicBezTo>
                    <a:pt x="258" y="226"/>
                    <a:pt x="257" y="225"/>
                    <a:pt x="256" y="225"/>
                  </a:cubicBezTo>
                  <a:cubicBezTo>
                    <a:pt x="256" y="225"/>
                    <a:pt x="255" y="222"/>
                    <a:pt x="255" y="222"/>
                  </a:cubicBezTo>
                  <a:cubicBezTo>
                    <a:pt x="256" y="220"/>
                    <a:pt x="256" y="220"/>
                    <a:pt x="256" y="220"/>
                  </a:cubicBezTo>
                  <a:cubicBezTo>
                    <a:pt x="256" y="220"/>
                    <a:pt x="256" y="220"/>
                    <a:pt x="255" y="220"/>
                  </a:cubicBezTo>
                  <a:cubicBezTo>
                    <a:pt x="254" y="219"/>
                    <a:pt x="254" y="217"/>
                    <a:pt x="254" y="217"/>
                  </a:cubicBezTo>
                  <a:cubicBezTo>
                    <a:pt x="254" y="214"/>
                    <a:pt x="254" y="214"/>
                    <a:pt x="254" y="214"/>
                  </a:cubicBezTo>
                  <a:cubicBezTo>
                    <a:pt x="251" y="210"/>
                    <a:pt x="251" y="210"/>
                    <a:pt x="251" y="210"/>
                  </a:cubicBezTo>
                  <a:cubicBezTo>
                    <a:pt x="251" y="210"/>
                    <a:pt x="251" y="207"/>
                    <a:pt x="251" y="207"/>
                  </a:cubicBezTo>
                  <a:cubicBezTo>
                    <a:pt x="252" y="206"/>
                    <a:pt x="255" y="199"/>
                    <a:pt x="255" y="199"/>
                  </a:cubicBezTo>
                  <a:cubicBezTo>
                    <a:pt x="263" y="189"/>
                    <a:pt x="263" y="189"/>
                    <a:pt x="263" y="189"/>
                  </a:cubicBezTo>
                  <a:cubicBezTo>
                    <a:pt x="263" y="189"/>
                    <a:pt x="263" y="188"/>
                    <a:pt x="265" y="184"/>
                  </a:cubicBezTo>
                  <a:cubicBezTo>
                    <a:pt x="266" y="179"/>
                    <a:pt x="266" y="181"/>
                    <a:pt x="267" y="180"/>
                  </a:cubicBezTo>
                  <a:cubicBezTo>
                    <a:pt x="267" y="178"/>
                    <a:pt x="269" y="177"/>
                    <a:pt x="270" y="176"/>
                  </a:cubicBezTo>
                  <a:cubicBezTo>
                    <a:pt x="271" y="176"/>
                    <a:pt x="272" y="173"/>
                    <a:pt x="273" y="170"/>
                  </a:cubicBezTo>
                  <a:cubicBezTo>
                    <a:pt x="274" y="168"/>
                    <a:pt x="275" y="170"/>
                    <a:pt x="276" y="170"/>
                  </a:cubicBezTo>
                  <a:cubicBezTo>
                    <a:pt x="277" y="169"/>
                    <a:pt x="277" y="167"/>
                    <a:pt x="278" y="167"/>
                  </a:cubicBezTo>
                  <a:cubicBezTo>
                    <a:pt x="280" y="167"/>
                    <a:pt x="280" y="165"/>
                    <a:pt x="281" y="164"/>
                  </a:cubicBezTo>
                  <a:cubicBezTo>
                    <a:pt x="281" y="163"/>
                    <a:pt x="281" y="161"/>
                    <a:pt x="281" y="161"/>
                  </a:cubicBezTo>
                  <a:cubicBezTo>
                    <a:pt x="281" y="156"/>
                    <a:pt x="281" y="156"/>
                    <a:pt x="281" y="156"/>
                  </a:cubicBezTo>
                  <a:cubicBezTo>
                    <a:pt x="278" y="152"/>
                    <a:pt x="278" y="152"/>
                    <a:pt x="278" y="152"/>
                  </a:cubicBezTo>
                  <a:cubicBezTo>
                    <a:pt x="278" y="152"/>
                    <a:pt x="277" y="152"/>
                    <a:pt x="277" y="151"/>
                  </a:cubicBezTo>
                  <a:cubicBezTo>
                    <a:pt x="277" y="150"/>
                    <a:pt x="277" y="149"/>
                    <a:pt x="277" y="149"/>
                  </a:cubicBezTo>
                  <a:cubicBezTo>
                    <a:pt x="277" y="149"/>
                    <a:pt x="280" y="149"/>
                    <a:pt x="281" y="149"/>
                  </a:cubicBezTo>
                  <a:cubicBezTo>
                    <a:pt x="282" y="148"/>
                    <a:pt x="281" y="147"/>
                    <a:pt x="279" y="146"/>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31"/>
            <p:cNvSpPr>
              <a:spLocks/>
            </p:cNvSpPr>
            <p:nvPr/>
          </p:nvSpPr>
          <p:spPr bwMode="auto">
            <a:xfrm>
              <a:off x="5621564" y="4119891"/>
              <a:ext cx="538667" cy="281851"/>
            </a:xfrm>
            <a:custGeom>
              <a:avLst/>
              <a:gdLst>
                <a:gd name="T0" fmla="*/ 180 w 186"/>
                <a:gd name="T1" fmla="*/ 44 h 103"/>
                <a:gd name="T2" fmla="*/ 164 w 186"/>
                <a:gd name="T3" fmla="*/ 35 h 103"/>
                <a:gd name="T4" fmla="*/ 152 w 186"/>
                <a:gd name="T5" fmla="*/ 33 h 103"/>
                <a:gd name="T6" fmla="*/ 151 w 186"/>
                <a:gd name="T7" fmla="*/ 24 h 103"/>
                <a:gd name="T8" fmla="*/ 135 w 186"/>
                <a:gd name="T9" fmla="*/ 21 h 103"/>
                <a:gd name="T10" fmla="*/ 131 w 186"/>
                <a:gd name="T11" fmla="*/ 28 h 103"/>
                <a:gd name="T12" fmla="*/ 119 w 186"/>
                <a:gd name="T13" fmla="*/ 31 h 103"/>
                <a:gd name="T14" fmla="*/ 111 w 186"/>
                <a:gd name="T15" fmla="*/ 23 h 103"/>
                <a:gd name="T16" fmla="*/ 112 w 186"/>
                <a:gd name="T17" fmla="*/ 16 h 103"/>
                <a:gd name="T18" fmla="*/ 102 w 186"/>
                <a:gd name="T19" fmla="*/ 14 h 103"/>
                <a:gd name="T20" fmla="*/ 95 w 186"/>
                <a:gd name="T21" fmla="*/ 10 h 103"/>
                <a:gd name="T22" fmla="*/ 85 w 186"/>
                <a:gd name="T23" fmla="*/ 9 h 103"/>
                <a:gd name="T24" fmla="*/ 79 w 186"/>
                <a:gd name="T25" fmla="*/ 1 h 103"/>
                <a:gd name="T26" fmla="*/ 73 w 186"/>
                <a:gd name="T27" fmla="*/ 0 h 103"/>
                <a:gd name="T28" fmla="*/ 69 w 186"/>
                <a:gd name="T29" fmla="*/ 7 h 103"/>
                <a:gd name="T30" fmla="*/ 59 w 186"/>
                <a:gd name="T31" fmla="*/ 6 h 103"/>
                <a:gd name="T32" fmla="*/ 54 w 186"/>
                <a:gd name="T33" fmla="*/ 1 h 103"/>
                <a:gd name="T34" fmla="*/ 54 w 186"/>
                <a:gd name="T35" fmla="*/ 8 h 103"/>
                <a:gd name="T36" fmla="*/ 34 w 186"/>
                <a:gd name="T37" fmla="*/ 18 h 103"/>
                <a:gd name="T38" fmla="*/ 21 w 186"/>
                <a:gd name="T39" fmla="*/ 26 h 103"/>
                <a:gd name="T40" fmla="*/ 13 w 186"/>
                <a:gd name="T41" fmla="*/ 31 h 103"/>
                <a:gd name="T42" fmla="*/ 6 w 186"/>
                <a:gd name="T43" fmla="*/ 33 h 103"/>
                <a:gd name="T44" fmla="*/ 4 w 186"/>
                <a:gd name="T45" fmla="*/ 44 h 103"/>
                <a:gd name="T46" fmla="*/ 6 w 186"/>
                <a:gd name="T47" fmla="*/ 57 h 103"/>
                <a:gd name="T48" fmla="*/ 11 w 186"/>
                <a:gd name="T49" fmla="*/ 68 h 103"/>
                <a:gd name="T50" fmla="*/ 16 w 186"/>
                <a:gd name="T51" fmla="*/ 73 h 103"/>
                <a:gd name="T52" fmla="*/ 26 w 186"/>
                <a:gd name="T53" fmla="*/ 77 h 103"/>
                <a:gd name="T54" fmla="*/ 30 w 186"/>
                <a:gd name="T55" fmla="*/ 82 h 103"/>
                <a:gd name="T56" fmla="*/ 34 w 186"/>
                <a:gd name="T57" fmla="*/ 88 h 103"/>
                <a:gd name="T58" fmla="*/ 40 w 186"/>
                <a:gd name="T59" fmla="*/ 89 h 103"/>
                <a:gd name="T60" fmla="*/ 45 w 186"/>
                <a:gd name="T61" fmla="*/ 94 h 103"/>
                <a:gd name="T62" fmla="*/ 51 w 186"/>
                <a:gd name="T63" fmla="*/ 98 h 103"/>
                <a:gd name="T64" fmla="*/ 57 w 186"/>
                <a:gd name="T65" fmla="*/ 102 h 103"/>
                <a:gd name="T66" fmla="*/ 68 w 186"/>
                <a:gd name="T67" fmla="*/ 102 h 103"/>
                <a:gd name="T68" fmla="*/ 71 w 186"/>
                <a:gd name="T69" fmla="*/ 97 h 103"/>
                <a:gd name="T70" fmla="*/ 76 w 186"/>
                <a:gd name="T71" fmla="*/ 92 h 103"/>
                <a:gd name="T72" fmla="*/ 79 w 186"/>
                <a:gd name="T73" fmla="*/ 82 h 103"/>
                <a:gd name="T74" fmla="*/ 89 w 186"/>
                <a:gd name="T75" fmla="*/ 84 h 103"/>
                <a:gd name="T76" fmla="*/ 100 w 186"/>
                <a:gd name="T77" fmla="*/ 86 h 103"/>
                <a:gd name="T78" fmla="*/ 118 w 186"/>
                <a:gd name="T79" fmla="*/ 91 h 103"/>
                <a:gd name="T80" fmla="*/ 126 w 186"/>
                <a:gd name="T81" fmla="*/ 89 h 103"/>
                <a:gd name="T82" fmla="*/ 135 w 186"/>
                <a:gd name="T83" fmla="*/ 89 h 103"/>
                <a:gd name="T84" fmla="*/ 139 w 186"/>
                <a:gd name="T85" fmla="*/ 91 h 103"/>
                <a:gd name="T86" fmla="*/ 142 w 186"/>
                <a:gd name="T87" fmla="*/ 86 h 103"/>
                <a:gd name="T88" fmla="*/ 148 w 186"/>
                <a:gd name="T89" fmla="*/ 88 h 103"/>
                <a:gd name="T90" fmla="*/ 152 w 186"/>
                <a:gd name="T91" fmla="*/ 88 h 103"/>
                <a:gd name="T92" fmla="*/ 158 w 186"/>
                <a:gd name="T93" fmla="*/ 84 h 103"/>
                <a:gd name="T94" fmla="*/ 162 w 186"/>
                <a:gd name="T95" fmla="*/ 78 h 103"/>
                <a:gd name="T96" fmla="*/ 167 w 186"/>
                <a:gd name="T97" fmla="*/ 66 h 103"/>
                <a:gd name="T98" fmla="*/ 174 w 186"/>
                <a:gd name="T99" fmla="*/ 58 h 103"/>
                <a:gd name="T100" fmla="*/ 181 w 186"/>
                <a:gd name="T101" fmla="*/ 5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6" h="103">
                  <a:moveTo>
                    <a:pt x="185" y="49"/>
                  </a:moveTo>
                  <a:cubicBezTo>
                    <a:pt x="185" y="49"/>
                    <a:pt x="184" y="48"/>
                    <a:pt x="184" y="47"/>
                  </a:cubicBezTo>
                  <a:cubicBezTo>
                    <a:pt x="183" y="46"/>
                    <a:pt x="181" y="44"/>
                    <a:pt x="181" y="44"/>
                  </a:cubicBezTo>
                  <a:cubicBezTo>
                    <a:pt x="181" y="44"/>
                    <a:pt x="181" y="46"/>
                    <a:pt x="180" y="44"/>
                  </a:cubicBezTo>
                  <a:cubicBezTo>
                    <a:pt x="178" y="42"/>
                    <a:pt x="177" y="42"/>
                    <a:pt x="177" y="42"/>
                  </a:cubicBezTo>
                  <a:cubicBezTo>
                    <a:pt x="175" y="35"/>
                    <a:pt x="175" y="35"/>
                    <a:pt x="175" y="35"/>
                  </a:cubicBezTo>
                  <a:cubicBezTo>
                    <a:pt x="169" y="37"/>
                    <a:pt x="169" y="37"/>
                    <a:pt x="169" y="37"/>
                  </a:cubicBezTo>
                  <a:cubicBezTo>
                    <a:pt x="169" y="37"/>
                    <a:pt x="165" y="35"/>
                    <a:pt x="164" y="35"/>
                  </a:cubicBezTo>
                  <a:cubicBezTo>
                    <a:pt x="163" y="34"/>
                    <a:pt x="161" y="32"/>
                    <a:pt x="161" y="32"/>
                  </a:cubicBezTo>
                  <a:cubicBezTo>
                    <a:pt x="159" y="35"/>
                    <a:pt x="159" y="35"/>
                    <a:pt x="159" y="35"/>
                  </a:cubicBezTo>
                  <a:cubicBezTo>
                    <a:pt x="156" y="35"/>
                    <a:pt x="156" y="35"/>
                    <a:pt x="156" y="35"/>
                  </a:cubicBezTo>
                  <a:cubicBezTo>
                    <a:pt x="156" y="35"/>
                    <a:pt x="153" y="34"/>
                    <a:pt x="152" y="33"/>
                  </a:cubicBezTo>
                  <a:cubicBezTo>
                    <a:pt x="151" y="32"/>
                    <a:pt x="151" y="31"/>
                    <a:pt x="150" y="31"/>
                  </a:cubicBezTo>
                  <a:cubicBezTo>
                    <a:pt x="149" y="31"/>
                    <a:pt x="148" y="30"/>
                    <a:pt x="148" y="30"/>
                  </a:cubicBezTo>
                  <a:cubicBezTo>
                    <a:pt x="148" y="30"/>
                    <a:pt x="150" y="27"/>
                    <a:pt x="150" y="26"/>
                  </a:cubicBezTo>
                  <a:cubicBezTo>
                    <a:pt x="151" y="26"/>
                    <a:pt x="153" y="26"/>
                    <a:pt x="151" y="24"/>
                  </a:cubicBezTo>
                  <a:cubicBezTo>
                    <a:pt x="150" y="22"/>
                    <a:pt x="149" y="21"/>
                    <a:pt x="149" y="21"/>
                  </a:cubicBezTo>
                  <a:cubicBezTo>
                    <a:pt x="149" y="21"/>
                    <a:pt x="149" y="23"/>
                    <a:pt x="148" y="23"/>
                  </a:cubicBezTo>
                  <a:cubicBezTo>
                    <a:pt x="146" y="24"/>
                    <a:pt x="143" y="25"/>
                    <a:pt x="143" y="25"/>
                  </a:cubicBezTo>
                  <a:cubicBezTo>
                    <a:pt x="135" y="21"/>
                    <a:pt x="135" y="21"/>
                    <a:pt x="135" y="21"/>
                  </a:cubicBezTo>
                  <a:cubicBezTo>
                    <a:pt x="135" y="21"/>
                    <a:pt x="132" y="20"/>
                    <a:pt x="132" y="20"/>
                  </a:cubicBezTo>
                  <a:cubicBezTo>
                    <a:pt x="131" y="20"/>
                    <a:pt x="127" y="20"/>
                    <a:pt x="127" y="20"/>
                  </a:cubicBezTo>
                  <a:cubicBezTo>
                    <a:pt x="129" y="23"/>
                    <a:pt x="129" y="23"/>
                    <a:pt x="129" y="23"/>
                  </a:cubicBezTo>
                  <a:cubicBezTo>
                    <a:pt x="131" y="28"/>
                    <a:pt x="131" y="28"/>
                    <a:pt x="131" y="28"/>
                  </a:cubicBezTo>
                  <a:cubicBezTo>
                    <a:pt x="126" y="30"/>
                    <a:pt x="126" y="30"/>
                    <a:pt x="126" y="30"/>
                  </a:cubicBezTo>
                  <a:cubicBezTo>
                    <a:pt x="125" y="33"/>
                    <a:pt x="125" y="33"/>
                    <a:pt x="125" y="33"/>
                  </a:cubicBezTo>
                  <a:cubicBezTo>
                    <a:pt x="125" y="33"/>
                    <a:pt x="120" y="36"/>
                    <a:pt x="120" y="35"/>
                  </a:cubicBezTo>
                  <a:cubicBezTo>
                    <a:pt x="120" y="35"/>
                    <a:pt x="119" y="31"/>
                    <a:pt x="119" y="31"/>
                  </a:cubicBezTo>
                  <a:cubicBezTo>
                    <a:pt x="119" y="31"/>
                    <a:pt x="118" y="29"/>
                    <a:pt x="117" y="29"/>
                  </a:cubicBezTo>
                  <a:cubicBezTo>
                    <a:pt x="116" y="28"/>
                    <a:pt x="114" y="27"/>
                    <a:pt x="114" y="27"/>
                  </a:cubicBezTo>
                  <a:cubicBezTo>
                    <a:pt x="112" y="26"/>
                    <a:pt x="112" y="26"/>
                    <a:pt x="112" y="26"/>
                  </a:cubicBezTo>
                  <a:cubicBezTo>
                    <a:pt x="112" y="26"/>
                    <a:pt x="111" y="23"/>
                    <a:pt x="111" y="23"/>
                  </a:cubicBezTo>
                  <a:cubicBezTo>
                    <a:pt x="110" y="23"/>
                    <a:pt x="109" y="23"/>
                    <a:pt x="109" y="23"/>
                  </a:cubicBezTo>
                  <a:cubicBezTo>
                    <a:pt x="109" y="21"/>
                    <a:pt x="109" y="21"/>
                    <a:pt x="109" y="21"/>
                  </a:cubicBezTo>
                  <a:cubicBezTo>
                    <a:pt x="110" y="19"/>
                    <a:pt x="110" y="19"/>
                    <a:pt x="110" y="19"/>
                  </a:cubicBezTo>
                  <a:cubicBezTo>
                    <a:pt x="110" y="19"/>
                    <a:pt x="111" y="19"/>
                    <a:pt x="112" y="16"/>
                  </a:cubicBezTo>
                  <a:cubicBezTo>
                    <a:pt x="112" y="12"/>
                    <a:pt x="110" y="12"/>
                    <a:pt x="110" y="12"/>
                  </a:cubicBezTo>
                  <a:cubicBezTo>
                    <a:pt x="108" y="13"/>
                    <a:pt x="108" y="13"/>
                    <a:pt x="108" y="13"/>
                  </a:cubicBezTo>
                  <a:cubicBezTo>
                    <a:pt x="104" y="14"/>
                    <a:pt x="104" y="14"/>
                    <a:pt x="104" y="14"/>
                  </a:cubicBezTo>
                  <a:cubicBezTo>
                    <a:pt x="102" y="14"/>
                    <a:pt x="102" y="14"/>
                    <a:pt x="102" y="14"/>
                  </a:cubicBezTo>
                  <a:cubicBezTo>
                    <a:pt x="102" y="14"/>
                    <a:pt x="100" y="12"/>
                    <a:pt x="100" y="12"/>
                  </a:cubicBezTo>
                  <a:cubicBezTo>
                    <a:pt x="100" y="12"/>
                    <a:pt x="102" y="10"/>
                    <a:pt x="99" y="12"/>
                  </a:cubicBezTo>
                  <a:cubicBezTo>
                    <a:pt x="97" y="14"/>
                    <a:pt x="96" y="11"/>
                    <a:pt x="96" y="11"/>
                  </a:cubicBezTo>
                  <a:cubicBezTo>
                    <a:pt x="95" y="10"/>
                    <a:pt x="95" y="10"/>
                    <a:pt x="95" y="10"/>
                  </a:cubicBezTo>
                  <a:cubicBezTo>
                    <a:pt x="95" y="10"/>
                    <a:pt x="95" y="10"/>
                    <a:pt x="94" y="10"/>
                  </a:cubicBezTo>
                  <a:cubicBezTo>
                    <a:pt x="93" y="11"/>
                    <a:pt x="90" y="11"/>
                    <a:pt x="90" y="10"/>
                  </a:cubicBezTo>
                  <a:cubicBezTo>
                    <a:pt x="90" y="9"/>
                    <a:pt x="88" y="7"/>
                    <a:pt x="88" y="7"/>
                  </a:cubicBezTo>
                  <a:cubicBezTo>
                    <a:pt x="85" y="9"/>
                    <a:pt x="85" y="9"/>
                    <a:pt x="85" y="9"/>
                  </a:cubicBezTo>
                  <a:cubicBezTo>
                    <a:pt x="85" y="9"/>
                    <a:pt x="84" y="9"/>
                    <a:pt x="84" y="8"/>
                  </a:cubicBezTo>
                  <a:cubicBezTo>
                    <a:pt x="83" y="8"/>
                    <a:pt x="84" y="7"/>
                    <a:pt x="82" y="6"/>
                  </a:cubicBezTo>
                  <a:cubicBezTo>
                    <a:pt x="80" y="5"/>
                    <a:pt x="80" y="3"/>
                    <a:pt x="80" y="3"/>
                  </a:cubicBezTo>
                  <a:cubicBezTo>
                    <a:pt x="80" y="3"/>
                    <a:pt x="80" y="1"/>
                    <a:pt x="79" y="1"/>
                  </a:cubicBezTo>
                  <a:cubicBezTo>
                    <a:pt x="77" y="1"/>
                    <a:pt x="76" y="0"/>
                    <a:pt x="76" y="0"/>
                  </a:cubicBezTo>
                  <a:cubicBezTo>
                    <a:pt x="76" y="0"/>
                    <a:pt x="74" y="0"/>
                    <a:pt x="74" y="0"/>
                  </a:cubicBezTo>
                  <a:cubicBezTo>
                    <a:pt x="73" y="0"/>
                    <a:pt x="73" y="0"/>
                    <a:pt x="73" y="0"/>
                  </a:cubicBezTo>
                  <a:cubicBezTo>
                    <a:pt x="73" y="0"/>
                    <a:pt x="73" y="0"/>
                    <a:pt x="73" y="0"/>
                  </a:cubicBezTo>
                  <a:cubicBezTo>
                    <a:pt x="73" y="1"/>
                    <a:pt x="73" y="2"/>
                    <a:pt x="73" y="3"/>
                  </a:cubicBezTo>
                  <a:cubicBezTo>
                    <a:pt x="73" y="3"/>
                    <a:pt x="73" y="5"/>
                    <a:pt x="73" y="5"/>
                  </a:cubicBezTo>
                  <a:cubicBezTo>
                    <a:pt x="73" y="5"/>
                    <a:pt x="70" y="7"/>
                    <a:pt x="70" y="7"/>
                  </a:cubicBezTo>
                  <a:cubicBezTo>
                    <a:pt x="69" y="7"/>
                    <a:pt x="69" y="7"/>
                    <a:pt x="69" y="7"/>
                  </a:cubicBezTo>
                  <a:cubicBezTo>
                    <a:pt x="66" y="10"/>
                    <a:pt x="66" y="10"/>
                    <a:pt x="66" y="10"/>
                  </a:cubicBezTo>
                  <a:cubicBezTo>
                    <a:pt x="65" y="9"/>
                    <a:pt x="65" y="9"/>
                    <a:pt x="65" y="9"/>
                  </a:cubicBezTo>
                  <a:cubicBezTo>
                    <a:pt x="64" y="9"/>
                    <a:pt x="64" y="9"/>
                    <a:pt x="63" y="9"/>
                  </a:cubicBezTo>
                  <a:cubicBezTo>
                    <a:pt x="61" y="9"/>
                    <a:pt x="60" y="7"/>
                    <a:pt x="59" y="6"/>
                  </a:cubicBezTo>
                  <a:cubicBezTo>
                    <a:pt x="59" y="5"/>
                    <a:pt x="59" y="4"/>
                    <a:pt x="59" y="2"/>
                  </a:cubicBezTo>
                  <a:cubicBezTo>
                    <a:pt x="59" y="2"/>
                    <a:pt x="58" y="1"/>
                    <a:pt x="57" y="1"/>
                  </a:cubicBezTo>
                  <a:cubicBezTo>
                    <a:pt x="57" y="1"/>
                    <a:pt x="56" y="1"/>
                    <a:pt x="56" y="1"/>
                  </a:cubicBezTo>
                  <a:cubicBezTo>
                    <a:pt x="55" y="1"/>
                    <a:pt x="54" y="1"/>
                    <a:pt x="54" y="1"/>
                  </a:cubicBezTo>
                  <a:cubicBezTo>
                    <a:pt x="54" y="1"/>
                    <a:pt x="54" y="1"/>
                    <a:pt x="54" y="1"/>
                  </a:cubicBezTo>
                  <a:cubicBezTo>
                    <a:pt x="56" y="4"/>
                    <a:pt x="56" y="4"/>
                    <a:pt x="56" y="4"/>
                  </a:cubicBezTo>
                  <a:cubicBezTo>
                    <a:pt x="55" y="8"/>
                    <a:pt x="55" y="8"/>
                    <a:pt x="55" y="8"/>
                  </a:cubicBezTo>
                  <a:cubicBezTo>
                    <a:pt x="54" y="8"/>
                    <a:pt x="54" y="8"/>
                    <a:pt x="54" y="8"/>
                  </a:cubicBezTo>
                  <a:cubicBezTo>
                    <a:pt x="53" y="8"/>
                    <a:pt x="46" y="10"/>
                    <a:pt x="43" y="10"/>
                  </a:cubicBezTo>
                  <a:cubicBezTo>
                    <a:pt x="43" y="10"/>
                    <a:pt x="42" y="14"/>
                    <a:pt x="42" y="14"/>
                  </a:cubicBezTo>
                  <a:cubicBezTo>
                    <a:pt x="39" y="16"/>
                    <a:pt x="39" y="16"/>
                    <a:pt x="39" y="16"/>
                  </a:cubicBezTo>
                  <a:cubicBezTo>
                    <a:pt x="34" y="18"/>
                    <a:pt x="34" y="18"/>
                    <a:pt x="34" y="18"/>
                  </a:cubicBezTo>
                  <a:cubicBezTo>
                    <a:pt x="33" y="19"/>
                    <a:pt x="30" y="22"/>
                    <a:pt x="28" y="22"/>
                  </a:cubicBezTo>
                  <a:cubicBezTo>
                    <a:pt x="26" y="24"/>
                    <a:pt x="26" y="24"/>
                    <a:pt x="26" y="24"/>
                  </a:cubicBezTo>
                  <a:cubicBezTo>
                    <a:pt x="25" y="24"/>
                    <a:pt x="24" y="25"/>
                    <a:pt x="22" y="26"/>
                  </a:cubicBezTo>
                  <a:cubicBezTo>
                    <a:pt x="21" y="26"/>
                    <a:pt x="21" y="26"/>
                    <a:pt x="21" y="26"/>
                  </a:cubicBezTo>
                  <a:cubicBezTo>
                    <a:pt x="21" y="27"/>
                    <a:pt x="21" y="27"/>
                    <a:pt x="21" y="28"/>
                  </a:cubicBezTo>
                  <a:cubicBezTo>
                    <a:pt x="20" y="31"/>
                    <a:pt x="19" y="31"/>
                    <a:pt x="17" y="31"/>
                  </a:cubicBezTo>
                  <a:cubicBezTo>
                    <a:pt x="17" y="31"/>
                    <a:pt x="16" y="32"/>
                    <a:pt x="16" y="32"/>
                  </a:cubicBezTo>
                  <a:cubicBezTo>
                    <a:pt x="15" y="32"/>
                    <a:pt x="14" y="31"/>
                    <a:pt x="13" y="31"/>
                  </a:cubicBezTo>
                  <a:cubicBezTo>
                    <a:pt x="13" y="31"/>
                    <a:pt x="12" y="31"/>
                    <a:pt x="12" y="31"/>
                  </a:cubicBezTo>
                  <a:cubicBezTo>
                    <a:pt x="12" y="31"/>
                    <a:pt x="11" y="31"/>
                    <a:pt x="11" y="31"/>
                  </a:cubicBezTo>
                  <a:cubicBezTo>
                    <a:pt x="10" y="32"/>
                    <a:pt x="8" y="33"/>
                    <a:pt x="7" y="33"/>
                  </a:cubicBezTo>
                  <a:cubicBezTo>
                    <a:pt x="6" y="33"/>
                    <a:pt x="6" y="33"/>
                    <a:pt x="6" y="33"/>
                  </a:cubicBezTo>
                  <a:cubicBezTo>
                    <a:pt x="3" y="35"/>
                    <a:pt x="3" y="35"/>
                    <a:pt x="3" y="35"/>
                  </a:cubicBezTo>
                  <a:cubicBezTo>
                    <a:pt x="0" y="42"/>
                    <a:pt x="0" y="42"/>
                    <a:pt x="0" y="42"/>
                  </a:cubicBezTo>
                  <a:cubicBezTo>
                    <a:pt x="1" y="42"/>
                    <a:pt x="1" y="42"/>
                    <a:pt x="1" y="42"/>
                  </a:cubicBezTo>
                  <a:cubicBezTo>
                    <a:pt x="2" y="43"/>
                    <a:pt x="3" y="43"/>
                    <a:pt x="4" y="44"/>
                  </a:cubicBezTo>
                  <a:cubicBezTo>
                    <a:pt x="6" y="45"/>
                    <a:pt x="6" y="45"/>
                    <a:pt x="6" y="45"/>
                  </a:cubicBezTo>
                  <a:cubicBezTo>
                    <a:pt x="9" y="47"/>
                    <a:pt x="9" y="50"/>
                    <a:pt x="8" y="51"/>
                  </a:cubicBezTo>
                  <a:cubicBezTo>
                    <a:pt x="8" y="53"/>
                    <a:pt x="8" y="54"/>
                    <a:pt x="6" y="56"/>
                  </a:cubicBezTo>
                  <a:cubicBezTo>
                    <a:pt x="6" y="56"/>
                    <a:pt x="6" y="57"/>
                    <a:pt x="6" y="57"/>
                  </a:cubicBezTo>
                  <a:cubicBezTo>
                    <a:pt x="6" y="57"/>
                    <a:pt x="7" y="58"/>
                    <a:pt x="9" y="60"/>
                  </a:cubicBezTo>
                  <a:cubicBezTo>
                    <a:pt x="10" y="62"/>
                    <a:pt x="10" y="63"/>
                    <a:pt x="10" y="65"/>
                  </a:cubicBezTo>
                  <a:cubicBezTo>
                    <a:pt x="10" y="65"/>
                    <a:pt x="10" y="66"/>
                    <a:pt x="10" y="66"/>
                  </a:cubicBezTo>
                  <a:cubicBezTo>
                    <a:pt x="11" y="67"/>
                    <a:pt x="11" y="67"/>
                    <a:pt x="11" y="68"/>
                  </a:cubicBezTo>
                  <a:cubicBezTo>
                    <a:pt x="11" y="68"/>
                    <a:pt x="11" y="68"/>
                    <a:pt x="12" y="69"/>
                  </a:cubicBezTo>
                  <a:cubicBezTo>
                    <a:pt x="12" y="69"/>
                    <a:pt x="13" y="70"/>
                    <a:pt x="13" y="70"/>
                  </a:cubicBezTo>
                  <a:cubicBezTo>
                    <a:pt x="13" y="70"/>
                    <a:pt x="13" y="70"/>
                    <a:pt x="14" y="71"/>
                  </a:cubicBezTo>
                  <a:cubicBezTo>
                    <a:pt x="15" y="72"/>
                    <a:pt x="15" y="72"/>
                    <a:pt x="16" y="73"/>
                  </a:cubicBezTo>
                  <a:cubicBezTo>
                    <a:pt x="17" y="72"/>
                    <a:pt x="19" y="72"/>
                    <a:pt x="19" y="72"/>
                  </a:cubicBezTo>
                  <a:cubicBezTo>
                    <a:pt x="20" y="72"/>
                    <a:pt x="21" y="73"/>
                    <a:pt x="22" y="73"/>
                  </a:cubicBezTo>
                  <a:cubicBezTo>
                    <a:pt x="23" y="74"/>
                    <a:pt x="24" y="75"/>
                    <a:pt x="24" y="75"/>
                  </a:cubicBezTo>
                  <a:cubicBezTo>
                    <a:pt x="24" y="76"/>
                    <a:pt x="25" y="76"/>
                    <a:pt x="26" y="77"/>
                  </a:cubicBezTo>
                  <a:cubicBezTo>
                    <a:pt x="27" y="79"/>
                    <a:pt x="28" y="80"/>
                    <a:pt x="28" y="81"/>
                  </a:cubicBezTo>
                  <a:cubicBezTo>
                    <a:pt x="28" y="81"/>
                    <a:pt x="28" y="81"/>
                    <a:pt x="28" y="82"/>
                  </a:cubicBezTo>
                  <a:cubicBezTo>
                    <a:pt x="28" y="82"/>
                    <a:pt x="28" y="82"/>
                    <a:pt x="28" y="82"/>
                  </a:cubicBezTo>
                  <a:cubicBezTo>
                    <a:pt x="29" y="82"/>
                    <a:pt x="29" y="82"/>
                    <a:pt x="30" y="82"/>
                  </a:cubicBezTo>
                  <a:cubicBezTo>
                    <a:pt x="33" y="82"/>
                    <a:pt x="33" y="85"/>
                    <a:pt x="33" y="86"/>
                  </a:cubicBezTo>
                  <a:cubicBezTo>
                    <a:pt x="33" y="86"/>
                    <a:pt x="33" y="87"/>
                    <a:pt x="33" y="87"/>
                  </a:cubicBezTo>
                  <a:cubicBezTo>
                    <a:pt x="34" y="88"/>
                    <a:pt x="34" y="88"/>
                    <a:pt x="34" y="88"/>
                  </a:cubicBezTo>
                  <a:cubicBezTo>
                    <a:pt x="34" y="88"/>
                    <a:pt x="34" y="88"/>
                    <a:pt x="34" y="88"/>
                  </a:cubicBezTo>
                  <a:cubicBezTo>
                    <a:pt x="35" y="88"/>
                    <a:pt x="35" y="88"/>
                    <a:pt x="35" y="88"/>
                  </a:cubicBezTo>
                  <a:cubicBezTo>
                    <a:pt x="35" y="88"/>
                    <a:pt x="36" y="88"/>
                    <a:pt x="37" y="88"/>
                  </a:cubicBezTo>
                  <a:cubicBezTo>
                    <a:pt x="37" y="88"/>
                    <a:pt x="37" y="88"/>
                    <a:pt x="37" y="88"/>
                  </a:cubicBezTo>
                  <a:cubicBezTo>
                    <a:pt x="38" y="88"/>
                    <a:pt x="39" y="88"/>
                    <a:pt x="40" y="89"/>
                  </a:cubicBezTo>
                  <a:cubicBezTo>
                    <a:pt x="40" y="89"/>
                    <a:pt x="40" y="90"/>
                    <a:pt x="40" y="91"/>
                  </a:cubicBezTo>
                  <a:cubicBezTo>
                    <a:pt x="41" y="91"/>
                    <a:pt x="41" y="91"/>
                    <a:pt x="42" y="91"/>
                  </a:cubicBezTo>
                  <a:cubicBezTo>
                    <a:pt x="43" y="92"/>
                    <a:pt x="43" y="92"/>
                    <a:pt x="43" y="92"/>
                  </a:cubicBezTo>
                  <a:cubicBezTo>
                    <a:pt x="44" y="92"/>
                    <a:pt x="44" y="93"/>
                    <a:pt x="45" y="94"/>
                  </a:cubicBezTo>
                  <a:cubicBezTo>
                    <a:pt x="45" y="94"/>
                    <a:pt x="45" y="94"/>
                    <a:pt x="46" y="95"/>
                  </a:cubicBezTo>
                  <a:cubicBezTo>
                    <a:pt x="46" y="95"/>
                    <a:pt x="46" y="95"/>
                    <a:pt x="46" y="95"/>
                  </a:cubicBezTo>
                  <a:cubicBezTo>
                    <a:pt x="46" y="95"/>
                    <a:pt x="46" y="95"/>
                    <a:pt x="46" y="95"/>
                  </a:cubicBezTo>
                  <a:cubicBezTo>
                    <a:pt x="47" y="96"/>
                    <a:pt x="50" y="98"/>
                    <a:pt x="51" y="98"/>
                  </a:cubicBezTo>
                  <a:cubicBezTo>
                    <a:pt x="51" y="99"/>
                    <a:pt x="53" y="101"/>
                    <a:pt x="54" y="101"/>
                  </a:cubicBezTo>
                  <a:cubicBezTo>
                    <a:pt x="54" y="101"/>
                    <a:pt x="54" y="101"/>
                    <a:pt x="54" y="101"/>
                  </a:cubicBezTo>
                  <a:cubicBezTo>
                    <a:pt x="55" y="102"/>
                    <a:pt x="57" y="102"/>
                    <a:pt x="57" y="102"/>
                  </a:cubicBezTo>
                  <a:cubicBezTo>
                    <a:pt x="57" y="102"/>
                    <a:pt x="57" y="102"/>
                    <a:pt x="57" y="102"/>
                  </a:cubicBezTo>
                  <a:cubicBezTo>
                    <a:pt x="58" y="102"/>
                    <a:pt x="58" y="102"/>
                    <a:pt x="60" y="103"/>
                  </a:cubicBezTo>
                  <a:cubicBezTo>
                    <a:pt x="60" y="102"/>
                    <a:pt x="60" y="102"/>
                    <a:pt x="60" y="102"/>
                  </a:cubicBezTo>
                  <a:cubicBezTo>
                    <a:pt x="64" y="99"/>
                    <a:pt x="64" y="99"/>
                    <a:pt x="64" y="99"/>
                  </a:cubicBezTo>
                  <a:cubicBezTo>
                    <a:pt x="68" y="102"/>
                    <a:pt x="68" y="102"/>
                    <a:pt x="68" y="102"/>
                  </a:cubicBezTo>
                  <a:cubicBezTo>
                    <a:pt x="69" y="102"/>
                    <a:pt x="69" y="102"/>
                    <a:pt x="69" y="102"/>
                  </a:cubicBezTo>
                  <a:cubicBezTo>
                    <a:pt x="69" y="100"/>
                    <a:pt x="69" y="98"/>
                    <a:pt x="70" y="97"/>
                  </a:cubicBezTo>
                  <a:cubicBezTo>
                    <a:pt x="70" y="97"/>
                    <a:pt x="70" y="97"/>
                    <a:pt x="70" y="97"/>
                  </a:cubicBezTo>
                  <a:cubicBezTo>
                    <a:pt x="71" y="97"/>
                    <a:pt x="71" y="97"/>
                    <a:pt x="71" y="97"/>
                  </a:cubicBezTo>
                  <a:cubicBezTo>
                    <a:pt x="71" y="97"/>
                    <a:pt x="72" y="96"/>
                    <a:pt x="73" y="95"/>
                  </a:cubicBezTo>
                  <a:cubicBezTo>
                    <a:pt x="73" y="94"/>
                    <a:pt x="73" y="94"/>
                    <a:pt x="73" y="94"/>
                  </a:cubicBezTo>
                  <a:cubicBezTo>
                    <a:pt x="75" y="93"/>
                    <a:pt x="75" y="93"/>
                    <a:pt x="75" y="93"/>
                  </a:cubicBezTo>
                  <a:cubicBezTo>
                    <a:pt x="76" y="93"/>
                    <a:pt x="76" y="92"/>
                    <a:pt x="76" y="92"/>
                  </a:cubicBezTo>
                  <a:cubicBezTo>
                    <a:pt x="76" y="91"/>
                    <a:pt x="76" y="88"/>
                    <a:pt x="76" y="88"/>
                  </a:cubicBezTo>
                  <a:cubicBezTo>
                    <a:pt x="76" y="87"/>
                    <a:pt x="75" y="85"/>
                    <a:pt x="76" y="84"/>
                  </a:cubicBezTo>
                  <a:cubicBezTo>
                    <a:pt x="77" y="83"/>
                    <a:pt x="77" y="83"/>
                    <a:pt x="78" y="82"/>
                  </a:cubicBezTo>
                  <a:cubicBezTo>
                    <a:pt x="79" y="82"/>
                    <a:pt x="79" y="82"/>
                    <a:pt x="79" y="82"/>
                  </a:cubicBezTo>
                  <a:cubicBezTo>
                    <a:pt x="79" y="82"/>
                    <a:pt x="79" y="82"/>
                    <a:pt x="79" y="82"/>
                  </a:cubicBezTo>
                  <a:cubicBezTo>
                    <a:pt x="81" y="82"/>
                    <a:pt x="83" y="83"/>
                    <a:pt x="84" y="84"/>
                  </a:cubicBezTo>
                  <a:cubicBezTo>
                    <a:pt x="86" y="84"/>
                    <a:pt x="86" y="84"/>
                    <a:pt x="86" y="84"/>
                  </a:cubicBezTo>
                  <a:cubicBezTo>
                    <a:pt x="87" y="84"/>
                    <a:pt x="88" y="84"/>
                    <a:pt x="89" y="84"/>
                  </a:cubicBezTo>
                  <a:cubicBezTo>
                    <a:pt x="89" y="84"/>
                    <a:pt x="89" y="84"/>
                    <a:pt x="89" y="84"/>
                  </a:cubicBezTo>
                  <a:cubicBezTo>
                    <a:pt x="90" y="84"/>
                    <a:pt x="92" y="85"/>
                    <a:pt x="93" y="85"/>
                  </a:cubicBezTo>
                  <a:cubicBezTo>
                    <a:pt x="96" y="86"/>
                    <a:pt x="97" y="86"/>
                    <a:pt x="97" y="86"/>
                  </a:cubicBezTo>
                  <a:cubicBezTo>
                    <a:pt x="98" y="86"/>
                    <a:pt x="100" y="86"/>
                    <a:pt x="100" y="86"/>
                  </a:cubicBezTo>
                  <a:cubicBezTo>
                    <a:pt x="101" y="86"/>
                    <a:pt x="101" y="86"/>
                    <a:pt x="101" y="86"/>
                  </a:cubicBezTo>
                  <a:cubicBezTo>
                    <a:pt x="103" y="86"/>
                    <a:pt x="103" y="86"/>
                    <a:pt x="103" y="86"/>
                  </a:cubicBezTo>
                  <a:cubicBezTo>
                    <a:pt x="112" y="90"/>
                    <a:pt x="112" y="90"/>
                    <a:pt x="112" y="90"/>
                  </a:cubicBezTo>
                  <a:cubicBezTo>
                    <a:pt x="118" y="91"/>
                    <a:pt x="118" y="91"/>
                    <a:pt x="118" y="91"/>
                  </a:cubicBezTo>
                  <a:cubicBezTo>
                    <a:pt x="119" y="89"/>
                    <a:pt x="119" y="89"/>
                    <a:pt x="119" y="89"/>
                  </a:cubicBezTo>
                  <a:cubicBezTo>
                    <a:pt x="119" y="89"/>
                    <a:pt x="119" y="89"/>
                    <a:pt x="119" y="89"/>
                  </a:cubicBezTo>
                  <a:cubicBezTo>
                    <a:pt x="120" y="88"/>
                    <a:pt x="123" y="88"/>
                    <a:pt x="123" y="88"/>
                  </a:cubicBezTo>
                  <a:cubicBezTo>
                    <a:pt x="124" y="88"/>
                    <a:pt x="125" y="88"/>
                    <a:pt x="126" y="89"/>
                  </a:cubicBezTo>
                  <a:cubicBezTo>
                    <a:pt x="126" y="89"/>
                    <a:pt x="128" y="90"/>
                    <a:pt x="130" y="90"/>
                  </a:cubicBezTo>
                  <a:cubicBezTo>
                    <a:pt x="130" y="90"/>
                    <a:pt x="130" y="90"/>
                    <a:pt x="130" y="90"/>
                  </a:cubicBezTo>
                  <a:cubicBezTo>
                    <a:pt x="132" y="90"/>
                    <a:pt x="133" y="90"/>
                    <a:pt x="133" y="90"/>
                  </a:cubicBezTo>
                  <a:cubicBezTo>
                    <a:pt x="135" y="89"/>
                    <a:pt x="135" y="89"/>
                    <a:pt x="135" y="89"/>
                  </a:cubicBezTo>
                  <a:cubicBezTo>
                    <a:pt x="137" y="95"/>
                    <a:pt x="137" y="95"/>
                    <a:pt x="137" y="95"/>
                  </a:cubicBezTo>
                  <a:cubicBezTo>
                    <a:pt x="137" y="95"/>
                    <a:pt x="137" y="95"/>
                    <a:pt x="137" y="94"/>
                  </a:cubicBezTo>
                  <a:cubicBezTo>
                    <a:pt x="138" y="94"/>
                    <a:pt x="138" y="92"/>
                    <a:pt x="138" y="92"/>
                  </a:cubicBezTo>
                  <a:cubicBezTo>
                    <a:pt x="138" y="92"/>
                    <a:pt x="138" y="91"/>
                    <a:pt x="139" y="91"/>
                  </a:cubicBezTo>
                  <a:cubicBezTo>
                    <a:pt x="139" y="90"/>
                    <a:pt x="140" y="90"/>
                    <a:pt x="140" y="89"/>
                  </a:cubicBezTo>
                  <a:cubicBezTo>
                    <a:pt x="140" y="89"/>
                    <a:pt x="140" y="88"/>
                    <a:pt x="140" y="88"/>
                  </a:cubicBezTo>
                  <a:cubicBezTo>
                    <a:pt x="141" y="88"/>
                    <a:pt x="141" y="88"/>
                    <a:pt x="141" y="88"/>
                  </a:cubicBezTo>
                  <a:cubicBezTo>
                    <a:pt x="141" y="88"/>
                    <a:pt x="142" y="86"/>
                    <a:pt x="142" y="86"/>
                  </a:cubicBezTo>
                  <a:cubicBezTo>
                    <a:pt x="142" y="86"/>
                    <a:pt x="143" y="86"/>
                    <a:pt x="143" y="86"/>
                  </a:cubicBezTo>
                  <a:cubicBezTo>
                    <a:pt x="144" y="86"/>
                    <a:pt x="144" y="87"/>
                    <a:pt x="145" y="87"/>
                  </a:cubicBezTo>
                  <a:cubicBezTo>
                    <a:pt x="145" y="87"/>
                    <a:pt x="145" y="87"/>
                    <a:pt x="146" y="87"/>
                  </a:cubicBezTo>
                  <a:cubicBezTo>
                    <a:pt x="147" y="87"/>
                    <a:pt x="147" y="88"/>
                    <a:pt x="148" y="88"/>
                  </a:cubicBezTo>
                  <a:cubicBezTo>
                    <a:pt x="148" y="88"/>
                    <a:pt x="148" y="88"/>
                    <a:pt x="149" y="87"/>
                  </a:cubicBezTo>
                  <a:cubicBezTo>
                    <a:pt x="149" y="87"/>
                    <a:pt x="149" y="87"/>
                    <a:pt x="149" y="86"/>
                  </a:cubicBezTo>
                  <a:cubicBezTo>
                    <a:pt x="150" y="86"/>
                    <a:pt x="151" y="87"/>
                    <a:pt x="151" y="87"/>
                  </a:cubicBezTo>
                  <a:cubicBezTo>
                    <a:pt x="151" y="87"/>
                    <a:pt x="152" y="88"/>
                    <a:pt x="152" y="88"/>
                  </a:cubicBezTo>
                  <a:cubicBezTo>
                    <a:pt x="153" y="87"/>
                    <a:pt x="154" y="86"/>
                    <a:pt x="154" y="86"/>
                  </a:cubicBezTo>
                  <a:cubicBezTo>
                    <a:pt x="155" y="86"/>
                    <a:pt x="155" y="86"/>
                    <a:pt x="155" y="86"/>
                  </a:cubicBezTo>
                  <a:cubicBezTo>
                    <a:pt x="156" y="86"/>
                    <a:pt x="156" y="86"/>
                    <a:pt x="156" y="86"/>
                  </a:cubicBezTo>
                  <a:cubicBezTo>
                    <a:pt x="158" y="84"/>
                    <a:pt x="158" y="84"/>
                    <a:pt x="158" y="84"/>
                  </a:cubicBezTo>
                  <a:cubicBezTo>
                    <a:pt x="158" y="84"/>
                    <a:pt x="158" y="82"/>
                    <a:pt x="159" y="82"/>
                  </a:cubicBezTo>
                  <a:cubicBezTo>
                    <a:pt x="159" y="82"/>
                    <a:pt x="161" y="82"/>
                    <a:pt x="161" y="82"/>
                  </a:cubicBezTo>
                  <a:cubicBezTo>
                    <a:pt x="161" y="80"/>
                    <a:pt x="161" y="80"/>
                    <a:pt x="161" y="80"/>
                  </a:cubicBezTo>
                  <a:cubicBezTo>
                    <a:pt x="162" y="78"/>
                    <a:pt x="162" y="78"/>
                    <a:pt x="162" y="78"/>
                  </a:cubicBezTo>
                  <a:cubicBezTo>
                    <a:pt x="166" y="76"/>
                    <a:pt x="166" y="76"/>
                    <a:pt x="166" y="76"/>
                  </a:cubicBezTo>
                  <a:cubicBezTo>
                    <a:pt x="167" y="72"/>
                    <a:pt x="167" y="72"/>
                    <a:pt x="167" y="72"/>
                  </a:cubicBezTo>
                  <a:cubicBezTo>
                    <a:pt x="166" y="70"/>
                    <a:pt x="166" y="70"/>
                    <a:pt x="166" y="70"/>
                  </a:cubicBezTo>
                  <a:cubicBezTo>
                    <a:pt x="166" y="70"/>
                    <a:pt x="166" y="67"/>
                    <a:pt x="167" y="66"/>
                  </a:cubicBezTo>
                  <a:cubicBezTo>
                    <a:pt x="167" y="66"/>
                    <a:pt x="170" y="65"/>
                    <a:pt x="170" y="65"/>
                  </a:cubicBezTo>
                  <a:cubicBezTo>
                    <a:pt x="172" y="63"/>
                    <a:pt x="172" y="63"/>
                    <a:pt x="172" y="63"/>
                  </a:cubicBezTo>
                  <a:cubicBezTo>
                    <a:pt x="173" y="60"/>
                    <a:pt x="173" y="60"/>
                    <a:pt x="173" y="60"/>
                  </a:cubicBezTo>
                  <a:cubicBezTo>
                    <a:pt x="174" y="58"/>
                    <a:pt x="174" y="58"/>
                    <a:pt x="174" y="58"/>
                  </a:cubicBezTo>
                  <a:cubicBezTo>
                    <a:pt x="176" y="56"/>
                    <a:pt x="176" y="56"/>
                    <a:pt x="176" y="56"/>
                  </a:cubicBezTo>
                  <a:cubicBezTo>
                    <a:pt x="177" y="54"/>
                    <a:pt x="177" y="54"/>
                    <a:pt x="177" y="54"/>
                  </a:cubicBezTo>
                  <a:cubicBezTo>
                    <a:pt x="179" y="54"/>
                    <a:pt x="179" y="54"/>
                    <a:pt x="179" y="54"/>
                  </a:cubicBezTo>
                  <a:cubicBezTo>
                    <a:pt x="179" y="54"/>
                    <a:pt x="180" y="53"/>
                    <a:pt x="181" y="54"/>
                  </a:cubicBezTo>
                  <a:cubicBezTo>
                    <a:pt x="182" y="54"/>
                    <a:pt x="183" y="53"/>
                    <a:pt x="183" y="53"/>
                  </a:cubicBezTo>
                  <a:cubicBezTo>
                    <a:pt x="184" y="53"/>
                    <a:pt x="186" y="52"/>
                    <a:pt x="186" y="52"/>
                  </a:cubicBezTo>
                  <a:lnTo>
                    <a:pt x="185" y="49"/>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32"/>
            <p:cNvSpPr>
              <a:spLocks/>
            </p:cNvSpPr>
            <p:nvPr/>
          </p:nvSpPr>
          <p:spPr bwMode="auto">
            <a:xfrm>
              <a:off x="5507176" y="3646219"/>
              <a:ext cx="5777" cy="5446"/>
            </a:xfrm>
            <a:custGeom>
              <a:avLst/>
              <a:gdLst>
                <a:gd name="T0" fmla="*/ 2 w 2"/>
                <a:gd name="T1" fmla="*/ 1 h 2"/>
                <a:gd name="T2" fmla="*/ 1 w 2"/>
                <a:gd name="T3" fmla="*/ 0 h 2"/>
                <a:gd name="T4" fmla="*/ 0 w 2"/>
                <a:gd name="T5" fmla="*/ 1 h 2"/>
                <a:gd name="T6" fmla="*/ 0 w 2"/>
                <a:gd name="T7" fmla="*/ 2 h 2"/>
                <a:gd name="T8" fmla="*/ 1 w 2"/>
                <a:gd name="T9" fmla="*/ 2 h 2"/>
                <a:gd name="T10" fmla="*/ 2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2" y="1"/>
                  </a:moveTo>
                  <a:cubicBezTo>
                    <a:pt x="1" y="0"/>
                    <a:pt x="1" y="0"/>
                    <a:pt x="1" y="0"/>
                  </a:cubicBezTo>
                  <a:cubicBezTo>
                    <a:pt x="0" y="1"/>
                    <a:pt x="0" y="1"/>
                    <a:pt x="0" y="1"/>
                  </a:cubicBezTo>
                  <a:cubicBezTo>
                    <a:pt x="0" y="2"/>
                    <a:pt x="0" y="2"/>
                    <a:pt x="0" y="2"/>
                  </a:cubicBezTo>
                  <a:cubicBezTo>
                    <a:pt x="0" y="2"/>
                    <a:pt x="1" y="2"/>
                    <a:pt x="1" y="2"/>
                  </a:cubicBezTo>
                  <a:cubicBezTo>
                    <a:pt x="1" y="2"/>
                    <a:pt x="2" y="1"/>
                    <a:pt x="2" y="1"/>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Freeform 33"/>
            <p:cNvSpPr>
              <a:spLocks/>
            </p:cNvSpPr>
            <p:nvPr/>
          </p:nvSpPr>
          <p:spPr bwMode="auto">
            <a:xfrm>
              <a:off x="5534615" y="3678897"/>
              <a:ext cx="2888" cy="2723"/>
            </a:xfrm>
            <a:custGeom>
              <a:avLst/>
              <a:gdLst>
                <a:gd name="T0" fmla="*/ 0 w 2"/>
                <a:gd name="T1" fmla="*/ 2 h 2"/>
                <a:gd name="T2" fmla="*/ 0 w 2"/>
                <a:gd name="T3" fmla="*/ 2 h 2"/>
                <a:gd name="T4" fmla="*/ 2 w 2"/>
                <a:gd name="T5" fmla="*/ 2 h 2"/>
                <a:gd name="T6" fmla="*/ 2 w 2"/>
                <a:gd name="T7" fmla="*/ 0 h 2"/>
                <a:gd name="T8" fmla="*/ 0 w 2"/>
                <a:gd name="T9" fmla="*/ 0 h 2"/>
                <a:gd name="T10" fmla="*/ 0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0" y="2"/>
                  </a:moveTo>
                  <a:lnTo>
                    <a:pt x="0" y="2"/>
                  </a:lnTo>
                  <a:lnTo>
                    <a:pt x="2" y="2"/>
                  </a:lnTo>
                  <a:lnTo>
                    <a:pt x="2" y="0"/>
                  </a:lnTo>
                  <a:lnTo>
                    <a:pt x="0" y="0"/>
                  </a:lnTo>
                  <a:lnTo>
                    <a:pt x="0" y="2"/>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34"/>
            <p:cNvSpPr>
              <a:spLocks/>
            </p:cNvSpPr>
            <p:nvPr/>
          </p:nvSpPr>
          <p:spPr bwMode="auto">
            <a:xfrm>
              <a:off x="5537503" y="3668004"/>
              <a:ext cx="2888" cy="5446"/>
            </a:xfrm>
            <a:custGeom>
              <a:avLst/>
              <a:gdLst>
                <a:gd name="T0" fmla="*/ 1 w 1"/>
                <a:gd name="T1" fmla="*/ 2 h 2"/>
                <a:gd name="T2" fmla="*/ 1 w 1"/>
                <a:gd name="T3" fmla="*/ 1 h 2"/>
                <a:gd name="T4" fmla="*/ 1 w 1"/>
                <a:gd name="T5" fmla="*/ 0 h 2"/>
                <a:gd name="T6" fmla="*/ 0 w 1"/>
                <a:gd name="T7" fmla="*/ 1 h 2"/>
                <a:gd name="T8" fmla="*/ 0 w 1"/>
                <a:gd name="T9" fmla="*/ 2 h 2"/>
                <a:gd name="T10" fmla="*/ 1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1" y="2"/>
                  </a:moveTo>
                  <a:cubicBezTo>
                    <a:pt x="1" y="2"/>
                    <a:pt x="1" y="1"/>
                    <a:pt x="1" y="1"/>
                  </a:cubicBezTo>
                  <a:cubicBezTo>
                    <a:pt x="1" y="0"/>
                    <a:pt x="1" y="0"/>
                    <a:pt x="1" y="0"/>
                  </a:cubicBezTo>
                  <a:cubicBezTo>
                    <a:pt x="0" y="1"/>
                    <a:pt x="0" y="1"/>
                    <a:pt x="0" y="1"/>
                  </a:cubicBezTo>
                  <a:cubicBezTo>
                    <a:pt x="0" y="2"/>
                    <a:pt x="0" y="2"/>
                    <a:pt x="0" y="2"/>
                  </a:cubicBezTo>
                  <a:lnTo>
                    <a:pt x="1" y="2"/>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35"/>
            <p:cNvSpPr>
              <a:spLocks/>
            </p:cNvSpPr>
            <p:nvPr/>
          </p:nvSpPr>
          <p:spPr bwMode="auto">
            <a:xfrm>
              <a:off x="5525950" y="3670727"/>
              <a:ext cx="8665" cy="5446"/>
            </a:xfrm>
            <a:custGeom>
              <a:avLst/>
              <a:gdLst>
                <a:gd name="T0" fmla="*/ 2 w 3"/>
                <a:gd name="T1" fmla="*/ 0 h 2"/>
                <a:gd name="T2" fmla="*/ 2 w 3"/>
                <a:gd name="T3" fmla="*/ 0 h 2"/>
                <a:gd name="T4" fmla="*/ 0 w 3"/>
                <a:gd name="T5" fmla="*/ 1 h 2"/>
                <a:gd name="T6" fmla="*/ 1 w 3"/>
                <a:gd name="T7" fmla="*/ 1 h 2"/>
                <a:gd name="T8" fmla="*/ 2 w 3"/>
                <a:gd name="T9" fmla="*/ 2 h 2"/>
                <a:gd name="T10" fmla="*/ 3 w 3"/>
                <a:gd name="T11" fmla="*/ 2 h 2"/>
                <a:gd name="T12" fmla="*/ 3 w 3"/>
                <a:gd name="T13" fmla="*/ 1 h 2"/>
                <a:gd name="T14" fmla="*/ 2 w 3"/>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2" y="0"/>
                  </a:moveTo>
                  <a:cubicBezTo>
                    <a:pt x="2" y="0"/>
                    <a:pt x="2" y="0"/>
                    <a:pt x="2" y="0"/>
                  </a:cubicBezTo>
                  <a:cubicBezTo>
                    <a:pt x="0" y="1"/>
                    <a:pt x="0" y="1"/>
                    <a:pt x="0" y="1"/>
                  </a:cubicBezTo>
                  <a:cubicBezTo>
                    <a:pt x="1" y="1"/>
                    <a:pt x="1" y="1"/>
                    <a:pt x="1" y="1"/>
                  </a:cubicBezTo>
                  <a:cubicBezTo>
                    <a:pt x="1" y="1"/>
                    <a:pt x="2" y="2"/>
                    <a:pt x="2" y="2"/>
                  </a:cubicBezTo>
                  <a:cubicBezTo>
                    <a:pt x="2" y="2"/>
                    <a:pt x="3" y="2"/>
                    <a:pt x="3" y="2"/>
                  </a:cubicBezTo>
                  <a:cubicBezTo>
                    <a:pt x="3" y="2"/>
                    <a:pt x="3" y="1"/>
                    <a:pt x="3" y="1"/>
                  </a:cubicBezTo>
                  <a:cubicBezTo>
                    <a:pt x="3" y="1"/>
                    <a:pt x="3" y="0"/>
                    <a:pt x="2" y="0"/>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36"/>
            <p:cNvSpPr>
              <a:spLocks/>
            </p:cNvSpPr>
            <p:nvPr/>
          </p:nvSpPr>
          <p:spPr bwMode="auto">
            <a:xfrm>
              <a:off x="5580828" y="3659835"/>
              <a:ext cx="31771" cy="19062"/>
            </a:xfrm>
            <a:custGeom>
              <a:avLst/>
              <a:gdLst>
                <a:gd name="T0" fmla="*/ 0 w 11"/>
                <a:gd name="T1" fmla="*/ 6 h 7"/>
                <a:gd name="T2" fmla="*/ 1 w 11"/>
                <a:gd name="T3" fmla="*/ 6 h 7"/>
                <a:gd name="T4" fmla="*/ 3 w 11"/>
                <a:gd name="T5" fmla="*/ 7 h 7"/>
                <a:gd name="T6" fmla="*/ 4 w 11"/>
                <a:gd name="T7" fmla="*/ 7 h 7"/>
                <a:gd name="T8" fmla="*/ 4 w 11"/>
                <a:gd name="T9" fmla="*/ 6 h 7"/>
                <a:gd name="T10" fmla="*/ 5 w 11"/>
                <a:gd name="T11" fmla="*/ 4 h 7"/>
                <a:gd name="T12" fmla="*/ 7 w 11"/>
                <a:gd name="T13" fmla="*/ 3 h 7"/>
                <a:gd name="T14" fmla="*/ 10 w 11"/>
                <a:gd name="T15" fmla="*/ 4 h 7"/>
                <a:gd name="T16" fmla="*/ 11 w 11"/>
                <a:gd name="T17" fmla="*/ 3 h 7"/>
                <a:gd name="T18" fmla="*/ 11 w 11"/>
                <a:gd name="T19" fmla="*/ 2 h 7"/>
                <a:gd name="T20" fmla="*/ 9 w 11"/>
                <a:gd name="T21" fmla="*/ 1 h 7"/>
                <a:gd name="T22" fmla="*/ 8 w 11"/>
                <a:gd name="T23" fmla="*/ 1 h 7"/>
                <a:gd name="T24" fmla="*/ 5 w 11"/>
                <a:gd name="T25" fmla="*/ 0 h 7"/>
                <a:gd name="T26" fmla="*/ 4 w 11"/>
                <a:gd name="T27" fmla="*/ 0 h 7"/>
                <a:gd name="T28" fmla="*/ 4 w 11"/>
                <a:gd name="T29" fmla="*/ 2 h 7"/>
                <a:gd name="T30" fmla="*/ 3 w 11"/>
                <a:gd name="T31" fmla="*/ 3 h 7"/>
                <a:gd name="T32" fmla="*/ 2 w 11"/>
                <a:gd name="T33" fmla="*/ 3 h 7"/>
                <a:gd name="T34" fmla="*/ 1 w 11"/>
                <a:gd name="T35" fmla="*/ 5 h 7"/>
                <a:gd name="T36" fmla="*/ 0 w 11"/>
                <a:gd name="T3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7">
                  <a:moveTo>
                    <a:pt x="0" y="6"/>
                  </a:moveTo>
                  <a:cubicBezTo>
                    <a:pt x="1" y="6"/>
                    <a:pt x="1" y="6"/>
                    <a:pt x="1" y="6"/>
                  </a:cubicBezTo>
                  <a:cubicBezTo>
                    <a:pt x="1" y="6"/>
                    <a:pt x="2" y="7"/>
                    <a:pt x="3" y="7"/>
                  </a:cubicBezTo>
                  <a:cubicBezTo>
                    <a:pt x="3" y="7"/>
                    <a:pt x="4" y="7"/>
                    <a:pt x="4" y="7"/>
                  </a:cubicBezTo>
                  <a:cubicBezTo>
                    <a:pt x="4" y="6"/>
                    <a:pt x="4" y="6"/>
                    <a:pt x="4" y="6"/>
                  </a:cubicBezTo>
                  <a:cubicBezTo>
                    <a:pt x="5" y="4"/>
                    <a:pt x="5" y="4"/>
                    <a:pt x="5" y="4"/>
                  </a:cubicBezTo>
                  <a:cubicBezTo>
                    <a:pt x="7" y="3"/>
                    <a:pt x="7" y="3"/>
                    <a:pt x="7" y="3"/>
                  </a:cubicBezTo>
                  <a:cubicBezTo>
                    <a:pt x="7" y="3"/>
                    <a:pt x="10" y="4"/>
                    <a:pt x="10" y="4"/>
                  </a:cubicBezTo>
                  <a:cubicBezTo>
                    <a:pt x="10" y="4"/>
                    <a:pt x="11" y="3"/>
                    <a:pt x="11" y="3"/>
                  </a:cubicBezTo>
                  <a:cubicBezTo>
                    <a:pt x="11" y="2"/>
                    <a:pt x="11" y="2"/>
                    <a:pt x="11" y="2"/>
                  </a:cubicBezTo>
                  <a:cubicBezTo>
                    <a:pt x="9" y="1"/>
                    <a:pt x="9" y="1"/>
                    <a:pt x="9" y="1"/>
                  </a:cubicBezTo>
                  <a:cubicBezTo>
                    <a:pt x="8" y="1"/>
                    <a:pt x="8" y="1"/>
                    <a:pt x="8" y="1"/>
                  </a:cubicBezTo>
                  <a:cubicBezTo>
                    <a:pt x="8" y="1"/>
                    <a:pt x="6" y="0"/>
                    <a:pt x="5" y="0"/>
                  </a:cubicBezTo>
                  <a:cubicBezTo>
                    <a:pt x="5" y="0"/>
                    <a:pt x="4" y="0"/>
                    <a:pt x="4" y="0"/>
                  </a:cubicBezTo>
                  <a:cubicBezTo>
                    <a:pt x="4" y="0"/>
                    <a:pt x="4" y="1"/>
                    <a:pt x="4" y="2"/>
                  </a:cubicBezTo>
                  <a:cubicBezTo>
                    <a:pt x="4" y="3"/>
                    <a:pt x="3" y="3"/>
                    <a:pt x="3" y="3"/>
                  </a:cubicBezTo>
                  <a:cubicBezTo>
                    <a:pt x="2" y="3"/>
                    <a:pt x="2" y="3"/>
                    <a:pt x="2" y="3"/>
                  </a:cubicBezTo>
                  <a:cubicBezTo>
                    <a:pt x="1" y="5"/>
                    <a:pt x="1" y="5"/>
                    <a:pt x="1" y="5"/>
                  </a:cubicBezTo>
                  <a:lnTo>
                    <a:pt x="0" y="6"/>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37"/>
            <p:cNvSpPr>
              <a:spLocks/>
            </p:cNvSpPr>
            <p:nvPr/>
          </p:nvSpPr>
          <p:spPr bwMode="auto">
            <a:xfrm>
              <a:off x="5440746" y="3578139"/>
              <a:ext cx="5777" cy="13616"/>
            </a:xfrm>
            <a:custGeom>
              <a:avLst/>
              <a:gdLst>
                <a:gd name="T0" fmla="*/ 0 w 2"/>
                <a:gd name="T1" fmla="*/ 3 h 5"/>
                <a:gd name="T2" fmla="*/ 1 w 2"/>
                <a:gd name="T3" fmla="*/ 4 h 5"/>
                <a:gd name="T4" fmla="*/ 2 w 2"/>
                <a:gd name="T5" fmla="*/ 5 h 5"/>
                <a:gd name="T6" fmla="*/ 2 w 2"/>
                <a:gd name="T7" fmla="*/ 4 h 5"/>
                <a:gd name="T8" fmla="*/ 2 w 2"/>
                <a:gd name="T9" fmla="*/ 2 h 5"/>
                <a:gd name="T10" fmla="*/ 2 w 2"/>
                <a:gd name="T11" fmla="*/ 1 h 5"/>
                <a:gd name="T12" fmla="*/ 2 w 2"/>
                <a:gd name="T13" fmla="*/ 0 h 5"/>
                <a:gd name="T14" fmla="*/ 1 w 2"/>
                <a:gd name="T15" fmla="*/ 1 h 5"/>
                <a:gd name="T16" fmla="*/ 1 w 2"/>
                <a:gd name="T17" fmla="*/ 1 h 5"/>
                <a:gd name="T18" fmla="*/ 1 w 2"/>
                <a:gd name="T19" fmla="*/ 2 h 5"/>
                <a:gd name="T20" fmla="*/ 0 w 2"/>
                <a:gd name="T2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3"/>
                  </a:moveTo>
                  <a:cubicBezTo>
                    <a:pt x="1" y="3"/>
                    <a:pt x="1" y="4"/>
                    <a:pt x="1" y="4"/>
                  </a:cubicBezTo>
                  <a:cubicBezTo>
                    <a:pt x="2" y="5"/>
                    <a:pt x="2" y="5"/>
                    <a:pt x="2" y="5"/>
                  </a:cubicBezTo>
                  <a:cubicBezTo>
                    <a:pt x="2" y="5"/>
                    <a:pt x="2" y="4"/>
                    <a:pt x="2" y="4"/>
                  </a:cubicBezTo>
                  <a:cubicBezTo>
                    <a:pt x="2" y="3"/>
                    <a:pt x="2" y="2"/>
                    <a:pt x="2" y="2"/>
                  </a:cubicBezTo>
                  <a:cubicBezTo>
                    <a:pt x="2" y="2"/>
                    <a:pt x="2" y="1"/>
                    <a:pt x="2" y="1"/>
                  </a:cubicBezTo>
                  <a:cubicBezTo>
                    <a:pt x="2" y="1"/>
                    <a:pt x="2" y="0"/>
                    <a:pt x="2" y="0"/>
                  </a:cubicBezTo>
                  <a:cubicBezTo>
                    <a:pt x="2" y="0"/>
                    <a:pt x="1" y="1"/>
                    <a:pt x="1" y="1"/>
                  </a:cubicBezTo>
                  <a:cubicBezTo>
                    <a:pt x="1" y="1"/>
                    <a:pt x="1" y="1"/>
                    <a:pt x="1" y="1"/>
                  </a:cubicBezTo>
                  <a:cubicBezTo>
                    <a:pt x="1" y="1"/>
                    <a:pt x="1" y="2"/>
                    <a:pt x="1" y="2"/>
                  </a:cubicBezTo>
                  <a:cubicBezTo>
                    <a:pt x="1" y="3"/>
                    <a:pt x="0" y="3"/>
                    <a:pt x="0" y="3"/>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38"/>
            <p:cNvSpPr>
              <a:spLocks/>
            </p:cNvSpPr>
            <p:nvPr/>
          </p:nvSpPr>
          <p:spPr bwMode="auto">
            <a:xfrm>
              <a:off x="5403198" y="3589032"/>
              <a:ext cx="86649" cy="76250"/>
            </a:xfrm>
            <a:custGeom>
              <a:avLst/>
              <a:gdLst>
                <a:gd name="T0" fmla="*/ 13 w 30"/>
                <a:gd name="T1" fmla="*/ 4 h 28"/>
                <a:gd name="T2" fmla="*/ 11 w 30"/>
                <a:gd name="T3" fmla="*/ 5 h 28"/>
                <a:gd name="T4" fmla="*/ 8 w 30"/>
                <a:gd name="T5" fmla="*/ 6 h 28"/>
                <a:gd name="T6" fmla="*/ 6 w 30"/>
                <a:gd name="T7" fmla="*/ 7 h 28"/>
                <a:gd name="T8" fmla="*/ 2 w 30"/>
                <a:gd name="T9" fmla="*/ 7 h 28"/>
                <a:gd name="T10" fmla="*/ 0 w 30"/>
                <a:gd name="T11" fmla="*/ 8 h 28"/>
                <a:gd name="T12" fmla="*/ 0 w 30"/>
                <a:gd name="T13" fmla="*/ 9 h 28"/>
                <a:gd name="T14" fmla="*/ 1 w 30"/>
                <a:gd name="T15" fmla="*/ 10 h 28"/>
                <a:gd name="T16" fmla="*/ 2 w 30"/>
                <a:gd name="T17" fmla="*/ 11 h 28"/>
                <a:gd name="T18" fmla="*/ 3 w 30"/>
                <a:gd name="T19" fmla="*/ 11 h 28"/>
                <a:gd name="T20" fmla="*/ 3 w 30"/>
                <a:gd name="T21" fmla="*/ 13 h 28"/>
                <a:gd name="T22" fmla="*/ 3 w 30"/>
                <a:gd name="T23" fmla="*/ 14 h 28"/>
                <a:gd name="T24" fmla="*/ 5 w 30"/>
                <a:gd name="T25" fmla="*/ 17 h 28"/>
                <a:gd name="T26" fmla="*/ 5 w 30"/>
                <a:gd name="T27" fmla="*/ 19 h 28"/>
                <a:gd name="T28" fmla="*/ 7 w 30"/>
                <a:gd name="T29" fmla="*/ 21 h 28"/>
                <a:gd name="T30" fmla="*/ 9 w 30"/>
                <a:gd name="T31" fmla="*/ 22 h 28"/>
                <a:gd name="T32" fmla="*/ 10 w 30"/>
                <a:gd name="T33" fmla="*/ 23 h 28"/>
                <a:gd name="T34" fmla="*/ 11 w 30"/>
                <a:gd name="T35" fmla="*/ 24 h 28"/>
                <a:gd name="T36" fmla="*/ 10 w 30"/>
                <a:gd name="T37" fmla="*/ 25 h 28"/>
                <a:gd name="T38" fmla="*/ 11 w 30"/>
                <a:gd name="T39" fmla="*/ 27 h 28"/>
                <a:gd name="T40" fmla="*/ 13 w 30"/>
                <a:gd name="T41" fmla="*/ 27 h 28"/>
                <a:gd name="T42" fmla="*/ 13 w 30"/>
                <a:gd name="T43" fmla="*/ 25 h 28"/>
                <a:gd name="T44" fmla="*/ 17 w 30"/>
                <a:gd name="T45" fmla="*/ 27 h 28"/>
                <a:gd name="T46" fmla="*/ 21 w 30"/>
                <a:gd name="T47" fmla="*/ 28 h 28"/>
                <a:gd name="T48" fmla="*/ 23 w 30"/>
                <a:gd name="T49" fmla="*/ 27 h 28"/>
                <a:gd name="T50" fmla="*/ 26 w 30"/>
                <a:gd name="T51" fmla="*/ 26 h 28"/>
                <a:gd name="T52" fmla="*/ 27 w 30"/>
                <a:gd name="T53" fmla="*/ 25 h 28"/>
                <a:gd name="T54" fmla="*/ 27 w 30"/>
                <a:gd name="T55" fmla="*/ 23 h 28"/>
                <a:gd name="T56" fmla="*/ 28 w 30"/>
                <a:gd name="T57" fmla="*/ 22 h 28"/>
                <a:gd name="T58" fmla="*/ 28 w 30"/>
                <a:gd name="T59" fmla="*/ 20 h 28"/>
                <a:gd name="T60" fmla="*/ 28 w 30"/>
                <a:gd name="T61" fmla="*/ 18 h 28"/>
                <a:gd name="T62" fmla="*/ 28 w 30"/>
                <a:gd name="T63" fmla="*/ 15 h 28"/>
                <a:gd name="T64" fmla="*/ 26 w 30"/>
                <a:gd name="T65" fmla="*/ 13 h 28"/>
                <a:gd name="T66" fmla="*/ 26 w 30"/>
                <a:gd name="T67" fmla="*/ 12 h 28"/>
                <a:gd name="T68" fmla="*/ 26 w 30"/>
                <a:gd name="T69" fmla="*/ 11 h 28"/>
                <a:gd name="T70" fmla="*/ 26 w 30"/>
                <a:gd name="T71" fmla="*/ 10 h 28"/>
                <a:gd name="T72" fmla="*/ 27 w 30"/>
                <a:gd name="T73" fmla="*/ 10 h 28"/>
                <a:gd name="T74" fmla="*/ 28 w 30"/>
                <a:gd name="T75" fmla="*/ 7 h 28"/>
                <a:gd name="T76" fmla="*/ 30 w 30"/>
                <a:gd name="T77" fmla="*/ 5 h 28"/>
                <a:gd name="T78" fmla="*/ 30 w 30"/>
                <a:gd name="T79" fmla="*/ 3 h 28"/>
                <a:gd name="T80" fmla="*/ 26 w 30"/>
                <a:gd name="T81" fmla="*/ 2 h 28"/>
                <a:gd name="T82" fmla="*/ 26 w 30"/>
                <a:gd name="T83" fmla="*/ 2 h 28"/>
                <a:gd name="T84" fmla="*/ 25 w 30"/>
                <a:gd name="T85" fmla="*/ 1 h 28"/>
                <a:gd name="T86" fmla="*/ 23 w 30"/>
                <a:gd name="T87" fmla="*/ 1 h 28"/>
                <a:gd name="T88" fmla="*/ 22 w 30"/>
                <a:gd name="T89" fmla="*/ 0 h 28"/>
                <a:gd name="T90" fmla="*/ 21 w 30"/>
                <a:gd name="T91" fmla="*/ 1 h 28"/>
                <a:gd name="T92" fmla="*/ 19 w 30"/>
                <a:gd name="T93" fmla="*/ 1 h 28"/>
                <a:gd name="T94" fmla="*/ 18 w 30"/>
                <a:gd name="T95" fmla="*/ 2 h 28"/>
                <a:gd name="T96" fmla="*/ 19 w 30"/>
                <a:gd name="T97" fmla="*/ 3 h 28"/>
                <a:gd name="T98" fmla="*/ 20 w 30"/>
                <a:gd name="T99" fmla="*/ 6 h 28"/>
                <a:gd name="T100" fmla="*/ 21 w 30"/>
                <a:gd name="T101" fmla="*/ 7 h 28"/>
                <a:gd name="T102" fmla="*/ 22 w 30"/>
                <a:gd name="T103" fmla="*/ 8 h 28"/>
                <a:gd name="T104" fmla="*/ 20 w 30"/>
                <a:gd name="T105" fmla="*/ 7 h 28"/>
                <a:gd name="T106" fmla="*/ 19 w 30"/>
                <a:gd name="T107" fmla="*/ 5 h 28"/>
                <a:gd name="T108" fmla="*/ 16 w 30"/>
                <a:gd name="T109" fmla="*/ 4 h 28"/>
                <a:gd name="T110" fmla="*/ 15 w 30"/>
                <a:gd name="T111" fmla="*/ 1 h 28"/>
                <a:gd name="T112" fmla="*/ 15 w 30"/>
                <a:gd name="T113" fmla="*/ 1 h 28"/>
                <a:gd name="T114" fmla="*/ 14 w 30"/>
                <a:gd name="T115" fmla="*/ 4 h 28"/>
                <a:gd name="T116" fmla="*/ 13 w 30"/>
                <a:gd name="T117"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 h="28">
                  <a:moveTo>
                    <a:pt x="13" y="4"/>
                  </a:moveTo>
                  <a:cubicBezTo>
                    <a:pt x="11" y="5"/>
                    <a:pt x="11" y="5"/>
                    <a:pt x="11" y="5"/>
                  </a:cubicBezTo>
                  <a:cubicBezTo>
                    <a:pt x="11" y="5"/>
                    <a:pt x="8" y="6"/>
                    <a:pt x="8" y="6"/>
                  </a:cubicBezTo>
                  <a:cubicBezTo>
                    <a:pt x="7" y="6"/>
                    <a:pt x="6" y="7"/>
                    <a:pt x="6" y="7"/>
                  </a:cubicBezTo>
                  <a:cubicBezTo>
                    <a:pt x="2" y="7"/>
                    <a:pt x="2" y="7"/>
                    <a:pt x="2" y="7"/>
                  </a:cubicBezTo>
                  <a:cubicBezTo>
                    <a:pt x="0" y="8"/>
                    <a:pt x="0" y="8"/>
                    <a:pt x="0" y="8"/>
                  </a:cubicBezTo>
                  <a:cubicBezTo>
                    <a:pt x="0" y="9"/>
                    <a:pt x="0" y="9"/>
                    <a:pt x="0" y="9"/>
                  </a:cubicBezTo>
                  <a:cubicBezTo>
                    <a:pt x="1" y="10"/>
                    <a:pt x="1" y="10"/>
                    <a:pt x="1" y="10"/>
                  </a:cubicBezTo>
                  <a:cubicBezTo>
                    <a:pt x="2" y="11"/>
                    <a:pt x="2" y="11"/>
                    <a:pt x="2" y="11"/>
                  </a:cubicBezTo>
                  <a:cubicBezTo>
                    <a:pt x="3" y="11"/>
                    <a:pt x="3" y="11"/>
                    <a:pt x="3" y="11"/>
                  </a:cubicBezTo>
                  <a:cubicBezTo>
                    <a:pt x="3" y="13"/>
                    <a:pt x="3" y="13"/>
                    <a:pt x="3" y="13"/>
                  </a:cubicBezTo>
                  <a:cubicBezTo>
                    <a:pt x="3" y="14"/>
                    <a:pt x="3" y="14"/>
                    <a:pt x="3" y="14"/>
                  </a:cubicBezTo>
                  <a:cubicBezTo>
                    <a:pt x="3" y="14"/>
                    <a:pt x="4" y="15"/>
                    <a:pt x="5" y="17"/>
                  </a:cubicBezTo>
                  <a:cubicBezTo>
                    <a:pt x="5" y="18"/>
                    <a:pt x="5" y="19"/>
                    <a:pt x="5" y="19"/>
                  </a:cubicBezTo>
                  <a:cubicBezTo>
                    <a:pt x="7" y="21"/>
                    <a:pt x="7" y="21"/>
                    <a:pt x="7" y="21"/>
                  </a:cubicBezTo>
                  <a:cubicBezTo>
                    <a:pt x="9" y="22"/>
                    <a:pt x="9" y="22"/>
                    <a:pt x="9" y="22"/>
                  </a:cubicBezTo>
                  <a:cubicBezTo>
                    <a:pt x="9" y="22"/>
                    <a:pt x="10" y="23"/>
                    <a:pt x="10" y="23"/>
                  </a:cubicBezTo>
                  <a:cubicBezTo>
                    <a:pt x="11" y="23"/>
                    <a:pt x="11" y="24"/>
                    <a:pt x="11" y="24"/>
                  </a:cubicBezTo>
                  <a:cubicBezTo>
                    <a:pt x="10" y="25"/>
                    <a:pt x="10" y="25"/>
                    <a:pt x="10" y="25"/>
                  </a:cubicBezTo>
                  <a:cubicBezTo>
                    <a:pt x="11" y="27"/>
                    <a:pt x="11" y="27"/>
                    <a:pt x="11" y="27"/>
                  </a:cubicBezTo>
                  <a:cubicBezTo>
                    <a:pt x="13" y="27"/>
                    <a:pt x="13" y="27"/>
                    <a:pt x="13" y="27"/>
                  </a:cubicBezTo>
                  <a:cubicBezTo>
                    <a:pt x="13" y="25"/>
                    <a:pt x="13" y="25"/>
                    <a:pt x="13" y="25"/>
                  </a:cubicBezTo>
                  <a:cubicBezTo>
                    <a:pt x="17" y="27"/>
                    <a:pt x="17" y="27"/>
                    <a:pt x="17" y="27"/>
                  </a:cubicBezTo>
                  <a:cubicBezTo>
                    <a:pt x="17" y="27"/>
                    <a:pt x="21" y="28"/>
                    <a:pt x="21" y="28"/>
                  </a:cubicBezTo>
                  <a:cubicBezTo>
                    <a:pt x="21" y="28"/>
                    <a:pt x="23" y="27"/>
                    <a:pt x="23" y="27"/>
                  </a:cubicBezTo>
                  <a:cubicBezTo>
                    <a:pt x="23" y="27"/>
                    <a:pt x="26" y="27"/>
                    <a:pt x="26" y="26"/>
                  </a:cubicBezTo>
                  <a:cubicBezTo>
                    <a:pt x="26" y="26"/>
                    <a:pt x="27" y="26"/>
                    <a:pt x="27" y="25"/>
                  </a:cubicBezTo>
                  <a:cubicBezTo>
                    <a:pt x="27" y="25"/>
                    <a:pt x="27" y="24"/>
                    <a:pt x="27" y="23"/>
                  </a:cubicBezTo>
                  <a:cubicBezTo>
                    <a:pt x="27" y="23"/>
                    <a:pt x="28" y="22"/>
                    <a:pt x="28" y="22"/>
                  </a:cubicBezTo>
                  <a:cubicBezTo>
                    <a:pt x="28" y="20"/>
                    <a:pt x="28" y="20"/>
                    <a:pt x="28" y="20"/>
                  </a:cubicBezTo>
                  <a:cubicBezTo>
                    <a:pt x="28" y="18"/>
                    <a:pt x="28" y="18"/>
                    <a:pt x="28" y="18"/>
                  </a:cubicBezTo>
                  <a:cubicBezTo>
                    <a:pt x="28" y="15"/>
                    <a:pt x="28" y="15"/>
                    <a:pt x="28" y="15"/>
                  </a:cubicBezTo>
                  <a:cubicBezTo>
                    <a:pt x="26" y="13"/>
                    <a:pt x="26" y="13"/>
                    <a:pt x="26" y="13"/>
                  </a:cubicBezTo>
                  <a:cubicBezTo>
                    <a:pt x="26" y="12"/>
                    <a:pt x="26" y="12"/>
                    <a:pt x="26" y="12"/>
                  </a:cubicBezTo>
                  <a:cubicBezTo>
                    <a:pt x="26" y="11"/>
                    <a:pt x="26" y="11"/>
                    <a:pt x="26" y="11"/>
                  </a:cubicBezTo>
                  <a:cubicBezTo>
                    <a:pt x="26" y="10"/>
                    <a:pt x="26" y="10"/>
                    <a:pt x="26" y="10"/>
                  </a:cubicBezTo>
                  <a:cubicBezTo>
                    <a:pt x="27" y="10"/>
                    <a:pt x="27" y="10"/>
                    <a:pt x="27" y="10"/>
                  </a:cubicBezTo>
                  <a:cubicBezTo>
                    <a:pt x="28" y="7"/>
                    <a:pt x="28" y="7"/>
                    <a:pt x="28" y="7"/>
                  </a:cubicBezTo>
                  <a:cubicBezTo>
                    <a:pt x="30" y="5"/>
                    <a:pt x="30" y="5"/>
                    <a:pt x="30" y="5"/>
                  </a:cubicBezTo>
                  <a:cubicBezTo>
                    <a:pt x="30" y="3"/>
                    <a:pt x="30" y="3"/>
                    <a:pt x="30" y="3"/>
                  </a:cubicBezTo>
                  <a:cubicBezTo>
                    <a:pt x="30" y="3"/>
                    <a:pt x="28" y="2"/>
                    <a:pt x="26" y="2"/>
                  </a:cubicBezTo>
                  <a:cubicBezTo>
                    <a:pt x="25" y="2"/>
                    <a:pt x="26" y="2"/>
                    <a:pt x="26" y="2"/>
                  </a:cubicBezTo>
                  <a:cubicBezTo>
                    <a:pt x="26" y="1"/>
                    <a:pt x="25" y="1"/>
                    <a:pt x="25" y="1"/>
                  </a:cubicBezTo>
                  <a:cubicBezTo>
                    <a:pt x="25" y="1"/>
                    <a:pt x="23" y="2"/>
                    <a:pt x="23" y="1"/>
                  </a:cubicBezTo>
                  <a:cubicBezTo>
                    <a:pt x="23" y="1"/>
                    <a:pt x="22" y="0"/>
                    <a:pt x="22" y="0"/>
                  </a:cubicBezTo>
                  <a:cubicBezTo>
                    <a:pt x="22" y="0"/>
                    <a:pt x="21" y="1"/>
                    <a:pt x="21" y="1"/>
                  </a:cubicBezTo>
                  <a:cubicBezTo>
                    <a:pt x="20" y="1"/>
                    <a:pt x="19" y="1"/>
                    <a:pt x="19" y="1"/>
                  </a:cubicBezTo>
                  <a:cubicBezTo>
                    <a:pt x="19" y="1"/>
                    <a:pt x="19" y="1"/>
                    <a:pt x="18" y="2"/>
                  </a:cubicBezTo>
                  <a:cubicBezTo>
                    <a:pt x="18" y="2"/>
                    <a:pt x="19" y="3"/>
                    <a:pt x="19" y="3"/>
                  </a:cubicBezTo>
                  <a:cubicBezTo>
                    <a:pt x="19" y="4"/>
                    <a:pt x="20" y="6"/>
                    <a:pt x="20" y="6"/>
                  </a:cubicBezTo>
                  <a:cubicBezTo>
                    <a:pt x="21" y="7"/>
                    <a:pt x="21" y="7"/>
                    <a:pt x="21" y="7"/>
                  </a:cubicBezTo>
                  <a:cubicBezTo>
                    <a:pt x="22" y="8"/>
                    <a:pt x="22" y="8"/>
                    <a:pt x="22" y="8"/>
                  </a:cubicBezTo>
                  <a:cubicBezTo>
                    <a:pt x="20" y="7"/>
                    <a:pt x="20" y="7"/>
                    <a:pt x="20" y="7"/>
                  </a:cubicBezTo>
                  <a:cubicBezTo>
                    <a:pt x="19" y="5"/>
                    <a:pt x="19" y="5"/>
                    <a:pt x="19" y="5"/>
                  </a:cubicBezTo>
                  <a:cubicBezTo>
                    <a:pt x="16" y="4"/>
                    <a:pt x="16" y="4"/>
                    <a:pt x="16" y="4"/>
                  </a:cubicBezTo>
                  <a:cubicBezTo>
                    <a:pt x="16" y="4"/>
                    <a:pt x="15" y="2"/>
                    <a:pt x="15" y="1"/>
                  </a:cubicBezTo>
                  <a:cubicBezTo>
                    <a:pt x="15" y="1"/>
                    <a:pt x="15" y="1"/>
                    <a:pt x="15" y="1"/>
                  </a:cubicBezTo>
                  <a:cubicBezTo>
                    <a:pt x="15" y="1"/>
                    <a:pt x="15" y="3"/>
                    <a:pt x="14" y="4"/>
                  </a:cubicBezTo>
                  <a:cubicBezTo>
                    <a:pt x="13" y="4"/>
                    <a:pt x="13" y="4"/>
                    <a:pt x="13" y="4"/>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39"/>
            <p:cNvSpPr>
              <a:spLocks/>
            </p:cNvSpPr>
            <p:nvPr/>
          </p:nvSpPr>
          <p:spPr bwMode="auto">
            <a:xfrm>
              <a:off x="5498511" y="3673451"/>
              <a:ext cx="64987" cy="38125"/>
            </a:xfrm>
            <a:custGeom>
              <a:avLst/>
              <a:gdLst>
                <a:gd name="T0" fmla="*/ 0 w 22"/>
                <a:gd name="T1" fmla="*/ 6 h 14"/>
                <a:gd name="T2" fmla="*/ 1 w 22"/>
                <a:gd name="T3" fmla="*/ 7 h 14"/>
                <a:gd name="T4" fmla="*/ 1 w 22"/>
                <a:gd name="T5" fmla="*/ 9 h 14"/>
                <a:gd name="T6" fmla="*/ 3 w 22"/>
                <a:gd name="T7" fmla="*/ 10 h 14"/>
                <a:gd name="T8" fmla="*/ 7 w 22"/>
                <a:gd name="T9" fmla="*/ 10 h 14"/>
                <a:gd name="T10" fmla="*/ 7 w 22"/>
                <a:gd name="T11" fmla="*/ 11 h 14"/>
                <a:gd name="T12" fmla="*/ 10 w 22"/>
                <a:gd name="T13" fmla="*/ 12 h 14"/>
                <a:gd name="T14" fmla="*/ 12 w 22"/>
                <a:gd name="T15" fmla="*/ 14 h 14"/>
                <a:gd name="T16" fmla="*/ 14 w 22"/>
                <a:gd name="T17" fmla="*/ 14 h 14"/>
                <a:gd name="T18" fmla="*/ 14 w 22"/>
                <a:gd name="T19" fmla="*/ 13 h 14"/>
                <a:gd name="T20" fmla="*/ 17 w 22"/>
                <a:gd name="T21" fmla="*/ 13 h 14"/>
                <a:gd name="T22" fmla="*/ 19 w 22"/>
                <a:gd name="T23" fmla="*/ 13 h 14"/>
                <a:gd name="T24" fmla="*/ 21 w 22"/>
                <a:gd name="T25" fmla="*/ 13 h 14"/>
                <a:gd name="T26" fmla="*/ 22 w 22"/>
                <a:gd name="T27" fmla="*/ 13 h 14"/>
                <a:gd name="T28" fmla="*/ 22 w 22"/>
                <a:gd name="T29" fmla="*/ 11 h 14"/>
                <a:gd name="T30" fmla="*/ 22 w 22"/>
                <a:gd name="T31" fmla="*/ 11 h 14"/>
                <a:gd name="T32" fmla="*/ 20 w 22"/>
                <a:gd name="T33" fmla="*/ 10 h 14"/>
                <a:gd name="T34" fmla="*/ 21 w 22"/>
                <a:gd name="T35" fmla="*/ 10 h 14"/>
                <a:gd name="T36" fmla="*/ 22 w 22"/>
                <a:gd name="T37" fmla="*/ 9 h 14"/>
                <a:gd name="T38" fmla="*/ 21 w 22"/>
                <a:gd name="T39" fmla="*/ 8 h 14"/>
                <a:gd name="T40" fmla="*/ 20 w 22"/>
                <a:gd name="T41" fmla="*/ 7 h 14"/>
                <a:gd name="T42" fmla="*/ 19 w 22"/>
                <a:gd name="T43" fmla="*/ 4 h 14"/>
                <a:gd name="T44" fmla="*/ 18 w 22"/>
                <a:gd name="T45" fmla="*/ 2 h 14"/>
                <a:gd name="T46" fmla="*/ 17 w 22"/>
                <a:gd name="T47" fmla="*/ 2 h 14"/>
                <a:gd name="T48" fmla="*/ 16 w 22"/>
                <a:gd name="T49" fmla="*/ 3 h 14"/>
                <a:gd name="T50" fmla="*/ 15 w 22"/>
                <a:gd name="T51" fmla="*/ 4 h 14"/>
                <a:gd name="T52" fmla="*/ 14 w 22"/>
                <a:gd name="T53" fmla="*/ 5 h 14"/>
                <a:gd name="T54" fmla="*/ 11 w 22"/>
                <a:gd name="T55" fmla="*/ 3 h 14"/>
                <a:gd name="T56" fmla="*/ 10 w 22"/>
                <a:gd name="T57" fmla="*/ 3 h 14"/>
                <a:gd name="T58" fmla="*/ 8 w 22"/>
                <a:gd name="T59" fmla="*/ 2 h 14"/>
                <a:gd name="T60" fmla="*/ 8 w 22"/>
                <a:gd name="T61" fmla="*/ 1 h 14"/>
                <a:gd name="T62" fmla="*/ 7 w 22"/>
                <a:gd name="T63" fmla="*/ 0 h 14"/>
                <a:gd name="T64" fmla="*/ 4 w 22"/>
                <a:gd name="T65" fmla="*/ 0 h 14"/>
                <a:gd name="T66" fmla="*/ 3 w 22"/>
                <a:gd name="T67" fmla="*/ 1 h 14"/>
                <a:gd name="T68" fmla="*/ 1 w 22"/>
                <a:gd name="T69" fmla="*/ 1 h 14"/>
                <a:gd name="T70" fmla="*/ 1 w 22"/>
                <a:gd name="T71" fmla="*/ 4 h 14"/>
                <a:gd name="T72" fmla="*/ 2 w 22"/>
                <a:gd name="T73" fmla="*/ 5 h 14"/>
                <a:gd name="T74" fmla="*/ 2 w 22"/>
                <a:gd name="T75" fmla="*/ 6 h 14"/>
                <a:gd name="T76" fmla="*/ 1 w 22"/>
                <a:gd name="T77" fmla="*/ 6 h 14"/>
                <a:gd name="T78" fmla="*/ 0 w 22"/>
                <a:gd name="T79"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 h="14">
                  <a:moveTo>
                    <a:pt x="0" y="6"/>
                  </a:moveTo>
                  <a:cubicBezTo>
                    <a:pt x="1" y="7"/>
                    <a:pt x="1" y="7"/>
                    <a:pt x="1" y="7"/>
                  </a:cubicBezTo>
                  <a:cubicBezTo>
                    <a:pt x="1" y="7"/>
                    <a:pt x="1" y="8"/>
                    <a:pt x="1" y="9"/>
                  </a:cubicBezTo>
                  <a:cubicBezTo>
                    <a:pt x="2" y="9"/>
                    <a:pt x="3" y="10"/>
                    <a:pt x="3" y="10"/>
                  </a:cubicBezTo>
                  <a:cubicBezTo>
                    <a:pt x="3" y="10"/>
                    <a:pt x="6" y="10"/>
                    <a:pt x="7" y="10"/>
                  </a:cubicBezTo>
                  <a:cubicBezTo>
                    <a:pt x="7" y="10"/>
                    <a:pt x="7" y="11"/>
                    <a:pt x="7" y="11"/>
                  </a:cubicBezTo>
                  <a:cubicBezTo>
                    <a:pt x="7" y="11"/>
                    <a:pt x="9" y="11"/>
                    <a:pt x="10" y="12"/>
                  </a:cubicBezTo>
                  <a:cubicBezTo>
                    <a:pt x="11" y="13"/>
                    <a:pt x="12" y="13"/>
                    <a:pt x="12" y="14"/>
                  </a:cubicBezTo>
                  <a:cubicBezTo>
                    <a:pt x="12" y="14"/>
                    <a:pt x="14" y="14"/>
                    <a:pt x="14" y="14"/>
                  </a:cubicBezTo>
                  <a:cubicBezTo>
                    <a:pt x="14" y="13"/>
                    <a:pt x="14" y="13"/>
                    <a:pt x="14" y="13"/>
                  </a:cubicBezTo>
                  <a:cubicBezTo>
                    <a:pt x="17" y="13"/>
                    <a:pt x="17" y="13"/>
                    <a:pt x="17" y="13"/>
                  </a:cubicBezTo>
                  <a:cubicBezTo>
                    <a:pt x="19" y="13"/>
                    <a:pt x="19" y="13"/>
                    <a:pt x="19" y="13"/>
                  </a:cubicBezTo>
                  <a:cubicBezTo>
                    <a:pt x="21" y="13"/>
                    <a:pt x="21" y="13"/>
                    <a:pt x="21" y="13"/>
                  </a:cubicBezTo>
                  <a:cubicBezTo>
                    <a:pt x="22" y="13"/>
                    <a:pt x="22" y="13"/>
                    <a:pt x="22" y="13"/>
                  </a:cubicBezTo>
                  <a:cubicBezTo>
                    <a:pt x="22" y="11"/>
                    <a:pt x="22" y="11"/>
                    <a:pt x="22" y="11"/>
                  </a:cubicBezTo>
                  <a:cubicBezTo>
                    <a:pt x="22" y="11"/>
                    <a:pt x="22" y="11"/>
                    <a:pt x="22" y="11"/>
                  </a:cubicBezTo>
                  <a:cubicBezTo>
                    <a:pt x="20" y="10"/>
                    <a:pt x="20" y="10"/>
                    <a:pt x="20" y="10"/>
                  </a:cubicBezTo>
                  <a:cubicBezTo>
                    <a:pt x="21" y="10"/>
                    <a:pt x="21" y="10"/>
                    <a:pt x="21" y="10"/>
                  </a:cubicBezTo>
                  <a:cubicBezTo>
                    <a:pt x="22" y="9"/>
                    <a:pt x="22" y="9"/>
                    <a:pt x="22" y="9"/>
                  </a:cubicBezTo>
                  <a:cubicBezTo>
                    <a:pt x="21" y="8"/>
                    <a:pt x="21" y="8"/>
                    <a:pt x="21" y="8"/>
                  </a:cubicBezTo>
                  <a:cubicBezTo>
                    <a:pt x="20" y="7"/>
                    <a:pt x="20" y="7"/>
                    <a:pt x="20" y="7"/>
                  </a:cubicBezTo>
                  <a:cubicBezTo>
                    <a:pt x="19" y="4"/>
                    <a:pt x="19" y="4"/>
                    <a:pt x="19" y="4"/>
                  </a:cubicBezTo>
                  <a:cubicBezTo>
                    <a:pt x="18" y="2"/>
                    <a:pt x="18" y="2"/>
                    <a:pt x="18" y="2"/>
                  </a:cubicBezTo>
                  <a:cubicBezTo>
                    <a:pt x="17" y="2"/>
                    <a:pt x="17" y="2"/>
                    <a:pt x="17" y="2"/>
                  </a:cubicBezTo>
                  <a:cubicBezTo>
                    <a:pt x="16" y="3"/>
                    <a:pt x="16" y="3"/>
                    <a:pt x="16" y="3"/>
                  </a:cubicBezTo>
                  <a:cubicBezTo>
                    <a:pt x="15" y="4"/>
                    <a:pt x="15" y="4"/>
                    <a:pt x="15" y="4"/>
                  </a:cubicBezTo>
                  <a:cubicBezTo>
                    <a:pt x="14" y="5"/>
                    <a:pt x="14" y="5"/>
                    <a:pt x="14" y="5"/>
                  </a:cubicBezTo>
                  <a:cubicBezTo>
                    <a:pt x="14" y="5"/>
                    <a:pt x="12" y="4"/>
                    <a:pt x="11" y="3"/>
                  </a:cubicBezTo>
                  <a:cubicBezTo>
                    <a:pt x="10" y="3"/>
                    <a:pt x="10" y="3"/>
                    <a:pt x="10" y="3"/>
                  </a:cubicBezTo>
                  <a:cubicBezTo>
                    <a:pt x="10" y="3"/>
                    <a:pt x="9" y="2"/>
                    <a:pt x="8" y="2"/>
                  </a:cubicBezTo>
                  <a:cubicBezTo>
                    <a:pt x="8" y="2"/>
                    <a:pt x="8" y="1"/>
                    <a:pt x="8" y="1"/>
                  </a:cubicBezTo>
                  <a:cubicBezTo>
                    <a:pt x="8" y="1"/>
                    <a:pt x="7" y="0"/>
                    <a:pt x="7" y="0"/>
                  </a:cubicBezTo>
                  <a:cubicBezTo>
                    <a:pt x="6" y="0"/>
                    <a:pt x="6" y="0"/>
                    <a:pt x="4" y="0"/>
                  </a:cubicBezTo>
                  <a:cubicBezTo>
                    <a:pt x="3" y="0"/>
                    <a:pt x="3" y="0"/>
                    <a:pt x="3" y="1"/>
                  </a:cubicBezTo>
                  <a:cubicBezTo>
                    <a:pt x="2" y="1"/>
                    <a:pt x="2" y="1"/>
                    <a:pt x="1" y="1"/>
                  </a:cubicBezTo>
                  <a:cubicBezTo>
                    <a:pt x="1" y="2"/>
                    <a:pt x="1" y="4"/>
                    <a:pt x="1" y="4"/>
                  </a:cubicBezTo>
                  <a:cubicBezTo>
                    <a:pt x="2" y="5"/>
                    <a:pt x="2" y="5"/>
                    <a:pt x="2" y="5"/>
                  </a:cubicBezTo>
                  <a:cubicBezTo>
                    <a:pt x="2" y="6"/>
                    <a:pt x="2" y="6"/>
                    <a:pt x="2" y="6"/>
                  </a:cubicBezTo>
                  <a:cubicBezTo>
                    <a:pt x="1" y="6"/>
                    <a:pt x="1" y="6"/>
                    <a:pt x="1" y="6"/>
                  </a:cubicBezTo>
                  <a:lnTo>
                    <a:pt x="0" y="6"/>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40"/>
            <p:cNvSpPr>
              <a:spLocks/>
            </p:cNvSpPr>
            <p:nvPr/>
          </p:nvSpPr>
          <p:spPr bwMode="auto">
            <a:xfrm>
              <a:off x="5458075" y="3550907"/>
              <a:ext cx="11553" cy="29955"/>
            </a:xfrm>
            <a:custGeom>
              <a:avLst/>
              <a:gdLst>
                <a:gd name="T0" fmla="*/ 4 w 4"/>
                <a:gd name="T1" fmla="*/ 5 h 11"/>
                <a:gd name="T2" fmla="*/ 3 w 4"/>
                <a:gd name="T3" fmla="*/ 3 h 11"/>
                <a:gd name="T4" fmla="*/ 2 w 4"/>
                <a:gd name="T5" fmla="*/ 0 h 11"/>
                <a:gd name="T6" fmla="*/ 0 w 4"/>
                <a:gd name="T7" fmla="*/ 0 h 11"/>
                <a:gd name="T8" fmla="*/ 0 w 4"/>
                <a:gd name="T9" fmla="*/ 2 h 11"/>
                <a:gd name="T10" fmla="*/ 1 w 4"/>
                <a:gd name="T11" fmla="*/ 3 h 11"/>
                <a:gd name="T12" fmla="*/ 2 w 4"/>
                <a:gd name="T13" fmla="*/ 4 h 11"/>
                <a:gd name="T14" fmla="*/ 2 w 4"/>
                <a:gd name="T15" fmla="*/ 5 h 11"/>
                <a:gd name="T16" fmla="*/ 1 w 4"/>
                <a:gd name="T17" fmla="*/ 6 h 11"/>
                <a:gd name="T18" fmla="*/ 1 w 4"/>
                <a:gd name="T19" fmla="*/ 8 h 11"/>
                <a:gd name="T20" fmla="*/ 1 w 4"/>
                <a:gd name="T21" fmla="*/ 9 h 11"/>
                <a:gd name="T22" fmla="*/ 1 w 4"/>
                <a:gd name="T23" fmla="*/ 11 h 11"/>
                <a:gd name="T24" fmla="*/ 3 w 4"/>
                <a:gd name="T25" fmla="*/ 11 h 11"/>
                <a:gd name="T26" fmla="*/ 4 w 4"/>
                <a:gd name="T27" fmla="*/ 9 h 11"/>
                <a:gd name="T28" fmla="*/ 4 w 4"/>
                <a:gd name="T29" fmla="*/ 8 h 11"/>
                <a:gd name="T30" fmla="*/ 4 w 4"/>
                <a:gd name="T31" fmla="*/ 7 h 11"/>
                <a:gd name="T32" fmla="*/ 4 w 4"/>
                <a:gd name="T33" fmla="*/ 5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11">
                  <a:moveTo>
                    <a:pt x="4" y="5"/>
                  </a:moveTo>
                  <a:cubicBezTo>
                    <a:pt x="3" y="3"/>
                    <a:pt x="3" y="3"/>
                    <a:pt x="3" y="3"/>
                  </a:cubicBezTo>
                  <a:cubicBezTo>
                    <a:pt x="2" y="0"/>
                    <a:pt x="2" y="0"/>
                    <a:pt x="2" y="0"/>
                  </a:cubicBezTo>
                  <a:cubicBezTo>
                    <a:pt x="0" y="0"/>
                    <a:pt x="0" y="0"/>
                    <a:pt x="0" y="0"/>
                  </a:cubicBezTo>
                  <a:cubicBezTo>
                    <a:pt x="0" y="0"/>
                    <a:pt x="0" y="2"/>
                    <a:pt x="0" y="2"/>
                  </a:cubicBezTo>
                  <a:cubicBezTo>
                    <a:pt x="1" y="2"/>
                    <a:pt x="1" y="3"/>
                    <a:pt x="1" y="3"/>
                  </a:cubicBezTo>
                  <a:cubicBezTo>
                    <a:pt x="2" y="4"/>
                    <a:pt x="2" y="4"/>
                    <a:pt x="2" y="4"/>
                  </a:cubicBezTo>
                  <a:cubicBezTo>
                    <a:pt x="2" y="5"/>
                    <a:pt x="2" y="5"/>
                    <a:pt x="2" y="5"/>
                  </a:cubicBezTo>
                  <a:cubicBezTo>
                    <a:pt x="1" y="6"/>
                    <a:pt x="1" y="6"/>
                    <a:pt x="1" y="6"/>
                  </a:cubicBezTo>
                  <a:cubicBezTo>
                    <a:pt x="1" y="8"/>
                    <a:pt x="1" y="8"/>
                    <a:pt x="1" y="8"/>
                  </a:cubicBezTo>
                  <a:cubicBezTo>
                    <a:pt x="1" y="9"/>
                    <a:pt x="1" y="9"/>
                    <a:pt x="1" y="9"/>
                  </a:cubicBezTo>
                  <a:cubicBezTo>
                    <a:pt x="1" y="11"/>
                    <a:pt x="1" y="11"/>
                    <a:pt x="1" y="11"/>
                  </a:cubicBezTo>
                  <a:cubicBezTo>
                    <a:pt x="3" y="11"/>
                    <a:pt x="3" y="11"/>
                    <a:pt x="3" y="11"/>
                  </a:cubicBezTo>
                  <a:cubicBezTo>
                    <a:pt x="4" y="9"/>
                    <a:pt x="4" y="9"/>
                    <a:pt x="4" y="9"/>
                  </a:cubicBezTo>
                  <a:cubicBezTo>
                    <a:pt x="4" y="9"/>
                    <a:pt x="4" y="8"/>
                    <a:pt x="4" y="8"/>
                  </a:cubicBezTo>
                  <a:cubicBezTo>
                    <a:pt x="4" y="7"/>
                    <a:pt x="4" y="7"/>
                    <a:pt x="4" y="7"/>
                  </a:cubicBezTo>
                  <a:cubicBezTo>
                    <a:pt x="4" y="5"/>
                    <a:pt x="4" y="5"/>
                    <a:pt x="4" y="5"/>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reeform 41"/>
            <p:cNvSpPr>
              <a:spLocks/>
            </p:cNvSpPr>
            <p:nvPr/>
          </p:nvSpPr>
          <p:spPr bwMode="auto">
            <a:xfrm>
              <a:off x="5403198" y="3659835"/>
              <a:ext cx="28883" cy="24509"/>
            </a:xfrm>
            <a:custGeom>
              <a:avLst/>
              <a:gdLst>
                <a:gd name="T0" fmla="*/ 0 w 10"/>
                <a:gd name="T1" fmla="*/ 3 h 9"/>
                <a:gd name="T2" fmla="*/ 1 w 10"/>
                <a:gd name="T3" fmla="*/ 3 h 9"/>
                <a:gd name="T4" fmla="*/ 3 w 10"/>
                <a:gd name="T5" fmla="*/ 4 h 9"/>
                <a:gd name="T6" fmla="*/ 4 w 10"/>
                <a:gd name="T7" fmla="*/ 5 h 9"/>
                <a:gd name="T8" fmla="*/ 3 w 10"/>
                <a:gd name="T9" fmla="*/ 6 h 9"/>
                <a:gd name="T10" fmla="*/ 5 w 10"/>
                <a:gd name="T11" fmla="*/ 8 h 9"/>
                <a:gd name="T12" fmla="*/ 5 w 10"/>
                <a:gd name="T13" fmla="*/ 8 h 9"/>
                <a:gd name="T14" fmla="*/ 7 w 10"/>
                <a:gd name="T15" fmla="*/ 9 h 9"/>
                <a:gd name="T16" fmla="*/ 9 w 10"/>
                <a:gd name="T17" fmla="*/ 9 h 9"/>
                <a:gd name="T18" fmla="*/ 10 w 10"/>
                <a:gd name="T19" fmla="*/ 8 h 9"/>
                <a:gd name="T20" fmla="*/ 10 w 10"/>
                <a:gd name="T21" fmla="*/ 7 h 9"/>
                <a:gd name="T22" fmla="*/ 9 w 10"/>
                <a:gd name="T23" fmla="*/ 5 h 9"/>
                <a:gd name="T24" fmla="*/ 8 w 10"/>
                <a:gd name="T25" fmla="*/ 3 h 9"/>
                <a:gd name="T26" fmla="*/ 5 w 10"/>
                <a:gd name="T27" fmla="*/ 3 h 9"/>
                <a:gd name="T28" fmla="*/ 3 w 10"/>
                <a:gd name="T29" fmla="*/ 1 h 9"/>
                <a:gd name="T30" fmla="*/ 1 w 10"/>
                <a:gd name="T31" fmla="*/ 0 h 9"/>
                <a:gd name="T32" fmla="*/ 0 w 10"/>
                <a:gd name="T33" fmla="*/ 1 h 9"/>
                <a:gd name="T34" fmla="*/ 0 w 10"/>
                <a:gd name="T35"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9">
                  <a:moveTo>
                    <a:pt x="0" y="3"/>
                  </a:moveTo>
                  <a:cubicBezTo>
                    <a:pt x="1" y="3"/>
                    <a:pt x="1" y="3"/>
                    <a:pt x="1" y="3"/>
                  </a:cubicBezTo>
                  <a:cubicBezTo>
                    <a:pt x="3" y="4"/>
                    <a:pt x="3" y="4"/>
                    <a:pt x="3" y="4"/>
                  </a:cubicBezTo>
                  <a:cubicBezTo>
                    <a:pt x="4" y="5"/>
                    <a:pt x="4" y="5"/>
                    <a:pt x="4" y="5"/>
                  </a:cubicBezTo>
                  <a:cubicBezTo>
                    <a:pt x="3" y="6"/>
                    <a:pt x="3" y="6"/>
                    <a:pt x="3" y="6"/>
                  </a:cubicBezTo>
                  <a:cubicBezTo>
                    <a:pt x="5" y="8"/>
                    <a:pt x="5" y="8"/>
                    <a:pt x="5" y="8"/>
                  </a:cubicBezTo>
                  <a:cubicBezTo>
                    <a:pt x="5" y="8"/>
                    <a:pt x="5" y="8"/>
                    <a:pt x="5" y="8"/>
                  </a:cubicBezTo>
                  <a:cubicBezTo>
                    <a:pt x="5" y="8"/>
                    <a:pt x="6" y="8"/>
                    <a:pt x="7" y="9"/>
                  </a:cubicBezTo>
                  <a:cubicBezTo>
                    <a:pt x="7" y="9"/>
                    <a:pt x="8" y="9"/>
                    <a:pt x="9" y="9"/>
                  </a:cubicBezTo>
                  <a:cubicBezTo>
                    <a:pt x="10" y="9"/>
                    <a:pt x="10" y="9"/>
                    <a:pt x="10" y="8"/>
                  </a:cubicBezTo>
                  <a:cubicBezTo>
                    <a:pt x="10" y="8"/>
                    <a:pt x="10" y="7"/>
                    <a:pt x="10" y="7"/>
                  </a:cubicBezTo>
                  <a:cubicBezTo>
                    <a:pt x="9" y="5"/>
                    <a:pt x="9" y="5"/>
                    <a:pt x="9" y="5"/>
                  </a:cubicBezTo>
                  <a:cubicBezTo>
                    <a:pt x="8" y="3"/>
                    <a:pt x="8" y="3"/>
                    <a:pt x="8" y="3"/>
                  </a:cubicBezTo>
                  <a:cubicBezTo>
                    <a:pt x="5" y="3"/>
                    <a:pt x="5" y="3"/>
                    <a:pt x="5" y="3"/>
                  </a:cubicBezTo>
                  <a:cubicBezTo>
                    <a:pt x="3" y="1"/>
                    <a:pt x="3" y="1"/>
                    <a:pt x="3" y="1"/>
                  </a:cubicBezTo>
                  <a:cubicBezTo>
                    <a:pt x="1" y="0"/>
                    <a:pt x="1" y="0"/>
                    <a:pt x="1" y="0"/>
                  </a:cubicBezTo>
                  <a:cubicBezTo>
                    <a:pt x="0" y="1"/>
                    <a:pt x="0" y="1"/>
                    <a:pt x="0" y="1"/>
                  </a:cubicBezTo>
                  <a:lnTo>
                    <a:pt x="0" y="3"/>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Freeform 42"/>
            <p:cNvSpPr>
              <a:spLocks/>
            </p:cNvSpPr>
            <p:nvPr/>
          </p:nvSpPr>
          <p:spPr bwMode="auto">
            <a:xfrm>
              <a:off x="5304996" y="3646219"/>
              <a:ext cx="20218" cy="24509"/>
            </a:xfrm>
            <a:custGeom>
              <a:avLst/>
              <a:gdLst>
                <a:gd name="T0" fmla="*/ 7 w 7"/>
                <a:gd name="T1" fmla="*/ 6 h 9"/>
                <a:gd name="T2" fmla="*/ 7 w 7"/>
                <a:gd name="T3" fmla="*/ 4 h 9"/>
                <a:gd name="T4" fmla="*/ 7 w 7"/>
                <a:gd name="T5" fmla="*/ 3 h 9"/>
                <a:gd name="T6" fmla="*/ 7 w 7"/>
                <a:gd name="T7" fmla="*/ 1 h 9"/>
                <a:gd name="T8" fmla="*/ 5 w 7"/>
                <a:gd name="T9" fmla="*/ 1 h 9"/>
                <a:gd name="T10" fmla="*/ 4 w 7"/>
                <a:gd name="T11" fmla="*/ 2 h 9"/>
                <a:gd name="T12" fmla="*/ 4 w 7"/>
                <a:gd name="T13" fmla="*/ 4 h 9"/>
                <a:gd name="T14" fmla="*/ 3 w 7"/>
                <a:gd name="T15" fmla="*/ 5 h 9"/>
                <a:gd name="T16" fmla="*/ 2 w 7"/>
                <a:gd name="T17" fmla="*/ 7 h 9"/>
                <a:gd name="T18" fmla="*/ 1 w 7"/>
                <a:gd name="T19" fmla="*/ 8 h 9"/>
                <a:gd name="T20" fmla="*/ 1 w 7"/>
                <a:gd name="T21" fmla="*/ 9 h 9"/>
                <a:gd name="T22" fmla="*/ 3 w 7"/>
                <a:gd name="T23" fmla="*/ 8 h 9"/>
                <a:gd name="T24" fmla="*/ 4 w 7"/>
                <a:gd name="T25" fmla="*/ 7 h 9"/>
                <a:gd name="T26" fmla="*/ 5 w 7"/>
                <a:gd name="T27" fmla="*/ 6 h 9"/>
                <a:gd name="T28" fmla="*/ 7 w 7"/>
                <a:gd name="T29"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9">
                  <a:moveTo>
                    <a:pt x="7" y="6"/>
                  </a:moveTo>
                  <a:cubicBezTo>
                    <a:pt x="7" y="5"/>
                    <a:pt x="7" y="4"/>
                    <a:pt x="7" y="4"/>
                  </a:cubicBezTo>
                  <a:cubicBezTo>
                    <a:pt x="7" y="3"/>
                    <a:pt x="7" y="3"/>
                    <a:pt x="7" y="3"/>
                  </a:cubicBezTo>
                  <a:cubicBezTo>
                    <a:pt x="7" y="1"/>
                    <a:pt x="7" y="1"/>
                    <a:pt x="7" y="1"/>
                  </a:cubicBezTo>
                  <a:cubicBezTo>
                    <a:pt x="7" y="1"/>
                    <a:pt x="5" y="0"/>
                    <a:pt x="5" y="1"/>
                  </a:cubicBezTo>
                  <a:cubicBezTo>
                    <a:pt x="5" y="1"/>
                    <a:pt x="4" y="2"/>
                    <a:pt x="4" y="2"/>
                  </a:cubicBezTo>
                  <a:cubicBezTo>
                    <a:pt x="4" y="4"/>
                    <a:pt x="4" y="4"/>
                    <a:pt x="4" y="4"/>
                  </a:cubicBezTo>
                  <a:cubicBezTo>
                    <a:pt x="3" y="5"/>
                    <a:pt x="3" y="5"/>
                    <a:pt x="3" y="5"/>
                  </a:cubicBezTo>
                  <a:cubicBezTo>
                    <a:pt x="2" y="7"/>
                    <a:pt x="2" y="7"/>
                    <a:pt x="2" y="7"/>
                  </a:cubicBezTo>
                  <a:cubicBezTo>
                    <a:pt x="1" y="8"/>
                    <a:pt x="1" y="8"/>
                    <a:pt x="1" y="8"/>
                  </a:cubicBezTo>
                  <a:cubicBezTo>
                    <a:pt x="1" y="8"/>
                    <a:pt x="0" y="8"/>
                    <a:pt x="1" y="9"/>
                  </a:cubicBezTo>
                  <a:cubicBezTo>
                    <a:pt x="2" y="9"/>
                    <a:pt x="3" y="9"/>
                    <a:pt x="3" y="8"/>
                  </a:cubicBezTo>
                  <a:cubicBezTo>
                    <a:pt x="3" y="8"/>
                    <a:pt x="4" y="7"/>
                    <a:pt x="4" y="7"/>
                  </a:cubicBezTo>
                  <a:cubicBezTo>
                    <a:pt x="4" y="7"/>
                    <a:pt x="4" y="6"/>
                    <a:pt x="5" y="6"/>
                  </a:cubicBezTo>
                  <a:cubicBezTo>
                    <a:pt x="5" y="6"/>
                    <a:pt x="6" y="6"/>
                    <a:pt x="7" y="6"/>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Freeform 43"/>
            <p:cNvSpPr>
              <a:spLocks/>
            </p:cNvSpPr>
            <p:nvPr/>
          </p:nvSpPr>
          <p:spPr bwMode="auto">
            <a:xfrm>
              <a:off x="5586604" y="3657111"/>
              <a:ext cx="5777" cy="5446"/>
            </a:xfrm>
            <a:custGeom>
              <a:avLst/>
              <a:gdLst>
                <a:gd name="T0" fmla="*/ 2 w 2"/>
                <a:gd name="T1" fmla="*/ 0 h 2"/>
                <a:gd name="T2" fmla="*/ 1 w 2"/>
                <a:gd name="T3" fmla="*/ 0 h 2"/>
                <a:gd name="T4" fmla="*/ 0 w 2"/>
                <a:gd name="T5" fmla="*/ 1 h 2"/>
                <a:gd name="T6" fmla="*/ 1 w 2"/>
                <a:gd name="T7" fmla="*/ 2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cubicBezTo>
                    <a:pt x="2" y="0"/>
                    <a:pt x="1" y="0"/>
                    <a:pt x="1" y="0"/>
                  </a:cubicBezTo>
                  <a:cubicBezTo>
                    <a:pt x="1" y="0"/>
                    <a:pt x="0" y="1"/>
                    <a:pt x="0" y="1"/>
                  </a:cubicBezTo>
                  <a:cubicBezTo>
                    <a:pt x="1" y="2"/>
                    <a:pt x="1" y="2"/>
                    <a:pt x="1" y="2"/>
                  </a:cubicBezTo>
                  <a:lnTo>
                    <a:pt x="2" y="0"/>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Freeform 44"/>
            <p:cNvSpPr>
              <a:spLocks/>
            </p:cNvSpPr>
            <p:nvPr/>
          </p:nvSpPr>
          <p:spPr bwMode="auto">
            <a:xfrm>
              <a:off x="5478293" y="3391600"/>
              <a:ext cx="25995" cy="13616"/>
            </a:xfrm>
            <a:custGeom>
              <a:avLst/>
              <a:gdLst>
                <a:gd name="T0" fmla="*/ 2 w 9"/>
                <a:gd name="T1" fmla="*/ 4 h 5"/>
                <a:gd name="T2" fmla="*/ 4 w 9"/>
                <a:gd name="T3" fmla="*/ 5 h 5"/>
                <a:gd name="T4" fmla="*/ 5 w 9"/>
                <a:gd name="T5" fmla="*/ 5 h 5"/>
                <a:gd name="T6" fmla="*/ 6 w 9"/>
                <a:gd name="T7" fmla="*/ 3 h 5"/>
                <a:gd name="T8" fmla="*/ 6 w 9"/>
                <a:gd name="T9" fmla="*/ 2 h 5"/>
                <a:gd name="T10" fmla="*/ 9 w 9"/>
                <a:gd name="T11" fmla="*/ 0 h 5"/>
                <a:gd name="T12" fmla="*/ 7 w 9"/>
                <a:gd name="T13" fmla="*/ 0 h 5"/>
                <a:gd name="T14" fmla="*/ 5 w 9"/>
                <a:gd name="T15" fmla="*/ 0 h 5"/>
                <a:gd name="T16" fmla="*/ 2 w 9"/>
                <a:gd name="T17" fmla="*/ 1 h 5"/>
                <a:gd name="T18" fmla="*/ 1 w 9"/>
                <a:gd name="T19" fmla="*/ 3 h 5"/>
                <a:gd name="T20" fmla="*/ 0 w 9"/>
                <a:gd name="T21" fmla="*/ 3 h 5"/>
                <a:gd name="T22" fmla="*/ 2 w 9"/>
                <a:gd name="T23" fmla="*/ 4 h 5"/>
                <a:gd name="T24" fmla="*/ 2 w 9"/>
                <a:gd name="T2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5">
                  <a:moveTo>
                    <a:pt x="2" y="4"/>
                  </a:moveTo>
                  <a:cubicBezTo>
                    <a:pt x="2" y="4"/>
                    <a:pt x="4" y="4"/>
                    <a:pt x="4" y="5"/>
                  </a:cubicBezTo>
                  <a:cubicBezTo>
                    <a:pt x="4" y="5"/>
                    <a:pt x="5" y="5"/>
                    <a:pt x="5" y="5"/>
                  </a:cubicBezTo>
                  <a:cubicBezTo>
                    <a:pt x="5" y="5"/>
                    <a:pt x="6" y="3"/>
                    <a:pt x="6" y="3"/>
                  </a:cubicBezTo>
                  <a:cubicBezTo>
                    <a:pt x="6" y="2"/>
                    <a:pt x="6" y="2"/>
                    <a:pt x="6" y="2"/>
                  </a:cubicBezTo>
                  <a:cubicBezTo>
                    <a:pt x="7" y="2"/>
                    <a:pt x="9" y="0"/>
                    <a:pt x="9" y="0"/>
                  </a:cubicBezTo>
                  <a:cubicBezTo>
                    <a:pt x="9" y="0"/>
                    <a:pt x="7" y="0"/>
                    <a:pt x="7" y="0"/>
                  </a:cubicBezTo>
                  <a:cubicBezTo>
                    <a:pt x="7" y="0"/>
                    <a:pt x="5" y="0"/>
                    <a:pt x="5" y="0"/>
                  </a:cubicBezTo>
                  <a:cubicBezTo>
                    <a:pt x="4" y="0"/>
                    <a:pt x="2" y="1"/>
                    <a:pt x="2" y="1"/>
                  </a:cubicBezTo>
                  <a:cubicBezTo>
                    <a:pt x="1" y="3"/>
                    <a:pt x="1" y="3"/>
                    <a:pt x="1" y="3"/>
                  </a:cubicBezTo>
                  <a:cubicBezTo>
                    <a:pt x="0" y="3"/>
                    <a:pt x="0" y="3"/>
                    <a:pt x="0" y="3"/>
                  </a:cubicBezTo>
                  <a:cubicBezTo>
                    <a:pt x="0" y="3"/>
                    <a:pt x="1" y="4"/>
                    <a:pt x="2" y="4"/>
                  </a:cubicBezTo>
                  <a:cubicBezTo>
                    <a:pt x="2" y="4"/>
                    <a:pt x="2" y="4"/>
                    <a:pt x="2" y="4"/>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Freeform 45"/>
            <p:cNvSpPr>
              <a:spLocks/>
            </p:cNvSpPr>
            <p:nvPr/>
          </p:nvSpPr>
          <p:spPr bwMode="auto">
            <a:xfrm>
              <a:off x="5287666" y="3345305"/>
              <a:ext cx="202180" cy="339038"/>
            </a:xfrm>
            <a:custGeom>
              <a:avLst/>
              <a:gdLst>
                <a:gd name="T0" fmla="*/ 3 w 70"/>
                <a:gd name="T1" fmla="*/ 95 h 124"/>
                <a:gd name="T2" fmla="*/ 12 w 70"/>
                <a:gd name="T3" fmla="*/ 100 h 124"/>
                <a:gd name="T4" fmla="*/ 14 w 70"/>
                <a:gd name="T5" fmla="*/ 113 h 124"/>
                <a:gd name="T6" fmla="*/ 13 w 70"/>
                <a:gd name="T7" fmla="*/ 121 h 124"/>
                <a:gd name="T8" fmla="*/ 26 w 70"/>
                <a:gd name="T9" fmla="*/ 122 h 124"/>
                <a:gd name="T10" fmla="*/ 36 w 70"/>
                <a:gd name="T11" fmla="*/ 122 h 124"/>
                <a:gd name="T12" fmla="*/ 39 w 70"/>
                <a:gd name="T13" fmla="*/ 118 h 124"/>
                <a:gd name="T14" fmla="*/ 35 w 70"/>
                <a:gd name="T15" fmla="*/ 113 h 124"/>
                <a:gd name="T16" fmla="*/ 40 w 70"/>
                <a:gd name="T17" fmla="*/ 107 h 124"/>
                <a:gd name="T18" fmla="*/ 38 w 70"/>
                <a:gd name="T19" fmla="*/ 98 h 124"/>
                <a:gd name="T20" fmla="*/ 39 w 70"/>
                <a:gd name="T21" fmla="*/ 96 h 124"/>
                <a:gd name="T22" fmla="*/ 40 w 70"/>
                <a:gd name="T23" fmla="*/ 91 h 124"/>
                <a:gd name="T24" fmla="*/ 42 w 70"/>
                <a:gd name="T25" fmla="*/ 89 h 124"/>
                <a:gd name="T26" fmla="*/ 48 w 70"/>
                <a:gd name="T27" fmla="*/ 85 h 124"/>
                <a:gd name="T28" fmla="*/ 48 w 70"/>
                <a:gd name="T29" fmla="*/ 81 h 124"/>
                <a:gd name="T30" fmla="*/ 53 w 70"/>
                <a:gd name="T31" fmla="*/ 78 h 124"/>
                <a:gd name="T32" fmla="*/ 53 w 70"/>
                <a:gd name="T33" fmla="*/ 68 h 124"/>
                <a:gd name="T34" fmla="*/ 59 w 70"/>
                <a:gd name="T35" fmla="*/ 68 h 124"/>
                <a:gd name="T36" fmla="*/ 62 w 70"/>
                <a:gd name="T37" fmla="*/ 65 h 124"/>
                <a:gd name="T38" fmla="*/ 65 w 70"/>
                <a:gd name="T39" fmla="*/ 65 h 124"/>
                <a:gd name="T40" fmla="*/ 68 w 70"/>
                <a:gd name="T41" fmla="*/ 52 h 124"/>
                <a:gd name="T42" fmla="*/ 55 w 70"/>
                <a:gd name="T43" fmla="*/ 48 h 124"/>
                <a:gd name="T44" fmla="*/ 53 w 70"/>
                <a:gd name="T45" fmla="*/ 33 h 124"/>
                <a:gd name="T46" fmla="*/ 58 w 70"/>
                <a:gd name="T47" fmla="*/ 15 h 124"/>
                <a:gd name="T48" fmla="*/ 57 w 70"/>
                <a:gd name="T49" fmla="*/ 4 h 124"/>
                <a:gd name="T50" fmla="*/ 44 w 70"/>
                <a:gd name="T51" fmla="*/ 7 h 124"/>
                <a:gd name="T52" fmla="*/ 30 w 70"/>
                <a:gd name="T53" fmla="*/ 27 h 124"/>
                <a:gd name="T54" fmla="*/ 19 w 70"/>
                <a:gd name="T55" fmla="*/ 26 h 124"/>
                <a:gd name="T56" fmla="*/ 11 w 70"/>
                <a:gd name="T57" fmla="*/ 31 h 124"/>
                <a:gd name="T58" fmla="*/ 4 w 70"/>
                <a:gd name="T59" fmla="*/ 40 h 124"/>
                <a:gd name="T60" fmla="*/ 7 w 70"/>
                <a:gd name="T61" fmla="*/ 47 h 124"/>
                <a:gd name="T62" fmla="*/ 11 w 70"/>
                <a:gd name="T63" fmla="*/ 50 h 124"/>
                <a:gd name="T64" fmla="*/ 11 w 70"/>
                <a:gd name="T65" fmla="*/ 45 h 124"/>
                <a:gd name="T66" fmla="*/ 12 w 70"/>
                <a:gd name="T67" fmla="*/ 40 h 124"/>
                <a:gd name="T68" fmla="*/ 16 w 70"/>
                <a:gd name="T69" fmla="*/ 34 h 124"/>
                <a:gd name="T70" fmla="*/ 22 w 70"/>
                <a:gd name="T71" fmla="*/ 32 h 124"/>
                <a:gd name="T72" fmla="*/ 29 w 70"/>
                <a:gd name="T73" fmla="*/ 32 h 124"/>
                <a:gd name="T74" fmla="*/ 38 w 70"/>
                <a:gd name="T75" fmla="*/ 29 h 124"/>
                <a:gd name="T76" fmla="*/ 38 w 70"/>
                <a:gd name="T77" fmla="*/ 32 h 124"/>
                <a:gd name="T78" fmla="*/ 29 w 70"/>
                <a:gd name="T79" fmla="*/ 32 h 124"/>
                <a:gd name="T80" fmla="*/ 27 w 70"/>
                <a:gd name="T81" fmla="*/ 42 h 124"/>
                <a:gd name="T82" fmla="*/ 31 w 70"/>
                <a:gd name="T83" fmla="*/ 51 h 124"/>
                <a:gd name="T84" fmla="*/ 29 w 70"/>
                <a:gd name="T85" fmla="*/ 48 h 124"/>
                <a:gd name="T86" fmla="*/ 24 w 70"/>
                <a:gd name="T87" fmla="*/ 49 h 124"/>
                <a:gd name="T88" fmla="*/ 26 w 70"/>
                <a:gd name="T89" fmla="*/ 42 h 124"/>
                <a:gd name="T90" fmla="*/ 21 w 70"/>
                <a:gd name="T91" fmla="*/ 46 h 124"/>
                <a:gd name="T92" fmla="*/ 19 w 70"/>
                <a:gd name="T93" fmla="*/ 41 h 124"/>
                <a:gd name="T94" fmla="*/ 18 w 70"/>
                <a:gd name="T95" fmla="*/ 36 h 124"/>
                <a:gd name="T96" fmla="*/ 13 w 70"/>
                <a:gd name="T97" fmla="*/ 45 h 124"/>
                <a:gd name="T98" fmla="*/ 15 w 70"/>
                <a:gd name="T99" fmla="*/ 50 h 124"/>
                <a:gd name="T100" fmla="*/ 14 w 70"/>
                <a:gd name="T101" fmla="*/ 55 h 124"/>
                <a:gd name="T102" fmla="*/ 5 w 70"/>
                <a:gd name="T103" fmla="*/ 49 h 124"/>
                <a:gd name="T104" fmla="*/ 2 w 70"/>
                <a:gd name="T105" fmla="*/ 54 h 124"/>
                <a:gd name="T106" fmla="*/ 2 w 70"/>
                <a:gd name="T107" fmla="*/ 71 h 124"/>
                <a:gd name="T108" fmla="*/ 7 w 70"/>
                <a:gd name="T109" fmla="*/ 81 h 124"/>
                <a:gd name="T110" fmla="*/ 2 w 70"/>
                <a:gd name="T111" fmla="*/ 9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 h="124">
                  <a:moveTo>
                    <a:pt x="2" y="90"/>
                  </a:moveTo>
                  <a:cubicBezTo>
                    <a:pt x="1" y="91"/>
                    <a:pt x="0" y="92"/>
                    <a:pt x="0" y="92"/>
                  </a:cubicBezTo>
                  <a:cubicBezTo>
                    <a:pt x="0" y="93"/>
                    <a:pt x="2" y="95"/>
                    <a:pt x="2" y="95"/>
                  </a:cubicBezTo>
                  <a:cubicBezTo>
                    <a:pt x="3" y="96"/>
                    <a:pt x="3" y="96"/>
                    <a:pt x="3" y="96"/>
                  </a:cubicBezTo>
                  <a:cubicBezTo>
                    <a:pt x="3" y="96"/>
                    <a:pt x="3" y="96"/>
                    <a:pt x="3" y="95"/>
                  </a:cubicBezTo>
                  <a:cubicBezTo>
                    <a:pt x="3" y="95"/>
                    <a:pt x="5" y="95"/>
                    <a:pt x="5" y="95"/>
                  </a:cubicBezTo>
                  <a:cubicBezTo>
                    <a:pt x="6" y="96"/>
                    <a:pt x="6" y="96"/>
                    <a:pt x="6" y="96"/>
                  </a:cubicBezTo>
                  <a:cubicBezTo>
                    <a:pt x="5" y="97"/>
                    <a:pt x="5" y="97"/>
                    <a:pt x="5" y="97"/>
                  </a:cubicBezTo>
                  <a:cubicBezTo>
                    <a:pt x="5" y="97"/>
                    <a:pt x="8" y="99"/>
                    <a:pt x="10" y="100"/>
                  </a:cubicBezTo>
                  <a:cubicBezTo>
                    <a:pt x="11" y="100"/>
                    <a:pt x="12" y="100"/>
                    <a:pt x="12" y="100"/>
                  </a:cubicBezTo>
                  <a:cubicBezTo>
                    <a:pt x="13" y="103"/>
                    <a:pt x="13" y="103"/>
                    <a:pt x="13" y="103"/>
                  </a:cubicBezTo>
                  <a:cubicBezTo>
                    <a:pt x="13" y="103"/>
                    <a:pt x="14" y="104"/>
                    <a:pt x="14" y="105"/>
                  </a:cubicBezTo>
                  <a:cubicBezTo>
                    <a:pt x="14" y="106"/>
                    <a:pt x="14" y="109"/>
                    <a:pt x="14" y="109"/>
                  </a:cubicBezTo>
                  <a:cubicBezTo>
                    <a:pt x="14" y="109"/>
                    <a:pt x="14" y="110"/>
                    <a:pt x="14" y="110"/>
                  </a:cubicBezTo>
                  <a:cubicBezTo>
                    <a:pt x="14" y="111"/>
                    <a:pt x="14" y="113"/>
                    <a:pt x="14" y="113"/>
                  </a:cubicBezTo>
                  <a:cubicBezTo>
                    <a:pt x="14" y="115"/>
                    <a:pt x="14" y="115"/>
                    <a:pt x="14" y="115"/>
                  </a:cubicBezTo>
                  <a:cubicBezTo>
                    <a:pt x="14" y="115"/>
                    <a:pt x="13" y="116"/>
                    <a:pt x="13" y="116"/>
                  </a:cubicBezTo>
                  <a:cubicBezTo>
                    <a:pt x="13" y="116"/>
                    <a:pt x="11" y="117"/>
                    <a:pt x="10" y="118"/>
                  </a:cubicBezTo>
                  <a:cubicBezTo>
                    <a:pt x="10" y="118"/>
                    <a:pt x="11" y="120"/>
                    <a:pt x="11" y="120"/>
                  </a:cubicBezTo>
                  <a:cubicBezTo>
                    <a:pt x="13" y="121"/>
                    <a:pt x="13" y="121"/>
                    <a:pt x="13" y="121"/>
                  </a:cubicBezTo>
                  <a:cubicBezTo>
                    <a:pt x="16" y="120"/>
                    <a:pt x="16" y="120"/>
                    <a:pt x="16" y="120"/>
                  </a:cubicBezTo>
                  <a:cubicBezTo>
                    <a:pt x="19" y="120"/>
                    <a:pt x="19" y="120"/>
                    <a:pt x="19" y="120"/>
                  </a:cubicBezTo>
                  <a:cubicBezTo>
                    <a:pt x="19" y="120"/>
                    <a:pt x="19" y="120"/>
                    <a:pt x="19" y="120"/>
                  </a:cubicBezTo>
                  <a:cubicBezTo>
                    <a:pt x="20" y="120"/>
                    <a:pt x="23" y="121"/>
                    <a:pt x="23" y="121"/>
                  </a:cubicBezTo>
                  <a:cubicBezTo>
                    <a:pt x="24" y="122"/>
                    <a:pt x="26" y="122"/>
                    <a:pt x="26" y="122"/>
                  </a:cubicBezTo>
                  <a:cubicBezTo>
                    <a:pt x="26" y="122"/>
                    <a:pt x="26" y="122"/>
                    <a:pt x="26" y="122"/>
                  </a:cubicBezTo>
                  <a:cubicBezTo>
                    <a:pt x="31" y="124"/>
                    <a:pt x="31" y="124"/>
                    <a:pt x="31" y="124"/>
                  </a:cubicBezTo>
                  <a:cubicBezTo>
                    <a:pt x="32" y="124"/>
                    <a:pt x="32" y="124"/>
                    <a:pt x="32" y="124"/>
                  </a:cubicBezTo>
                  <a:cubicBezTo>
                    <a:pt x="32" y="124"/>
                    <a:pt x="33" y="124"/>
                    <a:pt x="34" y="124"/>
                  </a:cubicBezTo>
                  <a:cubicBezTo>
                    <a:pt x="34" y="123"/>
                    <a:pt x="36" y="122"/>
                    <a:pt x="36" y="122"/>
                  </a:cubicBezTo>
                  <a:cubicBezTo>
                    <a:pt x="37" y="121"/>
                    <a:pt x="38" y="121"/>
                    <a:pt x="39" y="121"/>
                  </a:cubicBezTo>
                  <a:cubicBezTo>
                    <a:pt x="40" y="121"/>
                    <a:pt x="40" y="121"/>
                    <a:pt x="40" y="121"/>
                  </a:cubicBezTo>
                  <a:cubicBezTo>
                    <a:pt x="40" y="122"/>
                    <a:pt x="40" y="122"/>
                    <a:pt x="40" y="122"/>
                  </a:cubicBezTo>
                  <a:cubicBezTo>
                    <a:pt x="41" y="120"/>
                    <a:pt x="41" y="120"/>
                    <a:pt x="41" y="120"/>
                  </a:cubicBezTo>
                  <a:cubicBezTo>
                    <a:pt x="39" y="118"/>
                    <a:pt x="39" y="118"/>
                    <a:pt x="39" y="118"/>
                  </a:cubicBezTo>
                  <a:cubicBezTo>
                    <a:pt x="37" y="117"/>
                    <a:pt x="37" y="117"/>
                    <a:pt x="37" y="117"/>
                  </a:cubicBezTo>
                  <a:cubicBezTo>
                    <a:pt x="35" y="117"/>
                    <a:pt x="35" y="117"/>
                    <a:pt x="35" y="117"/>
                  </a:cubicBezTo>
                  <a:cubicBezTo>
                    <a:pt x="35" y="117"/>
                    <a:pt x="36" y="116"/>
                    <a:pt x="36" y="116"/>
                  </a:cubicBezTo>
                  <a:cubicBezTo>
                    <a:pt x="36" y="115"/>
                    <a:pt x="36" y="113"/>
                    <a:pt x="36" y="113"/>
                  </a:cubicBezTo>
                  <a:cubicBezTo>
                    <a:pt x="35" y="113"/>
                    <a:pt x="35" y="113"/>
                    <a:pt x="35" y="113"/>
                  </a:cubicBezTo>
                  <a:cubicBezTo>
                    <a:pt x="35" y="111"/>
                    <a:pt x="35" y="111"/>
                    <a:pt x="35" y="111"/>
                  </a:cubicBezTo>
                  <a:cubicBezTo>
                    <a:pt x="35" y="111"/>
                    <a:pt x="38" y="111"/>
                    <a:pt x="39" y="111"/>
                  </a:cubicBezTo>
                  <a:cubicBezTo>
                    <a:pt x="39" y="111"/>
                    <a:pt x="40" y="110"/>
                    <a:pt x="40" y="110"/>
                  </a:cubicBezTo>
                  <a:cubicBezTo>
                    <a:pt x="40" y="108"/>
                    <a:pt x="40" y="108"/>
                    <a:pt x="40" y="108"/>
                  </a:cubicBezTo>
                  <a:cubicBezTo>
                    <a:pt x="40" y="108"/>
                    <a:pt x="40" y="107"/>
                    <a:pt x="40" y="107"/>
                  </a:cubicBezTo>
                  <a:cubicBezTo>
                    <a:pt x="40" y="107"/>
                    <a:pt x="40" y="107"/>
                    <a:pt x="40" y="107"/>
                  </a:cubicBezTo>
                  <a:cubicBezTo>
                    <a:pt x="40" y="105"/>
                    <a:pt x="40" y="105"/>
                    <a:pt x="40" y="105"/>
                  </a:cubicBezTo>
                  <a:cubicBezTo>
                    <a:pt x="38" y="103"/>
                    <a:pt x="38" y="103"/>
                    <a:pt x="38" y="103"/>
                  </a:cubicBezTo>
                  <a:cubicBezTo>
                    <a:pt x="38" y="103"/>
                    <a:pt x="38" y="101"/>
                    <a:pt x="38" y="100"/>
                  </a:cubicBezTo>
                  <a:cubicBezTo>
                    <a:pt x="38" y="98"/>
                    <a:pt x="38" y="99"/>
                    <a:pt x="38" y="98"/>
                  </a:cubicBezTo>
                  <a:cubicBezTo>
                    <a:pt x="38" y="98"/>
                    <a:pt x="38" y="98"/>
                    <a:pt x="38" y="98"/>
                  </a:cubicBezTo>
                  <a:cubicBezTo>
                    <a:pt x="36" y="98"/>
                    <a:pt x="36" y="98"/>
                    <a:pt x="36" y="98"/>
                  </a:cubicBezTo>
                  <a:cubicBezTo>
                    <a:pt x="36" y="97"/>
                    <a:pt x="36" y="97"/>
                    <a:pt x="36" y="97"/>
                  </a:cubicBezTo>
                  <a:cubicBezTo>
                    <a:pt x="36" y="97"/>
                    <a:pt x="37" y="97"/>
                    <a:pt x="38" y="97"/>
                  </a:cubicBezTo>
                  <a:cubicBezTo>
                    <a:pt x="38" y="97"/>
                    <a:pt x="39" y="96"/>
                    <a:pt x="39" y="96"/>
                  </a:cubicBezTo>
                  <a:cubicBezTo>
                    <a:pt x="41" y="95"/>
                    <a:pt x="41" y="95"/>
                    <a:pt x="41" y="95"/>
                  </a:cubicBezTo>
                  <a:cubicBezTo>
                    <a:pt x="42" y="94"/>
                    <a:pt x="42" y="94"/>
                    <a:pt x="42" y="94"/>
                  </a:cubicBezTo>
                  <a:cubicBezTo>
                    <a:pt x="43" y="93"/>
                    <a:pt x="43" y="93"/>
                    <a:pt x="43" y="93"/>
                  </a:cubicBezTo>
                  <a:cubicBezTo>
                    <a:pt x="41" y="92"/>
                    <a:pt x="41" y="92"/>
                    <a:pt x="41" y="92"/>
                  </a:cubicBezTo>
                  <a:cubicBezTo>
                    <a:pt x="40" y="91"/>
                    <a:pt x="40" y="91"/>
                    <a:pt x="40" y="91"/>
                  </a:cubicBezTo>
                  <a:cubicBezTo>
                    <a:pt x="38" y="89"/>
                    <a:pt x="38" y="89"/>
                    <a:pt x="38" y="89"/>
                  </a:cubicBezTo>
                  <a:cubicBezTo>
                    <a:pt x="39" y="89"/>
                    <a:pt x="39" y="89"/>
                    <a:pt x="39" y="89"/>
                  </a:cubicBezTo>
                  <a:cubicBezTo>
                    <a:pt x="43" y="92"/>
                    <a:pt x="43" y="92"/>
                    <a:pt x="43" y="92"/>
                  </a:cubicBezTo>
                  <a:cubicBezTo>
                    <a:pt x="43" y="92"/>
                    <a:pt x="41" y="90"/>
                    <a:pt x="41" y="90"/>
                  </a:cubicBezTo>
                  <a:cubicBezTo>
                    <a:pt x="41" y="90"/>
                    <a:pt x="42" y="89"/>
                    <a:pt x="42" y="89"/>
                  </a:cubicBezTo>
                  <a:cubicBezTo>
                    <a:pt x="43" y="89"/>
                    <a:pt x="44" y="90"/>
                    <a:pt x="44" y="90"/>
                  </a:cubicBezTo>
                  <a:cubicBezTo>
                    <a:pt x="45" y="89"/>
                    <a:pt x="45" y="89"/>
                    <a:pt x="45" y="89"/>
                  </a:cubicBezTo>
                  <a:cubicBezTo>
                    <a:pt x="47" y="88"/>
                    <a:pt x="47" y="88"/>
                    <a:pt x="47" y="88"/>
                  </a:cubicBezTo>
                  <a:cubicBezTo>
                    <a:pt x="47" y="88"/>
                    <a:pt x="48" y="87"/>
                    <a:pt x="49" y="86"/>
                  </a:cubicBezTo>
                  <a:cubicBezTo>
                    <a:pt x="49" y="85"/>
                    <a:pt x="48" y="85"/>
                    <a:pt x="48" y="85"/>
                  </a:cubicBezTo>
                  <a:cubicBezTo>
                    <a:pt x="48" y="83"/>
                    <a:pt x="48" y="83"/>
                    <a:pt x="48" y="83"/>
                  </a:cubicBezTo>
                  <a:cubicBezTo>
                    <a:pt x="47" y="83"/>
                    <a:pt x="47" y="83"/>
                    <a:pt x="47" y="83"/>
                  </a:cubicBezTo>
                  <a:cubicBezTo>
                    <a:pt x="46" y="82"/>
                    <a:pt x="46" y="82"/>
                    <a:pt x="46" y="82"/>
                  </a:cubicBezTo>
                  <a:cubicBezTo>
                    <a:pt x="46" y="82"/>
                    <a:pt x="46" y="82"/>
                    <a:pt x="47" y="82"/>
                  </a:cubicBezTo>
                  <a:cubicBezTo>
                    <a:pt x="47" y="81"/>
                    <a:pt x="47" y="81"/>
                    <a:pt x="48" y="81"/>
                  </a:cubicBezTo>
                  <a:cubicBezTo>
                    <a:pt x="49" y="81"/>
                    <a:pt x="50" y="82"/>
                    <a:pt x="50" y="82"/>
                  </a:cubicBezTo>
                  <a:cubicBezTo>
                    <a:pt x="50" y="82"/>
                    <a:pt x="51" y="82"/>
                    <a:pt x="51" y="82"/>
                  </a:cubicBezTo>
                  <a:cubicBezTo>
                    <a:pt x="51" y="82"/>
                    <a:pt x="53" y="81"/>
                    <a:pt x="53" y="81"/>
                  </a:cubicBezTo>
                  <a:cubicBezTo>
                    <a:pt x="53" y="80"/>
                    <a:pt x="53" y="80"/>
                    <a:pt x="53" y="79"/>
                  </a:cubicBezTo>
                  <a:cubicBezTo>
                    <a:pt x="54" y="79"/>
                    <a:pt x="53" y="79"/>
                    <a:pt x="53" y="78"/>
                  </a:cubicBezTo>
                  <a:cubicBezTo>
                    <a:pt x="53" y="78"/>
                    <a:pt x="53" y="76"/>
                    <a:pt x="53" y="76"/>
                  </a:cubicBezTo>
                  <a:cubicBezTo>
                    <a:pt x="53" y="75"/>
                    <a:pt x="53" y="75"/>
                    <a:pt x="53" y="74"/>
                  </a:cubicBezTo>
                  <a:cubicBezTo>
                    <a:pt x="53" y="74"/>
                    <a:pt x="54" y="73"/>
                    <a:pt x="54" y="73"/>
                  </a:cubicBezTo>
                  <a:cubicBezTo>
                    <a:pt x="54" y="72"/>
                    <a:pt x="53" y="71"/>
                    <a:pt x="53" y="71"/>
                  </a:cubicBezTo>
                  <a:cubicBezTo>
                    <a:pt x="53" y="68"/>
                    <a:pt x="53" y="68"/>
                    <a:pt x="53" y="68"/>
                  </a:cubicBezTo>
                  <a:cubicBezTo>
                    <a:pt x="53" y="68"/>
                    <a:pt x="54" y="65"/>
                    <a:pt x="55" y="64"/>
                  </a:cubicBezTo>
                  <a:cubicBezTo>
                    <a:pt x="55" y="63"/>
                    <a:pt x="56" y="63"/>
                    <a:pt x="56" y="63"/>
                  </a:cubicBezTo>
                  <a:cubicBezTo>
                    <a:pt x="57" y="64"/>
                    <a:pt x="57" y="64"/>
                    <a:pt x="57" y="64"/>
                  </a:cubicBezTo>
                  <a:cubicBezTo>
                    <a:pt x="56" y="67"/>
                    <a:pt x="56" y="67"/>
                    <a:pt x="56" y="67"/>
                  </a:cubicBezTo>
                  <a:cubicBezTo>
                    <a:pt x="59" y="68"/>
                    <a:pt x="59" y="68"/>
                    <a:pt x="59" y="68"/>
                  </a:cubicBezTo>
                  <a:cubicBezTo>
                    <a:pt x="60" y="71"/>
                    <a:pt x="60" y="71"/>
                    <a:pt x="60" y="71"/>
                  </a:cubicBezTo>
                  <a:cubicBezTo>
                    <a:pt x="60" y="71"/>
                    <a:pt x="60" y="71"/>
                    <a:pt x="61" y="71"/>
                  </a:cubicBezTo>
                  <a:cubicBezTo>
                    <a:pt x="62" y="71"/>
                    <a:pt x="61" y="69"/>
                    <a:pt x="61" y="69"/>
                  </a:cubicBezTo>
                  <a:cubicBezTo>
                    <a:pt x="61" y="67"/>
                    <a:pt x="61" y="67"/>
                    <a:pt x="61" y="67"/>
                  </a:cubicBezTo>
                  <a:cubicBezTo>
                    <a:pt x="61" y="67"/>
                    <a:pt x="61" y="66"/>
                    <a:pt x="62" y="65"/>
                  </a:cubicBezTo>
                  <a:cubicBezTo>
                    <a:pt x="62" y="65"/>
                    <a:pt x="63" y="67"/>
                    <a:pt x="63" y="67"/>
                  </a:cubicBezTo>
                  <a:cubicBezTo>
                    <a:pt x="64" y="69"/>
                    <a:pt x="64" y="69"/>
                    <a:pt x="64" y="69"/>
                  </a:cubicBezTo>
                  <a:cubicBezTo>
                    <a:pt x="65" y="69"/>
                    <a:pt x="65" y="69"/>
                    <a:pt x="65" y="69"/>
                  </a:cubicBezTo>
                  <a:cubicBezTo>
                    <a:pt x="65" y="67"/>
                    <a:pt x="65" y="67"/>
                    <a:pt x="65" y="67"/>
                  </a:cubicBezTo>
                  <a:cubicBezTo>
                    <a:pt x="65" y="65"/>
                    <a:pt x="65" y="65"/>
                    <a:pt x="65" y="65"/>
                  </a:cubicBezTo>
                  <a:cubicBezTo>
                    <a:pt x="68" y="63"/>
                    <a:pt x="68" y="63"/>
                    <a:pt x="68" y="63"/>
                  </a:cubicBezTo>
                  <a:cubicBezTo>
                    <a:pt x="68" y="63"/>
                    <a:pt x="69" y="62"/>
                    <a:pt x="69" y="61"/>
                  </a:cubicBezTo>
                  <a:cubicBezTo>
                    <a:pt x="69" y="60"/>
                    <a:pt x="70" y="58"/>
                    <a:pt x="70" y="58"/>
                  </a:cubicBezTo>
                  <a:cubicBezTo>
                    <a:pt x="70" y="56"/>
                    <a:pt x="70" y="56"/>
                    <a:pt x="70" y="56"/>
                  </a:cubicBezTo>
                  <a:cubicBezTo>
                    <a:pt x="68" y="52"/>
                    <a:pt x="68" y="52"/>
                    <a:pt x="68" y="52"/>
                  </a:cubicBezTo>
                  <a:cubicBezTo>
                    <a:pt x="68" y="52"/>
                    <a:pt x="66" y="52"/>
                    <a:pt x="65" y="52"/>
                  </a:cubicBezTo>
                  <a:cubicBezTo>
                    <a:pt x="64" y="52"/>
                    <a:pt x="62" y="52"/>
                    <a:pt x="61" y="53"/>
                  </a:cubicBezTo>
                  <a:cubicBezTo>
                    <a:pt x="60" y="53"/>
                    <a:pt x="58" y="52"/>
                    <a:pt x="58" y="52"/>
                  </a:cubicBezTo>
                  <a:cubicBezTo>
                    <a:pt x="56" y="51"/>
                    <a:pt x="56" y="51"/>
                    <a:pt x="56" y="51"/>
                  </a:cubicBezTo>
                  <a:cubicBezTo>
                    <a:pt x="55" y="48"/>
                    <a:pt x="55" y="48"/>
                    <a:pt x="55" y="48"/>
                  </a:cubicBezTo>
                  <a:cubicBezTo>
                    <a:pt x="56" y="47"/>
                    <a:pt x="56" y="47"/>
                    <a:pt x="56" y="47"/>
                  </a:cubicBezTo>
                  <a:cubicBezTo>
                    <a:pt x="54" y="44"/>
                    <a:pt x="54" y="44"/>
                    <a:pt x="54" y="44"/>
                  </a:cubicBezTo>
                  <a:cubicBezTo>
                    <a:pt x="54" y="41"/>
                    <a:pt x="54" y="41"/>
                    <a:pt x="54" y="41"/>
                  </a:cubicBezTo>
                  <a:cubicBezTo>
                    <a:pt x="54" y="37"/>
                    <a:pt x="54" y="37"/>
                    <a:pt x="54" y="37"/>
                  </a:cubicBezTo>
                  <a:cubicBezTo>
                    <a:pt x="53" y="33"/>
                    <a:pt x="53" y="33"/>
                    <a:pt x="53" y="33"/>
                  </a:cubicBezTo>
                  <a:cubicBezTo>
                    <a:pt x="56" y="28"/>
                    <a:pt x="56" y="28"/>
                    <a:pt x="56" y="28"/>
                  </a:cubicBezTo>
                  <a:cubicBezTo>
                    <a:pt x="57" y="24"/>
                    <a:pt x="57" y="24"/>
                    <a:pt x="57" y="24"/>
                  </a:cubicBezTo>
                  <a:cubicBezTo>
                    <a:pt x="57" y="24"/>
                    <a:pt x="59" y="22"/>
                    <a:pt x="60" y="21"/>
                  </a:cubicBezTo>
                  <a:cubicBezTo>
                    <a:pt x="61" y="20"/>
                    <a:pt x="59" y="18"/>
                    <a:pt x="59" y="18"/>
                  </a:cubicBezTo>
                  <a:cubicBezTo>
                    <a:pt x="58" y="15"/>
                    <a:pt x="58" y="15"/>
                    <a:pt x="58" y="15"/>
                  </a:cubicBezTo>
                  <a:cubicBezTo>
                    <a:pt x="58" y="11"/>
                    <a:pt x="58" y="11"/>
                    <a:pt x="58" y="11"/>
                  </a:cubicBezTo>
                  <a:cubicBezTo>
                    <a:pt x="58" y="11"/>
                    <a:pt x="58" y="11"/>
                    <a:pt x="58" y="11"/>
                  </a:cubicBezTo>
                  <a:cubicBezTo>
                    <a:pt x="57" y="7"/>
                    <a:pt x="57" y="7"/>
                    <a:pt x="57" y="7"/>
                  </a:cubicBezTo>
                  <a:cubicBezTo>
                    <a:pt x="57" y="6"/>
                    <a:pt x="57" y="6"/>
                    <a:pt x="57" y="6"/>
                  </a:cubicBezTo>
                  <a:cubicBezTo>
                    <a:pt x="57" y="4"/>
                    <a:pt x="57" y="4"/>
                    <a:pt x="57" y="4"/>
                  </a:cubicBezTo>
                  <a:cubicBezTo>
                    <a:pt x="59" y="0"/>
                    <a:pt x="59" y="0"/>
                    <a:pt x="59" y="0"/>
                  </a:cubicBezTo>
                  <a:cubicBezTo>
                    <a:pt x="58" y="0"/>
                    <a:pt x="58" y="0"/>
                    <a:pt x="58" y="0"/>
                  </a:cubicBezTo>
                  <a:cubicBezTo>
                    <a:pt x="58" y="0"/>
                    <a:pt x="54" y="4"/>
                    <a:pt x="53" y="4"/>
                  </a:cubicBezTo>
                  <a:cubicBezTo>
                    <a:pt x="52" y="5"/>
                    <a:pt x="49" y="5"/>
                    <a:pt x="49" y="5"/>
                  </a:cubicBezTo>
                  <a:cubicBezTo>
                    <a:pt x="44" y="7"/>
                    <a:pt x="44" y="7"/>
                    <a:pt x="44" y="7"/>
                  </a:cubicBezTo>
                  <a:cubicBezTo>
                    <a:pt x="42" y="11"/>
                    <a:pt x="42" y="11"/>
                    <a:pt x="42" y="11"/>
                  </a:cubicBezTo>
                  <a:cubicBezTo>
                    <a:pt x="41" y="14"/>
                    <a:pt x="41" y="14"/>
                    <a:pt x="41" y="14"/>
                  </a:cubicBezTo>
                  <a:cubicBezTo>
                    <a:pt x="38" y="19"/>
                    <a:pt x="38" y="19"/>
                    <a:pt x="38" y="19"/>
                  </a:cubicBezTo>
                  <a:cubicBezTo>
                    <a:pt x="35" y="24"/>
                    <a:pt x="35" y="24"/>
                    <a:pt x="35" y="24"/>
                  </a:cubicBezTo>
                  <a:cubicBezTo>
                    <a:pt x="30" y="27"/>
                    <a:pt x="30" y="27"/>
                    <a:pt x="30" y="27"/>
                  </a:cubicBezTo>
                  <a:cubicBezTo>
                    <a:pt x="28" y="26"/>
                    <a:pt x="28" y="26"/>
                    <a:pt x="28" y="26"/>
                  </a:cubicBezTo>
                  <a:cubicBezTo>
                    <a:pt x="26" y="26"/>
                    <a:pt x="26" y="26"/>
                    <a:pt x="26" y="26"/>
                  </a:cubicBezTo>
                  <a:cubicBezTo>
                    <a:pt x="24" y="26"/>
                    <a:pt x="24" y="26"/>
                    <a:pt x="24" y="26"/>
                  </a:cubicBezTo>
                  <a:cubicBezTo>
                    <a:pt x="22" y="26"/>
                    <a:pt x="22" y="26"/>
                    <a:pt x="22" y="26"/>
                  </a:cubicBezTo>
                  <a:cubicBezTo>
                    <a:pt x="19" y="26"/>
                    <a:pt x="19" y="26"/>
                    <a:pt x="19" y="26"/>
                  </a:cubicBezTo>
                  <a:cubicBezTo>
                    <a:pt x="19" y="26"/>
                    <a:pt x="18" y="27"/>
                    <a:pt x="18" y="27"/>
                  </a:cubicBezTo>
                  <a:cubicBezTo>
                    <a:pt x="17" y="28"/>
                    <a:pt x="16" y="27"/>
                    <a:pt x="16" y="27"/>
                  </a:cubicBezTo>
                  <a:cubicBezTo>
                    <a:pt x="13" y="27"/>
                    <a:pt x="13" y="27"/>
                    <a:pt x="13" y="27"/>
                  </a:cubicBezTo>
                  <a:cubicBezTo>
                    <a:pt x="12" y="29"/>
                    <a:pt x="12" y="29"/>
                    <a:pt x="12" y="29"/>
                  </a:cubicBezTo>
                  <a:cubicBezTo>
                    <a:pt x="11" y="31"/>
                    <a:pt x="11" y="31"/>
                    <a:pt x="11" y="31"/>
                  </a:cubicBezTo>
                  <a:cubicBezTo>
                    <a:pt x="9" y="33"/>
                    <a:pt x="9" y="33"/>
                    <a:pt x="9" y="33"/>
                  </a:cubicBezTo>
                  <a:cubicBezTo>
                    <a:pt x="8" y="34"/>
                    <a:pt x="8" y="34"/>
                    <a:pt x="8" y="34"/>
                  </a:cubicBezTo>
                  <a:cubicBezTo>
                    <a:pt x="7" y="36"/>
                    <a:pt x="7" y="36"/>
                    <a:pt x="7" y="36"/>
                  </a:cubicBezTo>
                  <a:cubicBezTo>
                    <a:pt x="7" y="36"/>
                    <a:pt x="6" y="39"/>
                    <a:pt x="5" y="39"/>
                  </a:cubicBezTo>
                  <a:cubicBezTo>
                    <a:pt x="5" y="40"/>
                    <a:pt x="5" y="40"/>
                    <a:pt x="4" y="40"/>
                  </a:cubicBezTo>
                  <a:cubicBezTo>
                    <a:pt x="4" y="41"/>
                    <a:pt x="4" y="41"/>
                    <a:pt x="4" y="41"/>
                  </a:cubicBezTo>
                  <a:cubicBezTo>
                    <a:pt x="6" y="43"/>
                    <a:pt x="6" y="43"/>
                    <a:pt x="6" y="43"/>
                  </a:cubicBezTo>
                  <a:cubicBezTo>
                    <a:pt x="6" y="43"/>
                    <a:pt x="6" y="44"/>
                    <a:pt x="6" y="45"/>
                  </a:cubicBezTo>
                  <a:cubicBezTo>
                    <a:pt x="7" y="45"/>
                    <a:pt x="7" y="46"/>
                    <a:pt x="7" y="46"/>
                  </a:cubicBezTo>
                  <a:cubicBezTo>
                    <a:pt x="7" y="47"/>
                    <a:pt x="7" y="47"/>
                    <a:pt x="7" y="47"/>
                  </a:cubicBezTo>
                  <a:cubicBezTo>
                    <a:pt x="9" y="46"/>
                    <a:pt x="9" y="46"/>
                    <a:pt x="9" y="46"/>
                  </a:cubicBezTo>
                  <a:cubicBezTo>
                    <a:pt x="10" y="46"/>
                    <a:pt x="10" y="46"/>
                    <a:pt x="10" y="46"/>
                  </a:cubicBezTo>
                  <a:cubicBezTo>
                    <a:pt x="9" y="47"/>
                    <a:pt x="9" y="47"/>
                    <a:pt x="9" y="47"/>
                  </a:cubicBezTo>
                  <a:cubicBezTo>
                    <a:pt x="10" y="49"/>
                    <a:pt x="10" y="49"/>
                    <a:pt x="10" y="49"/>
                  </a:cubicBezTo>
                  <a:cubicBezTo>
                    <a:pt x="10" y="49"/>
                    <a:pt x="11" y="50"/>
                    <a:pt x="11" y="50"/>
                  </a:cubicBezTo>
                  <a:cubicBezTo>
                    <a:pt x="12" y="50"/>
                    <a:pt x="13" y="49"/>
                    <a:pt x="13" y="49"/>
                  </a:cubicBezTo>
                  <a:cubicBezTo>
                    <a:pt x="14" y="47"/>
                    <a:pt x="14" y="47"/>
                    <a:pt x="14" y="47"/>
                  </a:cubicBezTo>
                  <a:cubicBezTo>
                    <a:pt x="13" y="46"/>
                    <a:pt x="13" y="46"/>
                    <a:pt x="13" y="46"/>
                  </a:cubicBezTo>
                  <a:cubicBezTo>
                    <a:pt x="11" y="46"/>
                    <a:pt x="11" y="46"/>
                    <a:pt x="11" y="46"/>
                  </a:cubicBezTo>
                  <a:cubicBezTo>
                    <a:pt x="11" y="45"/>
                    <a:pt x="11" y="45"/>
                    <a:pt x="11" y="45"/>
                  </a:cubicBezTo>
                  <a:cubicBezTo>
                    <a:pt x="11" y="44"/>
                    <a:pt x="11" y="44"/>
                    <a:pt x="11" y="44"/>
                  </a:cubicBezTo>
                  <a:cubicBezTo>
                    <a:pt x="11" y="44"/>
                    <a:pt x="11" y="43"/>
                    <a:pt x="11" y="43"/>
                  </a:cubicBezTo>
                  <a:cubicBezTo>
                    <a:pt x="11" y="42"/>
                    <a:pt x="10" y="42"/>
                    <a:pt x="10" y="42"/>
                  </a:cubicBezTo>
                  <a:cubicBezTo>
                    <a:pt x="11" y="41"/>
                    <a:pt x="11" y="41"/>
                    <a:pt x="11" y="41"/>
                  </a:cubicBezTo>
                  <a:cubicBezTo>
                    <a:pt x="12" y="40"/>
                    <a:pt x="12" y="40"/>
                    <a:pt x="12" y="40"/>
                  </a:cubicBezTo>
                  <a:cubicBezTo>
                    <a:pt x="13" y="39"/>
                    <a:pt x="13" y="39"/>
                    <a:pt x="13" y="39"/>
                  </a:cubicBezTo>
                  <a:cubicBezTo>
                    <a:pt x="13" y="37"/>
                    <a:pt x="13" y="37"/>
                    <a:pt x="13" y="37"/>
                  </a:cubicBezTo>
                  <a:cubicBezTo>
                    <a:pt x="14" y="36"/>
                    <a:pt x="14" y="36"/>
                    <a:pt x="14" y="36"/>
                  </a:cubicBezTo>
                  <a:cubicBezTo>
                    <a:pt x="15" y="35"/>
                    <a:pt x="15" y="35"/>
                    <a:pt x="15" y="35"/>
                  </a:cubicBezTo>
                  <a:cubicBezTo>
                    <a:pt x="15" y="35"/>
                    <a:pt x="16" y="35"/>
                    <a:pt x="16" y="34"/>
                  </a:cubicBezTo>
                  <a:cubicBezTo>
                    <a:pt x="16" y="34"/>
                    <a:pt x="17" y="34"/>
                    <a:pt x="18" y="34"/>
                  </a:cubicBezTo>
                  <a:cubicBezTo>
                    <a:pt x="19" y="33"/>
                    <a:pt x="19" y="33"/>
                    <a:pt x="19" y="33"/>
                  </a:cubicBezTo>
                  <a:cubicBezTo>
                    <a:pt x="19" y="32"/>
                    <a:pt x="19" y="32"/>
                    <a:pt x="19" y="32"/>
                  </a:cubicBezTo>
                  <a:cubicBezTo>
                    <a:pt x="19" y="32"/>
                    <a:pt x="21" y="32"/>
                    <a:pt x="21" y="32"/>
                  </a:cubicBezTo>
                  <a:cubicBezTo>
                    <a:pt x="22" y="32"/>
                    <a:pt x="22" y="32"/>
                    <a:pt x="22" y="32"/>
                  </a:cubicBezTo>
                  <a:cubicBezTo>
                    <a:pt x="24" y="32"/>
                    <a:pt x="24" y="32"/>
                    <a:pt x="24" y="32"/>
                  </a:cubicBezTo>
                  <a:cubicBezTo>
                    <a:pt x="24" y="32"/>
                    <a:pt x="25" y="31"/>
                    <a:pt x="26" y="31"/>
                  </a:cubicBezTo>
                  <a:cubicBezTo>
                    <a:pt x="26" y="31"/>
                    <a:pt x="27" y="31"/>
                    <a:pt x="27" y="31"/>
                  </a:cubicBezTo>
                  <a:cubicBezTo>
                    <a:pt x="27" y="31"/>
                    <a:pt x="27" y="32"/>
                    <a:pt x="27" y="32"/>
                  </a:cubicBezTo>
                  <a:cubicBezTo>
                    <a:pt x="28" y="32"/>
                    <a:pt x="29" y="32"/>
                    <a:pt x="29" y="32"/>
                  </a:cubicBezTo>
                  <a:cubicBezTo>
                    <a:pt x="30" y="32"/>
                    <a:pt x="30" y="32"/>
                    <a:pt x="30" y="32"/>
                  </a:cubicBezTo>
                  <a:cubicBezTo>
                    <a:pt x="30" y="32"/>
                    <a:pt x="31" y="32"/>
                    <a:pt x="31" y="31"/>
                  </a:cubicBezTo>
                  <a:cubicBezTo>
                    <a:pt x="32" y="30"/>
                    <a:pt x="32" y="30"/>
                    <a:pt x="34" y="30"/>
                  </a:cubicBezTo>
                  <a:cubicBezTo>
                    <a:pt x="36" y="30"/>
                    <a:pt x="35" y="30"/>
                    <a:pt x="36" y="30"/>
                  </a:cubicBezTo>
                  <a:cubicBezTo>
                    <a:pt x="37" y="29"/>
                    <a:pt x="37" y="30"/>
                    <a:pt x="38" y="29"/>
                  </a:cubicBezTo>
                  <a:cubicBezTo>
                    <a:pt x="38" y="29"/>
                    <a:pt x="40" y="28"/>
                    <a:pt x="40" y="28"/>
                  </a:cubicBezTo>
                  <a:cubicBezTo>
                    <a:pt x="41" y="28"/>
                    <a:pt x="42" y="29"/>
                    <a:pt x="42" y="30"/>
                  </a:cubicBezTo>
                  <a:cubicBezTo>
                    <a:pt x="41" y="30"/>
                    <a:pt x="40" y="30"/>
                    <a:pt x="40" y="30"/>
                  </a:cubicBezTo>
                  <a:cubicBezTo>
                    <a:pt x="40" y="30"/>
                    <a:pt x="40" y="31"/>
                    <a:pt x="39" y="32"/>
                  </a:cubicBezTo>
                  <a:cubicBezTo>
                    <a:pt x="38" y="32"/>
                    <a:pt x="39" y="32"/>
                    <a:pt x="38" y="32"/>
                  </a:cubicBezTo>
                  <a:cubicBezTo>
                    <a:pt x="37" y="31"/>
                    <a:pt x="37" y="33"/>
                    <a:pt x="37" y="33"/>
                  </a:cubicBezTo>
                  <a:cubicBezTo>
                    <a:pt x="37" y="33"/>
                    <a:pt x="37" y="33"/>
                    <a:pt x="37" y="33"/>
                  </a:cubicBezTo>
                  <a:cubicBezTo>
                    <a:pt x="37" y="33"/>
                    <a:pt x="35" y="32"/>
                    <a:pt x="34" y="32"/>
                  </a:cubicBezTo>
                  <a:cubicBezTo>
                    <a:pt x="34" y="32"/>
                    <a:pt x="32" y="32"/>
                    <a:pt x="31" y="32"/>
                  </a:cubicBezTo>
                  <a:cubicBezTo>
                    <a:pt x="30" y="32"/>
                    <a:pt x="30" y="32"/>
                    <a:pt x="29" y="32"/>
                  </a:cubicBezTo>
                  <a:cubicBezTo>
                    <a:pt x="28" y="33"/>
                    <a:pt x="29" y="33"/>
                    <a:pt x="28" y="34"/>
                  </a:cubicBezTo>
                  <a:cubicBezTo>
                    <a:pt x="27" y="34"/>
                    <a:pt x="27" y="36"/>
                    <a:pt x="27" y="36"/>
                  </a:cubicBezTo>
                  <a:cubicBezTo>
                    <a:pt x="27" y="36"/>
                    <a:pt x="26" y="37"/>
                    <a:pt x="26" y="38"/>
                  </a:cubicBezTo>
                  <a:cubicBezTo>
                    <a:pt x="26" y="38"/>
                    <a:pt x="27" y="39"/>
                    <a:pt x="27" y="40"/>
                  </a:cubicBezTo>
                  <a:cubicBezTo>
                    <a:pt x="27" y="42"/>
                    <a:pt x="27" y="42"/>
                    <a:pt x="27" y="42"/>
                  </a:cubicBezTo>
                  <a:cubicBezTo>
                    <a:pt x="27" y="42"/>
                    <a:pt x="28" y="45"/>
                    <a:pt x="29" y="45"/>
                  </a:cubicBezTo>
                  <a:cubicBezTo>
                    <a:pt x="29" y="45"/>
                    <a:pt x="30" y="45"/>
                    <a:pt x="30" y="46"/>
                  </a:cubicBezTo>
                  <a:cubicBezTo>
                    <a:pt x="31" y="47"/>
                    <a:pt x="30" y="47"/>
                    <a:pt x="30" y="47"/>
                  </a:cubicBezTo>
                  <a:cubicBezTo>
                    <a:pt x="30" y="48"/>
                    <a:pt x="30" y="48"/>
                    <a:pt x="30" y="48"/>
                  </a:cubicBezTo>
                  <a:cubicBezTo>
                    <a:pt x="30" y="48"/>
                    <a:pt x="31" y="49"/>
                    <a:pt x="31" y="51"/>
                  </a:cubicBezTo>
                  <a:cubicBezTo>
                    <a:pt x="32" y="52"/>
                    <a:pt x="31" y="51"/>
                    <a:pt x="31" y="52"/>
                  </a:cubicBezTo>
                  <a:cubicBezTo>
                    <a:pt x="32" y="53"/>
                    <a:pt x="30" y="51"/>
                    <a:pt x="30" y="51"/>
                  </a:cubicBezTo>
                  <a:cubicBezTo>
                    <a:pt x="30" y="51"/>
                    <a:pt x="30" y="50"/>
                    <a:pt x="30" y="50"/>
                  </a:cubicBezTo>
                  <a:cubicBezTo>
                    <a:pt x="30" y="50"/>
                    <a:pt x="30" y="49"/>
                    <a:pt x="30" y="49"/>
                  </a:cubicBezTo>
                  <a:cubicBezTo>
                    <a:pt x="30" y="49"/>
                    <a:pt x="29" y="48"/>
                    <a:pt x="29" y="48"/>
                  </a:cubicBezTo>
                  <a:cubicBezTo>
                    <a:pt x="28" y="48"/>
                    <a:pt x="28" y="48"/>
                    <a:pt x="28" y="48"/>
                  </a:cubicBezTo>
                  <a:cubicBezTo>
                    <a:pt x="27" y="48"/>
                    <a:pt x="27" y="48"/>
                    <a:pt x="27" y="48"/>
                  </a:cubicBezTo>
                  <a:cubicBezTo>
                    <a:pt x="27" y="48"/>
                    <a:pt x="27" y="50"/>
                    <a:pt x="27" y="50"/>
                  </a:cubicBezTo>
                  <a:cubicBezTo>
                    <a:pt x="27" y="50"/>
                    <a:pt x="27" y="51"/>
                    <a:pt x="25" y="50"/>
                  </a:cubicBezTo>
                  <a:cubicBezTo>
                    <a:pt x="23" y="50"/>
                    <a:pt x="24" y="49"/>
                    <a:pt x="24" y="49"/>
                  </a:cubicBezTo>
                  <a:cubicBezTo>
                    <a:pt x="24" y="49"/>
                    <a:pt x="25" y="48"/>
                    <a:pt x="25" y="48"/>
                  </a:cubicBezTo>
                  <a:cubicBezTo>
                    <a:pt x="25" y="47"/>
                    <a:pt x="26" y="47"/>
                    <a:pt x="26" y="47"/>
                  </a:cubicBezTo>
                  <a:cubicBezTo>
                    <a:pt x="25" y="44"/>
                    <a:pt x="25" y="44"/>
                    <a:pt x="25" y="44"/>
                  </a:cubicBezTo>
                  <a:cubicBezTo>
                    <a:pt x="25" y="44"/>
                    <a:pt x="25" y="44"/>
                    <a:pt x="26" y="43"/>
                  </a:cubicBezTo>
                  <a:cubicBezTo>
                    <a:pt x="26" y="43"/>
                    <a:pt x="26" y="42"/>
                    <a:pt x="26" y="42"/>
                  </a:cubicBezTo>
                  <a:cubicBezTo>
                    <a:pt x="26" y="42"/>
                    <a:pt x="24" y="40"/>
                    <a:pt x="23" y="40"/>
                  </a:cubicBezTo>
                  <a:cubicBezTo>
                    <a:pt x="22" y="40"/>
                    <a:pt x="22" y="41"/>
                    <a:pt x="21" y="41"/>
                  </a:cubicBezTo>
                  <a:cubicBezTo>
                    <a:pt x="21" y="42"/>
                    <a:pt x="20" y="42"/>
                    <a:pt x="20" y="43"/>
                  </a:cubicBezTo>
                  <a:cubicBezTo>
                    <a:pt x="19" y="44"/>
                    <a:pt x="20" y="44"/>
                    <a:pt x="20" y="45"/>
                  </a:cubicBezTo>
                  <a:cubicBezTo>
                    <a:pt x="20" y="45"/>
                    <a:pt x="21" y="46"/>
                    <a:pt x="21" y="46"/>
                  </a:cubicBezTo>
                  <a:cubicBezTo>
                    <a:pt x="19" y="47"/>
                    <a:pt x="19" y="47"/>
                    <a:pt x="19" y="47"/>
                  </a:cubicBezTo>
                  <a:cubicBezTo>
                    <a:pt x="19" y="47"/>
                    <a:pt x="19" y="46"/>
                    <a:pt x="19" y="45"/>
                  </a:cubicBezTo>
                  <a:cubicBezTo>
                    <a:pt x="19" y="45"/>
                    <a:pt x="17" y="44"/>
                    <a:pt x="17" y="44"/>
                  </a:cubicBezTo>
                  <a:cubicBezTo>
                    <a:pt x="19" y="42"/>
                    <a:pt x="19" y="42"/>
                    <a:pt x="19" y="42"/>
                  </a:cubicBezTo>
                  <a:cubicBezTo>
                    <a:pt x="19" y="42"/>
                    <a:pt x="19" y="41"/>
                    <a:pt x="19" y="41"/>
                  </a:cubicBezTo>
                  <a:cubicBezTo>
                    <a:pt x="19" y="40"/>
                    <a:pt x="19" y="39"/>
                    <a:pt x="19" y="39"/>
                  </a:cubicBezTo>
                  <a:cubicBezTo>
                    <a:pt x="20" y="37"/>
                    <a:pt x="20" y="37"/>
                    <a:pt x="20" y="37"/>
                  </a:cubicBezTo>
                  <a:cubicBezTo>
                    <a:pt x="20" y="37"/>
                    <a:pt x="21" y="35"/>
                    <a:pt x="20" y="35"/>
                  </a:cubicBezTo>
                  <a:cubicBezTo>
                    <a:pt x="20" y="34"/>
                    <a:pt x="19" y="35"/>
                    <a:pt x="19" y="35"/>
                  </a:cubicBezTo>
                  <a:cubicBezTo>
                    <a:pt x="19" y="35"/>
                    <a:pt x="18" y="36"/>
                    <a:pt x="18" y="36"/>
                  </a:cubicBezTo>
                  <a:cubicBezTo>
                    <a:pt x="18" y="36"/>
                    <a:pt x="16" y="36"/>
                    <a:pt x="15" y="36"/>
                  </a:cubicBezTo>
                  <a:cubicBezTo>
                    <a:pt x="14" y="37"/>
                    <a:pt x="14" y="38"/>
                    <a:pt x="14" y="38"/>
                  </a:cubicBezTo>
                  <a:cubicBezTo>
                    <a:pt x="14" y="38"/>
                    <a:pt x="14" y="41"/>
                    <a:pt x="13" y="41"/>
                  </a:cubicBezTo>
                  <a:cubicBezTo>
                    <a:pt x="13" y="41"/>
                    <a:pt x="12" y="43"/>
                    <a:pt x="12" y="43"/>
                  </a:cubicBezTo>
                  <a:cubicBezTo>
                    <a:pt x="12" y="43"/>
                    <a:pt x="13" y="44"/>
                    <a:pt x="13" y="45"/>
                  </a:cubicBezTo>
                  <a:cubicBezTo>
                    <a:pt x="13" y="45"/>
                    <a:pt x="14" y="46"/>
                    <a:pt x="14" y="46"/>
                  </a:cubicBezTo>
                  <a:cubicBezTo>
                    <a:pt x="14" y="46"/>
                    <a:pt x="16" y="45"/>
                    <a:pt x="17" y="45"/>
                  </a:cubicBezTo>
                  <a:cubicBezTo>
                    <a:pt x="18" y="45"/>
                    <a:pt x="17" y="46"/>
                    <a:pt x="17" y="46"/>
                  </a:cubicBezTo>
                  <a:cubicBezTo>
                    <a:pt x="16" y="48"/>
                    <a:pt x="16" y="48"/>
                    <a:pt x="16" y="48"/>
                  </a:cubicBezTo>
                  <a:cubicBezTo>
                    <a:pt x="15" y="50"/>
                    <a:pt x="15" y="50"/>
                    <a:pt x="15" y="50"/>
                  </a:cubicBezTo>
                  <a:cubicBezTo>
                    <a:pt x="15" y="50"/>
                    <a:pt x="15" y="51"/>
                    <a:pt x="15" y="51"/>
                  </a:cubicBezTo>
                  <a:cubicBezTo>
                    <a:pt x="15" y="51"/>
                    <a:pt x="16" y="52"/>
                    <a:pt x="16" y="53"/>
                  </a:cubicBezTo>
                  <a:cubicBezTo>
                    <a:pt x="16" y="53"/>
                    <a:pt x="16" y="53"/>
                    <a:pt x="16" y="53"/>
                  </a:cubicBezTo>
                  <a:cubicBezTo>
                    <a:pt x="15" y="55"/>
                    <a:pt x="15" y="55"/>
                    <a:pt x="15" y="55"/>
                  </a:cubicBezTo>
                  <a:cubicBezTo>
                    <a:pt x="14" y="55"/>
                    <a:pt x="14" y="55"/>
                    <a:pt x="14" y="55"/>
                  </a:cubicBezTo>
                  <a:cubicBezTo>
                    <a:pt x="12" y="54"/>
                    <a:pt x="12" y="54"/>
                    <a:pt x="12" y="54"/>
                  </a:cubicBezTo>
                  <a:cubicBezTo>
                    <a:pt x="10" y="52"/>
                    <a:pt x="10" y="52"/>
                    <a:pt x="10" y="52"/>
                  </a:cubicBezTo>
                  <a:cubicBezTo>
                    <a:pt x="8" y="51"/>
                    <a:pt x="8" y="51"/>
                    <a:pt x="8" y="51"/>
                  </a:cubicBezTo>
                  <a:cubicBezTo>
                    <a:pt x="8" y="51"/>
                    <a:pt x="7" y="50"/>
                    <a:pt x="7" y="50"/>
                  </a:cubicBezTo>
                  <a:cubicBezTo>
                    <a:pt x="6" y="50"/>
                    <a:pt x="6" y="50"/>
                    <a:pt x="5" y="49"/>
                  </a:cubicBezTo>
                  <a:cubicBezTo>
                    <a:pt x="4" y="49"/>
                    <a:pt x="5" y="48"/>
                    <a:pt x="5" y="48"/>
                  </a:cubicBezTo>
                  <a:cubicBezTo>
                    <a:pt x="4" y="46"/>
                    <a:pt x="4" y="46"/>
                    <a:pt x="4" y="46"/>
                  </a:cubicBezTo>
                  <a:cubicBezTo>
                    <a:pt x="3" y="47"/>
                    <a:pt x="3" y="47"/>
                    <a:pt x="3" y="47"/>
                  </a:cubicBezTo>
                  <a:cubicBezTo>
                    <a:pt x="3" y="47"/>
                    <a:pt x="2" y="50"/>
                    <a:pt x="1" y="50"/>
                  </a:cubicBezTo>
                  <a:cubicBezTo>
                    <a:pt x="1" y="51"/>
                    <a:pt x="2" y="54"/>
                    <a:pt x="2" y="54"/>
                  </a:cubicBezTo>
                  <a:cubicBezTo>
                    <a:pt x="1" y="58"/>
                    <a:pt x="1" y="58"/>
                    <a:pt x="1" y="58"/>
                  </a:cubicBezTo>
                  <a:cubicBezTo>
                    <a:pt x="2" y="64"/>
                    <a:pt x="2" y="64"/>
                    <a:pt x="2" y="64"/>
                  </a:cubicBezTo>
                  <a:cubicBezTo>
                    <a:pt x="2" y="67"/>
                    <a:pt x="2" y="67"/>
                    <a:pt x="2" y="67"/>
                  </a:cubicBezTo>
                  <a:cubicBezTo>
                    <a:pt x="2" y="67"/>
                    <a:pt x="1" y="69"/>
                    <a:pt x="1" y="70"/>
                  </a:cubicBezTo>
                  <a:cubicBezTo>
                    <a:pt x="1" y="70"/>
                    <a:pt x="2" y="71"/>
                    <a:pt x="2" y="71"/>
                  </a:cubicBezTo>
                  <a:cubicBezTo>
                    <a:pt x="3" y="71"/>
                    <a:pt x="3" y="71"/>
                    <a:pt x="3" y="71"/>
                  </a:cubicBezTo>
                  <a:cubicBezTo>
                    <a:pt x="3" y="71"/>
                    <a:pt x="6" y="75"/>
                    <a:pt x="6" y="76"/>
                  </a:cubicBezTo>
                  <a:cubicBezTo>
                    <a:pt x="6" y="77"/>
                    <a:pt x="6" y="77"/>
                    <a:pt x="6" y="77"/>
                  </a:cubicBezTo>
                  <a:cubicBezTo>
                    <a:pt x="7" y="78"/>
                    <a:pt x="7" y="80"/>
                    <a:pt x="7" y="80"/>
                  </a:cubicBezTo>
                  <a:cubicBezTo>
                    <a:pt x="7" y="81"/>
                    <a:pt x="7" y="81"/>
                    <a:pt x="7" y="81"/>
                  </a:cubicBezTo>
                  <a:cubicBezTo>
                    <a:pt x="7" y="81"/>
                    <a:pt x="5" y="83"/>
                    <a:pt x="4" y="83"/>
                  </a:cubicBezTo>
                  <a:cubicBezTo>
                    <a:pt x="3" y="83"/>
                    <a:pt x="4" y="83"/>
                    <a:pt x="3" y="83"/>
                  </a:cubicBezTo>
                  <a:cubicBezTo>
                    <a:pt x="3" y="83"/>
                    <a:pt x="3" y="84"/>
                    <a:pt x="3" y="84"/>
                  </a:cubicBezTo>
                  <a:cubicBezTo>
                    <a:pt x="3" y="84"/>
                    <a:pt x="3" y="87"/>
                    <a:pt x="3" y="87"/>
                  </a:cubicBezTo>
                  <a:cubicBezTo>
                    <a:pt x="3" y="88"/>
                    <a:pt x="2" y="90"/>
                    <a:pt x="2" y="90"/>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Freeform 46"/>
            <p:cNvSpPr>
              <a:spLocks/>
            </p:cNvSpPr>
            <p:nvPr/>
          </p:nvSpPr>
          <p:spPr bwMode="auto">
            <a:xfrm>
              <a:off x="5489847" y="3531844"/>
              <a:ext cx="125641" cy="138883"/>
            </a:xfrm>
            <a:custGeom>
              <a:avLst/>
              <a:gdLst>
                <a:gd name="T0" fmla="*/ 2 w 43"/>
                <a:gd name="T1" fmla="*/ 21 h 51"/>
                <a:gd name="T2" fmla="*/ 5 w 43"/>
                <a:gd name="T3" fmla="*/ 24 h 51"/>
                <a:gd name="T4" fmla="*/ 6 w 43"/>
                <a:gd name="T5" fmla="*/ 29 h 51"/>
                <a:gd name="T6" fmla="*/ 7 w 43"/>
                <a:gd name="T7" fmla="*/ 33 h 51"/>
                <a:gd name="T8" fmla="*/ 6 w 43"/>
                <a:gd name="T9" fmla="*/ 36 h 51"/>
                <a:gd name="T10" fmla="*/ 8 w 43"/>
                <a:gd name="T11" fmla="*/ 41 h 51"/>
                <a:gd name="T12" fmla="*/ 15 w 43"/>
                <a:gd name="T13" fmla="*/ 41 h 51"/>
                <a:gd name="T14" fmla="*/ 22 w 43"/>
                <a:gd name="T15" fmla="*/ 43 h 51"/>
                <a:gd name="T16" fmla="*/ 23 w 43"/>
                <a:gd name="T17" fmla="*/ 47 h 51"/>
                <a:gd name="T18" fmla="*/ 26 w 43"/>
                <a:gd name="T19" fmla="*/ 50 h 51"/>
                <a:gd name="T20" fmla="*/ 29 w 43"/>
                <a:gd name="T21" fmla="*/ 51 h 51"/>
                <a:gd name="T22" fmla="*/ 32 w 43"/>
                <a:gd name="T23" fmla="*/ 48 h 51"/>
                <a:gd name="T24" fmla="*/ 32 w 43"/>
                <a:gd name="T25" fmla="*/ 45 h 51"/>
                <a:gd name="T26" fmla="*/ 31 w 43"/>
                <a:gd name="T27" fmla="*/ 43 h 51"/>
                <a:gd name="T28" fmla="*/ 29 w 43"/>
                <a:gd name="T29" fmla="*/ 42 h 51"/>
                <a:gd name="T30" fmla="*/ 34 w 43"/>
                <a:gd name="T31" fmla="*/ 39 h 51"/>
                <a:gd name="T32" fmla="*/ 39 w 43"/>
                <a:gd name="T33" fmla="*/ 36 h 51"/>
                <a:gd name="T34" fmla="*/ 36 w 43"/>
                <a:gd name="T35" fmla="*/ 31 h 51"/>
                <a:gd name="T36" fmla="*/ 33 w 43"/>
                <a:gd name="T37" fmla="*/ 26 h 51"/>
                <a:gd name="T38" fmla="*/ 40 w 43"/>
                <a:gd name="T39" fmla="*/ 24 h 51"/>
                <a:gd name="T40" fmla="*/ 43 w 43"/>
                <a:gd name="T41" fmla="*/ 22 h 51"/>
                <a:gd name="T42" fmla="*/ 41 w 43"/>
                <a:gd name="T43" fmla="*/ 19 h 51"/>
                <a:gd name="T44" fmla="*/ 41 w 43"/>
                <a:gd name="T45" fmla="*/ 13 h 51"/>
                <a:gd name="T46" fmla="*/ 39 w 43"/>
                <a:gd name="T47" fmla="*/ 8 h 51"/>
                <a:gd name="T48" fmla="*/ 40 w 43"/>
                <a:gd name="T49" fmla="*/ 2 h 51"/>
                <a:gd name="T50" fmla="*/ 35 w 43"/>
                <a:gd name="T51" fmla="*/ 0 h 51"/>
                <a:gd name="T52" fmla="*/ 27 w 43"/>
                <a:gd name="T53" fmla="*/ 4 h 51"/>
                <a:gd name="T54" fmla="*/ 23 w 43"/>
                <a:gd name="T55" fmla="*/ 9 h 51"/>
                <a:gd name="T56" fmla="*/ 26 w 43"/>
                <a:gd name="T57" fmla="*/ 9 h 51"/>
                <a:gd name="T58" fmla="*/ 25 w 43"/>
                <a:gd name="T59" fmla="*/ 13 h 51"/>
                <a:gd name="T60" fmla="*/ 22 w 43"/>
                <a:gd name="T61" fmla="*/ 16 h 51"/>
                <a:gd name="T62" fmla="*/ 22 w 43"/>
                <a:gd name="T63" fmla="*/ 19 h 51"/>
                <a:gd name="T64" fmla="*/ 19 w 43"/>
                <a:gd name="T65" fmla="*/ 18 h 51"/>
                <a:gd name="T66" fmla="*/ 21 w 43"/>
                <a:gd name="T67" fmla="*/ 15 h 51"/>
                <a:gd name="T68" fmla="*/ 18 w 43"/>
                <a:gd name="T69" fmla="*/ 15 h 51"/>
                <a:gd name="T70" fmla="*/ 20 w 43"/>
                <a:gd name="T71" fmla="*/ 10 h 51"/>
                <a:gd name="T72" fmla="*/ 19 w 43"/>
                <a:gd name="T73" fmla="*/ 7 h 51"/>
                <a:gd name="T74" fmla="*/ 14 w 43"/>
                <a:gd name="T75" fmla="*/ 9 h 51"/>
                <a:gd name="T76" fmla="*/ 11 w 43"/>
                <a:gd name="T77" fmla="*/ 9 h 51"/>
                <a:gd name="T78" fmla="*/ 15 w 43"/>
                <a:gd name="T79" fmla="*/ 11 h 51"/>
                <a:gd name="T80" fmla="*/ 10 w 43"/>
                <a:gd name="T81" fmla="*/ 14 h 51"/>
                <a:gd name="T82" fmla="*/ 9 w 43"/>
                <a:gd name="T83" fmla="*/ 17 h 51"/>
                <a:gd name="T84" fmla="*/ 5 w 43"/>
                <a:gd name="T85" fmla="*/ 1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 h="51">
                  <a:moveTo>
                    <a:pt x="1" y="18"/>
                  </a:moveTo>
                  <a:cubicBezTo>
                    <a:pt x="0" y="18"/>
                    <a:pt x="1" y="20"/>
                    <a:pt x="1" y="20"/>
                  </a:cubicBezTo>
                  <a:cubicBezTo>
                    <a:pt x="2" y="21"/>
                    <a:pt x="2" y="21"/>
                    <a:pt x="2" y="21"/>
                  </a:cubicBezTo>
                  <a:cubicBezTo>
                    <a:pt x="1" y="22"/>
                    <a:pt x="1" y="22"/>
                    <a:pt x="1" y="22"/>
                  </a:cubicBezTo>
                  <a:cubicBezTo>
                    <a:pt x="3" y="23"/>
                    <a:pt x="3" y="23"/>
                    <a:pt x="3" y="23"/>
                  </a:cubicBezTo>
                  <a:cubicBezTo>
                    <a:pt x="5" y="24"/>
                    <a:pt x="5" y="24"/>
                    <a:pt x="5" y="24"/>
                  </a:cubicBezTo>
                  <a:cubicBezTo>
                    <a:pt x="6" y="26"/>
                    <a:pt x="6" y="26"/>
                    <a:pt x="6" y="26"/>
                  </a:cubicBezTo>
                  <a:cubicBezTo>
                    <a:pt x="5" y="28"/>
                    <a:pt x="5" y="28"/>
                    <a:pt x="5" y="28"/>
                  </a:cubicBezTo>
                  <a:cubicBezTo>
                    <a:pt x="6" y="29"/>
                    <a:pt x="6" y="29"/>
                    <a:pt x="6" y="29"/>
                  </a:cubicBezTo>
                  <a:cubicBezTo>
                    <a:pt x="6" y="29"/>
                    <a:pt x="7" y="30"/>
                    <a:pt x="7" y="30"/>
                  </a:cubicBezTo>
                  <a:cubicBezTo>
                    <a:pt x="7" y="31"/>
                    <a:pt x="7" y="32"/>
                    <a:pt x="7" y="32"/>
                  </a:cubicBezTo>
                  <a:cubicBezTo>
                    <a:pt x="7" y="33"/>
                    <a:pt x="7" y="33"/>
                    <a:pt x="7" y="33"/>
                  </a:cubicBezTo>
                  <a:cubicBezTo>
                    <a:pt x="7" y="34"/>
                    <a:pt x="7" y="34"/>
                    <a:pt x="7" y="34"/>
                  </a:cubicBezTo>
                  <a:cubicBezTo>
                    <a:pt x="7" y="34"/>
                    <a:pt x="6" y="35"/>
                    <a:pt x="6" y="36"/>
                  </a:cubicBezTo>
                  <a:cubicBezTo>
                    <a:pt x="6" y="36"/>
                    <a:pt x="6" y="36"/>
                    <a:pt x="6" y="36"/>
                  </a:cubicBezTo>
                  <a:cubicBezTo>
                    <a:pt x="8" y="38"/>
                    <a:pt x="8" y="38"/>
                    <a:pt x="8" y="38"/>
                  </a:cubicBezTo>
                  <a:cubicBezTo>
                    <a:pt x="9" y="39"/>
                    <a:pt x="9" y="39"/>
                    <a:pt x="9" y="39"/>
                  </a:cubicBezTo>
                  <a:cubicBezTo>
                    <a:pt x="9" y="39"/>
                    <a:pt x="8" y="41"/>
                    <a:pt x="8" y="41"/>
                  </a:cubicBezTo>
                  <a:cubicBezTo>
                    <a:pt x="8" y="41"/>
                    <a:pt x="9" y="42"/>
                    <a:pt x="9" y="42"/>
                  </a:cubicBezTo>
                  <a:cubicBezTo>
                    <a:pt x="13" y="42"/>
                    <a:pt x="13" y="42"/>
                    <a:pt x="13" y="42"/>
                  </a:cubicBezTo>
                  <a:cubicBezTo>
                    <a:pt x="15" y="41"/>
                    <a:pt x="15" y="41"/>
                    <a:pt x="15" y="41"/>
                  </a:cubicBezTo>
                  <a:cubicBezTo>
                    <a:pt x="15" y="41"/>
                    <a:pt x="17" y="42"/>
                    <a:pt x="17" y="42"/>
                  </a:cubicBezTo>
                  <a:cubicBezTo>
                    <a:pt x="18" y="42"/>
                    <a:pt x="20" y="41"/>
                    <a:pt x="20" y="41"/>
                  </a:cubicBezTo>
                  <a:cubicBezTo>
                    <a:pt x="20" y="41"/>
                    <a:pt x="21" y="42"/>
                    <a:pt x="22" y="43"/>
                  </a:cubicBezTo>
                  <a:cubicBezTo>
                    <a:pt x="23" y="43"/>
                    <a:pt x="23" y="44"/>
                    <a:pt x="23" y="44"/>
                  </a:cubicBezTo>
                  <a:cubicBezTo>
                    <a:pt x="23" y="45"/>
                    <a:pt x="22" y="45"/>
                    <a:pt x="22" y="45"/>
                  </a:cubicBezTo>
                  <a:cubicBezTo>
                    <a:pt x="22" y="45"/>
                    <a:pt x="22" y="47"/>
                    <a:pt x="23" y="47"/>
                  </a:cubicBezTo>
                  <a:cubicBezTo>
                    <a:pt x="23" y="48"/>
                    <a:pt x="23" y="47"/>
                    <a:pt x="23" y="47"/>
                  </a:cubicBezTo>
                  <a:cubicBezTo>
                    <a:pt x="23" y="47"/>
                    <a:pt x="24" y="48"/>
                    <a:pt x="24" y="49"/>
                  </a:cubicBezTo>
                  <a:cubicBezTo>
                    <a:pt x="25" y="50"/>
                    <a:pt x="26" y="50"/>
                    <a:pt x="26" y="50"/>
                  </a:cubicBezTo>
                  <a:cubicBezTo>
                    <a:pt x="27" y="49"/>
                    <a:pt x="27" y="49"/>
                    <a:pt x="27" y="49"/>
                  </a:cubicBezTo>
                  <a:cubicBezTo>
                    <a:pt x="27" y="49"/>
                    <a:pt x="27" y="50"/>
                    <a:pt x="27" y="51"/>
                  </a:cubicBezTo>
                  <a:cubicBezTo>
                    <a:pt x="28" y="51"/>
                    <a:pt x="28" y="51"/>
                    <a:pt x="29" y="51"/>
                  </a:cubicBezTo>
                  <a:cubicBezTo>
                    <a:pt x="30" y="51"/>
                    <a:pt x="30" y="50"/>
                    <a:pt x="30" y="50"/>
                  </a:cubicBezTo>
                  <a:cubicBezTo>
                    <a:pt x="31" y="50"/>
                    <a:pt x="31" y="50"/>
                    <a:pt x="32" y="49"/>
                  </a:cubicBezTo>
                  <a:cubicBezTo>
                    <a:pt x="32" y="49"/>
                    <a:pt x="32" y="48"/>
                    <a:pt x="32" y="48"/>
                  </a:cubicBezTo>
                  <a:cubicBezTo>
                    <a:pt x="32" y="48"/>
                    <a:pt x="32" y="48"/>
                    <a:pt x="32" y="48"/>
                  </a:cubicBezTo>
                  <a:cubicBezTo>
                    <a:pt x="32" y="46"/>
                    <a:pt x="32" y="46"/>
                    <a:pt x="32" y="46"/>
                  </a:cubicBezTo>
                  <a:cubicBezTo>
                    <a:pt x="32" y="45"/>
                    <a:pt x="32" y="45"/>
                    <a:pt x="32" y="45"/>
                  </a:cubicBezTo>
                  <a:cubicBezTo>
                    <a:pt x="32" y="44"/>
                    <a:pt x="32" y="44"/>
                    <a:pt x="32" y="44"/>
                  </a:cubicBezTo>
                  <a:cubicBezTo>
                    <a:pt x="31" y="44"/>
                    <a:pt x="31" y="44"/>
                    <a:pt x="31" y="44"/>
                  </a:cubicBezTo>
                  <a:cubicBezTo>
                    <a:pt x="31" y="44"/>
                    <a:pt x="31" y="43"/>
                    <a:pt x="31" y="43"/>
                  </a:cubicBezTo>
                  <a:cubicBezTo>
                    <a:pt x="31" y="42"/>
                    <a:pt x="30" y="43"/>
                    <a:pt x="30" y="43"/>
                  </a:cubicBezTo>
                  <a:cubicBezTo>
                    <a:pt x="30" y="43"/>
                    <a:pt x="29" y="43"/>
                    <a:pt x="29" y="43"/>
                  </a:cubicBezTo>
                  <a:cubicBezTo>
                    <a:pt x="29" y="43"/>
                    <a:pt x="29" y="42"/>
                    <a:pt x="29" y="42"/>
                  </a:cubicBezTo>
                  <a:cubicBezTo>
                    <a:pt x="30" y="42"/>
                    <a:pt x="30" y="42"/>
                    <a:pt x="30" y="41"/>
                  </a:cubicBezTo>
                  <a:cubicBezTo>
                    <a:pt x="31" y="41"/>
                    <a:pt x="31" y="41"/>
                    <a:pt x="31" y="41"/>
                  </a:cubicBezTo>
                  <a:cubicBezTo>
                    <a:pt x="31" y="41"/>
                    <a:pt x="33" y="39"/>
                    <a:pt x="34" y="39"/>
                  </a:cubicBezTo>
                  <a:cubicBezTo>
                    <a:pt x="36" y="38"/>
                    <a:pt x="36" y="38"/>
                    <a:pt x="36" y="38"/>
                  </a:cubicBezTo>
                  <a:cubicBezTo>
                    <a:pt x="38" y="37"/>
                    <a:pt x="38" y="37"/>
                    <a:pt x="38" y="37"/>
                  </a:cubicBezTo>
                  <a:cubicBezTo>
                    <a:pt x="38" y="37"/>
                    <a:pt x="38" y="36"/>
                    <a:pt x="39" y="36"/>
                  </a:cubicBezTo>
                  <a:cubicBezTo>
                    <a:pt x="39" y="36"/>
                    <a:pt x="39" y="35"/>
                    <a:pt x="39" y="35"/>
                  </a:cubicBezTo>
                  <a:cubicBezTo>
                    <a:pt x="38" y="33"/>
                    <a:pt x="38" y="33"/>
                    <a:pt x="38" y="33"/>
                  </a:cubicBezTo>
                  <a:cubicBezTo>
                    <a:pt x="38" y="33"/>
                    <a:pt x="36" y="32"/>
                    <a:pt x="36" y="31"/>
                  </a:cubicBezTo>
                  <a:cubicBezTo>
                    <a:pt x="36" y="31"/>
                    <a:pt x="33" y="30"/>
                    <a:pt x="33" y="30"/>
                  </a:cubicBezTo>
                  <a:cubicBezTo>
                    <a:pt x="33" y="30"/>
                    <a:pt x="32" y="28"/>
                    <a:pt x="32" y="28"/>
                  </a:cubicBezTo>
                  <a:cubicBezTo>
                    <a:pt x="32" y="28"/>
                    <a:pt x="33" y="26"/>
                    <a:pt x="33" y="26"/>
                  </a:cubicBezTo>
                  <a:cubicBezTo>
                    <a:pt x="33" y="26"/>
                    <a:pt x="35" y="24"/>
                    <a:pt x="36" y="23"/>
                  </a:cubicBezTo>
                  <a:cubicBezTo>
                    <a:pt x="37" y="22"/>
                    <a:pt x="37" y="23"/>
                    <a:pt x="38" y="23"/>
                  </a:cubicBezTo>
                  <a:cubicBezTo>
                    <a:pt x="38" y="23"/>
                    <a:pt x="39" y="24"/>
                    <a:pt x="40" y="24"/>
                  </a:cubicBezTo>
                  <a:cubicBezTo>
                    <a:pt x="40" y="24"/>
                    <a:pt x="41" y="24"/>
                    <a:pt x="41" y="24"/>
                  </a:cubicBezTo>
                  <a:cubicBezTo>
                    <a:pt x="42" y="24"/>
                    <a:pt x="43" y="24"/>
                    <a:pt x="43" y="24"/>
                  </a:cubicBezTo>
                  <a:cubicBezTo>
                    <a:pt x="43" y="24"/>
                    <a:pt x="43" y="23"/>
                    <a:pt x="43" y="22"/>
                  </a:cubicBezTo>
                  <a:cubicBezTo>
                    <a:pt x="43" y="21"/>
                    <a:pt x="43" y="21"/>
                    <a:pt x="43" y="21"/>
                  </a:cubicBezTo>
                  <a:cubicBezTo>
                    <a:pt x="42" y="21"/>
                    <a:pt x="42" y="20"/>
                    <a:pt x="42" y="20"/>
                  </a:cubicBezTo>
                  <a:cubicBezTo>
                    <a:pt x="42" y="20"/>
                    <a:pt x="41" y="19"/>
                    <a:pt x="41" y="19"/>
                  </a:cubicBezTo>
                  <a:cubicBezTo>
                    <a:pt x="41" y="19"/>
                    <a:pt x="42" y="18"/>
                    <a:pt x="42" y="18"/>
                  </a:cubicBezTo>
                  <a:cubicBezTo>
                    <a:pt x="42" y="18"/>
                    <a:pt x="42" y="15"/>
                    <a:pt x="42" y="15"/>
                  </a:cubicBezTo>
                  <a:cubicBezTo>
                    <a:pt x="41" y="15"/>
                    <a:pt x="41" y="13"/>
                    <a:pt x="41" y="13"/>
                  </a:cubicBezTo>
                  <a:cubicBezTo>
                    <a:pt x="41" y="12"/>
                    <a:pt x="40" y="11"/>
                    <a:pt x="40" y="11"/>
                  </a:cubicBezTo>
                  <a:cubicBezTo>
                    <a:pt x="39" y="10"/>
                    <a:pt x="39" y="10"/>
                    <a:pt x="39" y="10"/>
                  </a:cubicBezTo>
                  <a:cubicBezTo>
                    <a:pt x="39" y="10"/>
                    <a:pt x="39" y="10"/>
                    <a:pt x="39" y="8"/>
                  </a:cubicBezTo>
                  <a:cubicBezTo>
                    <a:pt x="39" y="7"/>
                    <a:pt x="40" y="6"/>
                    <a:pt x="40" y="5"/>
                  </a:cubicBezTo>
                  <a:cubicBezTo>
                    <a:pt x="41" y="5"/>
                    <a:pt x="41" y="4"/>
                    <a:pt x="41" y="4"/>
                  </a:cubicBezTo>
                  <a:cubicBezTo>
                    <a:pt x="40" y="2"/>
                    <a:pt x="40" y="2"/>
                    <a:pt x="40" y="2"/>
                  </a:cubicBezTo>
                  <a:cubicBezTo>
                    <a:pt x="40" y="2"/>
                    <a:pt x="37" y="2"/>
                    <a:pt x="37" y="2"/>
                  </a:cubicBezTo>
                  <a:cubicBezTo>
                    <a:pt x="37" y="2"/>
                    <a:pt x="36" y="1"/>
                    <a:pt x="36" y="0"/>
                  </a:cubicBezTo>
                  <a:cubicBezTo>
                    <a:pt x="36" y="0"/>
                    <a:pt x="35" y="0"/>
                    <a:pt x="35" y="0"/>
                  </a:cubicBezTo>
                  <a:cubicBezTo>
                    <a:pt x="35" y="0"/>
                    <a:pt x="32" y="1"/>
                    <a:pt x="32" y="1"/>
                  </a:cubicBezTo>
                  <a:cubicBezTo>
                    <a:pt x="32" y="1"/>
                    <a:pt x="31" y="1"/>
                    <a:pt x="30" y="2"/>
                  </a:cubicBezTo>
                  <a:cubicBezTo>
                    <a:pt x="28" y="3"/>
                    <a:pt x="28" y="3"/>
                    <a:pt x="27" y="4"/>
                  </a:cubicBezTo>
                  <a:cubicBezTo>
                    <a:pt x="26" y="4"/>
                    <a:pt x="25" y="5"/>
                    <a:pt x="25" y="5"/>
                  </a:cubicBezTo>
                  <a:cubicBezTo>
                    <a:pt x="24" y="6"/>
                    <a:pt x="23" y="7"/>
                    <a:pt x="23" y="7"/>
                  </a:cubicBezTo>
                  <a:cubicBezTo>
                    <a:pt x="22" y="8"/>
                    <a:pt x="23" y="8"/>
                    <a:pt x="23" y="9"/>
                  </a:cubicBezTo>
                  <a:cubicBezTo>
                    <a:pt x="23" y="10"/>
                    <a:pt x="24" y="9"/>
                    <a:pt x="24" y="9"/>
                  </a:cubicBezTo>
                  <a:cubicBezTo>
                    <a:pt x="24" y="9"/>
                    <a:pt x="25" y="9"/>
                    <a:pt x="26" y="9"/>
                  </a:cubicBezTo>
                  <a:cubicBezTo>
                    <a:pt x="26" y="9"/>
                    <a:pt x="26" y="9"/>
                    <a:pt x="26" y="9"/>
                  </a:cubicBezTo>
                  <a:cubicBezTo>
                    <a:pt x="26" y="9"/>
                    <a:pt x="26" y="10"/>
                    <a:pt x="26" y="10"/>
                  </a:cubicBezTo>
                  <a:cubicBezTo>
                    <a:pt x="26" y="10"/>
                    <a:pt x="25" y="11"/>
                    <a:pt x="25" y="11"/>
                  </a:cubicBezTo>
                  <a:cubicBezTo>
                    <a:pt x="25" y="11"/>
                    <a:pt x="25" y="12"/>
                    <a:pt x="25" y="13"/>
                  </a:cubicBezTo>
                  <a:cubicBezTo>
                    <a:pt x="25" y="13"/>
                    <a:pt x="24" y="14"/>
                    <a:pt x="24" y="14"/>
                  </a:cubicBezTo>
                  <a:cubicBezTo>
                    <a:pt x="23" y="14"/>
                    <a:pt x="23" y="14"/>
                    <a:pt x="22" y="15"/>
                  </a:cubicBezTo>
                  <a:cubicBezTo>
                    <a:pt x="21" y="15"/>
                    <a:pt x="22" y="16"/>
                    <a:pt x="22" y="16"/>
                  </a:cubicBezTo>
                  <a:cubicBezTo>
                    <a:pt x="22" y="17"/>
                    <a:pt x="22" y="17"/>
                    <a:pt x="22" y="17"/>
                  </a:cubicBezTo>
                  <a:cubicBezTo>
                    <a:pt x="23" y="18"/>
                    <a:pt x="23" y="18"/>
                    <a:pt x="23" y="19"/>
                  </a:cubicBezTo>
                  <a:cubicBezTo>
                    <a:pt x="23" y="19"/>
                    <a:pt x="22" y="20"/>
                    <a:pt x="22" y="19"/>
                  </a:cubicBezTo>
                  <a:cubicBezTo>
                    <a:pt x="21" y="19"/>
                    <a:pt x="21" y="19"/>
                    <a:pt x="21" y="19"/>
                  </a:cubicBezTo>
                  <a:cubicBezTo>
                    <a:pt x="19" y="18"/>
                    <a:pt x="19" y="18"/>
                    <a:pt x="19" y="18"/>
                  </a:cubicBezTo>
                  <a:cubicBezTo>
                    <a:pt x="19" y="18"/>
                    <a:pt x="19" y="18"/>
                    <a:pt x="19" y="18"/>
                  </a:cubicBezTo>
                  <a:cubicBezTo>
                    <a:pt x="18" y="18"/>
                    <a:pt x="20" y="17"/>
                    <a:pt x="20" y="17"/>
                  </a:cubicBezTo>
                  <a:cubicBezTo>
                    <a:pt x="21" y="16"/>
                    <a:pt x="21" y="16"/>
                    <a:pt x="21" y="16"/>
                  </a:cubicBezTo>
                  <a:cubicBezTo>
                    <a:pt x="21" y="15"/>
                    <a:pt x="21" y="15"/>
                    <a:pt x="21" y="15"/>
                  </a:cubicBezTo>
                  <a:cubicBezTo>
                    <a:pt x="19" y="15"/>
                    <a:pt x="19" y="15"/>
                    <a:pt x="19" y="15"/>
                  </a:cubicBezTo>
                  <a:cubicBezTo>
                    <a:pt x="18" y="15"/>
                    <a:pt x="18" y="15"/>
                    <a:pt x="18" y="15"/>
                  </a:cubicBezTo>
                  <a:cubicBezTo>
                    <a:pt x="18" y="15"/>
                    <a:pt x="18" y="15"/>
                    <a:pt x="18" y="15"/>
                  </a:cubicBezTo>
                  <a:cubicBezTo>
                    <a:pt x="18" y="13"/>
                    <a:pt x="18" y="13"/>
                    <a:pt x="18" y="13"/>
                  </a:cubicBezTo>
                  <a:cubicBezTo>
                    <a:pt x="19" y="11"/>
                    <a:pt x="19" y="11"/>
                    <a:pt x="19" y="11"/>
                  </a:cubicBezTo>
                  <a:cubicBezTo>
                    <a:pt x="19" y="11"/>
                    <a:pt x="19" y="10"/>
                    <a:pt x="20" y="10"/>
                  </a:cubicBezTo>
                  <a:cubicBezTo>
                    <a:pt x="20" y="10"/>
                    <a:pt x="21" y="9"/>
                    <a:pt x="21" y="8"/>
                  </a:cubicBezTo>
                  <a:cubicBezTo>
                    <a:pt x="22" y="8"/>
                    <a:pt x="21" y="7"/>
                    <a:pt x="21" y="7"/>
                  </a:cubicBezTo>
                  <a:cubicBezTo>
                    <a:pt x="19" y="7"/>
                    <a:pt x="19" y="7"/>
                    <a:pt x="19" y="7"/>
                  </a:cubicBezTo>
                  <a:cubicBezTo>
                    <a:pt x="17" y="8"/>
                    <a:pt x="17" y="8"/>
                    <a:pt x="17" y="8"/>
                  </a:cubicBezTo>
                  <a:cubicBezTo>
                    <a:pt x="17" y="8"/>
                    <a:pt x="15" y="9"/>
                    <a:pt x="15" y="9"/>
                  </a:cubicBezTo>
                  <a:cubicBezTo>
                    <a:pt x="14" y="9"/>
                    <a:pt x="14" y="9"/>
                    <a:pt x="14" y="9"/>
                  </a:cubicBezTo>
                  <a:cubicBezTo>
                    <a:pt x="13" y="8"/>
                    <a:pt x="13" y="8"/>
                    <a:pt x="13" y="8"/>
                  </a:cubicBezTo>
                  <a:cubicBezTo>
                    <a:pt x="13" y="8"/>
                    <a:pt x="11" y="8"/>
                    <a:pt x="11" y="8"/>
                  </a:cubicBezTo>
                  <a:cubicBezTo>
                    <a:pt x="11" y="8"/>
                    <a:pt x="11" y="9"/>
                    <a:pt x="11" y="9"/>
                  </a:cubicBezTo>
                  <a:cubicBezTo>
                    <a:pt x="11" y="9"/>
                    <a:pt x="13" y="10"/>
                    <a:pt x="13" y="10"/>
                  </a:cubicBezTo>
                  <a:cubicBezTo>
                    <a:pt x="14" y="10"/>
                    <a:pt x="14" y="11"/>
                    <a:pt x="14" y="11"/>
                  </a:cubicBezTo>
                  <a:cubicBezTo>
                    <a:pt x="15" y="11"/>
                    <a:pt x="15" y="11"/>
                    <a:pt x="15" y="11"/>
                  </a:cubicBezTo>
                  <a:cubicBezTo>
                    <a:pt x="15" y="11"/>
                    <a:pt x="13" y="13"/>
                    <a:pt x="13" y="13"/>
                  </a:cubicBezTo>
                  <a:cubicBezTo>
                    <a:pt x="12" y="13"/>
                    <a:pt x="12" y="14"/>
                    <a:pt x="12" y="14"/>
                  </a:cubicBezTo>
                  <a:cubicBezTo>
                    <a:pt x="10" y="14"/>
                    <a:pt x="10" y="14"/>
                    <a:pt x="10" y="14"/>
                  </a:cubicBezTo>
                  <a:cubicBezTo>
                    <a:pt x="10" y="14"/>
                    <a:pt x="11" y="16"/>
                    <a:pt x="11" y="16"/>
                  </a:cubicBezTo>
                  <a:cubicBezTo>
                    <a:pt x="11" y="16"/>
                    <a:pt x="11" y="17"/>
                    <a:pt x="11" y="17"/>
                  </a:cubicBezTo>
                  <a:cubicBezTo>
                    <a:pt x="9" y="17"/>
                    <a:pt x="9" y="17"/>
                    <a:pt x="9" y="17"/>
                  </a:cubicBezTo>
                  <a:cubicBezTo>
                    <a:pt x="7" y="18"/>
                    <a:pt x="7" y="18"/>
                    <a:pt x="7" y="18"/>
                  </a:cubicBezTo>
                  <a:cubicBezTo>
                    <a:pt x="7" y="18"/>
                    <a:pt x="6" y="18"/>
                    <a:pt x="6" y="18"/>
                  </a:cubicBezTo>
                  <a:cubicBezTo>
                    <a:pt x="6" y="18"/>
                    <a:pt x="5" y="18"/>
                    <a:pt x="5" y="18"/>
                  </a:cubicBezTo>
                  <a:cubicBezTo>
                    <a:pt x="4" y="19"/>
                    <a:pt x="4" y="19"/>
                    <a:pt x="4" y="19"/>
                  </a:cubicBezTo>
                  <a:cubicBezTo>
                    <a:pt x="4" y="19"/>
                    <a:pt x="2" y="18"/>
                    <a:pt x="1" y="18"/>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Freeform 47"/>
            <p:cNvSpPr>
              <a:spLocks/>
            </p:cNvSpPr>
            <p:nvPr/>
          </p:nvSpPr>
          <p:spPr bwMode="auto">
            <a:xfrm>
              <a:off x="5460964" y="3662558"/>
              <a:ext cx="17330" cy="16339"/>
            </a:xfrm>
            <a:custGeom>
              <a:avLst/>
              <a:gdLst>
                <a:gd name="T0" fmla="*/ 3 w 6"/>
                <a:gd name="T1" fmla="*/ 1 h 6"/>
                <a:gd name="T2" fmla="*/ 2 w 6"/>
                <a:gd name="T3" fmla="*/ 2 h 6"/>
                <a:gd name="T4" fmla="*/ 0 w 6"/>
                <a:gd name="T5" fmla="*/ 2 h 6"/>
                <a:gd name="T6" fmla="*/ 1 w 6"/>
                <a:gd name="T7" fmla="*/ 4 h 6"/>
                <a:gd name="T8" fmla="*/ 2 w 6"/>
                <a:gd name="T9" fmla="*/ 6 h 6"/>
                <a:gd name="T10" fmla="*/ 5 w 6"/>
                <a:gd name="T11" fmla="*/ 3 h 6"/>
                <a:gd name="T12" fmla="*/ 5 w 6"/>
                <a:gd name="T13" fmla="*/ 2 h 6"/>
                <a:gd name="T14" fmla="*/ 6 w 6"/>
                <a:gd name="T15" fmla="*/ 0 h 6"/>
                <a:gd name="T16" fmla="*/ 3 w 6"/>
                <a:gd name="T1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3" y="1"/>
                  </a:moveTo>
                  <a:cubicBezTo>
                    <a:pt x="2" y="2"/>
                    <a:pt x="2" y="2"/>
                    <a:pt x="2" y="2"/>
                  </a:cubicBezTo>
                  <a:cubicBezTo>
                    <a:pt x="0" y="2"/>
                    <a:pt x="0" y="2"/>
                    <a:pt x="0" y="2"/>
                  </a:cubicBezTo>
                  <a:cubicBezTo>
                    <a:pt x="1" y="4"/>
                    <a:pt x="1" y="4"/>
                    <a:pt x="1" y="4"/>
                  </a:cubicBezTo>
                  <a:cubicBezTo>
                    <a:pt x="1" y="4"/>
                    <a:pt x="2" y="6"/>
                    <a:pt x="2" y="6"/>
                  </a:cubicBezTo>
                  <a:cubicBezTo>
                    <a:pt x="3" y="6"/>
                    <a:pt x="5" y="3"/>
                    <a:pt x="5" y="3"/>
                  </a:cubicBezTo>
                  <a:cubicBezTo>
                    <a:pt x="5" y="2"/>
                    <a:pt x="5" y="2"/>
                    <a:pt x="5" y="2"/>
                  </a:cubicBezTo>
                  <a:cubicBezTo>
                    <a:pt x="6" y="0"/>
                    <a:pt x="6" y="0"/>
                    <a:pt x="6" y="0"/>
                  </a:cubicBezTo>
                  <a:lnTo>
                    <a:pt x="3" y="1"/>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48"/>
            <p:cNvSpPr>
              <a:spLocks/>
            </p:cNvSpPr>
            <p:nvPr/>
          </p:nvSpPr>
          <p:spPr bwMode="auto">
            <a:xfrm>
              <a:off x="5472517" y="3651665"/>
              <a:ext cx="23106" cy="49018"/>
            </a:xfrm>
            <a:custGeom>
              <a:avLst/>
              <a:gdLst>
                <a:gd name="T0" fmla="*/ 6 w 8"/>
                <a:gd name="T1" fmla="*/ 1 h 18"/>
                <a:gd name="T2" fmla="*/ 6 w 8"/>
                <a:gd name="T3" fmla="*/ 3 h 18"/>
                <a:gd name="T4" fmla="*/ 4 w 8"/>
                <a:gd name="T5" fmla="*/ 6 h 18"/>
                <a:gd name="T6" fmla="*/ 3 w 8"/>
                <a:gd name="T7" fmla="*/ 8 h 18"/>
                <a:gd name="T8" fmla="*/ 2 w 8"/>
                <a:gd name="T9" fmla="*/ 9 h 18"/>
                <a:gd name="T10" fmla="*/ 2 w 8"/>
                <a:gd name="T11" fmla="*/ 10 h 18"/>
                <a:gd name="T12" fmla="*/ 2 w 8"/>
                <a:gd name="T13" fmla="*/ 11 h 18"/>
                <a:gd name="T14" fmla="*/ 1 w 8"/>
                <a:gd name="T15" fmla="*/ 12 h 18"/>
                <a:gd name="T16" fmla="*/ 1 w 8"/>
                <a:gd name="T17" fmla="*/ 13 h 18"/>
                <a:gd name="T18" fmla="*/ 0 w 8"/>
                <a:gd name="T19" fmla="*/ 14 h 18"/>
                <a:gd name="T20" fmla="*/ 1 w 8"/>
                <a:gd name="T21" fmla="*/ 17 h 18"/>
                <a:gd name="T22" fmla="*/ 2 w 8"/>
                <a:gd name="T23" fmla="*/ 18 h 18"/>
                <a:gd name="T24" fmla="*/ 3 w 8"/>
                <a:gd name="T25" fmla="*/ 18 h 18"/>
                <a:gd name="T26" fmla="*/ 3 w 8"/>
                <a:gd name="T27" fmla="*/ 16 h 18"/>
                <a:gd name="T28" fmla="*/ 4 w 8"/>
                <a:gd name="T29" fmla="*/ 12 h 18"/>
                <a:gd name="T30" fmla="*/ 5 w 8"/>
                <a:gd name="T31" fmla="*/ 10 h 18"/>
                <a:gd name="T32" fmla="*/ 7 w 8"/>
                <a:gd name="T33" fmla="*/ 7 h 18"/>
                <a:gd name="T34" fmla="*/ 7 w 8"/>
                <a:gd name="T35" fmla="*/ 4 h 18"/>
                <a:gd name="T36" fmla="*/ 8 w 8"/>
                <a:gd name="T37" fmla="*/ 2 h 18"/>
                <a:gd name="T38" fmla="*/ 7 w 8"/>
                <a:gd name="T39" fmla="*/ 0 h 18"/>
                <a:gd name="T40" fmla="*/ 6 w 8"/>
                <a:gd name="T4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18">
                  <a:moveTo>
                    <a:pt x="6" y="1"/>
                  </a:moveTo>
                  <a:cubicBezTo>
                    <a:pt x="6" y="3"/>
                    <a:pt x="6" y="3"/>
                    <a:pt x="6" y="3"/>
                  </a:cubicBezTo>
                  <a:cubicBezTo>
                    <a:pt x="4" y="6"/>
                    <a:pt x="4" y="6"/>
                    <a:pt x="4" y="6"/>
                  </a:cubicBezTo>
                  <a:cubicBezTo>
                    <a:pt x="3" y="8"/>
                    <a:pt x="3" y="8"/>
                    <a:pt x="3" y="8"/>
                  </a:cubicBezTo>
                  <a:cubicBezTo>
                    <a:pt x="2" y="9"/>
                    <a:pt x="2" y="9"/>
                    <a:pt x="2" y="9"/>
                  </a:cubicBezTo>
                  <a:cubicBezTo>
                    <a:pt x="2" y="10"/>
                    <a:pt x="2" y="10"/>
                    <a:pt x="2" y="10"/>
                  </a:cubicBezTo>
                  <a:cubicBezTo>
                    <a:pt x="2" y="11"/>
                    <a:pt x="2" y="11"/>
                    <a:pt x="2" y="11"/>
                  </a:cubicBezTo>
                  <a:cubicBezTo>
                    <a:pt x="1" y="12"/>
                    <a:pt x="1" y="12"/>
                    <a:pt x="1" y="12"/>
                  </a:cubicBezTo>
                  <a:cubicBezTo>
                    <a:pt x="1" y="13"/>
                    <a:pt x="1" y="13"/>
                    <a:pt x="1" y="13"/>
                  </a:cubicBezTo>
                  <a:cubicBezTo>
                    <a:pt x="0" y="14"/>
                    <a:pt x="0" y="14"/>
                    <a:pt x="0" y="14"/>
                  </a:cubicBezTo>
                  <a:cubicBezTo>
                    <a:pt x="1" y="17"/>
                    <a:pt x="1" y="17"/>
                    <a:pt x="1" y="17"/>
                  </a:cubicBezTo>
                  <a:cubicBezTo>
                    <a:pt x="2" y="18"/>
                    <a:pt x="2" y="18"/>
                    <a:pt x="2" y="18"/>
                  </a:cubicBezTo>
                  <a:cubicBezTo>
                    <a:pt x="2" y="18"/>
                    <a:pt x="3" y="18"/>
                    <a:pt x="3" y="18"/>
                  </a:cubicBezTo>
                  <a:cubicBezTo>
                    <a:pt x="3" y="17"/>
                    <a:pt x="3" y="16"/>
                    <a:pt x="3" y="16"/>
                  </a:cubicBezTo>
                  <a:cubicBezTo>
                    <a:pt x="3" y="15"/>
                    <a:pt x="4" y="13"/>
                    <a:pt x="4" y="12"/>
                  </a:cubicBezTo>
                  <a:cubicBezTo>
                    <a:pt x="4" y="12"/>
                    <a:pt x="5" y="10"/>
                    <a:pt x="5" y="10"/>
                  </a:cubicBezTo>
                  <a:cubicBezTo>
                    <a:pt x="6" y="9"/>
                    <a:pt x="7" y="8"/>
                    <a:pt x="7" y="7"/>
                  </a:cubicBezTo>
                  <a:cubicBezTo>
                    <a:pt x="7" y="6"/>
                    <a:pt x="7" y="5"/>
                    <a:pt x="7" y="4"/>
                  </a:cubicBezTo>
                  <a:cubicBezTo>
                    <a:pt x="7" y="4"/>
                    <a:pt x="8" y="2"/>
                    <a:pt x="8" y="2"/>
                  </a:cubicBezTo>
                  <a:cubicBezTo>
                    <a:pt x="8" y="1"/>
                    <a:pt x="7" y="0"/>
                    <a:pt x="7" y="0"/>
                  </a:cubicBezTo>
                  <a:lnTo>
                    <a:pt x="6" y="1"/>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Freeform 49"/>
            <p:cNvSpPr>
              <a:spLocks/>
            </p:cNvSpPr>
            <p:nvPr/>
          </p:nvSpPr>
          <p:spPr bwMode="auto">
            <a:xfrm>
              <a:off x="5440746" y="3673451"/>
              <a:ext cx="20218" cy="16339"/>
            </a:xfrm>
            <a:custGeom>
              <a:avLst/>
              <a:gdLst>
                <a:gd name="T0" fmla="*/ 4 w 7"/>
                <a:gd name="T1" fmla="*/ 2 h 6"/>
                <a:gd name="T2" fmla="*/ 3 w 7"/>
                <a:gd name="T3" fmla="*/ 2 h 6"/>
                <a:gd name="T4" fmla="*/ 1 w 7"/>
                <a:gd name="T5" fmla="*/ 0 h 6"/>
                <a:gd name="T6" fmla="*/ 0 w 7"/>
                <a:gd name="T7" fmla="*/ 0 h 6"/>
                <a:gd name="T8" fmla="*/ 1 w 7"/>
                <a:gd name="T9" fmla="*/ 3 h 6"/>
                <a:gd name="T10" fmla="*/ 2 w 7"/>
                <a:gd name="T11" fmla="*/ 4 h 6"/>
                <a:gd name="T12" fmla="*/ 4 w 7"/>
                <a:gd name="T13" fmla="*/ 5 h 6"/>
                <a:gd name="T14" fmla="*/ 4 w 7"/>
                <a:gd name="T15" fmla="*/ 6 h 6"/>
                <a:gd name="T16" fmla="*/ 6 w 7"/>
                <a:gd name="T17" fmla="*/ 5 h 6"/>
                <a:gd name="T18" fmla="*/ 7 w 7"/>
                <a:gd name="T19" fmla="*/ 4 h 6"/>
                <a:gd name="T20" fmla="*/ 5 w 7"/>
                <a:gd name="T21" fmla="*/ 3 h 6"/>
                <a:gd name="T22" fmla="*/ 4 w 7"/>
                <a:gd name="T23"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6">
                  <a:moveTo>
                    <a:pt x="4" y="2"/>
                  </a:moveTo>
                  <a:cubicBezTo>
                    <a:pt x="4" y="2"/>
                    <a:pt x="3" y="2"/>
                    <a:pt x="3" y="2"/>
                  </a:cubicBezTo>
                  <a:cubicBezTo>
                    <a:pt x="2" y="1"/>
                    <a:pt x="1" y="0"/>
                    <a:pt x="1" y="0"/>
                  </a:cubicBezTo>
                  <a:cubicBezTo>
                    <a:pt x="0" y="0"/>
                    <a:pt x="0" y="0"/>
                    <a:pt x="0" y="0"/>
                  </a:cubicBezTo>
                  <a:cubicBezTo>
                    <a:pt x="0" y="0"/>
                    <a:pt x="1" y="2"/>
                    <a:pt x="1" y="3"/>
                  </a:cubicBezTo>
                  <a:cubicBezTo>
                    <a:pt x="1" y="3"/>
                    <a:pt x="2" y="4"/>
                    <a:pt x="2" y="4"/>
                  </a:cubicBezTo>
                  <a:cubicBezTo>
                    <a:pt x="4" y="5"/>
                    <a:pt x="4" y="5"/>
                    <a:pt x="4" y="5"/>
                  </a:cubicBezTo>
                  <a:cubicBezTo>
                    <a:pt x="4" y="5"/>
                    <a:pt x="4" y="6"/>
                    <a:pt x="4" y="6"/>
                  </a:cubicBezTo>
                  <a:cubicBezTo>
                    <a:pt x="5" y="6"/>
                    <a:pt x="6" y="5"/>
                    <a:pt x="6" y="5"/>
                  </a:cubicBezTo>
                  <a:cubicBezTo>
                    <a:pt x="7" y="4"/>
                    <a:pt x="7" y="4"/>
                    <a:pt x="7" y="4"/>
                  </a:cubicBezTo>
                  <a:cubicBezTo>
                    <a:pt x="7" y="4"/>
                    <a:pt x="6" y="3"/>
                    <a:pt x="5" y="3"/>
                  </a:cubicBezTo>
                  <a:cubicBezTo>
                    <a:pt x="5" y="3"/>
                    <a:pt x="4" y="2"/>
                    <a:pt x="4" y="2"/>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50"/>
            <p:cNvSpPr>
              <a:spLocks/>
            </p:cNvSpPr>
            <p:nvPr/>
          </p:nvSpPr>
          <p:spPr bwMode="auto">
            <a:xfrm>
              <a:off x="5108592" y="3843651"/>
              <a:ext cx="23106" cy="5446"/>
            </a:xfrm>
            <a:custGeom>
              <a:avLst/>
              <a:gdLst>
                <a:gd name="T0" fmla="*/ 0 w 8"/>
                <a:gd name="T1" fmla="*/ 2 h 2"/>
                <a:gd name="T2" fmla="*/ 2 w 8"/>
                <a:gd name="T3" fmla="*/ 2 h 2"/>
                <a:gd name="T4" fmla="*/ 3 w 8"/>
                <a:gd name="T5" fmla="*/ 2 h 2"/>
                <a:gd name="T6" fmla="*/ 4 w 8"/>
                <a:gd name="T7" fmla="*/ 2 h 2"/>
                <a:gd name="T8" fmla="*/ 4 w 8"/>
                <a:gd name="T9" fmla="*/ 2 h 2"/>
                <a:gd name="T10" fmla="*/ 6 w 8"/>
                <a:gd name="T11" fmla="*/ 2 h 2"/>
                <a:gd name="T12" fmla="*/ 7 w 8"/>
                <a:gd name="T13" fmla="*/ 2 h 2"/>
                <a:gd name="T14" fmla="*/ 8 w 8"/>
                <a:gd name="T15" fmla="*/ 2 h 2"/>
                <a:gd name="T16" fmla="*/ 8 w 8"/>
                <a:gd name="T17" fmla="*/ 1 h 2"/>
                <a:gd name="T18" fmla="*/ 6 w 8"/>
                <a:gd name="T19" fmla="*/ 1 h 2"/>
                <a:gd name="T20" fmla="*/ 5 w 8"/>
                <a:gd name="T21" fmla="*/ 1 h 2"/>
                <a:gd name="T22" fmla="*/ 4 w 8"/>
                <a:gd name="T23" fmla="*/ 1 h 2"/>
                <a:gd name="T24" fmla="*/ 3 w 8"/>
                <a:gd name="T25" fmla="*/ 1 h 2"/>
                <a:gd name="T26" fmla="*/ 1 w 8"/>
                <a:gd name="T27" fmla="*/ 0 h 2"/>
                <a:gd name="T28" fmla="*/ 1 w 8"/>
                <a:gd name="T29" fmla="*/ 0 h 2"/>
                <a:gd name="T30" fmla="*/ 0 w 8"/>
                <a:gd name="T31" fmla="*/ 1 h 2"/>
                <a:gd name="T32" fmla="*/ 0 w 8"/>
                <a:gd name="T33" fmla="*/ 2 h 2"/>
                <a:gd name="T34" fmla="*/ 0 w 8"/>
                <a:gd name="T3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
                  <a:moveTo>
                    <a:pt x="0" y="2"/>
                  </a:moveTo>
                  <a:cubicBezTo>
                    <a:pt x="0" y="2"/>
                    <a:pt x="0" y="2"/>
                    <a:pt x="2" y="2"/>
                  </a:cubicBezTo>
                  <a:cubicBezTo>
                    <a:pt x="4" y="1"/>
                    <a:pt x="3" y="2"/>
                    <a:pt x="3" y="2"/>
                  </a:cubicBezTo>
                  <a:cubicBezTo>
                    <a:pt x="4" y="2"/>
                    <a:pt x="3" y="2"/>
                    <a:pt x="4" y="2"/>
                  </a:cubicBezTo>
                  <a:cubicBezTo>
                    <a:pt x="4" y="2"/>
                    <a:pt x="4" y="2"/>
                    <a:pt x="4" y="2"/>
                  </a:cubicBezTo>
                  <a:cubicBezTo>
                    <a:pt x="5" y="2"/>
                    <a:pt x="5" y="2"/>
                    <a:pt x="6" y="2"/>
                  </a:cubicBezTo>
                  <a:cubicBezTo>
                    <a:pt x="7" y="2"/>
                    <a:pt x="6" y="2"/>
                    <a:pt x="7" y="2"/>
                  </a:cubicBezTo>
                  <a:cubicBezTo>
                    <a:pt x="7" y="2"/>
                    <a:pt x="7" y="2"/>
                    <a:pt x="8" y="2"/>
                  </a:cubicBezTo>
                  <a:cubicBezTo>
                    <a:pt x="8" y="2"/>
                    <a:pt x="8" y="1"/>
                    <a:pt x="8" y="1"/>
                  </a:cubicBezTo>
                  <a:cubicBezTo>
                    <a:pt x="8" y="1"/>
                    <a:pt x="7" y="1"/>
                    <a:pt x="6" y="1"/>
                  </a:cubicBezTo>
                  <a:cubicBezTo>
                    <a:pt x="5" y="1"/>
                    <a:pt x="6" y="1"/>
                    <a:pt x="5" y="1"/>
                  </a:cubicBezTo>
                  <a:cubicBezTo>
                    <a:pt x="4" y="0"/>
                    <a:pt x="4" y="1"/>
                    <a:pt x="4" y="1"/>
                  </a:cubicBezTo>
                  <a:cubicBezTo>
                    <a:pt x="3" y="1"/>
                    <a:pt x="3" y="1"/>
                    <a:pt x="3" y="1"/>
                  </a:cubicBezTo>
                  <a:cubicBezTo>
                    <a:pt x="2" y="1"/>
                    <a:pt x="2" y="1"/>
                    <a:pt x="1" y="0"/>
                  </a:cubicBezTo>
                  <a:cubicBezTo>
                    <a:pt x="1" y="0"/>
                    <a:pt x="1" y="0"/>
                    <a:pt x="1" y="0"/>
                  </a:cubicBezTo>
                  <a:cubicBezTo>
                    <a:pt x="0" y="0"/>
                    <a:pt x="0" y="1"/>
                    <a:pt x="0" y="1"/>
                  </a:cubicBezTo>
                  <a:cubicBezTo>
                    <a:pt x="0" y="1"/>
                    <a:pt x="0" y="2"/>
                    <a:pt x="0" y="2"/>
                  </a:cubicBezTo>
                  <a:cubicBezTo>
                    <a:pt x="0" y="2"/>
                    <a:pt x="0" y="2"/>
                    <a:pt x="0" y="2"/>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reeform 51"/>
            <p:cNvSpPr>
              <a:spLocks/>
            </p:cNvSpPr>
            <p:nvPr/>
          </p:nvSpPr>
          <p:spPr bwMode="auto">
            <a:xfrm>
              <a:off x="5137475" y="3843651"/>
              <a:ext cx="5777" cy="5446"/>
            </a:xfrm>
            <a:custGeom>
              <a:avLst/>
              <a:gdLst>
                <a:gd name="T0" fmla="*/ 1 w 2"/>
                <a:gd name="T1" fmla="*/ 2 h 2"/>
                <a:gd name="T2" fmla="*/ 1 w 2"/>
                <a:gd name="T3" fmla="*/ 1 h 2"/>
                <a:gd name="T4" fmla="*/ 0 w 2"/>
                <a:gd name="T5" fmla="*/ 1 h 2"/>
                <a:gd name="T6" fmla="*/ 0 w 2"/>
                <a:gd name="T7" fmla="*/ 1 h 2"/>
                <a:gd name="T8" fmla="*/ 1 w 2"/>
                <a:gd name="T9" fmla="*/ 2 h 2"/>
              </a:gdLst>
              <a:ahLst/>
              <a:cxnLst>
                <a:cxn ang="0">
                  <a:pos x="T0" y="T1"/>
                </a:cxn>
                <a:cxn ang="0">
                  <a:pos x="T2" y="T3"/>
                </a:cxn>
                <a:cxn ang="0">
                  <a:pos x="T4" y="T5"/>
                </a:cxn>
                <a:cxn ang="0">
                  <a:pos x="T6" y="T7"/>
                </a:cxn>
                <a:cxn ang="0">
                  <a:pos x="T8" y="T9"/>
                </a:cxn>
              </a:cxnLst>
              <a:rect l="0" t="0" r="r" b="b"/>
              <a:pathLst>
                <a:path w="2" h="2">
                  <a:moveTo>
                    <a:pt x="1" y="2"/>
                  </a:moveTo>
                  <a:cubicBezTo>
                    <a:pt x="2" y="2"/>
                    <a:pt x="1" y="2"/>
                    <a:pt x="1" y="1"/>
                  </a:cubicBezTo>
                  <a:cubicBezTo>
                    <a:pt x="0" y="0"/>
                    <a:pt x="1" y="1"/>
                    <a:pt x="0" y="1"/>
                  </a:cubicBezTo>
                  <a:cubicBezTo>
                    <a:pt x="0" y="0"/>
                    <a:pt x="0" y="1"/>
                    <a:pt x="0" y="1"/>
                  </a:cubicBezTo>
                  <a:cubicBezTo>
                    <a:pt x="0" y="1"/>
                    <a:pt x="0" y="2"/>
                    <a:pt x="1" y="2"/>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52"/>
            <p:cNvSpPr>
              <a:spLocks/>
            </p:cNvSpPr>
            <p:nvPr/>
          </p:nvSpPr>
          <p:spPr bwMode="auto">
            <a:xfrm>
              <a:off x="5143251" y="3840927"/>
              <a:ext cx="17330" cy="8170"/>
            </a:xfrm>
            <a:custGeom>
              <a:avLst/>
              <a:gdLst>
                <a:gd name="T0" fmla="*/ 1 w 6"/>
                <a:gd name="T1" fmla="*/ 2 h 3"/>
                <a:gd name="T2" fmla="*/ 2 w 6"/>
                <a:gd name="T3" fmla="*/ 2 h 3"/>
                <a:gd name="T4" fmla="*/ 4 w 6"/>
                <a:gd name="T5" fmla="*/ 2 h 3"/>
                <a:gd name="T6" fmla="*/ 5 w 6"/>
                <a:gd name="T7" fmla="*/ 1 h 3"/>
                <a:gd name="T8" fmla="*/ 6 w 6"/>
                <a:gd name="T9" fmla="*/ 1 h 3"/>
                <a:gd name="T10" fmla="*/ 5 w 6"/>
                <a:gd name="T11" fmla="*/ 0 h 3"/>
                <a:gd name="T12" fmla="*/ 5 w 6"/>
                <a:gd name="T13" fmla="*/ 1 h 3"/>
                <a:gd name="T14" fmla="*/ 3 w 6"/>
                <a:gd name="T15" fmla="*/ 0 h 3"/>
                <a:gd name="T16" fmla="*/ 1 w 6"/>
                <a:gd name="T17" fmla="*/ 1 h 3"/>
                <a:gd name="T18" fmla="*/ 0 w 6"/>
                <a:gd name="T19" fmla="*/ 1 h 3"/>
                <a:gd name="T20" fmla="*/ 0 w 6"/>
                <a:gd name="T21" fmla="*/ 2 h 3"/>
                <a:gd name="T22" fmla="*/ 1 w 6"/>
                <a:gd name="T23"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3">
                  <a:moveTo>
                    <a:pt x="1" y="2"/>
                  </a:moveTo>
                  <a:cubicBezTo>
                    <a:pt x="2" y="2"/>
                    <a:pt x="2" y="2"/>
                    <a:pt x="2" y="2"/>
                  </a:cubicBezTo>
                  <a:cubicBezTo>
                    <a:pt x="2" y="1"/>
                    <a:pt x="3" y="2"/>
                    <a:pt x="4" y="2"/>
                  </a:cubicBezTo>
                  <a:cubicBezTo>
                    <a:pt x="4" y="2"/>
                    <a:pt x="5" y="2"/>
                    <a:pt x="5" y="1"/>
                  </a:cubicBezTo>
                  <a:cubicBezTo>
                    <a:pt x="5" y="1"/>
                    <a:pt x="6" y="1"/>
                    <a:pt x="6" y="1"/>
                  </a:cubicBezTo>
                  <a:cubicBezTo>
                    <a:pt x="6" y="1"/>
                    <a:pt x="6" y="1"/>
                    <a:pt x="5" y="0"/>
                  </a:cubicBezTo>
                  <a:cubicBezTo>
                    <a:pt x="5" y="0"/>
                    <a:pt x="5" y="1"/>
                    <a:pt x="5" y="1"/>
                  </a:cubicBezTo>
                  <a:cubicBezTo>
                    <a:pt x="5" y="1"/>
                    <a:pt x="4" y="1"/>
                    <a:pt x="3" y="0"/>
                  </a:cubicBezTo>
                  <a:cubicBezTo>
                    <a:pt x="2" y="0"/>
                    <a:pt x="2" y="1"/>
                    <a:pt x="1" y="1"/>
                  </a:cubicBezTo>
                  <a:cubicBezTo>
                    <a:pt x="0" y="1"/>
                    <a:pt x="0" y="1"/>
                    <a:pt x="0" y="1"/>
                  </a:cubicBezTo>
                  <a:cubicBezTo>
                    <a:pt x="0" y="1"/>
                    <a:pt x="0" y="2"/>
                    <a:pt x="0" y="2"/>
                  </a:cubicBezTo>
                  <a:cubicBezTo>
                    <a:pt x="1" y="3"/>
                    <a:pt x="1" y="2"/>
                    <a:pt x="1" y="2"/>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53"/>
            <p:cNvSpPr>
              <a:spLocks/>
            </p:cNvSpPr>
            <p:nvPr/>
          </p:nvSpPr>
          <p:spPr bwMode="auto">
            <a:xfrm>
              <a:off x="5166358" y="3838204"/>
              <a:ext cx="5777" cy="5446"/>
            </a:xfrm>
            <a:custGeom>
              <a:avLst/>
              <a:gdLst>
                <a:gd name="T0" fmla="*/ 2 w 2"/>
                <a:gd name="T1" fmla="*/ 2 h 2"/>
                <a:gd name="T2" fmla="*/ 2 w 2"/>
                <a:gd name="T3" fmla="*/ 1 h 2"/>
                <a:gd name="T4" fmla="*/ 1 w 2"/>
                <a:gd name="T5" fmla="*/ 0 h 2"/>
                <a:gd name="T6" fmla="*/ 1 w 2"/>
                <a:gd name="T7" fmla="*/ 0 h 2"/>
                <a:gd name="T8" fmla="*/ 0 w 2"/>
                <a:gd name="T9" fmla="*/ 1 h 2"/>
                <a:gd name="T10" fmla="*/ 1 w 2"/>
                <a:gd name="T11" fmla="*/ 1 h 2"/>
                <a:gd name="T12" fmla="*/ 2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2"/>
                  </a:moveTo>
                  <a:cubicBezTo>
                    <a:pt x="2" y="1"/>
                    <a:pt x="2" y="1"/>
                    <a:pt x="2" y="1"/>
                  </a:cubicBezTo>
                  <a:cubicBezTo>
                    <a:pt x="2" y="1"/>
                    <a:pt x="1" y="0"/>
                    <a:pt x="1" y="0"/>
                  </a:cubicBezTo>
                  <a:cubicBezTo>
                    <a:pt x="1" y="0"/>
                    <a:pt x="1" y="0"/>
                    <a:pt x="1" y="0"/>
                  </a:cubicBezTo>
                  <a:cubicBezTo>
                    <a:pt x="0" y="0"/>
                    <a:pt x="0" y="1"/>
                    <a:pt x="0" y="1"/>
                  </a:cubicBezTo>
                  <a:cubicBezTo>
                    <a:pt x="0" y="1"/>
                    <a:pt x="1" y="1"/>
                    <a:pt x="1" y="1"/>
                  </a:cubicBezTo>
                  <a:cubicBezTo>
                    <a:pt x="1" y="1"/>
                    <a:pt x="2" y="2"/>
                    <a:pt x="2" y="2"/>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54"/>
            <p:cNvSpPr>
              <a:spLocks/>
            </p:cNvSpPr>
            <p:nvPr/>
          </p:nvSpPr>
          <p:spPr bwMode="auto">
            <a:xfrm>
              <a:off x="5192352" y="3827311"/>
              <a:ext cx="5777" cy="5446"/>
            </a:xfrm>
            <a:custGeom>
              <a:avLst/>
              <a:gdLst>
                <a:gd name="T0" fmla="*/ 1 w 2"/>
                <a:gd name="T1" fmla="*/ 2 h 2"/>
                <a:gd name="T2" fmla="*/ 2 w 2"/>
                <a:gd name="T3" fmla="*/ 2 h 2"/>
                <a:gd name="T4" fmla="*/ 2 w 2"/>
                <a:gd name="T5" fmla="*/ 0 h 2"/>
                <a:gd name="T6" fmla="*/ 1 w 2"/>
                <a:gd name="T7" fmla="*/ 0 h 2"/>
                <a:gd name="T8" fmla="*/ 0 w 2"/>
                <a:gd name="T9" fmla="*/ 1 h 2"/>
                <a:gd name="T10" fmla="*/ 1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1" y="2"/>
                  </a:moveTo>
                  <a:cubicBezTo>
                    <a:pt x="2" y="2"/>
                    <a:pt x="2" y="2"/>
                    <a:pt x="2" y="2"/>
                  </a:cubicBezTo>
                  <a:cubicBezTo>
                    <a:pt x="2" y="2"/>
                    <a:pt x="2" y="1"/>
                    <a:pt x="2" y="0"/>
                  </a:cubicBezTo>
                  <a:cubicBezTo>
                    <a:pt x="2" y="0"/>
                    <a:pt x="2" y="0"/>
                    <a:pt x="1" y="0"/>
                  </a:cubicBezTo>
                  <a:cubicBezTo>
                    <a:pt x="1" y="0"/>
                    <a:pt x="0" y="1"/>
                    <a:pt x="0" y="1"/>
                  </a:cubicBezTo>
                  <a:cubicBezTo>
                    <a:pt x="0" y="1"/>
                    <a:pt x="1" y="2"/>
                    <a:pt x="1" y="2"/>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55"/>
            <p:cNvSpPr>
              <a:spLocks/>
            </p:cNvSpPr>
            <p:nvPr/>
          </p:nvSpPr>
          <p:spPr bwMode="auto">
            <a:xfrm>
              <a:off x="5073932" y="3843651"/>
              <a:ext cx="31771" cy="10893"/>
            </a:xfrm>
            <a:custGeom>
              <a:avLst/>
              <a:gdLst>
                <a:gd name="T0" fmla="*/ 2 w 11"/>
                <a:gd name="T1" fmla="*/ 4 h 4"/>
                <a:gd name="T2" fmla="*/ 3 w 11"/>
                <a:gd name="T3" fmla="*/ 3 h 4"/>
                <a:gd name="T4" fmla="*/ 4 w 11"/>
                <a:gd name="T5" fmla="*/ 3 h 4"/>
                <a:gd name="T6" fmla="*/ 5 w 11"/>
                <a:gd name="T7" fmla="*/ 2 h 4"/>
                <a:gd name="T8" fmla="*/ 7 w 11"/>
                <a:gd name="T9" fmla="*/ 2 h 4"/>
                <a:gd name="T10" fmla="*/ 8 w 11"/>
                <a:gd name="T11" fmla="*/ 1 h 4"/>
                <a:gd name="T12" fmla="*/ 10 w 11"/>
                <a:gd name="T13" fmla="*/ 1 h 4"/>
                <a:gd name="T14" fmla="*/ 11 w 11"/>
                <a:gd name="T15" fmla="*/ 1 h 4"/>
                <a:gd name="T16" fmla="*/ 9 w 11"/>
                <a:gd name="T17" fmla="*/ 0 h 4"/>
                <a:gd name="T18" fmla="*/ 6 w 11"/>
                <a:gd name="T19" fmla="*/ 1 h 4"/>
                <a:gd name="T20" fmla="*/ 2 w 11"/>
                <a:gd name="T21" fmla="*/ 1 h 4"/>
                <a:gd name="T22" fmla="*/ 1 w 11"/>
                <a:gd name="T23" fmla="*/ 2 h 4"/>
                <a:gd name="T24" fmla="*/ 0 w 11"/>
                <a:gd name="T25" fmla="*/ 2 h 4"/>
                <a:gd name="T26" fmla="*/ 1 w 11"/>
                <a:gd name="T27" fmla="*/ 4 h 4"/>
                <a:gd name="T28" fmla="*/ 2 w 11"/>
                <a:gd name="T2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4">
                  <a:moveTo>
                    <a:pt x="2" y="4"/>
                  </a:moveTo>
                  <a:cubicBezTo>
                    <a:pt x="3" y="3"/>
                    <a:pt x="3" y="3"/>
                    <a:pt x="3" y="3"/>
                  </a:cubicBezTo>
                  <a:cubicBezTo>
                    <a:pt x="3" y="3"/>
                    <a:pt x="4" y="3"/>
                    <a:pt x="4" y="3"/>
                  </a:cubicBezTo>
                  <a:cubicBezTo>
                    <a:pt x="5" y="3"/>
                    <a:pt x="5" y="2"/>
                    <a:pt x="5" y="2"/>
                  </a:cubicBezTo>
                  <a:cubicBezTo>
                    <a:pt x="5" y="2"/>
                    <a:pt x="6" y="2"/>
                    <a:pt x="7" y="2"/>
                  </a:cubicBezTo>
                  <a:cubicBezTo>
                    <a:pt x="7" y="2"/>
                    <a:pt x="8" y="1"/>
                    <a:pt x="8" y="1"/>
                  </a:cubicBezTo>
                  <a:cubicBezTo>
                    <a:pt x="8" y="1"/>
                    <a:pt x="9" y="1"/>
                    <a:pt x="10" y="1"/>
                  </a:cubicBezTo>
                  <a:cubicBezTo>
                    <a:pt x="10" y="2"/>
                    <a:pt x="11" y="1"/>
                    <a:pt x="11" y="1"/>
                  </a:cubicBezTo>
                  <a:cubicBezTo>
                    <a:pt x="9" y="0"/>
                    <a:pt x="9" y="0"/>
                    <a:pt x="9" y="0"/>
                  </a:cubicBezTo>
                  <a:cubicBezTo>
                    <a:pt x="6" y="1"/>
                    <a:pt x="6" y="1"/>
                    <a:pt x="6" y="1"/>
                  </a:cubicBezTo>
                  <a:cubicBezTo>
                    <a:pt x="6" y="1"/>
                    <a:pt x="4" y="2"/>
                    <a:pt x="2" y="1"/>
                  </a:cubicBezTo>
                  <a:cubicBezTo>
                    <a:pt x="1" y="1"/>
                    <a:pt x="1" y="2"/>
                    <a:pt x="1" y="2"/>
                  </a:cubicBezTo>
                  <a:cubicBezTo>
                    <a:pt x="0" y="2"/>
                    <a:pt x="0" y="2"/>
                    <a:pt x="0" y="2"/>
                  </a:cubicBezTo>
                  <a:cubicBezTo>
                    <a:pt x="0" y="2"/>
                    <a:pt x="0" y="4"/>
                    <a:pt x="1" y="4"/>
                  </a:cubicBezTo>
                  <a:cubicBezTo>
                    <a:pt x="1" y="4"/>
                    <a:pt x="2" y="4"/>
                    <a:pt x="2" y="4"/>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56"/>
            <p:cNvSpPr>
              <a:spLocks/>
            </p:cNvSpPr>
            <p:nvPr/>
          </p:nvSpPr>
          <p:spPr bwMode="auto">
            <a:xfrm>
              <a:off x="5177911" y="3832758"/>
              <a:ext cx="11553" cy="5446"/>
            </a:xfrm>
            <a:custGeom>
              <a:avLst/>
              <a:gdLst>
                <a:gd name="T0" fmla="*/ 1 w 4"/>
                <a:gd name="T1" fmla="*/ 2 h 2"/>
                <a:gd name="T2" fmla="*/ 2 w 4"/>
                <a:gd name="T3" fmla="*/ 2 h 2"/>
                <a:gd name="T4" fmla="*/ 2 w 4"/>
                <a:gd name="T5" fmla="*/ 1 h 2"/>
                <a:gd name="T6" fmla="*/ 3 w 4"/>
                <a:gd name="T7" fmla="*/ 1 h 2"/>
                <a:gd name="T8" fmla="*/ 4 w 4"/>
                <a:gd name="T9" fmla="*/ 1 h 2"/>
                <a:gd name="T10" fmla="*/ 4 w 4"/>
                <a:gd name="T11" fmla="*/ 0 h 2"/>
                <a:gd name="T12" fmla="*/ 3 w 4"/>
                <a:gd name="T13" fmla="*/ 0 h 2"/>
                <a:gd name="T14" fmla="*/ 2 w 4"/>
                <a:gd name="T15" fmla="*/ 0 h 2"/>
                <a:gd name="T16" fmla="*/ 1 w 4"/>
                <a:gd name="T17" fmla="*/ 0 h 2"/>
                <a:gd name="T18" fmla="*/ 0 w 4"/>
                <a:gd name="T19" fmla="*/ 1 h 2"/>
                <a:gd name="T20" fmla="*/ 1 w 4"/>
                <a:gd name="T2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2">
                  <a:moveTo>
                    <a:pt x="1" y="2"/>
                  </a:moveTo>
                  <a:cubicBezTo>
                    <a:pt x="2" y="2"/>
                    <a:pt x="2" y="2"/>
                    <a:pt x="2" y="2"/>
                  </a:cubicBezTo>
                  <a:cubicBezTo>
                    <a:pt x="2" y="1"/>
                    <a:pt x="2" y="1"/>
                    <a:pt x="2" y="1"/>
                  </a:cubicBezTo>
                  <a:cubicBezTo>
                    <a:pt x="2" y="1"/>
                    <a:pt x="3" y="1"/>
                    <a:pt x="3" y="1"/>
                  </a:cubicBezTo>
                  <a:cubicBezTo>
                    <a:pt x="4" y="1"/>
                    <a:pt x="4" y="1"/>
                    <a:pt x="4" y="1"/>
                  </a:cubicBezTo>
                  <a:cubicBezTo>
                    <a:pt x="4" y="0"/>
                    <a:pt x="4" y="0"/>
                    <a:pt x="4" y="0"/>
                  </a:cubicBezTo>
                  <a:cubicBezTo>
                    <a:pt x="3" y="0"/>
                    <a:pt x="3" y="0"/>
                    <a:pt x="3" y="0"/>
                  </a:cubicBezTo>
                  <a:cubicBezTo>
                    <a:pt x="2" y="0"/>
                    <a:pt x="2" y="0"/>
                    <a:pt x="2" y="0"/>
                  </a:cubicBezTo>
                  <a:cubicBezTo>
                    <a:pt x="2" y="0"/>
                    <a:pt x="1" y="0"/>
                    <a:pt x="1" y="0"/>
                  </a:cubicBezTo>
                  <a:cubicBezTo>
                    <a:pt x="1" y="0"/>
                    <a:pt x="0" y="1"/>
                    <a:pt x="0" y="1"/>
                  </a:cubicBezTo>
                  <a:cubicBezTo>
                    <a:pt x="0" y="1"/>
                    <a:pt x="1" y="2"/>
                    <a:pt x="1" y="2"/>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Freeform 57"/>
            <p:cNvSpPr>
              <a:spLocks/>
            </p:cNvSpPr>
            <p:nvPr/>
          </p:nvSpPr>
          <p:spPr bwMode="auto">
            <a:xfrm>
              <a:off x="5097039" y="4129586"/>
              <a:ext cx="28883" cy="29955"/>
            </a:xfrm>
            <a:custGeom>
              <a:avLst/>
              <a:gdLst>
                <a:gd name="T0" fmla="*/ 3 w 10"/>
                <a:gd name="T1" fmla="*/ 4 h 11"/>
                <a:gd name="T2" fmla="*/ 2 w 10"/>
                <a:gd name="T3" fmla="*/ 5 h 11"/>
                <a:gd name="T4" fmla="*/ 0 w 10"/>
                <a:gd name="T5" fmla="*/ 8 h 11"/>
                <a:gd name="T6" fmla="*/ 1 w 10"/>
                <a:gd name="T7" fmla="*/ 9 h 11"/>
                <a:gd name="T8" fmla="*/ 1 w 10"/>
                <a:gd name="T9" fmla="*/ 9 h 11"/>
                <a:gd name="T10" fmla="*/ 2 w 10"/>
                <a:gd name="T11" fmla="*/ 9 h 11"/>
                <a:gd name="T12" fmla="*/ 3 w 10"/>
                <a:gd name="T13" fmla="*/ 10 h 11"/>
                <a:gd name="T14" fmla="*/ 4 w 10"/>
                <a:gd name="T15" fmla="*/ 10 h 11"/>
                <a:gd name="T16" fmla="*/ 4 w 10"/>
                <a:gd name="T17" fmla="*/ 10 h 11"/>
                <a:gd name="T18" fmla="*/ 5 w 10"/>
                <a:gd name="T19" fmla="*/ 10 h 11"/>
                <a:gd name="T20" fmla="*/ 5 w 10"/>
                <a:gd name="T21" fmla="*/ 10 h 11"/>
                <a:gd name="T22" fmla="*/ 8 w 10"/>
                <a:gd name="T23" fmla="*/ 11 h 11"/>
                <a:gd name="T24" fmla="*/ 9 w 10"/>
                <a:gd name="T25" fmla="*/ 9 h 11"/>
                <a:gd name="T26" fmla="*/ 10 w 10"/>
                <a:gd name="T27" fmla="*/ 9 h 11"/>
                <a:gd name="T28" fmla="*/ 10 w 10"/>
                <a:gd name="T29" fmla="*/ 8 h 11"/>
                <a:gd name="T30" fmla="*/ 10 w 10"/>
                <a:gd name="T31" fmla="*/ 6 h 11"/>
                <a:gd name="T32" fmla="*/ 9 w 10"/>
                <a:gd name="T33" fmla="*/ 5 h 11"/>
                <a:gd name="T34" fmla="*/ 9 w 10"/>
                <a:gd name="T35" fmla="*/ 5 h 11"/>
                <a:gd name="T36" fmla="*/ 9 w 10"/>
                <a:gd name="T37" fmla="*/ 4 h 11"/>
                <a:gd name="T38" fmla="*/ 7 w 10"/>
                <a:gd name="T39" fmla="*/ 3 h 11"/>
                <a:gd name="T40" fmla="*/ 6 w 10"/>
                <a:gd name="T41" fmla="*/ 3 h 11"/>
                <a:gd name="T42" fmla="*/ 5 w 10"/>
                <a:gd name="T43" fmla="*/ 1 h 11"/>
                <a:gd name="T44" fmla="*/ 5 w 10"/>
                <a:gd name="T45" fmla="*/ 0 h 11"/>
                <a:gd name="T46" fmla="*/ 5 w 10"/>
                <a:gd name="T47" fmla="*/ 0 h 11"/>
                <a:gd name="T48" fmla="*/ 3 w 10"/>
                <a:gd name="T49"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11">
                  <a:moveTo>
                    <a:pt x="3" y="4"/>
                  </a:moveTo>
                  <a:cubicBezTo>
                    <a:pt x="3" y="4"/>
                    <a:pt x="2" y="5"/>
                    <a:pt x="2" y="5"/>
                  </a:cubicBezTo>
                  <a:cubicBezTo>
                    <a:pt x="1" y="7"/>
                    <a:pt x="0" y="8"/>
                    <a:pt x="0" y="8"/>
                  </a:cubicBezTo>
                  <a:cubicBezTo>
                    <a:pt x="1" y="9"/>
                    <a:pt x="1" y="9"/>
                    <a:pt x="1" y="9"/>
                  </a:cubicBezTo>
                  <a:cubicBezTo>
                    <a:pt x="1" y="9"/>
                    <a:pt x="1" y="9"/>
                    <a:pt x="1" y="9"/>
                  </a:cubicBezTo>
                  <a:cubicBezTo>
                    <a:pt x="2" y="9"/>
                    <a:pt x="2" y="9"/>
                    <a:pt x="2" y="9"/>
                  </a:cubicBezTo>
                  <a:cubicBezTo>
                    <a:pt x="2" y="9"/>
                    <a:pt x="2" y="9"/>
                    <a:pt x="3" y="10"/>
                  </a:cubicBezTo>
                  <a:cubicBezTo>
                    <a:pt x="3" y="10"/>
                    <a:pt x="4" y="10"/>
                    <a:pt x="4" y="10"/>
                  </a:cubicBezTo>
                  <a:cubicBezTo>
                    <a:pt x="4" y="10"/>
                    <a:pt x="4" y="10"/>
                    <a:pt x="4" y="10"/>
                  </a:cubicBezTo>
                  <a:cubicBezTo>
                    <a:pt x="5" y="10"/>
                    <a:pt x="5" y="10"/>
                    <a:pt x="5" y="10"/>
                  </a:cubicBezTo>
                  <a:cubicBezTo>
                    <a:pt x="5" y="10"/>
                    <a:pt x="5" y="10"/>
                    <a:pt x="5" y="10"/>
                  </a:cubicBezTo>
                  <a:cubicBezTo>
                    <a:pt x="6" y="10"/>
                    <a:pt x="7" y="10"/>
                    <a:pt x="8" y="11"/>
                  </a:cubicBezTo>
                  <a:cubicBezTo>
                    <a:pt x="8" y="10"/>
                    <a:pt x="8" y="10"/>
                    <a:pt x="9" y="9"/>
                  </a:cubicBezTo>
                  <a:cubicBezTo>
                    <a:pt x="9" y="9"/>
                    <a:pt x="9" y="9"/>
                    <a:pt x="10" y="9"/>
                  </a:cubicBezTo>
                  <a:cubicBezTo>
                    <a:pt x="10" y="10"/>
                    <a:pt x="10" y="9"/>
                    <a:pt x="10" y="8"/>
                  </a:cubicBezTo>
                  <a:cubicBezTo>
                    <a:pt x="10" y="8"/>
                    <a:pt x="10" y="6"/>
                    <a:pt x="10" y="6"/>
                  </a:cubicBezTo>
                  <a:cubicBezTo>
                    <a:pt x="10" y="6"/>
                    <a:pt x="10" y="6"/>
                    <a:pt x="9" y="5"/>
                  </a:cubicBezTo>
                  <a:cubicBezTo>
                    <a:pt x="9" y="5"/>
                    <a:pt x="9" y="5"/>
                    <a:pt x="9" y="5"/>
                  </a:cubicBezTo>
                  <a:cubicBezTo>
                    <a:pt x="8" y="4"/>
                    <a:pt x="9" y="4"/>
                    <a:pt x="9" y="4"/>
                  </a:cubicBezTo>
                  <a:cubicBezTo>
                    <a:pt x="9" y="4"/>
                    <a:pt x="8" y="3"/>
                    <a:pt x="7" y="3"/>
                  </a:cubicBezTo>
                  <a:cubicBezTo>
                    <a:pt x="7" y="3"/>
                    <a:pt x="6" y="3"/>
                    <a:pt x="6" y="3"/>
                  </a:cubicBezTo>
                  <a:cubicBezTo>
                    <a:pt x="5" y="1"/>
                    <a:pt x="5" y="1"/>
                    <a:pt x="5" y="1"/>
                  </a:cubicBezTo>
                  <a:cubicBezTo>
                    <a:pt x="5" y="0"/>
                    <a:pt x="5" y="0"/>
                    <a:pt x="5" y="0"/>
                  </a:cubicBezTo>
                  <a:cubicBezTo>
                    <a:pt x="5" y="0"/>
                    <a:pt x="5" y="0"/>
                    <a:pt x="5" y="0"/>
                  </a:cubicBezTo>
                  <a:cubicBezTo>
                    <a:pt x="5" y="0"/>
                    <a:pt x="4" y="3"/>
                    <a:pt x="3" y="4"/>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Freeform 58"/>
            <p:cNvSpPr>
              <a:spLocks noEditPoints="1"/>
            </p:cNvSpPr>
            <p:nvPr/>
          </p:nvSpPr>
          <p:spPr bwMode="auto">
            <a:xfrm>
              <a:off x="4931427" y="3848316"/>
              <a:ext cx="293162" cy="275043"/>
            </a:xfrm>
            <a:custGeom>
              <a:avLst/>
              <a:gdLst>
                <a:gd name="T0" fmla="*/ 93 w 101"/>
                <a:gd name="T1" fmla="*/ 3 h 101"/>
                <a:gd name="T2" fmla="*/ 74 w 101"/>
                <a:gd name="T3" fmla="*/ 0 h 101"/>
                <a:gd name="T4" fmla="*/ 55 w 101"/>
                <a:gd name="T5" fmla="*/ 11 h 101"/>
                <a:gd name="T6" fmla="*/ 55 w 101"/>
                <a:gd name="T7" fmla="*/ 15 h 101"/>
                <a:gd name="T8" fmla="*/ 57 w 101"/>
                <a:gd name="T9" fmla="*/ 22 h 101"/>
                <a:gd name="T10" fmla="*/ 59 w 101"/>
                <a:gd name="T11" fmla="*/ 28 h 101"/>
                <a:gd name="T12" fmla="*/ 66 w 101"/>
                <a:gd name="T13" fmla="*/ 35 h 101"/>
                <a:gd name="T14" fmla="*/ 62 w 101"/>
                <a:gd name="T15" fmla="*/ 35 h 101"/>
                <a:gd name="T16" fmla="*/ 50 w 101"/>
                <a:gd name="T17" fmla="*/ 40 h 101"/>
                <a:gd name="T18" fmla="*/ 54 w 101"/>
                <a:gd name="T19" fmla="*/ 46 h 101"/>
                <a:gd name="T20" fmla="*/ 46 w 101"/>
                <a:gd name="T21" fmla="*/ 43 h 101"/>
                <a:gd name="T22" fmla="*/ 46 w 101"/>
                <a:gd name="T23" fmla="*/ 38 h 101"/>
                <a:gd name="T24" fmla="*/ 47 w 101"/>
                <a:gd name="T25" fmla="*/ 31 h 101"/>
                <a:gd name="T26" fmla="*/ 49 w 101"/>
                <a:gd name="T27" fmla="*/ 25 h 101"/>
                <a:gd name="T28" fmla="*/ 43 w 101"/>
                <a:gd name="T29" fmla="*/ 16 h 101"/>
                <a:gd name="T30" fmla="*/ 37 w 101"/>
                <a:gd name="T31" fmla="*/ 19 h 101"/>
                <a:gd name="T32" fmla="*/ 18 w 101"/>
                <a:gd name="T33" fmla="*/ 54 h 101"/>
                <a:gd name="T34" fmla="*/ 21 w 101"/>
                <a:gd name="T35" fmla="*/ 63 h 101"/>
                <a:gd name="T36" fmla="*/ 31 w 101"/>
                <a:gd name="T37" fmla="*/ 68 h 101"/>
                <a:gd name="T38" fmla="*/ 31 w 101"/>
                <a:gd name="T39" fmla="*/ 69 h 101"/>
                <a:gd name="T40" fmla="*/ 23 w 101"/>
                <a:gd name="T41" fmla="*/ 70 h 101"/>
                <a:gd name="T42" fmla="*/ 16 w 101"/>
                <a:gd name="T43" fmla="*/ 66 h 101"/>
                <a:gd name="T44" fmla="*/ 7 w 101"/>
                <a:gd name="T45" fmla="*/ 65 h 101"/>
                <a:gd name="T46" fmla="*/ 13 w 101"/>
                <a:gd name="T47" fmla="*/ 69 h 101"/>
                <a:gd name="T48" fmla="*/ 20 w 101"/>
                <a:gd name="T49" fmla="*/ 71 h 101"/>
                <a:gd name="T50" fmla="*/ 20 w 101"/>
                <a:gd name="T51" fmla="*/ 74 h 101"/>
                <a:gd name="T52" fmla="*/ 17 w 101"/>
                <a:gd name="T53" fmla="*/ 76 h 101"/>
                <a:gd name="T54" fmla="*/ 11 w 101"/>
                <a:gd name="T55" fmla="*/ 72 h 101"/>
                <a:gd name="T56" fmla="*/ 3 w 101"/>
                <a:gd name="T57" fmla="*/ 69 h 101"/>
                <a:gd name="T58" fmla="*/ 4 w 101"/>
                <a:gd name="T59" fmla="*/ 75 h 101"/>
                <a:gd name="T60" fmla="*/ 14 w 101"/>
                <a:gd name="T61" fmla="*/ 76 h 101"/>
                <a:gd name="T62" fmla="*/ 20 w 101"/>
                <a:gd name="T63" fmla="*/ 80 h 101"/>
                <a:gd name="T64" fmla="*/ 19 w 101"/>
                <a:gd name="T65" fmla="*/ 81 h 101"/>
                <a:gd name="T66" fmla="*/ 28 w 101"/>
                <a:gd name="T67" fmla="*/ 79 h 101"/>
                <a:gd name="T68" fmla="*/ 34 w 101"/>
                <a:gd name="T69" fmla="*/ 77 h 101"/>
                <a:gd name="T70" fmla="*/ 44 w 101"/>
                <a:gd name="T71" fmla="*/ 84 h 101"/>
                <a:gd name="T72" fmla="*/ 48 w 101"/>
                <a:gd name="T73" fmla="*/ 88 h 101"/>
                <a:gd name="T74" fmla="*/ 52 w 101"/>
                <a:gd name="T75" fmla="*/ 87 h 101"/>
                <a:gd name="T76" fmla="*/ 62 w 101"/>
                <a:gd name="T77" fmla="*/ 94 h 101"/>
                <a:gd name="T78" fmla="*/ 65 w 101"/>
                <a:gd name="T79" fmla="*/ 101 h 101"/>
                <a:gd name="T80" fmla="*/ 69 w 101"/>
                <a:gd name="T81" fmla="*/ 97 h 101"/>
                <a:gd name="T82" fmla="*/ 72 w 101"/>
                <a:gd name="T83" fmla="*/ 87 h 101"/>
                <a:gd name="T84" fmla="*/ 69 w 101"/>
                <a:gd name="T85" fmla="*/ 75 h 101"/>
                <a:gd name="T86" fmla="*/ 71 w 101"/>
                <a:gd name="T87" fmla="*/ 68 h 101"/>
                <a:gd name="T88" fmla="*/ 78 w 101"/>
                <a:gd name="T89" fmla="*/ 69 h 101"/>
                <a:gd name="T90" fmla="*/ 87 w 101"/>
                <a:gd name="T91" fmla="*/ 65 h 101"/>
                <a:gd name="T92" fmla="*/ 87 w 101"/>
                <a:gd name="T93" fmla="*/ 58 h 101"/>
                <a:gd name="T94" fmla="*/ 96 w 101"/>
                <a:gd name="T95" fmla="*/ 52 h 101"/>
                <a:gd name="T96" fmla="*/ 88 w 101"/>
                <a:gd name="T97" fmla="*/ 43 h 101"/>
                <a:gd name="T98" fmla="*/ 91 w 101"/>
                <a:gd name="T99" fmla="*/ 35 h 101"/>
                <a:gd name="T100" fmla="*/ 101 w 101"/>
                <a:gd name="T101" fmla="*/ 15 h 101"/>
                <a:gd name="T102" fmla="*/ 58 w 101"/>
                <a:gd name="T103" fmla="*/ 46 h 101"/>
                <a:gd name="T104" fmla="*/ 54 w 101"/>
                <a:gd name="T105" fmla="*/ 47 h 101"/>
                <a:gd name="T106" fmla="*/ 61 w 101"/>
                <a:gd name="T107" fmla="*/ 4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1" h="101">
                  <a:moveTo>
                    <a:pt x="101" y="12"/>
                  </a:moveTo>
                  <a:cubicBezTo>
                    <a:pt x="101" y="11"/>
                    <a:pt x="101" y="11"/>
                    <a:pt x="101" y="11"/>
                  </a:cubicBezTo>
                  <a:cubicBezTo>
                    <a:pt x="101" y="11"/>
                    <a:pt x="98" y="9"/>
                    <a:pt x="98" y="9"/>
                  </a:cubicBezTo>
                  <a:cubicBezTo>
                    <a:pt x="97" y="9"/>
                    <a:pt x="98" y="8"/>
                    <a:pt x="98" y="8"/>
                  </a:cubicBezTo>
                  <a:cubicBezTo>
                    <a:pt x="94" y="6"/>
                    <a:pt x="94" y="6"/>
                    <a:pt x="94" y="6"/>
                  </a:cubicBezTo>
                  <a:cubicBezTo>
                    <a:pt x="93" y="3"/>
                    <a:pt x="93" y="3"/>
                    <a:pt x="93" y="3"/>
                  </a:cubicBezTo>
                  <a:cubicBezTo>
                    <a:pt x="91" y="0"/>
                    <a:pt x="91" y="0"/>
                    <a:pt x="91" y="0"/>
                  </a:cubicBezTo>
                  <a:cubicBezTo>
                    <a:pt x="88" y="0"/>
                    <a:pt x="88" y="0"/>
                    <a:pt x="88" y="0"/>
                  </a:cubicBezTo>
                  <a:cubicBezTo>
                    <a:pt x="88" y="0"/>
                    <a:pt x="86" y="1"/>
                    <a:pt x="85" y="1"/>
                  </a:cubicBezTo>
                  <a:cubicBezTo>
                    <a:pt x="84" y="1"/>
                    <a:pt x="83" y="0"/>
                    <a:pt x="83" y="0"/>
                  </a:cubicBezTo>
                  <a:cubicBezTo>
                    <a:pt x="82" y="0"/>
                    <a:pt x="80" y="1"/>
                    <a:pt x="80" y="1"/>
                  </a:cubicBezTo>
                  <a:cubicBezTo>
                    <a:pt x="74" y="0"/>
                    <a:pt x="74" y="0"/>
                    <a:pt x="74" y="0"/>
                  </a:cubicBezTo>
                  <a:cubicBezTo>
                    <a:pt x="74" y="0"/>
                    <a:pt x="68" y="1"/>
                    <a:pt x="68" y="1"/>
                  </a:cubicBezTo>
                  <a:cubicBezTo>
                    <a:pt x="67" y="1"/>
                    <a:pt x="64" y="3"/>
                    <a:pt x="64" y="3"/>
                  </a:cubicBezTo>
                  <a:cubicBezTo>
                    <a:pt x="64" y="3"/>
                    <a:pt x="60" y="4"/>
                    <a:pt x="60" y="4"/>
                  </a:cubicBezTo>
                  <a:cubicBezTo>
                    <a:pt x="59" y="5"/>
                    <a:pt x="57" y="6"/>
                    <a:pt x="57" y="6"/>
                  </a:cubicBezTo>
                  <a:cubicBezTo>
                    <a:pt x="55" y="9"/>
                    <a:pt x="55" y="9"/>
                    <a:pt x="55" y="9"/>
                  </a:cubicBezTo>
                  <a:cubicBezTo>
                    <a:pt x="55" y="11"/>
                    <a:pt x="55" y="11"/>
                    <a:pt x="55" y="11"/>
                  </a:cubicBezTo>
                  <a:cubicBezTo>
                    <a:pt x="54" y="12"/>
                    <a:pt x="54" y="12"/>
                    <a:pt x="54" y="12"/>
                  </a:cubicBezTo>
                  <a:cubicBezTo>
                    <a:pt x="50" y="13"/>
                    <a:pt x="50" y="13"/>
                    <a:pt x="50" y="13"/>
                  </a:cubicBezTo>
                  <a:cubicBezTo>
                    <a:pt x="50" y="14"/>
                    <a:pt x="50" y="14"/>
                    <a:pt x="50" y="14"/>
                  </a:cubicBezTo>
                  <a:cubicBezTo>
                    <a:pt x="53" y="13"/>
                    <a:pt x="53" y="13"/>
                    <a:pt x="53" y="13"/>
                  </a:cubicBezTo>
                  <a:cubicBezTo>
                    <a:pt x="54" y="13"/>
                    <a:pt x="54" y="13"/>
                    <a:pt x="54" y="13"/>
                  </a:cubicBezTo>
                  <a:cubicBezTo>
                    <a:pt x="55" y="15"/>
                    <a:pt x="55" y="15"/>
                    <a:pt x="55" y="15"/>
                  </a:cubicBezTo>
                  <a:cubicBezTo>
                    <a:pt x="55" y="15"/>
                    <a:pt x="55" y="15"/>
                    <a:pt x="55" y="15"/>
                  </a:cubicBezTo>
                  <a:cubicBezTo>
                    <a:pt x="55" y="15"/>
                    <a:pt x="55" y="17"/>
                    <a:pt x="55" y="18"/>
                  </a:cubicBezTo>
                  <a:cubicBezTo>
                    <a:pt x="55" y="18"/>
                    <a:pt x="54" y="19"/>
                    <a:pt x="54" y="20"/>
                  </a:cubicBezTo>
                  <a:cubicBezTo>
                    <a:pt x="54" y="20"/>
                    <a:pt x="54" y="21"/>
                    <a:pt x="54" y="21"/>
                  </a:cubicBezTo>
                  <a:cubicBezTo>
                    <a:pt x="54" y="21"/>
                    <a:pt x="55" y="22"/>
                    <a:pt x="55" y="21"/>
                  </a:cubicBezTo>
                  <a:cubicBezTo>
                    <a:pt x="56" y="21"/>
                    <a:pt x="56" y="21"/>
                    <a:pt x="57" y="22"/>
                  </a:cubicBezTo>
                  <a:cubicBezTo>
                    <a:pt x="57" y="22"/>
                    <a:pt x="57" y="23"/>
                    <a:pt x="59" y="23"/>
                  </a:cubicBezTo>
                  <a:cubicBezTo>
                    <a:pt x="60" y="24"/>
                    <a:pt x="59" y="23"/>
                    <a:pt x="60" y="23"/>
                  </a:cubicBezTo>
                  <a:cubicBezTo>
                    <a:pt x="60" y="23"/>
                    <a:pt x="61" y="23"/>
                    <a:pt x="61" y="23"/>
                  </a:cubicBezTo>
                  <a:cubicBezTo>
                    <a:pt x="62" y="24"/>
                    <a:pt x="61" y="24"/>
                    <a:pt x="60" y="25"/>
                  </a:cubicBezTo>
                  <a:cubicBezTo>
                    <a:pt x="60" y="25"/>
                    <a:pt x="60" y="25"/>
                    <a:pt x="59" y="26"/>
                  </a:cubicBezTo>
                  <a:cubicBezTo>
                    <a:pt x="58" y="27"/>
                    <a:pt x="59" y="27"/>
                    <a:pt x="59" y="28"/>
                  </a:cubicBezTo>
                  <a:cubicBezTo>
                    <a:pt x="59" y="28"/>
                    <a:pt x="59" y="29"/>
                    <a:pt x="59" y="30"/>
                  </a:cubicBezTo>
                  <a:cubicBezTo>
                    <a:pt x="59" y="31"/>
                    <a:pt x="59" y="31"/>
                    <a:pt x="59" y="31"/>
                  </a:cubicBezTo>
                  <a:cubicBezTo>
                    <a:pt x="59" y="32"/>
                    <a:pt x="60" y="33"/>
                    <a:pt x="61" y="33"/>
                  </a:cubicBezTo>
                  <a:cubicBezTo>
                    <a:pt x="61" y="33"/>
                    <a:pt x="61" y="33"/>
                    <a:pt x="62" y="34"/>
                  </a:cubicBezTo>
                  <a:cubicBezTo>
                    <a:pt x="64" y="34"/>
                    <a:pt x="65" y="34"/>
                    <a:pt x="65" y="34"/>
                  </a:cubicBezTo>
                  <a:cubicBezTo>
                    <a:pt x="65" y="34"/>
                    <a:pt x="66" y="34"/>
                    <a:pt x="66" y="35"/>
                  </a:cubicBezTo>
                  <a:cubicBezTo>
                    <a:pt x="66" y="36"/>
                    <a:pt x="66" y="37"/>
                    <a:pt x="66" y="39"/>
                  </a:cubicBezTo>
                  <a:cubicBezTo>
                    <a:pt x="66" y="39"/>
                    <a:pt x="65" y="40"/>
                    <a:pt x="65" y="40"/>
                  </a:cubicBezTo>
                  <a:cubicBezTo>
                    <a:pt x="65" y="40"/>
                    <a:pt x="66" y="39"/>
                    <a:pt x="66" y="38"/>
                  </a:cubicBezTo>
                  <a:cubicBezTo>
                    <a:pt x="66" y="37"/>
                    <a:pt x="65" y="36"/>
                    <a:pt x="65" y="36"/>
                  </a:cubicBezTo>
                  <a:cubicBezTo>
                    <a:pt x="65" y="35"/>
                    <a:pt x="64" y="35"/>
                    <a:pt x="64" y="35"/>
                  </a:cubicBezTo>
                  <a:cubicBezTo>
                    <a:pt x="64" y="35"/>
                    <a:pt x="63" y="35"/>
                    <a:pt x="62" y="35"/>
                  </a:cubicBezTo>
                  <a:cubicBezTo>
                    <a:pt x="62" y="35"/>
                    <a:pt x="62" y="34"/>
                    <a:pt x="61" y="34"/>
                  </a:cubicBezTo>
                  <a:cubicBezTo>
                    <a:pt x="61" y="33"/>
                    <a:pt x="60" y="33"/>
                    <a:pt x="60" y="33"/>
                  </a:cubicBezTo>
                  <a:cubicBezTo>
                    <a:pt x="59" y="33"/>
                    <a:pt x="57" y="34"/>
                    <a:pt x="57" y="34"/>
                  </a:cubicBezTo>
                  <a:cubicBezTo>
                    <a:pt x="54" y="36"/>
                    <a:pt x="54" y="36"/>
                    <a:pt x="54" y="36"/>
                  </a:cubicBezTo>
                  <a:cubicBezTo>
                    <a:pt x="52" y="37"/>
                    <a:pt x="52" y="37"/>
                    <a:pt x="52" y="37"/>
                  </a:cubicBezTo>
                  <a:cubicBezTo>
                    <a:pt x="52" y="37"/>
                    <a:pt x="51" y="39"/>
                    <a:pt x="50" y="40"/>
                  </a:cubicBezTo>
                  <a:cubicBezTo>
                    <a:pt x="49" y="40"/>
                    <a:pt x="49" y="40"/>
                    <a:pt x="47" y="40"/>
                  </a:cubicBezTo>
                  <a:cubicBezTo>
                    <a:pt x="46" y="40"/>
                    <a:pt x="46" y="41"/>
                    <a:pt x="46" y="41"/>
                  </a:cubicBezTo>
                  <a:cubicBezTo>
                    <a:pt x="45" y="41"/>
                    <a:pt x="46" y="42"/>
                    <a:pt x="46" y="42"/>
                  </a:cubicBezTo>
                  <a:cubicBezTo>
                    <a:pt x="46" y="43"/>
                    <a:pt x="48" y="43"/>
                    <a:pt x="48" y="43"/>
                  </a:cubicBezTo>
                  <a:cubicBezTo>
                    <a:pt x="49" y="43"/>
                    <a:pt x="50" y="44"/>
                    <a:pt x="51" y="44"/>
                  </a:cubicBezTo>
                  <a:cubicBezTo>
                    <a:pt x="52" y="45"/>
                    <a:pt x="53" y="46"/>
                    <a:pt x="54" y="46"/>
                  </a:cubicBezTo>
                  <a:cubicBezTo>
                    <a:pt x="54" y="47"/>
                    <a:pt x="54" y="48"/>
                    <a:pt x="54" y="48"/>
                  </a:cubicBezTo>
                  <a:cubicBezTo>
                    <a:pt x="54" y="48"/>
                    <a:pt x="52" y="47"/>
                    <a:pt x="52" y="47"/>
                  </a:cubicBezTo>
                  <a:cubicBezTo>
                    <a:pt x="51" y="46"/>
                    <a:pt x="51" y="46"/>
                    <a:pt x="51" y="46"/>
                  </a:cubicBezTo>
                  <a:cubicBezTo>
                    <a:pt x="51" y="46"/>
                    <a:pt x="49" y="45"/>
                    <a:pt x="49" y="45"/>
                  </a:cubicBezTo>
                  <a:cubicBezTo>
                    <a:pt x="49" y="45"/>
                    <a:pt x="47" y="45"/>
                    <a:pt x="47" y="45"/>
                  </a:cubicBezTo>
                  <a:cubicBezTo>
                    <a:pt x="46" y="43"/>
                    <a:pt x="46" y="43"/>
                    <a:pt x="46" y="43"/>
                  </a:cubicBezTo>
                  <a:cubicBezTo>
                    <a:pt x="46" y="43"/>
                    <a:pt x="44" y="43"/>
                    <a:pt x="43" y="43"/>
                  </a:cubicBezTo>
                  <a:cubicBezTo>
                    <a:pt x="43" y="43"/>
                    <a:pt x="42" y="42"/>
                    <a:pt x="42" y="41"/>
                  </a:cubicBezTo>
                  <a:cubicBezTo>
                    <a:pt x="42" y="41"/>
                    <a:pt x="42" y="41"/>
                    <a:pt x="43" y="41"/>
                  </a:cubicBezTo>
                  <a:cubicBezTo>
                    <a:pt x="43" y="41"/>
                    <a:pt x="45" y="40"/>
                    <a:pt x="45" y="40"/>
                  </a:cubicBezTo>
                  <a:cubicBezTo>
                    <a:pt x="46" y="39"/>
                    <a:pt x="46" y="39"/>
                    <a:pt x="46" y="39"/>
                  </a:cubicBezTo>
                  <a:cubicBezTo>
                    <a:pt x="46" y="38"/>
                    <a:pt x="46" y="38"/>
                    <a:pt x="46" y="38"/>
                  </a:cubicBezTo>
                  <a:cubicBezTo>
                    <a:pt x="45" y="36"/>
                    <a:pt x="45" y="36"/>
                    <a:pt x="45" y="36"/>
                  </a:cubicBezTo>
                  <a:cubicBezTo>
                    <a:pt x="46" y="35"/>
                    <a:pt x="46" y="35"/>
                    <a:pt x="46" y="35"/>
                  </a:cubicBezTo>
                  <a:cubicBezTo>
                    <a:pt x="45" y="33"/>
                    <a:pt x="45" y="33"/>
                    <a:pt x="45" y="33"/>
                  </a:cubicBezTo>
                  <a:cubicBezTo>
                    <a:pt x="45" y="30"/>
                    <a:pt x="45" y="30"/>
                    <a:pt x="45" y="30"/>
                  </a:cubicBezTo>
                  <a:cubicBezTo>
                    <a:pt x="45" y="30"/>
                    <a:pt x="45" y="30"/>
                    <a:pt x="45" y="30"/>
                  </a:cubicBezTo>
                  <a:cubicBezTo>
                    <a:pt x="46" y="30"/>
                    <a:pt x="47" y="31"/>
                    <a:pt x="47" y="31"/>
                  </a:cubicBezTo>
                  <a:cubicBezTo>
                    <a:pt x="47" y="31"/>
                    <a:pt x="49" y="30"/>
                    <a:pt x="49" y="30"/>
                  </a:cubicBezTo>
                  <a:cubicBezTo>
                    <a:pt x="49" y="30"/>
                    <a:pt x="49" y="29"/>
                    <a:pt x="49" y="29"/>
                  </a:cubicBezTo>
                  <a:cubicBezTo>
                    <a:pt x="49" y="29"/>
                    <a:pt x="50" y="29"/>
                    <a:pt x="51" y="29"/>
                  </a:cubicBezTo>
                  <a:cubicBezTo>
                    <a:pt x="51" y="29"/>
                    <a:pt x="51" y="26"/>
                    <a:pt x="51" y="26"/>
                  </a:cubicBezTo>
                  <a:cubicBezTo>
                    <a:pt x="51" y="26"/>
                    <a:pt x="51" y="26"/>
                    <a:pt x="51" y="26"/>
                  </a:cubicBezTo>
                  <a:cubicBezTo>
                    <a:pt x="51" y="26"/>
                    <a:pt x="50" y="25"/>
                    <a:pt x="49" y="25"/>
                  </a:cubicBezTo>
                  <a:cubicBezTo>
                    <a:pt x="48" y="25"/>
                    <a:pt x="48" y="25"/>
                    <a:pt x="48" y="25"/>
                  </a:cubicBezTo>
                  <a:cubicBezTo>
                    <a:pt x="47" y="25"/>
                    <a:pt x="47" y="24"/>
                    <a:pt x="47" y="24"/>
                  </a:cubicBezTo>
                  <a:cubicBezTo>
                    <a:pt x="47" y="24"/>
                    <a:pt x="48" y="23"/>
                    <a:pt x="48" y="22"/>
                  </a:cubicBezTo>
                  <a:cubicBezTo>
                    <a:pt x="48" y="22"/>
                    <a:pt x="47" y="20"/>
                    <a:pt x="47" y="20"/>
                  </a:cubicBezTo>
                  <a:cubicBezTo>
                    <a:pt x="47" y="20"/>
                    <a:pt x="47" y="18"/>
                    <a:pt x="47" y="18"/>
                  </a:cubicBezTo>
                  <a:cubicBezTo>
                    <a:pt x="47" y="18"/>
                    <a:pt x="44" y="16"/>
                    <a:pt x="43" y="16"/>
                  </a:cubicBezTo>
                  <a:cubicBezTo>
                    <a:pt x="43" y="16"/>
                    <a:pt x="41" y="17"/>
                    <a:pt x="41" y="17"/>
                  </a:cubicBezTo>
                  <a:cubicBezTo>
                    <a:pt x="41" y="17"/>
                    <a:pt x="41" y="17"/>
                    <a:pt x="41" y="17"/>
                  </a:cubicBezTo>
                  <a:cubicBezTo>
                    <a:pt x="39" y="16"/>
                    <a:pt x="39" y="16"/>
                    <a:pt x="39" y="16"/>
                  </a:cubicBezTo>
                  <a:cubicBezTo>
                    <a:pt x="39" y="16"/>
                    <a:pt x="39" y="15"/>
                    <a:pt x="39" y="14"/>
                  </a:cubicBezTo>
                  <a:cubicBezTo>
                    <a:pt x="38" y="14"/>
                    <a:pt x="38" y="14"/>
                    <a:pt x="38" y="14"/>
                  </a:cubicBezTo>
                  <a:cubicBezTo>
                    <a:pt x="37" y="19"/>
                    <a:pt x="37" y="19"/>
                    <a:pt x="37" y="19"/>
                  </a:cubicBezTo>
                  <a:cubicBezTo>
                    <a:pt x="35" y="25"/>
                    <a:pt x="35" y="25"/>
                    <a:pt x="35" y="25"/>
                  </a:cubicBezTo>
                  <a:cubicBezTo>
                    <a:pt x="32" y="37"/>
                    <a:pt x="32" y="37"/>
                    <a:pt x="32" y="37"/>
                  </a:cubicBezTo>
                  <a:cubicBezTo>
                    <a:pt x="27" y="45"/>
                    <a:pt x="27" y="45"/>
                    <a:pt x="27" y="45"/>
                  </a:cubicBezTo>
                  <a:cubicBezTo>
                    <a:pt x="20" y="54"/>
                    <a:pt x="20" y="54"/>
                    <a:pt x="20" y="54"/>
                  </a:cubicBezTo>
                  <a:cubicBezTo>
                    <a:pt x="19" y="55"/>
                    <a:pt x="19" y="55"/>
                    <a:pt x="19" y="55"/>
                  </a:cubicBezTo>
                  <a:cubicBezTo>
                    <a:pt x="19" y="55"/>
                    <a:pt x="18" y="54"/>
                    <a:pt x="18" y="54"/>
                  </a:cubicBezTo>
                  <a:cubicBezTo>
                    <a:pt x="18" y="54"/>
                    <a:pt x="17" y="55"/>
                    <a:pt x="17" y="55"/>
                  </a:cubicBezTo>
                  <a:cubicBezTo>
                    <a:pt x="17" y="55"/>
                    <a:pt x="17" y="57"/>
                    <a:pt x="17" y="57"/>
                  </a:cubicBezTo>
                  <a:cubicBezTo>
                    <a:pt x="17" y="57"/>
                    <a:pt x="17" y="59"/>
                    <a:pt x="17" y="60"/>
                  </a:cubicBezTo>
                  <a:cubicBezTo>
                    <a:pt x="17" y="60"/>
                    <a:pt x="17" y="60"/>
                    <a:pt x="17" y="60"/>
                  </a:cubicBezTo>
                  <a:cubicBezTo>
                    <a:pt x="17" y="60"/>
                    <a:pt x="20" y="61"/>
                    <a:pt x="20" y="62"/>
                  </a:cubicBezTo>
                  <a:cubicBezTo>
                    <a:pt x="21" y="62"/>
                    <a:pt x="21" y="63"/>
                    <a:pt x="21" y="63"/>
                  </a:cubicBezTo>
                  <a:cubicBezTo>
                    <a:pt x="22" y="64"/>
                    <a:pt x="22" y="64"/>
                    <a:pt x="22" y="64"/>
                  </a:cubicBezTo>
                  <a:cubicBezTo>
                    <a:pt x="22" y="64"/>
                    <a:pt x="23" y="65"/>
                    <a:pt x="24" y="65"/>
                  </a:cubicBezTo>
                  <a:cubicBezTo>
                    <a:pt x="26" y="66"/>
                    <a:pt x="25" y="66"/>
                    <a:pt x="26" y="66"/>
                  </a:cubicBezTo>
                  <a:cubicBezTo>
                    <a:pt x="26" y="66"/>
                    <a:pt x="28" y="67"/>
                    <a:pt x="28" y="68"/>
                  </a:cubicBezTo>
                  <a:cubicBezTo>
                    <a:pt x="28" y="68"/>
                    <a:pt x="29" y="68"/>
                    <a:pt x="30" y="68"/>
                  </a:cubicBezTo>
                  <a:cubicBezTo>
                    <a:pt x="30" y="68"/>
                    <a:pt x="31" y="68"/>
                    <a:pt x="31" y="68"/>
                  </a:cubicBezTo>
                  <a:cubicBezTo>
                    <a:pt x="32" y="67"/>
                    <a:pt x="32" y="67"/>
                    <a:pt x="32" y="67"/>
                  </a:cubicBezTo>
                  <a:cubicBezTo>
                    <a:pt x="34" y="67"/>
                    <a:pt x="34" y="67"/>
                    <a:pt x="34" y="67"/>
                  </a:cubicBezTo>
                  <a:cubicBezTo>
                    <a:pt x="34" y="67"/>
                    <a:pt x="35" y="67"/>
                    <a:pt x="35" y="67"/>
                  </a:cubicBezTo>
                  <a:cubicBezTo>
                    <a:pt x="36" y="67"/>
                    <a:pt x="35" y="68"/>
                    <a:pt x="35" y="68"/>
                  </a:cubicBezTo>
                  <a:cubicBezTo>
                    <a:pt x="32" y="68"/>
                    <a:pt x="32" y="68"/>
                    <a:pt x="32" y="68"/>
                  </a:cubicBezTo>
                  <a:cubicBezTo>
                    <a:pt x="32" y="68"/>
                    <a:pt x="31" y="68"/>
                    <a:pt x="31" y="69"/>
                  </a:cubicBezTo>
                  <a:cubicBezTo>
                    <a:pt x="31" y="69"/>
                    <a:pt x="30" y="70"/>
                    <a:pt x="31" y="70"/>
                  </a:cubicBezTo>
                  <a:cubicBezTo>
                    <a:pt x="31" y="70"/>
                    <a:pt x="28" y="69"/>
                    <a:pt x="28" y="69"/>
                  </a:cubicBezTo>
                  <a:cubicBezTo>
                    <a:pt x="28" y="68"/>
                    <a:pt x="27" y="68"/>
                    <a:pt x="27" y="68"/>
                  </a:cubicBezTo>
                  <a:cubicBezTo>
                    <a:pt x="26" y="68"/>
                    <a:pt x="25" y="69"/>
                    <a:pt x="24" y="69"/>
                  </a:cubicBezTo>
                  <a:cubicBezTo>
                    <a:pt x="24" y="69"/>
                    <a:pt x="24" y="69"/>
                    <a:pt x="24" y="69"/>
                  </a:cubicBezTo>
                  <a:cubicBezTo>
                    <a:pt x="23" y="69"/>
                    <a:pt x="23" y="70"/>
                    <a:pt x="23" y="70"/>
                  </a:cubicBezTo>
                  <a:cubicBezTo>
                    <a:pt x="22" y="70"/>
                    <a:pt x="22" y="70"/>
                    <a:pt x="22" y="70"/>
                  </a:cubicBezTo>
                  <a:cubicBezTo>
                    <a:pt x="22" y="70"/>
                    <a:pt x="20" y="69"/>
                    <a:pt x="20" y="69"/>
                  </a:cubicBezTo>
                  <a:cubicBezTo>
                    <a:pt x="18" y="69"/>
                    <a:pt x="18" y="69"/>
                    <a:pt x="18" y="69"/>
                  </a:cubicBezTo>
                  <a:cubicBezTo>
                    <a:pt x="18" y="68"/>
                    <a:pt x="18" y="68"/>
                    <a:pt x="18" y="68"/>
                  </a:cubicBezTo>
                  <a:cubicBezTo>
                    <a:pt x="17" y="67"/>
                    <a:pt x="17" y="67"/>
                    <a:pt x="17" y="67"/>
                  </a:cubicBezTo>
                  <a:cubicBezTo>
                    <a:pt x="17" y="67"/>
                    <a:pt x="16" y="67"/>
                    <a:pt x="16" y="66"/>
                  </a:cubicBezTo>
                  <a:cubicBezTo>
                    <a:pt x="16" y="66"/>
                    <a:pt x="16" y="66"/>
                    <a:pt x="15" y="66"/>
                  </a:cubicBezTo>
                  <a:cubicBezTo>
                    <a:pt x="15" y="65"/>
                    <a:pt x="15" y="65"/>
                    <a:pt x="14" y="65"/>
                  </a:cubicBezTo>
                  <a:cubicBezTo>
                    <a:pt x="13" y="64"/>
                    <a:pt x="13" y="64"/>
                    <a:pt x="13" y="64"/>
                  </a:cubicBezTo>
                  <a:cubicBezTo>
                    <a:pt x="12" y="64"/>
                    <a:pt x="12" y="63"/>
                    <a:pt x="11" y="63"/>
                  </a:cubicBezTo>
                  <a:cubicBezTo>
                    <a:pt x="10" y="63"/>
                    <a:pt x="9" y="64"/>
                    <a:pt x="8" y="64"/>
                  </a:cubicBezTo>
                  <a:cubicBezTo>
                    <a:pt x="8" y="64"/>
                    <a:pt x="7" y="64"/>
                    <a:pt x="7" y="65"/>
                  </a:cubicBezTo>
                  <a:cubicBezTo>
                    <a:pt x="7" y="65"/>
                    <a:pt x="7" y="66"/>
                    <a:pt x="7" y="66"/>
                  </a:cubicBezTo>
                  <a:cubicBezTo>
                    <a:pt x="8" y="66"/>
                    <a:pt x="8" y="66"/>
                    <a:pt x="9" y="66"/>
                  </a:cubicBezTo>
                  <a:cubicBezTo>
                    <a:pt x="9" y="66"/>
                    <a:pt x="10" y="66"/>
                    <a:pt x="10" y="66"/>
                  </a:cubicBezTo>
                  <a:cubicBezTo>
                    <a:pt x="11" y="66"/>
                    <a:pt x="11" y="66"/>
                    <a:pt x="11" y="66"/>
                  </a:cubicBezTo>
                  <a:cubicBezTo>
                    <a:pt x="11" y="66"/>
                    <a:pt x="11" y="67"/>
                    <a:pt x="12" y="67"/>
                  </a:cubicBezTo>
                  <a:cubicBezTo>
                    <a:pt x="12" y="67"/>
                    <a:pt x="13" y="68"/>
                    <a:pt x="13" y="69"/>
                  </a:cubicBezTo>
                  <a:cubicBezTo>
                    <a:pt x="13" y="69"/>
                    <a:pt x="14" y="69"/>
                    <a:pt x="14" y="69"/>
                  </a:cubicBezTo>
                  <a:cubicBezTo>
                    <a:pt x="15" y="70"/>
                    <a:pt x="15" y="69"/>
                    <a:pt x="15" y="69"/>
                  </a:cubicBezTo>
                  <a:cubicBezTo>
                    <a:pt x="16" y="69"/>
                    <a:pt x="16" y="69"/>
                    <a:pt x="16" y="69"/>
                  </a:cubicBezTo>
                  <a:cubicBezTo>
                    <a:pt x="18" y="69"/>
                    <a:pt x="18" y="69"/>
                    <a:pt x="18" y="69"/>
                  </a:cubicBezTo>
                  <a:cubicBezTo>
                    <a:pt x="18" y="69"/>
                    <a:pt x="18" y="70"/>
                    <a:pt x="20" y="70"/>
                  </a:cubicBezTo>
                  <a:cubicBezTo>
                    <a:pt x="21" y="71"/>
                    <a:pt x="20" y="71"/>
                    <a:pt x="20" y="71"/>
                  </a:cubicBezTo>
                  <a:cubicBezTo>
                    <a:pt x="20" y="71"/>
                    <a:pt x="19" y="71"/>
                    <a:pt x="17" y="70"/>
                  </a:cubicBezTo>
                  <a:cubicBezTo>
                    <a:pt x="15" y="69"/>
                    <a:pt x="17" y="70"/>
                    <a:pt x="16" y="70"/>
                  </a:cubicBezTo>
                  <a:cubicBezTo>
                    <a:pt x="15" y="70"/>
                    <a:pt x="15" y="71"/>
                    <a:pt x="15" y="71"/>
                  </a:cubicBezTo>
                  <a:cubicBezTo>
                    <a:pt x="15" y="71"/>
                    <a:pt x="15" y="72"/>
                    <a:pt x="16" y="73"/>
                  </a:cubicBezTo>
                  <a:cubicBezTo>
                    <a:pt x="17" y="74"/>
                    <a:pt x="17" y="73"/>
                    <a:pt x="19" y="74"/>
                  </a:cubicBezTo>
                  <a:cubicBezTo>
                    <a:pt x="20" y="75"/>
                    <a:pt x="19" y="74"/>
                    <a:pt x="20" y="74"/>
                  </a:cubicBezTo>
                  <a:cubicBezTo>
                    <a:pt x="20" y="74"/>
                    <a:pt x="21" y="74"/>
                    <a:pt x="22" y="76"/>
                  </a:cubicBezTo>
                  <a:cubicBezTo>
                    <a:pt x="23" y="77"/>
                    <a:pt x="22" y="78"/>
                    <a:pt x="22" y="78"/>
                  </a:cubicBezTo>
                  <a:cubicBezTo>
                    <a:pt x="22" y="78"/>
                    <a:pt x="21" y="78"/>
                    <a:pt x="20" y="78"/>
                  </a:cubicBezTo>
                  <a:cubicBezTo>
                    <a:pt x="20" y="78"/>
                    <a:pt x="20" y="78"/>
                    <a:pt x="20" y="78"/>
                  </a:cubicBezTo>
                  <a:cubicBezTo>
                    <a:pt x="18" y="78"/>
                    <a:pt x="18" y="78"/>
                    <a:pt x="18" y="78"/>
                  </a:cubicBezTo>
                  <a:cubicBezTo>
                    <a:pt x="18" y="78"/>
                    <a:pt x="18" y="78"/>
                    <a:pt x="17" y="76"/>
                  </a:cubicBezTo>
                  <a:cubicBezTo>
                    <a:pt x="16" y="74"/>
                    <a:pt x="17" y="75"/>
                    <a:pt x="18" y="75"/>
                  </a:cubicBezTo>
                  <a:cubicBezTo>
                    <a:pt x="18" y="75"/>
                    <a:pt x="16" y="75"/>
                    <a:pt x="16" y="75"/>
                  </a:cubicBezTo>
                  <a:cubicBezTo>
                    <a:pt x="15" y="73"/>
                    <a:pt x="15" y="73"/>
                    <a:pt x="15" y="73"/>
                  </a:cubicBezTo>
                  <a:cubicBezTo>
                    <a:pt x="14" y="73"/>
                    <a:pt x="14" y="73"/>
                    <a:pt x="14" y="73"/>
                  </a:cubicBezTo>
                  <a:cubicBezTo>
                    <a:pt x="14" y="73"/>
                    <a:pt x="13" y="73"/>
                    <a:pt x="13" y="73"/>
                  </a:cubicBezTo>
                  <a:cubicBezTo>
                    <a:pt x="13" y="73"/>
                    <a:pt x="11" y="72"/>
                    <a:pt x="11" y="72"/>
                  </a:cubicBezTo>
                  <a:cubicBezTo>
                    <a:pt x="11" y="72"/>
                    <a:pt x="12" y="72"/>
                    <a:pt x="12" y="71"/>
                  </a:cubicBezTo>
                  <a:cubicBezTo>
                    <a:pt x="13" y="70"/>
                    <a:pt x="10" y="69"/>
                    <a:pt x="10" y="69"/>
                  </a:cubicBezTo>
                  <a:cubicBezTo>
                    <a:pt x="8" y="68"/>
                    <a:pt x="9" y="69"/>
                    <a:pt x="9" y="69"/>
                  </a:cubicBezTo>
                  <a:cubicBezTo>
                    <a:pt x="9" y="69"/>
                    <a:pt x="8" y="69"/>
                    <a:pt x="7" y="69"/>
                  </a:cubicBezTo>
                  <a:cubicBezTo>
                    <a:pt x="6" y="69"/>
                    <a:pt x="6" y="69"/>
                    <a:pt x="5" y="69"/>
                  </a:cubicBezTo>
                  <a:cubicBezTo>
                    <a:pt x="4" y="69"/>
                    <a:pt x="4" y="69"/>
                    <a:pt x="3" y="69"/>
                  </a:cubicBezTo>
                  <a:cubicBezTo>
                    <a:pt x="3" y="69"/>
                    <a:pt x="2" y="69"/>
                    <a:pt x="1" y="70"/>
                  </a:cubicBezTo>
                  <a:cubicBezTo>
                    <a:pt x="0" y="70"/>
                    <a:pt x="0" y="70"/>
                    <a:pt x="0" y="71"/>
                  </a:cubicBezTo>
                  <a:cubicBezTo>
                    <a:pt x="1" y="71"/>
                    <a:pt x="1" y="71"/>
                    <a:pt x="1" y="72"/>
                  </a:cubicBezTo>
                  <a:cubicBezTo>
                    <a:pt x="1" y="72"/>
                    <a:pt x="1" y="73"/>
                    <a:pt x="2" y="73"/>
                  </a:cubicBezTo>
                  <a:cubicBezTo>
                    <a:pt x="2" y="73"/>
                    <a:pt x="2" y="74"/>
                    <a:pt x="3" y="74"/>
                  </a:cubicBezTo>
                  <a:cubicBezTo>
                    <a:pt x="3" y="75"/>
                    <a:pt x="4" y="75"/>
                    <a:pt x="4" y="75"/>
                  </a:cubicBezTo>
                  <a:cubicBezTo>
                    <a:pt x="5" y="75"/>
                    <a:pt x="6" y="75"/>
                    <a:pt x="6" y="75"/>
                  </a:cubicBezTo>
                  <a:cubicBezTo>
                    <a:pt x="9" y="78"/>
                    <a:pt x="9" y="78"/>
                    <a:pt x="9" y="78"/>
                  </a:cubicBezTo>
                  <a:cubicBezTo>
                    <a:pt x="9" y="78"/>
                    <a:pt x="10" y="78"/>
                    <a:pt x="12" y="78"/>
                  </a:cubicBezTo>
                  <a:cubicBezTo>
                    <a:pt x="13" y="79"/>
                    <a:pt x="12" y="78"/>
                    <a:pt x="12" y="78"/>
                  </a:cubicBezTo>
                  <a:cubicBezTo>
                    <a:pt x="12" y="77"/>
                    <a:pt x="13" y="77"/>
                    <a:pt x="13" y="77"/>
                  </a:cubicBezTo>
                  <a:cubicBezTo>
                    <a:pt x="13" y="76"/>
                    <a:pt x="13" y="76"/>
                    <a:pt x="14" y="76"/>
                  </a:cubicBezTo>
                  <a:cubicBezTo>
                    <a:pt x="15" y="77"/>
                    <a:pt x="15" y="77"/>
                    <a:pt x="15" y="78"/>
                  </a:cubicBezTo>
                  <a:cubicBezTo>
                    <a:pt x="16" y="78"/>
                    <a:pt x="16" y="78"/>
                    <a:pt x="16" y="79"/>
                  </a:cubicBezTo>
                  <a:cubicBezTo>
                    <a:pt x="17" y="79"/>
                    <a:pt x="18" y="79"/>
                    <a:pt x="19" y="79"/>
                  </a:cubicBezTo>
                  <a:cubicBezTo>
                    <a:pt x="19" y="79"/>
                    <a:pt x="20" y="79"/>
                    <a:pt x="20" y="79"/>
                  </a:cubicBezTo>
                  <a:cubicBezTo>
                    <a:pt x="20" y="79"/>
                    <a:pt x="20" y="80"/>
                    <a:pt x="21" y="80"/>
                  </a:cubicBezTo>
                  <a:cubicBezTo>
                    <a:pt x="21" y="80"/>
                    <a:pt x="20" y="80"/>
                    <a:pt x="20" y="80"/>
                  </a:cubicBezTo>
                  <a:cubicBezTo>
                    <a:pt x="20" y="80"/>
                    <a:pt x="20" y="81"/>
                    <a:pt x="19" y="81"/>
                  </a:cubicBezTo>
                  <a:cubicBezTo>
                    <a:pt x="19" y="81"/>
                    <a:pt x="19" y="81"/>
                    <a:pt x="19" y="81"/>
                  </a:cubicBezTo>
                  <a:cubicBezTo>
                    <a:pt x="19" y="81"/>
                    <a:pt x="18" y="81"/>
                    <a:pt x="18" y="81"/>
                  </a:cubicBezTo>
                  <a:cubicBezTo>
                    <a:pt x="18" y="81"/>
                    <a:pt x="19" y="81"/>
                    <a:pt x="19" y="81"/>
                  </a:cubicBezTo>
                  <a:cubicBezTo>
                    <a:pt x="19" y="81"/>
                    <a:pt x="19" y="81"/>
                    <a:pt x="19" y="81"/>
                  </a:cubicBezTo>
                  <a:cubicBezTo>
                    <a:pt x="19" y="81"/>
                    <a:pt x="19" y="81"/>
                    <a:pt x="19" y="81"/>
                  </a:cubicBezTo>
                  <a:cubicBezTo>
                    <a:pt x="20" y="82"/>
                    <a:pt x="20" y="82"/>
                    <a:pt x="21" y="82"/>
                  </a:cubicBezTo>
                  <a:cubicBezTo>
                    <a:pt x="21" y="81"/>
                    <a:pt x="21" y="80"/>
                    <a:pt x="22" y="79"/>
                  </a:cubicBezTo>
                  <a:cubicBezTo>
                    <a:pt x="23" y="78"/>
                    <a:pt x="25" y="78"/>
                    <a:pt x="25" y="78"/>
                  </a:cubicBezTo>
                  <a:cubicBezTo>
                    <a:pt x="25" y="77"/>
                    <a:pt x="25" y="77"/>
                    <a:pt x="25" y="77"/>
                  </a:cubicBezTo>
                  <a:cubicBezTo>
                    <a:pt x="25" y="77"/>
                    <a:pt x="25" y="77"/>
                    <a:pt x="25" y="77"/>
                  </a:cubicBezTo>
                  <a:cubicBezTo>
                    <a:pt x="26" y="77"/>
                    <a:pt x="27" y="78"/>
                    <a:pt x="28" y="79"/>
                  </a:cubicBezTo>
                  <a:cubicBezTo>
                    <a:pt x="29" y="80"/>
                    <a:pt x="29" y="80"/>
                    <a:pt x="29" y="80"/>
                  </a:cubicBezTo>
                  <a:cubicBezTo>
                    <a:pt x="29" y="80"/>
                    <a:pt x="29" y="80"/>
                    <a:pt x="29" y="80"/>
                  </a:cubicBezTo>
                  <a:cubicBezTo>
                    <a:pt x="29" y="80"/>
                    <a:pt x="29" y="80"/>
                    <a:pt x="29" y="80"/>
                  </a:cubicBezTo>
                  <a:cubicBezTo>
                    <a:pt x="30" y="79"/>
                    <a:pt x="30" y="79"/>
                    <a:pt x="30" y="79"/>
                  </a:cubicBezTo>
                  <a:cubicBezTo>
                    <a:pt x="31" y="78"/>
                    <a:pt x="32" y="77"/>
                    <a:pt x="33" y="77"/>
                  </a:cubicBezTo>
                  <a:cubicBezTo>
                    <a:pt x="34" y="77"/>
                    <a:pt x="34" y="77"/>
                    <a:pt x="34" y="77"/>
                  </a:cubicBezTo>
                  <a:cubicBezTo>
                    <a:pt x="36" y="77"/>
                    <a:pt x="36" y="78"/>
                    <a:pt x="37" y="78"/>
                  </a:cubicBezTo>
                  <a:cubicBezTo>
                    <a:pt x="39" y="79"/>
                    <a:pt x="39" y="79"/>
                    <a:pt x="39" y="79"/>
                  </a:cubicBezTo>
                  <a:cubicBezTo>
                    <a:pt x="39" y="78"/>
                    <a:pt x="40" y="78"/>
                    <a:pt x="41" y="78"/>
                  </a:cubicBezTo>
                  <a:cubicBezTo>
                    <a:pt x="42" y="78"/>
                    <a:pt x="43" y="80"/>
                    <a:pt x="43" y="80"/>
                  </a:cubicBezTo>
                  <a:cubicBezTo>
                    <a:pt x="44" y="83"/>
                    <a:pt x="44" y="83"/>
                    <a:pt x="44" y="83"/>
                  </a:cubicBezTo>
                  <a:cubicBezTo>
                    <a:pt x="44" y="83"/>
                    <a:pt x="44" y="84"/>
                    <a:pt x="44" y="84"/>
                  </a:cubicBezTo>
                  <a:cubicBezTo>
                    <a:pt x="45" y="84"/>
                    <a:pt x="45" y="84"/>
                    <a:pt x="45" y="84"/>
                  </a:cubicBezTo>
                  <a:cubicBezTo>
                    <a:pt x="46" y="85"/>
                    <a:pt x="46" y="85"/>
                    <a:pt x="46" y="85"/>
                  </a:cubicBezTo>
                  <a:cubicBezTo>
                    <a:pt x="46" y="86"/>
                    <a:pt x="46" y="86"/>
                    <a:pt x="46" y="86"/>
                  </a:cubicBezTo>
                  <a:cubicBezTo>
                    <a:pt x="46" y="86"/>
                    <a:pt x="46" y="86"/>
                    <a:pt x="46" y="86"/>
                  </a:cubicBezTo>
                  <a:cubicBezTo>
                    <a:pt x="48" y="86"/>
                    <a:pt x="48" y="86"/>
                    <a:pt x="48" y="86"/>
                  </a:cubicBezTo>
                  <a:cubicBezTo>
                    <a:pt x="48" y="86"/>
                    <a:pt x="48" y="88"/>
                    <a:pt x="48" y="88"/>
                  </a:cubicBezTo>
                  <a:cubicBezTo>
                    <a:pt x="48" y="88"/>
                    <a:pt x="49" y="88"/>
                    <a:pt x="49" y="88"/>
                  </a:cubicBezTo>
                  <a:cubicBezTo>
                    <a:pt x="49" y="88"/>
                    <a:pt x="49" y="88"/>
                    <a:pt x="49" y="88"/>
                  </a:cubicBezTo>
                  <a:cubicBezTo>
                    <a:pt x="49" y="88"/>
                    <a:pt x="50" y="88"/>
                    <a:pt x="50" y="88"/>
                  </a:cubicBezTo>
                  <a:cubicBezTo>
                    <a:pt x="50" y="88"/>
                    <a:pt x="50" y="88"/>
                    <a:pt x="50" y="88"/>
                  </a:cubicBezTo>
                  <a:cubicBezTo>
                    <a:pt x="50" y="88"/>
                    <a:pt x="50" y="88"/>
                    <a:pt x="50" y="88"/>
                  </a:cubicBezTo>
                  <a:cubicBezTo>
                    <a:pt x="50" y="88"/>
                    <a:pt x="51" y="87"/>
                    <a:pt x="52" y="87"/>
                  </a:cubicBezTo>
                  <a:cubicBezTo>
                    <a:pt x="53" y="87"/>
                    <a:pt x="53" y="87"/>
                    <a:pt x="53" y="87"/>
                  </a:cubicBezTo>
                  <a:cubicBezTo>
                    <a:pt x="54" y="88"/>
                    <a:pt x="54" y="88"/>
                    <a:pt x="54" y="88"/>
                  </a:cubicBezTo>
                  <a:cubicBezTo>
                    <a:pt x="56" y="89"/>
                    <a:pt x="56" y="90"/>
                    <a:pt x="56" y="91"/>
                  </a:cubicBezTo>
                  <a:cubicBezTo>
                    <a:pt x="56" y="91"/>
                    <a:pt x="56" y="91"/>
                    <a:pt x="56" y="91"/>
                  </a:cubicBezTo>
                  <a:cubicBezTo>
                    <a:pt x="58" y="92"/>
                    <a:pt x="59" y="92"/>
                    <a:pt x="60" y="93"/>
                  </a:cubicBezTo>
                  <a:cubicBezTo>
                    <a:pt x="60" y="93"/>
                    <a:pt x="61" y="93"/>
                    <a:pt x="62" y="94"/>
                  </a:cubicBezTo>
                  <a:cubicBezTo>
                    <a:pt x="63" y="94"/>
                    <a:pt x="63" y="94"/>
                    <a:pt x="63" y="94"/>
                  </a:cubicBezTo>
                  <a:cubicBezTo>
                    <a:pt x="63" y="94"/>
                    <a:pt x="63" y="94"/>
                    <a:pt x="63" y="94"/>
                  </a:cubicBezTo>
                  <a:cubicBezTo>
                    <a:pt x="64" y="94"/>
                    <a:pt x="65" y="95"/>
                    <a:pt x="65" y="97"/>
                  </a:cubicBezTo>
                  <a:cubicBezTo>
                    <a:pt x="65" y="98"/>
                    <a:pt x="64" y="99"/>
                    <a:pt x="64" y="100"/>
                  </a:cubicBezTo>
                  <a:cubicBezTo>
                    <a:pt x="64" y="100"/>
                    <a:pt x="64" y="100"/>
                    <a:pt x="64" y="100"/>
                  </a:cubicBezTo>
                  <a:cubicBezTo>
                    <a:pt x="65" y="101"/>
                    <a:pt x="65" y="101"/>
                    <a:pt x="65" y="101"/>
                  </a:cubicBezTo>
                  <a:cubicBezTo>
                    <a:pt x="65" y="101"/>
                    <a:pt x="65" y="101"/>
                    <a:pt x="66" y="100"/>
                  </a:cubicBezTo>
                  <a:cubicBezTo>
                    <a:pt x="66" y="100"/>
                    <a:pt x="67" y="98"/>
                    <a:pt x="67" y="98"/>
                  </a:cubicBezTo>
                  <a:cubicBezTo>
                    <a:pt x="69" y="98"/>
                    <a:pt x="69" y="98"/>
                    <a:pt x="69" y="98"/>
                  </a:cubicBezTo>
                  <a:cubicBezTo>
                    <a:pt x="69" y="98"/>
                    <a:pt x="71" y="98"/>
                    <a:pt x="72" y="98"/>
                  </a:cubicBezTo>
                  <a:cubicBezTo>
                    <a:pt x="72" y="98"/>
                    <a:pt x="71" y="96"/>
                    <a:pt x="71" y="96"/>
                  </a:cubicBezTo>
                  <a:cubicBezTo>
                    <a:pt x="71" y="96"/>
                    <a:pt x="70" y="97"/>
                    <a:pt x="69" y="97"/>
                  </a:cubicBezTo>
                  <a:cubicBezTo>
                    <a:pt x="68" y="97"/>
                    <a:pt x="69" y="95"/>
                    <a:pt x="69" y="95"/>
                  </a:cubicBezTo>
                  <a:cubicBezTo>
                    <a:pt x="69" y="94"/>
                    <a:pt x="69" y="94"/>
                    <a:pt x="69" y="94"/>
                  </a:cubicBezTo>
                  <a:cubicBezTo>
                    <a:pt x="70" y="92"/>
                    <a:pt x="70" y="92"/>
                    <a:pt x="70" y="92"/>
                  </a:cubicBezTo>
                  <a:cubicBezTo>
                    <a:pt x="71" y="91"/>
                    <a:pt x="71" y="91"/>
                    <a:pt x="71" y="91"/>
                  </a:cubicBezTo>
                  <a:cubicBezTo>
                    <a:pt x="71" y="91"/>
                    <a:pt x="72" y="89"/>
                    <a:pt x="73" y="89"/>
                  </a:cubicBezTo>
                  <a:cubicBezTo>
                    <a:pt x="73" y="89"/>
                    <a:pt x="72" y="87"/>
                    <a:pt x="72" y="87"/>
                  </a:cubicBezTo>
                  <a:cubicBezTo>
                    <a:pt x="73" y="84"/>
                    <a:pt x="73" y="84"/>
                    <a:pt x="73" y="84"/>
                  </a:cubicBezTo>
                  <a:cubicBezTo>
                    <a:pt x="72" y="82"/>
                    <a:pt x="72" y="82"/>
                    <a:pt x="72" y="82"/>
                  </a:cubicBezTo>
                  <a:cubicBezTo>
                    <a:pt x="72" y="80"/>
                    <a:pt x="72" y="80"/>
                    <a:pt x="72" y="80"/>
                  </a:cubicBezTo>
                  <a:cubicBezTo>
                    <a:pt x="70" y="77"/>
                    <a:pt x="70" y="77"/>
                    <a:pt x="70" y="77"/>
                  </a:cubicBezTo>
                  <a:cubicBezTo>
                    <a:pt x="70" y="76"/>
                    <a:pt x="70" y="76"/>
                    <a:pt x="70" y="76"/>
                  </a:cubicBezTo>
                  <a:cubicBezTo>
                    <a:pt x="69" y="75"/>
                    <a:pt x="69" y="75"/>
                    <a:pt x="69" y="75"/>
                  </a:cubicBezTo>
                  <a:cubicBezTo>
                    <a:pt x="70" y="73"/>
                    <a:pt x="70" y="73"/>
                    <a:pt x="70" y="73"/>
                  </a:cubicBezTo>
                  <a:cubicBezTo>
                    <a:pt x="70" y="73"/>
                    <a:pt x="68" y="72"/>
                    <a:pt x="67" y="72"/>
                  </a:cubicBezTo>
                  <a:cubicBezTo>
                    <a:pt x="66" y="71"/>
                    <a:pt x="67" y="71"/>
                    <a:pt x="67" y="71"/>
                  </a:cubicBezTo>
                  <a:cubicBezTo>
                    <a:pt x="67" y="69"/>
                    <a:pt x="67" y="69"/>
                    <a:pt x="67" y="69"/>
                  </a:cubicBezTo>
                  <a:cubicBezTo>
                    <a:pt x="67" y="67"/>
                    <a:pt x="67" y="67"/>
                    <a:pt x="67" y="67"/>
                  </a:cubicBezTo>
                  <a:cubicBezTo>
                    <a:pt x="71" y="68"/>
                    <a:pt x="71" y="68"/>
                    <a:pt x="71" y="68"/>
                  </a:cubicBezTo>
                  <a:cubicBezTo>
                    <a:pt x="73" y="67"/>
                    <a:pt x="73" y="67"/>
                    <a:pt x="73" y="67"/>
                  </a:cubicBezTo>
                  <a:cubicBezTo>
                    <a:pt x="70" y="66"/>
                    <a:pt x="70" y="66"/>
                    <a:pt x="70" y="66"/>
                  </a:cubicBezTo>
                  <a:cubicBezTo>
                    <a:pt x="73" y="65"/>
                    <a:pt x="73" y="65"/>
                    <a:pt x="73" y="65"/>
                  </a:cubicBezTo>
                  <a:cubicBezTo>
                    <a:pt x="74" y="67"/>
                    <a:pt x="74" y="67"/>
                    <a:pt x="74" y="67"/>
                  </a:cubicBezTo>
                  <a:cubicBezTo>
                    <a:pt x="76" y="68"/>
                    <a:pt x="76" y="68"/>
                    <a:pt x="76" y="68"/>
                  </a:cubicBezTo>
                  <a:cubicBezTo>
                    <a:pt x="78" y="69"/>
                    <a:pt x="78" y="69"/>
                    <a:pt x="78" y="69"/>
                  </a:cubicBezTo>
                  <a:cubicBezTo>
                    <a:pt x="78" y="68"/>
                    <a:pt x="78" y="68"/>
                    <a:pt x="78" y="68"/>
                  </a:cubicBezTo>
                  <a:cubicBezTo>
                    <a:pt x="80" y="68"/>
                    <a:pt x="80" y="68"/>
                    <a:pt x="80" y="68"/>
                  </a:cubicBezTo>
                  <a:cubicBezTo>
                    <a:pt x="81" y="67"/>
                    <a:pt x="81" y="67"/>
                    <a:pt x="81" y="67"/>
                  </a:cubicBezTo>
                  <a:cubicBezTo>
                    <a:pt x="84" y="66"/>
                    <a:pt x="84" y="66"/>
                    <a:pt x="84" y="66"/>
                  </a:cubicBezTo>
                  <a:cubicBezTo>
                    <a:pt x="86" y="67"/>
                    <a:pt x="86" y="67"/>
                    <a:pt x="86" y="67"/>
                  </a:cubicBezTo>
                  <a:cubicBezTo>
                    <a:pt x="87" y="65"/>
                    <a:pt x="87" y="65"/>
                    <a:pt x="87" y="65"/>
                  </a:cubicBezTo>
                  <a:cubicBezTo>
                    <a:pt x="89" y="65"/>
                    <a:pt x="89" y="65"/>
                    <a:pt x="89" y="65"/>
                  </a:cubicBezTo>
                  <a:cubicBezTo>
                    <a:pt x="89" y="63"/>
                    <a:pt x="89" y="63"/>
                    <a:pt x="89" y="63"/>
                  </a:cubicBezTo>
                  <a:cubicBezTo>
                    <a:pt x="87" y="62"/>
                    <a:pt x="87" y="62"/>
                    <a:pt x="87" y="62"/>
                  </a:cubicBezTo>
                  <a:cubicBezTo>
                    <a:pt x="85" y="60"/>
                    <a:pt x="85" y="60"/>
                    <a:pt x="85" y="60"/>
                  </a:cubicBezTo>
                  <a:cubicBezTo>
                    <a:pt x="87" y="59"/>
                    <a:pt x="87" y="59"/>
                    <a:pt x="87" y="59"/>
                  </a:cubicBezTo>
                  <a:cubicBezTo>
                    <a:pt x="87" y="58"/>
                    <a:pt x="87" y="58"/>
                    <a:pt x="87" y="58"/>
                  </a:cubicBezTo>
                  <a:cubicBezTo>
                    <a:pt x="87" y="58"/>
                    <a:pt x="90" y="58"/>
                    <a:pt x="90" y="58"/>
                  </a:cubicBezTo>
                  <a:cubicBezTo>
                    <a:pt x="90" y="57"/>
                    <a:pt x="90" y="57"/>
                    <a:pt x="91" y="57"/>
                  </a:cubicBezTo>
                  <a:cubicBezTo>
                    <a:pt x="92" y="56"/>
                    <a:pt x="93" y="55"/>
                    <a:pt x="93" y="55"/>
                  </a:cubicBezTo>
                  <a:cubicBezTo>
                    <a:pt x="94" y="54"/>
                    <a:pt x="94" y="54"/>
                    <a:pt x="94" y="54"/>
                  </a:cubicBezTo>
                  <a:cubicBezTo>
                    <a:pt x="94" y="54"/>
                    <a:pt x="96" y="53"/>
                    <a:pt x="96" y="53"/>
                  </a:cubicBezTo>
                  <a:cubicBezTo>
                    <a:pt x="97" y="53"/>
                    <a:pt x="96" y="52"/>
                    <a:pt x="96" y="52"/>
                  </a:cubicBezTo>
                  <a:cubicBezTo>
                    <a:pt x="96" y="51"/>
                    <a:pt x="95" y="49"/>
                    <a:pt x="95" y="49"/>
                  </a:cubicBezTo>
                  <a:cubicBezTo>
                    <a:pt x="97" y="47"/>
                    <a:pt x="97" y="47"/>
                    <a:pt x="97" y="47"/>
                  </a:cubicBezTo>
                  <a:cubicBezTo>
                    <a:pt x="95" y="44"/>
                    <a:pt x="95" y="44"/>
                    <a:pt x="95" y="44"/>
                  </a:cubicBezTo>
                  <a:cubicBezTo>
                    <a:pt x="93" y="45"/>
                    <a:pt x="93" y="45"/>
                    <a:pt x="93" y="45"/>
                  </a:cubicBezTo>
                  <a:cubicBezTo>
                    <a:pt x="91" y="43"/>
                    <a:pt x="91" y="43"/>
                    <a:pt x="91" y="43"/>
                  </a:cubicBezTo>
                  <a:cubicBezTo>
                    <a:pt x="91" y="43"/>
                    <a:pt x="89" y="43"/>
                    <a:pt x="88" y="43"/>
                  </a:cubicBezTo>
                  <a:cubicBezTo>
                    <a:pt x="88" y="42"/>
                    <a:pt x="87" y="41"/>
                    <a:pt x="87" y="41"/>
                  </a:cubicBezTo>
                  <a:cubicBezTo>
                    <a:pt x="87" y="39"/>
                    <a:pt x="87" y="39"/>
                    <a:pt x="87" y="39"/>
                  </a:cubicBezTo>
                  <a:cubicBezTo>
                    <a:pt x="89" y="38"/>
                    <a:pt x="89" y="38"/>
                    <a:pt x="89" y="38"/>
                  </a:cubicBezTo>
                  <a:cubicBezTo>
                    <a:pt x="88" y="37"/>
                    <a:pt x="88" y="37"/>
                    <a:pt x="88" y="37"/>
                  </a:cubicBezTo>
                  <a:cubicBezTo>
                    <a:pt x="88" y="35"/>
                    <a:pt x="88" y="35"/>
                    <a:pt x="88" y="35"/>
                  </a:cubicBezTo>
                  <a:cubicBezTo>
                    <a:pt x="91" y="35"/>
                    <a:pt x="91" y="35"/>
                    <a:pt x="91" y="35"/>
                  </a:cubicBezTo>
                  <a:cubicBezTo>
                    <a:pt x="91" y="35"/>
                    <a:pt x="95" y="36"/>
                    <a:pt x="96" y="37"/>
                  </a:cubicBezTo>
                  <a:cubicBezTo>
                    <a:pt x="96" y="37"/>
                    <a:pt x="97" y="34"/>
                    <a:pt x="97" y="34"/>
                  </a:cubicBezTo>
                  <a:cubicBezTo>
                    <a:pt x="98" y="30"/>
                    <a:pt x="98" y="30"/>
                    <a:pt x="98" y="30"/>
                  </a:cubicBezTo>
                  <a:cubicBezTo>
                    <a:pt x="98" y="30"/>
                    <a:pt x="97" y="26"/>
                    <a:pt x="97" y="26"/>
                  </a:cubicBezTo>
                  <a:cubicBezTo>
                    <a:pt x="98" y="26"/>
                    <a:pt x="101" y="21"/>
                    <a:pt x="101" y="21"/>
                  </a:cubicBezTo>
                  <a:cubicBezTo>
                    <a:pt x="101" y="21"/>
                    <a:pt x="101" y="16"/>
                    <a:pt x="101" y="15"/>
                  </a:cubicBezTo>
                  <a:cubicBezTo>
                    <a:pt x="101" y="15"/>
                    <a:pt x="101" y="12"/>
                    <a:pt x="101" y="12"/>
                  </a:cubicBezTo>
                  <a:close/>
                  <a:moveTo>
                    <a:pt x="62" y="43"/>
                  </a:moveTo>
                  <a:cubicBezTo>
                    <a:pt x="61" y="44"/>
                    <a:pt x="61" y="44"/>
                    <a:pt x="60" y="44"/>
                  </a:cubicBezTo>
                  <a:cubicBezTo>
                    <a:pt x="59" y="45"/>
                    <a:pt x="59" y="45"/>
                    <a:pt x="59" y="45"/>
                  </a:cubicBezTo>
                  <a:cubicBezTo>
                    <a:pt x="59" y="45"/>
                    <a:pt x="59" y="45"/>
                    <a:pt x="59" y="45"/>
                  </a:cubicBezTo>
                  <a:cubicBezTo>
                    <a:pt x="59" y="46"/>
                    <a:pt x="58" y="46"/>
                    <a:pt x="58" y="46"/>
                  </a:cubicBezTo>
                  <a:cubicBezTo>
                    <a:pt x="57" y="46"/>
                    <a:pt x="57" y="46"/>
                    <a:pt x="57" y="46"/>
                  </a:cubicBezTo>
                  <a:cubicBezTo>
                    <a:pt x="57" y="46"/>
                    <a:pt x="56" y="47"/>
                    <a:pt x="56" y="47"/>
                  </a:cubicBezTo>
                  <a:cubicBezTo>
                    <a:pt x="56" y="47"/>
                    <a:pt x="56" y="47"/>
                    <a:pt x="55" y="47"/>
                  </a:cubicBezTo>
                  <a:cubicBezTo>
                    <a:pt x="55" y="47"/>
                    <a:pt x="55" y="47"/>
                    <a:pt x="54" y="47"/>
                  </a:cubicBezTo>
                  <a:cubicBezTo>
                    <a:pt x="54" y="47"/>
                    <a:pt x="54" y="48"/>
                    <a:pt x="54" y="48"/>
                  </a:cubicBezTo>
                  <a:cubicBezTo>
                    <a:pt x="54" y="47"/>
                    <a:pt x="54" y="47"/>
                    <a:pt x="54" y="47"/>
                  </a:cubicBezTo>
                  <a:cubicBezTo>
                    <a:pt x="54" y="47"/>
                    <a:pt x="55" y="47"/>
                    <a:pt x="55" y="46"/>
                  </a:cubicBezTo>
                  <a:cubicBezTo>
                    <a:pt x="56" y="46"/>
                    <a:pt x="56" y="46"/>
                    <a:pt x="56" y="46"/>
                  </a:cubicBezTo>
                  <a:cubicBezTo>
                    <a:pt x="56" y="45"/>
                    <a:pt x="56" y="45"/>
                    <a:pt x="57" y="44"/>
                  </a:cubicBezTo>
                  <a:cubicBezTo>
                    <a:pt x="58" y="44"/>
                    <a:pt x="58" y="43"/>
                    <a:pt x="58" y="43"/>
                  </a:cubicBezTo>
                  <a:cubicBezTo>
                    <a:pt x="59" y="43"/>
                    <a:pt x="59" y="43"/>
                    <a:pt x="60" y="43"/>
                  </a:cubicBezTo>
                  <a:cubicBezTo>
                    <a:pt x="60" y="43"/>
                    <a:pt x="60" y="42"/>
                    <a:pt x="61" y="42"/>
                  </a:cubicBezTo>
                  <a:cubicBezTo>
                    <a:pt x="62" y="42"/>
                    <a:pt x="62" y="42"/>
                    <a:pt x="62" y="42"/>
                  </a:cubicBezTo>
                  <a:cubicBezTo>
                    <a:pt x="62" y="42"/>
                    <a:pt x="62" y="43"/>
                    <a:pt x="62" y="43"/>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Freeform 59"/>
            <p:cNvSpPr>
              <a:spLocks/>
            </p:cNvSpPr>
            <p:nvPr/>
          </p:nvSpPr>
          <p:spPr bwMode="auto">
            <a:xfrm>
              <a:off x="5215459" y="3815057"/>
              <a:ext cx="20218" cy="6808"/>
            </a:xfrm>
            <a:custGeom>
              <a:avLst/>
              <a:gdLst>
                <a:gd name="T0" fmla="*/ 7 w 7"/>
                <a:gd name="T1" fmla="*/ 1 h 2"/>
                <a:gd name="T2" fmla="*/ 5 w 7"/>
                <a:gd name="T3" fmla="*/ 0 h 2"/>
                <a:gd name="T4" fmla="*/ 4 w 7"/>
                <a:gd name="T5" fmla="*/ 1 h 2"/>
                <a:gd name="T6" fmla="*/ 2 w 7"/>
                <a:gd name="T7" fmla="*/ 1 h 2"/>
                <a:gd name="T8" fmla="*/ 1 w 7"/>
                <a:gd name="T9" fmla="*/ 1 h 2"/>
                <a:gd name="T10" fmla="*/ 0 w 7"/>
                <a:gd name="T11" fmla="*/ 2 h 2"/>
                <a:gd name="T12" fmla="*/ 0 w 7"/>
                <a:gd name="T13" fmla="*/ 2 h 2"/>
                <a:gd name="T14" fmla="*/ 1 w 7"/>
                <a:gd name="T15" fmla="*/ 2 h 2"/>
                <a:gd name="T16" fmla="*/ 2 w 7"/>
                <a:gd name="T17" fmla="*/ 2 h 2"/>
                <a:gd name="T18" fmla="*/ 4 w 7"/>
                <a:gd name="T19" fmla="*/ 2 h 2"/>
                <a:gd name="T20" fmla="*/ 5 w 7"/>
                <a:gd name="T21" fmla="*/ 1 h 2"/>
                <a:gd name="T22" fmla="*/ 7 w 7"/>
                <a:gd name="T23" fmla="*/ 1 h 2"/>
                <a:gd name="T24" fmla="*/ 7 w 7"/>
                <a:gd name="T25"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2">
                  <a:moveTo>
                    <a:pt x="7" y="1"/>
                  </a:moveTo>
                  <a:cubicBezTo>
                    <a:pt x="7" y="0"/>
                    <a:pt x="6" y="0"/>
                    <a:pt x="5" y="0"/>
                  </a:cubicBezTo>
                  <a:cubicBezTo>
                    <a:pt x="5" y="0"/>
                    <a:pt x="4" y="1"/>
                    <a:pt x="4" y="1"/>
                  </a:cubicBezTo>
                  <a:cubicBezTo>
                    <a:pt x="4" y="0"/>
                    <a:pt x="3" y="1"/>
                    <a:pt x="2" y="1"/>
                  </a:cubicBezTo>
                  <a:cubicBezTo>
                    <a:pt x="2" y="0"/>
                    <a:pt x="1" y="1"/>
                    <a:pt x="1" y="1"/>
                  </a:cubicBezTo>
                  <a:cubicBezTo>
                    <a:pt x="0" y="1"/>
                    <a:pt x="0" y="2"/>
                    <a:pt x="0" y="2"/>
                  </a:cubicBezTo>
                  <a:cubicBezTo>
                    <a:pt x="0" y="2"/>
                    <a:pt x="0" y="2"/>
                    <a:pt x="0" y="2"/>
                  </a:cubicBezTo>
                  <a:cubicBezTo>
                    <a:pt x="1" y="1"/>
                    <a:pt x="1" y="2"/>
                    <a:pt x="1" y="2"/>
                  </a:cubicBezTo>
                  <a:cubicBezTo>
                    <a:pt x="2" y="2"/>
                    <a:pt x="2" y="2"/>
                    <a:pt x="2" y="2"/>
                  </a:cubicBezTo>
                  <a:cubicBezTo>
                    <a:pt x="3" y="2"/>
                    <a:pt x="3" y="2"/>
                    <a:pt x="4" y="2"/>
                  </a:cubicBezTo>
                  <a:cubicBezTo>
                    <a:pt x="4" y="1"/>
                    <a:pt x="5" y="1"/>
                    <a:pt x="5" y="1"/>
                  </a:cubicBezTo>
                  <a:cubicBezTo>
                    <a:pt x="7" y="1"/>
                    <a:pt x="7" y="1"/>
                    <a:pt x="7" y="1"/>
                  </a:cubicBezTo>
                  <a:cubicBezTo>
                    <a:pt x="7" y="1"/>
                    <a:pt x="7" y="1"/>
                    <a:pt x="7" y="1"/>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60"/>
            <p:cNvSpPr>
              <a:spLocks/>
            </p:cNvSpPr>
            <p:nvPr/>
          </p:nvSpPr>
          <p:spPr bwMode="auto">
            <a:xfrm>
              <a:off x="4919409" y="4061506"/>
              <a:ext cx="60654" cy="27232"/>
            </a:xfrm>
            <a:custGeom>
              <a:avLst/>
              <a:gdLst>
                <a:gd name="T0" fmla="*/ 1 w 21"/>
                <a:gd name="T1" fmla="*/ 3 h 10"/>
                <a:gd name="T2" fmla="*/ 2 w 21"/>
                <a:gd name="T3" fmla="*/ 5 h 10"/>
                <a:gd name="T4" fmla="*/ 2 w 21"/>
                <a:gd name="T5" fmla="*/ 6 h 10"/>
                <a:gd name="T6" fmla="*/ 3 w 21"/>
                <a:gd name="T7" fmla="*/ 6 h 10"/>
                <a:gd name="T8" fmla="*/ 6 w 21"/>
                <a:gd name="T9" fmla="*/ 4 h 10"/>
                <a:gd name="T10" fmla="*/ 8 w 21"/>
                <a:gd name="T11" fmla="*/ 5 h 10"/>
                <a:gd name="T12" fmla="*/ 10 w 21"/>
                <a:gd name="T13" fmla="*/ 7 h 10"/>
                <a:gd name="T14" fmla="*/ 10 w 21"/>
                <a:gd name="T15" fmla="*/ 7 h 10"/>
                <a:gd name="T16" fmla="*/ 11 w 21"/>
                <a:gd name="T17" fmla="*/ 8 h 10"/>
                <a:gd name="T18" fmla="*/ 12 w 21"/>
                <a:gd name="T19" fmla="*/ 10 h 10"/>
                <a:gd name="T20" fmla="*/ 12 w 21"/>
                <a:gd name="T21" fmla="*/ 10 h 10"/>
                <a:gd name="T22" fmla="*/ 13 w 21"/>
                <a:gd name="T23" fmla="*/ 10 h 10"/>
                <a:gd name="T24" fmla="*/ 18 w 21"/>
                <a:gd name="T25" fmla="*/ 9 h 10"/>
                <a:gd name="T26" fmla="*/ 19 w 21"/>
                <a:gd name="T27" fmla="*/ 8 h 10"/>
                <a:gd name="T28" fmla="*/ 19 w 21"/>
                <a:gd name="T29" fmla="*/ 6 h 10"/>
                <a:gd name="T30" fmla="*/ 20 w 21"/>
                <a:gd name="T31" fmla="*/ 5 h 10"/>
                <a:gd name="T32" fmla="*/ 21 w 21"/>
                <a:gd name="T33" fmla="*/ 5 h 10"/>
                <a:gd name="T34" fmla="*/ 21 w 21"/>
                <a:gd name="T35" fmla="*/ 5 h 10"/>
                <a:gd name="T36" fmla="*/ 20 w 21"/>
                <a:gd name="T37" fmla="*/ 5 h 10"/>
                <a:gd name="T38" fmla="*/ 19 w 21"/>
                <a:gd name="T39" fmla="*/ 4 h 10"/>
                <a:gd name="T40" fmla="*/ 17 w 21"/>
                <a:gd name="T41" fmla="*/ 2 h 10"/>
                <a:gd name="T42" fmla="*/ 17 w 21"/>
                <a:gd name="T43" fmla="*/ 2 h 10"/>
                <a:gd name="T44" fmla="*/ 16 w 21"/>
                <a:gd name="T45" fmla="*/ 3 h 10"/>
                <a:gd name="T46" fmla="*/ 16 w 21"/>
                <a:gd name="T47" fmla="*/ 4 h 10"/>
                <a:gd name="T48" fmla="*/ 15 w 21"/>
                <a:gd name="T49" fmla="*/ 4 h 10"/>
                <a:gd name="T50" fmla="*/ 13 w 21"/>
                <a:gd name="T51" fmla="*/ 5 h 10"/>
                <a:gd name="T52" fmla="*/ 11 w 21"/>
                <a:gd name="T53" fmla="*/ 4 h 10"/>
                <a:gd name="T54" fmla="*/ 8 w 21"/>
                <a:gd name="T55" fmla="*/ 3 h 10"/>
                <a:gd name="T56" fmla="*/ 6 w 21"/>
                <a:gd name="T57" fmla="*/ 1 h 10"/>
                <a:gd name="T58" fmla="*/ 5 w 21"/>
                <a:gd name="T59" fmla="*/ 0 h 10"/>
                <a:gd name="T60" fmla="*/ 3 w 21"/>
                <a:gd name="T61" fmla="*/ 0 h 10"/>
                <a:gd name="T62" fmla="*/ 0 w 21"/>
                <a:gd name="T63" fmla="*/ 1 h 10"/>
                <a:gd name="T64" fmla="*/ 0 w 21"/>
                <a:gd name="T65" fmla="*/ 4 h 10"/>
                <a:gd name="T66" fmla="*/ 1 w 21"/>
                <a:gd name="T67"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 h="10">
                  <a:moveTo>
                    <a:pt x="1" y="3"/>
                  </a:moveTo>
                  <a:cubicBezTo>
                    <a:pt x="2" y="5"/>
                    <a:pt x="2" y="5"/>
                    <a:pt x="2" y="5"/>
                  </a:cubicBezTo>
                  <a:cubicBezTo>
                    <a:pt x="2" y="5"/>
                    <a:pt x="2" y="6"/>
                    <a:pt x="2" y="6"/>
                  </a:cubicBezTo>
                  <a:cubicBezTo>
                    <a:pt x="3" y="6"/>
                    <a:pt x="3" y="6"/>
                    <a:pt x="3" y="6"/>
                  </a:cubicBezTo>
                  <a:cubicBezTo>
                    <a:pt x="3" y="5"/>
                    <a:pt x="5" y="4"/>
                    <a:pt x="6" y="4"/>
                  </a:cubicBezTo>
                  <a:cubicBezTo>
                    <a:pt x="7" y="4"/>
                    <a:pt x="7" y="5"/>
                    <a:pt x="8" y="5"/>
                  </a:cubicBezTo>
                  <a:cubicBezTo>
                    <a:pt x="9" y="5"/>
                    <a:pt x="9" y="6"/>
                    <a:pt x="10" y="7"/>
                  </a:cubicBezTo>
                  <a:cubicBezTo>
                    <a:pt x="10" y="7"/>
                    <a:pt x="10" y="7"/>
                    <a:pt x="10" y="7"/>
                  </a:cubicBezTo>
                  <a:cubicBezTo>
                    <a:pt x="11" y="8"/>
                    <a:pt x="11" y="8"/>
                    <a:pt x="11" y="8"/>
                  </a:cubicBezTo>
                  <a:cubicBezTo>
                    <a:pt x="12" y="10"/>
                    <a:pt x="12" y="10"/>
                    <a:pt x="12" y="10"/>
                  </a:cubicBezTo>
                  <a:cubicBezTo>
                    <a:pt x="12" y="10"/>
                    <a:pt x="12" y="10"/>
                    <a:pt x="12" y="10"/>
                  </a:cubicBezTo>
                  <a:cubicBezTo>
                    <a:pt x="13" y="10"/>
                    <a:pt x="13" y="10"/>
                    <a:pt x="13" y="10"/>
                  </a:cubicBezTo>
                  <a:cubicBezTo>
                    <a:pt x="14" y="10"/>
                    <a:pt x="15" y="10"/>
                    <a:pt x="18" y="9"/>
                  </a:cubicBezTo>
                  <a:cubicBezTo>
                    <a:pt x="18" y="9"/>
                    <a:pt x="18" y="8"/>
                    <a:pt x="19" y="8"/>
                  </a:cubicBezTo>
                  <a:cubicBezTo>
                    <a:pt x="19" y="7"/>
                    <a:pt x="19" y="7"/>
                    <a:pt x="19" y="6"/>
                  </a:cubicBezTo>
                  <a:cubicBezTo>
                    <a:pt x="20" y="5"/>
                    <a:pt x="20" y="5"/>
                    <a:pt x="20" y="5"/>
                  </a:cubicBezTo>
                  <a:cubicBezTo>
                    <a:pt x="21" y="5"/>
                    <a:pt x="21" y="5"/>
                    <a:pt x="21" y="5"/>
                  </a:cubicBezTo>
                  <a:cubicBezTo>
                    <a:pt x="21" y="5"/>
                    <a:pt x="21" y="5"/>
                    <a:pt x="21" y="5"/>
                  </a:cubicBezTo>
                  <a:cubicBezTo>
                    <a:pt x="21" y="5"/>
                    <a:pt x="20" y="5"/>
                    <a:pt x="20" y="5"/>
                  </a:cubicBezTo>
                  <a:cubicBezTo>
                    <a:pt x="19" y="4"/>
                    <a:pt x="19" y="4"/>
                    <a:pt x="19" y="4"/>
                  </a:cubicBezTo>
                  <a:cubicBezTo>
                    <a:pt x="19" y="4"/>
                    <a:pt x="17" y="3"/>
                    <a:pt x="17" y="2"/>
                  </a:cubicBezTo>
                  <a:cubicBezTo>
                    <a:pt x="17" y="2"/>
                    <a:pt x="17" y="2"/>
                    <a:pt x="17" y="2"/>
                  </a:cubicBezTo>
                  <a:cubicBezTo>
                    <a:pt x="17" y="2"/>
                    <a:pt x="16" y="3"/>
                    <a:pt x="16" y="3"/>
                  </a:cubicBezTo>
                  <a:cubicBezTo>
                    <a:pt x="16" y="4"/>
                    <a:pt x="16" y="4"/>
                    <a:pt x="16" y="4"/>
                  </a:cubicBezTo>
                  <a:cubicBezTo>
                    <a:pt x="16" y="4"/>
                    <a:pt x="15" y="4"/>
                    <a:pt x="15" y="4"/>
                  </a:cubicBezTo>
                  <a:cubicBezTo>
                    <a:pt x="14" y="5"/>
                    <a:pt x="13" y="5"/>
                    <a:pt x="13" y="5"/>
                  </a:cubicBezTo>
                  <a:cubicBezTo>
                    <a:pt x="13" y="5"/>
                    <a:pt x="11" y="4"/>
                    <a:pt x="11" y="4"/>
                  </a:cubicBezTo>
                  <a:cubicBezTo>
                    <a:pt x="10" y="3"/>
                    <a:pt x="9" y="3"/>
                    <a:pt x="8" y="3"/>
                  </a:cubicBezTo>
                  <a:cubicBezTo>
                    <a:pt x="8" y="3"/>
                    <a:pt x="6" y="2"/>
                    <a:pt x="6" y="1"/>
                  </a:cubicBezTo>
                  <a:cubicBezTo>
                    <a:pt x="5" y="1"/>
                    <a:pt x="5" y="0"/>
                    <a:pt x="5" y="0"/>
                  </a:cubicBezTo>
                  <a:cubicBezTo>
                    <a:pt x="5" y="0"/>
                    <a:pt x="3" y="0"/>
                    <a:pt x="3" y="0"/>
                  </a:cubicBezTo>
                  <a:cubicBezTo>
                    <a:pt x="3" y="0"/>
                    <a:pt x="0" y="1"/>
                    <a:pt x="0" y="1"/>
                  </a:cubicBezTo>
                  <a:cubicBezTo>
                    <a:pt x="0" y="4"/>
                    <a:pt x="0" y="4"/>
                    <a:pt x="0" y="4"/>
                  </a:cubicBezTo>
                  <a:lnTo>
                    <a:pt x="1" y="3"/>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61"/>
            <p:cNvSpPr>
              <a:spLocks/>
            </p:cNvSpPr>
            <p:nvPr/>
          </p:nvSpPr>
          <p:spPr bwMode="auto">
            <a:xfrm>
              <a:off x="5034941" y="3868159"/>
              <a:ext cx="17330" cy="21786"/>
            </a:xfrm>
            <a:custGeom>
              <a:avLst/>
              <a:gdLst>
                <a:gd name="T0" fmla="*/ 2 w 6"/>
                <a:gd name="T1" fmla="*/ 8 h 8"/>
                <a:gd name="T2" fmla="*/ 2 w 6"/>
                <a:gd name="T3" fmla="*/ 8 h 8"/>
                <a:gd name="T4" fmla="*/ 4 w 6"/>
                <a:gd name="T5" fmla="*/ 7 h 8"/>
                <a:gd name="T6" fmla="*/ 5 w 6"/>
                <a:gd name="T7" fmla="*/ 5 h 8"/>
                <a:gd name="T8" fmla="*/ 6 w 6"/>
                <a:gd name="T9" fmla="*/ 3 h 8"/>
                <a:gd name="T10" fmla="*/ 5 w 6"/>
                <a:gd name="T11" fmla="*/ 1 h 8"/>
                <a:gd name="T12" fmla="*/ 4 w 6"/>
                <a:gd name="T13" fmla="*/ 0 h 8"/>
                <a:gd name="T14" fmla="*/ 3 w 6"/>
                <a:gd name="T15" fmla="*/ 2 h 8"/>
                <a:gd name="T16" fmla="*/ 2 w 6"/>
                <a:gd name="T17" fmla="*/ 3 h 8"/>
                <a:gd name="T18" fmla="*/ 1 w 6"/>
                <a:gd name="T19" fmla="*/ 5 h 8"/>
                <a:gd name="T20" fmla="*/ 0 w 6"/>
                <a:gd name="T21" fmla="*/ 7 h 8"/>
                <a:gd name="T22" fmla="*/ 2 w 6"/>
                <a:gd name="T2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8">
                  <a:moveTo>
                    <a:pt x="2" y="8"/>
                  </a:moveTo>
                  <a:cubicBezTo>
                    <a:pt x="2" y="8"/>
                    <a:pt x="2" y="8"/>
                    <a:pt x="2" y="8"/>
                  </a:cubicBezTo>
                  <a:cubicBezTo>
                    <a:pt x="4" y="7"/>
                    <a:pt x="4" y="7"/>
                    <a:pt x="4" y="7"/>
                  </a:cubicBezTo>
                  <a:cubicBezTo>
                    <a:pt x="4" y="7"/>
                    <a:pt x="5" y="5"/>
                    <a:pt x="5" y="5"/>
                  </a:cubicBezTo>
                  <a:cubicBezTo>
                    <a:pt x="6" y="5"/>
                    <a:pt x="6" y="3"/>
                    <a:pt x="6" y="3"/>
                  </a:cubicBezTo>
                  <a:cubicBezTo>
                    <a:pt x="5" y="1"/>
                    <a:pt x="5" y="1"/>
                    <a:pt x="5" y="1"/>
                  </a:cubicBezTo>
                  <a:cubicBezTo>
                    <a:pt x="4" y="0"/>
                    <a:pt x="4" y="0"/>
                    <a:pt x="4" y="0"/>
                  </a:cubicBezTo>
                  <a:cubicBezTo>
                    <a:pt x="4" y="0"/>
                    <a:pt x="4" y="2"/>
                    <a:pt x="3" y="2"/>
                  </a:cubicBezTo>
                  <a:cubicBezTo>
                    <a:pt x="3" y="2"/>
                    <a:pt x="3" y="3"/>
                    <a:pt x="2" y="3"/>
                  </a:cubicBezTo>
                  <a:cubicBezTo>
                    <a:pt x="1" y="4"/>
                    <a:pt x="1" y="5"/>
                    <a:pt x="1" y="5"/>
                  </a:cubicBezTo>
                  <a:cubicBezTo>
                    <a:pt x="1" y="6"/>
                    <a:pt x="0" y="7"/>
                    <a:pt x="0" y="7"/>
                  </a:cubicBezTo>
                  <a:cubicBezTo>
                    <a:pt x="0" y="8"/>
                    <a:pt x="1" y="8"/>
                    <a:pt x="2" y="8"/>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reeform 62"/>
            <p:cNvSpPr>
              <a:spLocks/>
            </p:cNvSpPr>
            <p:nvPr/>
          </p:nvSpPr>
          <p:spPr bwMode="auto">
            <a:xfrm>
              <a:off x="4962733" y="4015212"/>
              <a:ext cx="37548" cy="27232"/>
            </a:xfrm>
            <a:custGeom>
              <a:avLst/>
              <a:gdLst>
                <a:gd name="T0" fmla="*/ 2 w 13"/>
                <a:gd name="T1" fmla="*/ 3 h 10"/>
                <a:gd name="T2" fmla="*/ 2 w 13"/>
                <a:gd name="T3" fmla="*/ 3 h 10"/>
                <a:gd name="T4" fmla="*/ 3 w 13"/>
                <a:gd name="T5" fmla="*/ 2 h 10"/>
                <a:gd name="T6" fmla="*/ 4 w 13"/>
                <a:gd name="T7" fmla="*/ 3 h 10"/>
                <a:gd name="T8" fmla="*/ 4 w 13"/>
                <a:gd name="T9" fmla="*/ 4 h 10"/>
                <a:gd name="T10" fmla="*/ 5 w 13"/>
                <a:gd name="T11" fmla="*/ 5 h 10"/>
                <a:gd name="T12" fmla="*/ 5 w 13"/>
                <a:gd name="T13" fmla="*/ 6 h 10"/>
                <a:gd name="T14" fmla="*/ 5 w 13"/>
                <a:gd name="T15" fmla="*/ 7 h 10"/>
                <a:gd name="T16" fmla="*/ 6 w 13"/>
                <a:gd name="T17" fmla="*/ 7 h 10"/>
                <a:gd name="T18" fmla="*/ 8 w 13"/>
                <a:gd name="T19" fmla="*/ 8 h 10"/>
                <a:gd name="T20" fmla="*/ 9 w 13"/>
                <a:gd name="T21" fmla="*/ 9 h 10"/>
                <a:gd name="T22" fmla="*/ 10 w 13"/>
                <a:gd name="T23" fmla="*/ 10 h 10"/>
                <a:gd name="T24" fmla="*/ 11 w 13"/>
                <a:gd name="T25" fmla="*/ 10 h 10"/>
                <a:gd name="T26" fmla="*/ 12 w 13"/>
                <a:gd name="T27" fmla="*/ 10 h 10"/>
                <a:gd name="T28" fmla="*/ 13 w 13"/>
                <a:gd name="T29" fmla="*/ 9 h 10"/>
                <a:gd name="T30" fmla="*/ 12 w 13"/>
                <a:gd name="T31" fmla="*/ 8 h 10"/>
                <a:gd name="T32" fmla="*/ 11 w 13"/>
                <a:gd name="T33" fmla="*/ 7 h 10"/>
                <a:gd name="T34" fmla="*/ 11 w 13"/>
                <a:gd name="T35" fmla="*/ 6 h 10"/>
                <a:gd name="T36" fmla="*/ 10 w 13"/>
                <a:gd name="T37" fmla="*/ 6 h 10"/>
                <a:gd name="T38" fmla="*/ 9 w 13"/>
                <a:gd name="T39" fmla="*/ 5 h 10"/>
                <a:gd name="T40" fmla="*/ 8 w 13"/>
                <a:gd name="T41" fmla="*/ 4 h 10"/>
                <a:gd name="T42" fmla="*/ 7 w 13"/>
                <a:gd name="T43" fmla="*/ 3 h 10"/>
                <a:gd name="T44" fmla="*/ 6 w 13"/>
                <a:gd name="T45" fmla="*/ 3 h 10"/>
                <a:gd name="T46" fmla="*/ 4 w 13"/>
                <a:gd name="T47" fmla="*/ 1 h 10"/>
                <a:gd name="T48" fmla="*/ 4 w 13"/>
                <a:gd name="T49" fmla="*/ 0 h 10"/>
                <a:gd name="T50" fmla="*/ 2 w 13"/>
                <a:gd name="T51" fmla="*/ 1 h 10"/>
                <a:gd name="T52" fmla="*/ 1 w 13"/>
                <a:gd name="T53" fmla="*/ 1 h 10"/>
                <a:gd name="T54" fmla="*/ 0 w 13"/>
                <a:gd name="T55" fmla="*/ 2 h 10"/>
                <a:gd name="T56" fmla="*/ 1 w 13"/>
                <a:gd name="T57" fmla="*/ 3 h 10"/>
                <a:gd name="T58" fmla="*/ 2 w 13"/>
                <a:gd name="T59"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0">
                  <a:moveTo>
                    <a:pt x="2" y="3"/>
                  </a:moveTo>
                  <a:cubicBezTo>
                    <a:pt x="2" y="3"/>
                    <a:pt x="2" y="3"/>
                    <a:pt x="2" y="3"/>
                  </a:cubicBezTo>
                  <a:cubicBezTo>
                    <a:pt x="2" y="3"/>
                    <a:pt x="3" y="2"/>
                    <a:pt x="3" y="2"/>
                  </a:cubicBezTo>
                  <a:cubicBezTo>
                    <a:pt x="3" y="2"/>
                    <a:pt x="4" y="3"/>
                    <a:pt x="4" y="3"/>
                  </a:cubicBezTo>
                  <a:cubicBezTo>
                    <a:pt x="4" y="3"/>
                    <a:pt x="4" y="4"/>
                    <a:pt x="4" y="4"/>
                  </a:cubicBezTo>
                  <a:cubicBezTo>
                    <a:pt x="5" y="5"/>
                    <a:pt x="5" y="5"/>
                    <a:pt x="5" y="5"/>
                  </a:cubicBezTo>
                  <a:cubicBezTo>
                    <a:pt x="5" y="5"/>
                    <a:pt x="5" y="6"/>
                    <a:pt x="5" y="6"/>
                  </a:cubicBezTo>
                  <a:cubicBezTo>
                    <a:pt x="5" y="7"/>
                    <a:pt x="5" y="7"/>
                    <a:pt x="5" y="7"/>
                  </a:cubicBezTo>
                  <a:cubicBezTo>
                    <a:pt x="5" y="7"/>
                    <a:pt x="6" y="7"/>
                    <a:pt x="6" y="7"/>
                  </a:cubicBezTo>
                  <a:cubicBezTo>
                    <a:pt x="6" y="7"/>
                    <a:pt x="7" y="8"/>
                    <a:pt x="8" y="8"/>
                  </a:cubicBezTo>
                  <a:cubicBezTo>
                    <a:pt x="9" y="9"/>
                    <a:pt x="8" y="9"/>
                    <a:pt x="9" y="9"/>
                  </a:cubicBezTo>
                  <a:cubicBezTo>
                    <a:pt x="9" y="9"/>
                    <a:pt x="9" y="9"/>
                    <a:pt x="10" y="10"/>
                  </a:cubicBezTo>
                  <a:cubicBezTo>
                    <a:pt x="11" y="10"/>
                    <a:pt x="11" y="10"/>
                    <a:pt x="11" y="10"/>
                  </a:cubicBezTo>
                  <a:cubicBezTo>
                    <a:pt x="12" y="10"/>
                    <a:pt x="12" y="10"/>
                    <a:pt x="12" y="10"/>
                  </a:cubicBezTo>
                  <a:cubicBezTo>
                    <a:pt x="12" y="10"/>
                    <a:pt x="12" y="9"/>
                    <a:pt x="13" y="9"/>
                  </a:cubicBezTo>
                  <a:cubicBezTo>
                    <a:pt x="13" y="9"/>
                    <a:pt x="12" y="8"/>
                    <a:pt x="12" y="8"/>
                  </a:cubicBezTo>
                  <a:cubicBezTo>
                    <a:pt x="12" y="8"/>
                    <a:pt x="11" y="8"/>
                    <a:pt x="11" y="7"/>
                  </a:cubicBezTo>
                  <a:cubicBezTo>
                    <a:pt x="11" y="7"/>
                    <a:pt x="11" y="7"/>
                    <a:pt x="11" y="6"/>
                  </a:cubicBezTo>
                  <a:cubicBezTo>
                    <a:pt x="10" y="6"/>
                    <a:pt x="10" y="6"/>
                    <a:pt x="10" y="6"/>
                  </a:cubicBezTo>
                  <a:cubicBezTo>
                    <a:pt x="9" y="5"/>
                    <a:pt x="9" y="5"/>
                    <a:pt x="9" y="5"/>
                  </a:cubicBezTo>
                  <a:cubicBezTo>
                    <a:pt x="8" y="5"/>
                    <a:pt x="8" y="4"/>
                    <a:pt x="8" y="4"/>
                  </a:cubicBezTo>
                  <a:cubicBezTo>
                    <a:pt x="8" y="4"/>
                    <a:pt x="7" y="3"/>
                    <a:pt x="7" y="3"/>
                  </a:cubicBezTo>
                  <a:cubicBezTo>
                    <a:pt x="6" y="3"/>
                    <a:pt x="6" y="3"/>
                    <a:pt x="6" y="3"/>
                  </a:cubicBezTo>
                  <a:cubicBezTo>
                    <a:pt x="6" y="3"/>
                    <a:pt x="5" y="2"/>
                    <a:pt x="4" y="1"/>
                  </a:cubicBezTo>
                  <a:cubicBezTo>
                    <a:pt x="4" y="1"/>
                    <a:pt x="4" y="0"/>
                    <a:pt x="4" y="0"/>
                  </a:cubicBezTo>
                  <a:cubicBezTo>
                    <a:pt x="4" y="0"/>
                    <a:pt x="3" y="1"/>
                    <a:pt x="2" y="1"/>
                  </a:cubicBezTo>
                  <a:cubicBezTo>
                    <a:pt x="2" y="1"/>
                    <a:pt x="1" y="1"/>
                    <a:pt x="1" y="1"/>
                  </a:cubicBezTo>
                  <a:cubicBezTo>
                    <a:pt x="0" y="1"/>
                    <a:pt x="0" y="2"/>
                    <a:pt x="0" y="2"/>
                  </a:cubicBezTo>
                  <a:cubicBezTo>
                    <a:pt x="0" y="2"/>
                    <a:pt x="0" y="3"/>
                    <a:pt x="1" y="3"/>
                  </a:cubicBezTo>
                  <a:cubicBezTo>
                    <a:pt x="1" y="4"/>
                    <a:pt x="2" y="3"/>
                    <a:pt x="2" y="3"/>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63"/>
            <p:cNvSpPr>
              <a:spLocks/>
            </p:cNvSpPr>
            <p:nvPr/>
          </p:nvSpPr>
          <p:spPr bwMode="auto">
            <a:xfrm>
              <a:off x="5049382" y="3857267"/>
              <a:ext cx="17330" cy="10893"/>
            </a:xfrm>
            <a:custGeom>
              <a:avLst/>
              <a:gdLst>
                <a:gd name="T0" fmla="*/ 1 w 6"/>
                <a:gd name="T1" fmla="*/ 4 h 4"/>
                <a:gd name="T2" fmla="*/ 2 w 6"/>
                <a:gd name="T3" fmla="*/ 3 h 4"/>
                <a:gd name="T4" fmla="*/ 2 w 6"/>
                <a:gd name="T5" fmla="*/ 2 h 4"/>
                <a:gd name="T6" fmla="*/ 4 w 6"/>
                <a:gd name="T7" fmla="*/ 1 h 4"/>
                <a:gd name="T8" fmla="*/ 6 w 6"/>
                <a:gd name="T9" fmla="*/ 0 h 4"/>
                <a:gd name="T10" fmla="*/ 5 w 6"/>
                <a:gd name="T11" fmla="*/ 0 h 4"/>
                <a:gd name="T12" fmla="*/ 3 w 6"/>
                <a:gd name="T13" fmla="*/ 0 h 4"/>
                <a:gd name="T14" fmla="*/ 2 w 6"/>
                <a:gd name="T15" fmla="*/ 1 h 4"/>
                <a:gd name="T16" fmla="*/ 0 w 6"/>
                <a:gd name="T17" fmla="*/ 3 h 4"/>
                <a:gd name="T18" fmla="*/ 0 w 6"/>
                <a:gd name="T19" fmla="*/ 3 h 4"/>
                <a:gd name="T20" fmla="*/ 1 w 6"/>
                <a:gd name="T2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1" y="4"/>
                  </a:moveTo>
                  <a:cubicBezTo>
                    <a:pt x="1" y="4"/>
                    <a:pt x="1" y="3"/>
                    <a:pt x="2" y="3"/>
                  </a:cubicBezTo>
                  <a:cubicBezTo>
                    <a:pt x="2" y="2"/>
                    <a:pt x="2" y="2"/>
                    <a:pt x="2" y="2"/>
                  </a:cubicBezTo>
                  <a:cubicBezTo>
                    <a:pt x="2" y="2"/>
                    <a:pt x="3" y="1"/>
                    <a:pt x="4" y="1"/>
                  </a:cubicBezTo>
                  <a:cubicBezTo>
                    <a:pt x="4" y="1"/>
                    <a:pt x="6" y="0"/>
                    <a:pt x="6" y="0"/>
                  </a:cubicBezTo>
                  <a:cubicBezTo>
                    <a:pt x="5" y="0"/>
                    <a:pt x="5" y="0"/>
                    <a:pt x="5" y="0"/>
                  </a:cubicBezTo>
                  <a:cubicBezTo>
                    <a:pt x="5" y="0"/>
                    <a:pt x="4" y="0"/>
                    <a:pt x="3" y="0"/>
                  </a:cubicBezTo>
                  <a:cubicBezTo>
                    <a:pt x="3" y="0"/>
                    <a:pt x="2" y="1"/>
                    <a:pt x="2" y="1"/>
                  </a:cubicBezTo>
                  <a:cubicBezTo>
                    <a:pt x="2" y="1"/>
                    <a:pt x="0" y="3"/>
                    <a:pt x="0" y="3"/>
                  </a:cubicBezTo>
                  <a:cubicBezTo>
                    <a:pt x="0" y="3"/>
                    <a:pt x="0" y="3"/>
                    <a:pt x="0" y="3"/>
                  </a:cubicBezTo>
                  <a:lnTo>
                    <a:pt x="1" y="4"/>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Freeform 64"/>
            <p:cNvSpPr>
              <a:spLocks/>
            </p:cNvSpPr>
            <p:nvPr/>
          </p:nvSpPr>
          <p:spPr bwMode="auto">
            <a:xfrm>
              <a:off x="5154805" y="4600699"/>
              <a:ext cx="1135099" cy="1072940"/>
            </a:xfrm>
            <a:custGeom>
              <a:avLst/>
              <a:gdLst>
                <a:gd name="T0" fmla="*/ 322 w 392"/>
                <a:gd name="T1" fmla="*/ 246 h 393"/>
                <a:gd name="T2" fmla="*/ 306 w 392"/>
                <a:gd name="T3" fmla="*/ 223 h 393"/>
                <a:gd name="T4" fmla="*/ 250 w 392"/>
                <a:gd name="T5" fmla="*/ 204 h 393"/>
                <a:gd name="T6" fmla="*/ 217 w 392"/>
                <a:gd name="T7" fmla="*/ 150 h 393"/>
                <a:gd name="T8" fmla="*/ 176 w 392"/>
                <a:gd name="T9" fmla="*/ 96 h 393"/>
                <a:gd name="T10" fmla="*/ 178 w 392"/>
                <a:gd name="T11" fmla="*/ 71 h 393"/>
                <a:gd name="T12" fmla="*/ 204 w 392"/>
                <a:gd name="T13" fmla="*/ 61 h 393"/>
                <a:gd name="T14" fmla="*/ 211 w 392"/>
                <a:gd name="T15" fmla="*/ 49 h 393"/>
                <a:gd name="T16" fmla="*/ 206 w 392"/>
                <a:gd name="T17" fmla="*/ 46 h 393"/>
                <a:gd name="T18" fmla="*/ 209 w 392"/>
                <a:gd name="T19" fmla="*/ 39 h 393"/>
                <a:gd name="T20" fmla="*/ 204 w 392"/>
                <a:gd name="T21" fmla="*/ 31 h 393"/>
                <a:gd name="T22" fmla="*/ 206 w 392"/>
                <a:gd name="T23" fmla="*/ 23 h 393"/>
                <a:gd name="T24" fmla="*/ 167 w 392"/>
                <a:gd name="T25" fmla="*/ 13 h 393"/>
                <a:gd name="T26" fmla="*/ 152 w 392"/>
                <a:gd name="T27" fmla="*/ 3 h 393"/>
                <a:gd name="T28" fmla="*/ 128 w 392"/>
                <a:gd name="T29" fmla="*/ 15 h 393"/>
                <a:gd name="T30" fmla="*/ 113 w 392"/>
                <a:gd name="T31" fmla="*/ 14 h 393"/>
                <a:gd name="T32" fmla="*/ 115 w 392"/>
                <a:gd name="T33" fmla="*/ 22 h 393"/>
                <a:gd name="T34" fmla="*/ 108 w 392"/>
                <a:gd name="T35" fmla="*/ 23 h 393"/>
                <a:gd name="T36" fmla="*/ 102 w 392"/>
                <a:gd name="T37" fmla="*/ 25 h 393"/>
                <a:gd name="T38" fmla="*/ 105 w 392"/>
                <a:gd name="T39" fmla="*/ 31 h 393"/>
                <a:gd name="T40" fmla="*/ 104 w 392"/>
                <a:gd name="T41" fmla="*/ 39 h 393"/>
                <a:gd name="T42" fmla="*/ 99 w 392"/>
                <a:gd name="T43" fmla="*/ 33 h 393"/>
                <a:gd name="T44" fmla="*/ 92 w 392"/>
                <a:gd name="T45" fmla="*/ 36 h 393"/>
                <a:gd name="T46" fmla="*/ 84 w 392"/>
                <a:gd name="T47" fmla="*/ 28 h 393"/>
                <a:gd name="T48" fmla="*/ 78 w 392"/>
                <a:gd name="T49" fmla="*/ 30 h 393"/>
                <a:gd name="T50" fmla="*/ 77 w 392"/>
                <a:gd name="T51" fmla="*/ 40 h 393"/>
                <a:gd name="T52" fmla="*/ 71 w 392"/>
                <a:gd name="T53" fmla="*/ 48 h 393"/>
                <a:gd name="T54" fmla="*/ 72 w 392"/>
                <a:gd name="T55" fmla="*/ 57 h 393"/>
                <a:gd name="T56" fmla="*/ 67 w 392"/>
                <a:gd name="T57" fmla="*/ 52 h 393"/>
                <a:gd name="T58" fmla="*/ 64 w 392"/>
                <a:gd name="T59" fmla="*/ 46 h 393"/>
                <a:gd name="T60" fmla="*/ 55 w 392"/>
                <a:gd name="T61" fmla="*/ 41 h 393"/>
                <a:gd name="T62" fmla="*/ 52 w 392"/>
                <a:gd name="T63" fmla="*/ 33 h 393"/>
                <a:gd name="T64" fmla="*/ 43 w 392"/>
                <a:gd name="T65" fmla="*/ 37 h 393"/>
                <a:gd name="T66" fmla="*/ 41 w 392"/>
                <a:gd name="T67" fmla="*/ 45 h 393"/>
                <a:gd name="T68" fmla="*/ 35 w 392"/>
                <a:gd name="T69" fmla="*/ 52 h 393"/>
                <a:gd name="T70" fmla="*/ 27 w 392"/>
                <a:gd name="T71" fmla="*/ 51 h 393"/>
                <a:gd name="T72" fmla="*/ 16 w 392"/>
                <a:gd name="T73" fmla="*/ 54 h 393"/>
                <a:gd name="T74" fmla="*/ 4 w 392"/>
                <a:gd name="T75" fmla="*/ 59 h 393"/>
                <a:gd name="T76" fmla="*/ 9 w 392"/>
                <a:gd name="T77" fmla="*/ 87 h 393"/>
                <a:gd name="T78" fmla="*/ 10 w 392"/>
                <a:gd name="T79" fmla="*/ 109 h 393"/>
                <a:gd name="T80" fmla="*/ 26 w 392"/>
                <a:gd name="T81" fmla="*/ 127 h 393"/>
                <a:gd name="T82" fmla="*/ 37 w 392"/>
                <a:gd name="T83" fmla="*/ 141 h 393"/>
                <a:gd name="T84" fmla="*/ 86 w 392"/>
                <a:gd name="T85" fmla="*/ 130 h 393"/>
                <a:gd name="T86" fmla="*/ 110 w 392"/>
                <a:gd name="T87" fmla="*/ 153 h 393"/>
                <a:gd name="T88" fmla="*/ 125 w 392"/>
                <a:gd name="T89" fmla="*/ 187 h 393"/>
                <a:gd name="T90" fmla="*/ 147 w 392"/>
                <a:gd name="T91" fmla="*/ 206 h 393"/>
                <a:gd name="T92" fmla="*/ 181 w 392"/>
                <a:gd name="T93" fmla="*/ 239 h 393"/>
                <a:gd name="T94" fmla="*/ 203 w 392"/>
                <a:gd name="T95" fmla="*/ 253 h 393"/>
                <a:gd name="T96" fmla="*/ 229 w 392"/>
                <a:gd name="T97" fmla="*/ 255 h 393"/>
                <a:gd name="T98" fmla="*/ 257 w 392"/>
                <a:gd name="T99" fmla="*/ 280 h 393"/>
                <a:gd name="T100" fmla="*/ 271 w 392"/>
                <a:gd name="T101" fmla="*/ 292 h 393"/>
                <a:gd name="T102" fmla="*/ 297 w 392"/>
                <a:gd name="T103" fmla="*/ 301 h 393"/>
                <a:gd name="T104" fmla="*/ 317 w 392"/>
                <a:gd name="T105" fmla="*/ 344 h 393"/>
                <a:gd name="T106" fmla="*/ 311 w 392"/>
                <a:gd name="T107" fmla="*/ 367 h 393"/>
                <a:gd name="T108" fmla="*/ 314 w 392"/>
                <a:gd name="T109" fmla="*/ 393 h 393"/>
                <a:gd name="T110" fmla="*/ 334 w 392"/>
                <a:gd name="T111" fmla="*/ 357 h 393"/>
                <a:gd name="T112" fmla="*/ 349 w 392"/>
                <a:gd name="T113" fmla="*/ 326 h 393"/>
                <a:gd name="T114" fmla="*/ 329 w 392"/>
                <a:gd name="T115" fmla="*/ 298 h 393"/>
                <a:gd name="T116" fmla="*/ 354 w 392"/>
                <a:gd name="T117" fmla="*/ 282 h 393"/>
                <a:gd name="T118" fmla="*/ 388 w 392"/>
                <a:gd name="T119" fmla="*/ 301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2" h="393">
                  <a:moveTo>
                    <a:pt x="390" y="282"/>
                  </a:moveTo>
                  <a:cubicBezTo>
                    <a:pt x="384" y="276"/>
                    <a:pt x="384" y="276"/>
                    <a:pt x="384" y="276"/>
                  </a:cubicBezTo>
                  <a:cubicBezTo>
                    <a:pt x="379" y="272"/>
                    <a:pt x="379" y="272"/>
                    <a:pt x="379" y="272"/>
                  </a:cubicBezTo>
                  <a:cubicBezTo>
                    <a:pt x="365" y="263"/>
                    <a:pt x="365" y="263"/>
                    <a:pt x="365" y="263"/>
                  </a:cubicBezTo>
                  <a:cubicBezTo>
                    <a:pt x="346" y="257"/>
                    <a:pt x="346" y="257"/>
                    <a:pt x="346" y="257"/>
                  </a:cubicBezTo>
                  <a:cubicBezTo>
                    <a:pt x="333" y="249"/>
                    <a:pt x="333" y="249"/>
                    <a:pt x="333" y="249"/>
                  </a:cubicBezTo>
                  <a:cubicBezTo>
                    <a:pt x="322" y="246"/>
                    <a:pt x="322" y="246"/>
                    <a:pt x="322" y="246"/>
                  </a:cubicBezTo>
                  <a:cubicBezTo>
                    <a:pt x="322" y="246"/>
                    <a:pt x="311" y="241"/>
                    <a:pt x="310" y="241"/>
                  </a:cubicBezTo>
                  <a:cubicBezTo>
                    <a:pt x="310" y="241"/>
                    <a:pt x="307" y="240"/>
                    <a:pt x="307" y="240"/>
                  </a:cubicBezTo>
                  <a:cubicBezTo>
                    <a:pt x="307" y="240"/>
                    <a:pt x="301" y="238"/>
                    <a:pt x="300" y="237"/>
                  </a:cubicBezTo>
                  <a:cubicBezTo>
                    <a:pt x="300" y="237"/>
                    <a:pt x="299" y="234"/>
                    <a:pt x="299" y="233"/>
                  </a:cubicBezTo>
                  <a:cubicBezTo>
                    <a:pt x="299" y="233"/>
                    <a:pt x="299" y="230"/>
                    <a:pt x="299" y="230"/>
                  </a:cubicBezTo>
                  <a:cubicBezTo>
                    <a:pt x="303" y="227"/>
                    <a:pt x="303" y="227"/>
                    <a:pt x="303" y="227"/>
                  </a:cubicBezTo>
                  <a:cubicBezTo>
                    <a:pt x="303" y="227"/>
                    <a:pt x="306" y="224"/>
                    <a:pt x="306" y="223"/>
                  </a:cubicBezTo>
                  <a:cubicBezTo>
                    <a:pt x="306" y="222"/>
                    <a:pt x="306" y="217"/>
                    <a:pt x="306" y="217"/>
                  </a:cubicBezTo>
                  <a:cubicBezTo>
                    <a:pt x="302" y="216"/>
                    <a:pt x="302" y="216"/>
                    <a:pt x="302" y="216"/>
                  </a:cubicBezTo>
                  <a:cubicBezTo>
                    <a:pt x="293" y="217"/>
                    <a:pt x="293" y="217"/>
                    <a:pt x="293" y="217"/>
                  </a:cubicBezTo>
                  <a:cubicBezTo>
                    <a:pt x="278" y="218"/>
                    <a:pt x="278" y="218"/>
                    <a:pt x="278" y="218"/>
                  </a:cubicBezTo>
                  <a:cubicBezTo>
                    <a:pt x="270" y="218"/>
                    <a:pt x="270" y="218"/>
                    <a:pt x="270" y="218"/>
                  </a:cubicBezTo>
                  <a:cubicBezTo>
                    <a:pt x="259" y="212"/>
                    <a:pt x="259" y="212"/>
                    <a:pt x="259" y="212"/>
                  </a:cubicBezTo>
                  <a:cubicBezTo>
                    <a:pt x="250" y="204"/>
                    <a:pt x="250" y="204"/>
                    <a:pt x="250" y="204"/>
                  </a:cubicBezTo>
                  <a:cubicBezTo>
                    <a:pt x="244" y="201"/>
                    <a:pt x="244" y="201"/>
                    <a:pt x="244" y="201"/>
                  </a:cubicBezTo>
                  <a:cubicBezTo>
                    <a:pt x="237" y="193"/>
                    <a:pt x="237" y="193"/>
                    <a:pt x="237" y="193"/>
                  </a:cubicBezTo>
                  <a:cubicBezTo>
                    <a:pt x="233" y="187"/>
                    <a:pt x="233" y="187"/>
                    <a:pt x="233" y="187"/>
                  </a:cubicBezTo>
                  <a:cubicBezTo>
                    <a:pt x="233" y="187"/>
                    <a:pt x="230" y="179"/>
                    <a:pt x="229" y="176"/>
                  </a:cubicBezTo>
                  <a:cubicBezTo>
                    <a:pt x="228" y="173"/>
                    <a:pt x="222" y="164"/>
                    <a:pt x="222" y="164"/>
                  </a:cubicBezTo>
                  <a:cubicBezTo>
                    <a:pt x="222" y="164"/>
                    <a:pt x="219" y="157"/>
                    <a:pt x="218" y="156"/>
                  </a:cubicBezTo>
                  <a:cubicBezTo>
                    <a:pt x="218" y="155"/>
                    <a:pt x="217" y="150"/>
                    <a:pt x="217" y="150"/>
                  </a:cubicBezTo>
                  <a:cubicBezTo>
                    <a:pt x="207" y="145"/>
                    <a:pt x="207" y="145"/>
                    <a:pt x="207" y="145"/>
                  </a:cubicBezTo>
                  <a:cubicBezTo>
                    <a:pt x="193" y="137"/>
                    <a:pt x="193" y="137"/>
                    <a:pt x="193" y="137"/>
                  </a:cubicBezTo>
                  <a:cubicBezTo>
                    <a:pt x="181" y="130"/>
                    <a:pt x="181" y="130"/>
                    <a:pt x="181" y="130"/>
                  </a:cubicBezTo>
                  <a:cubicBezTo>
                    <a:pt x="176" y="121"/>
                    <a:pt x="176" y="121"/>
                    <a:pt x="176" y="121"/>
                  </a:cubicBezTo>
                  <a:cubicBezTo>
                    <a:pt x="172" y="109"/>
                    <a:pt x="172" y="109"/>
                    <a:pt x="172" y="109"/>
                  </a:cubicBezTo>
                  <a:cubicBezTo>
                    <a:pt x="171" y="99"/>
                    <a:pt x="171" y="99"/>
                    <a:pt x="171" y="99"/>
                  </a:cubicBezTo>
                  <a:cubicBezTo>
                    <a:pt x="176" y="96"/>
                    <a:pt x="176" y="96"/>
                    <a:pt x="176" y="96"/>
                  </a:cubicBezTo>
                  <a:cubicBezTo>
                    <a:pt x="176" y="91"/>
                    <a:pt x="176" y="91"/>
                    <a:pt x="176" y="91"/>
                  </a:cubicBezTo>
                  <a:cubicBezTo>
                    <a:pt x="171" y="88"/>
                    <a:pt x="171" y="88"/>
                    <a:pt x="171" y="88"/>
                  </a:cubicBezTo>
                  <a:cubicBezTo>
                    <a:pt x="171" y="83"/>
                    <a:pt x="171" y="83"/>
                    <a:pt x="171" y="83"/>
                  </a:cubicBezTo>
                  <a:cubicBezTo>
                    <a:pt x="169" y="81"/>
                    <a:pt x="169" y="81"/>
                    <a:pt x="169" y="81"/>
                  </a:cubicBezTo>
                  <a:cubicBezTo>
                    <a:pt x="166" y="77"/>
                    <a:pt x="166" y="77"/>
                    <a:pt x="166" y="77"/>
                  </a:cubicBezTo>
                  <a:cubicBezTo>
                    <a:pt x="172" y="74"/>
                    <a:pt x="172" y="74"/>
                    <a:pt x="172" y="74"/>
                  </a:cubicBezTo>
                  <a:cubicBezTo>
                    <a:pt x="172" y="74"/>
                    <a:pt x="175" y="71"/>
                    <a:pt x="178" y="71"/>
                  </a:cubicBezTo>
                  <a:cubicBezTo>
                    <a:pt x="181" y="71"/>
                    <a:pt x="183" y="68"/>
                    <a:pt x="183" y="68"/>
                  </a:cubicBezTo>
                  <a:cubicBezTo>
                    <a:pt x="183" y="68"/>
                    <a:pt x="186" y="66"/>
                    <a:pt x="187" y="65"/>
                  </a:cubicBezTo>
                  <a:cubicBezTo>
                    <a:pt x="188" y="65"/>
                    <a:pt x="190" y="65"/>
                    <a:pt x="191" y="64"/>
                  </a:cubicBezTo>
                  <a:cubicBezTo>
                    <a:pt x="192" y="64"/>
                    <a:pt x="195" y="63"/>
                    <a:pt x="194" y="63"/>
                  </a:cubicBezTo>
                  <a:cubicBezTo>
                    <a:pt x="194" y="62"/>
                    <a:pt x="196" y="57"/>
                    <a:pt x="196" y="57"/>
                  </a:cubicBezTo>
                  <a:cubicBezTo>
                    <a:pt x="197" y="56"/>
                    <a:pt x="199" y="60"/>
                    <a:pt x="201" y="60"/>
                  </a:cubicBezTo>
                  <a:cubicBezTo>
                    <a:pt x="202" y="60"/>
                    <a:pt x="204" y="61"/>
                    <a:pt x="204" y="61"/>
                  </a:cubicBezTo>
                  <a:cubicBezTo>
                    <a:pt x="206" y="60"/>
                    <a:pt x="207" y="57"/>
                    <a:pt x="207" y="57"/>
                  </a:cubicBezTo>
                  <a:cubicBezTo>
                    <a:pt x="207" y="57"/>
                    <a:pt x="208" y="56"/>
                    <a:pt x="211" y="55"/>
                  </a:cubicBezTo>
                  <a:cubicBezTo>
                    <a:pt x="211" y="55"/>
                    <a:pt x="211" y="55"/>
                    <a:pt x="211" y="55"/>
                  </a:cubicBezTo>
                  <a:cubicBezTo>
                    <a:pt x="211" y="55"/>
                    <a:pt x="209" y="54"/>
                    <a:pt x="209" y="54"/>
                  </a:cubicBezTo>
                  <a:cubicBezTo>
                    <a:pt x="209" y="54"/>
                    <a:pt x="209" y="53"/>
                    <a:pt x="210" y="52"/>
                  </a:cubicBezTo>
                  <a:cubicBezTo>
                    <a:pt x="210" y="52"/>
                    <a:pt x="210" y="51"/>
                    <a:pt x="210" y="51"/>
                  </a:cubicBezTo>
                  <a:cubicBezTo>
                    <a:pt x="210" y="51"/>
                    <a:pt x="211" y="49"/>
                    <a:pt x="211" y="49"/>
                  </a:cubicBezTo>
                  <a:cubicBezTo>
                    <a:pt x="211" y="49"/>
                    <a:pt x="211" y="49"/>
                    <a:pt x="211" y="48"/>
                  </a:cubicBezTo>
                  <a:cubicBezTo>
                    <a:pt x="211" y="48"/>
                    <a:pt x="210" y="47"/>
                    <a:pt x="210" y="47"/>
                  </a:cubicBezTo>
                  <a:cubicBezTo>
                    <a:pt x="210" y="47"/>
                    <a:pt x="210" y="47"/>
                    <a:pt x="209" y="47"/>
                  </a:cubicBezTo>
                  <a:cubicBezTo>
                    <a:pt x="209" y="47"/>
                    <a:pt x="209" y="48"/>
                    <a:pt x="209" y="48"/>
                  </a:cubicBezTo>
                  <a:cubicBezTo>
                    <a:pt x="207" y="48"/>
                    <a:pt x="207" y="48"/>
                    <a:pt x="207" y="48"/>
                  </a:cubicBezTo>
                  <a:cubicBezTo>
                    <a:pt x="207" y="48"/>
                    <a:pt x="207" y="47"/>
                    <a:pt x="207" y="47"/>
                  </a:cubicBezTo>
                  <a:cubicBezTo>
                    <a:pt x="206" y="47"/>
                    <a:pt x="205" y="47"/>
                    <a:pt x="206" y="46"/>
                  </a:cubicBezTo>
                  <a:cubicBezTo>
                    <a:pt x="206" y="46"/>
                    <a:pt x="206" y="45"/>
                    <a:pt x="206" y="45"/>
                  </a:cubicBezTo>
                  <a:cubicBezTo>
                    <a:pt x="206" y="45"/>
                    <a:pt x="206" y="45"/>
                    <a:pt x="206" y="44"/>
                  </a:cubicBezTo>
                  <a:cubicBezTo>
                    <a:pt x="206" y="44"/>
                    <a:pt x="207" y="43"/>
                    <a:pt x="208" y="43"/>
                  </a:cubicBezTo>
                  <a:cubicBezTo>
                    <a:pt x="208" y="42"/>
                    <a:pt x="210" y="41"/>
                    <a:pt x="210" y="41"/>
                  </a:cubicBezTo>
                  <a:cubicBezTo>
                    <a:pt x="211" y="39"/>
                    <a:pt x="211" y="39"/>
                    <a:pt x="211" y="39"/>
                  </a:cubicBezTo>
                  <a:cubicBezTo>
                    <a:pt x="210" y="38"/>
                    <a:pt x="210" y="38"/>
                    <a:pt x="210" y="38"/>
                  </a:cubicBezTo>
                  <a:cubicBezTo>
                    <a:pt x="210" y="38"/>
                    <a:pt x="209" y="39"/>
                    <a:pt x="209" y="39"/>
                  </a:cubicBezTo>
                  <a:cubicBezTo>
                    <a:pt x="207" y="38"/>
                    <a:pt x="207" y="38"/>
                    <a:pt x="207" y="38"/>
                  </a:cubicBezTo>
                  <a:cubicBezTo>
                    <a:pt x="205" y="37"/>
                    <a:pt x="205" y="37"/>
                    <a:pt x="205" y="37"/>
                  </a:cubicBezTo>
                  <a:cubicBezTo>
                    <a:pt x="204" y="37"/>
                    <a:pt x="204" y="37"/>
                    <a:pt x="204" y="37"/>
                  </a:cubicBezTo>
                  <a:cubicBezTo>
                    <a:pt x="202" y="36"/>
                    <a:pt x="202" y="36"/>
                    <a:pt x="202" y="36"/>
                  </a:cubicBezTo>
                  <a:cubicBezTo>
                    <a:pt x="202" y="34"/>
                    <a:pt x="202" y="34"/>
                    <a:pt x="202" y="34"/>
                  </a:cubicBezTo>
                  <a:cubicBezTo>
                    <a:pt x="203" y="33"/>
                    <a:pt x="203" y="33"/>
                    <a:pt x="203" y="33"/>
                  </a:cubicBezTo>
                  <a:cubicBezTo>
                    <a:pt x="203" y="33"/>
                    <a:pt x="204" y="31"/>
                    <a:pt x="204" y="31"/>
                  </a:cubicBezTo>
                  <a:cubicBezTo>
                    <a:pt x="205" y="30"/>
                    <a:pt x="207" y="29"/>
                    <a:pt x="207" y="29"/>
                  </a:cubicBezTo>
                  <a:cubicBezTo>
                    <a:pt x="208" y="27"/>
                    <a:pt x="208" y="27"/>
                    <a:pt x="208" y="27"/>
                  </a:cubicBezTo>
                  <a:cubicBezTo>
                    <a:pt x="208" y="27"/>
                    <a:pt x="208" y="27"/>
                    <a:pt x="209" y="27"/>
                  </a:cubicBezTo>
                  <a:cubicBezTo>
                    <a:pt x="210" y="27"/>
                    <a:pt x="210" y="27"/>
                    <a:pt x="210" y="27"/>
                  </a:cubicBezTo>
                  <a:cubicBezTo>
                    <a:pt x="210" y="27"/>
                    <a:pt x="211" y="25"/>
                    <a:pt x="211" y="24"/>
                  </a:cubicBezTo>
                  <a:cubicBezTo>
                    <a:pt x="211" y="22"/>
                    <a:pt x="211" y="22"/>
                    <a:pt x="211" y="22"/>
                  </a:cubicBezTo>
                  <a:cubicBezTo>
                    <a:pt x="206" y="23"/>
                    <a:pt x="206" y="23"/>
                    <a:pt x="206" y="23"/>
                  </a:cubicBezTo>
                  <a:cubicBezTo>
                    <a:pt x="206" y="23"/>
                    <a:pt x="203" y="22"/>
                    <a:pt x="200" y="22"/>
                  </a:cubicBezTo>
                  <a:cubicBezTo>
                    <a:pt x="197" y="22"/>
                    <a:pt x="191" y="21"/>
                    <a:pt x="191" y="21"/>
                  </a:cubicBezTo>
                  <a:cubicBezTo>
                    <a:pt x="183" y="18"/>
                    <a:pt x="183" y="18"/>
                    <a:pt x="183" y="18"/>
                  </a:cubicBezTo>
                  <a:cubicBezTo>
                    <a:pt x="178" y="18"/>
                    <a:pt x="178" y="18"/>
                    <a:pt x="178" y="18"/>
                  </a:cubicBezTo>
                  <a:cubicBezTo>
                    <a:pt x="171" y="17"/>
                    <a:pt x="171" y="17"/>
                    <a:pt x="171" y="17"/>
                  </a:cubicBezTo>
                  <a:cubicBezTo>
                    <a:pt x="171" y="17"/>
                    <a:pt x="170" y="15"/>
                    <a:pt x="169" y="15"/>
                  </a:cubicBezTo>
                  <a:cubicBezTo>
                    <a:pt x="169" y="14"/>
                    <a:pt x="167" y="13"/>
                    <a:pt x="167" y="13"/>
                  </a:cubicBezTo>
                  <a:cubicBezTo>
                    <a:pt x="167" y="10"/>
                    <a:pt x="167" y="10"/>
                    <a:pt x="167" y="10"/>
                  </a:cubicBezTo>
                  <a:cubicBezTo>
                    <a:pt x="164" y="7"/>
                    <a:pt x="164" y="7"/>
                    <a:pt x="164" y="7"/>
                  </a:cubicBezTo>
                  <a:cubicBezTo>
                    <a:pt x="163" y="4"/>
                    <a:pt x="163" y="4"/>
                    <a:pt x="163" y="4"/>
                  </a:cubicBezTo>
                  <a:cubicBezTo>
                    <a:pt x="165" y="2"/>
                    <a:pt x="165" y="2"/>
                    <a:pt x="165" y="2"/>
                  </a:cubicBezTo>
                  <a:cubicBezTo>
                    <a:pt x="163" y="0"/>
                    <a:pt x="163" y="0"/>
                    <a:pt x="163" y="0"/>
                  </a:cubicBezTo>
                  <a:cubicBezTo>
                    <a:pt x="163" y="0"/>
                    <a:pt x="160" y="1"/>
                    <a:pt x="159" y="1"/>
                  </a:cubicBezTo>
                  <a:cubicBezTo>
                    <a:pt x="158" y="2"/>
                    <a:pt x="152" y="3"/>
                    <a:pt x="152" y="3"/>
                  </a:cubicBezTo>
                  <a:cubicBezTo>
                    <a:pt x="151" y="4"/>
                    <a:pt x="151" y="4"/>
                    <a:pt x="151" y="4"/>
                  </a:cubicBezTo>
                  <a:cubicBezTo>
                    <a:pt x="145" y="4"/>
                    <a:pt x="145" y="4"/>
                    <a:pt x="145" y="4"/>
                  </a:cubicBezTo>
                  <a:cubicBezTo>
                    <a:pt x="138" y="4"/>
                    <a:pt x="138" y="4"/>
                    <a:pt x="138" y="4"/>
                  </a:cubicBezTo>
                  <a:cubicBezTo>
                    <a:pt x="136" y="6"/>
                    <a:pt x="136" y="6"/>
                    <a:pt x="136" y="6"/>
                  </a:cubicBezTo>
                  <a:cubicBezTo>
                    <a:pt x="131" y="8"/>
                    <a:pt x="131" y="8"/>
                    <a:pt x="131" y="8"/>
                  </a:cubicBezTo>
                  <a:cubicBezTo>
                    <a:pt x="131" y="12"/>
                    <a:pt x="131" y="12"/>
                    <a:pt x="131" y="12"/>
                  </a:cubicBezTo>
                  <a:cubicBezTo>
                    <a:pt x="128" y="15"/>
                    <a:pt x="128" y="15"/>
                    <a:pt x="128" y="15"/>
                  </a:cubicBezTo>
                  <a:cubicBezTo>
                    <a:pt x="125" y="14"/>
                    <a:pt x="125" y="14"/>
                    <a:pt x="125" y="14"/>
                  </a:cubicBezTo>
                  <a:cubicBezTo>
                    <a:pt x="121" y="12"/>
                    <a:pt x="121" y="12"/>
                    <a:pt x="121" y="12"/>
                  </a:cubicBezTo>
                  <a:cubicBezTo>
                    <a:pt x="119" y="13"/>
                    <a:pt x="119" y="13"/>
                    <a:pt x="119" y="13"/>
                  </a:cubicBezTo>
                  <a:cubicBezTo>
                    <a:pt x="115" y="12"/>
                    <a:pt x="115" y="12"/>
                    <a:pt x="115" y="12"/>
                  </a:cubicBezTo>
                  <a:cubicBezTo>
                    <a:pt x="114" y="12"/>
                    <a:pt x="114" y="12"/>
                    <a:pt x="114" y="12"/>
                  </a:cubicBezTo>
                  <a:cubicBezTo>
                    <a:pt x="114" y="12"/>
                    <a:pt x="114" y="12"/>
                    <a:pt x="114" y="12"/>
                  </a:cubicBezTo>
                  <a:cubicBezTo>
                    <a:pt x="114" y="13"/>
                    <a:pt x="113" y="14"/>
                    <a:pt x="113" y="14"/>
                  </a:cubicBezTo>
                  <a:cubicBezTo>
                    <a:pt x="113" y="15"/>
                    <a:pt x="113" y="15"/>
                    <a:pt x="113" y="15"/>
                  </a:cubicBezTo>
                  <a:cubicBezTo>
                    <a:pt x="113" y="16"/>
                    <a:pt x="113" y="16"/>
                    <a:pt x="113" y="16"/>
                  </a:cubicBezTo>
                  <a:cubicBezTo>
                    <a:pt x="113" y="17"/>
                    <a:pt x="113" y="17"/>
                    <a:pt x="113" y="17"/>
                  </a:cubicBezTo>
                  <a:cubicBezTo>
                    <a:pt x="113" y="17"/>
                    <a:pt x="112" y="18"/>
                    <a:pt x="112" y="18"/>
                  </a:cubicBezTo>
                  <a:cubicBezTo>
                    <a:pt x="111" y="19"/>
                    <a:pt x="112" y="20"/>
                    <a:pt x="112" y="20"/>
                  </a:cubicBezTo>
                  <a:cubicBezTo>
                    <a:pt x="112" y="20"/>
                    <a:pt x="113" y="21"/>
                    <a:pt x="115" y="22"/>
                  </a:cubicBezTo>
                  <a:cubicBezTo>
                    <a:pt x="116" y="22"/>
                    <a:pt x="115" y="22"/>
                    <a:pt x="115" y="22"/>
                  </a:cubicBezTo>
                  <a:cubicBezTo>
                    <a:pt x="115" y="23"/>
                    <a:pt x="115" y="23"/>
                    <a:pt x="115" y="24"/>
                  </a:cubicBezTo>
                  <a:cubicBezTo>
                    <a:pt x="114" y="24"/>
                    <a:pt x="114" y="24"/>
                    <a:pt x="114" y="24"/>
                  </a:cubicBezTo>
                  <a:cubicBezTo>
                    <a:pt x="113" y="24"/>
                    <a:pt x="113" y="24"/>
                    <a:pt x="113" y="24"/>
                  </a:cubicBezTo>
                  <a:cubicBezTo>
                    <a:pt x="113" y="24"/>
                    <a:pt x="111" y="25"/>
                    <a:pt x="111" y="25"/>
                  </a:cubicBezTo>
                  <a:cubicBezTo>
                    <a:pt x="111" y="25"/>
                    <a:pt x="111" y="25"/>
                    <a:pt x="111" y="24"/>
                  </a:cubicBezTo>
                  <a:cubicBezTo>
                    <a:pt x="110" y="24"/>
                    <a:pt x="110" y="24"/>
                    <a:pt x="110" y="24"/>
                  </a:cubicBezTo>
                  <a:cubicBezTo>
                    <a:pt x="110" y="24"/>
                    <a:pt x="108" y="23"/>
                    <a:pt x="108" y="23"/>
                  </a:cubicBezTo>
                  <a:cubicBezTo>
                    <a:pt x="108" y="22"/>
                    <a:pt x="108" y="22"/>
                    <a:pt x="108" y="22"/>
                  </a:cubicBezTo>
                  <a:cubicBezTo>
                    <a:pt x="108" y="22"/>
                    <a:pt x="107" y="21"/>
                    <a:pt x="107" y="21"/>
                  </a:cubicBezTo>
                  <a:cubicBezTo>
                    <a:pt x="106" y="22"/>
                    <a:pt x="106" y="22"/>
                    <a:pt x="106" y="22"/>
                  </a:cubicBezTo>
                  <a:cubicBezTo>
                    <a:pt x="105" y="22"/>
                    <a:pt x="105" y="22"/>
                    <a:pt x="104" y="22"/>
                  </a:cubicBezTo>
                  <a:cubicBezTo>
                    <a:pt x="104" y="22"/>
                    <a:pt x="104" y="23"/>
                    <a:pt x="103" y="23"/>
                  </a:cubicBezTo>
                  <a:cubicBezTo>
                    <a:pt x="103" y="23"/>
                    <a:pt x="103" y="24"/>
                    <a:pt x="103" y="24"/>
                  </a:cubicBezTo>
                  <a:cubicBezTo>
                    <a:pt x="102" y="24"/>
                    <a:pt x="102" y="25"/>
                    <a:pt x="102" y="25"/>
                  </a:cubicBezTo>
                  <a:cubicBezTo>
                    <a:pt x="102" y="26"/>
                    <a:pt x="102" y="26"/>
                    <a:pt x="102" y="26"/>
                  </a:cubicBezTo>
                  <a:cubicBezTo>
                    <a:pt x="102" y="27"/>
                    <a:pt x="102" y="27"/>
                    <a:pt x="102" y="27"/>
                  </a:cubicBezTo>
                  <a:cubicBezTo>
                    <a:pt x="102" y="28"/>
                    <a:pt x="102" y="28"/>
                    <a:pt x="102" y="28"/>
                  </a:cubicBezTo>
                  <a:cubicBezTo>
                    <a:pt x="102" y="28"/>
                    <a:pt x="102" y="29"/>
                    <a:pt x="102" y="29"/>
                  </a:cubicBezTo>
                  <a:cubicBezTo>
                    <a:pt x="102" y="30"/>
                    <a:pt x="102" y="30"/>
                    <a:pt x="102" y="30"/>
                  </a:cubicBezTo>
                  <a:cubicBezTo>
                    <a:pt x="103" y="30"/>
                    <a:pt x="104" y="30"/>
                    <a:pt x="104" y="30"/>
                  </a:cubicBezTo>
                  <a:cubicBezTo>
                    <a:pt x="104" y="30"/>
                    <a:pt x="104" y="31"/>
                    <a:pt x="105" y="31"/>
                  </a:cubicBezTo>
                  <a:cubicBezTo>
                    <a:pt x="105" y="32"/>
                    <a:pt x="105" y="32"/>
                    <a:pt x="105" y="32"/>
                  </a:cubicBezTo>
                  <a:cubicBezTo>
                    <a:pt x="105" y="32"/>
                    <a:pt x="104" y="33"/>
                    <a:pt x="104" y="33"/>
                  </a:cubicBezTo>
                  <a:cubicBezTo>
                    <a:pt x="103" y="33"/>
                    <a:pt x="103" y="33"/>
                    <a:pt x="104" y="34"/>
                  </a:cubicBezTo>
                  <a:cubicBezTo>
                    <a:pt x="104" y="35"/>
                    <a:pt x="104" y="35"/>
                    <a:pt x="105" y="35"/>
                  </a:cubicBezTo>
                  <a:cubicBezTo>
                    <a:pt x="105" y="35"/>
                    <a:pt x="106" y="37"/>
                    <a:pt x="106" y="38"/>
                  </a:cubicBezTo>
                  <a:cubicBezTo>
                    <a:pt x="106" y="38"/>
                    <a:pt x="105" y="39"/>
                    <a:pt x="105" y="39"/>
                  </a:cubicBezTo>
                  <a:cubicBezTo>
                    <a:pt x="105" y="39"/>
                    <a:pt x="105" y="39"/>
                    <a:pt x="104" y="39"/>
                  </a:cubicBezTo>
                  <a:cubicBezTo>
                    <a:pt x="104" y="39"/>
                    <a:pt x="104" y="39"/>
                    <a:pt x="104" y="39"/>
                  </a:cubicBezTo>
                  <a:cubicBezTo>
                    <a:pt x="103" y="40"/>
                    <a:pt x="102" y="39"/>
                    <a:pt x="102" y="39"/>
                  </a:cubicBezTo>
                  <a:cubicBezTo>
                    <a:pt x="102" y="39"/>
                    <a:pt x="103" y="38"/>
                    <a:pt x="103" y="38"/>
                  </a:cubicBezTo>
                  <a:cubicBezTo>
                    <a:pt x="102" y="37"/>
                    <a:pt x="101" y="37"/>
                    <a:pt x="101" y="36"/>
                  </a:cubicBezTo>
                  <a:cubicBezTo>
                    <a:pt x="100" y="35"/>
                    <a:pt x="101" y="35"/>
                    <a:pt x="101" y="35"/>
                  </a:cubicBezTo>
                  <a:cubicBezTo>
                    <a:pt x="101" y="35"/>
                    <a:pt x="101" y="35"/>
                    <a:pt x="100" y="34"/>
                  </a:cubicBezTo>
                  <a:cubicBezTo>
                    <a:pt x="99" y="33"/>
                    <a:pt x="99" y="33"/>
                    <a:pt x="99" y="33"/>
                  </a:cubicBezTo>
                  <a:cubicBezTo>
                    <a:pt x="99" y="33"/>
                    <a:pt x="98" y="33"/>
                    <a:pt x="97" y="33"/>
                  </a:cubicBezTo>
                  <a:cubicBezTo>
                    <a:pt x="96" y="33"/>
                    <a:pt x="96" y="33"/>
                    <a:pt x="96" y="33"/>
                  </a:cubicBezTo>
                  <a:cubicBezTo>
                    <a:pt x="95" y="34"/>
                    <a:pt x="95" y="34"/>
                    <a:pt x="95" y="34"/>
                  </a:cubicBezTo>
                  <a:cubicBezTo>
                    <a:pt x="95" y="34"/>
                    <a:pt x="94" y="34"/>
                    <a:pt x="94" y="34"/>
                  </a:cubicBezTo>
                  <a:cubicBezTo>
                    <a:pt x="93" y="35"/>
                    <a:pt x="93" y="34"/>
                    <a:pt x="93" y="34"/>
                  </a:cubicBezTo>
                  <a:cubicBezTo>
                    <a:pt x="92" y="34"/>
                    <a:pt x="92" y="34"/>
                    <a:pt x="92" y="34"/>
                  </a:cubicBezTo>
                  <a:cubicBezTo>
                    <a:pt x="91" y="34"/>
                    <a:pt x="91" y="35"/>
                    <a:pt x="92" y="36"/>
                  </a:cubicBezTo>
                  <a:cubicBezTo>
                    <a:pt x="92" y="36"/>
                    <a:pt x="91" y="36"/>
                    <a:pt x="91" y="37"/>
                  </a:cubicBezTo>
                  <a:cubicBezTo>
                    <a:pt x="91" y="37"/>
                    <a:pt x="90" y="37"/>
                    <a:pt x="88" y="37"/>
                  </a:cubicBezTo>
                  <a:cubicBezTo>
                    <a:pt x="86" y="36"/>
                    <a:pt x="87" y="36"/>
                    <a:pt x="86" y="36"/>
                  </a:cubicBezTo>
                  <a:cubicBezTo>
                    <a:pt x="86" y="35"/>
                    <a:pt x="85" y="35"/>
                    <a:pt x="85" y="34"/>
                  </a:cubicBezTo>
                  <a:cubicBezTo>
                    <a:pt x="85" y="33"/>
                    <a:pt x="85" y="32"/>
                    <a:pt x="84" y="32"/>
                  </a:cubicBezTo>
                  <a:cubicBezTo>
                    <a:pt x="84" y="31"/>
                    <a:pt x="84" y="30"/>
                    <a:pt x="83" y="30"/>
                  </a:cubicBezTo>
                  <a:cubicBezTo>
                    <a:pt x="83" y="29"/>
                    <a:pt x="84" y="29"/>
                    <a:pt x="84" y="28"/>
                  </a:cubicBezTo>
                  <a:cubicBezTo>
                    <a:pt x="85" y="28"/>
                    <a:pt x="83" y="27"/>
                    <a:pt x="83" y="27"/>
                  </a:cubicBezTo>
                  <a:cubicBezTo>
                    <a:pt x="82" y="28"/>
                    <a:pt x="82" y="28"/>
                    <a:pt x="82" y="28"/>
                  </a:cubicBezTo>
                  <a:cubicBezTo>
                    <a:pt x="81" y="28"/>
                    <a:pt x="81" y="28"/>
                    <a:pt x="81" y="28"/>
                  </a:cubicBezTo>
                  <a:cubicBezTo>
                    <a:pt x="81" y="28"/>
                    <a:pt x="80" y="28"/>
                    <a:pt x="80" y="27"/>
                  </a:cubicBezTo>
                  <a:cubicBezTo>
                    <a:pt x="80" y="27"/>
                    <a:pt x="79" y="27"/>
                    <a:pt x="79" y="27"/>
                  </a:cubicBezTo>
                  <a:cubicBezTo>
                    <a:pt x="78" y="29"/>
                    <a:pt x="78" y="29"/>
                    <a:pt x="78" y="29"/>
                  </a:cubicBezTo>
                  <a:cubicBezTo>
                    <a:pt x="78" y="30"/>
                    <a:pt x="78" y="30"/>
                    <a:pt x="78" y="30"/>
                  </a:cubicBezTo>
                  <a:cubicBezTo>
                    <a:pt x="78" y="31"/>
                    <a:pt x="78" y="31"/>
                    <a:pt x="78" y="31"/>
                  </a:cubicBezTo>
                  <a:cubicBezTo>
                    <a:pt x="78" y="33"/>
                    <a:pt x="78" y="33"/>
                    <a:pt x="78" y="33"/>
                  </a:cubicBezTo>
                  <a:cubicBezTo>
                    <a:pt x="78" y="33"/>
                    <a:pt x="78" y="34"/>
                    <a:pt x="78" y="34"/>
                  </a:cubicBezTo>
                  <a:cubicBezTo>
                    <a:pt x="78" y="35"/>
                    <a:pt x="78" y="36"/>
                    <a:pt x="78" y="36"/>
                  </a:cubicBezTo>
                  <a:cubicBezTo>
                    <a:pt x="78" y="37"/>
                    <a:pt x="78" y="37"/>
                    <a:pt x="78" y="37"/>
                  </a:cubicBezTo>
                  <a:cubicBezTo>
                    <a:pt x="78" y="37"/>
                    <a:pt x="77" y="38"/>
                    <a:pt x="77" y="38"/>
                  </a:cubicBezTo>
                  <a:cubicBezTo>
                    <a:pt x="77" y="38"/>
                    <a:pt x="77" y="39"/>
                    <a:pt x="77" y="40"/>
                  </a:cubicBezTo>
                  <a:cubicBezTo>
                    <a:pt x="77" y="40"/>
                    <a:pt x="76" y="41"/>
                    <a:pt x="76" y="41"/>
                  </a:cubicBezTo>
                  <a:cubicBezTo>
                    <a:pt x="76" y="41"/>
                    <a:pt x="76" y="42"/>
                    <a:pt x="76" y="42"/>
                  </a:cubicBezTo>
                  <a:cubicBezTo>
                    <a:pt x="76" y="42"/>
                    <a:pt x="74" y="42"/>
                    <a:pt x="74" y="42"/>
                  </a:cubicBezTo>
                  <a:cubicBezTo>
                    <a:pt x="74" y="42"/>
                    <a:pt x="73" y="44"/>
                    <a:pt x="73" y="44"/>
                  </a:cubicBezTo>
                  <a:cubicBezTo>
                    <a:pt x="72" y="44"/>
                    <a:pt x="73" y="45"/>
                    <a:pt x="73" y="46"/>
                  </a:cubicBezTo>
                  <a:cubicBezTo>
                    <a:pt x="73" y="46"/>
                    <a:pt x="72" y="47"/>
                    <a:pt x="72" y="47"/>
                  </a:cubicBezTo>
                  <a:cubicBezTo>
                    <a:pt x="71" y="48"/>
                    <a:pt x="71" y="48"/>
                    <a:pt x="71" y="48"/>
                  </a:cubicBezTo>
                  <a:cubicBezTo>
                    <a:pt x="71" y="48"/>
                    <a:pt x="71" y="49"/>
                    <a:pt x="71" y="49"/>
                  </a:cubicBezTo>
                  <a:cubicBezTo>
                    <a:pt x="71" y="50"/>
                    <a:pt x="71" y="50"/>
                    <a:pt x="71" y="50"/>
                  </a:cubicBezTo>
                  <a:cubicBezTo>
                    <a:pt x="70" y="51"/>
                    <a:pt x="71" y="51"/>
                    <a:pt x="70" y="52"/>
                  </a:cubicBezTo>
                  <a:cubicBezTo>
                    <a:pt x="70" y="52"/>
                    <a:pt x="71" y="52"/>
                    <a:pt x="71" y="53"/>
                  </a:cubicBezTo>
                  <a:cubicBezTo>
                    <a:pt x="71" y="53"/>
                    <a:pt x="73" y="54"/>
                    <a:pt x="73" y="54"/>
                  </a:cubicBezTo>
                  <a:cubicBezTo>
                    <a:pt x="73" y="54"/>
                    <a:pt x="73" y="54"/>
                    <a:pt x="72" y="55"/>
                  </a:cubicBezTo>
                  <a:cubicBezTo>
                    <a:pt x="71" y="56"/>
                    <a:pt x="72" y="57"/>
                    <a:pt x="72" y="57"/>
                  </a:cubicBezTo>
                  <a:cubicBezTo>
                    <a:pt x="71" y="58"/>
                    <a:pt x="71" y="58"/>
                    <a:pt x="71" y="58"/>
                  </a:cubicBezTo>
                  <a:cubicBezTo>
                    <a:pt x="71" y="58"/>
                    <a:pt x="70" y="57"/>
                    <a:pt x="69" y="57"/>
                  </a:cubicBezTo>
                  <a:cubicBezTo>
                    <a:pt x="69" y="57"/>
                    <a:pt x="69" y="58"/>
                    <a:pt x="68" y="57"/>
                  </a:cubicBezTo>
                  <a:cubicBezTo>
                    <a:pt x="66" y="57"/>
                    <a:pt x="68" y="56"/>
                    <a:pt x="68" y="56"/>
                  </a:cubicBezTo>
                  <a:cubicBezTo>
                    <a:pt x="68" y="56"/>
                    <a:pt x="68" y="55"/>
                    <a:pt x="68" y="54"/>
                  </a:cubicBezTo>
                  <a:cubicBezTo>
                    <a:pt x="68" y="54"/>
                    <a:pt x="68" y="54"/>
                    <a:pt x="68" y="54"/>
                  </a:cubicBezTo>
                  <a:cubicBezTo>
                    <a:pt x="68" y="54"/>
                    <a:pt x="67" y="53"/>
                    <a:pt x="67" y="52"/>
                  </a:cubicBezTo>
                  <a:cubicBezTo>
                    <a:pt x="67" y="51"/>
                    <a:pt x="66" y="52"/>
                    <a:pt x="66" y="52"/>
                  </a:cubicBezTo>
                  <a:cubicBezTo>
                    <a:pt x="64" y="50"/>
                    <a:pt x="64" y="50"/>
                    <a:pt x="64" y="50"/>
                  </a:cubicBezTo>
                  <a:cubicBezTo>
                    <a:pt x="64" y="50"/>
                    <a:pt x="65" y="48"/>
                    <a:pt x="65" y="48"/>
                  </a:cubicBezTo>
                  <a:cubicBezTo>
                    <a:pt x="65" y="48"/>
                    <a:pt x="65" y="48"/>
                    <a:pt x="65" y="48"/>
                  </a:cubicBezTo>
                  <a:cubicBezTo>
                    <a:pt x="65" y="48"/>
                    <a:pt x="65" y="47"/>
                    <a:pt x="66" y="47"/>
                  </a:cubicBezTo>
                  <a:cubicBezTo>
                    <a:pt x="66" y="46"/>
                    <a:pt x="65" y="46"/>
                    <a:pt x="65" y="46"/>
                  </a:cubicBezTo>
                  <a:cubicBezTo>
                    <a:pt x="64" y="46"/>
                    <a:pt x="64" y="46"/>
                    <a:pt x="64" y="46"/>
                  </a:cubicBezTo>
                  <a:cubicBezTo>
                    <a:pt x="63" y="45"/>
                    <a:pt x="63" y="45"/>
                    <a:pt x="63" y="45"/>
                  </a:cubicBezTo>
                  <a:cubicBezTo>
                    <a:pt x="63" y="45"/>
                    <a:pt x="62" y="46"/>
                    <a:pt x="62" y="46"/>
                  </a:cubicBezTo>
                  <a:cubicBezTo>
                    <a:pt x="61" y="46"/>
                    <a:pt x="60" y="45"/>
                    <a:pt x="60" y="45"/>
                  </a:cubicBezTo>
                  <a:cubicBezTo>
                    <a:pt x="60" y="44"/>
                    <a:pt x="59" y="45"/>
                    <a:pt x="58" y="44"/>
                  </a:cubicBezTo>
                  <a:cubicBezTo>
                    <a:pt x="58" y="44"/>
                    <a:pt x="57" y="44"/>
                    <a:pt x="57" y="44"/>
                  </a:cubicBezTo>
                  <a:cubicBezTo>
                    <a:pt x="57" y="44"/>
                    <a:pt x="56" y="43"/>
                    <a:pt x="56" y="43"/>
                  </a:cubicBezTo>
                  <a:cubicBezTo>
                    <a:pt x="56" y="42"/>
                    <a:pt x="55" y="41"/>
                    <a:pt x="55" y="41"/>
                  </a:cubicBezTo>
                  <a:cubicBezTo>
                    <a:pt x="54" y="41"/>
                    <a:pt x="54" y="41"/>
                    <a:pt x="54" y="41"/>
                  </a:cubicBezTo>
                  <a:cubicBezTo>
                    <a:pt x="54" y="41"/>
                    <a:pt x="53" y="40"/>
                    <a:pt x="52" y="40"/>
                  </a:cubicBezTo>
                  <a:cubicBezTo>
                    <a:pt x="52" y="40"/>
                    <a:pt x="53" y="39"/>
                    <a:pt x="53" y="39"/>
                  </a:cubicBezTo>
                  <a:cubicBezTo>
                    <a:pt x="52" y="38"/>
                    <a:pt x="52" y="38"/>
                    <a:pt x="52" y="38"/>
                  </a:cubicBezTo>
                  <a:cubicBezTo>
                    <a:pt x="52" y="38"/>
                    <a:pt x="52" y="37"/>
                    <a:pt x="52" y="37"/>
                  </a:cubicBezTo>
                  <a:cubicBezTo>
                    <a:pt x="52" y="36"/>
                    <a:pt x="52" y="35"/>
                    <a:pt x="52" y="35"/>
                  </a:cubicBezTo>
                  <a:cubicBezTo>
                    <a:pt x="52" y="35"/>
                    <a:pt x="52" y="33"/>
                    <a:pt x="52" y="33"/>
                  </a:cubicBezTo>
                  <a:cubicBezTo>
                    <a:pt x="52" y="32"/>
                    <a:pt x="52" y="30"/>
                    <a:pt x="52" y="30"/>
                  </a:cubicBezTo>
                  <a:cubicBezTo>
                    <a:pt x="52" y="30"/>
                    <a:pt x="49" y="31"/>
                    <a:pt x="48" y="31"/>
                  </a:cubicBezTo>
                  <a:cubicBezTo>
                    <a:pt x="47" y="32"/>
                    <a:pt x="48" y="32"/>
                    <a:pt x="48" y="32"/>
                  </a:cubicBezTo>
                  <a:cubicBezTo>
                    <a:pt x="48" y="32"/>
                    <a:pt x="48" y="34"/>
                    <a:pt x="47" y="34"/>
                  </a:cubicBezTo>
                  <a:cubicBezTo>
                    <a:pt x="47" y="34"/>
                    <a:pt x="46" y="34"/>
                    <a:pt x="46" y="34"/>
                  </a:cubicBezTo>
                  <a:cubicBezTo>
                    <a:pt x="46" y="34"/>
                    <a:pt x="45" y="35"/>
                    <a:pt x="45" y="36"/>
                  </a:cubicBezTo>
                  <a:cubicBezTo>
                    <a:pt x="44" y="36"/>
                    <a:pt x="44" y="36"/>
                    <a:pt x="43" y="37"/>
                  </a:cubicBezTo>
                  <a:cubicBezTo>
                    <a:pt x="43" y="37"/>
                    <a:pt x="42" y="37"/>
                    <a:pt x="42" y="37"/>
                  </a:cubicBezTo>
                  <a:cubicBezTo>
                    <a:pt x="41" y="38"/>
                    <a:pt x="41" y="38"/>
                    <a:pt x="41" y="38"/>
                  </a:cubicBezTo>
                  <a:cubicBezTo>
                    <a:pt x="42" y="39"/>
                    <a:pt x="42" y="39"/>
                    <a:pt x="42" y="39"/>
                  </a:cubicBezTo>
                  <a:cubicBezTo>
                    <a:pt x="43" y="41"/>
                    <a:pt x="43" y="41"/>
                    <a:pt x="43" y="41"/>
                  </a:cubicBezTo>
                  <a:cubicBezTo>
                    <a:pt x="42" y="43"/>
                    <a:pt x="42" y="43"/>
                    <a:pt x="42" y="43"/>
                  </a:cubicBezTo>
                  <a:cubicBezTo>
                    <a:pt x="42" y="43"/>
                    <a:pt x="42" y="43"/>
                    <a:pt x="42" y="44"/>
                  </a:cubicBezTo>
                  <a:cubicBezTo>
                    <a:pt x="41" y="45"/>
                    <a:pt x="41" y="45"/>
                    <a:pt x="41" y="45"/>
                  </a:cubicBezTo>
                  <a:cubicBezTo>
                    <a:pt x="40" y="46"/>
                    <a:pt x="40" y="46"/>
                    <a:pt x="40" y="46"/>
                  </a:cubicBezTo>
                  <a:cubicBezTo>
                    <a:pt x="39" y="47"/>
                    <a:pt x="39" y="47"/>
                    <a:pt x="39" y="47"/>
                  </a:cubicBezTo>
                  <a:cubicBezTo>
                    <a:pt x="39" y="47"/>
                    <a:pt x="39" y="48"/>
                    <a:pt x="39" y="48"/>
                  </a:cubicBezTo>
                  <a:cubicBezTo>
                    <a:pt x="39" y="49"/>
                    <a:pt x="39" y="49"/>
                    <a:pt x="39" y="50"/>
                  </a:cubicBezTo>
                  <a:cubicBezTo>
                    <a:pt x="38" y="51"/>
                    <a:pt x="38" y="51"/>
                    <a:pt x="38" y="51"/>
                  </a:cubicBezTo>
                  <a:cubicBezTo>
                    <a:pt x="38" y="51"/>
                    <a:pt x="37" y="51"/>
                    <a:pt x="36" y="51"/>
                  </a:cubicBezTo>
                  <a:cubicBezTo>
                    <a:pt x="36" y="51"/>
                    <a:pt x="36" y="52"/>
                    <a:pt x="35" y="52"/>
                  </a:cubicBezTo>
                  <a:cubicBezTo>
                    <a:pt x="33" y="52"/>
                    <a:pt x="34" y="53"/>
                    <a:pt x="34" y="53"/>
                  </a:cubicBezTo>
                  <a:cubicBezTo>
                    <a:pt x="34" y="53"/>
                    <a:pt x="34" y="54"/>
                    <a:pt x="34" y="54"/>
                  </a:cubicBezTo>
                  <a:cubicBezTo>
                    <a:pt x="33" y="54"/>
                    <a:pt x="32" y="54"/>
                    <a:pt x="31" y="53"/>
                  </a:cubicBezTo>
                  <a:cubicBezTo>
                    <a:pt x="31" y="53"/>
                    <a:pt x="31" y="53"/>
                    <a:pt x="30" y="54"/>
                  </a:cubicBezTo>
                  <a:cubicBezTo>
                    <a:pt x="30" y="54"/>
                    <a:pt x="29" y="53"/>
                    <a:pt x="29" y="53"/>
                  </a:cubicBezTo>
                  <a:cubicBezTo>
                    <a:pt x="29" y="53"/>
                    <a:pt x="29" y="52"/>
                    <a:pt x="28" y="52"/>
                  </a:cubicBezTo>
                  <a:cubicBezTo>
                    <a:pt x="28" y="51"/>
                    <a:pt x="27" y="52"/>
                    <a:pt x="27" y="51"/>
                  </a:cubicBezTo>
                  <a:cubicBezTo>
                    <a:pt x="26" y="51"/>
                    <a:pt x="25" y="51"/>
                    <a:pt x="24" y="51"/>
                  </a:cubicBezTo>
                  <a:cubicBezTo>
                    <a:pt x="24" y="51"/>
                    <a:pt x="24" y="52"/>
                    <a:pt x="24" y="52"/>
                  </a:cubicBezTo>
                  <a:cubicBezTo>
                    <a:pt x="24" y="52"/>
                    <a:pt x="23" y="52"/>
                    <a:pt x="23" y="52"/>
                  </a:cubicBezTo>
                  <a:cubicBezTo>
                    <a:pt x="22" y="52"/>
                    <a:pt x="22" y="53"/>
                    <a:pt x="22" y="53"/>
                  </a:cubicBezTo>
                  <a:cubicBezTo>
                    <a:pt x="22" y="54"/>
                    <a:pt x="22" y="54"/>
                    <a:pt x="22" y="54"/>
                  </a:cubicBezTo>
                  <a:cubicBezTo>
                    <a:pt x="22" y="54"/>
                    <a:pt x="19" y="54"/>
                    <a:pt x="19" y="54"/>
                  </a:cubicBezTo>
                  <a:cubicBezTo>
                    <a:pt x="18" y="54"/>
                    <a:pt x="17" y="54"/>
                    <a:pt x="16" y="54"/>
                  </a:cubicBezTo>
                  <a:cubicBezTo>
                    <a:pt x="16" y="54"/>
                    <a:pt x="15" y="54"/>
                    <a:pt x="15" y="54"/>
                  </a:cubicBezTo>
                  <a:cubicBezTo>
                    <a:pt x="15" y="54"/>
                    <a:pt x="13" y="55"/>
                    <a:pt x="13" y="55"/>
                  </a:cubicBezTo>
                  <a:cubicBezTo>
                    <a:pt x="13" y="55"/>
                    <a:pt x="12" y="56"/>
                    <a:pt x="11" y="56"/>
                  </a:cubicBezTo>
                  <a:cubicBezTo>
                    <a:pt x="11" y="56"/>
                    <a:pt x="10" y="55"/>
                    <a:pt x="10" y="55"/>
                  </a:cubicBezTo>
                  <a:cubicBezTo>
                    <a:pt x="10" y="55"/>
                    <a:pt x="10" y="55"/>
                    <a:pt x="10" y="55"/>
                  </a:cubicBezTo>
                  <a:cubicBezTo>
                    <a:pt x="7" y="57"/>
                    <a:pt x="7" y="57"/>
                    <a:pt x="7" y="57"/>
                  </a:cubicBezTo>
                  <a:cubicBezTo>
                    <a:pt x="4" y="59"/>
                    <a:pt x="4" y="59"/>
                    <a:pt x="4" y="59"/>
                  </a:cubicBezTo>
                  <a:cubicBezTo>
                    <a:pt x="4" y="61"/>
                    <a:pt x="4" y="61"/>
                    <a:pt x="4" y="61"/>
                  </a:cubicBezTo>
                  <a:cubicBezTo>
                    <a:pt x="5" y="61"/>
                    <a:pt x="5" y="62"/>
                    <a:pt x="6" y="63"/>
                  </a:cubicBezTo>
                  <a:cubicBezTo>
                    <a:pt x="7" y="64"/>
                    <a:pt x="8" y="65"/>
                    <a:pt x="12" y="67"/>
                  </a:cubicBezTo>
                  <a:cubicBezTo>
                    <a:pt x="13" y="67"/>
                    <a:pt x="16" y="71"/>
                    <a:pt x="15" y="73"/>
                  </a:cubicBezTo>
                  <a:cubicBezTo>
                    <a:pt x="15" y="73"/>
                    <a:pt x="14" y="81"/>
                    <a:pt x="12" y="83"/>
                  </a:cubicBezTo>
                  <a:cubicBezTo>
                    <a:pt x="12" y="83"/>
                    <a:pt x="11" y="84"/>
                    <a:pt x="9" y="86"/>
                  </a:cubicBezTo>
                  <a:cubicBezTo>
                    <a:pt x="9" y="87"/>
                    <a:pt x="9" y="87"/>
                    <a:pt x="9" y="87"/>
                  </a:cubicBezTo>
                  <a:cubicBezTo>
                    <a:pt x="5" y="90"/>
                    <a:pt x="4" y="90"/>
                    <a:pt x="3" y="90"/>
                  </a:cubicBezTo>
                  <a:cubicBezTo>
                    <a:pt x="3" y="90"/>
                    <a:pt x="2" y="91"/>
                    <a:pt x="2" y="91"/>
                  </a:cubicBezTo>
                  <a:cubicBezTo>
                    <a:pt x="1" y="91"/>
                    <a:pt x="0" y="91"/>
                    <a:pt x="0" y="91"/>
                  </a:cubicBezTo>
                  <a:cubicBezTo>
                    <a:pt x="0" y="92"/>
                    <a:pt x="1" y="94"/>
                    <a:pt x="1" y="94"/>
                  </a:cubicBezTo>
                  <a:cubicBezTo>
                    <a:pt x="5" y="95"/>
                    <a:pt x="5" y="95"/>
                    <a:pt x="5" y="95"/>
                  </a:cubicBezTo>
                  <a:cubicBezTo>
                    <a:pt x="9" y="99"/>
                    <a:pt x="9" y="99"/>
                    <a:pt x="9" y="99"/>
                  </a:cubicBezTo>
                  <a:cubicBezTo>
                    <a:pt x="10" y="109"/>
                    <a:pt x="10" y="109"/>
                    <a:pt x="10" y="109"/>
                  </a:cubicBezTo>
                  <a:cubicBezTo>
                    <a:pt x="6" y="114"/>
                    <a:pt x="6" y="114"/>
                    <a:pt x="6" y="114"/>
                  </a:cubicBezTo>
                  <a:cubicBezTo>
                    <a:pt x="5" y="115"/>
                    <a:pt x="5" y="115"/>
                    <a:pt x="5" y="116"/>
                  </a:cubicBezTo>
                  <a:cubicBezTo>
                    <a:pt x="5" y="116"/>
                    <a:pt x="5" y="117"/>
                    <a:pt x="5" y="118"/>
                  </a:cubicBezTo>
                  <a:cubicBezTo>
                    <a:pt x="7" y="118"/>
                    <a:pt x="7" y="118"/>
                    <a:pt x="7" y="118"/>
                  </a:cubicBezTo>
                  <a:cubicBezTo>
                    <a:pt x="11" y="124"/>
                    <a:pt x="11" y="124"/>
                    <a:pt x="11" y="124"/>
                  </a:cubicBezTo>
                  <a:cubicBezTo>
                    <a:pt x="18" y="127"/>
                    <a:pt x="18" y="127"/>
                    <a:pt x="18" y="127"/>
                  </a:cubicBezTo>
                  <a:cubicBezTo>
                    <a:pt x="26" y="127"/>
                    <a:pt x="26" y="127"/>
                    <a:pt x="26" y="127"/>
                  </a:cubicBezTo>
                  <a:cubicBezTo>
                    <a:pt x="31" y="131"/>
                    <a:pt x="31" y="131"/>
                    <a:pt x="31" y="131"/>
                  </a:cubicBezTo>
                  <a:cubicBezTo>
                    <a:pt x="28" y="142"/>
                    <a:pt x="28" y="142"/>
                    <a:pt x="28" y="142"/>
                  </a:cubicBezTo>
                  <a:cubicBezTo>
                    <a:pt x="23" y="146"/>
                    <a:pt x="23" y="146"/>
                    <a:pt x="23" y="146"/>
                  </a:cubicBezTo>
                  <a:cubicBezTo>
                    <a:pt x="23" y="146"/>
                    <a:pt x="23" y="146"/>
                    <a:pt x="23" y="146"/>
                  </a:cubicBezTo>
                  <a:cubicBezTo>
                    <a:pt x="25" y="147"/>
                    <a:pt x="25" y="148"/>
                    <a:pt x="27" y="147"/>
                  </a:cubicBezTo>
                  <a:cubicBezTo>
                    <a:pt x="30" y="147"/>
                    <a:pt x="33" y="146"/>
                    <a:pt x="34" y="145"/>
                  </a:cubicBezTo>
                  <a:cubicBezTo>
                    <a:pt x="34" y="144"/>
                    <a:pt x="37" y="142"/>
                    <a:pt x="37" y="141"/>
                  </a:cubicBezTo>
                  <a:cubicBezTo>
                    <a:pt x="38" y="140"/>
                    <a:pt x="43" y="135"/>
                    <a:pt x="43" y="135"/>
                  </a:cubicBezTo>
                  <a:cubicBezTo>
                    <a:pt x="44" y="135"/>
                    <a:pt x="49" y="128"/>
                    <a:pt x="49" y="127"/>
                  </a:cubicBezTo>
                  <a:cubicBezTo>
                    <a:pt x="50" y="127"/>
                    <a:pt x="57" y="121"/>
                    <a:pt x="57" y="121"/>
                  </a:cubicBezTo>
                  <a:cubicBezTo>
                    <a:pt x="65" y="119"/>
                    <a:pt x="65" y="119"/>
                    <a:pt x="65" y="119"/>
                  </a:cubicBezTo>
                  <a:cubicBezTo>
                    <a:pt x="65" y="119"/>
                    <a:pt x="69" y="122"/>
                    <a:pt x="70" y="123"/>
                  </a:cubicBezTo>
                  <a:cubicBezTo>
                    <a:pt x="71" y="123"/>
                    <a:pt x="80" y="128"/>
                    <a:pt x="80" y="128"/>
                  </a:cubicBezTo>
                  <a:cubicBezTo>
                    <a:pt x="80" y="128"/>
                    <a:pt x="85" y="130"/>
                    <a:pt x="86" y="130"/>
                  </a:cubicBezTo>
                  <a:cubicBezTo>
                    <a:pt x="86" y="131"/>
                    <a:pt x="91" y="136"/>
                    <a:pt x="91" y="136"/>
                  </a:cubicBezTo>
                  <a:cubicBezTo>
                    <a:pt x="94" y="137"/>
                    <a:pt x="94" y="137"/>
                    <a:pt x="94" y="137"/>
                  </a:cubicBezTo>
                  <a:cubicBezTo>
                    <a:pt x="96" y="135"/>
                    <a:pt x="96" y="135"/>
                    <a:pt x="96" y="135"/>
                  </a:cubicBezTo>
                  <a:cubicBezTo>
                    <a:pt x="100" y="136"/>
                    <a:pt x="100" y="136"/>
                    <a:pt x="100" y="136"/>
                  </a:cubicBezTo>
                  <a:cubicBezTo>
                    <a:pt x="105" y="139"/>
                    <a:pt x="105" y="139"/>
                    <a:pt x="105" y="139"/>
                  </a:cubicBezTo>
                  <a:cubicBezTo>
                    <a:pt x="108" y="144"/>
                    <a:pt x="108" y="144"/>
                    <a:pt x="108" y="144"/>
                  </a:cubicBezTo>
                  <a:cubicBezTo>
                    <a:pt x="108" y="144"/>
                    <a:pt x="110" y="151"/>
                    <a:pt x="110" y="153"/>
                  </a:cubicBezTo>
                  <a:cubicBezTo>
                    <a:pt x="110" y="155"/>
                    <a:pt x="110" y="160"/>
                    <a:pt x="110" y="160"/>
                  </a:cubicBezTo>
                  <a:cubicBezTo>
                    <a:pt x="117" y="163"/>
                    <a:pt x="117" y="163"/>
                    <a:pt x="117" y="163"/>
                  </a:cubicBezTo>
                  <a:cubicBezTo>
                    <a:pt x="117" y="163"/>
                    <a:pt x="117" y="170"/>
                    <a:pt x="118" y="171"/>
                  </a:cubicBezTo>
                  <a:cubicBezTo>
                    <a:pt x="118" y="173"/>
                    <a:pt x="118" y="175"/>
                    <a:pt x="118" y="177"/>
                  </a:cubicBezTo>
                  <a:cubicBezTo>
                    <a:pt x="119" y="179"/>
                    <a:pt x="118" y="182"/>
                    <a:pt x="118" y="182"/>
                  </a:cubicBezTo>
                  <a:cubicBezTo>
                    <a:pt x="122" y="184"/>
                    <a:pt x="122" y="184"/>
                    <a:pt x="122" y="184"/>
                  </a:cubicBezTo>
                  <a:cubicBezTo>
                    <a:pt x="125" y="187"/>
                    <a:pt x="125" y="187"/>
                    <a:pt x="125" y="187"/>
                  </a:cubicBezTo>
                  <a:cubicBezTo>
                    <a:pt x="126" y="191"/>
                    <a:pt x="126" y="191"/>
                    <a:pt x="126" y="191"/>
                  </a:cubicBezTo>
                  <a:cubicBezTo>
                    <a:pt x="133" y="193"/>
                    <a:pt x="133" y="193"/>
                    <a:pt x="133" y="193"/>
                  </a:cubicBezTo>
                  <a:cubicBezTo>
                    <a:pt x="135" y="198"/>
                    <a:pt x="135" y="198"/>
                    <a:pt x="135" y="198"/>
                  </a:cubicBezTo>
                  <a:cubicBezTo>
                    <a:pt x="138" y="202"/>
                    <a:pt x="138" y="202"/>
                    <a:pt x="138" y="202"/>
                  </a:cubicBezTo>
                  <a:cubicBezTo>
                    <a:pt x="138" y="205"/>
                    <a:pt x="138" y="205"/>
                    <a:pt x="138" y="205"/>
                  </a:cubicBezTo>
                  <a:cubicBezTo>
                    <a:pt x="138" y="205"/>
                    <a:pt x="138" y="207"/>
                    <a:pt x="140" y="207"/>
                  </a:cubicBezTo>
                  <a:cubicBezTo>
                    <a:pt x="141" y="207"/>
                    <a:pt x="147" y="206"/>
                    <a:pt x="147" y="206"/>
                  </a:cubicBezTo>
                  <a:cubicBezTo>
                    <a:pt x="153" y="211"/>
                    <a:pt x="153" y="211"/>
                    <a:pt x="153" y="211"/>
                  </a:cubicBezTo>
                  <a:cubicBezTo>
                    <a:pt x="159" y="217"/>
                    <a:pt x="159" y="217"/>
                    <a:pt x="159" y="217"/>
                  </a:cubicBezTo>
                  <a:cubicBezTo>
                    <a:pt x="163" y="222"/>
                    <a:pt x="163" y="222"/>
                    <a:pt x="163" y="222"/>
                  </a:cubicBezTo>
                  <a:cubicBezTo>
                    <a:pt x="168" y="224"/>
                    <a:pt x="168" y="224"/>
                    <a:pt x="168" y="224"/>
                  </a:cubicBezTo>
                  <a:cubicBezTo>
                    <a:pt x="174" y="228"/>
                    <a:pt x="174" y="228"/>
                    <a:pt x="174" y="228"/>
                  </a:cubicBezTo>
                  <a:cubicBezTo>
                    <a:pt x="176" y="233"/>
                    <a:pt x="176" y="233"/>
                    <a:pt x="176" y="233"/>
                  </a:cubicBezTo>
                  <a:cubicBezTo>
                    <a:pt x="181" y="239"/>
                    <a:pt x="181" y="239"/>
                    <a:pt x="181" y="239"/>
                  </a:cubicBezTo>
                  <a:cubicBezTo>
                    <a:pt x="185" y="241"/>
                    <a:pt x="185" y="241"/>
                    <a:pt x="185" y="241"/>
                  </a:cubicBezTo>
                  <a:cubicBezTo>
                    <a:pt x="186" y="244"/>
                    <a:pt x="186" y="244"/>
                    <a:pt x="186" y="244"/>
                  </a:cubicBezTo>
                  <a:cubicBezTo>
                    <a:pt x="190" y="245"/>
                    <a:pt x="190" y="245"/>
                    <a:pt x="190" y="245"/>
                  </a:cubicBezTo>
                  <a:cubicBezTo>
                    <a:pt x="193" y="246"/>
                    <a:pt x="193" y="246"/>
                    <a:pt x="193" y="246"/>
                  </a:cubicBezTo>
                  <a:cubicBezTo>
                    <a:pt x="198" y="247"/>
                    <a:pt x="198" y="247"/>
                    <a:pt x="198" y="247"/>
                  </a:cubicBezTo>
                  <a:cubicBezTo>
                    <a:pt x="201" y="250"/>
                    <a:pt x="201" y="250"/>
                    <a:pt x="201" y="250"/>
                  </a:cubicBezTo>
                  <a:cubicBezTo>
                    <a:pt x="201" y="250"/>
                    <a:pt x="203" y="252"/>
                    <a:pt x="203" y="253"/>
                  </a:cubicBezTo>
                  <a:cubicBezTo>
                    <a:pt x="203" y="254"/>
                    <a:pt x="201" y="255"/>
                    <a:pt x="203" y="255"/>
                  </a:cubicBezTo>
                  <a:cubicBezTo>
                    <a:pt x="206" y="255"/>
                    <a:pt x="208" y="255"/>
                    <a:pt x="208" y="255"/>
                  </a:cubicBezTo>
                  <a:cubicBezTo>
                    <a:pt x="213" y="254"/>
                    <a:pt x="213" y="254"/>
                    <a:pt x="213" y="254"/>
                  </a:cubicBezTo>
                  <a:cubicBezTo>
                    <a:pt x="216" y="254"/>
                    <a:pt x="216" y="254"/>
                    <a:pt x="216" y="254"/>
                  </a:cubicBezTo>
                  <a:cubicBezTo>
                    <a:pt x="220" y="254"/>
                    <a:pt x="220" y="254"/>
                    <a:pt x="220" y="254"/>
                  </a:cubicBezTo>
                  <a:cubicBezTo>
                    <a:pt x="225" y="252"/>
                    <a:pt x="225" y="252"/>
                    <a:pt x="225" y="252"/>
                  </a:cubicBezTo>
                  <a:cubicBezTo>
                    <a:pt x="229" y="255"/>
                    <a:pt x="229" y="255"/>
                    <a:pt x="229" y="255"/>
                  </a:cubicBezTo>
                  <a:cubicBezTo>
                    <a:pt x="237" y="265"/>
                    <a:pt x="237" y="265"/>
                    <a:pt x="237" y="265"/>
                  </a:cubicBezTo>
                  <a:cubicBezTo>
                    <a:pt x="237" y="265"/>
                    <a:pt x="240" y="270"/>
                    <a:pt x="240" y="271"/>
                  </a:cubicBezTo>
                  <a:cubicBezTo>
                    <a:pt x="240" y="272"/>
                    <a:pt x="242" y="271"/>
                    <a:pt x="243" y="271"/>
                  </a:cubicBezTo>
                  <a:cubicBezTo>
                    <a:pt x="244" y="271"/>
                    <a:pt x="251" y="271"/>
                    <a:pt x="251" y="271"/>
                  </a:cubicBezTo>
                  <a:cubicBezTo>
                    <a:pt x="256" y="274"/>
                    <a:pt x="256" y="274"/>
                    <a:pt x="256" y="274"/>
                  </a:cubicBezTo>
                  <a:cubicBezTo>
                    <a:pt x="252" y="278"/>
                    <a:pt x="252" y="278"/>
                    <a:pt x="252" y="278"/>
                  </a:cubicBezTo>
                  <a:cubicBezTo>
                    <a:pt x="257" y="280"/>
                    <a:pt x="257" y="280"/>
                    <a:pt x="257" y="280"/>
                  </a:cubicBezTo>
                  <a:cubicBezTo>
                    <a:pt x="260" y="278"/>
                    <a:pt x="260" y="278"/>
                    <a:pt x="260" y="278"/>
                  </a:cubicBezTo>
                  <a:cubicBezTo>
                    <a:pt x="265" y="278"/>
                    <a:pt x="265" y="278"/>
                    <a:pt x="265" y="278"/>
                  </a:cubicBezTo>
                  <a:cubicBezTo>
                    <a:pt x="268" y="282"/>
                    <a:pt x="268" y="282"/>
                    <a:pt x="268" y="282"/>
                  </a:cubicBezTo>
                  <a:cubicBezTo>
                    <a:pt x="269" y="284"/>
                    <a:pt x="269" y="284"/>
                    <a:pt x="269" y="284"/>
                  </a:cubicBezTo>
                  <a:cubicBezTo>
                    <a:pt x="271" y="286"/>
                    <a:pt x="271" y="286"/>
                    <a:pt x="271" y="286"/>
                  </a:cubicBezTo>
                  <a:cubicBezTo>
                    <a:pt x="271" y="289"/>
                    <a:pt x="271" y="289"/>
                    <a:pt x="271" y="289"/>
                  </a:cubicBezTo>
                  <a:cubicBezTo>
                    <a:pt x="271" y="292"/>
                    <a:pt x="271" y="292"/>
                    <a:pt x="271" y="292"/>
                  </a:cubicBezTo>
                  <a:cubicBezTo>
                    <a:pt x="273" y="295"/>
                    <a:pt x="273" y="295"/>
                    <a:pt x="273" y="295"/>
                  </a:cubicBezTo>
                  <a:cubicBezTo>
                    <a:pt x="277" y="297"/>
                    <a:pt x="277" y="297"/>
                    <a:pt x="277" y="297"/>
                  </a:cubicBezTo>
                  <a:cubicBezTo>
                    <a:pt x="280" y="299"/>
                    <a:pt x="280" y="299"/>
                    <a:pt x="280" y="299"/>
                  </a:cubicBezTo>
                  <a:cubicBezTo>
                    <a:pt x="283" y="301"/>
                    <a:pt x="283" y="301"/>
                    <a:pt x="283" y="301"/>
                  </a:cubicBezTo>
                  <a:cubicBezTo>
                    <a:pt x="286" y="301"/>
                    <a:pt x="286" y="301"/>
                    <a:pt x="286" y="301"/>
                  </a:cubicBezTo>
                  <a:cubicBezTo>
                    <a:pt x="291" y="300"/>
                    <a:pt x="291" y="300"/>
                    <a:pt x="291" y="300"/>
                  </a:cubicBezTo>
                  <a:cubicBezTo>
                    <a:pt x="297" y="301"/>
                    <a:pt x="297" y="301"/>
                    <a:pt x="297" y="301"/>
                  </a:cubicBezTo>
                  <a:cubicBezTo>
                    <a:pt x="302" y="309"/>
                    <a:pt x="302" y="309"/>
                    <a:pt x="302" y="309"/>
                  </a:cubicBezTo>
                  <a:cubicBezTo>
                    <a:pt x="304" y="316"/>
                    <a:pt x="304" y="316"/>
                    <a:pt x="304" y="316"/>
                  </a:cubicBezTo>
                  <a:cubicBezTo>
                    <a:pt x="307" y="323"/>
                    <a:pt x="307" y="323"/>
                    <a:pt x="307" y="323"/>
                  </a:cubicBezTo>
                  <a:cubicBezTo>
                    <a:pt x="310" y="326"/>
                    <a:pt x="310" y="326"/>
                    <a:pt x="310" y="326"/>
                  </a:cubicBezTo>
                  <a:cubicBezTo>
                    <a:pt x="311" y="333"/>
                    <a:pt x="311" y="333"/>
                    <a:pt x="311" y="333"/>
                  </a:cubicBezTo>
                  <a:cubicBezTo>
                    <a:pt x="314" y="336"/>
                    <a:pt x="314" y="336"/>
                    <a:pt x="314" y="336"/>
                  </a:cubicBezTo>
                  <a:cubicBezTo>
                    <a:pt x="317" y="344"/>
                    <a:pt x="317" y="344"/>
                    <a:pt x="317" y="344"/>
                  </a:cubicBezTo>
                  <a:cubicBezTo>
                    <a:pt x="319" y="347"/>
                    <a:pt x="319" y="347"/>
                    <a:pt x="319" y="347"/>
                  </a:cubicBezTo>
                  <a:cubicBezTo>
                    <a:pt x="318" y="352"/>
                    <a:pt x="318" y="352"/>
                    <a:pt x="318" y="352"/>
                  </a:cubicBezTo>
                  <a:cubicBezTo>
                    <a:pt x="318" y="352"/>
                    <a:pt x="316" y="355"/>
                    <a:pt x="315" y="356"/>
                  </a:cubicBezTo>
                  <a:cubicBezTo>
                    <a:pt x="315" y="356"/>
                    <a:pt x="313" y="357"/>
                    <a:pt x="312" y="357"/>
                  </a:cubicBezTo>
                  <a:cubicBezTo>
                    <a:pt x="311" y="358"/>
                    <a:pt x="310" y="358"/>
                    <a:pt x="309" y="359"/>
                  </a:cubicBezTo>
                  <a:cubicBezTo>
                    <a:pt x="309" y="360"/>
                    <a:pt x="308" y="362"/>
                    <a:pt x="308" y="362"/>
                  </a:cubicBezTo>
                  <a:cubicBezTo>
                    <a:pt x="311" y="367"/>
                    <a:pt x="311" y="367"/>
                    <a:pt x="311" y="367"/>
                  </a:cubicBezTo>
                  <a:cubicBezTo>
                    <a:pt x="309" y="373"/>
                    <a:pt x="309" y="373"/>
                    <a:pt x="309" y="373"/>
                  </a:cubicBezTo>
                  <a:cubicBezTo>
                    <a:pt x="308" y="378"/>
                    <a:pt x="308" y="378"/>
                    <a:pt x="308" y="378"/>
                  </a:cubicBezTo>
                  <a:cubicBezTo>
                    <a:pt x="305" y="380"/>
                    <a:pt x="305" y="380"/>
                    <a:pt x="305" y="380"/>
                  </a:cubicBezTo>
                  <a:cubicBezTo>
                    <a:pt x="301" y="383"/>
                    <a:pt x="301" y="383"/>
                    <a:pt x="301" y="383"/>
                  </a:cubicBezTo>
                  <a:cubicBezTo>
                    <a:pt x="301" y="383"/>
                    <a:pt x="302" y="386"/>
                    <a:pt x="302" y="388"/>
                  </a:cubicBezTo>
                  <a:cubicBezTo>
                    <a:pt x="303" y="389"/>
                    <a:pt x="306" y="393"/>
                    <a:pt x="306" y="393"/>
                  </a:cubicBezTo>
                  <a:cubicBezTo>
                    <a:pt x="314" y="393"/>
                    <a:pt x="314" y="393"/>
                    <a:pt x="314" y="393"/>
                  </a:cubicBezTo>
                  <a:cubicBezTo>
                    <a:pt x="319" y="390"/>
                    <a:pt x="319" y="390"/>
                    <a:pt x="319" y="390"/>
                  </a:cubicBezTo>
                  <a:cubicBezTo>
                    <a:pt x="320" y="385"/>
                    <a:pt x="320" y="385"/>
                    <a:pt x="320" y="385"/>
                  </a:cubicBezTo>
                  <a:cubicBezTo>
                    <a:pt x="322" y="379"/>
                    <a:pt x="322" y="379"/>
                    <a:pt x="322" y="379"/>
                  </a:cubicBezTo>
                  <a:cubicBezTo>
                    <a:pt x="327" y="375"/>
                    <a:pt x="327" y="375"/>
                    <a:pt x="327" y="375"/>
                  </a:cubicBezTo>
                  <a:cubicBezTo>
                    <a:pt x="331" y="371"/>
                    <a:pt x="331" y="371"/>
                    <a:pt x="331" y="371"/>
                  </a:cubicBezTo>
                  <a:cubicBezTo>
                    <a:pt x="334" y="368"/>
                    <a:pt x="334" y="368"/>
                    <a:pt x="334" y="368"/>
                  </a:cubicBezTo>
                  <a:cubicBezTo>
                    <a:pt x="334" y="357"/>
                    <a:pt x="334" y="357"/>
                    <a:pt x="334" y="357"/>
                  </a:cubicBezTo>
                  <a:cubicBezTo>
                    <a:pt x="336" y="349"/>
                    <a:pt x="336" y="349"/>
                    <a:pt x="336" y="349"/>
                  </a:cubicBezTo>
                  <a:cubicBezTo>
                    <a:pt x="350" y="344"/>
                    <a:pt x="350" y="344"/>
                    <a:pt x="350" y="344"/>
                  </a:cubicBezTo>
                  <a:cubicBezTo>
                    <a:pt x="352" y="343"/>
                    <a:pt x="352" y="343"/>
                    <a:pt x="352" y="343"/>
                  </a:cubicBezTo>
                  <a:cubicBezTo>
                    <a:pt x="352" y="343"/>
                    <a:pt x="352" y="341"/>
                    <a:pt x="352" y="340"/>
                  </a:cubicBezTo>
                  <a:cubicBezTo>
                    <a:pt x="351" y="339"/>
                    <a:pt x="349" y="336"/>
                    <a:pt x="349" y="336"/>
                  </a:cubicBezTo>
                  <a:cubicBezTo>
                    <a:pt x="349" y="336"/>
                    <a:pt x="350" y="333"/>
                    <a:pt x="349" y="333"/>
                  </a:cubicBezTo>
                  <a:cubicBezTo>
                    <a:pt x="349" y="332"/>
                    <a:pt x="349" y="326"/>
                    <a:pt x="349" y="326"/>
                  </a:cubicBezTo>
                  <a:cubicBezTo>
                    <a:pt x="348" y="321"/>
                    <a:pt x="348" y="321"/>
                    <a:pt x="348" y="321"/>
                  </a:cubicBezTo>
                  <a:cubicBezTo>
                    <a:pt x="348" y="321"/>
                    <a:pt x="346" y="321"/>
                    <a:pt x="343" y="320"/>
                  </a:cubicBezTo>
                  <a:cubicBezTo>
                    <a:pt x="341" y="318"/>
                    <a:pt x="337" y="316"/>
                    <a:pt x="337" y="316"/>
                  </a:cubicBezTo>
                  <a:cubicBezTo>
                    <a:pt x="332" y="315"/>
                    <a:pt x="332" y="315"/>
                    <a:pt x="332" y="315"/>
                  </a:cubicBezTo>
                  <a:cubicBezTo>
                    <a:pt x="328" y="313"/>
                    <a:pt x="328" y="313"/>
                    <a:pt x="328" y="313"/>
                  </a:cubicBezTo>
                  <a:cubicBezTo>
                    <a:pt x="326" y="310"/>
                    <a:pt x="326" y="310"/>
                    <a:pt x="326" y="310"/>
                  </a:cubicBezTo>
                  <a:cubicBezTo>
                    <a:pt x="329" y="298"/>
                    <a:pt x="329" y="298"/>
                    <a:pt x="329" y="298"/>
                  </a:cubicBezTo>
                  <a:cubicBezTo>
                    <a:pt x="328" y="293"/>
                    <a:pt x="328" y="293"/>
                    <a:pt x="328" y="293"/>
                  </a:cubicBezTo>
                  <a:cubicBezTo>
                    <a:pt x="334" y="285"/>
                    <a:pt x="334" y="285"/>
                    <a:pt x="334" y="285"/>
                  </a:cubicBezTo>
                  <a:cubicBezTo>
                    <a:pt x="338" y="279"/>
                    <a:pt x="338" y="279"/>
                    <a:pt x="338" y="279"/>
                  </a:cubicBezTo>
                  <a:cubicBezTo>
                    <a:pt x="342" y="276"/>
                    <a:pt x="342" y="276"/>
                    <a:pt x="342" y="276"/>
                  </a:cubicBezTo>
                  <a:cubicBezTo>
                    <a:pt x="348" y="278"/>
                    <a:pt x="348" y="278"/>
                    <a:pt x="348" y="278"/>
                  </a:cubicBezTo>
                  <a:cubicBezTo>
                    <a:pt x="351" y="280"/>
                    <a:pt x="351" y="280"/>
                    <a:pt x="351" y="280"/>
                  </a:cubicBezTo>
                  <a:cubicBezTo>
                    <a:pt x="354" y="282"/>
                    <a:pt x="354" y="282"/>
                    <a:pt x="354" y="282"/>
                  </a:cubicBezTo>
                  <a:cubicBezTo>
                    <a:pt x="361" y="282"/>
                    <a:pt x="361" y="282"/>
                    <a:pt x="361" y="282"/>
                  </a:cubicBezTo>
                  <a:cubicBezTo>
                    <a:pt x="369" y="283"/>
                    <a:pt x="369" y="283"/>
                    <a:pt x="369" y="283"/>
                  </a:cubicBezTo>
                  <a:cubicBezTo>
                    <a:pt x="373" y="288"/>
                    <a:pt x="373" y="288"/>
                    <a:pt x="373" y="288"/>
                  </a:cubicBezTo>
                  <a:cubicBezTo>
                    <a:pt x="376" y="294"/>
                    <a:pt x="376" y="294"/>
                    <a:pt x="376" y="294"/>
                  </a:cubicBezTo>
                  <a:cubicBezTo>
                    <a:pt x="376" y="294"/>
                    <a:pt x="378" y="296"/>
                    <a:pt x="378" y="297"/>
                  </a:cubicBezTo>
                  <a:cubicBezTo>
                    <a:pt x="379" y="297"/>
                    <a:pt x="381" y="299"/>
                    <a:pt x="382" y="299"/>
                  </a:cubicBezTo>
                  <a:cubicBezTo>
                    <a:pt x="383" y="300"/>
                    <a:pt x="388" y="301"/>
                    <a:pt x="388" y="301"/>
                  </a:cubicBezTo>
                  <a:cubicBezTo>
                    <a:pt x="388" y="301"/>
                    <a:pt x="389" y="295"/>
                    <a:pt x="389" y="294"/>
                  </a:cubicBezTo>
                  <a:cubicBezTo>
                    <a:pt x="389" y="293"/>
                    <a:pt x="392" y="290"/>
                    <a:pt x="392" y="289"/>
                  </a:cubicBezTo>
                  <a:cubicBezTo>
                    <a:pt x="392" y="288"/>
                    <a:pt x="390" y="282"/>
                    <a:pt x="390" y="282"/>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Freeform 65"/>
            <p:cNvSpPr>
              <a:spLocks/>
            </p:cNvSpPr>
            <p:nvPr/>
          </p:nvSpPr>
          <p:spPr bwMode="auto">
            <a:xfrm>
              <a:off x="5273225" y="5310092"/>
              <a:ext cx="170409" cy="287297"/>
            </a:xfrm>
            <a:custGeom>
              <a:avLst/>
              <a:gdLst>
                <a:gd name="T0" fmla="*/ 54 w 59"/>
                <a:gd name="T1" fmla="*/ 21 h 105"/>
                <a:gd name="T2" fmla="*/ 49 w 59"/>
                <a:gd name="T3" fmla="*/ 11 h 105"/>
                <a:gd name="T4" fmla="*/ 47 w 59"/>
                <a:gd name="T5" fmla="*/ 4 h 105"/>
                <a:gd name="T6" fmla="*/ 37 w 59"/>
                <a:gd name="T7" fmla="*/ 0 h 105"/>
                <a:gd name="T8" fmla="*/ 32 w 59"/>
                <a:gd name="T9" fmla="*/ 2 h 105"/>
                <a:gd name="T10" fmla="*/ 29 w 59"/>
                <a:gd name="T11" fmla="*/ 4 h 105"/>
                <a:gd name="T12" fmla="*/ 23 w 59"/>
                <a:gd name="T13" fmla="*/ 10 h 105"/>
                <a:gd name="T14" fmla="*/ 21 w 59"/>
                <a:gd name="T15" fmla="*/ 14 h 105"/>
                <a:gd name="T16" fmla="*/ 15 w 59"/>
                <a:gd name="T17" fmla="*/ 15 h 105"/>
                <a:gd name="T18" fmla="*/ 12 w 59"/>
                <a:gd name="T19" fmla="*/ 17 h 105"/>
                <a:gd name="T20" fmla="*/ 5 w 59"/>
                <a:gd name="T21" fmla="*/ 15 h 105"/>
                <a:gd name="T22" fmla="*/ 6 w 59"/>
                <a:gd name="T23" fmla="*/ 10 h 105"/>
                <a:gd name="T24" fmla="*/ 6 w 59"/>
                <a:gd name="T25" fmla="*/ 6 h 105"/>
                <a:gd name="T26" fmla="*/ 4 w 59"/>
                <a:gd name="T27" fmla="*/ 9 h 105"/>
                <a:gd name="T28" fmla="*/ 1 w 59"/>
                <a:gd name="T29" fmla="*/ 18 h 105"/>
                <a:gd name="T30" fmla="*/ 0 w 59"/>
                <a:gd name="T31" fmla="*/ 20 h 105"/>
                <a:gd name="T32" fmla="*/ 1 w 59"/>
                <a:gd name="T33" fmla="*/ 23 h 105"/>
                <a:gd name="T34" fmla="*/ 1 w 59"/>
                <a:gd name="T35" fmla="*/ 28 h 105"/>
                <a:gd name="T36" fmla="*/ 6 w 59"/>
                <a:gd name="T37" fmla="*/ 31 h 105"/>
                <a:gd name="T38" fmla="*/ 8 w 59"/>
                <a:gd name="T39" fmla="*/ 34 h 105"/>
                <a:gd name="T40" fmla="*/ 8 w 59"/>
                <a:gd name="T41" fmla="*/ 38 h 105"/>
                <a:gd name="T42" fmla="*/ 11 w 59"/>
                <a:gd name="T43" fmla="*/ 40 h 105"/>
                <a:gd name="T44" fmla="*/ 12 w 59"/>
                <a:gd name="T45" fmla="*/ 46 h 105"/>
                <a:gd name="T46" fmla="*/ 11 w 59"/>
                <a:gd name="T47" fmla="*/ 50 h 105"/>
                <a:gd name="T48" fmla="*/ 7 w 59"/>
                <a:gd name="T49" fmla="*/ 54 h 105"/>
                <a:gd name="T50" fmla="*/ 12 w 59"/>
                <a:gd name="T51" fmla="*/ 58 h 105"/>
                <a:gd name="T52" fmla="*/ 14 w 59"/>
                <a:gd name="T53" fmla="*/ 58 h 105"/>
                <a:gd name="T54" fmla="*/ 14 w 59"/>
                <a:gd name="T55" fmla="*/ 62 h 105"/>
                <a:gd name="T56" fmla="*/ 12 w 59"/>
                <a:gd name="T57" fmla="*/ 66 h 105"/>
                <a:gd name="T58" fmla="*/ 11 w 59"/>
                <a:gd name="T59" fmla="*/ 71 h 105"/>
                <a:gd name="T60" fmla="*/ 10 w 59"/>
                <a:gd name="T61" fmla="*/ 74 h 105"/>
                <a:gd name="T62" fmla="*/ 10 w 59"/>
                <a:gd name="T63" fmla="*/ 82 h 105"/>
                <a:gd name="T64" fmla="*/ 8 w 59"/>
                <a:gd name="T65" fmla="*/ 88 h 105"/>
                <a:gd name="T66" fmla="*/ 10 w 59"/>
                <a:gd name="T67" fmla="*/ 93 h 105"/>
                <a:gd name="T68" fmla="*/ 8 w 59"/>
                <a:gd name="T69" fmla="*/ 98 h 105"/>
                <a:gd name="T70" fmla="*/ 12 w 59"/>
                <a:gd name="T71" fmla="*/ 98 h 105"/>
                <a:gd name="T72" fmla="*/ 14 w 59"/>
                <a:gd name="T73" fmla="*/ 97 h 105"/>
                <a:gd name="T74" fmla="*/ 19 w 59"/>
                <a:gd name="T75" fmla="*/ 103 h 105"/>
                <a:gd name="T76" fmla="*/ 23 w 59"/>
                <a:gd name="T77" fmla="*/ 105 h 105"/>
                <a:gd name="T78" fmla="*/ 28 w 59"/>
                <a:gd name="T79" fmla="*/ 105 h 105"/>
                <a:gd name="T80" fmla="*/ 31 w 59"/>
                <a:gd name="T81" fmla="*/ 97 h 105"/>
                <a:gd name="T82" fmla="*/ 30 w 59"/>
                <a:gd name="T83" fmla="*/ 93 h 105"/>
                <a:gd name="T84" fmla="*/ 33 w 59"/>
                <a:gd name="T85" fmla="*/ 88 h 105"/>
                <a:gd name="T86" fmla="*/ 36 w 59"/>
                <a:gd name="T87" fmla="*/ 88 h 105"/>
                <a:gd name="T88" fmla="*/ 46 w 59"/>
                <a:gd name="T89" fmla="*/ 95 h 105"/>
                <a:gd name="T90" fmla="*/ 51 w 59"/>
                <a:gd name="T91" fmla="*/ 92 h 105"/>
                <a:gd name="T92" fmla="*/ 52 w 59"/>
                <a:gd name="T93" fmla="*/ 86 h 105"/>
                <a:gd name="T94" fmla="*/ 53 w 59"/>
                <a:gd name="T95" fmla="*/ 74 h 105"/>
                <a:gd name="T96" fmla="*/ 51 w 59"/>
                <a:gd name="T97" fmla="*/ 65 h 105"/>
                <a:gd name="T98" fmla="*/ 56 w 59"/>
                <a:gd name="T99" fmla="*/ 53 h 105"/>
                <a:gd name="T100" fmla="*/ 53 w 59"/>
                <a:gd name="T101" fmla="*/ 47 h 105"/>
                <a:gd name="T102" fmla="*/ 53 w 59"/>
                <a:gd name="T103" fmla="*/ 41 h 105"/>
                <a:gd name="T104" fmla="*/ 58 w 59"/>
                <a:gd name="T105" fmla="*/ 31 h 105"/>
                <a:gd name="T106" fmla="*/ 56 w 59"/>
                <a:gd name="T107" fmla="*/ 25 h 105"/>
                <a:gd name="T108" fmla="*/ 54 w 59"/>
                <a:gd name="T109" fmla="*/ 2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9" h="105">
                  <a:moveTo>
                    <a:pt x="54" y="21"/>
                  </a:moveTo>
                  <a:cubicBezTo>
                    <a:pt x="49" y="11"/>
                    <a:pt x="49" y="11"/>
                    <a:pt x="49" y="11"/>
                  </a:cubicBezTo>
                  <a:cubicBezTo>
                    <a:pt x="47" y="4"/>
                    <a:pt x="47" y="4"/>
                    <a:pt x="47" y="4"/>
                  </a:cubicBezTo>
                  <a:cubicBezTo>
                    <a:pt x="37" y="0"/>
                    <a:pt x="37" y="0"/>
                    <a:pt x="37" y="0"/>
                  </a:cubicBezTo>
                  <a:cubicBezTo>
                    <a:pt x="37" y="0"/>
                    <a:pt x="33" y="2"/>
                    <a:pt x="32" y="2"/>
                  </a:cubicBezTo>
                  <a:cubicBezTo>
                    <a:pt x="31" y="3"/>
                    <a:pt x="30" y="4"/>
                    <a:pt x="29" y="4"/>
                  </a:cubicBezTo>
                  <a:cubicBezTo>
                    <a:pt x="28" y="5"/>
                    <a:pt x="24" y="9"/>
                    <a:pt x="23" y="10"/>
                  </a:cubicBezTo>
                  <a:cubicBezTo>
                    <a:pt x="22" y="12"/>
                    <a:pt x="21" y="14"/>
                    <a:pt x="21" y="14"/>
                  </a:cubicBezTo>
                  <a:cubicBezTo>
                    <a:pt x="21" y="14"/>
                    <a:pt x="16" y="15"/>
                    <a:pt x="15" y="15"/>
                  </a:cubicBezTo>
                  <a:cubicBezTo>
                    <a:pt x="14" y="16"/>
                    <a:pt x="13" y="17"/>
                    <a:pt x="12" y="17"/>
                  </a:cubicBezTo>
                  <a:cubicBezTo>
                    <a:pt x="11" y="18"/>
                    <a:pt x="5" y="15"/>
                    <a:pt x="5" y="15"/>
                  </a:cubicBezTo>
                  <a:cubicBezTo>
                    <a:pt x="6" y="10"/>
                    <a:pt x="6" y="10"/>
                    <a:pt x="6" y="10"/>
                  </a:cubicBezTo>
                  <a:cubicBezTo>
                    <a:pt x="6" y="6"/>
                    <a:pt x="6" y="6"/>
                    <a:pt x="6" y="6"/>
                  </a:cubicBezTo>
                  <a:cubicBezTo>
                    <a:pt x="4" y="9"/>
                    <a:pt x="4" y="9"/>
                    <a:pt x="4" y="9"/>
                  </a:cubicBezTo>
                  <a:cubicBezTo>
                    <a:pt x="1" y="18"/>
                    <a:pt x="1" y="18"/>
                    <a:pt x="1" y="18"/>
                  </a:cubicBezTo>
                  <a:cubicBezTo>
                    <a:pt x="0" y="20"/>
                    <a:pt x="0" y="20"/>
                    <a:pt x="0" y="20"/>
                  </a:cubicBezTo>
                  <a:cubicBezTo>
                    <a:pt x="1" y="23"/>
                    <a:pt x="1" y="23"/>
                    <a:pt x="1" y="23"/>
                  </a:cubicBezTo>
                  <a:cubicBezTo>
                    <a:pt x="1" y="28"/>
                    <a:pt x="1" y="28"/>
                    <a:pt x="1" y="28"/>
                  </a:cubicBezTo>
                  <a:cubicBezTo>
                    <a:pt x="1" y="28"/>
                    <a:pt x="5" y="31"/>
                    <a:pt x="6" y="31"/>
                  </a:cubicBezTo>
                  <a:cubicBezTo>
                    <a:pt x="8" y="31"/>
                    <a:pt x="8" y="34"/>
                    <a:pt x="8" y="34"/>
                  </a:cubicBezTo>
                  <a:cubicBezTo>
                    <a:pt x="8" y="38"/>
                    <a:pt x="8" y="38"/>
                    <a:pt x="8" y="38"/>
                  </a:cubicBezTo>
                  <a:cubicBezTo>
                    <a:pt x="8" y="38"/>
                    <a:pt x="10" y="40"/>
                    <a:pt x="11" y="40"/>
                  </a:cubicBezTo>
                  <a:cubicBezTo>
                    <a:pt x="12" y="41"/>
                    <a:pt x="12" y="45"/>
                    <a:pt x="12" y="46"/>
                  </a:cubicBezTo>
                  <a:cubicBezTo>
                    <a:pt x="12" y="48"/>
                    <a:pt x="12" y="49"/>
                    <a:pt x="11" y="50"/>
                  </a:cubicBezTo>
                  <a:cubicBezTo>
                    <a:pt x="9" y="52"/>
                    <a:pt x="7" y="54"/>
                    <a:pt x="7" y="54"/>
                  </a:cubicBezTo>
                  <a:cubicBezTo>
                    <a:pt x="12" y="58"/>
                    <a:pt x="12" y="58"/>
                    <a:pt x="12" y="58"/>
                  </a:cubicBezTo>
                  <a:cubicBezTo>
                    <a:pt x="14" y="58"/>
                    <a:pt x="14" y="58"/>
                    <a:pt x="14" y="58"/>
                  </a:cubicBezTo>
                  <a:cubicBezTo>
                    <a:pt x="14" y="62"/>
                    <a:pt x="14" y="62"/>
                    <a:pt x="14" y="62"/>
                  </a:cubicBezTo>
                  <a:cubicBezTo>
                    <a:pt x="12" y="66"/>
                    <a:pt x="12" y="66"/>
                    <a:pt x="12" y="66"/>
                  </a:cubicBezTo>
                  <a:cubicBezTo>
                    <a:pt x="11" y="71"/>
                    <a:pt x="11" y="71"/>
                    <a:pt x="11" y="71"/>
                  </a:cubicBezTo>
                  <a:cubicBezTo>
                    <a:pt x="10" y="74"/>
                    <a:pt x="10" y="74"/>
                    <a:pt x="10" y="74"/>
                  </a:cubicBezTo>
                  <a:cubicBezTo>
                    <a:pt x="10" y="82"/>
                    <a:pt x="10" y="82"/>
                    <a:pt x="10" y="82"/>
                  </a:cubicBezTo>
                  <a:cubicBezTo>
                    <a:pt x="8" y="88"/>
                    <a:pt x="8" y="88"/>
                    <a:pt x="8" y="88"/>
                  </a:cubicBezTo>
                  <a:cubicBezTo>
                    <a:pt x="10" y="93"/>
                    <a:pt x="10" y="93"/>
                    <a:pt x="10" y="93"/>
                  </a:cubicBezTo>
                  <a:cubicBezTo>
                    <a:pt x="8" y="98"/>
                    <a:pt x="8" y="98"/>
                    <a:pt x="8" y="98"/>
                  </a:cubicBezTo>
                  <a:cubicBezTo>
                    <a:pt x="8" y="98"/>
                    <a:pt x="10" y="99"/>
                    <a:pt x="12" y="98"/>
                  </a:cubicBezTo>
                  <a:cubicBezTo>
                    <a:pt x="14" y="98"/>
                    <a:pt x="14" y="97"/>
                    <a:pt x="14" y="97"/>
                  </a:cubicBezTo>
                  <a:cubicBezTo>
                    <a:pt x="19" y="103"/>
                    <a:pt x="19" y="103"/>
                    <a:pt x="19" y="103"/>
                  </a:cubicBezTo>
                  <a:cubicBezTo>
                    <a:pt x="23" y="105"/>
                    <a:pt x="23" y="105"/>
                    <a:pt x="23" y="105"/>
                  </a:cubicBezTo>
                  <a:cubicBezTo>
                    <a:pt x="28" y="105"/>
                    <a:pt x="28" y="105"/>
                    <a:pt x="28" y="105"/>
                  </a:cubicBezTo>
                  <a:cubicBezTo>
                    <a:pt x="31" y="97"/>
                    <a:pt x="31" y="97"/>
                    <a:pt x="31" y="97"/>
                  </a:cubicBezTo>
                  <a:cubicBezTo>
                    <a:pt x="30" y="93"/>
                    <a:pt x="30" y="93"/>
                    <a:pt x="30" y="93"/>
                  </a:cubicBezTo>
                  <a:cubicBezTo>
                    <a:pt x="33" y="88"/>
                    <a:pt x="33" y="88"/>
                    <a:pt x="33" y="88"/>
                  </a:cubicBezTo>
                  <a:cubicBezTo>
                    <a:pt x="36" y="88"/>
                    <a:pt x="36" y="88"/>
                    <a:pt x="36" y="88"/>
                  </a:cubicBezTo>
                  <a:cubicBezTo>
                    <a:pt x="36" y="88"/>
                    <a:pt x="44" y="94"/>
                    <a:pt x="46" y="95"/>
                  </a:cubicBezTo>
                  <a:cubicBezTo>
                    <a:pt x="48" y="96"/>
                    <a:pt x="51" y="92"/>
                    <a:pt x="51" y="92"/>
                  </a:cubicBezTo>
                  <a:cubicBezTo>
                    <a:pt x="52" y="86"/>
                    <a:pt x="52" y="86"/>
                    <a:pt x="52" y="86"/>
                  </a:cubicBezTo>
                  <a:cubicBezTo>
                    <a:pt x="53" y="74"/>
                    <a:pt x="53" y="74"/>
                    <a:pt x="53" y="74"/>
                  </a:cubicBezTo>
                  <a:cubicBezTo>
                    <a:pt x="51" y="65"/>
                    <a:pt x="51" y="65"/>
                    <a:pt x="51" y="65"/>
                  </a:cubicBezTo>
                  <a:cubicBezTo>
                    <a:pt x="56" y="53"/>
                    <a:pt x="56" y="53"/>
                    <a:pt x="56" y="53"/>
                  </a:cubicBezTo>
                  <a:cubicBezTo>
                    <a:pt x="53" y="47"/>
                    <a:pt x="53" y="47"/>
                    <a:pt x="53" y="47"/>
                  </a:cubicBezTo>
                  <a:cubicBezTo>
                    <a:pt x="53" y="41"/>
                    <a:pt x="53" y="41"/>
                    <a:pt x="53" y="41"/>
                  </a:cubicBezTo>
                  <a:cubicBezTo>
                    <a:pt x="53" y="41"/>
                    <a:pt x="57" y="33"/>
                    <a:pt x="58" y="31"/>
                  </a:cubicBezTo>
                  <a:cubicBezTo>
                    <a:pt x="59" y="28"/>
                    <a:pt x="56" y="25"/>
                    <a:pt x="56" y="25"/>
                  </a:cubicBezTo>
                  <a:lnTo>
                    <a:pt x="54" y="21"/>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Freeform 66"/>
            <p:cNvSpPr>
              <a:spLocks/>
            </p:cNvSpPr>
            <p:nvPr/>
          </p:nvSpPr>
          <p:spPr bwMode="auto">
            <a:xfrm>
              <a:off x="5716577" y="5632791"/>
              <a:ext cx="304715" cy="200155"/>
            </a:xfrm>
            <a:custGeom>
              <a:avLst/>
              <a:gdLst>
                <a:gd name="T0" fmla="*/ 100 w 105"/>
                <a:gd name="T1" fmla="*/ 19 h 73"/>
                <a:gd name="T2" fmla="*/ 105 w 105"/>
                <a:gd name="T3" fmla="*/ 10 h 73"/>
                <a:gd name="T4" fmla="*/ 104 w 105"/>
                <a:gd name="T5" fmla="*/ 5 h 73"/>
                <a:gd name="T6" fmla="*/ 101 w 105"/>
                <a:gd name="T7" fmla="*/ 0 h 73"/>
                <a:gd name="T8" fmla="*/ 95 w 105"/>
                <a:gd name="T9" fmla="*/ 4 h 73"/>
                <a:gd name="T10" fmla="*/ 93 w 105"/>
                <a:gd name="T11" fmla="*/ 7 h 73"/>
                <a:gd name="T12" fmla="*/ 88 w 105"/>
                <a:gd name="T13" fmla="*/ 6 h 73"/>
                <a:gd name="T14" fmla="*/ 81 w 105"/>
                <a:gd name="T15" fmla="*/ 4 h 73"/>
                <a:gd name="T16" fmla="*/ 76 w 105"/>
                <a:gd name="T17" fmla="*/ 10 h 73"/>
                <a:gd name="T18" fmla="*/ 68 w 105"/>
                <a:gd name="T19" fmla="*/ 13 h 73"/>
                <a:gd name="T20" fmla="*/ 62 w 105"/>
                <a:gd name="T21" fmla="*/ 15 h 73"/>
                <a:gd name="T22" fmla="*/ 57 w 105"/>
                <a:gd name="T23" fmla="*/ 16 h 73"/>
                <a:gd name="T24" fmla="*/ 52 w 105"/>
                <a:gd name="T25" fmla="*/ 16 h 73"/>
                <a:gd name="T26" fmla="*/ 44 w 105"/>
                <a:gd name="T27" fmla="*/ 17 h 73"/>
                <a:gd name="T28" fmla="*/ 36 w 105"/>
                <a:gd name="T29" fmla="*/ 15 h 73"/>
                <a:gd name="T30" fmla="*/ 32 w 105"/>
                <a:gd name="T31" fmla="*/ 11 h 73"/>
                <a:gd name="T32" fmla="*/ 26 w 105"/>
                <a:gd name="T33" fmla="*/ 9 h 73"/>
                <a:gd name="T34" fmla="*/ 22 w 105"/>
                <a:gd name="T35" fmla="*/ 11 h 73"/>
                <a:gd name="T36" fmla="*/ 20 w 105"/>
                <a:gd name="T37" fmla="*/ 15 h 73"/>
                <a:gd name="T38" fmla="*/ 16 w 105"/>
                <a:gd name="T39" fmla="*/ 18 h 73"/>
                <a:gd name="T40" fmla="*/ 11 w 105"/>
                <a:gd name="T41" fmla="*/ 15 h 73"/>
                <a:gd name="T42" fmla="*/ 9 w 105"/>
                <a:gd name="T43" fmla="*/ 12 h 73"/>
                <a:gd name="T44" fmla="*/ 5 w 105"/>
                <a:gd name="T45" fmla="*/ 13 h 73"/>
                <a:gd name="T46" fmla="*/ 1 w 105"/>
                <a:gd name="T47" fmla="*/ 18 h 73"/>
                <a:gd name="T48" fmla="*/ 1 w 105"/>
                <a:gd name="T49" fmla="*/ 26 h 73"/>
                <a:gd name="T50" fmla="*/ 0 w 105"/>
                <a:gd name="T51" fmla="*/ 32 h 73"/>
                <a:gd name="T52" fmla="*/ 6 w 105"/>
                <a:gd name="T53" fmla="*/ 36 h 73"/>
                <a:gd name="T54" fmla="*/ 10 w 105"/>
                <a:gd name="T55" fmla="*/ 38 h 73"/>
                <a:gd name="T56" fmla="*/ 16 w 105"/>
                <a:gd name="T57" fmla="*/ 37 h 73"/>
                <a:gd name="T58" fmla="*/ 20 w 105"/>
                <a:gd name="T59" fmla="*/ 41 h 73"/>
                <a:gd name="T60" fmla="*/ 27 w 105"/>
                <a:gd name="T61" fmla="*/ 41 h 73"/>
                <a:gd name="T62" fmla="*/ 34 w 105"/>
                <a:gd name="T63" fmla="*/ 47 h 73"/>
                <a:gd name="T64" fmla="*/ 37 w 105"/>
                <a:gd name="T65" fmla="*/ 48 h 73"/>
                <a:gd name="T66" fmla="*/ 40 w 105"/>
                <a:gd name="T67" fmla="*/ 51 h 73"/>
                <a:gd name="T68" fmla="*/ 47 w 105"/>
                <a:gd name="T69" fmla="*/ 57 h 73"/>
                <a:gd name="T70" fmla="*/ 63 w 105"/>
                <a:gd name="T71" fmla="*/ 59 h 73"/>
                <a:gd name="T72" fmla="*/ 69 w 105"/>
                <a:gd name="T73" fmla="*/ 60 h 73"/>
                <a:gd name="T74" fmla="*/ 71 w 105"/>
                <a:gd name="T75" fmla="*/ 68 h 73"/>
                <a:gd name="T76" fmla="*/ 74 w 105"/>
                <a:gd name="T77" fmla="*/ 69 h 73"/>
                <a:gd name="T78" fmla="*/ 79 w 105"/>
                <a:gd name="T79" fmla="*/ 71 h 73"/>
                <a:gd name="T80" fmla="*/ 87 w 105"/>
                <a:gd name="T81" fmla="*/ 72 h 73"/>
                <a:gd name="T82" fmla="*/ 96 w 105"/>
                <a:gd name="T83" fmla="*/ 73 h 73"/>
                <a:gd name="T84" fmla="*/ 98 w 105"/>
                <a:gd name="T85" fmla="*/ 70 h 73"/>
                <a:gd name="T86" fmla="*/ 98 w 105"/>
                <a:gd name="T87" fmla="*/ 68 h 73"/>
                <a:gd name="T88" fmla="*/ 98 w 105"/>
                <a:gd name="T89" fmla="*/ 66 h 73"/>
                <a:gd name="T90" fmla="*/ 99 w 105"/>
                <a:gd name="T91" fmla="*/ 61 h 73"/>
                <a:gd name="T92" fmla="*/ 103 w 105"/>
                <a:gd name="T93" fmla="*/ 56 h 73"/>
                <a:gd name="T94" fmla="*/ 101 w 105"/>
                <a:gd name="T95" fmla="*/ 53 h 73"/>
                <a:gd name="T96" fmla="*/ 100 w 105"/>
                <a:gd name="T97" fmla="*/ 49 h 73"/>
                <a:gd name="T98" fmla="*/ 96 w 105"/>
                <a:gd name="T99" fmla="*/ 44 h 73"/>
                <a:gd name="T100" fmla="*/ 93 w 105"/>
                <a:gd name="T101" fmla="*/ 38 h 73"/>
                <a:gd name="T102" fmla="*/ 92 w 105"/>
                <a:gd name="T103" fmla="*/ 34 h 73"/>
                <a:gd name="T104" fmla="*/ 97 w 105"/>
                <a:gd name="T105" fmla="*/ 25 h 73"/>
                <a:gd name="T106" fmla="*/ 100 w 105"/>
                <a:gd name="T107" fmla="*/ 19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73">
                  <a:moveTo>
                    <a:pt x="100" y="19"/>
                  </a:moveTo>
                  <a:cubicBezTo>
                    <a:pt x="100" y="19"/>
                    <a:pt x="105" y="10"/>
                    <a:pt x="105" y="10"/>
                  </a:cubicBezTo>
                  <a:cubicBezTo>
                    <a:pt x="104" y="5"/>
                    <a:pt x="104" y="5"/>
                    <a:pt x="104" y="5"/>
                  </a:cubicBezTo>
                  <a:cubicBezTo>
                    <a:pt x="101" y="0"/>
                    <a:pt x="101" y="0"/>
                    <a:pt x="101" y="0"/>
                  </a:cubicBezTo>
                  <a:cubicBezTo>
                    <a:pt x="95" y="4"/>
                    <a:pt x="95" y="4"/>
                    <a:pt x="95" y="4"/>
                  </a:cubicBezTo>
                  <a:cubicBezTo>
                    <a:pt x="93" y="7"/>
                    <a:pt x="93" y="7"/>
                    <a:pt x="93" y="7"/>
                  </a:cubicBezTo>
                  <a:cubicBezTo>
                    <a:pt x="88" y="6"/>
                    <a:pt x="88" y="6"/>
                    <a:pt x="88" y="6"/>
                  </a:cubicBezTo>
                  <a:cubicBezTo>
                    <a:pt x="81" y="4"/>
                    <a:pt x="81" y="4"/>
                    <a:pt x="81" y="4"/>
                  </a:cubicBezTo>
                  <a:cubicBezTo>
                    <a:pt x="76" y="10"/>
                    <a:pt x="76" y="10"/>
                    <a:pt x="76" y="10"/>
                  </a:cubicBezTo>
                  <a:cubicBezTo>
                    <a:pt x="68" y="13"/>
                    <a:pt x="68" y="13"/>
                    <a:pt x="68" y="13"/>
                  </a:cubicBezTo>
                  <a:cubicBezTo>
                    <a:pt x="68" y="13"/>
                    <a:pt x="63" y="14"/>
                    <a:pt x="62" y="15"/>
                  </a:cubicBezTo>
                  <a:cubicBezTo>
                    <a:pt x="61" y="15"/>
                    <a:pt x="57" y="16"/>
                    <a:pt x="57" y="16"/>
                  </a:cubicBezTo>
                  <a:cubicBezTo>
                    <a:pt x="52" y="16"/>
                    <a:pt x="52" y="16"/>
                    <a:pt x="52" y="16"/>
                  </a:cubicBezTo>
                  <a:cubicBezTo>
                    <a:pt x="44" y="17"/>
                    <a:pt x="44" y="17"/>
                    <a:pt x="44" y="17"/>
                  </a:cubicBezTo>
                  <a:cubicBezTo>
                    <a:pt x="36" y="15"/>
                    <a:pt x="36" y="15"/>
                    <a:pt x="36" y="15"/>
                  </a:cubicBezTo>
                  <a:cubicBezTo>
                    <a:pt x="32" y="11"/>
                    <a:pt x="32" y="11"/>
                    <a:pt x="32" y="11"/>
                  </a:cubicBezTo>
                  <a:cubicBezTo>
                    <a:pt x="26" y="9"/>
                    <a:pt x="26" y="9"/>
                    <a:pt x="26" y="9"/>
                  </a:cubicBezTo>
                  <a:cubicBezTo>
                    <a:pt x="22" y="11"/>
                    <a:pt x="22" y="11"/>
                    <a:pt x="22" y="11"/>
                  </a:cubicBezTo>
                  <a:cubicBezTo>
                    <a:pt x="20" y="15"/>
                    <a:pt x="20" y="15"/>
                    <a:pt x="20" y="15"/>
                  </a:cubicBezTo>
                  <a:cubicBezTo>
                    <a:pt x="16" y="18"/>
                    <a:pt x="16" y="18"/>
                    <a:pt x="16" y="18"/>
                  </a:cubicBezTo>
                  <a:cubicBezTo>
                    <a:pt x="11" y="15"/>
                    <a:pt x="11" y="15"/>
                    <a:pt x="11" y="15"/>
                  </a:cubicBezTo>
                  <a:cubicBezTo>
                    <a:pt x="9" y="12"/>
                    <a:pt x="9" y="12"/>
                    <a:pt x="9" y="12"/>
                  </a:cubicBezTo>
                  <a:cubicBezTo>
                    <a:pt x="5" y="13"/>
                    <a:pt x="5" y="13"/>
                    <a:pt x="5" y="13"/>
                  </a:cubicBezTo>
                  <a:cubicBezTo>
                    <a:pt x="1" y="18"/>
                    <a:pt x="1" y="18"/>
                    <a:pt x="1" y="18"/>
                  </a:cubicBezTo>
                  <a:cubicBezTo>
                    <a:pt x="1" y="18"/>
                    <a:pt x="1" y="25"/>
                    <a:pt x="1" y="26"/>
                  </a:cubicBezTo>
                  <a:cubicBezTo>
                    <a:pt x="1" y="27"/>
                    <a:pt x="0" y="32"/>
                    <a:pt x="0" y="32"/>
                  </a:cubicBezTo>
                  <a:cubicBezTo>
                    <a:pt x="0" y="32"/>
                    <a:pt x="5" y="35"/>
                    <a:pt x="6" y="36"/>
                  </a:cubicBezTo>
                  <a:cubicBezTo>
                    <a:pt x="6" y="37"/>
                    <a:pt x="10" y="38"/>
                    <a:pt x="10" y="38"/>
                  </a:cubicBezTo>
                  <a:cubicBezTo>
                    <a:pt x="16" y="37"/>
                    <a:pt x="16" y="37"/>
                    <a:pt x="16" y="37"/>
                  </a:cubicBezTo>
                  <a:cubicBezTo>
                    <a:pt x="20" y="41"/>
                    <a:pt x="20" y="41"/>
                    <a:pt x="20" y="41"/>
                  </a:cubicBezTo>
                  <a:cubicBezTo>
                    <a:pt x="27" y="41"/>
                    <a:pt x="27" y="41"/>
                    <a:pt x="27" y="41"/>
                  </a:cubicBezTo>
                  <a:cubicBezTo>
                    <a:pt x="34" y="47"/>
                    <a:pt x="34" y="47"/>
                    <a:pt x="34" y="47"/>
                  </a:cubicBezTo>
                  <a:cubicBezTo>
                    <a:pt x="37" y="48"/>
                    <a:pt x="37" y="48"/>
                    <a:pt x="37" y="48"/>
                  </a:cubicBezTo>
                  <a:cubicBezTo>
                    <a:pt x="37" y="48"/>
                    <a:pt x="39" y="51"/>
                    <a:pt x="40" y="51"/>
                  </a:cubicBezTo>
                  <a:cubicBezTo>
                    <a:pt x="40" y="52"/>
                    <a:pt x="47" y="57"/>
                    <a:pt x="47" y="57"/>
                  </a:cubicBezTo>
                  <a:cubicBezTo>
                    <a:pt x="63" y="59"/>
                    <a:pt x="63" y="59"/>
                    <a:pt x="63" y="59"/>
                  </a:cubicBezTo>
                  <a:cubicBezTo>
                    <a:pt x="69" y="60"/>
                    <a:pt x="69" y="60"/>
                    <a:pt x="69" y="60"/>
                  </a:cubicBezTo>
                  <a:cubicBezTo>
                    <a:pt x="71" y="68"/>
                    <a:pt x="71" y="68"/>
                    <a:pt x="71" y="68"/>
                  </a:cubicBezTo>
                  <a:cubicBezTo>
                    <a:pt x="71" y="68"/>
                    <a:pt x="73" y="69"/>
                    <a:pt x="74" y="69"/>
                  </a:cubicBezTo>
                  <a:cubicBezTo>
                    <a:pt x="75" y="70"/>
                    <a:pt x="79" y="71"/>
                    <a:pt x="79" y="71"/>
                  </a:cubicBezTo>
                  <a:cubicBezTo>
                    <a:pt x="87" y="72"/>
                    <a:pt x="87" y="72"/>
                    <a:pt x="87" y="72"/>
                  </a:cubicBezTo>
                  <a:cubicBezTo>
                    <a:pt x="87" y="72"/>
                    <a:pt x="95" y="73"/>
                    <a:pt x="96" y="73"/>
                  </a:cubicBezTo>
                  <a:cubicBezTo>
                    <a:pt x="97" y="73"/>
                    <a:pt x="97" y="72"/>
                    <a:pt x="98" y="70"/>
                  </a:cubicBezTo>
                  <a:cubicBezTo>
                    <a:pt x="98" y="69"/>
                    <a:pt x="98" y="68"/>
                    <a:pt x="98" y="68"/>
                  </a:cubicBezTo>
                  <a:cubicBezTo>
                    <a:pt x="98" y="66"/>
                    <a:pt x="98" y="66"/>
                    <a:pt x="98" y="66"/>
                  </a:cubicBezTo>
                  <a:cubicBezTo>
                    <a:pt x="99" y="61"/>
                    <a:pt x="99" y="61"/>
                    <a:pt x="99" y="61"/>
                  </a:cubicBezTo>
                  <a:cubicBezTo>
                    <a:pt x="99" y="61"/>
                    <a:pt x="102" y="57"/>
                    <a:pt x="103" y="56"/>
                  </a:cubicBezTo>
                  <a:cubicBezTo>
                    <a:pt x="104" y="56"/>
                    <a:pt x="101" y="53"/>
                    <a:pt x="101" y="53"/>
                  </a:cubicBezTo>
                  <a:cubicBezTo>
                    <a:pt x="100" y="49"/>
                    <a:pt x="100" y="49"/>
                    <a:pt x="100" y="49"/>
                  </a:cubicBezTo>
                  <a:cubicBezTo>
                    <a:pt x="100" y="49"/>
                    <a:pt x="96" y="46"/>
                    <a:pt x="96" y="44"/>
                  </a:cubicBezTo>
                  <a:cubicBezTo>
                    <a:pt x="96" y="42"/>
                    <a:pt x="94" y="39"/>
                    <a:pt x="93" y="38"/>
                  </a:cubicBezTo>
                  <a:cubicBezTo>
                    <a:pt x="92" y="36"/>
                    <a:pt x="92" y="34"/>
                    <a:pt x="92" y="34"/>
                  </a:cubicBezTo>
                  <a:cubicBezTo>
                    <a:pt x="92" y="34"/>
                    <a:pt x="96" y="27"/>
                    <a:pt x="97" y="25"/>
                  </a:cubicBezTo>
                  <a:cubicBezTo>
                    <a:pt x="98" y="24"/>
                    <a:pt x="100" y="20"/>
                    <a:pt x="100" y="19"/>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Freeform 67"/>
            <p:cNvSpPr>
              <a:spLocks/>
            </p:cNvSpPr>
            <p:nvPr/>
          </p:nvSpPr>
          <p:spPr bwMode="auto">
            <a:xfrm>
              <a:off x="7777374" y="5597390"/>
              <a:ext cx="219510" cy="121182"/>
            </a:xfrm>
            <a:custGeom>
              <a:avLst/>
              <a:gdLst>
                <a:gd name="T0" fmla="*/ 2 w 76"/>
                <a:gd name="T1" fmla="*/ 31 h 44"/>
                <a:gd name="T2" fmla="*/ 2 w 76"/>
                <a:gd name="T3" fmla="*/ 28 h 44"/>
                <a:gd name="T4" fmla="*/ 0 w 76"/>
                <a:gd name="T5" fmla="*/ 24 h 44"/>
                <a:gd name="T6" fmla="*/ 1 w 76"/>
                <a:gd name="T7" fmla="*/ 24 h 44"/>
                <a:gd name="T8" fmla="*/ 6 w 76"/>
                <a:gd name="T9" fmla="*/ 25 h 44"/>
                <a:gd name="T10" fmla="*/ 7 w 76"/>
                <a:gd name="T11" fmla="*/ 24 h 44"/>
                <a:gd name="T12" fmla="*/ 9 w 76"/>
                <a:gd name="T13" fmla="*/ 21 h 44"/>
                <a:gd name="T14" fmla="*/ 12 w 76"/>
                <a:gd name="T15" fmla="*/ 21 h 44"/>
                <a:gd name="T16" fmla="*/ 13 w 76"/>
                <a:gd name="T17" fmla="*/ 20 h 44"/>
                <a:gd name="T18" fmla="*/ 14 w 76"/>
                <a:gd name="T19" fmla="*/ 21 h 44"/>
                <a:gd name="T20" fmla="*/ 16 w 76"/>
                <a:gd name="T21" fmla="*/ 21 h 44"/>
                <a:gd name="T22" fmla="*/ 18 w 76"/>
                <a:gd name="T23" fmla="*/ 22 h 44"/>
                <a:gd name="T24" fmla="*/ 21 w 76"/>
                <a:gd name="T25" fmla="*/ 20 h 44"/>
                <a:gd name="T26" fmla="*/ 22 w 76"/>
                <a:gd name="T27" fmla="*/ 15 h 44"/>
                <a:gd name="T28" fmla="*/ 22 w 76"/>
                <a:gd name="T29" fmla="*/ 12 h 44"/>
                <a:gd name="T30" fmla="*/ 26 w 76"/>
                <a:gd name="T31" fmla="*/ 14 h 44"/>
                <a:gd name="T32" fmla="*/ 29 w 76"/>
                <a:gd name="T33" fmla="*/ 14 h 44"/>
                <a:gd name="T34" fmla="*/ 35 w 76"/>
                <a:gd name="T35" fmla="*/ 15 h 44"/>
                <a:gd name="T36" fmla="*/ 46 w 76"/>
                <a:gd name="T37" fmla="*/ 13 h 44"/>
                <a:gd name="T38" fmla="*/ 49 w 76"/>
                <a:gd name="T39" fmla="*/ 12 h 44"/>
                <a:gd name="T40" fmla="*/ 53 w 76"/>
                <a:gd name="T41" fmla="*/ 12 h 44"/>
                <a:gd name="T42" fmla="*/ 56 w 76"/>
                <a:gd name="T43" fmla="*/ 10 h 44"/>
                <a:gd name="T44" fmla="*/ 61 w 76"/>
                <a:gd name="T45" fmla="*/ 8 h 44"/>
                <a:gd name="T46" fmla="*/ 62 w 76"/>
                <a:gd name="T47" fmla="*/ 6 h 44"/>
                <a:gd name="T48" fmla="*/ 64 w 76"/>
                <a:gd name="T49" fmla="*/ 6 h 44"/>
                <a:gd name="T50" fmla="*/ 67 w 76"/>
                <a:gd name="T51" fmla="*/ 5 h 44"/>
                <a:gd name="T52" fmla="*/ 71 w 76"/>
                <a:gd name="T53" fmla="*/ 2 h 44"/>
                <a:gd name="T54" fmla="*/ 76 w 76"/>
                <a:gd name="T55" fmla="*/ 1 h 44"/>
                <a:gd name="T56" fmla="*/ 71 w 76"/>
                <a:gd name="T57" fmla="*/ 4 h 44"/>
                <a:gd name="T58" fmla="*/ 66 w 76"/>
                <a:gd name="T59" fmla="*/ 8 h 44"/>
                <a:gd name="T60" fmla="*/ 61 w 76"/>
                <a:gd name="T61" fmla="*/ 11 h 44"/>
                <a:gd name="T62" fmla="*/ 58 w 76"/>
                <a:gd name="T63" fmla="*/ 15 h 44"/>
                <a:gd name="T64" fmla="*/ 55 w 76"/>
                <a:gd name="T65" fmla="*/ 16 h 44"/>
                <a:gd name="T66" fmla="*/ 54 w 76"/>
                <a:gd name="T67" fmla="*/ 21 h 44"/>
                <a:gd name="T68" fmla="*/ 58 w 76"/>
                <a:gd name="T69" fmla="*/ 26 h 44"/>
                <a:gd name="T70" fmla="*/ 60 w 76"/>
                <a:gd name="T71" fmla="*/ 29 h 44"/>
                <a:gd name="T72" fmla="*/ 56 w 76"/>
                <a:gd name="T73" fmla="*/ 28 h 44"/>
                <a:gd name="T74" fmla="*/ 51 w 76"/>
                <a:gd name="T75" fmla="*/ 29 h 44"/>
                <a:gd name="T76" fmla="*/ 47 w 76"/>
                <a:gd name="T77" fmla="*/ 29 h 44"/>
                <a:gd name="T78" fmla="*/ 44 w 76"/>
                <a:gd name="T79" fmla="*/ 33 h 44"/>
                <a:gd name="T80" fmla="*/ 41 w 76"/>
                <a:gd name="T81" fmla="*/ 36 h 44"/>
                <a:gd name="T82" fmla="*/ 38 w 76"/>
                <a:gd name="T83" fmla="*/ 37 h 44"/>
                <a:gd name="T84" fmla="*/ 34 w 76"/>
                <a:gd name="T85" fmla="*/ 39 h 44"/>
                <a:gd name="T86" fmla="*/ 29 w 76"/>
                <a:gd name="T87" fmla="*/ 40 h 44"/>
                <a:gd name="T88" fmla="*/ 23 w 76"/>
                <a:gd name="T89" fmla="*/ 42 h 44"/>
                <a:gd name="T90" fmla="*/ 19 w 76"/>
                <a:gd name="T91" fmla="*/ 40 h 44"/>
                <a:gd name="T92" fmla="*/ 16 w 76"/>
                <a:gd name="T93" fmla="*/ 42 h 44"/>
                <a:gd name="T94" fmla="*/ 10 w 76"/>
                <a:gd name="T95" fmla="*/ 40 h 44"/>
                <a:gd name="T96" fmla="*/ 6 w 76"/>
                <a:gd name="T97" fmla="*/ 39 h 44"/>
                <a:gd name="T98" fmla="*/ 4 w 76"/>
                <a:gd name="T99" fmla="*/ 35 h 44"/>
                <a:gd name="T100" fmla="*/ 2 w 76"/>
                <a:gd name="T101" fmla="*/ 3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6" h="44">
                  <a:moveTo>
                    <a:pt x="2" y="31"/>
                  </a:moveTo>
                  <a:cubicBezTo>
                    <a:pt x="2" y="30"/>
                    <a:pt x="2" y="30"/>
                    <a:pt x="2" y="28"/>
                  </a:cubicBezTo>
                  <a:cubicBezTo>
                    <a:pt x="1" y="26"/>
                    <a:pt x="0" y="24"/>
                    <a:pt x="0" y="24"/>
                  </a:cubicBezTo>
                  <a:cubicBezTo>
                    <a:pt x="0" y="24"/>
                    <a:pt x="0" y="23"/>
                    <a:pt x="1" y="24"/>
                  </a:cubicBezTo>
                  <a:cubicBezTo>
                    <a:pt x="3" y="25"/>
                    <a:pt x="3" y="27"/>
                    <a:pt x="6" y="25"/>
                  </a:cubicBezTo>
                  <a:cubicBezTo>
                    <a:pt x="6" y="25"/>
                    <a:pt x="7" y="25"/>
                    <a:pt x="7" y="24"/>
                  </a:cubicBezTo>
                  <a:cubicBezTo>
                    <a:pt x="8" y="23"/>
                    <a:pt x="9" y="21"/>
                    <a:pt x="9" y="21"/>
                  </a:cubicBezTo>
                  <a:cubicBezTo>
                    <a:pt x="11" y="20"/>
                    <a:pt x="10" y="21"/>
                    <a:pt x="12" y="21"/>
                  </a:cubicBezTo>
                  <a:cubicBezTo>
                    <a:pt x="12" y="21"/>
                    <a:pt x="13" y="20"/>
                    <a:pt x="13" y="20"/>
                  </a:cubicBezTo>
                  <a:cubicBezTo>
                    <a:pt x="13" y="20"/>
                    <a:pt x="14" y="21"/>
                    <a:pt x="14" y="21"/>
                  </a:cubicBezTo>
                  <a:cubicBezTo>
                    <a:pt x="15" y="21"/>
                    <a:pt x="15" y="21"/>
                    <a:pt x="16" y="21"/>
                  </a:cubicBezTo>
                  <a:cubicBezTo>
                    <a:pt x="16" y="21"/>
                    <a:pt x="18" y="22"/>
                    <a:pt x="18" y="22"/>
                  </a:cubicBezTo>
                  <a:cubicBezTo>
                    <a:pt x="19" y="22"/>
                    <a:pt x="21" y="22"/>
                    <a:pt x="21" y="20"/>
                  </a:cubicBezTo>
                  <a:cubicBezTo>
                    <a:pt x="21" y="19"/>
                    <a:pt x="22" y="17"/>
                    <a:pt x="22" y="15"/>
                  </a:cubicBezTo>
                  <a:cubicBezTo>
                    <a:pt x="22" y="13"/>
                    <a:pt x="21" y="11"/>
                    <a:pt x="22" y="12"/>
                  </a:cubicBezTo>
                  <a:cubicBezTo>
                    <a:pt x="23" y="12"/>
                    <a:pt x="25" y="13"/>
                    <a:pt x="26" y="14"/>
                  </a:cubicBezTo>
                  <a:cubicBezTo>
                    <a:pt x="28" y="14"/>
                    <a:pt x="28" y="13"/>
                    <a:pt x="29" y="14"/>
                  </a:cubicBezTo>
                  <a:cubicBezTo>
                    <a:pt x="30" y="14"/>
                    <a:pt x="33" y="15"/>
                    <a:pt x="35" y="15"/>
                  </a:cubicBezTo>
                  <a:cubicBezTo>
                    <a:pt x="39" y="15"/>
                    <a:pt x="42" y="14"/>
                    <a:pt x="46" y="13"/>
                  </a:cubicBezTo>
                  <a:cubicBezTo>
                    <a:pt x="47" y="13"/>
                    <a:pt x="48" y="12"/>
                    <a:pt x="49" y="12"/>
                  </a:cubicBezTo>
                  <a:cubicBezTo>
                    <a:pt x="50" y="12"/>
                    <a:pt x="51" y="12"/>
                    <a:pt x="53" y="12"/>
                  </a:cubicBezTo>
                  <a:cubicBezTo>
                    <a:pt x="54" y="11"/>
                    <a:pt x="55" y="10"/>
                    <a:pt x="56" y="10"/>
                  </a:cubicBezTo>
                  <a:cubicBezTo>
                    <a:pt x="58" y="9"/>
                    <a:pt x="60" y="9"/>
                    <a:pt x="61" y="8"/>
                  </a:cubicBezTo>
                  <a:cubicBezTo>
                    <a:pt x="62" y="7"/>
                    <a:pt x="62" y="6"/>
                    <a:pt x="62" y="6"/>
                  </a:cubicBezTo>
                  <a:cubicBezTo>
                    <a:pt x="63" y="6"/>
                    <a:pt x="64" y="6"/>
                    <a:pt x="64" y="6"/>
                  </a:cubicBezTo>
                  <a:cubicBezTo>
                    <a:pt x="65" y="6"/>
                    <a:pt x="66" y="5"/>
                    <a:pt x="67" y="5"/>
                  </a:cubicBezTo>
                  <a:cubicBezTo>
                    <a:pt x="69" y="4"/>
                    <a:pt x="69" y="3"/>
                    <a:pt x="71" y="2"/>
                  </a:cubicBezTo>
                  <a:cubicBezTo>
                    <a:pt x="74" y="0"/>
                    <a:pt x="76" y="0"/>
                    <a:pt x="76" y="1"/>
                  </a:cubicBezTo>
                  <a:cubicBezTo>
                    <a:pt x="75" y="2"/>
                    <a:pt x="72" y="3"/>
                    <a:pt x="71" y="4"/>
                  </a:cubicBezTo>
                  <a:cubicBezTo>
                    <a:pt x="70" y="6"/>
                    <a:pt x="68" y="7"/>
                    <a:pt x="66" y="8"/>
                  </a:cubicBezTo>
                  <a:cubicBezTo>
                    <a:pt x="65" y="8"/>
                    <a:pt x="62" y="10"/>
                    <a:pt x="61" y="11"/>
                  </a:cubicBezTo>
                  <a:cubicBezTo>
                    <a:pt x="60" y="13"/>
                    <a:pt x="60" y="14"/>
                    <a:pt x="58" y="15"/>
                  </a:cubicBezTo>
                  <a:cubicBezTo>
                    <a:pt x="56" y="16"/>
                    <a:pt x="55" y="14"/>
                    <a:pt x="55" y="16"/>
                  </a:cubicBezTo>
                  <a:cubicBezTo>
                    <a:pt x="54" y="17"/>
                    <a:pt x="54" y="19"/>
                    <a:pt x="54" y="21"/>
                  </a:cubicBezTo>
                  <a:cubicBezTo>
                    <a:pt x="55" y="23"/>
                    <a:pt x="57" y="25"/>
                    <a:pt x="58" y="26"/>
                  </a:cubicBezTo>
                  <a:cubicBezTo>
                    <a:pt x="59" y="27"/>
                    <a:pt x="61" y="29"/>
                    <a:pt x="60" y="29"/>
                  </a:cubicBezTo>
                  <a:cubicBezTo>
                    <a:pt x="59" y="30"/>
                    <a:pt x="58" y="29"/>
                    <a:pt x="56" y="28"/>
                  </a:cubicBezTo>
                  <a:cubicBezTo>
                    <a:pt x="54" y="28"/>
                    <a:pt x="52" y="29"/>
                    <a:pt x="51" y="29"/>
                  </a:cubicBezTo>
                  <a:cubicBezTo>
                    <a:pt x="49" y="29"/>
                    <a:pt x="49" y="28"/>
                    <a:pt x="47" y="29"/>
                  </a:cubicBezTo>
                  <a:cubicBezTo>
                    <a:pt x="45" y="29"/>
                    <a:pt x="44" y="32"/>
                    <a:pt x="44" y="33"/>
                  </a:cubicBezTo>
                  <a:cubicBezTo>
                    <a:pt x="44" y="35"/>
                    <a:pt x="42" y="35"/>
                    <a:pt x="41" y="36"/>
                  </a:cubicBezTo>
                  <a:cubicBezTo>
                    <a:pt x="40" y="37"/>
                    <a:pt x="39" y="36"/>
                    <a:pt x="38" y="37"/>
                  </a:cubicBezTo>
                  <a:cubicBezTo>
                    <a:pt x="36" y="38"/>
                    <a:pt x="36" y="39"/>
                    <a:pt x="34" y="39"/>
                  </a:cubicBezTo>
                  <a:cubicBezTo>
                    <a:pt x="32" y="39"/>
                    <a:pt x="30" y="40"/>
                    <a:pt x="29" y="40"/>
                  </a:cubicBezTo>
                  <a:cubicBezTo>
                    <a:pt x="24" y="40"/>
                    <a:pt x="26" y="44"/>
                    <a:pt x="23" y="42"/>
                  </a:cubicBezTo>
                  <a:cubicBezTo>
                    <a:pt x="22" y="42"/>
                    <a:pt x="21" y="41"/>
                    <a:pt x="19" y="40"/>
                  </a:cubicBezTo>
                  <a:cubicBezTo>
                    <a:pt x="18" y="39"/>
                    <a:pt x="17" y="41"/>
                    <a:pt x="16" y="42"/>
                  </a:cubicBezTo>
                  <a:cubicBezTo>
                    <a:pt x="14" y="42"/>
                    <a:pt x="11" y="41"/>
                    <a:pt x="10" y="40"/>
                  </a:cubicBezTo>
                  <a:cubicBezTo>
                    <a:pt x="8" y="39"/>
                    <a:pt x="8" y="40"/>
                    <a:pt x="6" y="39"/>
                  </a:cubicBezTo>
                  <a:cubicBezTo>
                    <a:pt x="4" y="38"/>
                    <a:pt x="5" y="36"/>
                    <a:pt x="4" y="35"/>
                  </a:cubicBezTo>
                  <a:cubicBezTo>
                    <a:pt x="3" y="34"/>
                    <a:pt x="2" y="33"/>
                    <a:pt x="2" y="31"/>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Freeform 68"/>
            <p:cNvSpPr>
              <a:spLocks/>
            </p:cNvSpPr>
            <p:nvPr/>
          </p:nvSpPr>
          <p:spPr bwMode="auto">
            <a:xfrm>
              <a:off x="3621121" y="1946943"/>
              <a:ext cx="553108" cy="437073"/>
            </a:xfrm>
            <a:custGeom>
              <a:avLst/>
              <a:gdLst>
                <a:gd name="T0" fmla="*/ 38 w 191"/>
                <a:gd name="T1" fmla="*/ 63 h 160"/>
                <a:gd name="T2" fmla="*/ 25 w 191"/>
                <a:gd name="T3" fmla="*/ 59 h 160"/>
                <a:gd name="T4" fmla="*/ 9 w 191"/>
                <a:gd name="T5" fmla="*/ 57 h 160"/>
                <a:gd name="T6" fmla="*/ 11 w 191"/>
                <a:gd name="T7" fmla="*/ 61 h 160"/>
                <a:gd name="T8" fmla="*/ 27 w 191"/>
                <a:gd name="T9" fmla="*/ 74 h 160"/>
                <a:gd name="T10" fmla="*/ 28 w 191"/>
                <a:gd name="T11" fmla="*/ 86 h 160"/>
                <a:gd name="T12" fmla="*/ 28 w 191"/>
                <a:gd name="T13" fmla="*/ 91 h 160"/>
                <a:gd name="T14" fmla="*/ 21 w 191"/>
                <a:gd name="T15" fmla="*/ 103 h 160"/>
                <a:gd name="T16" fmla="*/ 7 w 191"/>
                <a:gd name="T17" fmla="*/ 100 h 160"/>
                <a:gd name="T18" fmla="*/ 17 w 191"/>
                <a:gd name="T19" fmla="*/ 112 h 160"/>
                <a:gd name="T20" fmla="*/ 39 w 191"/>
                <a:gd name="T21" fmla="*/ 131 h 160"/>
                <a:gd name="T22" fmla="*/ 69 w 191"/>
                <a:gd name="T23" fmla="*/ 158 h 160"/>
                <a:gd name="T24" fmla="*/ 105 w 191"/>
                <a:gd name="T25" fmla="*/ 153 h 160"/>
                <a:gd name="T26" fmla="*/ 132 w 191"/>
                <a:gd name="T27" fmla="*/ 146 h 160"/>
                <a:gd name="T28" fmla="*/ 156 w 191"/>
                <a:gd name="T29" fmla="*/ 143 h 160"/>
                <a:gd name="T30" fmla="*/ 171 w 191"/>
                <a:gd name="T31" fmla="*/ 133 h 160"/>
                <a:gd name="T32" fmla="*/ 182 w 191"/>
                <a:gd name="T33" fmla="*/ 127 h 160"/>
                <a:gd name="T34" fmla="*/ 185 w 191"/>
                <a:gd name="T35" fmla="*/ 120 h 160"/>
                <a:gd name="T36" fmla="*/ 190 w 191"/>
                <a:gd name="T37" fmla="*/ 107 h 160"/>
                <a:gd name="T38" fmla="*/ 183 w 191"/>
                <a:gd name="T39" fmla="*/ 88 h 160"/>
                <a:gd name="T40" fmla="*/ 181 w 191"/>
                <a:gd name="T41" fmla="*/ 75 h 160"/>
                <a:gd name="T42" fmla="*/ 183 w 191"/>
                <a:gd name="T43" fmla="*/ 61 h 160"/>
                <a:gd name="T44" fmla="*/ 169 w 191"/>
                <a:gd name="T45" fmla="*/ 62 h 160"/>
                <a:gd name="T46" fmla="*/ 166 w 191"/>
                <a:gd name="T47" fmla="*/ 47 h 160"/>
                <a:gd name="T48" fmla="*/ 154 w 191"/>
                <a:gd name="T49" fmla="*/ 55 h 160"/>
                <a:gd name="T50" fmla="*/ 139 w 191"/>
                <a:gd name="T51" fmla="*/ 54 h 160"/>
                <a:gd name="T52" fmla="*/ 129 w 191"/>
                <a:gd name="T53" fmla="*/ 52 h 160"/>
                <a:gd name="T54" fmla="*/ 118 w 191"/>
                <a:gd name="T55" fmla="*/ 65 h 160"/>
                <a:gd name="T56" fmla="*/ 114 w 191"/>
                <a:gd name="T57" fmla="*/ 44 h 160"/>
                <a:gd name="T58" fmla="*/ 103 w 191"/>
                <a:gd name="T59" fmla="*/ 43 h 160"/>
                <a:gd name="T60" fmla="*/ 96 w 191"/>
                <a:gd name="T61" fmla="*/ 55 h 160"/>
                <a:gd name="T62" fmla="*/ 88 w 191"/>
                <a:gd name="T63" fmla="*/ 35 h 160"/>
                <a:gd name="T64" fmla="*/ 78 w 191"/>
                <a:gd name="T65" fmla="*/ 54 h 160"/>
                <a:gd name="T66" fmla="*/ 65 w 191"/>
                <a:gd name="T67" fmla="*/ 55 h 160"/>
                <a:gd name="T68" fmla="*/ 58 w 191"/>
                <a:gd name="T69" fmla="*/ 61 h 160"/>
                <a:gd name="T70" fmla="*/ 61 w 191"/>
                <a:gd name="T71" fmla="*/ 48 h 160"/>
                <a:gd name="T72" fmla="*/ 63 w 191"/>
                <a:gd name="T73" fmla="*/ 42 h 160"/>
                <a:gd name="T74" fmla="*/ 67 w 191"/>
                <a:gd name="T75" fmla="*/ 32 h 160"/>
                <a:gd name="T76" fmla="*/ 65 w 191"/>
                <a:gd name="T77" fmla="*/ 24 h 160"/>
                <a:gd name="T78" fmla="*/ 60 w 191"/>
                <a:gd name="T79" fmla="*/ 6 h 160"/>
                <a:gd name="T80" fmla="*/ 51 w 191"/>
                <a:gd name="T81" fmla="*/ 2 h 160"/>
                <a:gd name="T82" fmla="*/ 49 w 191"/>
                <a:gd name="T83" fmla="*/ 7 h 160"/>
                <a:gd name="T84" fmla="*/ 54 w 191"/>
                <a:gd name="T85" fmla="*/ 11 h 160"/>
                <a:gd name="T86" fmla="*/ 47 w 191"/>
                <a:gd name="T87" fmla="*/ 10 h 160"/>
                <a:gd name="T88" fmla="*/ 51 w 191"/>
                <a:gd name="T89" fmla="*/ 27 h 160"/>
                <a:gd name="T90" fmla="*/ 48 w 191"/>
                <a:gd name="T91" fmla="*/ 23 h 160"/>
                <a:gd name="T92" fmla="*/ 45 w 191"/>
                <a:gd name="T93" fmla="*/ 20 h 160"/>
                <a:gd name="T94" fmla="*/ 43 w 191"/>
                <a:gd name="T95" fmla="*/ 13 h 160"/>
                <a:gd name="T96" fmla="*/ 35 w 191"/>
                <a:gd name="T97" fmla="*/ 8 h 160"/>
                <a:gd name="T98" fmla="*/ 30 w 191"/>
                <a:gd name="T99" fmla="*/ 15 h 160"/>
                <a:gd name="T100" fmla="*/ 26 w 191"/>
                <a:gd name="T101" fmla="*/ 22 h 160"/>
                <a:gd name="T102" fmla="*/ 25 w 191"/>
                <a:gd name="T103" fmla="*/ 25 h 160"/>
                <a:gd name="T104" fmla="*/ 19 w 191"/>
                <a:gd name="T105" fmla="*/ 23 h 160"/>
                <a:gd name="T106" fmla="*/ 19 w 191"/>
                <a:gd name="T107" fmla="*/ 29 h 160"/>
                <a:gd name="T108" fmla="*/ 9 w 191"/>
                <a:gd name="T109" fmla="*/ 24 h 160"/>
                <a:gd name="T110" fmla="*/ 16 w 191"/>
                <a:gd name="T111" fmla="*/ 36 h 160"/>
                <a:gd name="T112" fmla="*/ 29 w 191"/>
                <a:gd name="T113" fmla="*/ 37 h 160"/>
                <a:gd name="T114" fmla="*/ 36 w 191"/>
                <a:gd name="T115" fmla="*/ 37 h 160"/>
                <a:gd name="T116" fmla="*/ 43 w 191"/>
                <a:gd name="T117" fmla="*/ 43 h 160"/>
                <a:gd name="T118" fmla="*/ 48 w 191"/>
                <a:gd name="T119" fmla="*/ 48 h 160"/>
                <a:gd name="T120" fmla="*/ 38 w 191"/>
                <a:gd name="T121" fmla="*/ 53 h 160"/>
                <a:gd name="T122" fmla="*/ 38 w 191"/>
                <a:gd name="T123" fmla="*/ 5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1" h="160">
                  <a:moveTo>
                    <a:pt x="39" y="60"/>
                  </a:moveTo>
                  <a:cubicBezTo>
                    <a:pt x="42" y="62"/>
                    <a:pt x="42" y="62"/>
                    <a:pt x="42" y="62"/>
                  </a:cubicBezTo>
                  <a:cubicBezTo>
                    <a:pt x="44" y="61"/>
                    <a:pt x="44" y="61"/>
                    <a:pt x="44" y="61"/>
                  </a:cubicBezTo>
                  <a:cubicBezTo>
                    <a:pt x="47" y="59"/>
                    <a:pt x="47" y="59"/>
                    <a:pt x="47" y="59"/>
                  </a:cubicBezTo>
                  <a:cubicBezTo>
                    <a:pt x="48" y="61"/>
                    <a:pt x="48" y="61"/>
                    <a:pt x="48" y="61"/>
                  </a:cubicBezTo>
                  <a:cubicBezTo>
                    <a:pt x="45" y="64"/>
                    <a:pt x="45" y="64"/>
                    <a:pt x="45" y="64"/>
                  </a:cubicBezTo>
                  <a:cubicBezTo>
                    <a:pt x="44" y="65"/>
                    <a:pt x="44" y="65"/>
                    <a:pt x="44" y="65"/>
                  </a:cubicBezTo>
                  <a:cubicBezTo>
                    <a:pt x="44" y="67"/>
                    <a:pt x="44" y="67"/>
                    <a:pt x="44" y="67"/>
                  </a:cubicBezTo>
                  <a:cubicBezTo>
                    <a:pt x="41" y="66"/>
                    <a:pt x="41" y="66"/>
                    <a:pt x="41" y="66"/>
                  </a:cubicBezTo>
                  <a:cubicBezTo>
                    <a:pt x="38" y="63"/>
                    <a:pt x="38" y="63"/>
                    <a:pt x="38" y="63"/>
                  </a:cubicBezTo>
                  <a:cubicBezTo>
                    <a:pt x="36" y="63"/>
                    <a:pt x="36" y="63"/>
                    <a:pt x="36" y="63"/>
                  </a:cubicBezTo>
                  <a:cubicBezTo>
                    <a:pt x="34" y="62"/>
                    <a:pt x="34" y="62"/>
                    <a:pt x="34" y="62"/>
                  </a:cubicBezTo>
                  <a:cubicBezTo>
                    <a:pt x="33" y="59"/>
                    <a:pt x="33" y="59"/>
                    <a:pt x="33" y="59"/>
                  </a:cubicBezTo>
                  <a:cubicBezTo>
                    <a:pt x="32" y="60"/>
                    <a:pt x="32" y="60"/>
                    <a:pt x="32" y="60"/>
                  </a:cubicBezTo>
                  <a:cubicBezTo>
                    <a:pt x="30" y="61"/>
                    <a:pt x="30" y="61"/>
                    <a:pt x="30" y="61"/>
                  </a:cubicBezTo>
                  <a:cubicBezTo>
                    <a:pt x="29" y="62"/>
                    <a:pt x="29" y="62"/>
                    <a:pt x="29" y="62"/>
                  </a:cubicBezTo>
                  <a:cubicBezTo>
                    <a:pt x="27" y="60"/>
                    <a:pt x="27" y="60"/>
                    <a:pt x="27" y="60"/>
                  </a:cubicBezTo>
                  <a:cubicBezTo>
                    <a:pt x="28" y="58"/>
                    <a:pt x="28" y="58"/>
                    <a:pt x="28" y="58"/>
                  </a:cubicBezTo>
                  <a:cubicBezTo>
                    <a:pt x="26" y="59"/>
                    <a:pt x="26" y="59"/>
                    <a:pt x="26" y="59"/>
                  </a:cubicBezTo>
                  <a:cubicBezTo>
                    <a:pt x="26" y="59"/>
                    <a:pt x="25" y="60"/>
                    <a:pt x="25" y="59"/>
                  </a:cubicBezTo>
                  <a:cubicBezTo>
                    <a:pt x="24" y="59"/>
                    <a:pt x="23" y="59"/>
                    <a:pt x="23" y="59"/>
                  </a:cubicBezTo>
                  <a:cubicBezTo>
                    <a:pt x="22" y="59"/>
                    <a:pt x="22" y="58"/>
                    <a:pt x="21" y="58"/>
                  </a:cubicBezTo>
                  <a:cubicBezTo>
                    <a:pt x="20" y="57"/>
                    <a:pt x="19" y="56"/>
                    <a:pt x="19" y="56"/>
                  </a:cubicBezTo>
                  <a:cubicBezTo>
                    <a:pt x="17" y="57"/>
                    <a:pt x="17" y="57"/>
                    <a:pt x="17" y="57"/>
                  </a:cubicBezTo>
                  <a:cubicBezTo>
                    <a:pt x="16" y="58"/>
                    <a:pt x="16" y="58"/>
                    <a:pt x="16" y="58"/>
                  </a:cubicBezTo>
                  <a:cubicBezTo>
                    <a:pt x="15" y="57"/>
                    <a:pt x="15" y="57"/>
                    <a:pt x="15" y="57"/>
                  </a:cubicBezTo>
                  <a:cubicBezTo>
                    <a:pt x="14" y="57"/>
                    <a:pt x="14" y="57"/>
                    <a:pt x="14" y="57"/>
                  </a:cubicBezTo>
                  <a:cubicBezTo>
                    <a:pt x="11" y="57"/>
                    <a:pt x="11" y="57"/>
                    <a:pt x="11" y="57"/>
                  </a:cubicBezTo>
                  <a:cubicBezTo>
                    <a:pt x="10" y="57"/>
                    <a:pt x="10" y="57"/>
                    <a:pt x="10" y="57"/>
                  </a:cubicBezTo>
                  <a:cubicBezTo>
                    <a:pt x="10" y="57"/>
                    <a:pt x="10" y="57"/>
                    <a:pt x="9" y="57"/>
                  </a:cubicBezTo>
                  <a:cubicBezTo>
                    <a:pt x="8" y="56"/>
                    <a:pt x="7" y="56"/>
                    <a:pt x="7" y="56"/>
                  </a:cubicBezTo>
                  <a:cubicBezTo>
                    <a:pt x="5" y="55"/>
                    <a:pt x="5" y="55"/>
                    <a:pt x="5" y="55"/>
                  </a:cubicBezTo>
                  <a:cubicBezTo>
                    <a:pt x="3" y="55"/>
                    <a:pt x="3" y="55"/>
                    <a:pt x="3" y="55"/>
                  </a:cubicBezTo>
                  <a:cubicBezTo>
                    <a:pt x="3" y="55"/>
                    <a:pt x="2" y="54"/>
                    <a:pt x="2" y="55"/>
                  </a:cubicBezTo>
                  <a:cubicBezTo>
                    <a:pt x="2" y="56"/>
                    <a:pt x="0" y="58"/>
                    <a:pt x="1" y="58"/>
                  </a:cubicBezTo>
                  <a:cubicBezTo>
                    <a:pt x="1" y="59"/>
                    <a:pt x="2" y="59"/>
                    <a:pt x="3" y="61"/>
                  </a:cubicBezTo>
                  <a:cubicBezTo>
                    <a:pt x="4" y="62"/>
                    <a:pt x="4" y="62"/>
                    <a:pt x="4" y="62"/>
                  </a:cubicBezTo>
                  <a:cubicBezTo>
                    <a:pt x="7" y="62"/>
                    <a:pt x="7" y="62"/>
                    <a:pt x="7" y="62"/>
                  </a:cubicBezTo>
                  <a:cubicBezTo>
                    <a:pt x="8" y="61"/>
                    <a:pt x="8" y="61"/>
                    <a:pt x="8" y="61"/>
                  </a:cubicBezTo>
                  <a:cubicBezTo>
                    <a:pt x="11" y="61"/>
                    <a:pt x="11" y="61"/>
                    <a:pt x="11" y="61"/>
                  </a:cubicBezTo>
                  <a:cubicBezTo>
                    <a:pt x="12" y="63"/>
                    <a:pt x="12" y="65"/>
                    <a:pt x="13" y="64"/>
                  </a:cubicBezTo>
                  <a:cubicBezTo>
                    <a:pt x="14" y="63"/>
                    <a:pt x="14" y="63"/>
                    <a:pt x="14" y="63"/>
                  </a:cubicBezTo>
                  <a:cubicBezTo>
                    <a:pt x="15" y="64"/>
                    <a:pt x="15" y="64"/>
                    <a:pt x="15" y="64"/>
                  </a:cubicBezTo>
                  <a:cubicBezTo>
                    <a:pt x="15" y="64"/>
                    <a:pt x="17" y="67"/>
                    <a:pt x="18" y="67"/>
                  </a:cubicBezTo>
                  <a:cubicBezTo>
                    <a:pt x="19" y="68"/>
                    <a:pt x="19" y="68"/>
                    <a:pt x="19" y="68"/>
                  </a:cubicBezTo>
                  <a:cubicBezTo>
                    <a:pt x="23" y="70"/>
                    <a:pt x="23" y="70"/>
                    <a:pt x="23" y="70"/>
                  </a:cubicBezTo>
                  <a:cubicBezTo>
                    <a:pt x="24" y="70"/>
                    <a:pt x="24" y="70"/>
                    <a:pt x="24" y="70"/>
                  </a:cubicBezTo>
                  <a:cubicBezTo>
                    <a:pt x="24" y="70"/>
                    <a:pt x="27" y="69"/>
                    <a:pt x="27" y="69"/>
                  </a:cubicBezTo>
                  <a:cubicBezTo>
                    <a:pt x="27" y="70"/>
                    <a:pt x="28" y="71"/>
                    <a:pt x="28" y="72"/>
                  </a:cubicBezTo>
                  <a:cubicBezTo>
                    <a:pt x="28" y="72"/>
                    <a:pt x="28" y="73"/>
                    <a:pt x="27" y="74"/>
                  </a:cubicBezTo>
                  <a:cubicBezTo>
                    <a:pt x="27" y="74"/>
                    <a:pt x="28" y="75"/>
                    <a:pt x="28" y="75"/>
                  </a:cubicBezTo>
                  <a:cubicBezTo>
                    <a:pt x="25" y="77"/>
                    <a:pt x="25" y="77"/>
                    <a:pt x="25" y="77"/>
                  </a:cubicBezTo>
                  <a:cubicBezTo>
                    <a:pt x="25" y="80"/>
                    <a:pt x="25" y="80"/>
                    <a:pt x="25" y="80"/>
                  </a:cubicBezTo>
                  <a:cubicBezTo>
                    <a:pt x="25" y="80"/>
                    <a:pt x="25" y="81"/>
                    <a:pt x="25" y="81"/>
                  </a:cubicBezTo>
                  <a:cubicBezTo>
                    <a:pt x="25" y="82"/>
                    <a:pt x="24" y="84"/>
                    <a:pt x="24" y="84"/>
                  </a:cubicBezTo>
                  <a:cubicBezTo>
                    <a:pt x="26" y="83"/>
                    <a:pt x="26" y="83"/>
                    <a:pt x="26" y="83"/>
                  </a:cubicBezTo>
                  <a:cubicBezTo>
                    <a:pt x="26" y="83"/>
                    <a:pt x="27" y="83"/>
                    <a:pt x="27" y="84"/>
                  </a:cubicBezTo>
                  <a:cubicBezTo>
                    <a:pt x="26" y="85"/>
                    <a:pt x="26" y="86"/>
                    <a:pt x="26" y="86"/>
                  </a:cubicBezTo>
                  <a:cubicBezTo>
                    <a:pt x="26" y="86"/>
                    <a:pt x="26" y="88"/>
                    <a:pt x="27" y="87"/>
                  </a:cubicBezTo>
                  <a:cubicBezTo>
                    <a:pt x="28" y="86"/>
                    <a:pt x="28" y="86"/>
                    <a:pt x="28" y="86"/>
                  </a:cubicBezTo>
                  <a:cubicBezTo>
                    <a:pt x="30" y="86"/>
                    <a:pt x="30" y="86"/>
                    <a:pt x="30" y="86"/>
                  </a:cubicBezTo>
                  <a:cubicBezTo>
                    <a:pt x="32" y="85"/>
                    <a:pt x="32" y="85"/>
                    <a:pt x="32" y="85"/>
                  </a:cubicBezTo>
                  <a:cubicBezTo>
                    <a:pt x="32" y="85"/>
                    <a:pt x="32" y="85"/>
                    <a:pt x="34" y="84"/>
                  </a:cubicBezTo>
                  <a:cubicBezTo>
                    <a:pt x="35" y="84"/>
                    <a:pt x="37" y="84"/>
                    <a:pt x="37" y="84"/>
                  </a:cubicBezTo>
                  <a:cubicBezTo>
                    <a:pt x="37" y="84"/>
                    <a:pt x="38" y="86"/>
                    <a:pt x="38" y="86"/>
                  </a:cubicBezTo>
                  <a:cubicBezTo>
                    <a:pt x="37" y="86"/>
                    <a:pt x="33" y="86"/>
                    <a:pt x="33" y="86"/>
                  </a:cubicBezTo>
                  <a:cubicBezTo>
                    <a:pt x="32" y="86"/>
                    <a:pt x="32" y="86"/>
                    <a:pt x="32" y="86"/>
                  </a:cubicBezTo>
                  <a:cubicBezTo>
                    <a:pt x="30" y="88"/>
                    <a:pt x="30" y="88"/>
                    <a:pt x="30" y="88"/>
                  </a:cubicBezTo>
                  <a:cubicBezTo>
                    <a:pt x="28" y="89"/>
                    <a:pt x="28" y="89"/>
                    <a:pt x="28" y="89"/>
                  </a:cubicBezTo>
                  <a:cubicBezTo>
                    <a:pt x="28" y="89"/>
                    <a:pt x="27" y="91"/>
                    <a:pt x="28" y="91"/>
                  </a:cubicBezTo>
                  <a:cubicBezTo>
                    <a:pt x="28" y="92"/>
                    <a:pt x="26" y="93"/>
                    <a:pt x="26" y="93"/>
                  </a:cubicBezTo>
                  <a:cubicBezTo>
                    <a:pt x="25" y="93"/>
                    <a:pt x="25" y="93"/>
                    <a:pt x="25" y="93"/>
                  </a:cubicBezTo>
                  <a:cubicBezTo>
                    <a:pt x="25" y="93"/>
                    <a:pt x="25" y="93"/>
                    <a:pt x="25" y="93"/>
                  </a:cubicBezTo>
                  <a:cubicBezTo>
                    <a:pt x="25" y="93"/>
                    <a:pt x="25" y="94"/>
                    <a:pt x="26" y="95"/>
                  </a:cubicBezTo>
                  <a:cubicBezTo>
                    <a:pt x="27" y="95"/>
                    <a:pt x="30" y="94"/>
                    <a:pt x="30" y="94"/>
                  </a:cubicBezTo>
                  <a:cubicBezTo>
                    <a:pt x="30" y="94"/>
                    <a:pt x="31" y="94"/>
                    <a:pt x="30" y="95"/>
                  </a:cubicBezTo>
                  <a:cubicBezTo>
                    <a:pt x="30" y="96"/>
                    <a:pt x="29" y="98"/>
                    <a:pt x="29" y="98"/>
                  </a:cubicBezTo>
                  <a:cubicBezTo>
                    <a:pt x="29" y="98"/>
                    <a:pt x="28" y="98"/>
                    <a:pt x="26" y="99"/>
                  </a:cubicBezTo>
                  <a:cubicBezTo>
                    <a:pt x="24" y="99"/>
                    <a:pt x="22" y="101"/>
                    <a:pt x="22" y="101"/>
                  </a:cubicBezTo>
                  <a:cubicBezTo>
                    <a:pt x="21" y="103"/>
                    <a:pt x="21" y="103"/>
                    <a:pt x="21" y="103"/>
                  </a:cubicBezTo>
                  <a:cubicBezTo>
                    <a:pt x="21" y="103"/>
                    <a:pt x="21" y="104"/>
                    <a:pt x="19" y="104"/>
                  </a:cubicBezTo>
                  <a:cubicBezTo>
                    <a:pt x="18" y="103"/>
                    <a:pt x="15" y="103"/>
                    <a:pt x="15" y="103"/>
                  </a:cubicBezTo>
                  <a:cubicBezTo>
                    <a:pt x="14" y="104"/>
                    <a:pt x="14" y="104"/>
                    <a:pt x="14" y="104"/>
                  </a:cubicBezTo>
                  <a:cubicBezTo>
                    <a:pt x="14" y="104"/>
                    <a:pt x="13" y="104"/>
                    <a:pt x="12" y="104"/>
                  </a:cubicBezTo>
                  <a:cubicBezTo>
                    <a:pt x="11" y="104"/>
                    <a:pt x="11" y="103"/>
                    <a:pt x="11" y="103"/>
                  </a:cubicBezTo>
                  <a:cubicBezTo>
                    <a:pt x="11" y="100"/>
                    <a:pt x="11" y="100"/>
                    <a:pt x="11" y="100"/>
                  </a:cubicBezTo>
                  <a:cubicBezTo>
                    <a:pt x="11" y="99"/>
                    <a:pt x="11" y="99"/>
                    <a:pt x="11" y="99"/>
                  </a:cubicBezTo>
                  <a:cubicBezTo>
                    <a:pt x="10" y="96"/>
                    <a:pt x="10" y="96"/>
                    <a:pt x="10" y="96"/>
                  </a:cubicBezTo>
                  <a:cubicBezTo>
                    <a:pt x="10" y="96"/>
                    <a:pt x="9" y="98"/>
                    <a:pt x="8" y="98"/>
                  </a:cubicBezTo>
                  <a:cubicBezTo>
                    <a:pt x="8" y="99"/>
                    <a:pt x="7" y="100"/>
                    <a:pt x="7" y="100"/>
                  </a:cubicBezTo>
                  <a:cubicBezTo>
                    <a:pt x="6" y="102"/>
                    <a:pt x="6" y="102"/>
                    <a:pt x="6" y="102"/>
                  </a:cubicBezTo>
                  <a:cubicBezTo>
                    <a:pt x="5" y="103"/>
                    <a:pt x="5" y="103"/>
                    <a:pt x="5" y="103"/>
                  </a:cubicBezTo>
                  <a:cubicBezTo>
                    <a:pt x="6" y="106"/>
                    <a:pt x="6" y="106"/>
                    <a:pt x="6" y="106"/>
                  </a:cubicBezTo>
                  <a:cubicBezTo>
                    <a:pt x="5" y="107"/>
                    <a:pt x="5" y="107"/>
                    <a:pt x="5" y="107"/>
                  </a:cubicBezTo>
                  <a:cubicBezTo>
                    <a:pt x="5" y="107"/>
                    <a:pt x="3" y="108"/>
                    <a:pt x="4" y="108"/>
                  </a:cubicBezTo>
                  <a:cubicBezTo>
                    <a:pt x="5" y="109"/>
                    <a:pt x="8" y="110"/>
                    <a:pt x="8" y="110"/>
                  </a:cubicBezTo>
                  <a:cubicBezTo>
                    <a:pt x="8" y="110"/>
                    <a:pt x="9" y="109"/>
                    <a:pt x="10" y="110"/>
                  </a:cubicBezTo>
                  <a:cubicBezTo>
                    <a:pt x="12" y="111"/>
                    <a:pt x="13" y="112"/>
                    <a:pt x="13" y="112"/>
                  </a:cubicBezTo>
                  <a:cubicBezTo>
                    <a:pt x="14" y="112"/>
                    <a:pt x="14" y="112"/>
                    <a:pt x="14" y="112"/>
                  </a:cubicBezTo>
                  <a:cubicBezTo>
                    <a:pt x="17" y="112"/>
                    <a:pt x="17" y="112"/>
                    <a:pt x="17" y="112"/>
                  </a:cubicBezTo>
                  <a:cubicBezTo>
                    <a:pt x="18" y="113"/>
                    <a:pt x="18" y="113"/>
                    <a:pt x="18" y="113"/>
                  </a:cubicBezTo>
                  <a:cubicBezTo>
                    <a:pt x="22" y="114"/>
                    <a:pt x="22" y="114"/>
                    <a:pt x="22" y="114"/>
                  </a:cubicBezTo>
                  <a:cubicBezTo>
                    <a:pt x="22" y="114"/>
                    <a:pt x="23" y="116"/>
                    <a:pt x="23" y="116"/>
                  </a:cubicBezTo>
                  <a:cubicBezTo>
                    <a:pt x="23" y="117"/>
                    <a:pt x="26" y="118"/>
                    <a:pt x="26" y="118"/>
                  </a:cubicBezTo>
                  <a:cubicBezTo>
                    <a:pt x="26" y="118"/>
                    <a:pt x="25" y="118"/>
                    <a:pt x="27" y="118"/>
                  </a:cubicBezTo>
                  <a:cubicBezTo>
                    <a:pt x="29" y="118"/>
                    <a:pt x="30" y="118"/>
                    <a:pt x="30" y="118"/>
                  </a:cubicBezTo>
                  <a:cubicBezTo>
                    <a:pt x="30" y="118"/>
                    <a:pt x="32" y="118"/>
                    <a:pt x="33" y="119"/>
                  </a:cubicBezTo>
                  <a:cubicBezTo>
                    <a:pt x="33" y="120"/>
                    <a:pt x="35" y="123"/>
                    <a:pt x="35" y="123"/>
                  </a:cubicBezTo>
                  <a:cubicBezTo>
                    <a:pt x="38" y="128"/>
                    <a:pt x="38" y="128"/>
                    <a:pt x="38" y="128"/>
                  </a:cubicBezTo>
                  <a:cubicBezTo>
                    <a:pt x="39" y="131"/>
                    <a:pt x="39" y="131"/>
                    <a:pt x="39" y="131"/>
                  </a:cubicBezTo>
                  <a:cubicBezTo>
                    <a:pt x="39" y="131"/>
                    <a:pt x="39" y="131"/>
                    <a:pt x="41" y="133"/>
                  </a:cubicBezTo>
                  <a:cubicBezTo>
                    <a:pt x="42" y="134"/>
                    <a:pt x="43" y="136"/>
                    <a:pt x="43" y="136"/>
                  </a:cubicBezTo>
                  <a:cubicBezTo>
                    <a:pt x="43" y="136"/>
                    <a:pt x="43" y="136"/>
                    <a:pt x="44" y="137"/>
                  </a:cubicBezTo>
                  <a:cubicBezTo>
                    <a:pt x="45" y="139"/>
                    <a:pt x="46" y="140"/>
                    <a:pt x="46" y="140"/>
                  </a:cubicBezTo>
                  <a:cubicBezTo>
                    <a:pt x="46" y="140"/>
                    <a:pt x="46" y="142"/>
                    <a:pt x="47" y="142"/>
                  </a:cubicBezTo>
                  <a:cubicBezTo>
                    <a:pt x="49" y="143"/>
                    <a:pt x="50" y="143"/>
                    <a:pt x="51" y="144"/>
                  </a:cubicBezTo>
                  <a:cubicBezTo>
                    <a:pt x="52" y="145"/>
                    <a:pt x="54" y="147"/>
                    <a:pt x="54" y="147"/>
                  </a:cubicBezTo>
                  <a:cubicBezTo>
                    <a:pt x="54" y="147"/>
                    <a:pt x="58" y="151"/>
                    <a:pt x="60" y="152"/>
                  </a:cubicBezTo>
                  <a:cubicBezTo>
                    <a:pt x="61" y="154"/>
                    <a:pt x="63" y="156"/>
                    <a:pt x="64" y="156"/>
                  </a:cubicBezTo>
                  <a:cubicBezTo>
                    <a:pt x="65" y="156"/>
                    <a:pt x="69" y="158"/>
                    <a:pt x="69" y="158"/>
                  </a:cubicBezTo>
                  <a:cubicBezTo>
                    <a:pt x="69" y="158"/>
                    <a:pt x="71" y="159"/>
                    <a:pt x="72" y="159"/>
                  </a:cubicBezTo>
                  <a:cubicBezTo>
                    <a:pt x="73" y="159"/>
                    <a:pt x="70" y="158"/>
                    <a:pt x="75" y="158"/>
                  </a:cubicBezTo>
                  <a:cubicBezTo>
                    <a:pt x="80" y="158"/>
                    <a:pt x="83" y="160"/>
                    <a:pt x="83" y="160"/>
                  </a:cubicBezTo>
                  <a:cubicBezTo>
                    <a:pt x="86" y="158"/>
                    <a:pt x="86" y="158"/>
                    <a:pt x="86" y="158"/>
                  </a:cubicBezTo>
                  <a:cubicBezTo>
                    <a:pt x="86" y="158"/>
                    <a:pt x="86" y="159"/>
                    <a:pt x="87" y="157"/>
                  </a:cubicBezTo>
                  <a:cubicBezTo>
                    <a:pt x="87" y="155"/>
                    <a:pt x="88" y="153"/>
                    <a:pt x="88" y="153"/>
                  </a:cubicBezTo>
                  <a:cubicBezTo>
                    <a:pt x="88" y="153"/>
                    <a:pt x="87" y="152"/>
                    <a:pt x="89" y="152"/>
                  </a:cubicBezTo>
                  <a:cubicBezTo>
                    <a:pt x="91" y="151"/>
                    <a:pt x="96" y="151"/>
                    <a:pt x="97" y="151"/>
                  </a:cubicBezTo>
                  <a:cubicBezTo>
                    <a:pt x="97" y="151"/>
                    <a:pt x="98" y="152"/>
                    <a:pt x="98" y="151"/>
                  </a:cubicBezTo>
                  <a:cubicBezTo>
                    <a:pt x="99" y="150"/>
                    <a:pt x="105" y="153"/>
                    <a:pt x="105" y="153"/>
                  </a:cubicBezTo>
                  <a:cubicBezTo>
                    <a:pt x="107" y="151"/>
                    <a:pt x="107" y="151"/>
                    <a:pt x="107" y="151"/>
                  </a:cubicBezTo>
                  <a:cubicBezTo>
                    <a:pt x="108" y="150"/>
                    <a:pt x="108" y="150"/>
                    <a:pt x="108" y="150"/>
                  </a:cubicBezTo>
                  <a:cubicBezTo>
                    <a:pt x="110" y="153"/>
                    <a:pt x="110" y="153"/>
                    <a:pt x="110" y="153"/>
                  </a:cubicBezTo>
                  <a:cubicBezTo>
                    <a:pt x="113" y="154"/>
                    <a:pt x="113" y="154"/>
                    <a:pt x="113" y="154"/>
                  </a:cubicBezTo>
                  <a:cubicBezTo>
                    <a:pt x="113" y="154"/>
                    <a:pt x="116" y="153"/>
                    <a:pt x="117" y="153"/>
                  </a:cubicBezTo>
                  <a:cubicBezTo>
                    <a:pt x="118" y="153"/>
                    <a:pt x="121" y="151"/>
                    <a:pt x="121" y="151"/>
                  </a:cubicBezTo>
                  <a:cubicBezTo>
                    <a:pt x="121" y="151"/>
                    <a:pt x="121" y="149"/>
                    <a:pt x="122" y="149"/>
                  </a:cubicBezTo>
                  <a:cubicBezTo>
                    <a:pt x="123" y="149"/>
                    <a:pt x="126" y="149"/>
                    <a:pt x="127" y="149"/>
                  </a:cubicBezTo>
                  <a:cubicBezTo>
                    <a:pt x="128" y="148"/>
                    <a:pt x="131" y="148"/>
                    <a:pt x="131" y="148"/>
                  </a:cubicBezTo>
                  <a:cubicBezTo>
                    <a:pt x="132" y="146"/>
                    <a:pt x="132" y="146"/>
                    <a:pt x="132" y="146"/>
                  </a:cubicBezTo>
                  <a:cubicBezTo>
                    <a:pt x="132" y="146"/>
                    <a:pt x="133" y="145"/>
                    <a:pt x="134" y="146"/>
                  </a:cubicBezTo>
                  <a:cubicBezTo>
                    <a:pt x="136" y="146"/>
                    <a:pt x="138" y="146"/>
                    <a:pt x="138" y="146"/>
                  </a:cubicBezTo>
                  <a:cubicBezTo>
                    <a:pt x="141" y="145"/>
                    <a:pt x="141" y="145"/>
                    <a:pt x="141" y="145"/>
                  </a:cubicBezTo>
                  <a:cubicBezTo>
                    <a:pt x="143" y="144"/>
                    <a:pt x="143" y="144"/>
                    <a:pt x="143" y="144"/>
                  </a:cubicBezTo>
                  <a:cubicBezTo>
                    <a:pt x="143" y="144"/>
                    <a:pt x="143" y="143"/>
                    <a:pt x="144" y="144"/>
                  </a:cubicBezTo>
                  <a:cubicBezTo>
                    <a:pt x="145" y="144"/>
                    <a:pt x="147" y="146"/>
                    <a:pt x="147" y="146"/>
                  </a:cubicBezTo>
                  <a:cubicBezTo>
                    <a:pt x="150" y="147"/>
                    <a:pt x="150" y="147"/>
                    <a:pt x="150" y="147"/>
                  </a:cubicBezTo>
                  <a:cubicBezTo>
                    <a:pt x="152" y="146"/>
                    <a:pt x="152" y="146"/>
                    <a:pt x="152" y="146"/>
                  </a:cubicBezTo>
                  <a:cubicBezTo>
                    <a:pt x="154" y="144"/>
                    <a:pt x="154" y="144"/>
                    <a:pt x="154" y="144"/>
                  </a:cubicBezTo>
                  <a:cubicBezTo>
                    <a:pt x="154" y="144"/>
                    <a:pt x="154" y="143"/>
                    <a:pt x="156" y="143"/>
                  </a:cubicBezTo>
                  <a:cubicBezTo>
                    <a:pt x="159" y="144"/>
                    <a:pt x="160" y="144"/>
                    <a:pt x="160" y="144"/>
                  </a:cubicBezTo>
                  <a:cubicBezTo>
                    <a:pt x="160" y="144"/>
                    <a:pt x="162" y="143"/>
                    <a:pt x="162" y="143"/>
                  </a:cubicBezTo>
                  <a:cubicBezTo>
                    <a:pt x="162" y="142"/>
                    <a:pt x="162" y="141"/>
                    <a:pt x="162" y="140"/>
                  </a:cubicBezTo>
                  <a:cubicBezTo>
                    <a:pt x="163" y="139"/>
                    <a:pt x="166" y="136"/>
                    <a:pt x="166" y="136"/>
                  </a:cubicBezTo>
                  <a:cubicBezTo>
                    <a:pt x="168" y="135"/>
                    <a:pt x="168" y="135"/>
                    <a:pt x="168" y="135"/>
                  </a:cubicBezTo>
                  <a:cubicBezTo>
                    <a:pt x="167" y="132"/>
                    <a:pt x="167" y="132"/>
                    <a:pt x="167" y="132"/>
                  </a:cubicBezTo>
                  <a:cubicBezTo>
                    <a:pt x="167" y="131"/>
                    <a:pt x="167" y="131"/>
                    <a:pt x="167" y="131"/>
                  </a:cubicBezTo>
                  <a:cubicBezTo>
                    <a:pt x="167" y="131"/>
                    <a:pt x="170" y="130"/>
                    <a:pt x="169" y="132"/>
                  </a:cubicBezTo>
                  <a:cubicBezTo>
                    <a:pt x="168" y="133"/>
                    <a:pt x="169" y="134"/>
                    <a:pt x="169" y="134"/>
                  </a:cubicBezTo>
                  <a:cubicBezTo>
                    <a:pt x="169" y="134"/>
                    <a:pt x="170" y="133"/>
                    <a:pt x="171" y="133"/>
                  </a:cubicBezTo>
                  <a:cubicBezTo>
                    <a:pt x="172" y="133"/>
                    <a:pt x="173" y="132"/>
                    <a:pt x="173" y="133"/>
                  </a:cubicBezTo>
                  <a:cubicBezTo>
                    <a:pt x="174" y="133"/>
                    <a:pt x="175" y="133"/>
                    <a:pt x="175" y="133"/>
                  </a:cubicBezTo>
                  <a:cubicBezTo>
                    <a:pt x="175" y="133"/>
                    <a:pt x="175" y="131"/>
                    <a:pt x="176" y="131"/>
                  </a:cubicBezTo>
                  <a:cubicBezTo>
                    <a:pt x="177" y="131"/>
                    <a:pt x="178" y="131"/>
                    <a:pt x="178" y="131"/>
                  </a:cubicBezTo>
                  <a:cubicBezTo>
                    <a:pt x="178" y="131"/>
                    <a:pt x="179" y="132"/>
                    <a:pt x="179" y="131"/>
                  </a:cubicBezTo>
                  <a:cubicBezTo>
                    <a:pt x="179" y="131"/>
                    <a:pt x="177" y="129"/>
                    <a:pt x="177" y="129"/>
                  </a:cubicBezTo>
                  <a:cubicBezTo>
                    <a:pt x="178" y="130"/>
                    <a:pt x="180" y="129"/>
                    <a:pt x="180" y="129"/>
                  </a:cubicBezTo>
                  <a:cubicBezTo>
                    <a:pt x="180" y="129"/>
                    <a:pt x="182" y="130"/>
                    <a:pt x="180" y="128"/>
                  </a:cubicBezTo>
                  <a:cubicBezTo>
                    <a:pt x="178" y="126"/>
                    <a:pt x="180" y="126"/>
                    <a:pt x="180" y="126"/>
                  </a:cubicBezTo>
                  <a:cubicBezTo>
                    <a:pt x="180" y="126"/>
                    <a:pt x="183" y="127"/>
                    <a:pt x="182" y="127"/>
                  </a:cubicBezTo>
                  <a:cubicBezTo>
                    <a:pt x="181" y="126"/>
                    <a:pt x="178" y="122"/>
                    <a:pt x="178" y="122"/>
                  </a:cubicBezTo>
                  <a:cubicBezTo>
                    <a:pt x="178" y="121"/>
                    <a:pt x="178" y="121"/>
                    <a:pt x="178" y="121"/>
                  </a:cubicBezTo>
                  <a:cubicBezTo>
                    <a:pt x="178" y="120"/>
                    <a:pt x="178" y="120"/>
                    <a:pt x="178" y="120"/>
                  </a:cubicBezTo>
                  <a:cubicBezTo>
                    <a:pt x="178" y="120"/>
                    <a:pt x="180" y="121"/>
                    <a:pt x="180" y="121"/>
                  </a:cubicBezTo>
                  <a:cubicBezTo>
                    <a:pt x="181" y="121"/>
                    <a:pt x="181" y="121"/>
                    <a:pt x="182" y="122"/>
                  </a:cubicBezTo>
                  <a:cubicBezTo>
                    <a:pt x="183" y="123"/>
                    <a:pt x="182" y="124"/>
                    <a:pt x="183" y="124"/>
                  </a:cubicBezTo>
                  <a:cubicBezTo>
                    <a:pt x="184" y="125"/>
                    <a:pt x="186" y="124"/>
                    <a:pt x="186" y="124"/>
                  </a:cubicBezTo>
                  <a:cubicBezTo>
                    <a:pt x="188" y="122"/>
                    <a:pt x="188" y="122"/>
                    <a:pt x="188" y="122"/>
                  </a:cubicBezTo>
                  <a:cubicBezTo>
                    <a:pt x="188" y="122"/>
                    <a:pt x="190" y="119"/>
                    <a:pt x="190" y="118"/>
                  </a:cubicBezTo>
                  <a:cubicBezTo>
                    <a:pt x="189" y="118"/>
                    <a:pt x="185" y="120"/>
                    <a:pt x="185" y="120"/>
                  </a:cubicBezTo>
                  <a:cubicBezTo>
                    <a:pt x="186" y="116"/>
                    <a:pt x="186" y="116"/>
                    <a:pt x="186" y="116"/>
                  </a:cubicBezTo>
                  <a:cubicBezTo>
                    <a:pt x="185" y="116"/>
                    <a:pt x="185" y="116"/>
                    <a:pt x="185" y="116"/>
                  </a:cubicBezTo>
                  <a:cubicBezTo>
                    <a:pt x="183" y="114"/>
                    <a:pt x="183" y="114"/>
                    <a:pt x="183" y="114"/>
                  </a:cubicBezTo>
                  <a:cubicBezTo>
                    <a:pt x="183" y="114"/>
                    <a:pt x="186" y="115"/>
                    <a:pt x="186" y="115"/>
                  </a:cubicBezTo>
                  <a:cubicBezTo>
                    <a:pt x="187" y="115"/>
                    <a:pt x="189" y="114"/>
                    <a:pt x="189" y="114"/>
                  </a:cubicBezTo>
                  <a:cubicBezTo>
                    <a:pt x="189" y="113"/>
                    <a:pt x="189" y="113"/>
                    <a:pt x="189" y="113"/>
                  </a:cubicBezTo>
                  <a:cubicBezTo>
                    <a:pt x="186" y="111"/>
                    <a:pt x="186" y="111"/>
                    <a:pt x="186" y="111"/>
                  </a:cubicBezTo>
                  <a:cubicBezTo>
                    <a:pt x="187" y="110"/>
                    <a:pt x="187" y="110"/>
                    <a:pt x="187" y="110"/>
                  </a:cubicBezTo>
                  <a:cubicBezTo>
                    <a:pt x="188" y="108"/>
                    <a:pt x="188" y="108"/>
                    <a:pt x="188" y="108"/>
                  </a:cubicBezTo>
                  <a:cubicBezTo>
                    <a:pt x="190" y="107"/>
                    <a:pt x="190" y="107"/>
                    <a:pt x="190" y="107"/>
                  </a:cubicBezTo>
                  <a:cubicBezTo>
                    <a:pt x="191" y="103"/>
                    <a:pt x="191" y="103"/>
                    <a:pt x="191" y="103"/>
                  </a:cubicBezTo>
                  <a:cubicBezTo>
                    <a:pt x="191" y="101"/>
                    <a:pt x="191" y="101"/>
                    <a:pt x="191" y="101"/>
                  </a:cubicBezTo>
                  <a:cubicBezTo>
                    <a:pt x="190" y="101"/>
                    <a:pt x="190" y="101"/>
                    <a:pt x="190" y="101"/>
                  </a:cubicBezTo>
                  <a:cubicBezTo>
                    <a:pt x="189" y="98"/>
                    <a:pt x="189" y="98"/>
                    <a:pt x="189" y="98"/>
                  </a:cubicBezTo>
                  <a:cubicBezTo>
                    <a:pt x="186" y="97"/>
                    <a:pt x="186" y="97"/>
                    <a:pt x="186" y="97"/>
                  </a:cubicBezTo>
                  <a:cubicBezTo>
                    <a:pt x="186" y="97"/>
                    <a:pt x="184" y="94"/>
                    <a:pt x="184" y="94"/>
                  </a:cubicBezTo>
                  <a:cubicBezTo>
                    <a:pt x="183" y="94"/>
                    <a:pt x="184" y="92"/>
                    <a:pt x="183" y="93"/>
                  </a:cubicBezTo>
                  <a:cubicBezTo>
                    <a:pt x="182" y="93"/>
                    <a:pt x="181" y="92"/>
                    <a:pt x="181" y="92"/>
                  </a:cubicBezTo>
                  <a:cubicBezTo>
                    <a:pt x="181" y="92"/>
                    <a:pt x="182" y="90"/>
                    <a:pt x="182" y="90"/>
                  </a:cubicBezTo>
                  <a:cubicBezTo>
                    <a:pt x="182" y="90"/>
                    <a:pt x="183" y="89"/>
                    <a:pt x="183" y="88"/>
                  </a:cubicBezTo>
                  <a:cubicBezTo>
                    <a:pt x="183" y="88"/>
                    <a:pt x="183" y="86"/>
                    <a:pt x="182" y="86"/>
                  </a:cubicBezTo>
                  <a:cubicBezTo>
                    <a:pt x="182" y="86"/>
                    <a:pt x="180" y="87"/>
                    <a:pt x="180" y="87"/>
                  </a:cubicBezTo>
                  <a:cubicBezTo>
                    <a:pt x="176" y="88"/>
                    <a:pt x="176" y="88"/>
                    <a:pt x="176" y="88"/>
                  </a:cubicBezTo>
                  <a:cubicBezTo>
                    <a:pt x="174" y="87"/>
                    <a:pt x="174" y="87"/>
                    <a:pt x="174" y="87"/>
                  </a:cubicBezTo>
                  <a:cubicBezTo>
                    <a:pt x="174" y="87"/>
                    <a:pt x="174" y="86"/>
                    <a:pt x="175" y="85"/>
                  </a:cubicBezTo>
                  <a:cubicBezTo>
                    <a:pt x="175" y="85"/>
                    <a:pt x="176" y="85"/>
                    <a:pt x="176" y="84"/>
                  </a:cubicBezTo>
                  <a:cubicBezTo>
                    <a:pt x="177" y="83"/>
                    <a:pt x="177" y="83"/>
                    <a:pt x="178" y="82"/>
                  </a:cubicBezTo>
                  <a:cubicBezTo>
                    <a:pt x="179" y="81"/>
                    <a:pt x="181" y="79"/>
                    <a:pt x="181" y="79"/>
                  </a:cubicBezTo>
                  <a:cubicBezTo>
                    <a:pt x="181" y="77"/>
                    <a:pt x="181" y="77"/>
                    <a:pt x="181" y="77"/>
                  </a:cubicBezTo>
                  <a:cubicBezTo>
                    <a:pt x="181" y="75"/>
                    <a:pt x="181" y="75"/>
                    <a:pt x="181" y="75"/>
                  </a:cubicBezTo>
                  <a:cubicBezTo>
                    <a:pt x="181" y="75"/>
                    <a:pt x="179" y="74"/>
                    <a:pt x="179" y="74"/>
                  </a:cubicBezTo>
                  <a:cubicBezTo>
                    <a:pt x="178" y="74"/>
                    <a:pt x="178" y="75"/>
                    <a:pt x="177" y="74"/>
                  </a:cubicBezTo>
                  <a:cubicBezTo>
                    <a:pt x="176" y="73"/>
                    <a:pt x="176" y="73"/>
                    <a:pt x="176" y="72"/>
                  </a:cubicBezTo>
                  <a:cubicBezTo>
                    <a:pt x="175" y="71"/>
                    <a:pt x="174" y="69"/>
                    <a:pt x="174" y="69"/>
                  </a:cubicBezTo>
                  <a:cubicBezTo>
                    <a:pt x="174" y="69"/>
                    <a:pt x="173" y="68"/>
                    <a:pt x="174" y="68"/>
                  </a:cubicBezTo>
                  <a:cubicBezTo>
                    <a:pt x="175" y="68"/>
                    <a:pt x="177" y="69"/>
                    <a:pt x="177" y="68"/>
                  </a:cubicBezTo>
                  <a:cubicBezTo>
                    <a:pt x="178" y="68"/>
                    <a:pt x="178" y="68"/>
                    <a:pt x="178" y="67"/>
                  </a:cubicBezTo>
                  <a:cubicBezTo>
                    <a:pt x="178" y="67"/>
                    <a:pt x="179" y="64"/>
                    <a:pt x="179" y="64"/>
                  </a:cubicBezTo>
                  <a:cubicBezTo>
                    <a:pt x="179" y="63"/>
                    <a:pt x="179" y="64"/>
                    <a:pt x="181" y="63"/>
                  </a:cubicBezTo>
                  <a:cubicBezTo>
                    <a:pt x="182" y="62"/>
                    <a:pt x="182" y="62"/>
                    <a:pt x="183" y="61"/>
                  </a:cubicBezTo>
                  <a:cubicBezTo>
                    <a:pt x="185" y="61"/>
                    <a:pt x="185" y="60"/>
                    <a:pt x="185" y="60"/>
                  </a:cubicBezTo>
                  <a:cubicBezTo>
                    <a:pt x="184" y="60"/>
                    <a:pt x="183" y="59"/>
                    <a:pt x="183" y="59"/>
                  </a:cubicBezTo>
                  <a:cubicBezTo>
                    <a:pt x="182" y="59"/>
                    <a:pt x="180" y="60"/>
                    <a:pt x="180" y="60"/>
                  </a:cubicBezTo>
                  <a:cubicBezTo>
                    <a:pt x="180" y="60"/>
                    <a:pt x="179" y="61"/>
                    <a:pt x="178" y="62"/>
                  </a:cubicBezTo>
                  <a:cubicBezTo>
                    <a:pt x="177" y="62"/>
                    <a:pt x="176" y="62"/>
                    <a:pt x="175" y="62"/>
                  </a:cubicBezTo>
                  <a:cubicBezTo>
                    <a:pt x="175" y="62"/>
                    <a:pt x="174" y="62"/>
                    <a:pt x="174" y="62"/>
                  </a:cubicBezTo>
                  <a:cubicBezTo>
                    <a:pt x="174" y="62"/>
                    <a:pt x="173" y="61"/>
                    <a:pt x="173" y="63"/>
                  </a:cubicBezTo>
                  <a:cubicBezTo>
                    <a:pt x="172" y="64"/>
                    <a:pt x="171" y="66"/>
                    <a:pt x="171" y="66"/>
                  </a:cubicBezTo>
                  <a:cubicBezTo>
                    <a:pt x="171" y="66"/>
                    <a:pt x="170" y="67"/>
                    <a:pt x="170" y="65"/>
                  </a:cubicBezTo>
                  <a:cubicBezTo>
                    <a:pt x="170" y="64"/>
                    <a:pt x="169" y="62"/>
                    <a:pt x="169" y="62"/>
                  </a:cubicBezTo>
                  <a:cubicBezTo>
                    <a:pt x="169" y="62"/>
                    <a:pt x="169" y="62"/>
                    <a:pt x="169" y="62"/>
                  </a:cubicBezTo>
                  <a:cubicBezTo>
                    <a:pt x="168" y="62"/>
                    <a:pt x="166" y="61"/>
                    <a:pt x="166" y="61"/>
                  </a:cubicBezTo>
                  <a:cubicBezTo>
                    <a:pt x="166" y="61"/>
                    <a:pt x="167" y="61"/>
                    <a:pt x="167" y="60"/>
                  </a:cubicBezTo>
                  <a:cubicBezTo>
                    <a:pt x="166" y="58"/>
                    <a:pt x="166" y="58"/>
                    <a:pt x="166" y="58"/>
                  </a:cubicBezTo>
                  <a:cubicBezTo>
                    <a:pt x="167" y="58"/>
                    <a:pt x="167" y="58"/>
                    <a:pt x="168" y="58"/>
                  </a:cubicBezTo>
                  <a:cubicBezTo>
                    <a:pt x="168" y="57"/>
                    <a:pt x="168" y="57"/>
                    <a:pt x="168" y="56"/>
                  </a:cubicBezTo>
                  <a:cubicBezTo>
                    <a:pt x="169" y="54"/>
                    <a:pt x="168" y="53"/>
                    <a:pt x="168" y="53"/>
                  </a:cubicBezTo>
                  <a:cubicBezTo>
                    <a:pt x="167" y="52"/>
                    <a:pt x="166" y="52"/>
                    <a:pt x="166" y="52"/>
                  </a:cubicBezTo>
                  <a:cubicBezTo>
                    <a:pt x="166" y="49"/>
                    <a:pt x="166" y="49"/>
                    <a:pt x="166" y="49"/>
                  </a:cubicBezTo>
                  <a:cubicBezTo>
                    <a:pt x="166" y="49"/>
                    <a:pt x="166" y="48"/>
                    <a:pt x="166" y="47"/>
                  </a:cubicBezTo>
                  <a:cubicBezTo>
                    <a:pt x="165" y="46"/>
                    <a:pt x="165" y="46"/>
                    <a:pt x="164" y="46"/>
                  </a:cubicBezTo>
                  <a:cubicBezTo>
                    <a:pt x="164" y="46"/>
                    <a:pt x="163" y="47"/>
                    <a:pt x="163" y="47"/>
                  </a:cubicBezTo>
                  <a:cubicBezTo>
                    <a:pt x="162" y="47"/>
                    <a:pt x="160" y="46"/>
                    <a:pt x="160" y="46"/>
                  </a:cubicBezTo>
                  <a:cubicBezTo>
                    <a:pt x="157" y="44"/>
                    <a:pt x="157" y="44"/>
                    <a:pt x="157" y="44"/>
                  </a:cubicBezTo>
                  <a:cubicBezTo>
                    <a:pt x="157" y="44"/>
                    <a:pt x="157" y="44"/>
                    <a:pt x="156" y="45"/>
                  </a:cubicBezTo>
                  <a:cubicBezTo>
                    <a:pt x="156" y="46"/>
                    <a:pt x="156" y="45"/>
                    <a:pt x="156" y="46"/>
                  </a:cubicBezTo>
                  <a:cubicBezTo>
                    <a:pt x="156" y="47"/>
                    <a:pt x="156" y="48"/>
                    <a:pt x="156" y="49"/>
                  </a:cubicBezTo>
                  <a:cubicBezTo>
                    <a:pt x="156" y="49"/>
                    <a:pt x="156" y="51"/>
                    <a:pt x="155" y="52"/>
                  </a:cubicBezTo>
                  <a:cubicBezTo>
                    <a:pt x="155" y="53"/>
                    <a:pt x="154" y="53"/>
                    <a:pt x="154" y="54"/>
                  </a:cubicBezTo>
                  <a:cubicBezTo>
                    <a:pt x="154" y="54"/>
                    <a:pt x="155" y="55"/>
                    <a:pt x="154" y="55"/>
                  </a:cubicBezTo>
                  <a:cubicBezTo>
                    <a:pt x="154" y="55"/>
                    <a:pt x="154" y="57"/>
                    <a:pt x="153" y="57"/>
                  </a:cubicBezTo>
                  <a:cubicBezTo>
                    <a:pt x="153" y="57"/>
                    <a:pt x="152" y="58"/>
                    <a:pt x="152" y="58"/>
                  </a:cubicBezTo>
                  <a:cubicBezTo>
                    <a:pt x="151" y="58"/>
                    <a:pt x="151" y="58"/>
                    <a:pt x="150" y="58"/>
                  </a:cubicBezTo>
                  <a:cubicBezTo>
                    <a:pt x="149" y="58"/>
                    <a:pt x="149" y="59"/>
                    <a:pt x="149" y="59"/>
                  </a:cubicBezTo>
                  <a:cubicBezTo>
                    <a:pt x="149" y="59"/>
                    <a:pt x="147" y="59"/>
                    <a:pt x="146" y="58"/>
                  </a:cubicBezTo>
                  <a:cubicBezTo>
                    <a:pt x="145" y="58"/>
                    <a:pt x="145" y="57"/>
                    <a:pt x="145" y="57"/>
                  </a:cubicBezTo>
                  <a:cubicBezTo>
                    <a:pt x="144" y="55"/>
                    <a:pt x="144" y="55"/>
                    <a:pt x="144" y="55"/>
                  </a:cubicBezTo>
                  <a:cubicBezTo>
                    <a:pt x="144" y="55"/>
                    <a:pt x="148" y="56"/>
                    <a:pt x="144" y="54"/>
                  </a:cubicBezTo>
                  <a:cubicBezTo>
                    <a:pt x="140" y="52"/>
                    <a:pt x="141" y="52"/>
                    <a:pt x="141" y="52"/>
                  </a:cubicBezTo>
                  <a:cubicBezTo>
                    <a:pt x="141" y="52"/>
                    <a:pt x="140" y="53"/>
                    <a:pt x="139" y="54"/>
                  </a:cubicBezTo>
                  <a:cubicBezTo>
                    <a:pt x="139" y="54"/>
                    <a:pt x="138" y="55"/>
                    <a:pt x="138" y="55"/>
                  </a:cubicBezTo>
                  <a:cubicBezTo>
                    <a:pt x="138" y="56"/>
                    <a:pt x="138" y="56"/>
                    <a:pt x="138" y="56"/>
                  </a:cubicBezTo>
                  <a:cubicBezTo>
                    <a:pt x="137" y="56"/>
                    <a:pt x="137" y="56"/>
                    <a:pt x="137" y="56"/>
                  </a:cubicBezTo>
                  <a:cubicBezTo>
                    <a:pt x="136" y="58"/>
                    <a:pt x="136" y="58"/>
                    <a:pt x="136" y="58"/>
                  </a:cubicBezTo>
                  <a:cubicBezTo>
                    <a:pt x="136" y="58"/>
                    <a:pt x="134" y="59"/>
                    <a:pt x="134" y="59"/>
                  </a:cubicBezTo>
                  <a:cubicBezTo>
                    <a:pt x="134" y="59"/>
                    <a:pt x="133" y="59"/>
                    <a:pt x="133" y="59"/>
                  </a:cubicBezTo>
                  <a:cubicBezTo>
                    <a:pt x="132" y="59"/>
                    <a:pt x="132" y="59"/>
                    <a:pt x="131" y="59"/>
                  </a:cubicBezTo>
                  <a:cubicBezTo>
                    <a:pt x="131" y="59"/>
                    <a:pt x="130" y="58"/>
                    <a:pt x="130" y="58"/>
                  </a:cubicBezTo>
                  <a:cubicBezTo>
                    <a:pt x="130" y="57"/>
                    <a:pt x="130" y="55"/>
                    <a:pt x="130" y="55"/>
                  </a:cubicBezTo>
                  <a:cubicBezTo>
                    <a:pt x="130" y="54"/>
                    <a:pt x="130" y="53"/>
                    <a:pt x="129" y="52"/>
                  </a:cubicBezTo>
                  <a:cubicBezTo>
                    <a:pt x="128" y="51"/>
                    <a:pt x="128" y="50"/>
                    <a:pt x="128" y="50"/>
                  </a:cubicBezTo>
                  <a:cubicBezTo>
                    <a:pt x="124" y="47"/>
                    <a:pt x="124" y="47"/>
                    <a:pt x="124" y="47"/>
                  </a:cubicBezTo>
                  <a:cubicBezTo>
                    <a:pt x="124" y="47"/>
                    <a:pt x="124" y="46"/>
                    <a:pt x="123" y="47"/>
                  </a:cubicBezTo>
                  <a:cubicBezTo>
                    <a:pt x="121" y="47"/>
                    <a:pt x="120" y="49"/>
                    <a:pt x="120" y="49"/>
                  </a:cubicBezTo>
                  <a:cubicBezTo>
                    <a:pt x="120" y="49"/>
                    <a:pt x="120" y="50"/>
                    <a:pt x="120" y="51"/>
                  </a:cubicBezTo>
                  <a:cubicBezTo>
                    <a:pt x="120" y="51"/>
                    <a:pt x="119" y="52"/>
                    <a:pt x="119" y="53"/>
                  </a:cubicBezTo>
                  <a:cubicBezTo>
                    <a:pt x="120" y="54"/>
                    <a:pt x="121" y="56"/>
                    <a:pt x="120" y="57"/>
                  </a:cubicBezTo>
                  <a:cubicBezTo>
                    <a:pt x="120" y="57"/>
                    <a:pt x="120" y="58"/>
                    <a:pt x="120" y="60"/>
                  </a:cubicBezTo>
                  <a:cubicBezTo>
                    <a:pt x="120" y="62"/>
                    <a:pt x="120" y="63"/>
                    <a:pt x="119" y="63"/>
                  </a:cubicBezTo>
                  <a:cubicBezTo>
                    <a:pt x="119" y="64"/>
                    <a:pt x="118" y="65"/>
                    <a:pt x="118" y="65"/>
                  </a:cubicBezTo>
                  <a:cubicBezTo>
                    <a:pt x="118" y="65"/>
                    <a:pt x="118" y="65"/>
                    <a:pt x="118" y="65"/>
                  </a:cubicBezTo>
                  <a:cubicBezTo>
                    <a:pt x="118" y="65"/>
                    <a:pt x="118" y="64"/>
                    <a:pt x="118" y="62"/>
                  </a:cubicBezTo>
                  <a:cubicBezTo>
                    <a:pt x="118" y="59"/>
                    <a:pt x="117" y="58"/>
                    <a:pt x="117" y="58"/>
                  </a:cubicBezTo>
                  <a:cubicBezTo>
                    <a:pt x="117" y="58"/>
                    <a:pt x="117" y="57"/>
                    <a:pt x="117" y="57"/>
                  </a:cubicBezTo>
                  <a:cubicBezTo>
                    <a:pt x="117" y="56"/>
                    <a:pt x="117" y="55"/>
                    <a:pt x="117" y="55"/>
                  </a:cubicBezTo>
                  <a:cubicBezTo>
                    <a:pt x="117" y="55"/>
                    <a:pt x="115" y="53"/>
                    <a:pt x="115" y="53"/>
                  </a:cubicBezTo>
                  <a:cubicBezTo>
                    <a:pt x="116" y="52"/>
                    <a:pt x="116" y="51"/>
                    <a:pt x="116" y="49"/>
                  </a:cubicBezTo>
                  <a:cubicBezTo>
                    <a:pt x="116" y="48"/>
                    <a:pt x="117" y="47"/>
                    <a:pt x="116" y="46"/>
                  </a:cubicBezTo>
                  <a:cubicBezTo>
                    <a:pt x="115" y="45"/>
                    <a:pt x="116" y="44"/>
                    <a:pt x="115" y="44"/>
                  </a:cubicBezTo>
                  <a:cubicBezTo>
                    <a:pt x="115" y="44"/>
                    <a:pt x="114" y="44"/>
                    <a:pt x="114" y="44"/>
                  </a:cubicBezTo>
                  <a:cubicBezTo>
                    <a:pt x="114" y="44"/>
                    <a:pt x="113" y="44"/>
                    <a:pt x="113" y="44"/>
                  </a:cubicBezTo>
                  <a:cubicBezTo>
                    <a:pt x="115" y="43"/>
                    <a:pt x="115" y="43"/>
                    <a:pt x="115" y="43"/>
                  </a:cubicBezTo>
                  <a:cubicBezTo>
                    <a:pt x="115" y="43"/>
                    <a:pt x="115" y="40"/>
                    <a:pt x="114" y="41"/>
                  </a:cubicBezTo>
                  <a:cubicBezTo>
                    <a:pt x="114" y="42"/>
                    <a:pt x="112" y="43"/>
                    <a:pt x="112" y="42"/>
                  </a:cubicBezTo>
                  <a:cubicBezTo>
                    <a:pt x="112" y="41"/>
                    <a:pt x="112" y="41"/>
                    <a:pt x="111" y="41"/>
                  </a:cubicBezTo>
                  <a:cubicBezTo>
                    <a:pt x="111" y="41"/>
                    <a:pt x="108" y="41"/>
                    <a:pt x="108" y="41"/>
                  </a:cubicBezTo>
                  <a:cubicBezTo>
                    <a:pt x="108" y="41"/>
                    <a:pt x="108" y="40"/>
                    <a:pt x="108" y="41"/>
                  </a:cubicBezTo>
                  <a:cubicBezTo>
                    <a:pt x="108" y="42"/>
                    <a:pt x="109" y="44"/>
                    <a:pt x="107" y="44"/>
                  </a:cubicBezTo>
                  <a:cubicBezTo>
                    <a:pt x="106" y="45"/>
                    <a:pt x="105" y="45"/>
                    <a:pt x="105" y="45"/>
                  </a:cubicBezTo>
                  <a:cubicBezTo>
                    <a:pt x="105" y="44"/>
                    <a:pt x="103" y="43"/>
                    <a:pt x="103" y="43"/>
                  </a:cubicBezTo>
                  <a:cubicBezTo>
                    <a:pt x="103" y="43"/>
                    <a:pt x="103" y="43"/>
                    <a:pt x="102" y="43"/>
                  </a:cubicBezTo>
                  <a:cubicBezTo>
                    <a:pt x="101" y="44"/>
                    <a:pt x="100" y="44"/>
                    <a:pt x="100" y="44"/>
                  </a:cubicBezTo>
                  <a:cubicBezTo>
                    <a:pt x="100" y="45"/>
                    <a:pt x="100" y="45"/>
                    <a:pt x="100" y="45"/>
                  </a:cubicBezTo>
                  <a:cubicBezTo>
                    <a:pt x="100" y="46"/>
                    <a:pt x="100" y="46"/>
                    <a:pt x="100" y="46"/>
                  </a:cubicBezTo>
                  <a:cubicBezTo>
                    <a:pt x="100" y="46"/>
                    <a:pt x="99" y="46"/>
                    <a:pt x="99" y="47"/>
                  </a:cubicBezTo>
                  <a:cubicBezTo>
                    <a:pt x="98" y="47"/>
                    <a:pt x="98" y="47"/>
                    <a:pt x="98" y="48"/>
                  </a:cubicBezTo>
                  <a:cubicBezTo>
                    <a:pt x="98" y="48"/>
                    <a:pt x="99" y="48"/>
                    <a:pt x="99" y="49"/>
                  </a:cubicBezTo>
                  <a:cubicBezTo>
                    <a:pt x="99" y="50"/>
                    <a:pt x="99" y="50"/>
                    <a:pt x="98" y="51"/>
                  </a:cubicBezTo>
                  <a:cubicBezTo>
                    <a:pt x="98" y="52"/>
                    <a:pt x="97" y="53"/>
                    <a:pt x="97" y="54"/>
                  </a:cubicBezTo>
                  <a:cubicBezTo>
                    <a:pt x="97" y="54"/>
                    <a:pt x="96" y="54"/>
                    <a:pt x="96" y="55"/>
                  </a:cubicBezTo>
                  <a:cubicBezTo>
                    <a:pt x="95" y="55"/>
                    <a:pt x="95" y="55"/>
                    <a:pt x="95" y="55"/>
                  </a:cubicBezTo>
                  <a:cubicBezTo>
                    <a:pt x="94" y="55"/>
                    <a:pt x="94" y="56"/>
                    <a:pt x="94" y="55"/>
                  </a:cubicBezTo>
                  <a:cubicBezTo>
                    <a:pt x="94" y="54"/>
                    <a:pt x="93" y="53"/>
                    <a:pt x="93" y="51"/>
                  </a:cubicBezTo>
                  <a:cubicBezTo>
                    <a:pt x="94" y="50"/>
                    <a:pt x="94" y="50"/>
                    <a:pt x="93" y="49"/>
                  </a:cubicBezTo>
                  <a:cubicBezTo>
                    <a:pt x="92" y="47"/>
                    <a:pt x="91" y="47"/>
                    <a:pt x="91" y="47"/>
                  </a:cubicBezTo>
                  <a:cubicBezTo>
                    <a:pt x="91" y="46"/>
                    <a:pt x="91" y="46"/>
                    <a:pt x="91" y="45"/>
                  </a:cubicBezTo>
                  <a:cubicBezTo>
                    <a:pt x="92" y="44"/>
                    <a:pt x="91" y="46"/>
                    <a:pt x="92" y="43"/>
                  </a:cubicBezTo>
                  <a:cubicBezTo>
                    <a:pt x="92" y="40"/>
                    <a:pt x="92" y="39"/>
                    <a:pt x="92" y="39"/>
                  </a:cubicBezTo>
                  <a:cubicBezTo>
                    <a:pt x="92" y="39"/>
                    <a:pt x="92" y="36"/>
                    <a:pt x="92" y="35"/>
                  </a:cubicBezTo>
                  <a:cubicBezTo>
                    <a:pt x="91" y="35"/>
                    <a:pt x="89" y="35"/>
                    <a:pt x="88" y="35"/>
                  </a:cubicBezTo>
                  <a:cubicBezTo>
                    <a:pt x="87" y="35"/>
                    <a:pt x="87" y="35"/>
                    <a:pt x="87" y="35"/>
                  </a:cubicBezTo>
                  <a:cubicBezTo>
                    <a:pt x="86" y="36"/>
                    <a:pt x="86" y="35"/>
                    <a:pt x="85" y="37"/>
                  </a:cubicBezTo>
                  <a:cubicBezTo>
                    <a:pt x="85" y="38"/>
                    <a:pt x="84" y="38"/>
                    <a:pt x="84" y="40"/>
                  </a:cubicBezTo>
                  <a:cubicBezTo>
                    <a:pt x="84" y="41"/>
                    <a:pt x="84" y="42"/>
                    <a:pt x="84" y="43"/>
                  </a:cubicBezTo>
                  <a:cubicBezTo>
                    <a:pt x="84" y="43"/>
                    <a:pt x="83" y="44"/>
                    <a:pt x="83" y="44"/>
                  </a:cubicBezTo>
                  <a:cubicBezTo>
                    <a:pt x="83" y="44"/>
                    <a:pt x="83" y="44"/>
                    <a:pt x="83" y="46"/>
                  </a:cubicBezTo>
                  <a:cubicBezTo>
                    <a:pt x="83" y="48"/>
                    <a:pt x="82" y="49"/>
                    <a:pt x="82" y="49"/>
                  </a:cubicBezTo>
                  <a:cubicBezTo>
                    <a:pt x="82" y="50"/>
                    <a:pt x="82" y="50"/>
                    <a:pt x="81" y="51"/>
                  </a:cubicBezTo>
                  <a:cubicBezTo>
                    <a:pt x="81" y="52"/>
                    <a:pt x="79" y="53"/>
                    <a:pt x="79" y="54"/>
                  </a:cubicBezTo>
                  <a:cubicBezTo>
                    <a:pt x="78" y="54"/>
                    <a:pt x="78" y="54"/>
                    <a:pt x="78" y="54"/>
                  </a:cubicBezTo>
                  <a:cubicBezTo>
                    <a:pt x="78" y="55"/>
                    <a:pt x="76" y="57"/>
                    <a:pt x="75" y="57"/>
                  </a:cubicBezTo>
                  <a:cubicBezTo>
                    <a:pt x="75" y="57"/>
                    <a:pt x="75" y="58"/>
                    <a:pt x="74" y="57"/>
                  </a:cubicBezTo>
                  <a:cubicBezTo>
                    <a:pt x="74" y="57"/>
                    <a:pt x="73" y="57"/>
                    <a:pt x="73" y="56"/>
                  </a:cubicBezTo>
                  <a:cubicBezTo>
                    <a:pt x="74" y="55"/>
                    <a:pt x="74" y="54"/>
                    <a:pt x="74" y="53"/>
                  </a:cubicBezTo>
                  <a:cubicBezTo>
                    <a:pt x="75" y="52"/>
                    <a:pt x="75" y="51"/>
                    <a:pt x="75" y="51"/>
                  </a:cubicBezTo>
                  <a:cubicBezTo>
                    <a:pt x="75" y="51"/>
                    <a:pt x="76" y="50"/>
                    <a:pt x="75" y="49"/>
                  </a:cubicBezTo>
                  <a:cubicBezTo>
                    <a:pt x="74" y="49"/>
                    <a:pt x="73" y="49"/>
                    <a:pt x="72" y="50"/>
                  </a:cubicBezTo>
                  <a:cubicBezTo>
                    <a:pt x="71" y="50"/>
                    <a:pt x="69" y="51"/>
                    <a:pt x="69" y="51"/>
                  </a:cubicBezTo>
                  <a:cubicBezTo>
                    <a:pt x="68" y="52"/>
                    <a:pt x="68" y="52"/>
                    <a:pt x="66" y="53"/>
                  </a:cubicBezTo>
                  <a:cubicBezTo>
                    <a:pt x="65" y="55"/>
                    <a:pt x="65" y="55"/>
                    <a:pt x="65" y="55"/>
                  </a:cubicBezTo>
                  <a:cubicBezTo>
                    <a:pt x="64" y="56"/>
                    <a:pt x="64" y="56"/>
                    <a:pt x="64" y="56"/>
                  </a:cubicBezTo>
                  <a:cubicBezTo>
                    <a:pt x="64" y="57"/>
                    <a:pt x="64" y="57"/>
                    <a:pt x="64" y="57"/>
                  </a:cubicBezTo>
                  <a:cubicBezTo>
                    <a:pt x="64" y="57"/>
                    <a:pt x="64" y="56"/>
                    <a:pt x="64" y="56"/>
                  </a:cubicBezTo>
                  <a:cubicBezTo>
                    <a:pt x="64" y="56"/>
                    <a:pt x="63" y="55"/>
                    <a:pt x="63" y="56"/>
                  </a:cubicBezTo>
                  <a:cubicBezTo>
                    <a:pt x="63" y="56"/>
                    <a:pt x="62" y="57"/>
                    <a:pt x="62" y="57"/>
                  </a:cubicBezTo>
                  <a:cubicBezTo>
                    <a:pt x="62" y="58"/>
                    <a:pt x="62" y="58"/>
                    <a:pt x="61" y="59"/>
                  </a:cubicBezTo>
                  <a:cubicBezTo>
                    <a:pt x="61" y="60"/>
                    <a:pt x="60" y="61"/>
                    <a:pt x="60" y="62"/>
                  </a:cubicBezTo>
                  <a:cubicBezTo>
                    <a:pt x="60" y="62"/>
                    <a:pt x="60" y="62"/>
                    <a:pt x="60" y="63"/>
                  </a:cubicBezTo>
                  <a:cubicBezTo>
                    <a:pt x="59" y="63"/>
                    <a:pt x="58" y="64"/>
                    <a:pt x="58" y="64"/>
                  </a:cubicBezTo>
                  <a:cubicBezTo>
                    <a:pt x="58" y="64"/>
                    <a:pt x="57" y="62"/>
                    <a:pt x="58" y="61"/>
                  </a:cubicBezTo>
                  <a:cubicBezTo>
                    <a:pt x="58" y="60"/>
                    <a:pt x="58" y="60"/>
                    <a:pt x="58" y="59"/>
                  </a:cubicBezTo>
                  <a:cubicBezTo>
                    <a:pt x="59" y="59"/>
                    <a:pt x="59" y="58"/>
                    <a:pt x="59" y="58"/>
                  </a:cubicBezTo>
                  <a:cubicBezTo>
                    <a:pt x="60" y="58"/>
                    <a:pt x="59" y="59"/>
                    <a:pt x="60" y="57"/>
                  </a:cubicBezTo>
                  <a:cubicBezTo>
                    <a:pt x="61" y="55"/>
                    <a:pt x="61" y="54"/>
                    <a:pt x="61" y="54"/>
                  </a:cubicBezTo>
                  <a:cubicBezTo>
                    <a:pt x="61" y="54"/>
                    <a:pt x="61" y="54"/>
                    <a:pt x="60" y="53"/>
                  </a:cubicBezTo>
                  <a:cubicBezTo>
                    <a:pt x="60" y="53"/>
                    <a:pt x="60" y="53"/>
                    <a:pt x="60" y="53"/>
                  </a:cubicBezTo>
                  <a:cubicBezTo>
                    <a:pt x="61" y="52"/>
                    <a:pt x="61" y="51"/>
                    <a:pt x="61" y="51"/>
                  </a:cubicBezTo>
                  <a:cubicBezTo>
                    <a:pt x="61" y="50"/>
                    <a:pt x="62" y="50"/>
                    <a:pt x="62" y="50"/>
                  </a:cubicBezTo>
                  <a:cubicBezTo>
                    <a:pt x="62" y="50"/>
                    <a:pt x="62" y="50"/>
                    <a:pt x="61" y="49"/>
                  </a:cubicBezTo>
                  <a:cubicBezTo>
                    <a:pt x="61" y="49"/>
                    <a:pt x="61" y="48"/>
                    <a:pt x="61" y="48"/>
                  </a:cubicBezTo>
                  <a:cubicBezTo>
                    <a:pt x="61" y="48"/>
                    <a:pt x="61" y="47"/>
                    <a:pt x="61" y="47"/>
                  </a:cubicBezTo>
                  <a:cubicBezTo>
                    <a:pt x="61" y="47"/>
                    <a:pt x="61" y="46"/>
                    <a:pt x="61" y="46"/>
                  </a:cubicBezTo>
                  <a:cubicBezTo>
                    <a:pt x="61" y="45"/>
                    <a:pt x="61" y="45"/>
                    <a:pt x="60" y="44"/>
                  </a:cubicBezTo>
                  <a:cubicBezTo>
                    <a:pt x="59" y="44"/>
                    <a:pt x="59" y="44"/>
                    <a:pt x="59" y="44"/>
                  </a:cubicBezTo>
                  <a:cubicBezTo>
                    <a:pt x="59" y="44"/>
                    <a:pt x="58" y="43"/>
                    <a:pt x="58" y="43"/>
                  </a:cubicBezTo>
                  <a:cubicBezTo>
                    <a:pt x="58" y="42"/>
                    <a:pt x="58" y="41"/>
                    <a:pt x="58" y="41"/>
                  </a:cubicBezTo>
                  <a:cubicBezTo>
                    <a:pt x="58" y="41"/>
                    <a:pt x="58" y="40"/>
                    <a:pt x="59" y="40"/>
                  </a:cubicBezTo>
                  <a:cubicBezTo>
                    <a:pt x="59" y="41"/>
                    <a:pt x="59" y="42"/>
                    <a:pt x="59" y="42"/>
                  </a:cubicBezTo>
                  <a:cubicBezTo>
                    <a:pt x="59" y="42"/>
                    <a:pt x="61" y="43"/>
                    <a:pt x="61" y="43"/>
                  </a:cubicBezTo>
                  <a:cubicBezTo>
                    <a:pt x="61" y="43"/>
                    <a:pt x="63" y="43"/>
                    <a:pt x="63" y="42"/>
                  </a:cubicBezTo>
                  <a:cubicBezTo>
                    <a:pt x="64" y="42"/>
                    <a:pt x="64" y="41"/>
                    <a:pt x="64" y="41"/>
                  </a:cubicBezTo>
                  <a:cubicBezTo>
                    <a:pt x="64" y="41"/>
                    <a:pt x="63" y="41"/>
                    <a:pt x="64" y="40"/>
                  </a:cubicBezTo>
                  <a:cubicBezTo>
                    <a:pt x="64" y="40"/>
                    <a:pt x="66" y="39"/>
                    <a:pt x="66" y="39"/>
                  </a:cubicBezTo>
                  <a:cubicBezTo>
                    <a:pt x="67" y="39"/>
                    <a:pt x="67" y="38"/>
                    <a:pt x="67" y="38"/>
                  </a:cubicBezTo>
                  <a:cubicBezTo>
                    <a:pt x="67" y="38"/>
                    <a:pt x="68" y="38"/>
                    <a:pt x="68" y="37"/>
                  </a:cubicBezTo>
                  <a:cubicBezTo>
                    <a:pt x="68" y="37"/>
                    <a:pt x="68" y="37"/>
                    <a:pt x="68" y="36"/>
                  </a:cubicBezTo>
                  <a:cubicBezTo>
                    <a:pt x="68" y="36"/>
                    <a:pt x="68" y="35"/>
                    <a:pt x="68" y="35"/>
                  </a:cubicBezTo>
                  <a:cubicBezTo>
                    <a:pt x="68" y="34"/>
                    <a:pt x="70" y="35"/>
                    <a:pt x="68" y="34"/>
                  </a:cubicBezTo>
                  <a:cubicBezTo>
                    <a:pt x="66" y="33"/>
                    <a:pt x="65" y="32"/>
                    <a:pt x="65" y="32"/>
                  </a:cubicBezTo>
                  <a:cubicBezTo>
                    <a:pt x="66" y="32"/>
                    <a:pt x="67" y="32"/>
                    <a:pt x="67" y="32"/>
                  </a:cubicBezTo>
                  <a:cubicBezTo>
                    <a:pt x="68" y="32"/>
                    <a:pt x="68" y="32"/>
                    <a:pt x="69" y="32"/>
                  </a:cubicBezTo>
                  <a:cubicBezTo>
                    <a:pt x="69" y="32"/>
                    <a:pt x="70" y="32"/>
                    <a:pt x="69" y="31"/>
                  </a:cubicBezTo>
                  <a:cubicBezTo>
                    <a:pt x="69" y="31"/>
                    <a:pt x="69" y="31"/>
                    <a:pt x="68" y="30"/>
                  </a:cubicBezTo>
                  <a:cubicBezTo>
                    <a:pt x="68" y="30"/>
                    <a:pt x="68" y="30"/>
                    <a:pt x="67" y="30"/>
                  </a:cubicBezTo>
                  <a:cubicBezTo>
                    <a:pt x="67" y="30"/>
                    <a:pt x="67" y="30"/>
                    <a:pt x="67" y="29"/>
                  </a:cubicBezTo>
                  <a:cubicBezTo>
                    <a:pt x="67" y="27"/>
                    <a:pt x="67" y="27"/>
                    <a:pt x="67" y="27"/>
                  </a:cubicBezTo>
                  <a:cubicBezTo>
                    <a:pt x="67" y="27"/>
                    <a:pt x="69" y="26"/>
                    <a:pt x="67" y="26"/>
                  </a:cubicBezTo>
                  <a:cubicBezTo>
                    <a:pt x="66" y="26"/>
                    <a:pt x="66" y="26"/>
                    <a:pt x="66" y="26"/>
                  </a:cubicBezTo>
                  <a:cubicBezTo>
                    <a:pt x="66" y="26"/>
                    <a:pt x="66" y="25"/>
                    <a:pt x="65" y="25"/>
                  </a:cubicBezTo>
                  <a:cubicBezTo>
                    <a:pt x="64" y="25"/>
                    <a:pt x="64" y="24"/>
                    <a:pt x="65" y="24"/>
                  </a:cubicBezTo>
                  <a:cubicBezTo>
                    <a:pt x="65" y="23"/>
                    <a:pt x="66" y="20"/>
                    <a:pt x="66" y="20"/>
                  </a:cubicBezTo>
                  <a:cubicBezTo>
                    <a:pt x="64" y="19"/>
                    <a:pt x="64" y="19"/>
                    <a:pt x="64" y="19"/>
                  </a:cubicBezTo>
                  <a:cubicBezTo>
                    <a:pt x="64" y="19"/>
                    <a:pt x="64" y="17"/>
                    <a:pt x="64" y="17"/>
                  </a:cubicBezTo>
                  <a:cubicBezTo>
                    <a:pt x="64" y="17"/>
                    <a:pt x="64" y="16"/>
                    <a:pt x="63" y="16"/>
                  </a:cubicBezTo>
                  <a:cubicBezTo>
                    <a:pt x="63" y="16"/>
                    <a:pt x="62" y="15"/>
                    <a:pt x="62" y="15"/>
                  </a:cubicBezTo>
                  <a:cubicBezTo>
                    <a:pt x="62" y="15"/>
                    <a:pt x="62" y="15"/>
                    <a:pt x="62" y="14"/>
                  </a:cubicBezTo>
                  <a:cubicBezTo>
                    <a:pt x="62" y="14"/>
                    <a:pt x="61" y="12"/>
                    <a:pt x="61" y="12"/>
                  </a:cubicBezTo>
                  <a:cubicBezTo>
                    <a:pt x="61" y="12"/>
                    <a:pt x="62" y="11"/>
                    <a:pt x="62" y="11"/>
                  </a:cubicBezTo>
                  <a:cubicBezTo>
                    <a:pt x="60" y="7"/>
                    <a:pt x="60" y="7"/>
                    <a:pt x="60" y="7"/>
                  </a:cubicBezTo>
                  <a:cubicBezTo>
                    <a:pt x="60" y="6"/>
                    <a:pt x="60" y="6"/>
                    <a:pt x="60" y="6"/>
                  </a:cubicBezTo>
                  <a:cubicBezTo>
                    <a:pt x="59" y="5"/>
                    <a:pt x="59" y="5"/>
                    <a:pt x="59" y="5"/>
                  </a:cubicBezTo>
                  <a:cubicBezTo>
                    <a:pt x="59" y="5"/>
                    <a:pt x="59" y="5"/>
                    <a:pt x="59" y="5"/>
                  </a:cubicBezTo>
                  <a:cubicBezTo>
                    <a:pt x="58" y="3"/>
                    <a:pt x="58" y="3"/>
                    <a:pt x="58" y="3"/>
                  </a:cubicBezTo>
                  <a:cubicBezTo>
                    <a:pt x="58" y="3"/>
                    <a:pt x="58" y="3"/>
                    <a:pt x="57" y="4"/>
                  </a:cubicBezTo>
                  <a:cubicBezTo>
                    <a:pt x="57" y="4"/>
                    <a:pt x="57" y="4"/>
                    <a:pt x="57" y="4"/>
                  </a:cubicBezTo>
                  <a:cubicBezTo>
                    <a:pt x="56" y="4"/>
                    <a:pt x="55" y="4"/>
                    <a:pt x="55" y="4"/>
                  </a:cubicBezTo>
                  <a:cubicBezTo>
                    <a:pt x="55" y="4"/>
                    <a:pt x="55" y="3"/>
                    <a:pt x="55" y="3"/>
                  </a:cubicBezTo>
                  <a:cubicBezTo>
                    <a:pt x="54" y="2"/>
                    <a:pt x="52" y="0"/>
                    <a:pt x="52" y="0"/>
                  </a:cubicBezTo>
                  <a:cubicBezTo>
                    <a:pt x="52" y="0"/>
                    <a:pt x="52" y="1"/>
                    <a:pt x="52" y="1"/>
                  </a:cubicBezTo>
                  <a:cubicBezTo>
                    <a:pt x="52" y="2"/>
                    <a:pt x="51" y="2"/>
                    <a:pt x="51" y="2"/>
                  </a:cubicBezTo>
                  <a:cubicBezTo>
                    <a:pt x="50" y="1"/>
                    <a:pt x="49" y="1"/>
                    <a:pt x="49" y="1"/>
                  </a:cubicBezTo>
                  <a:cubicBezTo>
                    <a:pt x="49" y="1"/>
                    <a:pt x="48" y="1"/>
                    <a:pt x="49" y="2"/>
                  </a:cubicBezTo>
                  <a:cubicBezTo>
                    <a:pt x="49" y="2"/>
                    <a:pt x="49" y="3"/>
                    <a:pt x="49" y="3"/>
                  </a:cubicBezTo>
                  <a:cubicBezTo>
                    <a:pt x="49" y="3"/>
                    <a:pt x="48" y="3"/>
                    <a:pt x="48" y="3"/>
                  </a:cubicBezTo>
                  <a:cubicBezTo>
                    <a:pt x="48" y="3"/>
                    <a:pt x="48" y="3"/>
                    <a:pt x="47" y="3"/>
                  </a:cubicBezTo>
                  <a:cubicBezTo>
                    <a:pt x="47" y="3"/>
                    <a:pt x="47" y="2"/>
                    <a:pt x="46" y="3"/>
                  </a:cubicBezTo>
                  <a:cubicBezTo>
                    <a:pt x="46" y="3"/>
                    <a:pt x="45" y="3"/>
                    <a:pt x="46" y="4"/>
                  </a:cubicBezTo>
                  <a:cubicBezTo>
                    <a:pt x="46" y="5"/>
                    <a:pt x="45" y="5"/>
                    <a:pt x="46" y="6"/>
                  </a:cubicBezTo>
                  <a:cubicBezTo>
                    <a:pt x="47" y="7"/>
                    <a:pt x="47" y="7"/>
                    <a:pt x="48" y="7"/>
                  </a:cubicBezTo>
                  <a:cubicBezTo>
                    <a:pt x="48" y="7"/>
                    <a:pt x="49" y="7"/>
                    <a:pt x="49" y="7"/>
                  </a:cubicBezTo>
                  <a:cubicBezTo>
                    <a:pt x="50" y="7"/>
                    <a:pt x="50" y="7"/>
                    <a:pt x="51" y="7"/>
                  </a:cubicBezTo>
                  <a:cubicBezTo>
                    <a:pt x="51" y="7"/>
                    <a:pt x="52" y="6"/>
                    <a:pt x="52" y="6"/>
                  </a:cubicBezTo>
                  <a:cubicBezTo>
                    <a:pt x="52" y="6"/>
                    <a:pt x="52" y="7"/>
                    <a:pt x="52" y="7"/>
                  </a:cubicBezTo>
                  <a:cubicBezTo>
                    <a:pt x="52" y="7"/>
                    <a:pt x="51" y="7"/>
                    <a:pt x="51" y="8"/>
                  </a:cubicBezTo>
                  <a:cubicBezTo>
                    <a:pt x="52" y="8"/>
                    <a:pt x="52" y="8"/>
                    <a:pt x="52" y="8"/>
                  </a:cubicBezTo>
                  <a:cubicBezTo>
                    <a:pt x="53" y="8"/>
                    <a:pt x="53" y="8"/>
                    <a:pt x="53" y="8"/>
                  </a:cubicBezTo>
                  <a:cubicBezTo>
                    <a:pt x="53" y="8"/>
                    <a:pt x="53" y="9"/>
                    <a:pt x="53" y="9"/>
                  </a:cubicBezTo>
                  <a:cubicBezTo>
                    <a:pt x="53" y="9"/>
                    <a:pt x="52" y="9"/>
                    <a:pt x="53" y="10"/>
                  </a:cubicBezTo>
                  <a:cubicBezTo>
                    <a:pt x="53" y="10"/>
                    <a:pt x="53" y="10"/>
                    <a:pt x="53" y="10"/>
                  </a:cubicBezTo>
                  <a:cubicBezTo>
                    <a:pt x="54" y="11"/>
                    <a:pt x="54" y="11"/>
                    <a:pt x="54" y="11"/>
                  </a:cubicBezTo>
                  <a:cubicBezTo>
                    <a:pt x="54" y="11"/>
                    <a:pt x="56" y="12"/>
                    <a:pt x="55" y="12"/>
                  </a:cubicBezTo>
                  <a:cubicBezTo>
                    <a:pt x="55" y="12"/>
                    <a:pt x="54" y="11"/>
                    <a:pt x="55" y="12"/>
                  </a:cubicBezTo>
                  <a:cubicBezTo>
                    <a:pt x="56" y="12"/>
                    <a:pt x="56" y="13"/>
                    <a:pt x="56" y="13"/>
                  </a:cubicBezTo>
                  <a:cubicBezTo>
                    <a:pt x="56" y="13"/>
                    <a:pt x="56" y="13"/>
                    <a:pt x="55" y="13"/>
                  </a:cubicBezTo>
                  <a:cubicBezTo>
                    <a:pt x="54" y="12"/>
                    <a:pt x="53" y="12"/>
                    <a:pt x="53" y="12"/>
                  </a:cubicBezTo>
                  <a:cubicBezTo>
                    <a:pt x="53" y="12"/>
                    <a:pt x="53" y="12"/>
                    <a:pt x="52" y="12"/>
                  </a:cubicBezTo>
                  <a:cubicBezTo>
                    <a:pt x="52" y="11"/>
                    <a:pt x="52" y="11"/>
                    <a:pt x="52" y="10"/>
                  </a:cubicBezTo>
                  <a:cubicBezTo>
                    <a:pt x="52" y="10"/>
                    <a:pt x="51" y="10"/>
                    <a:pt x="50" y="9"/>
                  </a:cubicBezTo>
                  <a:cubicBezTo>
                    <a:pt x="49" y="9"/>
                    <a:pt x="48" y="10"/>
                    <a:pt x="48" y="10"/>
                  </a:cubicBezTo>
                  <a:cubicBezTo>
                    <a:pt x="48" y="10"/>
                    <a:pt x="47" y="10"/>
                    <a:pt x="47" y="10"/>
                  </a:cubicBezTo>
                  <a:cubicBezTo>
                    <a:pt x="46" y="10"/>
                    <a:pt x="46" y="11"/>
                    <a:pt x="47" y="12"/>
                  </a:cubicBezTo>
                  <a:cubicBezTo>
                    <a:pt x="47" y="12"/>
                    <a:pt x="49" y="16"/>
                    <a:pt x="49" y="16"/>
                  </a:cubicBezTo>
                  <a:cubicBezTo>
                    <a:pt x="49" y="16"/>
                    <a:pt x="50" y="17"/>
                    <a:pt x="50" y="17"/>
                  </a:cubicBezTo>
                  <a:cubicBezTo>
                    <a:pt x="50" y="18"/>
                    <a:pt x="51" y="19"/>
                    <a:pt x="51" y="19"/>
                  </a:cubicBezTo>
                  <a:cubicBezTo>
                    <a:pt x="51" y="19"/>
                    <a:pt x="51" y="19"/>
                    <a:pt x="52" y="20"/>
                  </a:cubicBezTo>
                  <a:cubicBezTo>
                    <a:pt x="52" y="20"/>
                    <a:pt x="52" y="20"/>
                    <a:pt x="52" y="20"/>
                  </a:cubicBezTo>
                  <a:cubicBezTo>
                    <a:pt x="51" y="20"/>
                    <a:pt x="51" y="22"/>
                    <a:pt x="51" y="22"/>
                  </a:cubicBezTo>
                  <a:cubicBezTo>
                    <a:pt x="51" y="22"/>
                    <a:pt x="51" y="21"/>
                    <a:pt x="51" y="23"/>
                  </a:cubicBezTo>
                  <a:cubicBezTo>
                    <a:pt x="51" y="24"/>
                    <a:pt x="51" y="26"/>
                    <a:pt x="51" y="26"/>
                  </a:cubicBezTo>
                  <a:cubicBezTo>
                    <a:pt x="51" y="27"/>
                    <a:pt x="51" y="27"/>
                    <a:pt x="51" y="27"/>
                  </a:cubicBezTo>
                  <a:cubicBezTo>
                    <a:pt x="49" y="28"/>
                    <a:pt x="49" y="28"/>
                    <a:pt x="49" y="28"/>
                  </a:cubicBezTo>
                  <a:cubicBezTo>
                    <a:pt x="49" y="28"/>
                    <a:pt x="49" y="28"/>
                    <a:pt x="49" y="28"/>
                  </a:cubicBezTo>
                  <a:cubicBezTo>
                    <a:pt x="49" y="28"/>
                    <a:pt x="49" y="27"/>
                    <a:pt x="49" y="27"/>
                  </a:cubicBezTo>
                  <a:cubicBezTo>
                    <a:pt x="49" y="26"/>
                    <a:pt x="49" y="26"/>
                    <a:pt x="49" y="26"/>
                  </a:cubicBezTo>
                  <a:cubicBezTo>
                    <a:pt x="50" y="25"/>
                    <a:pt x="50" y="25"/>
                    <a:pt x="50" y="25"/>
                  </a:cubicBezTo>
                  <a:cubicBezTo>
                    <a:pt x="50" y="25"/>
                    <a:pt x="49" y="24"/>
                    <a:pt x="49" y="24"/>
                  </a:cubicBezTo>
                  <a:cubicBezTo>
                    <a:pt x="49" y="24"/>
                    <a:pt x="48" y="24"/>
                    <a:pt x="48" y="24"/>
                  </a:cubicBezTo>
                  <a:cubicBezTo>
                    <a:pt x="48" y="24"/>
                    <a:pt x="47" y="26"/>
                    <a:pt x="47" y="26"/>
                  </a:cubicBezTo>
                  <a:cubicBezTo>
                    <a:pt x="47" y="26"/>
                    <a:pt x="46" y="25"/>
                    <a:pt x="47" y="25"/>
                  </a:cubicBezTo>
                  <a:cubicBezTo>
                    <a:pt x="47" y="24"/>
                    <a:pt x="47" y="23"/>
                    <a:pt x="48" y="23"/>
                  </a:cubicBezTo>
                  <a:cubicBezTo>
                    <a:pt x="48" y="23"/>
                    <a:pt x="48" y="23"/>
                    <a:pt x="48" y="23"/>
                  </a:cubicBezTo>
                  <a:cubicBezTo>
                    <a:pt x="48" y="23"/>
                    <a:pt x="48" y="22"/>
                    <a:pt x="48" y="22"/>
                  </a:cubicBezTo>
                  <a:cubicBezTo>
                    <a:pt x="48" y="21"/>
                    <a:pt x="48" y="21"/>
                    <a:pt x="48" y="20"/>
                  </a:cubicBezTo>
                  <a:cubicBezTo>
                    <a:pt x="48" y="20"/>
                    <a:pt x="48" y="19"/>
                    <a:pt x="48" y="19"/>
                  </a:cubicBezTo>
                  <a:cubicBezTo>
                    <a:pt x="47" y="19"/>
                    <a:pt x="47" y="19"/>
                    <a:pt x="46" y="19"/>
                  </a:cubicBezTo>
                  <a:cubicBezTo>
                    <a:pt x="46" y="20"/>
                    <a:pt x="46" y="20"/>
                    <a:pt x="46" y="20"/>
                  </a:cubicBezTo>
                  <a:cubicBezTo>
                    <a:pt x="46" y="21"/>
                    <a:pt x="46" y="21"/>
                    <a:pt x="45" y="22"/>
                  </a:cubicBezTo>
                  <a:cubicBezTo>
                    <a:pt x="44" y="22"/>
                    <a:pt x="44" y="22"/>
                    <a:pt x="44" y="22"/>
                  </a:cubicBezTo>
                  <a:cubicBezTo>
                    <a:pt x="44" y="22"/>
                    <a:pt x="45" y="21"/>
                    <a:pt x="45" y="21"/>
                  </a:cubicBezTo>
                  <a:cubicBezTo>
                    <a:pt x="45" y="21"/>
                    <a:pt x="45" y="20"/>
                    <a:pt x="45" y="20"/>
                  </a:cubicBezTo>
                  <a:cubicBezTo>
                    <a:pt x="45" y="20"/>
                    <a:pt x="45" y="20"/>
                    <a:pt x="45" y="19"/>
                  </a:cubicBezTo>
                  <a:cubicBezTo>
                    <a:pt x="45" y="19"/>
                    <a:pt x="45" y="19"/>
                    <a:pt x="45" y="19"/>
                  </a:cubicBezTo>
                  <a:cubicBezTo>
                    <a:pt x="45" y="19"/>
                    <a:pt x="45" y="18"/>
                    <a:pt x="45" y="18"/>
                  </a:cubicBezTo>
                  <a:cubicBezTo>
                    <a:pt x="44" y="18"/>
                    <a:pt x="44" y="18"/>
                    <a:pt x="44" y="18"/>
                  </a:cubicBezTo>
                  <a:cubicBezTo>
                    <a:pt x="44" y="18"/>
                    <a:pt x="43" y="18"/>
                    <a:pt x="43" y="18"/>
                  </a:cubicBezTo>
                  <a:cubicBezTo>
                    <a:pt x="43" y="18"/>
                    <a:pt x="44" y="17"/>
                    <a:pt x="44" y="17"/>
                  </a:cubicBezTo>
                  <a:cubicBezTo>
                    <a:pt x="44" y="17"/>
                    <a:pt x="45" y="16"/>
                    <a:pt x="44" y="16"/>
                  </a:cubicBezTo>
                  <a:cubicBezTo>
                    <a:pt x="44" y="16"/>
                    <a:pt x="43" y="15"/>
                    <a:pt x="43" y="15"/>
                  </a:cubicBezTo>
                  <a:cubicBezTo>
                    <a:pt x="43" y="15"/>
                    <a:pt x="43" y="14"/>
                    <a:pt x="43" y="14"/>
                  </a:cubicBezTo>
                  <a:cubicBezTo>
                    <a:pt x="43" y="13"/>
                    <a:pt x="43" y="15"/>
                    <a:pt x="43" y="13"/>
                  </a:cubicBezTo>
                  <a:cubicBezTo>
                    <a:pt x="42" y="11"/>
                    <a:pt x="42" y="10"/>
                    <a:pt x="42" y="10"/>
                  </a:cubicBezTo>
                  <a:cubicBezTo>
                    <a:pt x="41" y="9"/>
                    <a:pt x="41" y="9"/>
                    <a:pt x="41" y="9"/>
                  </a:cubicBezTo>
                  <a:cubicBezTo>
                    <a:pt x="41" y="9"/>
                    <a:pt x="41" y="9"/>
                    <a:pt x="41" y="8"/>
                  </a:cubicBezTo>
                  <a:cubicBezTo>
                    <a:pt x="41" y="8"/>
                    <a:pt x="39" y="7"/>
                    <a:pt x="39" y="7"/>
                  </a:cubicBezTo>
                  <a:cubicBezTo>
                    <a:pt x="39" y="6"/>
                    <a:pt x="39" y="6"/>
                    <a:pt x="39" y="6"/>
                  </a:cubicBezTo>
                  <a:cubicBezTo>
                    <a:pt x="39" y="6"/>
                    <a:pt x="39" y="6"/>
                    <a:pt x="39" y="6"/>
                  </a:cubicBezTo>
                  <a:cubicBezTo>
                    <a:pt x="38" y="6"/>
                    <a:pt x="37" y="5"/>
                    <a:pt x="37" y="5"/>
                  </a:cubicBezTo>
                  <a:cubicBezTo>
                    <a:pt x="37" y="6"/>
                    <a:pt x="37" y="7"/>
                    <a:pt x="37" y="7"/>
                  </a:cubicBezTo>
                  <a:cubicBezTo>
                    <a:pt x="37" y="7"/>
                    <a:pt x="35" y="7"/>
                    <a:pt x="35" y="7"/>
                  </a:cubicBezTo>
                  <a:cubicBezTo>
                    <a:pt x="35" y="7"/>
                    <a:pt x="35" y="8"/>
                    <a:pt x="35" y="8"/>
                  </a:cubicBezTo>
                  <a:cubicBezTo>
                    <a:pt x="34" y="8"/>
                    <a:pt x="34" y="8"/>
                    <a:pt x="34" y="8"/>
                  </a:cubicBezTo>
                  <a:cubicBezTo>
                    <a:pt x="34" y="8"/>
                    <a:pt x="33" y="8"/>
                    <a:pt x="34" y="9"/>
                  </a:cubicBezTo>
                  <a:cubicBezTo>
                    <a:pt x="34" y="10"/>
                    <a:pt x="34" y="11"/>
                    <a:pt x="34" y="11"/>
                  </a:cubicBezTo>
                  <a:cubicBezTo>
                    <a:pt x="34" y="11"/>
                    <a:pt x="35" y="12"/>
                    <a:pt x="35" y="12"/>
                  </a:cubicBezTo>
                  <a:cubicBezTo>
                    <a:pt x="35" y="12"/>
                    <a:pt x="34" y="12"/>
                    <a:pt x="34" y="12"/>
                  </a:cubicBezTo>
                  <a:cubicBezTo>
                    <a:pt x="34" y="12"/>
                    <a:pt x="33" y="11"/>
                    <a:pt x="32" y="10"/>
                  </a:cubicBezTo>
                  <a:cubicBezTo>
                    <a:pt x="32" y="10"/>
                    <a:pt x="31" y="9"/>
                    <a:pt x="31" y="9"/>
                  </a:cubicBezTo>
                  <a:cubicBezTo>
                    <a:pt x="31" y="9"/>
                    <a:pt x="30" y="9"/>
                    <a:pt x="29" y="10"/>
                  </a:cubicBezTo>
                  <a:cubicBezTo>
                    <a:pt x="29" y="11"/>
                    <a:pt x="29" y="11"/>
                    <a:pt x="29" y="12"/>
                  </a:cubicBezTo>
                  <a:cubicBezTo>
                    <a:pt x="29" y="13"/>
                    <a:pt x="30" y="15"/>
                    <a:pt x="30" y="15"/>
                  </a:cubicBezTo>
                  <a:cubicBezTo>
                    <a:pt x="30" y="15"/>
                    <a:pt x="30" y="16"/>
                    <a:pt x="31" y="17"/>
                  </a:cubicBezTo>
                  <a:cubicBezTo>
                    <a:pt x="31" y="17"/>
                    <a:pt x="31" y="19"/>
                    <a:pt x="32" y="19"/>
                  </a:cubicBezTo>
                  <a:cubicBezTo>
                    <a:pt x="32" y="20"/>
                    <a:pt x="33" y="21"/>
                    <a:pt x="33" y="21"/>
                  </a:cubicBezTo>
                  <a:cubicBezTo>
                    <a:pt x="33" y="21"/>
                    <a:pt x="29" y="19"/>
                    <a:pt x="29" y="18"/>
                  </a:cubicBezTo>
                  <a:cubicBezTo>
                    <a:pt x="29" y="18"/>
                    <a:pt x="28" y="16"/>
                    <a:pt x="28" y="16"/>
                  </a:cubicBezTo>
                  <a:cubicBezTo>
                    <a:pt x="27" y="16"/>
                    <a:pt x="28" y="15"/>
                    <a:pt x="27" y="16"/>
                  </a:cubicBezTo>
                  <a:cubicBezTo>
                    <a:pt x="26" y="16"/>
                    <a:pt x="26" y="16"/>
                    <a:pt x="26" y="16"/>
                  </a:cubicBezTo>
                  <a:cubicBezTo>
                    <a:pt x="25" y="16"/>
                    <a:pt x="25" y="17"/>
                    <a:pt x="25" y="17"/>
                  </a:cubicBezTo>
                  <a:cubicBezTo>
                    <a:pt x="25" y="17"/>
                    <a:pt x="25" y="18"/>
                    <a:pt x="25" y="19"/>
                  </a:cubicBezTo>
                  <a:cubicBezTo>
                    <a:pt x="26" y="21"/>
                    <a:pt x="26" y="21"/>
                    <a:pt x="26" y="22"/>
                  </a:cubicBezTo>
                  <a:cubicBezTo>
                    <a:pt x="27" y="22"/>
                    <a:pt x="27" y="22"/>
                    <a:pt x="28" y="23"/>
                  </a:cubicBezTo>
                  <a:cubicBezTo>
                    <a:pt x="28" y="23"/>
                    <a:pt x="28" y="24"/>
                    <a:pt x="28" y="24"/>
                  </a:cubicBezTo>
                  <a:cubicBezTo>
                    <a:pt x="28" y="24"/>
                    <a:pt x="28" y="26"/>
                    <a:pt x="28" y="26"/>
                  </a:cubicBezTo>
                  <a:cubicBezTo>
                    <a:pt x="28" y="26"/>
                    <a:pt x="27" y="27"/>
                    <a:pt x="27" y="27"/>
                  </a:cubicBezTo>
                  <a:cubicBezTo>
                    <a:pt x="27" y="27"/>
                    <a:pt x="28" y="28"/>
                    <a:pt x="28" y="28"/>
                  </a:cubicBezTo>
                  <a:cubicBezTo>
                    <a:pt x="28" y="28"/>
                    <a:pt x="29" y="29"/>
                    <a:pt x="29" y="29"/>
                  </a:cubicBezTo>
                  <a:cubicBezTo>
                    <a:pt x="28" y="30"/>
                    <a:pt x="28" y="30"/>
                    <a:pt x="27" y="29"/>
                  </a:cubicBezTo>
                  <a:cubicBezTo>
                    <a:pt x="27" y="29"/>
                    <a:pt x="26" y="29"/>
                    <a:pt x="26" y="28"/>
                  </a:cubicBezTo>
                  <a:cubicBezTo>
                    <a:pt x="27" y="27"/>
                    <a:pt x="27" y="26"/>
                    <a:pt x="27" y="26"/>
                  </a:cubicBezTo>
                  <a:cubicBezTo>
                    <a:pt x="26" y="26"/>
                    <a:pt x="25" y="25"/>
                    <a:pt x="25" y="25"/>
                  </a:cubicBezTo>
                  <a:cubicBezTo>
                    <a:pt x="25" y="25"/>
                    <a:pt x="27" y="27"/>
                    <a:pt x="25" y="23"/>
                  </a:cubicBezTo>
                  <a:cubicBezTo>
                    <a:pt x="23" y="20"/>
                    <a:pt x="23" y="20"/>
                    <a:pt x="23" y="20"/>
                  </a:cubicBezTo>
                  <a:cubicBezTo>
                    <a:pt x="23" y="19"/>
                    <a:pt x="23" y="19"/>
                    <a:pt x="23" y="19"/>
                  </a:cubicBezTo>
                  <a:cubicBezTo>
                    <a:pt x="23" y="19"/>
                    <a:pt x="22" y="18"/>
                    <a:pt x="22" y="18"/>
                  </a:cubicBezTo>
                  <a:cubicBezTo>
                    <a:pt x="22" y="18"/>
                    <a:pt x="21" y="17"/>
                    <a:pt x="21" y="17"/>
                  </a:cubicBezTo>
                  <a:cubicBezTo>
                    <a:pt x="21" y="17"/>
                    <a:pt x="20" y="18"/>
                    <a:pt x="20" y="18"/>
                  </a:cubicBezTo>
                  <a:cubicBezTo>
                    <a:pt x="20" y="18"/>
                    <a:pt x="20" y="18"/>
                    <a:pt x="19" y="19"/>
                  </a:cubicBezTo>
                  <a:cubicBezTo>
                    <a:pt x="19" y="19"/>
                    <a:pt x="19" y="20"/>
                    <a:pt x="18" y="21"/>
                  </a:cubicBezTo>
                  <a:cubicBezTo>
                    <a:pt x="18" y="21"/>
                    <a:pt x="18" y="22"/>
                    <a:pt x="18" y="22"/>
                  </a:cubicBezTo>
                  <a:cubicBezTo>
                    <a:pt x="18" y="22"/>
                    <a:pt x="19" y="23"/>
                    <a:pt x="19" y="23"/>
                  </a:cubicBezTo>
                  <a:cubicBezTo>
                    <a:pt x="19" y="24"/>
                    <a:pt x="20" y="25"/>
                    <a:pt x="20" y="25"/>
                  </a:cubicBezTo>
                  <a:cubicBezTo>
                    <a:pt x="19" y="25"/>
                    <a:pt x="19" y="24"/>
                    <a:pt x="19" y="24"/>
                  </a:cubicBezTo>
                  <a:cubicBezTo>
                    <a:pt x="18" y="24"/>
                    <a:pt x="18" y="24"/>
                    <a:pt x="18" y="24"/>
                  </a:cubicBezTo>
                  <a:cubicBezTo>
                    <a:pt x="17" y="24"/>
                    <a:pt x="17" y="24"/>
                    <a:pt x="17" y="24"/>
                  </a:cubicBezTo>
                  <a:cubicBezTo>
                    <a:pt x="17" y="25"/>
                    <a:pt x="17" y="25"/>
                    <a:pt x="17" y="25"/>
                  </a:cubicBezTo>
                  <a:cubicBezTo>
                    <a:pt x="17" y="25"/>
                    <a:pt x="17" y="27"/>
                    <a:pt x="18" y="27"/>
                  </a:cubicBezTo>
                  <a:cubicBezTo>
                    <a:pt x="18" y="27"/>
                    <a:pt x="18" y="27"/>
                    <a:pt x="18" y="27"/>
                  </a:cubicBezTo>
                  <a:cubicBezTo>
                    <a:pt x="18" y="27"/>
                    <a:pt x="18" y="28"/>
                    <a:pt x="18" y="28"/>
                  </a:cubicBezTo>
                  <a:cubicBezTo>
                    <a:pt x="18" y="28"/>
                    <a:pt x="19" y="29"/>
                    <a:pt x="19" y="29"/>
                  </a:cubicBezTo>
                  <a:cubicBezTo>
                    <a:pt x="19" y="29"/>
                    <a:pt x="19" y="29"/>
                    <a:pt x="19" y="29"/>
                  </a:cubicBezTo>
                  <a:cubicBezTo>
                    <a:pt x="19" y="29"/>
                    <a:pt x="19" y="30"/>
                    <a:pt x="19" y="30"/>
                  </a:cubicBezTo>
                  <a:cubicBezTo>
                    <a:pt x="18" y="30"/>
                    <a:pt x="19" y="30"/>
                    <a:pt x="18" y="29"/>
                  </a:cubicBezTo>
                  <a:cubicBezTo>
                    <a:pt x="17" y="29"/>
                    <a:pt x="17" y="29"/>
                    <a:pt x="17" y="28"/>
                  </a:cubicBezTo>
                  <a:cubicBezTo>
                    <a:pt x="17" y="27"/>
                    <a:pt x="16" y="27"/>
                    <a:pt x="16" y="27"/>
                  </a:cubicBezTo>
                  <a:cubicBezTo>
                    <a:pt x="16" y="27"/>
                    <a:pt x="17" y="27"/>
                    <a:pt x="16" y="25"/>
                  </a:cubicBezTo>
                  <a:cubicBezTo>
                    <a:pt x="15" y="24"/>
                    <a:pt x="15" y="23"/>
                    <a:pt x="15" y="23"/>
                  </a:cubicBezTo>
                  <a:cubicBezTo>
                    <a:pt x="15" y="23"/>
                    <a:pt x="14" y="22"/>
                    <a:pt x="14" y="23"/>
                  </a:cubicBezTo>
                  <a:cubicBezTo>
                    <a:pt x="13" y="23"/>
                    <a:pt x="13" y="23"/>
                    <a:pt x="12" y="23"/>
                  </a:cubicBezTo>
                  <a:cubicBezTo>
                    <a:pt x="12" y="24"/>
                    <a:pt x="11" y="24"/>
                    <a:pt x="11" y="24"/>
                  </a:cubicBezTo>
                  <a:cubicBezTo>
                    <a:pt x="11" y="24"/>
                    <a:pt x="9" y="24"/>
                    <a:pt x="9" y="24"/>
                  </a:cubicBezTo>
                  <a:cubicBezTo>
                    <a:pt x="9" y="24"/>
                    <a:pt x="9" y="24"/>
                    <a:pt x="8" y="25"/>
                  </a:cubicBezTo>
                  <a:cubicBezTo>
                    <a:pt x="6" y="26"/>
                    <a:pt x="6" y="26"/>
                    <a:pt x="7" y="26"/>
                  </a:cubicBezTo>
                  <a:cubicBezTo>
                    <a:pt x="8" y="27"/>
                    <a:pt x="9" y="27"/>
                    <a:pt x="9" y="27"/>
                  </a:cubicBezTo>
                  <a:cubicBezTo>
                    <a:pt x="10" y="27"/>
                    <a:pt x="10" y="27"/>
                    <a:pt x="11" y="28"/>
                  </a:cubicBezTo>
                  <a:cubicBezTo>
                    <a:pt x="11" y="28"/>
                    <a:pt x="13" y="29"/>
                    <a:pt x="13" y="29"/>
                  </a:cubicBezTo>
                  <a:cubicBezTo>
                    <a:pt x="15" y="32"/>
                    <a:pt x="15" y="32"/>
                    <a:pt x="15" y="32"/>
                  </a:cubicBezTo>
                  <a:cubicBezTo>
                    <a:pt x="15" y="32"/>
                    <a:pt x="15" y="32"/>
                    <a:pt x="15" y="33"/>
                  </a:cubicBezTo>
                  <a:cubicBezTo>
                    <a:pt x="15" y="33"/>
                    <a:pt x="15" y="33"/>
                    <a:pt x="15" y="33"/>
                  </a:cubicBezTo>
                  <a:cubicBezTo>
                    <a:pt x="15" y="33"/>
                    <a:pt x="15" y="34"/>
                    <a:pt x="15" y="34"/>
                  </a:cubicBezTo>
                  <a:cubicBezTo>
                    <a:pt x="15" y="35"/>
                    <a:pt x="15" y="35"/>
                    <a:pt x="16" y="36"/>
                  </a:cubicBezTo>
                  <a:cubicBezTo>
                    <a:pt x="17" y="36"/>
                    <a:pt x="17" y="36"/>
                    <a:pt x="18" y="36"/>
                  </a:cubicBezTo>
                  <a:cubicBezTo>
                    <a:pt x="19" y="36"/>
                    <a:pt x="18" y="36"/>
                    <a:pt x="19" y="36"/>
                  </a:cubicBezTo>
                  <a:cubicBezTo>
                    <a:pt x="20" y="35"/>
                    <a:pt x="20" y="35"/>
                    <a:pt x="20" y="35"/>
                  </a:cubicBezTo>
                  <a:cubicBezTo>
                    <a:pt x="20" y="35"/>
                    <a:pt x="21" y="35"/>
                    <a:pt x="22" y="35"/>
                  </a:cubicBezTo>
                  <a:cubicBezTo>
                    <a:pt x="23" y="36"/>
                    <a:pt x="22" y="36"/>
                    <a:pt x="23" y="36"/>
                  </a:cubicBezTo>
                  <a:cubicBezTo>
                    <a:pt x="23" y="36"/>
                    <a:pt x="25" y="35"/>
                    <a:pt x="25" y="35"/>
                  </a:cubicBezTo>
                  <a:cubicBezTo>
                    <a:pt x="25" y="35"/>
                    <a:pt x="25" y="35"/>
                    <a:pt x="26" y="35"/>
                  </a:cubicBezTo>
                  <a:cubicBezTo>
                    <a:pt x="26" y="36"/>
                    <a:pt x="26" y="36"/>
                    <a:pt x="26" y="37"/>
                  </a:cubicBezTo>
                  <a:cubicBezTo>
                    <a:pt x="27" y="37"/>
                    <a:pt x="28" y="37"/>
                    <a:pt x="28" y="37"/>
                  </a:cubicBezTo>
                  <a:cubicBezTo>
                    <a:pt x="29" y="37"/>
                    <a:pt x="29" y="37"/>
                    <a:pt x="29" y="37"/>
                  </a:cubicBezTo>
                  <a:cubicBezTo>
                    <a:pt x="29" y="37"/>
                    <a:pt x="30" y="37"/>
                    <a:pt x="30" y="36"/>
                  </a:cubicBezTo>
                  <a:cubicBezTo>
                    <a:pt x="30" y="36"/>
                    <a:pt x="31" y="35"/>
                    <a:pt x="31" y="35"/>
                  </a:cubicBezTo>
                  <a:cubicBezTo>
                    <a:pt x="31" y="35"/>
                    <a:pt x="30" y="36"/>
                    <a:pt x="31" y="36"/>
                  </a:cubicBezTo>
                  <a:cubicBezTo>
                    <a:pt x="32" y="36"/>
                    <a:pt x="32" y="36"/>
                    <a:pt x="32" y="36"/>
                  </a:cubicBezTo>
                  <a:cubicBezTo>
                    <a:pt x="33" y="37"/>
                    <a:pt x="34" y="36"/>
                    <a:pt x="34" y="36"/>
                  </a:cubicBezTo>
                  <a:cubicBezTo>
                    <a:pt x="35" y="36"/>
                    <a:pt x="35" y="36"/>
                    <a:pt x="35" y="36"/>
                  </a:cubicBezTo>
                  <a:cubicBezTo>
                    <a:pt x="35" y="36"/>
                    <a:pt x="35" y="37"/>
                    <a:pt x="35" y="37"/>
                  </a:cubicBezTo>
                  <a:cubicBezTo>
                    <a:pt x="35" y="37"/>
                    <a:pt x="34" y="37"/>
                    <a:pt x="35" y="37"/>
                  </a:cubicBezTo>
                  <a:cubicBezTo>
                    <a:pt x="36" y="37"/>
                    <a:pt x="37" y="36"/>
                    <a:pt x="37" y="36"/>
                  </a:cubicBezTo>
                  <a:cubicBezTo>
                    <a:pt x="37" y="36"/>
                    <a:pt x="36" y="37"/>
                    <a:pt x="36" y="37"/>
                  </a:cubicBezTo>
                  <a:cubicBezTo>
                    <a:pt x="36" y="38"/>
                    <a:pt x="36" y="38"/>
                    <a:pt x="36" y="38"/>
                  </a:cubicBezTo>
                  <a:cubicBezTo>
                    <a:pt x="36" y="38"/>
                    <a:pt x="36" y="39"/>
                    <a:pt x="36" y="40"/>
                  </a:cubicBezTo>
                  <a:cubicBezTo>
                    <a:pt x="37" y="40"/>
                    <a:pt x="38" y="40"/>
                    <a:pt x="38" y="40"/>
                  </a:cubicBezTo>
                  <a:cubicBezTo>
                    <a:pt x="38" y="40"/>
                    <a:pt x="39" y="40"/>
                    <a:pt x="40" y="40"/>
                  </a:cubicBezTo>
                  <a:cubicBezTo>
                    <a:pt x="40" y="40"/>
                    <a:pt x="40" y="40"/>
                    <a:pt x="40" y="40"/>
                  </a:cubicBezTo>
                  <a:cubicBezTo>
                    <a:pt x="40" y="41"/>
                    <a:pt x="41" y="40"/>
                    <a:pt x="41" y="40"/>
                  </a:cubicBezTo>
                  <a:cubicBezTo>
                    <a:pt x="41" y="40"/>
                    <a:pt x="42" y="40"/>
                    <a:pt x="42" y="40"/>
                  </a:cubicBezTo>
                  <a:cubicBezTo>
                    <a:pt x="42" y="41"/>
                    <a:pt x="42" y="41"/>
                    <a:pt x="42" y="41"/>
                  </a:cubicBezTo>
                  <a:cubicBezTo>
                    <a:pt x="41" y="42"/>
                    <a:pt x="41" y="42"/>
                    <a:pt x="41" y="42"/>
                  </a:cubicBezTo>
                  <a:cubicBezTo>
                    <a:pt x="41" y="42"/>
                    <a:pt x="43" y="43"/>
                    <a:pt x="43" y="43"/>
                  </a:cubicBezTo>
                  <a:cubicBezTo>
                    <a:pt x="43" y="43"/>
                    <a:pt x="43" y="42"/>
                    <a:pt x="44" y="42"/>
                  </a:cubicBezTo>
                  <a:cubicBezTo>
                    <a:pt x="44" y="43"/>
                    <a:pt x="44" y="43"/>
                    <a:pt x="44" y="43"/>
                  </a:cubicBezTo>
                  <a:cubicBezTo>
                    <a:pt x="43" y="44"/>
                    <a:pt x="43" y="42"/>
                    <a:pt x="43" y="44"/>
                  </a:cubicBezTo>
                  <a:cubicBezTo>
                    <a:pt x="42" y="45"/>
                    <a:pt x="43" y="46"/>
                    <a:pt x="43" y="46"/>
                  </a:cubicBezTo>
                  <a:cubicBezTo>
                    <a:pt x="44" y="47"/>
                    <a:pt x="44" y="47"/>
                    <a:pt x="44" y="47"/>
                  </a:cubicBezTo>
                  <a:cubicBezTo>
                    <a:pt x="44" y="47"/>
                    <a:pt x="45" y="47"/>
                    <a:pt x="45" y="47"/>
                  </a:cubicBezTo>
                  <a:cubicBezTo>
                    <a:pt x="45" y="47"/>
                    <a:pt x="45" y="47"/>
                    <a:pt x="46" y="47"/>
                  </a:cubicBezTo>
                  <a:cubicBezTo>
                    <a:pt x="46" y="47"/>
                    <a:pt x="46" y="47"/>
                    <a:pt x="47" y="47"/>
                  </a:cubicBezTo>
                  <a:cubicBezTo>
                    <a:pt x="47" y="47"/>
                    <a:pt x="48" y="47"/>
                    <a:pt x="48" y="47"/>
                  </a:cubicBezTo>
                  <a:cubicBezTo>
                    <a:pt x="48" y="48"/>
                    <a:pt x="48" y="48"/>
                    <a:pt x="48" y="48"/>
                  </a:cubicBezTo>
                  <a:cubicBezTo>
                    <a:pt x="48" y="48"/>
                    <a:pt x="48" y="49"/>
                    <a:pt x="48" y="49"/>
                  </a:cubicBezTo>
                  <a:cubicBezTo>
                    <a:pt x="49" y="49"/>
                    <a:pt x="50" y="50"/>
                    <a:pt x="50" y="50"/>
                  </a:cubicBezTo>
                  <a:cubicBezTo>
                    <a:pt x="50" y="50"/>
                    <a:pt x="49" y="50"/>
                    <a:pt x="50" y="50"/>
                  </a:cubicBezTo>
                  <a:cubicBezTo>
                    <a:pt x="50" y="51"/>
                    <a:pt x="52" y="52"/>
                    <a:pt x="52" y="52"/>
                  </a:cubicBezTo>
                  <a:cubicBezTo>
                    <a:pt x="52" y="52"/>
                    <a:pt x="50" y="52"/>
                    <a:pt x="49" y="51"/>
                  </a:cubicBezTo>
                  <a:cubicBezTo>
                    <a:pt x="49" y="51"/>
                    <a:pt x="47" y="51"/>
                    <a:pt x="47" y="51"/>
                  </a:cubicBezTo>
                  <a:cubicBezTo>
                    <a:pt x="46" y="51"/>
                    <a:pt x="45" y="52"/>
                    <a:pt x="45" y="52"/>
                  </a:cubicBezTo>
                  <a:cubicBezTo>
                    <a:pt x="42" y="52"/>
                    <a:pt x="42" y="52"/>
                    <a:pt x="42" y="52"/>
                  </a:cubicBezTo>
                  <a:cubicBezTo>
                    <a:pt x="42" y="52"/>
                    <a:pt x="40" y="53"/>
                    <a:pt x="40" y="53"/>
                  </a:cubicBezTo>
                  <a:cubicBezTo>
                    <a:pt x="40" y="53"/>
                    <a:pt x="39" y="53"/>
                    <a:pt x="38" y="53"/>
                  </a:cubicBezTo>
                  <a:cubicBezTo>
                    <a:pt x="38" y="53"/>
                    <a:pt x="37" y="54"/>
                    <a:pt x="37" y="54"/>
                  </a:cubicBezTo>
                  <a:cubicBezTo>
                    <a:pt x="36" y="54"/>
                    <a:pt x="35" y="54"/>
                    <a:pt x="35" y="54"/>
                  </a:cubicBezTo>
                  <a:cubicBezTo>
                    <a:pt x="34" y="54"/>
                    <a:pt x="33" y="54"/>
                    <a:pt x="33" y="54"/>
                  </a:cubicBezTo>
                  <a:cubicBezTo>
                    <a:pt x="31" y="54"/>
                    <a:pt x="31" y="54"/>
                    <a:pt x="31" y="54"/>
                  </a:cubicBezTo>
                  <a:cubicBezTo>
                    <a:pt x="32" y="55"/>
                    <a:pt x="32" y="55"/>
                    <a:pt x="32" y="55"/>
                  </a:cubicBezTo>
                  <a:cubicBezTo>
                    <a:pt x="33" y="56"/>
                    <a:pt x="33" y="56"/>
                    <a:pt x="33" y="56"/>
                  </a:cubicBezTo>
                  <a:cubicBezTo>
                    <a:pt x="33" y="56"/>
                    <a:pt x="34" y="56"/>
                    <a:pt x="34" y="56"/>
                  </a:cubicBezTo>
                  <a:cubicBezTo>
                    <a:pt x="34" y="56"/>
                    <a:pt x="35" y="57"/>
                    <a:pt x="35" y="57"/>
                  </a:cubicBezTo>
                  <a:cubicBezTo>
                    <a:pt x="35" y="57"/>
                    <a:pt x="36" y="58"/>
                    <a:pt x="36" y="58"/>
                  </a:cubicBezTo>
                  <a:cubicBezTo>
                    <a:pt x="36" y="58"/>
                    <a:pt x="38" y="59"/>
                    <a:pt x="38" y="59"/>
                  </a:cubicBezTo>
                  <a:lnTo>
                    <a:pt x="39" y="60"/>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Freeform 69"/>
            <p:cNvSpPr>
              <a:spLocks/>
            </p:cNvSpPr>
            <p:nvPr/>
          </p:nvSpPr>
          <p:spPr bwMode="auto">
            <a:xfrm>
              <a:off x="6817017" y="4253492"/>
              <a:ext cx="359592" cy="333592"/>
            </a:xfrm>
            <a:custGeom>
              <a:avLst/>
              <a:gdLst>
                <a:gd name="T0" fmla="*/ 88 w 124"/>
                <a:gd name="T1" fmla="*/ 117 h 122"/>
                <a:gd name="T2" fmla="*/ 86 w 124"/>
                <a:gd name="T3" fmla="*/ 110 h 122"/>
                <a:gd name="T4" fmla="*/ 90 w 124"/>
                <a:gd name="T5" fmla="*/ 103 h 122"/>
                <a:gd name="T6" fmla="*/ 94 w 124"/>
                <a:gd name="T7" fmla="*/ 94 h 122"/>
                <a:gd name="T8" fmla="*/ 92 w 124"/>
                <a:gd name="T9" fmla="*/ 84 h 122"/>
                <a:gd name="T10" fmla="*/ 92 w 124"/>
                <a:gd name="T11" fmla="*/ 71 h 122"/>
                <a:gd name="T12" fmla="*/ 99 w 124"/>
                <a:gd name="T13" fmla="*/ 74 h 122"/>
                <a:gd name="T14" fmla="*/ 103 w 124"/>
                <a:gd name="T15" fmla="*/ 72 h 122"/>
                <a:gd name="T16" fmla="*/ 109 w 124"/>
                <a:gd name="T17" fmla="*/ 73 h 122"/>
                <a:gd name="T18" fmla="*/ 114 w 124"/>
                <a:gd name="T19" fmla="*/ 69 h 122"/>
                <a:gd name="T20" fmla="*/ 124 w 124"/>
                <a:gd name="T21" fmla="*/ 67 h 122"/>
                <a:gd name="T22" fmla="*/ 115 w 124"/>
                <a:gd name="T23" fmla="*/ 62 h 122"/>
                <a:gd name="T24" fmla="*/ 113 w 124"/>
                <a:gd name="T25" fmla="*/ 51 h 122"/>
                <a:gd name="T26" fmla="*/ 105 w 124"/>
                <a:gd name="T27" fmla="*/ 50 h 122"/>
                <a:gd name="T28" fmla="*/ 100 w 124"/>
                <a:gd name="T29" fmla="*/ 44 h 122"/>
                <a:gd name="T30" fmla="*/ 98 w 124"/>
                <a:gd name="T31" fmla="*/ 39 h 122"/>
                <a:gd name="T32" fmla="*/ 93 w 124"/>
                <a:gd name="T33" fmla="*/ 36 h 122"/>
                <a:gd name="T34" fmla="*/ 86 w 124"/>
                <a:gd name="T35" fmla="*/ 31 h 122"/>
                <a:gd name="T36" fmla="*/ 83 w 124"/>
                <a:gd name="T37" fmla="*/ 26 h 122"/>
                <a:gd name="T38" fmla="*/ 80 w 124"/>
                <a:gd name="T39" fmla="*/ 17 h 122"/>
                <a:gd name="T40" fmla="*/ 75 w 124"/>
                <a:gd name="T41" fmla="*/ 10 h 122"/>
                <a:gd name="T42" fmla="*/ 67 w 124"/>
                <a:gd name="T43" fmla="*/ 10 h 122"/>
                <a:gd name="T44" fmla="*/ 56 w 124"/>
                <a:gd name="T45" fmla="*/ 9 h 122"/>
                <a:gd name="T46" fmla="*/ 53 w 124"/>
                <a:gd name="T47" fmla="*/ 8 h 122"/>
                <a:gd name="T48" fmla="*/ 52 w 124"/>
                <a:gd name="T49" fmla="*/ 7 h 122"/>
                <a:gd name="T50" fmla="*/ 47 w 124"/>
                <a:gd name="T51" fmla="*/ 8 h 122"/>
                <a:gd name="T52" fmla="*/ 43 w 124"/>
                <a:gd name="T53" fmla="*/ 6 h 122"/>
                <a:gd name="T54" fmla="*/ 35 w 124"/>
                <a:gd name="T55" fmla="*/ 3 h 122"/>
                <a:gd name="T56" fmla="*/ 27 w 124"/>
                <a:gd name="T57" fmla="*/ 2 h 122"/>
                <a:gd name="T58" fmla="*/ 23 w 124"/>
                <a:gd name="T59" fmla="*/ 6 h 122"/>
                <a:gd name="T60" fmla="*/ 19 w 124"/>
                <a:gd name="T61" fmla="*/ 9 h 122"/>
                <a:gd name="T62" fmla="*/ 13 w 124"/>
                <a:gd name="T63" fmla="*/ 10 h 122"/>
                <a:gd name="T64" fmla="*/ 7 w 124"/>
                <a:gd name="T65" fmla="*/ 12 h 122"/>
                <a:gd name="T66" fmla="*/ 6 w 124"/>
                <a:gd name="T67" fmla="*/ 15 h 122"/>
                <a:gd name="T68" fmla="*/ 0 w 124"/>
                <a:gd name="T69" fmla="*/ 18 h 122"/>
                <a:gd name="T70" fmla="*/ 8 w 124"/>
                <a:gd name="T71" fmla="*/ 18 h 122"/>
                <a:gd name="T72" fmla="*/ 13 w 124"/>
                <a:gd name="T73" fmla="*/ 20 h 122"/>
                <a:gd name="T74" fmla="*/ 16 w 124"/>
                <a:gd name="T75" fmla="*/ 22 h 122"/>
                <a:gd name="T76" fmla="*/ 21 w 124"/>
                <a:gd name="T77" fmla="*/ 27 h 122"/>
                <a:gd name="T78" fmla="*/ 23 w 124"/>
                <a:gd name="T79" fmla="*/ 30 h 122"/>
                <a:gd name="T80" fmla="*/ 26 w 124"/>
                <a:gd name="T81" fmla="*/ 34 h 122"/>
                <a:gd name="T82" fmla="*/ 30 w 124"/>
                <a:gd name="T83" fmla="*/ 40 h 122"/>
                <a:gd name="T84" fmla="*/ 35 w 124"/>
                <a:gd name="T85" fmla="*/ 44 h 122"/>
                <a:gd name="T86" fmla="*/ 40 w 124"/>
                <a:gd name="T87" fmla="*/ 49 h 122"/>
                <a:gd name="T88" fmla="*/ 50 w 124"/>
                <a:gd name="T89" fmla="*/ 57 h 122"/>
                <a:gd name="T90" fmla="*/ 61 w 124"/>
                <a:gd name="T91" fmla="*/ 66 h 122"/>
                <a:gd name="T92" fmla="*/ 67 w 124"/>
                <a:gd name="T93" fmla="*/ 76 h 122"/>
                <a:gd name="T94" fmla="*/ 69 w 124"/>
                <a:gd name="T95" fmla="*/ 84 h 122"/>
                <a:gd name="T96" fmla="*/ 68 w 124"/>
                <a:gd name="T97" fmla="*/ 90 h 122"/>
                <a:gd name="T98" fmla="*/ 69 w 124"/>
                <a:gd name="T99" fmla="*/ 98 h 122"/>
                <a:gd name="T100" fmla="*/ 73 w 124"/>
                <a:gd name="T101" fmla="*/ 109 h 122"/>
                <a:gd name="T102" fmla="*/ 76 w 124"/>
                <a:gd name="T103" fmla="*/ 116 h 122"/>
                <a:gd name="T104" fmla="*/ 77 w 124"/>
                <a:gd name="T105" fmla="*/ 12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4" h="122">
                  <a:moveTo>
                    <a:pt x="79" y="122"/>
                  </a:moveTo>
                  <a:cubicBezTo>
                    <a:pt x="81" y="119"/>
                    <a:pt x="81" y="119"/>
                    <a:pt x="81" y="119"/>
                  </a:cubicBezTo>
                  <a:cubicBezTo>
                    <a:pt x="81" y="119"/>
                    <a:pt x="83" y="118"/>
                    <a:pt x="83" y="118"/>
                  </a:cubicBezTo>
                  <a:cubicBezTo>
                    <a:pt x="84" y="118"/>
                    <a:pt x="85" y="118"/>
                    <a:pt x="86" y="118"/>
                  </a:cubicBezTo>
                  <a:cubicBezTo>
                    <a:pt x="87" y="118"/>
                    <a:pt x="88" y="117"/>
                    <a:pt x="88" y="117"/>
                  </a:cubicBezTo>
                  <a:cubicBezTo>
                    <a:pt x="88" y="117"/>
                    <a:pt x="88" y="117"/>
                    <a:pt x="88" y="117"/>
                  </a:cubicBezTo>
                  <a:cubicBezTo>
                    <a:pt x="87" y="115"/>
                    <a:pt x="87" y="115"/>
                    <a:pt x="87" y="115"/>
                  </a:cubicBezTo>
                  <a:cubicBezTo>
                    <a:pt x="88" y="113"/>
                    <a:pt x="88" y="113"/>
                    <a:pt x="88" y="113"/>
                  </a:cubicBezTo>
                  <a:cubicBezTo>
                    <a:pt x="85" y="112"/>
                    <a:pt x="85" y="112"/>
                    <a:pt x="85" y="112"/>
                  </a:cubicBezTo>
                  <a:cubicBezTo>
                    <a:pt x="86" y="110"/>
                    <a:pt x="86" y="110"/>
                    <a:pt x="86" y="110"/>
                  </a:cubicBezTo>
                  <a:cubicBezTo>
                    <a:pt x="86" y="110"/>
                    <a:pt x="85" y="109"/>
                    <a:pt x="86" y="109"/>
                  </a:cubicBezTo>
                  <a:cubicBezTo>
                    <a:pt x="87" y="109"/>
                    <a:pt x="87" y="106"/>
                    <a:pt x="87" y="106"/>
                  </a:cubicBezTo>
                  <a:cubicBezTo>
                    <a:pt x="88" y="105"/>
                    <a:pt x="88" y="105"/>
                    <a:pt x="88" y="105"/>
                  </a:cubicBezTo>
                  <a:cubicBezTo>
                    <a:pt x="89" y="105"/>
                    <a:pt x="89" y="105"/>
                    <a:pt x="89" y="105"/>
                  </a:cubicBezTo>
                  <a:cubicBezTo>
                    <a:pt x="89" y="105"/>
                    <a:pt x="89" y="103"/>
                    <a:pt x="90" y="103"/>
                  </a:cubicBezTo>
                  <a:cubicBezTo>
                    <a:pt x="90" y="103"/>
                    <a:pt x="91" y="102"/>
                    <a:pt x="91" y="102"/>
                  </a:cubicBezTo>
                  <a:cubicBezTo>
                    <a:pt x="90" y="99"/>
                    <a:pt x="90" y="99"/>
                    <a:pt x="90" y="99"/>
                  </a:cubicBezTo>
                  <a:cubicBezTo>
                    <a:pt x="90" y="99"/>
                    <a:pt x="89" y="97"/>
                    <a:pt x="89" y="97"/>
                  </a:cubicBezTo>
                  <a:cubicBezTo>
                    <a:pt x="90" y="97"/>
                    <a:pt x="91" y="96"/>
                    <a:pt x="91" y="96"/>
                  </a:cubicBezTo>
                  <a:cubicBezTo>
                    <a:pt x="91" y="96"/>
                    <a:pt x="93" y="94"/>
                    <a:pt x="94" y="94"/>
                  </a:cubicBezTo>
                  <a:cubicBezTo>
                    <a:pt x="94" y="93"/>
                    <a:pt x="95" y="92"/>
                    <a:pt x="95" y="91"/>
                  </a:cubicBezTo>
                  <a:cubicBezTo>
                    <a:pt x="95" y="91"/>
                    <a:pt x="94" y="89"/>
                    <a:pt x="94" y="89"/>
                  </a:cubicBezTo>
                  <a:cubicBezTo>
                    <a:pt x="94" y="87"/>
                    <a:pt x="94" y="87"/>
                    <a:pt x="94" y="87"/>
                  </a:cubicBezTo>
                  <a:cubicBezTo>
                    <a:pt x="94" y="87"/>
                    <a:pt x="95" y="85"/>
                    <a:pt x="95" y="85"/>
                  </a:cubicBezTo>
                  <a:cubicBezTo>
                    <a:pt x="94" y="84"/>
                    <a:pt x="92" y="84"/>
                    <a:pt x="92" y="84"/>
                  </a:cubicBezTo>
                  <a:cubicBezTo>
                    <a:pt x="91" y="82"/>
                    <a:pt x="91" y="82"/>
                    <a:pt x="91" y="82"/>
                  </a:cubicBezTo>
                  <a:cubicBezTo>
                    <a:pt x="91" y="80"/>
                    <a:pt x="91" y="80"/>
                    <a:pt x="91" y="80"/>
                  </a:cubicBezTo>
                  <a:cubicBezTo>
                    <a:pt x="89" y="78"/>
                    <a:pt x="89" y="78"/>
                    <a:pt x="89" y="78"/>
                  </a:cubicBezTo>
                  <a:cubicBezTo>
                    <a:pt x="89" y="78"/>
                    <a:pt x="89" y="76"/>
                    <a:pt x="89" y="75"/>
                  </a:cubicBezTo>
                  <a:cubicBezTo>
                    <a:pt x="90" y="75"/>
                    <a:pt x="91" y="72"/>
                    <a:pt x="92" y="71"/>
                  </a:cubicBezTo>
                  <a:cubicBezTo>
                    <a:pt x="92" y="71"/>
                    <a:pt x="96" y="68"/>
                    <a:pt x="96" y="68"/>
                  </a:cubicBezTo>
                  <a:cubicBezTo>
                    <a:pt x="97" y="72"/>
                    <a:pt x="97" y="72"/>
                    <a:pt x="97" y="72"/>
                  </a:cubicBezTo>
                  <a:cubicBezTo>
                    <a:pt x="97" y="75"/>
                    <a:pt x="97" y="75"/>
                    <a:pt x="97" y="75"/>
                  </a:cubicBezTo>
                  <a:cubicBezTo>
                    <a:pt x="97" y="75"/>
                    <a:pt x="97" y="77"/>
                    <a:pt x="97" y="77"/>
                  </a:cubicBezTo>
                  <a:cubicBezTo>
                    <a:pt x="98" y="76"/>
                    <a:pt x="99" y="74"/>
                    <a:pt x="99" y="74"/>
                  </a:cubicBezTo>
                  <a:cubicBezTo>
                    <a:pt x="100" y="74"/>
                    <a:pt x="100" y="74"/>
                    <a:pt x="100" y="74"/>
                  </a:cubicBezTo>
                  <a:cubicBezTo>
                    <a:pt x="100" y="74"/>
                    <a:pt x="98" y="71"/>
                    <a:pt x="99" y="71"/>
                  </a:cubicBezTo>
                  <a:cubicBezTo>
                    <a:pt x="99" y="71"/>
                    <a:pt x="99" y="70"/>
                    <a:pt x="100" y="71"/>
                  </a:cubicBezTo>
                  <a:cubicBezTo>
                    <a:pt x="100" y="72"/>
                    <a:pt x="100" y="73"/>
                    <a:pt x="101" y="73"/>
                  </a:cubicBezTo>
                  <a:cubicBezTo>
                    <a:pt x="102" y="73"/>
                    <a:pt x="103" y="73"/>
                    <a:pt x="103" y="72"/>
                  </a:cubicBezTo>
                  <a:cubicBezTo>
                    <a:pt x="104" y="71"/>
                    <a:pt x="103" y="71"/>
                    <a:pt x="103" y="71"/>
                  </a:cubicBezTo>
                  <a:cubicBezTo>
                    <a:pt x="104" y="70"/>
                    <a:pt x="104" y="70"/>
                    <a:pt x="104" y="70"/>
                  </a:cubicBezTo>
                  <a:cubicBezTo>
                    <a:pt x="104" y="70"/>
                    <a:pt x="104" y="72"/>
                    <a:pt x="105" y="72"/>
                  </a:cubicBezTo>
                  <a:cubicBezTo>
                    <a:pt x="106" y="72"/>
                    <a:pt x="108" y="72"/>
                    <a:pt x="108" y="72"/>
                  </a:cubicBezTo>
                  <a:cubicBezTo>
                    <a:pt x="109" y="73"/>
                    <a:pt x="109" y="73"/>
                    <a:pt x="109" y="73"/>
                  </a:cubicBezTo>
                  <a:cubicBezTo>
                    <a:pt x="109" y="73"/>
                    <a:pt x="110" y="72"/>
                    <a:pt x="110" y="72"/>
                  </a:cubicBezTo>
                  <a:cubicBezTo>
                    <a:pt x="110" y="71"/>
                    <a:pt x="110" y="70"/>
                    <a:pt x="110" y="70"/>
                  </a:cubicBezTo>
                  <a:cubicBezTo>
                    <a:pt x="112" y="70"/>
                    <a:pt x="112" y="70"/>
                    <a:pt x="112" y="70"/>
                  </a:cubicBezTo>
                  <a:cubicBezTo>
                    <a:pt x="112" y="67"/>
                    <a:pt x="112" y="67"/>
                    <a:pt x="112" y="67"/>
                  </a:cubicBezTo>
                  <a:cubicBezTo>
                    <a:pt x="114" y="69"/>
                    <a:pt x="114" y="69"/>
                    <a:pt x="114" y="69"/>
                  </a:cubicBezTo>
                  <a:cubicBezTo>
                    <a:pt x="115" y="71"/>
                    <a:pt x="115" y="71"/>
                    <a:pt x="115" y="71"/>
                  </a:cubicBezTo>
                  <a:cubicBezTo>
                    <a:pt x="117" y="71"/>
                    <a:pt x="117" y="71"/>
                    <a:pt x="117" y="71"/>
                  </a:cubicBezTo>
                  <a:cubicBezTo>
                    <a:pt x="118" y="68"/>
                    <a:pt x="118" y="68"/>
                    <a:pt x="118" y="68"/>
                  </a:cubicBezTo>
                  <a:cubicBezTo>
                    <a:pt x="118" y="68"/>
                    <a:pt x="120" y="68"/>
                    <a:pt x="121" y="68"/>
                  </a:cubicBezTo>
                  <a:cubicBezTo>
                    <a:pt x="122" y="68"/>
                    <a:pt x="124" y="67"/>
                    <a:pt x="124" y="67"/>
                  </a:cubicBezTo>
                  <a:cubicBezTo>
                    <a:pt x="124" y="66"/>
                    <a:pt x="123" y="66"/>
                    <a:pt x="122" y="66"/>
                  </a:cubicBezTo>
                  <a:cubicBezTo>
                    <a:pt x="121" y="66"/>
                    <a:pt x="120" y="67"/>
                    <a:pt x="119" y="66"/>
                  </a:cubicBezTo>
                  <a:cubicBezTo>
                    <a:pt x="119" y="66"/>
                    <a:pt x="117" y="64"/>
                    <a:pt x="117" y="64"/>
                  </a:cubicBezTo>
                  <a:cubicBezTo>
                    <a:pt x="115" y="64"/>
                    <a:pt x="115" y="64"/>
                    <a:pt x="115" y="64"/>
                  </a:cubicBezTo>
                  <a:cubicBezTo>
                    <a:pt x="115" y="64"/>
                    <a:pt x="114" y="63"/>
                    <a:pt x="115" y="62"/>
                  </a:cubicBezTo>
                  <a:cubicBezTo>
                    <a:pt x="116" y="62"/>
                    <a:pt x="116" y="61"/>
                    <a:pt x="116" y="61"/>
                  </a:cubicBezTo>
                  <a:cubicBezTo>
                    <a:pt x="116" y="61"/>
                    <a:pt x="116" y="60"/>
                    <a:pt x="116" y="59"/>
                  </a:cubicBezTo>
                  <a:cubicBezTo>
                    <a:pt x="115" y="59"/>
                    <a:pt x="115" y="57"/>
                    <a:pt x="115" y="56"/>
                  </a:cubicBezTo>
                  <a:cubicBezTo>
                    <a:pt x="115" y="56"/>
                    <a:pt x="113" y="52"/>
                    <a:pt x="113" y="52"/>
                  </a:cubicBezTo>
                  <a:cubicBezTo>
                    <a:pt x="113" y="51"/>
                    <a:pt x="113" y="51"/>
                    <a:pt x="113" y="51"/>
                  </a:cubicBezTo>
                  <a:cubicBezTo>
                    <a:pt x="112" y="52"/>
                    <a:pt x="112" y="52"/>
                    <a:pt x="112" y="52"/>
                  </a:cubicBezTo>
                  <a:cubicBezTo>
                    <a:pt x="110" y="50"/>
                    <a:pt x="110" y="50"/>
                    <a:pt x="110" y="50"/>
                  </a:cubicBezTo>
                  <a:cubicBezTo>
                    <a:pt x="110" y="50"/>
                    <a:pt x="109" y="51"/>
                    <a:pt x="108" y="51"/>
                  </a:cubicBezTo>
                  <a:cubicBezTo>
                    <a:pt x="107" y="51"/>
                    <a:pt x="107" y="50"/>
                    <a:pt x="107" y="50"/>
                  </a:cubicBezTo>
                  <a:cubicBezTo>
                    <a:pt x="105" y="50"/>
                    <a:pt x="105" y="50"/>
                    <a:pt x="105" y="50"/>
                  </a:cubicBezTo>
                  <a:cubicBezTo>
                    <a:pt x="105" y="50"/>
                    <a:pt x="105" y="50"/>
                    <a:pt x="104" y="50"/>
                  </a:cubicBezTo>
                  <a:cubicBezTo>
                    <a:pt x="102" y="50"/>
                    <a:pt x="101" y="50"/>
                    <a:pt x="101" y="49"/>
                  </a:cubicBezTo>
                  <a:cubicBezTo>
                    <a:pt x="100" y="49"/>
                    <a:pt x="100" y="48"/>
                    <a:pt x="101" y="47"/>
                  </a:cubicBezTo>
                  <a:cubicBezTo>
                    <a:pt x="101" y="47"/>
                    <a:pt x="101" y="46"/>
                    <a:pt x="101" y="46"/>
                  </a:cubicBezTo>
                  <a:cubicBezTo>
                    <a:pt x="101" y="46"/>
                    <a:pt x="101" y="44"/>
                    <a:pt x="100" y="44"/>
                  </a:cubicBezTo>
                  <a:cubicBezTo>
                    <a:pt x="100" y="44"/>
                    <a:pt x="98" y="44"/>
                    <a:pt x="98" y="44"/>
                  </a:cubicBezTo>
                  <a:cubicBezTo>
                    <a:pt x="96" y="43"/>
                    <a:pt x="96" y="43"/>
                    <a:pt x="96" y="43"/>
                  </a:cubicBezTo>
                  <a:cubicBezTo>
                    <a:pt x="99" y="42"/>
                    <a:pt x="99" y="42"/>
                    <a:pt x="99" y="42"/>
                  </a:cubicBezTo>
                  <a:cubicBezTo>
                    <a:pt x="98" y="41"/>
                    <a:pt x="98" y="41"/>
                    <a:pt x="98" y="41"/>
                  </a:cubicBezTo>
                  <a:cubicBezTo>
                    <a:pt x="98" y="41"/>
                    <a:pt x="98" y="39"/>
                    <a:pt x="98" y="39"/>
                  </a:cubicBezTo>
                  <a:cubicBezTo>
                    <a:pt x="98" y="38"/>
                    <a:pt x="97" y="37"/>
                    <a:pt x="97" y="37"/>
                  </a:cubicBezTo>
                  <a:cubicBezTo>
                    <a:pt x="97" y="34"/>
                    <a:pt x="97" y="34"/>
                    <a:pt x="97" y="34"/>
                  </a:cubicBezTo>
                  <a:cubicBezTo>
                    <a:pt x="96" y="34"/>
                    <a:pt x="96" y="34"/>
                    <a:pt x="96" y="34"/>
                  </a:cubicBezTo>
                  <a:cubicBezTo>
                    <a:pt x="94" y="33"/>
                    <a:pt x="94" y="33"/>
                    <a:pt x="94" y="33"/>
                  </a:cubicBezTo>
                  <a:cubicBezTo>
                    <a:pt x="93" y="36"/>
                    <a:pt x="93" y="36"/>
                    <a:pt x="93" y="36"/>
                  </a:cubicBezTo>
                  <a:cubicBezTo>
                    <a:pt x="91" y="36"/>
                    <a:pt x="91" y="36"/>
                    <a:pt x="91" y="36"/>
                  </a:cubicBezTo>
                  <a:cubicBezTo>
                    <a:pt x="90" y="34"/>
                    <a:pt x="90" y="34"/>
                    <a:pt x="90" y="34"/>
                  </a:cubicBezTo>
                  <a:cubicBezTo>
                    <a:pt x="89" y="33"/>
                    <a:pt x="89" y="33"/>
                    <a:pt x="89" y="33"/>
                  </a:cubicBezTo>
                  <a:cubicBezTo>
                    <a:pt x="88" y="33"/>
                    <a:pt x="88" y="33"/>
                    <a:pt x="88" y="33"/>
                  </a:cubicBezTo>
                  <a:cubicBezTo>
                    <a:pt x="86" y="31"/>
                    <a:pt x="86" y="31"/>
                    <a:pt x="86" y="31"/>
                  </a:cubicBezTo>
                  <a:cubicBezTo>
                    <a:pt x="85" y="31"/>
                    <a:pt x="85" y="31"/>
                    <a:pt x="85" y="31"/>
                  </a:cubicBezTo>
                  <a:cubicBezTo>
                    <a:pt x="85" y="31"/>
                    <a:pt x="84" y="34"/>
                    <a:pt x="84" y="32"/>
                  </a:cubicBezTo>
                  <a:cubicBezTo>
                    <a:pt x="83" y="31"/>
                    <a:pt x="82" y="29"/>
                    <a:pt x="82" y="29"/>
                  </a:cubicBezTo>
                  <a:cubicBezTo>
                    <a:pt x="82" y="28"/>
                    <a:pt x="82" y="28"/>
                    <a:pt x="82" y="28"/>
                  </a:cubicBezTo>
                  <a:cubicBezTo>
                    <a:pt x="83" y="26"/>
                    <a:pt x="83" y="26"/>
                    <a:pt x="83" y="26"/>
                  </a:cubicBezTo>
                  <a:cubicBezTo>
                    <a:pt x="82" y="24"/>
                    <a:pt x="82" y="24"/>
                    <a:pt x="82" y="24"/>
                  </a:cubicBezTo>
                  <a:cubicBezTo>
                    <a:pt x="82" y="24"/>
                    <a:pt x="82" y="22"/>
                    <a:pt x="82" y="22"/>
                  </a:cubicBezTo>
                  <a:cubicBezTo>
                    <a:pt x="82" y="22"/>
                    <a:pt x="81" y="20"/>
                    <a:pt x="81" y="20"/>
                  </a:cubicBezTo>
                  <a:cubicBezTo>
                    <a:pt x="82" y="18"/>
                    <a:pt x="82" y="18"/>
                    <a:pt x="82" y="18"/>
                  </a:cubicBezTo>
                  <a:cubicBezTo>
                    <a:pt x="80" y="17"/>
                    <a:pt x="80" y="17"/>
                    <a:pt x="80" y="17"/>
                  </a:cubicBezTo>
                  <a:cubicBezTo>
                    <a:pt x="80" y="15"/>
                    <a:pt x="80" y="15"/>
                    <a:pt x="80" y="15"/>
                  </a:cubicBezTo>
                  <a:cubicBezTo>
                    <a:pt x="80" y="14"/>
                    <a:pt x="80" y="14"/>
                    <a:pt x="80" y="14"/>
                  </a:cubicBezTo>
                  <a:cubicBezTo>
                    <a:pt x="78" y="13"/>
                    <a:pt x="78" y="13"/>
                    <a:pt x="78" y="13"/>
                  </a:cubicBezTo>
                  <a:cubicBezTo>
                    <a:pt x="78" y="13"/>
                    <a:pt x="77" y="13"/>
                    <a:pt x="77" y="12"/>
                  </a:cubicBezTo>
                  <a:cubicBezTo>
                    <a:pt x="77" y="11"/>
                    <a:pt x="75" y="10"/>
                    <a:pt x="75" y="10"/>
                  </a:cubicBezTo>
                  <a:cubicBezTo>
                    <a:pt x="75" y="10"/>
                    <a:pt x="75" y="10"/>
                    <a:pt x="74" y="11"/>
                  </a:cubicBezTo>
                  <a:cubicBezTo>
                    <a:pt x="74" y="11"/>
                    <a:pt x="74" y="13"/>
                    <a:pt x="73" y="13"/>
                  </a:cubicBezTo>
                  <a:cubicBezTo>
                    <a:pt x="73" y="13"/>
                    <a:pt x="74" y="13"/>
                    <a:pt x="72" y="13"/>
                  </a:cubicBezTo>
                  <a:cubicBezTo>
                    <a:pt x="69" y="13"/>
                    <a:pt x="70" y="13"/>
                    <a:pt x="69" y="12"/>
                  </a:cubicBezTo>
                  <a:cubicBezTo>
                    <a:pt x="69" y="11"/>
                    <a:pt x="67" y="10"/>
                    <a:pt x="67" y="10"/>
                  </a:cubicBezTo>
                  <a:cubicBezTo>
                    <a:pt x="66" y="7"/>
                    <a:pt x="66" y="7"/>
                    <a:pt x="66" y="7"/>
                  </a:cubicBezTo>
                  <a:cubicBezTo>
                    <a:pt x="64" y="7"/>
                    <a:pt x="64" y="7"/>
                    <a:pt x="64" y="7"/>
                  </a:cubicBezTo>
                  <a:cubicBezTo>
                    <a:pt x="64" y="7"/>
                    <a:pt x="66" y="7"/>
                    <a:pt x="63" y="7"/>
                  </a:cubicBezTo>
                  <a:cubicBezTo>
                    <a:pt x="60" y="7"/>
                    <a:pt x="57" y="8"/>
                    <a:pt x="57" y="8"/>
                  </a:cubicBezTo>
                  <a:cubicBezTo>
                    <a:pt x="56" y="9"/>
                    <a:pt x="56" y="9"/>
                    <a:pt x="56" y="9"/>
                  </a:cubicBezTo>
                  <a:cubicBezTo>
                    <a:pt x="56" y="9"/>
                    <a:pt x="55" y="11"/>
                    <a:pt x="55" y="11"/>
                  </a:cubicBezTo>
                  <a:cubicBezTo>
                    <a:pt x="55" y="11"/>
                    <a:pt x="56" y="12"/>
                    <a:pt x="55" y="11"/>
                  </a:cubicBezTo>
                  <a:cubicBezTo>
                    <a:pt x="55" y="11"/>
                    <a:pt x="55" y="11"/>
                    <a:pt x="55" y="10"/>
                  </a:cubicBezTo>
                  <a:cubicBezTo>
                    <a:pt x="54" y="10"/>
                    <a:pt x="55" y="9"/>
                    <a:pt x="55" y="9"/>
                  </a:cubicBezTo>
                  <a:cubicBezTo>
                    <a:pt x="55" y="9"/>
                    <a:pt x="53" y="8"/>
                    <a:pt x="53" y="8"/>
                  </a:cubicBezTo>
                  <a:cubicBezTo>
                    <a:pt x="52" y="9"/>
                    <a:pt x="52" y="9"/>
                    <a:pt x="52" y="9"/>
                  </a:cubicBezTo>
                  <a:cubicBezTo>
                    <a:pt x="52" y="9"/>
                    <a:pt x="53" y="10"/>
                    <a:pt x="52" y="10"/>
                  </a:cubicBezTo>
                  <a:cubicBezTo>
                    <a:pt x="51" y="10"/>
                    <a:pt x="50" y="11"/>
                    <a:pt x="50" y="10"/>
                  </a:cubicBezTo>
                  <a:cubicBezTo>
                    <a:pt x="50" y="10"/>
                    <a:pt x="51" y="9"/>
                    <a:pt x="51" y="9"/>
                  </a:cubicBezTo>
                  <a:cubicBezTo>
                    <a:pt x="52" y="9"/>
                    <a:pt x="52" y="8"/>
                    <a:pt x="52" y="7"/>
                  </a:cubicBezTo>
                  <a:cubicBezTo>
                    <a:pt x="52" y="7"/>
                    <a:pt x="52" y="6"/>
                    <a:pt x="51" y="6"/>
                  </a:cubicBezTo>
                  <a:cubicBezTo>
                    <a:pt x="51" y="6"/>
                    <a:pt x="50" y="6"/>
                    <a:pt x="49" y="6"/>
                  </a:cubicBezTo>
                  <a:cubicBezTo>
                    <a:pt x="49" y="6"/>
                    <a:pt x="48" y="7"/>
                    <a:pt x="48" y="7"/>
                  </a:cubicBezTo>
                  <a:cubicBezTo>
                    <a:pt x="48" y="7"/>
                    <a:pt x="49" y="7"/>
                    <a:pt x="48" y="7"/>
                  </a:cubicBezTo>
                  <a:cubicBezTo>
                    <a:pt x="48" y="7"/>
                    <a:pt x="47" y="8"/>
                    <a:pt x="47" y="8"/>
                  </a:cubicBezTo>
                  <a:cubicBezTo>
                    <a:pt x="47" y="8"/>
                    <a:pt x="46" y="7"/>
                    <a:pt x="46" y="7"/>
                  </a:cubicBezTo>
                  <a:cubicBezTo>
                    <a:pt x="46" y="7"/>
                    <a:pt x="46" y="6"/>
                    <a:pt x="46" y="6"/>
                  </a:cubicBezTo>
                  <a:cubicBezTo>
                    <a:pt x="45" y="7"/>
                    <a:pt x="45" y="8"/>
                    <a:pt x="45" y="8"/>
                  </a:cubicBezTo>
                  <a:cubicBezTo>
                    <a:pt x="44" y="9"/>
                    <a:pt x="44" y="8"/>
                    <a:pt x="44" y="8"/>
                  </a:cubicBezTo>
                  <a:cubicBezTo>
                    <a:pt x="44" y="8"/>
                    <a:pt x="43" y="6"/>
                    <a:pt x="43" y="6"/>
                  </a:cubicBezTo>
                  <a:cubicBezTo>
                    <a:pt x="42" y="5"/>
                    <a:pt x="42" y="5"/>
                    <a:pt x="42" y="5"/>
                  </a:cubicBezTo>
                  <a:cubicBezTo>
                    <a:pt x="42" y="5"/>
                    <a:pt x="40" y="6"/>
                    <a:pt x="39" y="5"/>
                  </a:cubicBezTo>
                  <a:cubicBezTo>
                    <a:pt x="39" y="5"/>
                    <a:pt x="38" y="5"/>
                    <a:pt x="37" y="4"/>
                  </a:cubicBezTo>
                  <a:cubicBezTo>
                    <a:pt x="37" y="4"/>
                    <a:pt x="36" y="3"/>
                    <a:pt x="36" y="3"/>
                  </a:cubicBezTo>
                  <a:cubicBezTo>
                    <a:pt x="36" y="3"/>
                    <a:pt x="36" y="3"/>
                    <a:pt x="35" y="3"/>
                  </a:cubicBezTo>
                  <a:cubicBezTo>
                    <a:pt x="34" y="3"/>
                    <a:pt x="34" y="3"/>
                    <a:pt x="34" y="3"/>
                  </a:cubicBezTo>
                  <a:cubicBezTo>
                    <a:pt x="33" y="2"/>
                    <a:pt x="34" y="2"/>
                    <a:pt x="32" y="2"/>
                  </a:cubicBezTo>
                  <a:cubicBezTo>
                    <a:pt x="30" y="2"/>
                    <a:pt x="30" y="3"/>
                    <a:pt x="29" y="3"/>
                  </a:cubicBezTo>
                  <a:cubicBezTo>
                    <a:pt x="28" y="3"/>
                    <a:pt x="28" y="3"/>
                    <a:pt x="28" y="3"/>
                  </a:cubicBezTo>
                  <a:cubicBezTo>
                    <a:pt x="27" y="2"/>
                    <a:pt x="27" y="2"/>
                    <a:pt x="27" y="2"/>
                  </a:cubicBezTo>
                  <a:cubicBezTo>
                    <a:pt x="27" y="1"/>
                    <a:pt x="27" y="0"/>
                    <a:pt x="26" y="1"/>
                  </a:cubicBezTo>
                  <a:cubicBezTo>
                    <a:pt x="26" y="2"/>
                    <a:pt x="27" y="2"/>
                    <a:pt x="26" y="3"/>
                  </a:cubicBezTo>
                  <a:cubicBezTo>
                    <a:pt x="25" y="3"/>
                    <a:pt x="24" y="4"/>
                    <a:pt x="24" y="4"/>
                  </a:cubicBezTo>
                  <a:cubicBezTo>
                    <a:pt x="24" y="4"/>
                    <a:pt x="23" y="5"/>
                    <a:pt x="23" y="5"/>
                  </a:cubicBezTo>
                  <a:cubicBezTo>
                    <a:pt x="23" y="5"/>
                    <a:pt x="23" y="6"/>
                    <a:pt x="23" y="6"/>
                  </a:cubicBezTo>
                  <a:cubicBezTo>
                    <a:pt x="23" y="6"/>
                    <a:pt x="22" y="5"/>
                    <a:pt x="22" y="5"/>
                  </a:cubicBezTo>
                  <a:cubicBezTo>
                    <a:pt x="22" y="5"/>
                    <a:pt x="21" y="5"/>
                    <a:pt x="21" y="5"/>
                  </a:cubicBezTo>
                  <a:cubicBezTo>
                    <a:pt x="21" y="5"/>
                    <a:pt x="20" y="6"/>
                    <a:pt x="20" y="6"/>
                  </a:cubicBezTo>
                  <a:cubicBezTo>
                    <a:pt x="20" y="6"/>
                    <a:pt x="20" y="7"/>
                    <a:pt x="20" y="7"/>
                  </a:cubicBezTo>
                  <a:cubicBezTo>
                    <a:pt x="20" y="8"/>
                    <a:pt x="19" y="9"/>
                    <a:pt x="19" y="9"/>
                  </a:cubicBezTo>
                  <a:cubicBezTo>
                    <a:pt x="18" y="9"/>
                    <a:pt x="18" y="9"/>
                    <a:pt x="18" y="9"/>
                  </a:cubicBezTo>
                  <a:cubicBezTo>
                    <a:pt x="18" y="9"/>
                    <a:pt x="18" y="9"/>
                    <a:pt x="17" y="9"/>
                  </a:cubicBezTo>
                  <a:cubicBezTo>
                    <a:pt x="16" y="9"/>
                    <a:pt x="14" y="9"/>
                    <a:pt x="14" y="9"/>
                  </a:cubicBezTo>
                  <a:cubicBezTo>
                    <a:pt x="14" y="9"/>
                    <a:pt x="13" y="9"/>
                    <a:pt x="13" y="9"/>
                  </a:cubicBezTo>
                  <a:cubicBezTo>
                    <a:pt x="13" y="10"/>
                    <a:pt x="13" y="10"/>
                    <a:pt x="13" y="10"/>
                  </a:cubicBezTo>
                  <a:cubicBezTo>
                    <a:pt x="12" y="11"/>
                    <a:pt x="12" y="11"/>
                    <a:pt x="12" y="11"/>
                  </a:cubicBezTo>
                  <a:cubicBezTo>
                    <a:pt x="12" y="11"/>
                    <a:pt x="11" y="12"/>
                    <a:pt x="10" y="12"/>
                  </a:cubicBezTo>
                  <a:cubicBezTo>
                    <a:pt x="10" y="11"/>
                    <a:pt x="9" y="11"/>
                    <a:pt x="9" y="11"/>
                  </a:cubicBezTo>
                  <a:cubicBezTo>
                    <a:pt x="8" y="11"/>
                    <a:pt x="8" y="11"/>
                    <a:pt x="8" y="11"/>
                  </a:cubicBezTo>
                  <a:cubicBezTo>
                    <a:pt x="8" y="11"/>
                    <a:pt x="7" y="11"/>
                    <a:pt x="7" y="12"/>
                  </a:cubicBezTo>
                  <a:cubicBezTo>
                    <a:pt x="7" y="12"/>
                    <a:pt x="7" y="12"/>
                    <a:pt x="7" y="12"/>
                  </a:cubicBezTo>
                  <a:cubicBezTo>
                    <a:pt x="6" y="12"/>
                    <a:pt x="6" y="12"/>
                    <a:pt x="6" y="12"/>
                  </a:cubicBezTo>
                  <a:cubicBezTo>
                    <a:pt x="6" y="12"/>
                    <a:pt x="7" y="13"/>
                    <a:pt x="7" y="13"/>
                  </a:cubicBezTo>
                  <a:cubicBezTo>
                    <a:pt x="7" y="14"/>
                    <a:pt x="7" y="14"/>
                    <a:pt x="7" y="15"/>
                  </a:cubicBezTo>
                  <a:cubicBezTo>
                    <a:pt x="7" y="15"/>
                    <a:pt x="7" y="15"/>
                    <a:pt x="6" y="15"/>
                  </a:cubicBezTo>
                  <a:cubicBezTo>
                    <a:pt x="6" y="15"/>
                    <a:pt x="5" y="15"/>
                    <a:pt x="5" y="15"/>
                  </a:cubicBezTo>
                  <a:cubicBezTo>
                    <a:pt x="5" y="15"/>
                    <a:pt x="5" y="14"/>
                    <a:pt x="4" y="14"/>
                  </a:cubicBezTo>
                  <a:cubicBezTo>
                    <a:pt x="4" y="14"/>
                    <a:pt x="2" y="15"/>
                    <a:pt x="2" y="15"/>
                  </a:cubicBezTo>
                  <a:cubicBezTo>
                    <a:pt x="1" y="17"/>
                    <a:pt x="1" y="17"/>
                    <a:pt x="1" y="17"/>
                  </a:cubicBezTo>
                  <a:cubicBezTo>
                    <a:pt x="0" y="18"/>
                    <a:pt x="0" y="18"/>
                    <a:pt x="0" y="18"/>
                  </a:cubicBezTo>
                  <a:cubicBezTo>
                    <a:pt x="4" y="18"/>
                    <a:pt x="4" y="18"/>
                    <a:pt x="4" y="18"/>
                  </a:cubicBezTo>
                  <a:cubicBezTo>
                    <a:pt x="5" y="18"/>
                    <a:pt x="5" y="18"/>
                    <a:pt x="5" y="18"/>
                  </a:cubicBezTo>
                  <a:cubicBezTo>
                    <a:pt x="6" y="18"/>
                    <a:pt x="6" y="18"/>
                    <a:pt x="6" y="18"/>
                  </a:cubicBezTo>
                  <a:cubicBezTo>
                    <a:pt x="7" y="17"/>
                    <a:pt x="7" y="17"/>
                    <a:pt x="7" y="17"/>
                  </a:cubicBezTo>
                  <a:cubicBezTo>
                    <a:pt x="7" y="17"/>
                    <a:pt x="8" y="18"/>
                    <a:pt x="8" y="18"/>
                  </a:cubicBezTo>
                  <a:cubicBezTo>
                    <a:pt x="8" y="18"/>
                    <a:pt x="9" y="19"/>
                    <a:pt x="9" y="19"/>
                  </a:cubicBezTo>
                  <a:cubicBezTo>
                    <a:pt x="10" y="19"/>
                    <a:pt x="10" y="19"/>
                    <a:pt x="10" y="19"/>
                  </a:cubicBezTo>
                  <a:cubicBezTo>
                    <a:pt x="12" y="18"/>
                    <a:pt x="12" y="18"/>
                    <a:pt x="12" y="18"/>
                  </a:cubicBezTo>
                  <a:cubicBezTo>
                    <a:pt x="12" y="19"/>
                    <a:pt x="12" y="19"/>
                    <a:pt x="12" y="19"/>
                  </a:cubicBezTo>
                  <a:cubicBezTo>
                    <a:pt x="12" y="19"/>
                    <a:pt x="12" y="20"/>
                    <a:pt x="13" y="20"/>
                  </a:cubicBezTo>
                  <a:cubicBezTo>
                    <a:pt x="13" y="20"/>
                    <a:pt x="13" y="20"/>
                    <a:pt x="13" y="20"/>
                  </a:cubicBezTo>
                  <a:cubicBezTo>
                    <a:pt x="13" y="21"/>
                    <a:pt x="13" y="21"/>
                    <a:pt x="13" y="21"/>
                  </a:cubicBezTo>
                  <a:cubicBezTo>
                    <a:pt x="15" y="21"/>
                    <a:pt x="15" y="21"/>
                    <a:pt x="15" y="21"/>
                  </a:cubicBezTo>
                  <a:cubicBezTo>
                    <a:pt x="15" y="21"/>
                    <a:pt x="16" y="21"/>
                    <a:pt x="16" y="21"/>
                  </a:cubicBezTo>
                  <a:cubicBezTo>
                    <a:pt x="16" y="22"/>
                    <a:pt x="16" y="22"/>
                    <a:pt x="16" y="22"/>
                  </a:cubicBezTo>
                  <a:cubicBezTo>
                    <a:pt x="16" y="22"/>
                    <a:pt x="17" y="23"/>
                    <a:pt x="17" y="23"/>
                  </a:cubicBezTo>
                  <a:cubicBezTo>
                    <a:pt x="18" y="24"/>
                    <a:pt x="18" y="25"/>
                    <a:pt x="18" y="25"/>
                  </a:cubicBezTo>
                  <a:cubicBezTo>
                    <a:pt x="19" y="25"/>
                    <a:pt x="19" y="25"/>
                    <a:pt x="19" y="25"/>
                  </a:cubicBezTo>
                  <a:cubicBezTo>
                    <a:pt x="20" y="26"/>
                    <a:pt x="20" y="26"/>
                    <a:pt x="20" y="26"/>
                  </a:cubicBezTo>
                  <a:cubicBezTo>
                    <a:pt x="21" y="27"/>
                    <a:pt x="21" y="27"/>
                    <a:pt x="21" y="27"/>
                  </a:cubicBezTo>
                  <a:cubicBezTo>
                    <a:pt x="21" y="27"/>
                    <a:pt x="21" y="27"/>
                    <a:pt x="21" y="27"/>
                  </a:cubicBezTo>
                  <a:cubicBezTo>
                    <a:pt x="21" y="28"/>
                    <a:pt x="21" y="28"/>
                    <a:pt x="21" y="28"/>
                  </a:cubicBezTo>
                  <a:cubicBezTo>
                    <a:pt x="21" y="28"/>
                    <a:pt x="22" y="28"/>
                    <a:pt x="22" y="28"/>
                  </a:cubicBezTo>
                  <a:cubicBezTo>
                    <a:pt x="22" y="29"/>
                    <a:pt x="23" y="29"/>
                    <a:pt x="23" y="29"/>
                  </a:cubicBezTo>
                  <a:cubicBezTo>
                    <a:pt x="23" y="29"/>
                    <a:pt x="23" y="30"/>
                    <a:pt x="23" y="30"/>
                  </a:cubicBezTo>
                  <a:cubicBezTo>
                    <a:pt x="23" y="30"/>
                    <a:pt x="24" y="31"/>
                    <a:pt x="24" y="31"/>
                  </a:cubicBezTo>
                  <a:cubicBezTo>
                    <a:pt x="24" y="31"/>
                    <a:pt x="24" y="31"/>
                    <a:pt x="24" y="32"/>
                  </a:cubicBezTo>
                  <a:cubicBezTo>
                    <a:pt x="24" y="32"/>
                    <a:pt x="25" y="33"/>
                    <a:pt x="25" y="33"/>
                  </a:cubicBezTo>
                  <a:cubicBezTo>
                    <a:pt x="25" y="34"/>
                    <a:pt x="25" y="34"/>
                    <a:pt x="26" y="34"/>
                  </a:cubicBezTo>
                  <a:cubicBezTo>
                    <a:pt x="26" y="34"/>
                    <a:pt x="26" y="34"/>
                    <a:pt x="26" y="34"/>
                  </a:cubicBezTo>
                  <a:cubicBezTo>
                    <a:pt x="26" y="34"/>
                    <a:pt x="26" y="34"/>
                    <a:pt x="26" y="35"/>
                  </a:cubicBezTo>
                  <a:cubicBezTo>
                    <a:pt x="26" y="36"/>
                    <a:pt x="26" y="36"/>
                    <a:pt x="26" y="37"/>
                  </a:cubicBezTo>
                  <a:cubicBezTo>
                    <a:pt x="27" y="37"/>
                    <a:pt x="27" y="38"/>
                    <a:pt x="28" y="38"/>
                  </a:cubicBezTo>
                  <a:cubicBezTo>
                    <a:pt x="29" y="38"/>
                    <a:pt x="29" y="38"/>
                    <a:pt x="29" y="38"/>
                  </a:cubicBezTo>
                  <a:cubicBezTo>
                    <a:pt x="29" y="38"/>
                    <a:pt x="30" y="39"/>
                    <a:pt x="30" y="40"/>
                  </a:cubicBezTo>
                  <a:cubicBezTo>
                    <a:pt x="31" y="40"/>
                    <a:pt x="31" y="40"/>
                    <a:pt x="31" y="40"/>
                  </a:cubicBezTo>
                  <a:cubicBezTo>
                    <a:pt x="32" y="41"/>
                    <a:pt x="32" y="41"/>
                    <a:pt x="32" y="41"/>
                  </a:cubicBezTo>
                  <a:cubicBezTo>
                    <a:pt x="32" y="41"/>
                    <a:pt x="32" y="41"/>
                    <a:pt x="32" y="41"/>
                  </a:cubicBezTo>
                  <a:cubicBezTo>
                    <a:pt x="32" y="41"/>
                    <a:pt x="34" y="43"/>
                    <a:pt x="35" y="43"/>
                  </a:cubicBezTo>
                  <a:cubicBezTo>
                    <a:pt x="35" y="43"/>
                    <a:pt x="35" y="44"/>
                    <a:pt x="35" y="44"/>
                  </a:cubicBezTo>
                  <a:cubicBezTo>
                    <a:pt x="35" y="44"/>
                    <a:pt x="36" y="44"/>
                    <a:pt x="36" y="44"/>
                  </a:cubicBezTo>
                  <a:cubicBezTo>
                    <a:pt x="37" y="44"/>
                    <a:pt x="38" y="44"/>
                    <a:pt x="38" y="45"/>
                  </a:cubicBezTo>
                  <a:cubicBezTo>
                    <a:pt x="38" y="45"/>
                    <a:pt x="38" y="46"/>
                    <a:pt x="38" y="46"/>
                  </a:cubicBezTo>
                  <a:cubicBezTo>
                    <a:pt x="39" y="47"/>
                    <a:pt x="39" y="47"/>
                    <a:pt x="39" y="48"/>
                  </a:cubicBezTo>
                  <a:cubicBezTo>
                    <a:pt x="39" y="48"/>
                    <a:pt x="40" y="49"/>
                    <a:pt x="40" y="49"/>
                  </a:cubicBezTo>
                  <a:cubicBezTo>
                    <a:pt x="45" y="51"/>
                    <a:pt x="45" y="51"/>
                    <a:pt x="45" y="51"/>
                  </a:cubicBezTo>
                  <a:cubicBezTo>
                    <a:pt x="46" y="53"/>
                    <a:pt x="46" y="53"/>
                    <a:pt x="46" y="53"/>
                  </a:cubicBezTo>
                  <a:cubicBezTo>
                    <a:pt x="46" y="53"/>
                    <a:pt x="46" y="54"/>
                    <a:pt x="47" y="54"/>
                  </a:cubicBezTo>
                  <a:cubicBezTo>
                    <a:pt x="47" y="55"/>
                    <a:pt x="48" y="55"/>
                    <a:pt x="48" y="55"/>
                  </a:cubicBezTo>
                  <a:cubicBezTo>
                    <a:pt x="50" y="57"/>
                    <a:pt x="50" y="57"/>
                    <a:pt x="50" y="57"/>
                  </a:cubicBezTo>
                  <a:cubicBezTo>
                    <a:pt x="53" y="58"/>
                    <a:pt x="53" y="58"/>
                    <a:pt x="53" y="58"/>
                  </a:cubicBezTo>
                  <a:cubicBezTo>
                    <a:pt x="53" y="58"/>
                    <a:pt x="55" y="59"/>
                    <a:pt x="55" y="59"/>
                  </a:cubicBezTo>
                  <a:cubicBezTo>
                    <a:pt x="56" y="59"/>
                    <a:pt x="57" y="60"/>
                    <a:pt x="57" y="60"/>
                  </a:cubicBezTo>
                  <a:cubicBezTo>
                    <a:pt x="57" y="60"/>
                    <a:pt x="59" y="63"/>
                    <a:pt x="59" y="63"/>
                  </a:cubicBezTo>
                  <a:cubicBezTo>
                    <a:pt x="59" y="63"/>
                    <a:pt x="61" y="64"/>
                    <a:pt x="61" y="66"/>
                  </a:cubicBezTo>
                  <a:cubicBezTo>
                    <a:pt x="62" y="67"/>
                    <a:pt x="62" y="67"/>
                    <a:pt x="62" y="68"/>
                  </a:cubicBezTo>
                  <a:cubicBezTo>
                    <a:pt x="63" y="70"/>
                    <a:pt x="64" y="71"/>
                    <a:pt x="64" y="71"/>
                  </a:cubicBezTo>
                  <a:cubicBezTo>
                    <a:pt x="64" y="71"/>
                    <a:pt x="64" y="71"/>
                    <a:pt x="65" y="72"/>
                  </a:cubicBezTo>
                  <a:cubicBezTo>
                    <a:pt x="66" y="74"/>
                    <a:pt x="66" y="75"/>
                    <a:pt x="67" y="75"/>
                  </a:cubicBezTo>
                  <a:cubicBezTo>
                    <a:pt x="67" y="75"/>
                    <a:pt x="67" y="75"/>
                    <a:pt x="67" y="76"/>
                  </a:cubicBezTo>
                  <a:cubicBezTo>
                    <a:pt x="67" y="76"/>
                    <a:pt x="67" y="77"/>
                    <a:pt x="67" y="77"/>
                  </a:cubicBezTo>
                  <a:cubicBezTo>
                    <a:pt x="67" y="77"/>
                    <a:pt x="67" y="79"/>
                    <a:pt x="67" y="79"/>
                  </a:cubicBezTo>
                  <a:cubicBezTo>
                    <a:pt x="67" y="79"/>
                    <a:pt x="68" y="81"/>
                    <a:pt x="68" y="81"/>
                  </a:cubicBezTo>
                  <a:cubicBezTo>
                    <a:pt x="68" y="81"/>
                    <a:pt x="68" y="81"/>
                    <a:pt x="68" y="81"/>
                  </a:cubicBezTo>
                  <a:cubicBezTo>
                    <a:pt x="69" y="84"/>
                    <a:pt x="69" y="84"/>
                    <a:pt x="69" y="84"/>
                  </a:cubicBezTo>
                  <a:cubicBezTo>
                    <a:pt x="68" y="86"/>
                    <a:pt x="68" y="86"/>
                    <a:pt x="68" y="86"/>
                  </a:cubicBezTo>
                  <a:cubicBezTo>
                    <a:pt x="68" y="86"/>
                    <a:pt x="68" y="87"/>
                    <a:pt x="68" y="87"/>
                  </a:cubicBezTo>
                  <a:cubicBezTo>
                    <a:pt x="69" y="87"/>
                    <a:pt x="69" y="87"/>
                    <a:pt x="69" y="88"/>
                  </a:cubicBezTo>
                  <a:cubicBezTo>
                    <a:pt x="69" y="88"/>
                    <a:pt x="68" y="89"/>
                    <a:pt x="68" y="89"/>
                  </a:cubicBezTo>
                  <a:cubicBezTo>
                    <a:pt x="68" y="90"/>
                    <a:pt x="68" y="90"/>
                    <a:pt x="68" y="90"/>
                  </a:cubicBezTo>
                  <a:cubicBezTo>
                    <a:pt x="68" y="92"/>
                    <a:pt x="68" y="92"/>
                    <a:pt x="68" y="92"/>
                  </a:cubicBezTo>
                  <a:cubicBezTo>
                    <a:pt x="68" y="92"/>
                    <a:pt x="69" y="93"/>
                    <a:pt x="69" y="93"/>
                  </a:cubicBezTo>
                  <a:cubicBezTo>
                    <a:pt x="69" y="93"/>
                    <a:pt x="69" y="95"/>
                    <a:pt x="69" y="95"/>
                  </a:cubicBezTo>
                  <a:cubicBezTo>
                    <a:pt x="69" y="95"/>
                    <a:pt x="69" y="96"/>
                    <a:pt x="69" y="96"/>
                  </a:cubicBezTo>
                  <a:cubicBezTo>
                    <a:pt x="69" y="96"/>
                    <a:pt x="69" y="98"/>
                    <a:pt x="69" y="98"/>
                  </a:cubicBezTo>
                  <a:cubicBezTo>
                    <a:pt x="69" y="99"/>
                    <a:pt x="70" y="99"/>
                    <a:pt x="70" y="100"/>
                  </a:cubicBezTo>
                  <a:cubicBezTo>
                    <a:pt x="70" y="100"/>
                    <a:pt x="69" y="101"/>
                    <a:pt x="70" y="102"/>
                  </a:cubicBezTo>
                  <a:cubicBezTo>
                    <a:pt x="70" y="103"/>
                    <a:pt x="72" y="105"/>
                    <a:pt x="72" y="105"/>
                  </a:cubicBezTo>
                  <a:cubicBezTo>
                    <a:pt x="72" y="105"/>
                    <a:pt x="73" y="107"/>
                    <a:pt x="73" y="107"/>
                  </a:cubicBezTo>
                  <a:cubicBezTo>
                    <a:pt x="73" y="108"/>
                    <a:pt x="72" y="108"/>
                    <a:pt x="73" y="109"/>
                  </a:cubicBezTo>
                  <a:cubicBezTo>
                    <a:pt x="73" y="109"/>
                    <a:pt x="72" y="109"/>
                    <a:pt x="73" y="110"/>
                  </a:cubicBezTo>
                  <a:cubicBezTo>
                    <a:pt x="74" y="110"/>
                    <a:pt x="74" y="112"/>
                    <a:pt x="74" y="112"/>
                  </a:cubicBezTo>
                  <a:cubicBezTo>
                    <a:pt x="74" y="112"/>
                    <a:pt x="75" y="112"/>
                    <a:pt x="75" y="113"/>
                  </a:cubicBezTo>
                  <a:cubicBezTo>
                    <a:pt x="75" y="114"/>
                    <a:pt x="75" y="115"/>
                    <a:pt x="75" y="115"/>
                  </a:cubicBezTo>
                  <a:cubicBezTo>
                    <a:pt x="76" y="116"/>
                    <a:pt x="76" y="116"/>
                    <a:pt x="76" y="116"/>
                  </a:cubicBezTo>
                  <a:cubicBezTo>
                    <a:pt x="75" y="116"/>
                    <a:pt x="75" y="117"/>
                    <a:pt x="75" y="117"/>
                  </a:cubicBezTo>
                  <a:cubicBezTo>
                    <a:pt x="74" y="118"/>
                    <a:pt x="74" y="118"/>
                    <a:pt x="74" y="118"/>
                  </a:cubicBezTo>
                  <a:cubicBezTo>
                    <a:pt x="74" y="118"/>
                    <a:pt x="75" y="119"/>
                    <a:pt x="75" y="119"/>
                  </a:cubicBezTo>
                  <a:cubicBezTo>
                    <a:pt x="76" y="119"/>
                    <a:pt x="76" y="120"/>
                    <a:pt x="76" y="120"/>
                  </a:cubicBezTo>
                  <a:cubicBezTo>
                    <a:pt x="77" y="121"/>
                    <a:pt x="77" y="121"/>
                    <a:pt x="77" y="121"/>
                  </a:cubicBezTo>
                  <a:cubicBezTo>
                    <a:pt x="78" y="122"/>
                    <a:pt x="78" y="122"/>
                    <a:pt x="78" y="122"/>
                  </a:cubicBezTo>
                  <a:lnTo>
                    <a:pt x="79" y="122"/>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Freeform 70"/>
            <p:cNvSpPr>
              <a:spLocks/>
            </p:cNvSpPr>
            <p:nvPr/>
          </p:nvSpPr>
          <p:spPr bwMode="auto">
            <a:xfrm>
              <a:off x="5238565" y="4544874"/>
              <a:ext cx="5777" cy="5446"/>
            </a:xfrm>
            <a:custGeom>
              <a:avLst/>
              <a:gdLst>
                <a:gd name="T0" fmla="*/ 0 w 2"/>
                <a:gd name="T1" fmla="*/ 1 h 2"/>
                <a:gd name="T2" fmla="*/ 0 w 2"/>
                <a:gd name="T3" fmla="*/ 1 h 2"/>
                <a:gd name="T4" fmla="*/ 0 w 2"/>
                <a:gd name="T5" fmla="*/ 1 h 2"/>
                <a:gd name="T6" fmla="*/ 1 w 2"/>
                <a:gd name="T7" fmla="*/ 2 h 2"/>
                <a:gd name="T8" fmla="*/ 2 w 2"/>
                <a:gd name="T9" fmla="*/ 1 h 2"/>
                <a:gd name="T10" fmla="*/ 1 w 2"/>
                <a:gd name="T11" fmla="*/ 0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1"/>
                    <a:pt x="0" y="1"/>
                    <a:pt x="0" y="1"/>
                  </a:cubicBezTo>
                  <a:cubicBezTo>
                    <a:pt x="0" y="1"/>
                    <a:pt x="0" y="1"/>
                    <a:pt x="0" y="1"/>
                  </a:cubicBezTo>
                  <a:cubicBezTo>
                    <a:pt x="1" y="2"/>
                    <a:pt x="1" y="2"/>
                    <a:pt x="1" y="2"/>
                  </a:cubicBezTo>
                  <a:cubicBezTo>
                    <a:pt x="2" y="1"/>
                    <a:pt x="2" y="1"/>
                    <a:pt x="2" y="1"/>
                  </a:cubicBezTo>
                  <a:cubicBezTo>
                    <a:pt x="1" y="1"/>
                    <a:pt x="1" y="1"/>
                    <a:pt x="1" y="0"/>
                  </a:cubicBezTo>
                  <a:cubicBezTo>
                    <a:pt x="1" y="1"/>
                    <a:pt x="1" y="1"/>
                    <a:pt x="0" y="1"/>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Freeform 71"/>
            <p:cNvSpPr>
              <a:spLocks/>
            </p:cNvSpPr>
            <p:nvPr/>
          </p:nvSpPr>
          <p:spPr bwMode="auto">
            <a:xfrm>
              <a:off x="5163470" y="469056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Freeform 72"/>
            <p:cNvSpPr>
              <a:spLocks noEditPoints="1"/>
            </p:cNvSpPr>
            <p:nvPr/>
          </p:nvSpPr>
          <p:spPr bwMode="auto">
            <a:xfrm>
              <a:off x="4195892" y="4107801"/>
              <a:ext cx="1094663" cy="1041623"/>
            </a:xfrm>
            <a:custGeom>
              <a:avLst/>
              <a:gdLst>
                <a:gd name="T0" fmla="*/ 335 w 378"/>
                <a:gd name="T1" fmla="*/ 89 h 381"/>
                <a:gd name="T2" fmla="*/ 321 w 378"/>
                <a:gd name="T3" fmla="*/ 75 h 381"/>
                <a:gd name="T4" fmla="*/ 314 w 378"/>
                <a:gd name="T5" fmla="*/ 76 h 381"/>
                <a:gd name="T6" fmla="*/ 311 w 378"/>
                <a:gd name="T7" fmla="*/ 72 h 381"/>
                <a:gd name="T8" fmla="*/ 300 w 378"/>
                <a:gd name="T9" fmla="*/ 69 h 381"/>
                <a:gd name="T10" fmla="*/ 288 w 378"/>
                <a:gd name="T11" fmla="*/ 61 h 381"/>
                <a:gd name="T12" fmla="*/ 284 w 378"/>
                <a:gd name="T13" fmla="*/ 44 h 381"/>
                <a:gd name="T14" fmla="*/ 269 w 378"/>
                <a:gd name="T15" fmla="*/ 52 h 381"/>
                <a:gd name="T16" fmla="*/ 268 w 378"/>
                <a:gd name="T17" fmla="*/ 39 h 381"/>
                <a:gd name="T18" fmla="*/ 253 w 378"/>
                <a:gd name="T19" fmla="*/ 34 h 381"/>
                <a:gd name="T20" fmla="*/ 243 w 378"/>
                <a:gd name="T21" fmla="*/ 23 h 381"/>
                <a:gd name="T22" fmla="*/ 229 w 378"/>
                <a:gd name="T23" fmla="*/ 14 h 381"/>
                <a:gd name="T24" fmla="*/ 227 w 378"/>
                <a:gd name="T25" fmla="*/ 0 h 381"/>
                <a:gd name="T26" fmla="*/ 190 w 378"/>
                <a:gd name="T27" fmla="*/ 37 h 381"/>
                <a:gd name="T28" fmla="*/ 138 w 378"/>
                <a:gd name="T29" fmla="*/ 70 h 381"/>
                <a:gd name="T30" fmla="*/ 99 w 378"/>
                <a:gd name="T31" fmla="*/ 48 h 381"/>
                <a:gd name="T32" fmla="*/ 97 w 378"/>
                <a:gd name="T33" fmla="*/ 67 h 381"/>
                <a:gd name="T34" fmla="*/ 71 w 378"/>
                <a:gd name="T35" fmla="*/ 89 h 381"/>
                <a:gd name="T36" fmla="*/ 37 w 378"/>
                <a:gd name="T37" fmla="*/ 79 h 381"/>
                <a:gd name="T38" fmla="*/ 3 w 378"/>
                <a:gd name="T39" fmla="*/ 90 h 381"/>
                <a:gd name="T40" fmla="*/ 4 w 378"/>
                <a:gd name="T41" fmla="*/ 106 h 381"/>
                <a:gd name="T42" fmla="*/ 28 w 378"/>
                <a:gd name="T43" fmla="*/ 121 h 381"/>
                <a:gd name="T44" fmla="*/ 65 w 378"/>
                <a:gd name="T45" fmla="*/ 138 h 381"/>
                <a:gd name="T46" fmla="*/ 72 w 378"/>
                <a:gd name="T47" fmla="*/ 162 h 381"/>
                <a:gd name="T48" fmla="*/ 75 w 378"/>
                <a:gd name="T49" fmla="*/ 181 h 381"/>
                <a:gd name="T50" fmla="*/ 83 w 378"/>
                <a:gd name="T51" fmla="*/ 195 h 381"/>
                <a:gd name="T52" fmla="*/ 89 w 378"/>
                <a:gd name="T53" fmla="*/ 208 h 381"/>
                <a:gd name="T54" fmla="*/ 93 w 378"/>
                <a:gd name="T55" fmla="*/ 224 h 381"/>
                <a:gd name="T56" fmla="*/ 89 w 378"/>
                <a:gd name="T57" fmla="*/ 232 h 381"/>
                <a:gd name="T58" fmla="*/ 74 w 378"/>
                <a:gd name="T59" fmla="*/ 297 h 381"/>
                <a:gd name="T60" fmla="*/ 108 w 378"/>
                <a:gd name="T61" fmla="*/ 354 h 381"/>
                <a:gd name="T62" fmla="*/ 154 w 378"/>
                <a:gd name="T63" fmla="*/ 366 h 381"/>
                <a:gd name="T64" fmla="*/ 154 w 378"/>
                <a:gd name="T65" fmla="*/ 370 h 381"/>
                <a:gd name="T66" fmla="*/ 158 w 378"/>
                <a:gd name="T67" fmla="*/ 371 h 381"/>
                <a:gd name="T68" fmla="*/ 209 w 378"/>
                <a:gd name="T69" fmla="*/ 375 h 381"/>
                <a:gd name="T70" fmla="*/ 216 w 378"/>
                <a:gd name="T71" fmla="*/ 341 h 381"/>
                <a:gd name="T72" fmla="*/ 256 w 378"/>
                <a:gd name="T73" fmla="*/ 335 h 381"/>
                <a:gd name="T74" fmla="*/ 298 w 378"/>
                <a:gd name="T75" fmla="*/ 351 h 381"/>
                <a:gd name="T76" fmla="*/ 339 w 378"/>
                <a:gd name="T77" fmla="*/ 332 h 381"/>
                <a:gd name="T78" fmla="*/ 347 w 378"/>
                <a:gd name="T79" fmla="*/ 327 h 381"/>
                <a:gd name="T80" fmla="*/ 349 w 378"/>
                <a:gd name="T81" fmla="*/ 327 h 381"/>
                <a:gd name="T82" fmla="*/ 350 w 378"/>
                <a:gd name="T83" fmla="*/ 326 h 381"/>
                <a:gd name="T84" fmla="*/ 351 w 378"/>
                <a:gd name="T85" fmla="*/ 326 h 381"/>
                <a:gd name="T86" fmla="*/ 349 w 378"/>
                <a:gd name="T87" fmla="*/ 310 h 381"/>
                <a:gd name="T88" fmla="*/ 328 w 378"/>
                <a:gd name="T89" fmla="*/ 271 h 381"/>
                <a:gd name="T90" fmla="*/ 332 w 378"/>
                <a:gd name="T91" fmla="*/ 238 h 381"/>
                <a:gd name="T92" fmla="*/ 336 w 378"/>
                <a:gd name="T93" fmla="*/ 224 h 381"/>
                <a:gd name="T94" fmla="*/ 334 w 378"/>
                <a:gd name="T95" fmla="*/ 213 h 381"/>
                <a:gd name="T96" fmla="*/ 318 w 378"/>
                <a:gd name="T97" fmla="*/ 212 h 381"/>
                <a:gd name="T98" fmla="*/ 313 w 378"/>
                <a:gd name="T99" fmla="*/ 223 h 381"/>
                <a:gd name="T100" fmla="*/ 313 w 378"/>
                <a:gd name="T101" fmla="*/ 218 h 381"/>
                <a:gd name="T102" fmla="*/ 313 w 378"/>
                <a:gd name="T103" fmla="*/ 206 h 381"/>
                <a:gd name="T104" fmla="*/ 323 w 378"/>
                <a:gd name="T105" fmla="*/ 195 h 381"/>
                <a:gd name="T106" fmla="*/ 328 w 378"/>
                <a:gd name="T107" fmla="*/ 187 h 381"/>
                <a:gd name="T108" fmla="*/ 335 w 378"/>
                <a:gd name="T109" fmla="*/ 179 h 381"/>
                <a:gd name="T110" fmla="*/ 342 w 378"/>
                <a:gd name="T111" fmla="*/ 169 h 381"/>
                <a:gd name="T112" fmla="*/ 341 w 378"/>
                <a:gd name="T113" fmla="*/ 166 h 381"/>
                <a:gd name="T114" fmla="*/ 349 w 378"/>
                <a:gd name="T115" fmla="*/ 167 h 381"/>
                <a:gd name="T116" fmla="*/ 356 w 378"/>
                <a:gd name="T117" fmla="*/ 162 h 381"/>
                <a:gd name="T118" fmla="*/ 357 w 378"/>
                <a:gd name="T119" fmla="*/ 151 h 381"/>
                <a:gd name="T120" fmla="*/ 368 w 378"/>
                <a:gd name="T121" fmla="*/ 97 h 381"/>
                <a:gd name="T122" fmla="*/ 158 w 378"/>
                <a:gd name="T123" fmla="*/ 371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8" h="381">
                  <a:moveTo>
                    <a:pt x="362" y="97"/>
                  </a:moveTo>
                  <a:cubicBezTo>
                    <a:pt x="359" y="95"/>
                    <a:pt x="359" y="95"/>
                    <a:pt x="359" y="95"/>
                  </a:cubicBezTo>
                  <a:cubicBezTo>
                    <a:pt x="356" y="91"/>
                    <a:pt x="356" y="91"/>
                    <a:pt x="356" y="91"/>
                  </a:cubicBezTo>
                  <a:cubicBezTo>
                    <a:pt x="353" y="92"/>
                    <a:pt x="353" y="92"/>
                    <a:pt x="353" y="92"/>
                  </a:cubicBezTo>
                  <a:cubicBezTo>
                    <a:pt x="351" y="94"/>
                    <a:pt x="351" y="94"/>
                    <a:pt x="351" y="94"/>
                  </a:cubicBezTo>
                  <a:cubicBezTo>
                    <a:pt x="345" y="92"/>
                    <a:pt x="345" y="92"/>
                    <a:pt x="345" y="92"/>
                  </a:cubicBezTo>
                  <a:cubicBezTo>
                    <a:pt x="341" y="89"/>
                    <a:pt x="341" y="89"/>
                    <a:pt x="341" y="89"/>
                  </a:cubicBezTo>
                  <a:cubicBezTo>
                    <a:pt x="338" y="91"/>
                    <a:pt x="338" y="91"/>
                    <a:pt x="338" y="91"/>
                  </a:cubicBezTo>
                  <a:cubicBezTo>
                    <a:pt x="335" y="89"/>
                    <a:pt x="335" y="89"/>
                    <a:pt x="335" y="89"/>
                  </a:cubicBezTo>
                  <a:cubicBezTo>
                    <a:pt x="333" y="85"/>
                    <a:pt x="333" y="85"/>
                    <a:pt x="333" y="85"/>
                  </a:cubicBezTo>
                  <a:cubicBezTo>
                    <a:pt x="332" y="81"/>
                    <a:pt x="332" y="81"/>
                    <a:pt x="332" y="81"/>
                  </a:cubicBezTo>
                  <a:cubicBezTo>
                    <a:pt x="328" y="77"/>
                    <a:pt x="328" y="77"/>
                    <a:pt x="328" y="77"/>
                  </a:cubicBezTo>
                  <a:cubicBezTo>
                    <a:pt x="326" y="78"/>
                    <a:pt x="326" y="78"/>
                    <a:pt x="326" y="78"/>
                  </a:cubicBezTo>
                  <a:cubicBezTo>
                    <a:pt x="326" y="78"/>
                    <a:pt x="326" y="78"/>
                    <a:pt x="326" y="78"/>
                  </a:cubicBezTo>
                  <a:cubicBezTo>
                    <a:pt x="325" y="78"/>
                    <a:pt x="323" y="77"/>
                    <a:pt x="323" y="77"/>
                  </a:cubicBezTo>
                  <a:cubicBezTo>
                    <a:pt x="323" y="76"/>
                    <a:pt x="323" y="76"/>
                    <a:pt x="323" y="76"/>
                  </a:cubicBezTo>
                  <a:cubicBezTo>
                    <a:pt x="322" y="75"/>
                    <a:pt x="322" y="75"/>
                    <a:pt x="322" y="75"/>
                  </a:cubicBezTo>
                  <a:cubicBezTo>
                    <a:pt x="321" y="75"/>
                    <a:pt x="321" y="75"/>
                    <a:pt x="321" y="75"/>
                  </a:cubicBezTo>
                  <a:cubicBezTo>
                    <a:pt x="319" y="76"/>
                    <a:pt x="319" y="76"/>
                    <a:pt x="319" y="76"/>
                  </a:cubicBezTo>
                  <a:cubicBezTo>
                    <a:pt x="319" y="77"/>
                    <a:pt x="319" y="77"/>
                    <a:pt x="319" y="77"/>
                  </a:cubicBezTo>
                  <a:cubicBezTo>
                    <a:pt x="318" y="77"/>
                    <a:pt x="318" y="77"/>
                    <a:pt x="318" y="77"/>
                  </a:cubicBezTo>
                  <a:cubicBezTo>
                    <a:pt x="317" y="78"/>
                    <a:pt x="317" y="78"/>
                    <a:pt x="317" y="78"/>
                  </a:cubicBezTo>
                  <a:cubicBezTo>
                    <a:pt x="317" y="77"/>
                    <a:pt x="317" y="77"/>
                    <a:pt x="317" y="77"/>
                  </a:cubicBezTo>
                  <a:cubicBezTo>
                    <a:pt x="317" y="77"/>
                    <a:pt x="317" y="78"/>
                    <a:pt x="317" y="78"/>
                  </a:cubicBezTo>
                  <a:cubicBezTo>
                    <a:pt x="316" y="78"/>
                    <a:pt x="315" y="78"/>
                    <a:pt x="315" y="78"/>
                  </a:cubicBezTo>
                  <a:cubicBezTo>
                    <a:pt x="314" y="78"/>
                    <a:pt x="314" y="78"/>
                    <a:pt x="314" y="78"/>
                  </a:cubicBezTo>
                  <a:cubicBezTo>
                    <a:pt x="314" y="76"/>
                    <a:pt x="314" y="76"/>
                    <a:pt x="314" y="76"/>
                  </a:cubicBezTo>
                  <a:cubicBezTo>
                    <a:pt x="314" y="76"/>
                    <a:pt x="314" y="76"/>
                    <a:pt x="314" y="76"/>
                  </a:cubicBezTo>
                  <a:cubicBezTo>
                    <a:pt x="313" y="75"/>
                    <a:pt x="313" y="75"/>
                    <a:pt x="313" y="75"/>
                  </a:cubicBezTo>
                  <a:cubicBezTo>
                    <a:pt x="312" y="75"/>
                    <a:pt x="312" y="75"/>
                    <a:pt x="312" y="75"/>
                  </a:cubicBezTo>
                  <a:cubicBezTo>
                    <a:pt x="312" y="75"/>
                    <a:pt x="311" y="74"/>
                    <a:pt x="311" y="74"/>
                  </a:cubicBezTo>
                  <a:cubicBezTo>
                    <a:pt x="311" y="74"/>
                    <a:pt x="310" y="74"/>
                    <a:pt x="310" y="74"/>
                  </a:cubicBezTo>
                  <a:cubicBezTo>
                    <a:pt x="309" y="73"/>
                    <a:pt x="309" y="73"/>
                    <a:pt x="309" y="73"/>
                  </a:cubicBezTo>
                  <a:cubicBezTo>
                    <a:pt x="311" y="73"/>
                    <a:pt x="311" y="73"/>
                    <a:pt x="311" y="73"/>
                  </a:cubicBezTo>
                  <a:cubicBezTo>
                    <a:pt x="311" y="73"/>
                    <a:pt x="311" y="72"/>
                    <a:pt x="311" y="72"/>
                  </a:cubicBezTo>
                  <a:cubicBezTo>
                    <a:pt x="311" y="72"/>
                    <a:pt x="311" y="72"/>
                    <a:pt x="311" y="72"/>
                  </a:cubicBezTo>
                  <a:cubicBezTo>
                    <a:pt x="311" y="72"/>
                    <a:pt x="310" y="72"/>
                    <a:pt x="310" y="72"/>
                  </a:cubicBezTo>
                  <a:cubicBezTo>
                    <a:pt x="308" y="72"/>
                    <a:pt x="308" y="72"/>
                    <a:pt x="308" y="72"/>
                  </a:cubicBezTo>
                  <a:cubicBezTo>
                    <a:pt x="308" y="73"/>
                    <a:pt x="308" y="73"/>
                    <a:pt x="308" y="73"/>
                  </a:cubicBezTo>
                  <a:cubicBezTo>
                    <a:pt x="306" y="73"/>
                    <a:pt x="306" y="73"/>
                    <a:pt x="306" y="73"/>
                  </a:cubicBezTo>
                  <a:cubicBezTo>
                    <a:pt x="305" y="73"/>
                    <a:pt x="305" y="73"/>
                    <a:pt x="305" y="73"/>
                  </a:cubicBezTo>
                  <a:cubicBezTo>
                    <a:pt x="302" y="73"/>
                    <a:pt x="302" y="73"/>
                    <a:pt x="302" y="73"/>
                  </a:cubicBezTo>
                  <a:cubicBezTo>
                    <a:pt x="301" y="72"/>
                    <a:pt x="301" y="72"/>
                    <a:pt x="301" y="72"/>
                  </a:cubicBezTo>
                  <a:cubicBezTo>
                    <a:pt x="301" y="70"/>
                    <a:pt x="301" y="70"/>
                    <a:pt x="301" y="70"/>
                  </a:cubicBezTo>
                  <a:cubicBezTo>
                    <a:pt x="300" y="69"/>
                    <a:pt x="300" y="69"/>
                    <a:pt x="300" y="69"/>
                  </a:cubicBezTo>
                  <a:cubicBezTo>
                    <a:pt x="299" y="69"/>
                    <a:pt x="299" y="69"/>
                    <a:pt x="299" y="69"/>
                  </a:cubicBezTo>
                  <a:cubicBezTo>
                    <a:pt x="297" y="69"/>
                    <a:pt x="297" y="69"/>
                    <a:pt x="297" y="69"/>
                  </a:cubicBezTo>
                  <a:cubicBezTo>
                    <a:pt x="297" y="67"/>
                    <a:pt x="297" y="67"/>
                    <a:pt x="297" y="67"/>
                  </a:cubicBezTo>
                  <a:cubicBezTo>
                    <a:pt x="297" y="67"/>
                    <a:pt x="297" y="65"/>
                    <a:pt x="296" y="65"/>
                  </a:cubicBezTo>
                  <a:cubicBezTo>
                    <a:pt x="296" y="65"/>
                    <a:pt x="295" y="66"/>
                    <a:pt x="295" y="66"/>
                  </a:cubicBezTo>
                  <a:cubicBezTo>
                    <a:pt x="293" y="63"/>
                    <a:pt x="293" y="63"/>
                    <a:pt x="293" y="63"/>
                  </a:cubicBezTo>
                  <a:cubicBezTo>
                    <a:pt x="293" y="63"/>
                    <a:pt x="293" y="63"/>
                    <a:pt x="293" y="63"/>
                  </a:cubicBezTo>
                  <a:cubicBezTo>
                    <a:pt x="292" y="62"/>
                    <a:pt x="291" y="61"/>
                    <a:pt x="291" y="61"/>
                  </a:cubicBezTo>
                  <a:cubicBezTo>
                    <a:pt x="290" y="61"/>
                    <a:pt x="288" y="61"/>
                    <a:pt x="288" y="61"/>
                  </a:cubicBezTo>
                  <a:cubicBezTo>
                    <a:pt x="288" y="61"/>
                    <a:pt x="288" y="60"/>
                    <a:pt x="287" y="60"/>
                  </a:cubicBezTo>
                  <a:cubicBezTo>
                    <a:pt x="287" y="60"/>
                    <a:pt x="284" y="60"/>
                    <a:pt x="284" y="60"/>
                  </a:cubicBezTo>
                  <a:cubicBezTo>
                    <a:pt x="284" y="60"/>
                    <a:pt x="284" y="58"/>
                    <a:pt x="285" y="57"/>
                  </a:cubicBezTo>
                  <a:cubicBezTo>
                    <a:pt x="285" y="57"/>
                    <a:pt x="285" y="54"/>
                    <a:pt x="285" y="54"/>
                  </a:cubicBezTo>
                  <a:cubicBezTo>
                    <a:pt x="284" y="53"/>
                    <a:pt x="284" y="53"/>
                    <a:pt x="284" y="53"/>
                  </a:cubicBezTo>
                  <a:cubicBezTo>
                    <a:pt x="284" y="53"/>
                    <a:pt x="284" y="53"/>
                    <a:pt x="284" y="51"/>
                  </a:cubicBezTo>
                  <a:cubicBezTo>
                    <a:pt x="285" y="50"/>
                    <a:pt x="285" y="50"/>
                    <a:pt x="285" y="48"/>
                  </a:cubicBezTo>
                  <a:cubicBezTo>
                    <a:pt x="286" y="46"/>
                    <a:pt x="286" y="45"/>
                    <a:pt x="286" y="45"/>
                  </a:cubicBezTo>
                  <a:cubicBezTo>
                    <a:pt x="284" y="44"/>
                    <a:pt x="284" y="44"/>
                    <a:pt x="284" y="44"/>
                  </a:cubicBezTo>
                  <a:cubicBezTo>
                    <a:pt x="284" y="44"/>
                    <a:pt x="284" y="44"/>
                    <a:pt x="283" y="45"/>
                  </a:cubicBezTo>
                  <a:cubicBezTo>
                    <a:pt x="283" y="46"/>
                    <a:pt x="282" y="46"/>
                    <a:pt x="282" y="46"/>
                  </a:cubicBezTo>
                  <a:cubicBezTo>
                    <a:pt x="281" y="48"/>
                    <a:pt x="281" y="48"/>
                    <a:pt x="281" y="48"/>
                  </a:cubicBezTo>
                  <a:cubicBezTo>
                    <a:pt x="280" y="51"/>
                    <a:pt x="280" y="51"/>
                    <a:pt x="280" y="51"/>
                  </a:cubicBezTo>
                  <a:cubicBezTo>
                    <a:pt x="280" y="51"/>
                    <a:pt x="281" y="52"/>
                    <a:pt x="279" y="52"/>
                  </a:cubicBezTo>
                  <a:cubicBezTo>
                    <a:pt x="277" y="52"/>
                    <a:pt x="276" y="52"/>
                    <a:pt x="276" y="52"/>
                  </a:cubicBezTo>
                  <a:cubicBezTo>
                    <a:pt x="276" y="52"/>
                    <a:pt x="277" y="53"/>
                    <a:pt x="275" y="53"/>
                  </a:cubicBezTo>
                  <a:cubicBezTo>
                    <a:pt x="273" y="53"/>
                    <a:pt x="271" y="53"/>
                    <a:pt x="271" y="53"/>
                  </a:cubicBezTo>
                  <a:cubicBezTo>
                    <a:pt x="269" y="52"/>
                    <a:pt x="269" y="52"/>
                    <a:pt x="269" y="52"/>
                  </a:cubicBezTo>
                  <a:cubicBezTo>
                    <a:pt x="266" y="52"/>
                    <a:pt x="266" y="52"/>
                    <a:pt x="266" y="52"/>
                  </a:cubicBezTo>
                  <a:cubicBezTo>
                    <a:pt x="266" y="52"/>
                    <a:pt x="266" y="52"/>
                    <a:pt x="266" y="50"/>
                  </a:cubicBezTo>
                  <a:cubicBezTo>
                    <a:pt x="266" y="49"/>
                    <a:pt x="265" y="48"/>
                    <a:pt x="266" y="48"/>
                  </a:cubicBezTo>
                  <a:cubicBezTo>
                    <a:pt x="267" y="48"/>
                    <a:pt x="268" y="47"/>
                    <a:pt x="268" y="47"/>
                  </a:cubicBezTo>
                  <a:cubicBezTo>
                    <a:pt x="267" y="45"/>
                    <a:pt x="267" y="45"/>
                    <a:pt x="267" y="45"/>
                  </a:cubicBezTo>
                  <a:cubicBezTo>
                    <a:pt x="267" y="45"/>
                    <a:pt x="267" y="45"/>
                    <a:pt x="267" y="45"/>
                  </a:cubicBezTo>
                  <a:cubicBezTo>
                    <a:pt x="267" y="45"/>
                    <a:pt x="266" y="44"/>
                    <a:pt x="266" y="44"/>
                  </a:cubicBezTo>
                  <a:cubicBezTo>
                    <a:pt x="266" y="43"/>
                    <a:pt x="267" y="41"/>
                    <a:pt x="267" y="41"/>
                  </a:cubicBezTo>
                  <a:cubicBezTo>
                    <a:pt x="268" y="41"/>
                    <a:pt x="268" y="39"/>
                    <a:pt x="268" y="39"/>
                  </a:cubicBezTo>
                  <a:cubicBezTo>
                    <a:pt x="267" y="39"/>
                    <a:pt x="267" y="39"/>
                    <a:pt x="267" y="39"/>
                  </a:cubicBezTo>
                  <a:cubicBezTo>
                    <a:pt x="267" y="39"/>
                    <a:pt x="266" y="40"/>
                    <a:pt x="265" y="38"/>
                  </a:cubicBezTo>
                  <a:cubicBezTo>
                    <a:pt x="265" y="37"/>
                    <a:pt x="264" y="35"/>
                    <a:pt x="264" y="35"/>
                  </a:cubicBezTo>
                  <a:cubicBezTo>
                    <a:pt x="264" y="35"/>
                    <a:pt x="263" y="35"/>
                    <a:pt x="263" y="35"/>
                  </a:cubicBezTo>
                  <a:cubicBezTo>
                    <a:pt x="262" y="35"/>
                    <a:pt x="262" y="35"/>
                    <a:pt x="261" y="35"/>
                  </a:cubicBezTo>
                  <a:cubicBezTo>
                    <a:pt x="261" y="36"/>
                    <a:pt x="258" y="35"/>
                    <a:pt x="258" y="35"/>
                  </a:cubicBezTo>
                  <a:cubicBezTo>
                    <a:pt x="258" y="35"/>
                    <a:pt x="257" y="35"/>
                    <a:pt x="256" y="35"/>
                  </a:cubicBezTo>
                  <a:cubicBezTo>
                    <a:pt x="256" y="35"/>
                    <a:pt x="255" y="36"/>
                    <a:pt x="255" y="36"/>
                  </a:cubicBezTo>
                  <a:cubicBezTo>
                    <a:pt x="253" y="34"/>
                    <a:pt x="253" y="34"/>
                    <a:pt x="253" y="34"/>
                  </a:cubicBezTo>
                  <a:cubicBezTo>
                    <a:pt x="254" y="32"/>
                    <a:pt x="254" y="32"/>
                    <a:pt x="254" y="32"/>
                  </a:cubicBezTo>
                  <a:cubicBezTo>
                    <a:pt x="254" y="32"/>
                    <a:pt x="252" y="30"/>
                    <a:pt x="252" y="30"/>
                  </a:cubicBezTo>
                  <a:cubicBezTo>
                    <a:pt x="252" y="29"/>
                    <a:pt x="251" y="28"/>
                    <a:pt x="251" y="28"/>
                  </a:cubicBezTo>
                  <a:cubicBezTo>
                    <a:pt x="250" y="28"/>
                    <a:pt x="250" y="28"/>
                    <a:pt x="250" y="28"/>
                  </a:cubicBezTo>
                  <a:cubicBezTo>
                    <a:pt x="249" y="26"/>
                    <a:pt x="249" y="26"/>
                    <a:pt x="249" y="26"/>
                  </a:cubicBezTo>
                  <a:cubicBezTo>
                    <a:pt x="249" y="26"/>
                    <a:pt x="247" y="27"/>
                    <a:pt x="247" y="27"/>
                  </a:cubicBezTo>
                  <a:cubicBezTo>
                    <a:pt x="246" y="27"/>
                    <a:pt x="246" y="27"/>
                    <a:pt x="245" y="27"/>
                  </a:cubicBezTo>
                  <a:cubicBezTo>
                    <a:pt x="245" y="27"/>
                    <a:pt x="244" y="26"/>
                    <a:pt x="244" y="25"/>
                  </a:cubicBezTo>
                  <a:cubicBezTo>
                    <a:pt x="244" y="24"/>
                    <a:pt x="244" y="24"/>
                    <a:pt x="243" y="23"/>
                  </a:cubicBezTo>
                  <a:cubicBezTo>
                    <a:pt x="243" y="22"/>
                    <a:pt x="242" y="20"/>
                    <a:pt x="242" y="20"/>
                  </a:cubicBezTo>
                  <a:cubicBezTo>
                    <a:pt x="242" y="19"/>
                    <a:pt x="243" y="18"/>
                    <a:pt x="242" y="18"/>
                  </a:cubicBezTo>
                  <a:cubicBezTo>
                    <a:pt x="242" y="17"/>
                    <a:pt x="241" y="16"/>
                    <a:pt x="241" y="16"/>
                  </a:cubicBezTo>
                  <a:cubicBezTo>
                    <a:pt x="239" y="14"/>
                    <a:pt x="239" y="14"/>
                    <a:pt x="239" y="14"/>
                  </a:cubicBezTo>
                  <a:cubicBezTo>
                    <a:pt x="239" y="14"/>
                    <a:pt x="237" y="15"/>
                    <a:pt x="236" y="15"/>
                  </a:cubicBezTo>
                  <a:cubicBezTo>
                    <a:pt x="236" y="15"/>
                    <a:pt x="234" y="15"/>
                    <a:pt x="234" y="15"/>
                  </a:cubicBezTo>
                  <a:cubicBezTo>
                    <a:pt x="234" y="16"/>
                    <a:pt x="234" y="17"/>
                    <a:pt x="234" y="17"/>
                  </a:cubicBezTo>
                  <a:cubicBezTo>
                    <a:pt x="233" y="18"/>
                    <a:pt x="231" y="17"/>
                    <a:pt x="231" y="16"/>
                  </a:cubicBezTo>
                  <a:cubicBezTo>
                    <a:pt x="230" y="16"/>
                    <a:pt x="230" y="15"/>
                    <a:pt x="229" y="14"/>
                  </a:cubicBezTo>
                  <a:cubicBezTo>
                    <a:pt x="229" y="14"/>
                    <a:pt x="229" y="13"/>
                    <a:pt x="228" y="13"/>
                  </a:cubicBezTo>
                  <a:cubicBezTo>
                    <a:pt x="228" y="13"/>
                    <a:pt x="226" y="13"/>
                    <a:pt x="226" y="12"/>
                  </a:cubicBezTo>
                  <a:cubicBezTo>
                    <a:pt x="226" y="11"/>
                    <a:pt x="227" y="9"/>
                    <a:pt x="227" y="9"/>
                  </a:cubicBezTo>
                  <a:cubicBezTo>
                    <a:pt x="226" y="7"/>
                    <a:pt x="226" y="7"/>
                    <a:pt x="226" y="7"/>
                  </a:cubicBezTo>
                  <a:cubicBezTo>
                    <a:pt x="226" y="7"/>
                    <a:pt x="227" y="5"/>
                    <a:pt x="226" y="5"/>
                  </a:cubicBezTo>
                  <a:cubicBezTo>
                    <a:pt x="226" y="4"/>
                    <a:pt x="225" y="3"/>
                    <a:pt x="225" y="3"/>
                  </a:cubicBezTo>
                  <a:cubicBezTo>
                    <a:pt x="225" y="1"/>
                    <a:pt x="225" y="1"/>
                    <a:pt x="225" y="1"/>
                  </a:cubicBezTo>
                  <a:cubicBezTo>
                    <a:pt x="226" y="0"/>
                    <a:pt x="226" y="0"/>
                    <a:pt x="226" y="0"/>
                  </a:cubicBezTo>
                  <a:cubicBezTo>
                    <a:pt x="226" y="0"/>
                    <a:pt x="226" y="0"/>
                    <a:pt x="227" y="0"/>
                  </a:cubicBezTo>
                  <a:cubicBezTo>
                    <a:pt x="209" y="3"/>
                    <a:pt x="209" y="3"/>
                    <a:pt x="209" y="3"/>
                  </a:cubicBezTo>
                  <a:cubicBezTo>
                    <a:pt x="200" y="3"/>
                    <a:pt x="200" y="3"/>
                    <a:pt x="200" y="3"/>
                  </a:cubicBezTo>
                  <a:cubicBezTo>
                    <a:pt x="197" y="7"/>
                    <a:pt x="197" y="7"/>
                    <a:pt x="197" y="7"/>
                  </a:cubicBezTo>
                  <a:cubicBezTo>
                    <a:pt x="196" y="11"/>
                    <a:pt x="196" y="11"/>
                    <a:pt x="196" y="11"/>
                  </a:cubicBezTo>
                  <a:cubicBezTo>
                    <a:pt x="196" y="18"/>
                    <a:pt x="196" y="18"/>
                    <a:pt x="196" y="18"/>
                  </a:cubicBezTo>
                  <a:cubicBezTo>
                    <a:pt x="194" y="22"/>
                    <a:pt x="194" y="22"/>
                    <a:pt x="194" y="22"/>
                  </a:cubicBezTo>
                  <a:cubicBezTo>
                    <a:pt x="194" y="27"/>
                    <a:pt x="194" y="27"/>
                    <a:pt x="194" y="27"/>
                  </a:cubicBezTo>
                  <a:cubicBezTo>
                    <a:pt x="193" y="34"/>
                    <a:pt x="193" y="34"/>
                    <a:pt x="193" y="34"/>
                  </a:cubicBezTo>
                  <a:cubicBezTo>
                    <a:pt x="190" y="37"/>
                    <a:pt x="190" y="37"/>
                    <a:pt x="190" y="37"/>
                  </a:cubicBezTo>
                  <a:cubicBezTo>
                    <a:pt x="184" y="42"/>
                    <a:pt x="184" y="42"/>
                    <a:pt x="184" y="42"/>
                  </a:cubicBezTo>
                  <a:cubicBezTo>
                    <a:pt x="176" y="45"/>
                    <a:pt x="176" y="45"/>
                    <a:pt x="176" y="45"/>
                  </a:cubicBezTo>
                  <a:cubicBezTo>
                    <a:pt x="166" y="48"/>
                    <a:pt x="166" y="48"/>
                    <a:pt x="166" y="48"/>
                  </a:cubicBezTo>
                  <a:cubicBezTo>
                    <a:pt x="157" y="50"/>
                    <a:pt x="157" y="50"/>
                    <a:pt x="157" y="50"/>
                  </a:cubicBezTo>
                  <a:cubicBezTo>
                    <a:pt x="151" y="54"/>
                    <a:pt x="151" y="54"/>
                    <a:pt x="151" y="54"/>
                  </a:cubicBezTo>
                  <a:cubicBezTo>
                    <a:pt x="149" y="60"/>
                    <a:pt x="149" y="60"/>
                    <a:pt x="149" y="60"/>
                  </a:cubicBezTo>
                  <a:cubicBezTo>
                    <a:pt x="148" y="67"/>
                    <a:pt x="148" y="67"/>
                    <a:pt x="148" y="67"/>
                  </a:cubicBezTo>
                  <a:cubicBezTo>
                    <a:pt x="143" y="69"/>
                    <a:pt x="143" y="69"/>
                    <a:pt x="143" y="69"/>
                  </a:cubicBezTo>
                  <a:cubicBezTo>
                    <a:pt x="143" y="69"/>
                    <a:pt x="140" y="71"/>
                    <a:pt x="138" y="70"/>
                  </a:cubicBezTo>
                  <a:cubicBezTo>
                    <a:pt x="136" y="70"/>
                    <a:pt x="131" y="68"/>
                    <a:pt x="131" y="68"/>
                  </a:cubicBezTo>
                  <a:cubicBezTo>
                    <a:pt x="131" y="68"/>
                    <a:pt x="125" y="65"/>
                    <a:pt x="123" y="65"/>
                  </a:cubicBezTo>
                  <a:cubicBezTo>
                    <a:pt x="121" y="65"/>
                    <a:pt x="117" y="60"/>
                    <a:pt x="117" y="60"/>
                  </a:cubicBezTo>
                  <a:cubicBezTo>
                    <a:pt x="113" y="64"/>
                    <a:pt x="113" y="64"/>
                    <a:pt x="113" y="64"/>
                  </a:cubicBezTo>
                  <a:cubicBezTo>
                    <a:pt x="113" y="64"/>
                    <a:pt x="110" y="62"/>
                    <a:pt x="110" y="60"/>
                  </a:cubicBezTo>
                  <a:cubicBezTo>
                    <a:pt x="110" y="59"/>
                    <a:pt x="110" y="59"/>
                    <a:pt x="110" y="57"/>
                  </a:cubicBezTo>
                  <a:cubicBezTo>
                    <a:pt x="110" y="55"/>
                    <a:pt x="110" y="51"/>
                    <a:pt x="110" y="51"/>
                  </a:cubicBezTo>
                  <a:cubicBezTo>
                    <a:pt x="104" y="49"/>
                    <a:pt x="104" y="49"/>
                    <a:pt x="104" y="49"/>
                  </a:cubicBezTo>
                  <a:cubicBezTo>
                    <a:pt x="99" y="48"/>
                    <a:pt x="99" y="48"/>
                    <a:pt x="99" y="48"/>
                  </a:cubicBezTo>
                  <a:cubicBezTo>
                    <a:pt x="99" y="48"/>
                    <a:pt x="99" y="49"/>
                    <a:pt x="97" y="48"/>
                  </a:cubicBezTo>
                  <a:cubicBezTo>
                    <a:pt x="95" y="46"/>
                    <a:pt x="95" y="43"/>
                    <a:pt x="95" y="43"/>
                  </a:cubicBezTo>
                  <a:cubicBezTo>
                    <a:pt x="90" y="41"/>
                    <a:pt x="90" y="41"/>
                    <a:pt x="90" y="41"/>
                  </a:cubicBezTo>
                  <a:cubicBezTo>
                    <a:pt x="88" y="47"/>
                    <a:pt x="88" y="47"/>
                    <a:pt x="88" y="47"/>
                  </a:cubicBezTo>
                  <a:cubicBezTo>
                    <a:pt x="94" y="52"/>
                    <a:pt x="94" y="52"/>
                    <a:pt x="94" y="52"/>
                  </a:cubicBezTo>
                  <a:cubicBezTo>
                    <a:pt x="96" y="55"/>
                    <a:pt x="96" y="55"/>
                    <a:pt x="96" y="55"/>
                  </a:cubicBezTo>
                  <a:cubicBezTo>
                    <a:pt x="94" y="60"/>
                    <a:pt x="94" y="60"/>
                    <a:pt x="94" y="60"/>
                  </a:cubicBezTo>
                  <a:cubicBezTo>
                    <a:pt x="96" y="64"/>
                    <a:pt x="96" y="64"/>
                    <a:pt x="96" y="64"/>
                  </a:cubicBezTo>
                  <a:cubicBezTo>
                    <a:pt x="97" y="67"/>
                    <a:pt x="97" y="67"/>
                    <a:pt x="97" y="67"/>
                  </a:cubicBezTo>
                  <a:cubicBezTo>
                    <a:pt x="97" y="67"/>
                    <a:pt x="98" y="67"/>
                    <a:pt x="97" y="69"/>
                  </a:cubicBezTo>
                  <a:cubicBezTo>
                    <a:pt x="97" y="71"/>
                    <a:pt x="96" y="79"/>
                    <a:pt x="96" y="79"/>
                  </a:cubicBezTo>
                  <a:cubicBezTo>
                    <a:pt x="97" y="86"/>
                    <a:pt x="97" y="86"/>
                    <a:pt x="97" y="86"/>
                  </a:cubicBezTo>
                  <a:cubicBezTo>
                    <a:pt x="99" y="92"/>
                    <a:pt x="99" y="92"/>
                    <a:pt x="99" y="92"/>
                  </a:cubicBezTo>
                  <a:cubicBezTo>
                    <a:pt x="99" y="92"/>
                    <a:pt x="95" y="94"/>
                    <a:pt x="93" y="94"/>
                  </a:cubicBezTo>
                  <a:cubicBezTo>
                    <a:pt x="92" y="94"/>
                    <a:pt x="88" y="93"/>
                    <a:pt x="88" y="93"/>
                  </a:cubicBezTo>
                  <a:cubicBezTo>
                    <a:pt x="86" y="88"/>
                    <a:pt x="86" y="88"/>
                    <a:pt x="86" y="88"/>
                  </a:cubicBezTo>
                  <a:cubicBezTo>
                    <a:pt x="77" y="89"/>
                    <a:pt x="77" y="89"/>
                    <a:pt x="77" y="89"/>
                  </a:cubicBezTo>
                  <a:cubicBezTo>
                    <a:pt x="71" y="89"/>
                    <a:pt x="71" y="89"/>
                    <a:pt x="71" y="89"/>
                  </a:cubicBezTo>
                  <a:cubicBezTo>
                    <a:pt x="66" y="92"/>
                    <a:pt x="66" y="92"/>
                    <a:pt x="66" y="92"/>
                  </a:cubicBezTo>
                  <a:cubicBezTo>
                    <a:pt x="63" y="91"/>
                    <a:pt x="63" y="91"/>
                    <a:pt x="63" y="91"/>
                  </a:cubicBezTo>
                  <a:cubicBezTo>
                    <a:pt x="60" y="88"/>
                    <a:pt x="60" y="88"/>
                    <a:pt x="60" y="88"/>
                  </a:cubicBezTo>
                  <a:cubicBezTo>
                    <a:pt x="59" y="83"/>
                    <a:pt x="59" y="83"/>
                    <a:pt x="59" y="83"/>
                  </a:cubicBezTo>
                  <a:cubicBezTo>
                    <a:pt x="57" y="79"/>
                    <a:pt x="57" y="79"/>
                    <a:pt x="57" y="79"/>
                  </a:cubicBezTo>
                  <a:cubicBezTo>
                    <a:pt x="54" y="75"/>
                    <a:pt x="54" y="75"/>
                    <a:pt x="54" y="75"/>
                  </a:cubicBezTo>
                  <a:cubicBezTo>
                    <a:pt x="43" y="76"/>
                    <a:pt x="43" y="76"/>
                    <a:pt x="43" y="76"/>
                  </a:cubicBezTo>
                  <a:cubicBezTo>
                    <a:pt x="40" y="76"/>
                    <a:pt x="40" y="76"/>
                    <a:pt x="40" y="76"/>
                  </a:cubicBezTo>
                  <a:cubicBezTo>
                    <a:pt x="37" y="79"/>
                    <a:pt x="37" y="79"/>
                    <a:pt x="37" y="79"/>
                  </a:cubicBezTo>
                  <a:cubicBezTo>
                    <a:pt x="32" y="78"/>
                    <a:pt x="32" y="78"/>
                    <a:pt x="32" y="78"/>
                  </a:cubicBezTo>
                  <a:cubicBezTo>
                    <a:pt x="31" y="81"/>
                    <a:pt x="31" y="81"/>
                    <a:pt x="31" y="81"/>
                  </a:cubicBezTo>
                  <a:cubicBezTo>
                    <a:pt x="25" y="79"/>
                    <a:pt x="25" y="79"/>
                    <a:pt x="25" y="79"/>
                  </a:cubicBezTo>
                  <a:cubicBezTo>
                    <a:pt x="20" y="79"/>
                    <a:pt x="20" y="79"/>
                    <a:pt x="20" y="79"/>
                  </a:cubicBezTo>
                  <a:cubicBezTo>
                    <a:pt x="15" y="79"/>
                    <a:pt x="15" y="79"/>
                    <a:pt x="15" y="79"/>
                  </a:cubicBezTo>
                  <a:cubicBezTo>
                    <a:pt x="8" y="81"/>
                    <a:pt x="8" y="81"/>
                    <a:pt x="8" y="81"/>
                  </a:cubicBezTo>
                  <a:cubicBezTo>
                    <a:pt x="4" y="84"/>
                    <a:pt x="4" y="84"/>
                    <a:pt x="4" y="84"/>
                  </a:cubicBezTo>
                  <a:cubicBezTo>
                    <a:pt x="0" y="90"/>
                    <a:pt x="0" y="90"/>
                    <a:pt x="0" y="90"/>
                  </a:cubicBezTo>
                  <a:cubicBezTo>
                    <a:pt x="0" y="90"/>
                    <a:pt x="2" y="90"/>
                    <a:pt x="3" y="90"/>
                  </a:cubicBezTo>
                  <a:cubicBezTo>
                    <a:pt x="4" y="91"/>
                    <a:pt x="11" y="91"/>
                    <a:pt x="11" y="91"/>
                  </a:cubicBezTo>
                  <a:cubicBezTo>
                    <a:pt x="13" y="93"/>
                    <a:pt x="13" y="93"/>
                    <a:pt x="13" y="93"/>
                  </a:cubicBezTo>
                  <a:cubicBezTo>
                    <a:pt x="8" y="96"/>
                    <a:pt x="8" y="96"/>
                    <a:pt x="8" y="96"/>
                  </a:cubicBezTo>
                  <a:cubicBezTo>
                    <a:pt x="12" y="97"/>
                    <a:pt x="12" y="97"/>
                    <a:pt x="12" y="97"/>
                  </a:cubicBezTo>
                  <a:cubicBezTo>
                    <a:pt x="13" y="99"/>
                    <a:pt x="13" y="99"/>
                    <a:pt x="13" y="99"/>
                  </a:cubicBezTo>
                  <a:cubicBezTo>
                    <a:pt x="13" y="102"/>
                    <a:pt x="13" y="102"/>
                    <a:pt x="13" y="102"/>
                  </a:cubicBezTo>
                  <a:cubicBezTo>
                    <a:pt x="4" y="103"/>
                    <a:pt x="4" y="103"/>
                    <a:pt x="4" y="103"/>
                  </a:cubicBezTo>
                  <a:cubicBezTo>
                    <a:pt x="4" y="103"/>
                    <a:pt x="2" y="102"/>
                    <a:pt x="1" y="103"/>
                  </a:cubicBezTo>
                  <a:cubicBezTo>
                    <a:pt x="1" y="105"/>
                    <a:pt x="4" y="106"/>
                    <a:pt x="4" y="106"/>
                  </a:cubicBezTo>
                  <a:cubicBezTo>
                    <a:pt x="8" y="108"/>
                    <a:pt x="8" y="108"/>
                    <a:pt x="8" y="108"/>
                  </a:cubicBezTo>
                  <a:cubicBezTo>
                    <a:pt x="7" y="116"/>
                    <a:pt x="7" y="116"/>
                    <a:pt x="7" y="116"/>
                  </a:cubicBezTo>
                  <a:cubicBezTo>
                    <a:pt x="11" y="116"/>
                    <a:pt x="11" y="116"/>
                    <a:pt x="11" y="116"/>
                  </a:cubicBezTo>
                  <a:cubicBezTo>
                    <a:pt x="15" y="116"/>
                    <a:pt x="15" y="116"/>
                    <a:pt x="15" y="116"/>
                  </a:cubicBezTo>
                  <a:cubicBezTo>
                    <a:pt x="15" y="116"/>
                    <a:pt x="16" y="114"/>
                    <a:pt x="18" y="114"/>
                  </a:cubicBezTo>
                  <a:cubicBezTo>
                    <a:pt x="21" y="113"/>
                    <a:pt x="23" y="114"/>
                    <a:pt x="23" y="114"/>
                  </a:cubicBezTo>
                  <a:cubicBezTo>
                    <a:pt x="23" y="114"/>
                    <a:pt x="23" y="113"/>
                    <a:pt x="24" y="117"/>
                  </a:cubicBezTo>
                  <a:cubicBezTo>
                    <a:pt x="25" y="120"/>
                    <a:pt x="25" y="120"/>
                    <a:pt x="25" y="120"/>
                  </a:cubicBezTo>
                  <a:cubicBezTo>
                    <a:pt x="28" y="121"/>
                    <a:pt x="28" y="121"/>
                    <a:pt x="28" y="121"/>
                  </a:cubicBezTo>
                  <a:cubicBezTo>
                    <a:pt x="30" y="121"/>
                    <a:pt x="30" y="121"/>
                    <a:pt x="30" y="121"/>
                  </a:cubicBezTo>
                  <a:cubicBezTo>
                    <a:pt x="30" y="121"/>
                    <a:pt x="33" y="124"/>
                    <a:pt x="34" y="124"/>
                  </a:cubicBezTo>
                  <a:cubicBezTo>
                    <a:pt x="36" y="125"/>
                    <a:pt x="40" y="128"/>
                    <a:pt x="40" y="128"/>
                  </a:cubicBezTo>
                  <a:cubicBezTo>
                    <a:pt x="41" y="129"/>
                    <a:pt x="41" y="129"/>
                    <a:pt x="41" y="129"/>
                  </a:cubicBezTo>
                  <a:cubicBezTo>
                    <a:pt x="41" y="133"/>
                    <a:pt x="41" y="133"/>
                    <a:pt x="41" y="133"/>
                  </a:cubicBezTo>
                  <a:cubicBezTo>
                    <a:pt x="41" y="133"/>
                    <a:pt x="45" y="134"/>
                    <a:pt x="47" y="134"/>
                  </a:cubicBezTo>
                  <a:cubicBezTo>
                    <a:pt x="49" y="134"/>
                    <a:pt x="54" y="133"/>
                    <a:pt x="54" y="133"/>
                  </a:cubicBezTo>
                  <a:cubicBezTo>
                    <a:pt x="56" y="136"/>
                    <a:pt x="56" y="136"/>
                    <a:pt x="56" y="136"/>
                  </a:cubicBezTo>
                  <a:cubicBezTo>
                    <a:pt x="58" y="136"/>
                    <a:pt x="65" y="138"/>
                    <a:pt x="65" y="138"/>
                  </a:cubicBezTo>
                  <a:cubicBezTo>
                    <a:pt x="63" y="141"/>
                    <a:pt x="63" y="141"/>
                    <a:pt x="63" y="141"/>
                  </a:cubicBezTo>
                  <a:cubicBezTo>
                    <a:pt x="60" y="144"/>
                    <a:pt x="60" y="144"/>
                    <a:pt x="60" y="144"/>
                  </a:cubicBezTo>
                  <a:cubicBezTo>
                    <a:pt x="60" y="147"/>
                    <a:pt x="60" y="147"/>
                    <a:pt x="60" y="147"/>
                  </a:cubicBezTo>
                  <a:cubicBezTo>
                    <a:pt x="60" y="147"/>
                    <a:pt x="60" y="146"/>
                    <a:pt x="63" y="147"/>
                  </a:cubicBezTo>
                  <a:cubicBezTo>
                    <a:pt x="66" y="148"/>
                    <a:pt x="69" y="150"/>
                    <a:pt x="69" y="150"/>
                  </a:cubicBezTo>
                  <a:cubicBezTo>
                    <a:pt x="68" y="154"/>
                    <a:pt x="68" y="154"/>
                    <a:pt x="68" y="154"/>
                  </a:cubicBezTo>
                  <a:cubicBezTo>
                    <a:pt x="71" y="157"/>
                    <a:pt x="71" y="157"/>
                    <a:pt x="71" y="157"/>
                  </a:cubicBezTo>
                  <a:cubicBezTo>
                    <a:pt x="71" y="157"/>
                    <a:pt x="73" y="159"/>
                    <a:pt x="73" y="160"/>
                  </a:cubicBezTo>
                  <a:cubicBezTo>
                    <a:pt x="73" y="161"/>
                    <a:pt x="72" y="162"/>
                    <a:pt x="72" y="162"/>
                  </a:cubicBezTo>
                  <a:cubicBezTo>
                    <a:pt x="70" y="162"/>
                    <a:pt x="70" y="162"/>
                    <a:pt x="70" y="162"/>
                  </a:cubicBezTo>
                  <a:cubicBezTo>
                    <a:pt x="70" y="162"/>
                    <a:pt x="70" y="163"/>
                    <a:pt x="69" y="162"/>
                  </a:cubicBezTo>
                  <a:cubicBezTo>
                    <a:pt x="68" y="160"/>
                    <a:pt x="66" y="159"/>
                    <a:pt x="66" y="159"/>
                  </a:cubicBezTo>
                  <a:cubicBezTo>
                    <a:pt x="66" y="161"/>
                    <a:pt x="66" y="161"/>
                    <a:pt x="66" y="161"/>
                  </a:cubicBezTo>
                  <a:cubicBezTo>
                    <a:pt x="66" y="161"/>
                    <a:pt x="67" y="165"/>
                    <a:pt x="68" y="166"/>
                  </a:cubicBezTo>
                  <a:cubicBezTo>
                    <a:pt x="69" y="166"/>
                    <a:pt x="70" y="165"/>
                    <a:pt x="69" y="167"/>
                  </a:cubicBezTo>
                  <a:cubicBezTo>
                    <a:pt x="69" y="169"/>
                    <a:pt x="70" y="173"/>
                    <a:pt x="71" y="174"/>
                  </a:cubicBezTo>
                  <a:cubicBezTo>
                    <a:pt x="71" y="176"/>
                    <a:pt x="71" y="179"/>
                    <a:pt x="73" y="180"/>
                  </a:cubicBezTo>
                  <a:cubicBezTo>
                    <a:pt x="74" y="180"/>
                    <a:pt x="75" y="181"/>
                    <a:pt x="75" y="181"/>
                  </a:cubicBezTo>
                  <a:cubicBezTo>
                    <a:pt x="76" y="183"/>
                    <a:pt x="76" y="183"/>
                    <a:pt x="76" y="183"/>
                  </a:cubicBezTo>
                  <a:cubicBezTo>
                    <a:pt x="81" y="187"/>
                    <a:pt x="81" y="187"/>
                    <a:pt x="81" y="187"/>
                  </a:cubicBezTo>
                  <a:cubicBezTo>
                    <a:pt x="81" y="187"/>
                    <a:pt x="84" y="189"/>
                    <a:pt x="86" y="190"/>
                  </a:cubicBezTo>
                  <a:cubicBezTo>
                    <a:pt x="88" y="191"/>
                    <a:pt x="89" y="191"/>
                    <a:pt x="89" y="191"/>
                  </a:cubicBezTo>
                  <a:cubicBezTo>
                    <a:pt x="92" y="195"/>
                    <a:pt x="92" y="195"/>
                    <a:pt x="92" y="195"/>
                  </a:cubicBezTo>
                  <a:cubicBezTo>
                    <a:pt x="92" y="195"/>
                    <a:pt x="95" y="199"/>
                    <a:pt x="94" y="199"/>
                  </a:cubicBezTo>
                  <a:cubicBezTo>
                    <a:pt x="93" y="199"/>
                    <a:pt x="94" y="199"/>
                    <a:pt x="92" y="199"/>
                  </a:cubicBezTo>
                  <a:cubicBezTo>
                    <a:pt x="90" y="200"/>
                    <a:pt x="91" y="201"/>
                    <a:pt x="89" y="200"/>
                  </a:cubicBezTo>
                  <a:cubicBezTo>
                    <a:pt x="87" y="198"/>
                    <a:pt x="86" y="195"/>
                    <a:pt x="83" y="195"/>
                  </a:cubicBezTo>
                  <a:cubicBezTo>
                    <a:pt x="81" y="196"/>
                    <a:pt x="81" y="196"/>
                    <a:pt x="81" y="196"/>
                  </a:cubicBezTo>
                  <a:cubicBezTo>
                    <a:pt x="85" y="200"/>
                    <a:pt x="85" y="200"/>
                    <a:pt x="85" y="200"/>
                  </a:cubicBezTo>
                  <a:cubicBezTo>
                    <a:pt x="87" y="201"/>
                    <a:pt x="87" y="201"/>
                    <a:pt x="87" y="201"/>
                  </a:cubicBezTo>
                  <a:cubicBezTo>
                    <a:pt x="91" y="203"/>
                    <a:pt x="91" y="203"/>
                    <a:pt x="91" y="203"/>
                  </a:cubicBezTo>
                  <a:cubicBezTo>
                    <a:pt x="92" y="203"/>
                    <a:pt x="92" y="203"/>
                    <a:pt x="92" y="203"/>
                  </a:cubicBezTo>
                  <a:cubicBezTo>
                    <a:pt x="92" y="203"/>
                    <a:pt x="92" y="206"/>
                    <a:pt x="92" y="206"/>
                  </a:cubicBezTo>
                  <a:cubicBezTo>
                    <a:pt x="92" y="207"/>
                    <a:pt x="91" y="209"/>
                    <a:pt x="91" y="210"/>
                  </a:cubicBezTo>
                  <a:cubicBezTo>
                    <a:pt x="91" y="212"/>
                    <a:pt x="91" y="213"/>
                    <a:pt x="91" y="213"/>
                  </a:cubicBezTo>
                  <a:cubicBezTo>
                    <a:pt x="89" y="208"/>
                    <a:pt x="89" y="208"/>
                    <a:pt x="89" y="208"/>
                  </a:cubicBezTo>
                  <a:cubicBezTo>
                    <a:pt x="89" y="208"/>
                    <a:pt x="89" y="206"/>
                    <a:pt x="87" y="206"/>
                  </a:cubicBezTo>
                  <a:cubicBezTo>
                    <a:pt x="86" y="205"/>
                    <a:pt x="84" y="206"/>
                    <a:pt x="84" y="206"/>
                  </a:cubicBezTo>
                  <a:cubicBezTo>
                    <a:pt x="84" y="206"/>
                    <a:pt x="84" y="208"/>
                    <a:pt x="85" y="209"/>
                  </a:cubicBezTo>
                  <a:cubicBezTo>
                    <a:pt x="86" y="209"/>
                    <a:pt x="87" y="210"/>
                    <a:pt x="87" y="211"/>
                  </a:cubicBezTo>
                  <a:cubicBezTo>
                    <a:pt x="87" y="212"/>
                    <a:pt x="88" y="212"/>
                    <a:pt x="88" y="212"/>
                  </a:cubicBezTo>
                  <a:cubicBezTo>
                    <a:pt x="88" y="212"/>
                    <a:pt x="89" y="213"/>
                    <a:pt x="89" y="214"/>
                  </a:cubicBezTo>
                  <a:cubicBezTo>
                    <a:pt x="90" y="216"/>
                    <a:pt x="89" y="219"/>
                    <a:pt x="89" y="219"/>
                  </a:cubicBezTo>
                  <a:cubicBezTo>
                    <a:pt x="89" y="219"/>
                    <a:pt x="87" y="219"/>
                    <a:pt x="89" y="220"/>
                  </a:cubicBezTo>
                  <a:cubicBezTo>
                    <a:pt x="91" y="222"/>
                    <a:pt x="92" y="223"/>
                    <a:pt x="93" y="224"/>
                  </a:cubicBezTo>
                  <a:cubicBezTo>
                    <a:pt x="94" y="224"/>
                    <a:pt x="97" y="228"/>
                    <a:pt x="97" y="228"/>
                  </a:cubicBezTo>
                  <a:cubicBezTo>
                    <a:pt x="100" y="232"/>
                    <a:pt x="100" y="232"/>
                    <a:pt x="100" y="232"/>
                  </a:cubicBezTo>
                  <a:cubicBezTo>
                    <a:pt x="100" y="232"/>
                    <a:pt x="100" y="233"/>
                    <a:pt x="99" y="233"/>
                  </a:cubicBezTo>
                  <a:cubicBezTo>
                    <a:pt x="99" y="233"/>
                    <a:pt x="98" y="234"/>
                    <a:pt x="98" y="234"/>
                  </a:cubicBezTo>
                  <a:cubicBezTo>
                    <a:pt x="98" y="234"/>
                    <a:pt x="96" y="233"/>
                    <a:pt x="96" y="232"/>
                  </a:cubicBezTo>
                  <a:cubicBezTo>
                    <a:pt x="95" y="231"/>
                    <a:pt x="93" y="228"/>
                    <a:pt x="93" y="228"/>
                  </a:cubicBezTo>
                  <a:cubicBezTo>
                    <a:pt x="91" y="228"/>
                    <a:pt x="91" y="228"/>
                    <a:pt x="91" y="228"/>
                  </a:cubicBezTo>
                  <a:cubicBezTo>
                    <a:pt x="90" y="228"/>
                    <a:pt x="90" y="228"/>
                    <a:pt x="90" y="228"/>
                  </a:cubicBezTo>
                  <a:cubicBezTo>
                    <a:pt x="90" y="228"/>
                    <a:pt x="89" y="231"/>
                    <a:pt x="89" y="232"/>
                  </a:cubicBezTo>
                  <a:cubicBezTo>
                    <a:pt x="89" y="233"/>
                    <a:pt x="86" y="237"/>
                    <a:pt x="86" y="237"/>
                  </a:cubicBezTo>
                  <a:cubicBezTo>
                    <a:pt x="84" y="247"/>
                    <a:pt x="84" y="247"/>
                    <a:pt x="84" y="247"/>
                  </a:cubicBezTo>
                  <a:cubicBezTo>
                    <a:pt x="84" y="247"/>
                    <a:pt x="84" y="258"/>
                    <a:pt x="84" y="259"/>
                  </a:cubicBezTo>
                  <a:cubicBezTo>
                    <a:pt x="84" y="260"/>
                    <a:pt x="81" y="268"/>
                    <a:pt x="81" y="268"/>
                  </a:cubicBezTo>
                  <a:cubicBezTo>
                    <a:pt x="81" y="268"/>
                    <a:pt x="80" y="268"/>
                    <a:pt x="80" y="271"/>
                  </a:cubicBezTo>
                  <a:cubicBezTo>
                    <a:pt x="80" y="273"/>
                    <a:pt x="79" y="278"/>
                    <a:pt x="79" y="278"/>
                  </a:cubicBezTo>
                  <a:cubicBezTo>
                    <a:pt x="79" y="278"/>
                    <a:pt x="78" y="281"/>
                    <a:pt x="78" y="282"/>
                  </a:cubicBezTo>
                  <a:cubicBezTo>
                    <a:pt x="78" y="284"/>
                    <a:pt x="75" y="290"/>
                    <a:pt x="75" y="290"/>
                  </a:cubicBezTo>
                  <a:cubicBezTo>
                    <a:pt x="74" y="297"/>
                    <a:pt x="74" y="297"/>
                    <a:pt x="74" y="297"/>
                  </a:cubicBezTo>
                  <a:cubicBezTo>
                    <a:pt x="68" y="311"/>
                    <a:pt x="68" y="311"/>
                    <a:pt x="68" y="311"/>
                  </a:cubicBezTo>
                  <a:cubicBezTo>
                    <a:pt x="63" y="315"/>
                    <a:pt x="63" y="315"/>
                    <a:pt x="63" y="315"/>
                  </a:cubicBezTo>
                  <a:cubicBezTo>
                    <a:pt x="60" y="317"/>
                    <a:pt x="60" y="317"/>
                    <a:pt x="60" y="317"/>
                  </a:cubicBezTo>
                  <a:cubicBezTo>
                    <a:pt x="62" y="318"/>
                    <a:pt x="65" y="319"/>
                    <a:pt x="65" y="321"/>
                  </a:cubicBezTo>
                  <a:cubicBezTo>
                    <a:pt x="67" y="325"/>
                    <a:pt x="70" y="332"/>
                    <a:pt x="70" y="332"/>
                  </a:cubicBezTo>
                  <a:cubicBezTo>
                    <a:pt x="80" y="335"/>
                    <a:pt x="80" y="335"/>
                    <a:pt x="80" y="335"/>
                  </a:cubicBezTo>
                  <a:cubicBezTo>
                    <a:pt x="80" y="335"/>
                    <a:pt x="86" y="340"/>
                    <a:pt x="87" y="341"/>
                  </a:cubicBezTo>
                  <a:cubicBezTo>
                    <a:pt x="88" y="342"/>
                    <a:pt x="100" y="347"/>
                    <a:pt x="100" y="347"/>
                  </a:cubicBezTo>
                  <a:cubicBezTo>
                    <a:pt x="108" y="354"/>
                    <a:pt x="108" y="354"/>
                    <a:pt x="108" y="354"/>
                  </a:cubicBezTo>
                  <a:cubicBezTo>
                    <a:pt x="120" y="354"/>
                    <a:pt x="120" y="354"/>
                    <a:pt x="120" y="354"/>
                  </a:cubicBezTo>
                  <a:cubicBezTo>
                    <a:pt x="128" y="356"/>
                    <a:pt x="128" y="356"/>
                    <a:pt x="128" y="356"/>
                  </a:cubicBezTo>
                  <a:cubicBezTo>
                    <a:pt x="132" y="351"/>
                    <a:pt x="132" y="351"/>
                    <a:pt x="132" y="351"/>
                  </a:cubicBezTo>
                  <a:cubicBezTo>
                    <a:pt x="132" y="351"/>
                    <a:pt x="152" y="360"/>
                    <a:pt x="153" y="360"/>
                  </a:cubicBezTo>
                  <a:cubicBezTo>
                    <a:pt x="153" y="360"/>
                    <a:pt x="154" y="363"/>
                    <a:pt x="154" y="365"/>
                  </a:cubicBezTo>
                  <a:cubicBezTo>
                    <a:pt x="154" y="365"/>
                    <a:pt x="154" y="365"/>
                    <a:pt x="154" y="365"/>
                  </a:cubicBezTo>
                  <a:cubicBezTo>
                    <a:pt x="154" y="366"/>
                    <a:pt x="154" y="366"/>
                    <a:pt x="154" y="366"/>
                  </a:cubicBezTo>
                  <a:cubicBezTo>
                    <a:pt x="154" y="366"/>
                    <a:pt x="154" y="366"/>
                    <a:pt x="154" y="366"/>
                  </a:cubicBezTo>
                  <a:cubicBezTo>
                    <a:pt x="154" y="366"/>
                    <a:pt x="154" y="366"/>
                    <a:pt x="154" y="366"/>
                  </a:cubicBezTo>
                  <a:cubicBezTo>
                    <a:pt x="155" y="368"/>
                    <a:pt x="155" y="368"/>
                    <a:pt x="155" y="368"/>
                  </a:cubicBezTo>
                  <a:cubicBezTo>
                    <a:pt x="154" y="368"/>
                    <a:pt x="154" y="368"/>
                    <a:pt x="154" y="368"/>
                  </a:cubicBezTo>
                  <a:cubicBezTo>
                    <a:pt x="154" y="368"/>
                    <a:pt x="154" y="368"/>
                    <a:pt x="154" y="368"/>
                  </a:cubicBezTo>
                  <a:cubicBezTo>
                    <a:pt x="154" y="368"/>
                    <a:pt x="153" y="369"/>
                    <a:pt x="154" y="369"/>
                  </a:cubicBezTo>
                  <a:cubicBezTo>
                    <a:pt x="154" y="369"/>
                    <a:pt x="154" y="369"/>
                    <a:pt x="154" y="369"/>
                  </a:cubicBezTo>
                  <a:cubicBezTo>
                    <a:pt x="154" y="369"/>
                    <a:pt x="154" y="369"/>
                    <a:pt x="154" y="369"/>
                  </a:cubicBezTo>
                  <a:cubicBezTo>
                    <a:pt x="154" y="369"/>
                    <a:pt x="154" y="369"/>
                    <a:pt x="154" y="369"/>
                  </a:cubicBezTo>
                  <a:cubicBezTo>
                    <a:pt x="154" y="370"/>
                    <a:pt x="154" y="370"/>
                    <a:pt x="154" y="370"/>
                  </a:cubicBezTo>
                  <a:cubicBezTo>
                    <a:pt x="154" y="370"/>
                    <a:pt x="154" y="370"/>
                    <a:pt x="154" y="370"/>
                  </a:cubicBezTo>
                  <a:cubicBezTo>
                    <a:pt x="154" y="371"/>
                    <a:pt x="154" y="371"/>
                    <a:pt x="154" y="371"/>
                  </a:cubicBezTo>
                  <a:cubicBezTo>
                    <a:pt x="154" y="371"/>
                    <a:pt x="155" y="371"/>
                    <a:pt x="155" y="371"/>
                  </a:cubicBezTo>
                  <a:cubicBezTo>
                    <a:pt x="155" y="371"/>
                    <a:pt x="156" y="372"/>
                    <a:pt x="156" y="372"/>
                  </a:cubicBezTo>
                  <a:cubicBezTo>
                    <a:pt x="156" y="372"/>
                    <a:pt x="157" y="372"/>
                    <a:pt x="157" y="372"/>
                  </a:cubicBezTo>
                  <a:cubicBezTo>
                    <a:pt x="157" y="372"/>
                    <a:pt x="157" y="372"/>
                    <a:pt x="157" y="372"/>
                  </a:cubicBezTo>
                  <a:cubicBezTo>
                    <a:pt x="157" y="372"/>
                    <a:pt x="157" y="372"/>
                    <a:pt x="157" y="372"/>
                  </a:cubicBezTo>
                  <a:cubicBezTo>
                    <a:pt x="158" y="372"/>
                    <a:pt x="158" y="372"/>
                    <a:pt x="158" y="372"/>
                  </a:cubicBezTo>
                  <a:cubicBezTo>
                    <a:pt x="158" y="372"/>
                    <a:pt x="158" y="371"/>
                    <a:pt x="158" y="371"/>
                  </a:cubicBezTo>
                  <a:cubicBezTo>
                    <a:pt x="158" y="371"/>
                    <a:pt x="158" y="371"/>
                    <a:pt x="158" y="371"/>
                  </a:cubicBezTo>
                  <a:cubicBezTo>
                    <a:pt x="169" y="373"/>
                    <a:pt x="169" y="373"/>
                    <a:pt x="169" y="373"/>
                  </a:cubicBezTo>
                  <a:cubicBezTo>
                    <a:pt x="171" y="374"/>
                    <a:pt x="171" y="376"/>
                    <a:pt x="174" y="377"/>
                  </a:cubicBezTo>
                  <a:cubicBezTo>
                    <a:pt x="180" y="375"/>
                    <a:pt x="180" y="375"/>
                    <a:pt x="180" y="375"/>
                  </a:cubicBezTo>
                  <a:cubicBezTo>
                    <a:pt x="188" y="381"/>
                    <a:pt x="188" y="381"/>
                    <a:pt x="188" y="381"/>
                  </a:cubicBezTo>
                  <a:cubicBezTo>
                    <a:pt x="195" y="378"/>
                    <a:pt x="195" y="378"/>
                    <a:pt x="195" y="378"/>
                  </a:cubicBezTo>
                  <a:cubicBezTo>
                    <a:pt x="203" y="378"/>
                    <a:pt x="203" y="378"/>
                    <a:pt x="203" y="378"/>
                  </a:cubicBezTo>
                  <a:cubicBezTo>
                    <a:pt x="203" y="377"/>
                    <a:pt x="206" y="377"/>
                    <a:pt x="208" y="378"/>
                  </a:cubicBezTo>
                  <a:cubicBezTo>
                    <a:pt x="208" y="378"/>
                    <a:pt x="208" y="378"/>
                    <a:pt x="208" y="378"/>
                  </a:cubicBezTo>
                  <a:cubicBezTo>
                    <a:pt x="209" y="375"/>
                    <a:pt x="209" y="375"/>
                    <a:pt x="209" y="375"/>
                  </a:cubicBezTo>
                  <a:cubicBezTo>
                    <a:pt x="209" y="375"/>
                    <a:pt x="209" y="371"/>
                    <a:pt x="208" y="370"/>
                  </a:cubicBezTo>
                  <a:cubicBezTo>
                    <a:pt x="208" y="369"/>
                    <a:pt x="206" y="368"/>
                    <a:pt x="206" y="368"/>
                  </a:cubicBezTo>
                  <a:cubicBezTo>
                    <a:pt x="206" y="368"/>
                    <a:pt x="207" y="365"/>
                    <a:pt x="207" y="364"/>
                  </a:cubicBezTo>
                  <a:cubicBezTo>
                    <a:pt x="207" y="362"/>
                    <a:pt x="207" y="359"/>
                    <a:pt x="207" y="359"/>
                  </a:cubicBezTo>
                  <a:cubicBezTo>
                    <a:pt x="207" y="358"/>
                    <a:pt x="207" y="355"/>
                    <a:pt x="208" y="354"/>
                  </a:cubicBezTo>
                  <a:cubicBezTo>
                    <a:pt x="208" y="354"/>
                    <a:pt x="207" y="354"/>
                    <a:pt x="208" y="352"/>
                  </a:cubicBezTo>
                  <a:cubicBezTo>
                    <a:pt x="210" y="350"/>
                    <a:pt x="210" y="349"/>
                    <a:pt x="210" y="349"/>
                  </a:cubicBezTo>
                  <a:cubicBezTo>
                    <a:pt x="213" y="344"/>
                    <a:pt x="213" y="344"/>
                    <a:pt x="213" y="344"/>
                  </a:cubicBezTo>
                  <a:cubicBezTo>
                    <a:pt x="213" y="344"/>
                    <a:pt x="215" y="341"/>
                    <a:pt x="216" y="341"/>
                  </a:cubicBezTo>
                  <a:cubicBezTo>
                    <a:pt x="217" y="341"/>
                    <a:pt x="220" y="340"/>
                    <a:pt x="221" y="340"/>
                  </a:cubicBezTo>
                  <a:cubicBezTo>
                    <a:pt x="222" y="340"/>
                    <a:pt x="225" y="343"/>
                    <a:pt x="227" y="340"/>
                  </a:cubicBezTo>
                  <a:cubicBezTo>
                    <a:pt x="228" y="338"/>
                    <a:pt x="229" y="336"/>
                    <a:pt x="229" y="335"/>
                  </a:cubicBezTo>
                  <a:cubicBezTo>
                    <a:pt x="230" y="334"/>
                    <a:pt x="231" y="332"/>
                    <a:pt x="233" y="332"/>
                  </a:cubicBezTo>
                  <a:cubicBezTo>
                    <a:pt x="235" y="332"/>
                    <a:pt x="241" y="331"/>
                    <a:pt x="241" y="331"/>
                  </a:cubicBezTo>
                  <a:cubicBezTo>
                    <a:pt x="244" y="332"/>
                    <a:pt x="244" y="332"/>
                    <a:pt x="244" y="332"/>
                  </a:cubicBezTo>
                  <a:cubicBezTo>
                    <a:pt x="250" y="335"/>
                    <a:pt x="250" y="335"/>
                    <a:pt x="250" y="335"/>
                  </a:cubicBezTo>
                  <a:cubicBezTo>
                    <a:pt x="250" y="335"/>
                    <a:pt x="253" y="335"/>
                    <a:pt x="254" y="335"/>
                  </a:cubicBezTo>
                  <a:cubicBezTo>
                    <a:pt x="255" y="335"/>
                    <a:pt x="256" y="335"/>
                    <a:pt x="256" y="335"/>
                  </a:cubicBezTo>
                  <a:cubicBezTo>
                    <a:pt x="258" y="338"/>
                    <a:pt x="258" y="338"/>
                    <a:pt x="258" y="338"/>
                  </a:cubicBezTo>
                  <a:cubicBezTo>
                    <a:pt x="258" y="338"/>
                    <a:pt x="261" y="339"/>
                    <a:pt x="262" y="339"/>
                  </a:cubicBezTo>
                  <a:cubicBezTo>
                    <a:pt x="263" y="339"/>
                    <a:pt x="269" y="338"/>
                    <a:pt x="269" y="338"/>
                  </a:cubicBezTo>
                  <a:cubicBezTo>
                    <a:pt x="269" y="338"/>
                    <a:pt x="272" y="337"/>
                    <a:pt x="272" y="338"/>
                  </a:cubicBezTo>
                  <a:cubicBezTo>
                    <a:pt x="273" y="338"/>
                    <a:pt x="276" y="340"/>
                    <a:pt x="276" y="340"/>
                  </a:cubicBezTo>
                  <a:cubicBezTo>
                    <a:pt x="276" y="341"/>
                    <a:pt x="283" y="344"/>
                    <a:pt x="284" y="345"/>
                  </a:cubicBezTo>
                  <a:cubicBezTo>
                    <a:pt x="285" y="346"/>
                    <a:pt x="288" y="345"/>
                    <a:pt x="288" y="345"/>
                  </a:cubicBezTo>
                  <a:cubicBezTo>
                    <a:pt x="290" y="349"/>
                    <a:pt x="290" y="349"/>
                    <a:pt x="290" y="349"/>
                  </a:cubicBezTo>
                  <a:cubicBezTo>
                    <a:pt x="298" y="351"/>
                    <a:pt x="298" y="351"/>
                    <a:pt x="298" y="351"/>
                  </a:cubicBezTo>
                  <a:cubicBezTo>
                    <a:pt x="302" y="351"/>
                    <a:pt x="302" y="351"/>
                    <a:pt x="302" y="351"/>
                  </a:cubicBezTo>
                  <a:cubicBezTo>
                    <a:pt x="313" y="356"/>
                    <a:pt x="313" y="356"/>
                    <a:pt x="313" y="356"/>
                  </a:cubicBezTo>
                  <a:cubicBezTo>
                    <a:pt x="320" y="350"/>
                    <a:pt x="320" y="350"/>
                    <a:pt x="320" y="350"/>
                  </a:cubicBezTo>
                  <a:cubicBezTo>
                    <a:pt x="320" y="350"/>
                    <a:pt x="322" y="350"/>
                    <a:pt x="323" y="350"/>
                  </a:cubicBezTo>
                  <a:cubicBezTo>
                    <a:pt x="323" y="351"/>
                    <a:pt x="325" y="344"/>
                    <a:pt x="325" y="344"/>
                  </a:cubicBezTo>
                  <a:cubicBezTo>
                    <a:pt x="325" y="344"/>
                    <a:pt x="324" y="343"/>
                    <a:pt x="326" y="343"/>
                  </a:cubicBezTo>
                  <a:cubicBezTo>
                    <a:pt x="327" y="343"/>
                    <a:pt x="333" y="341"/>
                    <a:pt x="333" y="340"/>
                  </a:cubicBezTo>
                  <a:cubicBezTo>
                    <a:pt x="333" y="339"/>
                    <a:pt x="332" y="336"/>
                    <a:pt x="334" y="335"/>
                  </a:cubicBezTo>
                  <a:cubicBezTo>
                    <a:pt x="336" y="335"/>
                    <a:pt x="339" y="332"/>
                    <a:pt x="339" y="332"/>
                  </a:cubicBezTo>
                  <a:cubicBezTo>
                    <a:pt x="340" y="331"/>
                    <a:pt x="339" y="330"/>
                    <a:pt x="341" y="329"/>
                  </a:cubicBezTo>
                  <a:cubicBezTo>
                    <a:pt x="342" y="329"/>
                    <a:pt x="345" y="328"/>
                    <a:pt x="346" y="328"/>
                  </a:cubicBezTo>
                  <a:cubicBezTo>
                    <a:pt x="346" y="328"/>
                    <a:pt x="346" y="328"/>
                    <a:pt x="346" y="328"/>
                  </a:cubicBezTo>
                  <a:cubicBezTo>
                    <a:pt x="347" y="328"/>
                    <a:pt x="347" y="328"/>
                    <a:pt x="347" y="328"/>
                  </a:cubicBezTo>
                  <a:cubicBezTo>
                    <a:pt x="347" y="328"/>
                    <a:pt x="347" y="328"/>
                    <a:pt x="347" y="328"/>
                  </a:cubicBezTo>
                  <a:cubicBezTo>
                    <a:pt x="347" y="328"/>
                    <a:pt x="347" y="328"/>
                    <a:pt x="347" y="328"/>
                  </a:cubicBezTo>
                  <a:cubicBezTo>
                    <a:pt x="347" y="328"/>
                    <a:pt x="347" y="328"/>
                    <a:pt x="347" y="328"/>
                  </a:cubicBezTo>
                  <a:cubicBezTo>
                    <a:pt x="347" y="328"/>
                    <a:pt x="347" y="328"/>
                    <a:pt x="347" y="327"/>
                  </a:cubicBezTo>
                  <a:cubicBezTo>
                    <a:pt x="347" y="327"/>
                    <a:pt x="347" y="327"/>
                    <a:pt x="347" y="327"/>
                  </a:cubicBezTo>
                  <a:cubicBezTo>
                    <a:pt x="347" y="327"/>
                    <a:pt x="347" y="327"/>
                    <a:pt x="347" y="327"/>
                  </a:cubicBezTo>
                  <a:cubicBezTo>
                    <a:pt x="347" y="327"/>
                    <a:pt x="347" y="327"/>
                    <a:pt x="347" y="327"/>
                  </a:cubicBezTo>
                  <a:cubicBezTo>
                    <a:pt x="348" y="327"/>
                    <a:pt x="348" y="327"/>
                    <a:pt x="348" y="327"/>
                  </a:cubicBezTo>
                  <a:cubicBezTo>
                    <a:pt x="348" y="327"/>
                    <a:pt x="348" y="327"/>
                    <a:pt x="348" y="327"/>
                  </a:cubicBezTo>
                  <a:cubicBezTo>
                    <a:pt x="348" y="327"/>
                    <a:pt x="348" y="327"/>
                    <a:pt x="348" y="327"/>
                  </a:cubicBezTo>
                  <a:cubicBezTo>
                    <a:pt x="348" y="327"/>
                    <a:pt x="348" y="327"/>
                    <a:pt x="348" y="327"/>
                  </a:cubicBezTo>
                  <a:cubicBezTo>
                    <a:pt x="348" y="327"/>
                    <a:pt x="349" y="327"/>
                    <a:pt x="349" y="327"/>
                  </a:cubicBezTo>
                  <a:cubicBezTo>
                    <a:pt x="349" y="327"/>
                    <a:pt x="349" y="327"/>
                    <a:pt x="349" y="327"/>
                  </a:cubicBezTo>
                  <a:cubicBezTo>
                    <a:pt x="349" y="327"/>
                    <a:pt x="349" y="327"/>
                    <a:pt x="349" y="327"/>
                  </a:cubicBezTo>
                  <a:cubicBezTo>
                    <a:pt x="349" y="327"/>
                    <a:pt x="349" y="327"/>
                    <a:pt x="349" y="327"/>
                  </a:cubicBezTo>
                  <a:cubicBezTo>
                    <a:pt x="349" y="327"/>
                    <a:pt x="349" y="327"/>
                    <a:pt x="349" y="327"/>
                  </a:cubicBezTo>
                  <a:cubicBezTo>
                    <a:pt x="349" y="327"/>
                    <a:pt x="349" y="327"/>
                    <a:pt x="349" y="327"/>
                  </a:cubicBezTo>
                  <a:cubicBezTo>
                    <a:pt x="349" y="327"/>
                    <a:pt x="349" y="327"/>
                    <a:pt x="349" y="327"/>
                  </a:cubicBezTo>
                  <a:cubicBezTo>
                    <a:pt x="349" y="326"/>
                    <a:pt x="349" y="326"/>
                    <a:pt x="349" y="326"/>
                  </a:cubicBezTo>
                  <a:cubicBezTo>
                    <a:pt x="349" y="326"/>
                    <a:pt x="349" y="326"/>
                    <a:pt x="349" y="326"/>
                  </a:cubicBezTo>
                  <a:cubicBezTo>
                    <a:pt x="349" y="326"/>
                    <a:pt x="349" y="326"/>
                    <a:pt x="349" y="326"/>
                  </a:cubicBezTo>
                  <a:cubicBezTo>
                    <a:pt x="349" y="326"/>
                    <a:pt x="349" y="326"/>
                    <a:pt x="349" y="326"/>
                  </a:cubicBezTo>
                  <a:cubicBezTo>
                    <a:pt x="350" y="326"/>
                    <a:pt x="350" y="326"/>
                    <a:pt x="350" y="326"/>
                  </a:cubicBezTo>
                  <a:cubicBezTo>
                    <a:pt x="350" y="326"/>
                    <a:pt x="350" y="326"/>
                    <a:pt x="350" y="326"/>
                  </a:cubicBezTo>
                  <a:cubicBezTo>
                    <a:pt x="350" y="326"/>
                    <a:pt x="350" y="326"/>
                    <a:pt x="350" y="326"/>
                  </a:cubicBezTo>
                  <a:cubicBezTo>
                    <a:pt x="350" y="326"/>
                    <a:pt x="350" y="326"/>
                    <a:pt x="350" y="326"/>
                  </a:cubicBezTo>
                  <a:cubicBezTo>
                    <a:pt x="350" y="326"/>
                    <a:pt x="350" y="326"/>
                    <a:pt x="350" y="326"/>
                  </a:cubicBezTo>
                  <a:cubicBezTo>
                    <a:pt x="350" y="326"/>
                    <a:pt x="350" y="326"/>
                    <a:pt x="350" y="326"/>
                  </a:cubicBezTo>
                  <a:cubicBezTo>
                    <a:pt x="350" y="326"/>
                    <a:pt x="350" y="326"/>
                    <a:pt x="350" y="326"/>
                  </a:cubicBezTo>
                  <a:cubicBezTo>
                    <a:pt x="350" y="326"/>
                    <a:pt x="350" y="326"/>
                    <a:pt x="350" y="326"/>
                  </a:cubicBezTo>
                  <a:cubicBezTo>
                    <a:pt x="350" y="326"/>
                    <a:pt x="350" y="326"/>
                    <a:pt x="350" y="326"/>
                  </a:cubicBezTo>
                  <a:cubicBezTo>
                    <a:pt x="351" y="326"/>
                    <a:pt x="351" y="326"/>
                    <a:pt x="351" y="326"/>
                  </a:cubicBezTo>
                  <a:cubicBezTo>
                    <a:pt x="351" y="326"/>
                    <a:pt x="351" y="326"/>
                    <a:pt x="351" y="326"/>
                  </a:cubicBezTo>
                  <a:cubicBezTo>
                    <a:pt x="351" y="326"/>
                    <a:pt x="351" y="326"/>
                    <a:pt x="351" y="326"/>
                  </a:cubicBezTo>
                  <a:cubicBezTo>
                    <a:pt x="351" y="326"/>
                    <a:pt x="351" y="326"/>
                    <a:pt x="351" y="326"/>
                  </a:cubicBezTo>
                  <a:cubicBezTo>
                    <a:pt x="351" y="326"/>
                    <a:pt x="351" y="326"/>
                    <a:pt x="351" y="326"/>
                  </a:cubicBezTo>
                  <a:cubicBezTo>
                    <a:pt x="352" y="325"/>
                    <a:pt x="352" y="325"/>
                    <a:pt x="352" y="325"/>
                  </a:cubicBezTo>
                  <a:cubicBezTo>
                    <a:pt x="357" y="321"/>
                    <a:pt x="357" y="321"/>
                    <a:pt x="357" y="321"/>
                  </a:cubicBezTo>
                  <a:cubicBezTo>
                    <a:pt x="359" y="312"/>
                    <a:pt x="359" y="312"/>
                    <a:pt x="359" y="312"/>
                  </a:cubicBezTo>
                  <a:cubicBezTo>
                    <a:pt x="356" y="309"/>
                    <a:pt x="356" y="309"/>
                    <a:pt x="356" y="309"/>
                  </a:cubicBezTo>
                  <a:cubicBezTo>
                    <a:pt x="349" y="310"/>
                    <a:pt x="349" y="310"/>
                    <a:pt x="349" y="310"/>
                  </a:cubicBezTo>
                  <a:cubicBezTo>
                    <a:pt x="341" y="306"/>
                    <a:pt x="341" y="306"/>
                    <a:pt x="341" y="306"/>
                  </a:cubicBezTo>
                  <a:cubicBezTo>
                    <a:pt x="337" y="300"/>
                    <a:pt x="337" y="300"/>
                    <a:pt x="337" y="300"/>
                  </a:cubicBezTo>
                  <a:cubicBezTo>
                    <a:pt x="334" y="300"/>
                    <a:pt x="334" y="300"/>
                    <a:pt x="334" y="300"/>
                  </a:cubicBezTo>
                  <a:cubicBezTo>
                    <a:pt x="334" y="294"/>
                    <a:pt x="332" y="297"/>
                    <a:pt x="335" y="293"/>
                  </a:cubicBezTo>
                  <a:cubicBezTo>
                    <a:pt x="338" y="288"/>
                    <a:pt x="338" y="288"/>
                    <a:pt x="338" y="288"/>
                  </a:cubicBezTo>
                  <a:cubicBezTo>
                    <a:pt x="338" y="280"/>
                    <a:pt x="338" y="280"/>
                    <a:pt x="338" y="280"/>
                  </a:cubicBezTo>
                  <a:cubicBezTo>
                    <a:pt x="335" y="277"/>
                    <a:pt x="335" y="277"/>
                    <a:pt x="335" y="277"/>
                  </a:cubicBezTo>
                  <a:cubicBezTo>
                    <a:pt x="331" y="276"/>
                    <a:pt x="331" y="276"/>
                    <a:pt x="331" y="276"/>
                  </a:cubicBezTo>
                  <a:cubicBezTo>
                    <a:pt x="331" y="276"/>
                    <a:pt x="328" y="272"/>
                    <a:pt x="328" y="271"/>
                  </a:cubicBezTo>
                  <a:cubicBezTo>
                    <a:pt x="328" y="271"/>
                    <a:pt x="328" y="270"/>
                    <a:pt x="328" y="269"/>
                  </a:cubicBezTo>
                  <a:cubicBezTo>
                    <a:pt x="327" y="269"/>
                    <a:pt x="330" y="269"/>
                    <a:pt x="331" y="269"/>
                  </a:cubicBezTo>
                  <a:cubicBezTo>
                    <a:pt x="331" y="269"/>
                    <a:pt x="334" y="268"/>
                    <a:pt x="334" y="268"/>
                  </a:cubicBezTo>
                  <a:cubicBezTo>
                    <a:pt x="335" y="268"/>
                    <a:pt x="338" y="265"/>
                    <a:pt x="338" y="265"/>
                  </a:cubicBezTo>
                  <a:cubicBezTo>
                    <a:pt x="338" y="265"/>
                    <a:pt x="340" y="262"/>
                    <a:pt x="342" y="261"/>
                  </a:cubicBezTo>
                  <a:cubicBezTo>
                    <a:pt x="343" y="260"/>
                    <a:pt x="344" y="253"/>
                    <a:pt x="344" y="253"/>
                  </a:cubicBezTo>
                  <a:cubicBezTo>
                    <a:pt x="344" y="252"/>
                    <a:pt x="342" y="249"/>
                    <a:pt x="342" y="249"/>
                  </a:cubicBezTo>
                  <a:cubicBezTo>
                    <a:pt x="335" y="245"/>
                    <a:pt x="336" y="244"/>
                    <a:pt x="332" y="242"/>
                  </a:cubicBezTo>
                  <a:cubicBezTo>
                    <a:pt x="332" y="238"/>
                    <a:pt x="332" y="238"/>
                    <a:pt x="332" y="238"/>
                  </a:cubicBezTo>
                  <a:cubicBezTo>
                    <a:pt x="337" y="235"/>
                    <a:pt x="337" y="235"/>
                    <a:pt x="337" y="235"/>
                  </a:cubicBezTo>
                  <a:cubicBezTo>
                    <a:pt x="338" y="234"/>
                    <a:pt x="339" y="234"/>
                    <a:pt x="340" y="233"/>
                  </a:cubicBezTo>
                  <a:cubicBezTo>
                    <a:pt x="340" y="232"/>
                    <a:pt x="340" y="232"/>
                    <a:pt x="340" y="232"/>
                  </a:cubicBezTo>
                  <a:cubicBezTo>
                    <a:pt x="340" y="232"/>
                    <a:pt x="339" y="230"/>
                    <a:pt x="339" y="230"/>
                  </a:cubicBezTo>
                  <a:cubicBezTo>
                    <a:pt x="339" y="230"/>
                    <a:pt x="338" y="229"/>
                    <a:pt x="338" y="229"/>
                  </a:cubicBezTo>
                  <a:cubicBezTo>
                    <a:pt x="337" y="229"/>
                    <a:pt x="337" y="228"/>
                    <a:pt x="337" y="228"/>
                  </a:cubicBezTo>
                  <a:cubicBezTo>
                    <a:pt x="337" y="228"/>
                    <a:pt x="336" y="228"/>
                    <a:pt x="335" y="228"/>
                  </a:cubicBezTo>
                  <a:cubicBezTo>
                    <a:pt x="335" y="228"/>
                    <a:pt x="336" y="226"/>
                    <a:pt x="336" y="226"/>
                  </a:cubicBezTo>
                  <a:cubicBezTo>
                    <a:pt x="336" y="226"/>
                    <a:pt x="336" y="224"/>
                    <a:pt x="336" y="224"/>
                  </a:cubicBezTo>
                  <a:cubicBezTo>
                    <a:pt x="336" y="224"/>
                    <a:pt x="334" y="224"/>
                    <a:pt x="333" y="223"/>
                  </a:cubicBezTo>
                  <a:cubicBezTo>
                    <a:pt x="333" y="223"/>
                    <a:pt x="333" y="223"/>
                    <a:pt x="333" y="223"/>
                  </a:cubicBezTo>
                  <a:cubicBezTo>
                    <a:pt x="333" y="223"/>
                    <a:pt x="333" y="221"/>
                    <a:pt x="334" y="220"/>
                  </a:cubicBezTo>
                  <a:cubicBezTo>
                    <a:pt x="335" y="220"/>
                    <a:pt x="334" y="219"/>
                    <a:pt x="334" y="219"/>
                  </a:cubicBezTo>
                  <a:cubicBezTo>
                    <a:pt x="334" y="219"/>
                    <a:pt x="334" y="218"/>
                    <a:pt x="335" y="217"/>
                  </a:cubicBezTo>
                  <a:cubicBezTo>
                    <a:pt x="335" y="216"/>
                    <a:pt x="335" y="216"/>
                    <a:pt x="335" y="216"/>
                  </a:cubicBezTo>
                  <a:cubicBezTo>
                    <a:pt x="335" y="216"/>
                    <a:pt x="333" y="215"/>
                    <a:pt x="333" y="215"/>
                  </a:cubicBezTo>
                  <a:cubicBezTo>
                    <a:pt x="332" y="215"/>
                    <a:pt x="332" y="215"/>
                    <a:pt x="333" y="214"/>
                  </a:cubicBezTo>
                  <a:cubicBezTo>
                    <a:pt x="334" y="213"/>
                    <a:pt x="334" y="213"/>
                    <a:pt x="334" y="213"/>
                  </a:cubicBezTo>
                  <a:cubicBezTo>
                    <a:pt x="334" y="211"/>
                    <a:pt x="334" y="211"/>
                    <a:pt x="334" y="211"/>
                  </a:cubicBezTo>
                  <a:cubicBezTo>
                    <a:pt x="332" y="211"/>
                    <a:pt x="332" y="211"/>
                    <a:pt x="332" y="211"/>
                  </a:cubicBezTo>
                  <a:cubicBezTo>
                    <a:pt x="330" y="210"/>
                    <a:pt x="330" y="210"/>
                    <a:pt x="330" y="210"/>
                  </a:cubicBezTo>
                  <a:cubicBezTo>
                    <a:pt x="330" y="210"/>
                    <a:pt x="327" y="210"/>
                    <a:pt x="327" y="210"/>
                  </a:cubicBezTo>
                  <a:cubicBezTo>
                    <a:pt x="327" y="210"/>
                    <a:pt x="325" y="210"/>
                    <a:pt x="325" y="210"/>
                  </a:cubicBezTo>
                  <a:cubicBezTo>
                    <a:pt x="323" y="210"/>
                    <a:pt x="323" y="210"/>
                    <a:pt x="323" y="210"/>
                  </a:cubicBezTo>
                  <a:cubicBezTo>
                    <a:pt x="322" y="211"/>
                    <a:pt x="322" y="211"/>
                    <a:pt x="322" y="211"/>
                  </a:cubicBezTo>
                  <a:cubicBezTo>
                    <a:pt x="320" y="212"/>
                    <a:pt x="320" y="212"/>
                    <a:pt x="320" y="212"/>
                  </a:cubicBezTo>
                  <a:cubicBezTo>
                    <a:pt x="318" y="212"/>
                    <a:pt x="318" y="212"/>
                    <a:pt x="318" y="212"/>
                  </a:cubicBezTo>
                  <a:cubicBezTo>
                    <a:pt x="318" y="212"/>
                    <a:pt x="317" y="214"/>
                    <a:pt x="316" y="214"/>
                  </a:cubicBezTo>
                  <a:cubicBezTo>
                    <a:pt x="316" y="215"/>
                    <a:pt x="316" y="216"/>
                    <a:pt x="316" y="216"/>
                  </a:cubicBezTo>
                  <a:cubicBezTo>
                    <a:pt x="317" y="217"/>
                    <a:pt x="317" y="217"/>
                    <a:pt x="317" y="217"/>
                  </a:cubicBezTo>
                  <a:cubicBezTo>
                    <a:pt x="317" y="218"/>
                    <a:pt x="317" y="218"/>
                    <a:pt x="317" y="218"/>
                  </a:cubicBezTo>
                  <a:cubicBezTo>
                    <a:pt x="318" y="218"/>
                    <a:pt x="318" y="218"/>
                    <a:pt x="318" y="218"/>
                  </a:cubicBezTo>
                  <a:cubicBezTo>
                    <a:pt x="318" y="219"/>
                    <a:pt x="318" y="219"/>
                    <a:pt x="318" y="219"/>
                  </a:cubicBezTo>
                  <a:cubicBezTo>
                    <a:pt x="318" y="219"/>
                    <a:pt x="316" y="220"/>
                    <a:pt x="316" y="221"/>
                  </a:cubicBezTo>
                  <a:cubicBezTo>
                    <a:pt x="315" y="221"/>
                    <a:pt x="315" y="222"/>
                    <a:pt x="315" y="222"/>
                  </a:cubicBezTo>
                  <a:cubicBezTo>
                    <a:pt x="313" y="223"/>
                    <a:pt x="313" y="223"/>
                    <a:pt x="313" y="223"/>
                  </a:cubicBezTo>
                  <a:cubicBezTo>
                    <a:pt x="311" y="222"/>
                    <a:pt x="311" y="222"/>
                    <a:pt x="311" y="222"/>
                  </a:cubicBezTo>
                  <a:cubicBezTo>
                    <a:pt x="310" y="223"/>
                    <a:pt x="310" y="223"/>
                    <a:pt x="310" y="223"/>
                  </a:cubicBezTo>
                  <a:cubicBezTo>
                    <a:pt x="309" y="223"/>
                    <a:pt x="309" y="223"/>
                    <a:pt x="309" y="223"/>
                  </a:cubicBezTo>
                  <a:cubicBezTo>
                    <a:pt x="309" y="221"/>
                    <a:pt x="309" y="221"/>
                    <a:pt x="309" y="221"/>
                  </a:cubicBezTo>
                  <a:cubicBezTo>
                    <a:pt x="308" y="221"/>
                    <a:pt x="308" y="221"/>
                    <a:pt x="308" y="221"/>
                  </a:cubicBezTo>
                  <a:cubicBezTo>
                    <a:pt x="308" y="220"/>
                    <a:pt x="308" y="220"/>
                    <a:pt x="308" y="220"/>
                  </a:cubicBezTo>
                  <a:cubicBezTo>
                    <a:pt x="308" y="220"/>
                    <a:pt x="309" y="219"/>
                    <a:pt x="310" y="219"/>
                  </a:cubicBezTo>
                  <a:cubicBezTo>
                    <a:pt x="310" y="219"/>
                    <a:pt x="311" y="218"/>
                    <a:pt x="311" y="218"/>
                  </a:cubicBezTo>
                  <a:cubicBezTo>
                    <a:pt x="313" y="218"/>
                    <a:pt x="313" y="218"/>
                    <a:pt x="313" y="218"/>
                  </a:cubicBezTo>
                  <a:cubicBezTo>
                    <a:pt x="313" y="217"/>
                    <a:pt x="313" y="217"/>
                    <a:pt x="313" y="217"/>
                  </a:cubicBezTo>
                  <a:cubicBezTo>
                    <a:pt x="313" y="215"/>
                    <a:pt x="313" y="215"/>
                    <a:pt x="313" y="215"/>
                  </a:cubicBezTo>
                  <a:cubicBezTo>
                    <a:pt x="314" y="213"/>
                    <a:pt x="314" y="213"/>
                    <a:pt x="314" y="213"/>
                  </a:cubicBezTo>
                  <a:cubicBezTo>
                    <a:pt x="313" y="212"/>
                    <a:pt x="313" y="212"/>
                    <a:pt x="313" y="212"/>
                  </a:cubicBezTo>
                  <a:cubicBezTo>
                    <a:pt x="312" y="211"/>
                    <a:pt x="312" y="211"/>
                    <a:pt x="312" y="211"/>
                  </a:cubicBezTo>
                  <a:cubicBezTo>
                    <a:pt x="312" y="210"/>
                    <a:pt x="312" y="210"/>
                    <a:pt x="312" y="210"/>
                  </a:cubicBezTo>
                  <a:cubicBezTo>
                    <a:pt x="312" y="208"/>
                    <a:pt x="312" y="208"/>
                    <a:pt x="312" y="208"/>
                  </a:cubicBezTo>
                  <a:cubicBezTo>
                    <a:pt x="312" y="207"/>
                    <a:pt x="312" y="207"/>
                    <a:pt x="312" y="207"/>
                  </a:cubicBezTo>
                  <a:cubicBezTo>
                    <a:pt x="312" y="207"/>
                    <a:pt x="313" y="207"/>
                    <a:pt x="313" y="206"/>
                  </a:cubicBezTo>
                  <a:cubicBezTo>
                    <a:pt x="314" y="206"/>
                    <a:pt x="314" y="205"/>
                    <a:pt x="314" y="204"/>
                  </a:cubicBezTo>
                  <a:cubicBezTo>
                    <a:pt x="314" y="204"/>
                    <a:pt x="313" y="204"/>
                    <a:pt x="313" y="204"/>
                  </a:cubicBezTo>
                  <a:cubicBezTo>
                    <a:pt x="316" y="201"/>
                    <a:pt x="316" y="201"/>
                    <a:pt x="316" y="201"/>
                  </a:cubicBezTo>
                  <a:cubicBezTo>
                    <a:pt x="319" y="199"/>
                    <a:pt x="319" y="199"/>
                    <a:pt x="319" y="199"/>
                  </a:cubicBezTo>
                  <a:cubicBezTo>
                    <a:pt x="319" y="199"/>
                    <a:pt x="320" y="198"/>
                    <a:pt x="320" y="198"/>
                  </a:cubicBezTo>
                  <a:cubicBezTo>
                    <a:pt x="320" y="198"/>
                    <a:pt x="322" y="198"/>
                    <a:pt x="322" y="198"/>
                  </a:cubicBezTo>
                  <a:cubicBezTo>
                    <a:pt x="322" y="198"/>
                    <a:pt x="322" y="197"/>
                    <a:pt x="323" y="197"/>
                  </a:cubicBezTo>
                  <a:cubicBezTo>
                    <a:pt x="323" y="197"/>
                    <a:pt x="323" y="196"/>
                    <a:pt x="323" y="196"/>
                  </a:cubicBezTo>
                  <a:cubicBezTo>
                    <a:pt x="323" y="196"/>
                    <a:pt x="323" y="195"/>
                    <a:pt x="323" y="195"/>
                  </a:cubicBezTo>
                  <a:cubicBezTo>
                    <a:pt x="323" y="195"/>
                    <a:pt x="323" y="194"/>
                    <a:pt x="323" y="194"/>
                  </a:cubicBezTo>
                  <a:cubicBezTo>
                    <a:pt x="323" y="194"/>
                    <a:pt x="323" y="193"/>
                    <a:pt x="323" y="193"/>
                  </a:cubicBezTo>
                  <a:cubicBezTo>
                    <a:pt x="323" y="193"/>
                    <a:pt x="324" y="192"/>
                    <a:pt x="324" y="192"/>
                  </a:cubicBezTo>
                  <a:cubicBezTo>
                    <a:pt x="324" y="191"/>
                    <a:pt x="324" y="191"/>
                    <a:pt x="324" y="191"/>
                  </a:cubicBezTo>
                  <a:cubicBezTo>
                    <a:pt x="324" y="191"/>
                    <a:pt x="323" y="190"/>
                    <a:pt x="323" y="189"/>
                  </a:cubicBezTo>
                  <a:cubicBezTo>
                    <a:pt x="323" y="189"/>
                    <a:pt x="323" y="189"/>
                    <a:pt x="323" y="188"/>
                  </a:cubicBezTo>
                  <a:cubicBezTo>
                    <a:pt x="324" y="188"/>
                    <a:pt x="324" y="187"/>
                    <a:pt x="324" y="187"/>
                  </a:cubicBezTo>
                  <a:cubicBezTo>
                    <a:pt x="326" y="187"/>
                    <a:pt x="326" y="187"/>
                    <a:pt x="326" y="187"/>
                  </a:cubicBezTo>
                  <a:cubicBezTo>
                    <a:pt x="326" y="187"/>
                    <a:pt x="327" y="187"/>
                    <a:pt x="328" y="187"/>
                  </a:cubicBezTo>
                  <a:cubicBezTo>
                    <a:pt x="328" y="186"/>
                    <a:pt x="329" y="186"/>
                    <a:pt x="329" y="186"/>
                  </a:cubicBezTo>
                  <a:cubicBezTo>
                    <a:pt x="330" y="185"/>
                    <a:pt x="330" y="185"/>
                    <a:pt x="330" y="185"/>
                  </a:cubicBezTo>
                  <a:cubicBezTo>
                    <a:pt x="331" y="184"/>
                    <a:pt x="331" y="184"/>
                    <a:pt x="331" y="184"/>
                  </a:cubicBezTo>
                  <a:cubicBezTo>
                    <a:pt x="331" y="183"/>
                    <a:pt x="331" y="183"/>
                    <a:pt x="331" y="183"/>
                  </a:cubicBezTo>
                  <a:cubicBezTo>
                    <a:pt x="331" y="182"/>
                    <a:pt x="331" y="182"/>
                    <a:pt x="331" y="182"/>
                  </a:cubicBezTo>
                  <a:cubicBezTo>
                    <a:pt x="333" y="181"/>
                    <a:pt x="333" y="181"/>
                    <a:pt x="333" y="181"/>
                  </a:cubicBezTo>
                  <a:cubicBezTo>
                    <a:pt x="333" y="180"/>
                    <a:pt x="333" y="180"/>
                    <a:pt x="333" y="180"/>
                  </a:cubicBezTo>
                  <a:cubicBezTo>
                    <a:pt x="334" y="180"/>
                    <a:pt x="334" y="180"/>
                    <a:pt x="334" y="180"/>
                  </a:cubicBezTo>
                  <a:cubicBezTo>
                    <a:pt x="335" y="179"/>
                    <a:pt x="335" y="179"/>
                    <a:pt x="335" y="179"/>
                  </a:cubicBezTo>
                  <a:cubicBezTo>
                    <a:pt x="336" y="178"/>
                    <a:pt x="336" y="178"/>
                    <a:pt x="336" y="178"/>
                  </a:cubicBezTo>
                  <a:cubicBezTo>
                    <a:pt x="337" y="177"/>
                    <a:pt x="337" y="177"/>
                    <a:pt x="337" y="177"/>
                  </a:cubicBezTo>
                  <a:cubicBezTo>
                    <a:pt x="337" y="177"/>
                    <a:pt x="339" y="175"/>
                    <a:pt x="339" y="175"/>
                  </a:cubicBezTo>
                  <a:cubicBezTo>
                    <a:pt x="339" y="174"/>
                    <a:pt x="339" y="174"/>
                    <a:pt x="339" y="173"/>
                  </a:cubicBezTo>
                  <a:cubicBezTo>
                    <a:pt x="339" y="173"/>
                    <a:pt x="340" y="173"/>
                    <a:pt x="340" y="172"/>
                  </a:cubicBezTo>
                  <a:cubicBezTo>
                    <a:pt x="341" y="172"/>
                    <a:pt x="341" y="171"/>
                    <a:pt x="341" y="171"/>
                  </a:cubicBezTo>
                  <a:cubicBezTo>
                    <a:pt x="342" y="171"/>
                    <a:pt x="342" y="171"/>
                    <a:pt x="342" y="171"/>
                  </a:cubicBezTo>
                  <a:cubicBezTo>
                    <a:pt x="342" y="170"/>
                    <a:pt x="342" y="170"/>
                    <a:pt x="342" y="170"/>
                  </a:cubicBezTo>
                  <a:cubicBezTo>
                    <a:pt x="342" y="169"/>
                    <a:pt x="342" y="169"/>
                    <a:pt x="342" y="169"/>
                  </a:cubicBezTo>
                  <a:cubicBezTo>
                    <a:pt x="342" y="169"/>
                    <a:pt x="340" y="170"/>
                    <a:pt x="340" y="170"/>
                  </a:cubicBezTo>
                  <a:cubicBezTo>
                    <a:pt x="340" y="170"/>
                    <a:pt x="339" y="170"/>
                    <a:pt x="339" y="170"/>
                  </a:cubicBezTo>
                  <a:cubicBezTo>
                    <a:pt x="338" y="170"/>
                    <a:pt x="337" y="170"/>
                    <a:pt x="337" y="170"/>
                  </a:cubicBezTo>
                  <a:cubicBezTo>
                    <a:pt x="336" y="169"/>
                    <a:pt x="337" y="169"/>
                    <a:pt x="337" y="169"/>
                  </a:cubicBezTo>
                  <a:cubicBezTo>
                    <a:pt x="337" y="169"/>
                    <a:pt x="338" y="169"/>
                    <a:pt x="338" y="168"/>
                  </a:cubicBezTo>
                  <a:cubicBezTo>
                    <a:pt x="338" y="168"/>
                    <a:pt x="338" y="167"/>
                    <a:pt x="338" y="167"/>
                  </a:cubicBezTo>
                  <a:cubicBezTo>
                    <a:pt x="339" y="167"/>
                    <a:pt x="339" y="167"/>
                    <a:pt x="339" y="167"/>
                  </a:cubicBezTo>
                  <a:cubicBezTo>
                    <a:pt x="340" y="166"/>
                    <a:pt x="340" y="166"/>
                    <a:pt x="340" y="166"/>
                  </a:cubicBezTo>
                  <a:cubicBezTo>
                    <a:pt x="340" y="166"/>
                    <a:pt x="340" y="166"/>
                    <a:pt x="341" y="166"/>
                  </a:cubicBezTo>
                  <a:cubicBezTo>
                    <a:pt x="341" y="166"/>
                    <a:pt x="340" y="165"/>
                    <a:pt x="340" y="165"/>
                  </a:cubicBezTo>
                  <a:cubicBezTo>
                    <a:pt x="340" y="164"/>
                    <a:pt x="340" y="164"/>
                    <a:pt x="340" y="164"/>
                  </a:cubicBezTo>
                  <a:cubicBezTo>
                    <a:pt x="342" y="164"/>
                    <a:pt x="342" y="164"/>
                    <a:pt x="342" y="164"/>
                  </a:cubicBezTo>
                  <a:cubicBezTo>
                    <a:pt x="344" y="164"/>
                    <a:pt x="344" y="164"/>
                    <a:pt x="344" y="164"/>
                  </a:cubicBezTo>
                  <a:cubicBezTo>
                    <a:pt x="345" y="164"/>
                    <a:pt x="345" y="164"/>
                    <a:pt x="345" y="164"/>
                  </a:cubicBezTo>
                  <a:cubicBezTo>
                    <a:pt x="345" y="164"/>
                    <a:pt x="346" y="165"/>
                    <a:pt x="346" y="165"/>
                  </a:cubicBezTo>
                  <a:cubicBezTo>
                    <a:pt x="345" y="166"/>
                    <a:pt x="346" y="166"/>
                    <a:pt x="346" y="166"/>
                  </a:cubicBezTo>
                  <a:cubicBezTo>
                    <a:pt x="346" y="167"/>
                    <a:pt x="348" y="167"/>
                    <a:pt x="348" y="167"/>
                  </a:cubicBezTo>
                  <a:cubicBezTo>
                    <a:pt x="348" y="167"/>
                    <a:pt x="348" y="167"/>
                    <a:pt x="349" y="167"/>
                  </a:cubicBezTo>
                  <a:cubicBezTo>
                    <a:pt x="349" y="167"/>
                    <a:pt x="350" y="167"/>
                    <a:pt x="350" y="167"/>
                  </a:cubicBezTo>
                  <a:cubicBezTo>
                    <a:pt x="350" y="167"/>
                    <a:pt x="351" y="167"/>
                    <a:pt x="351" y="167"/>
                  </a:cubicBezTo>
                  <a:cubicBezTo>
                    <a:pt x="351" y="167"/>
                    <a:pt x="352" y="166"/>
                    <a:pt x="353" y="166"/>
                  </a:cubicBezTo>
                  <a:cubicBezTo>
                    <a:pt x="353" y="166"/>
                    <a:pt x="353" y="166"/>
                    <a:pt x="353" y="166"/>
                  </a:cubicBezTo>
                  <a:cubicBezTo>
                    <a:pt x="353" y="166"/>
                    <a:pt x="353" y="165"/>
                    <a:pt x="353" y="165"/>
                  </a:cubicBezTo>
                  <a:cubicBezTo>
                    <a:pt x="353" y="165"/>
                    <a:pt x="354" y="164"/>
                    <a:pt x="354" y="164"/>
                  </a:cubicBezTo>
                  <a:cubicBezTo>
                    <a:pt x="354" y="164"/>
                    <a:pt x="355" y="164"/>
                    <a:pt x="355" y="164"/>
                  </a:cubicBezTo>
                  <a:cubicBezTo>
                    <a:pt x="355" y="164"/>
                    <a:pt x="355" y="164"/>
                    <a:pt x="355" y="163"/>
                  </a:cubicBezTo>
                  <a:cubicBezTo>
                    <a:pt x="355" y="163"/>
                    <a:pt x="356" y="163"/>
                    <a:pt x="356" y="162"/>
                  </a:cubicBezTo>
                  <a:cubicBezTo>
                    <a:pt x="356" y="162"/>
                    <a:pt x="355" y="162"/>
                    <a:pt x="355" y="162"/>
                  </a:cubicBezTo>
                  <a:cubicBezTo>
                    <a:pt x="355" y="162"/>
                    <a:pt x="356" y="162"/>
                    <a:pt x="356" y="162"/>
                  </a:cubicBezTo>
                  <a:cubicBezTo>
                    <a:pt x="356" y="161"/>
                    <a:pt x="356" y="161"/>
                    <a:pt x="356" y="161"/>
                  </a:cubicBezTo>
                  <a:cubicBezTo>
                    <a:pt x="356" y="161"/>
                    <a:pt x="358" y="160"/>
                    <a:pt x="358" y="160"/>
                  </a:cubicBezTo>
                  <a:cubicBezTo>
                    <a:pt x="358" y="160"/>
                    <a:pt x="358" y="160"/>
                    <a:pt x="358" y="160"/>
                  </a:cubicBezTo>
                  <a:cubicBezTo>
                    <a:pt x="360" y="159"/>
                    <a:pt x="360" y="159"/>
                    <a:pt x="360" y="159"/>
                  </a:cubicBezTo>
                  <a:cubicBezTo>
                    <a:pt x="360" y="159"/>
                    <a:pt x="360" y="160"/>
                    <a:pt x="360" y="160"/>
                  </a:cubicBezTo>
                  <a:cubicBezTo>
                    <a:pt x="359" y="158"/>
                    <a:pt x="356" y="155"/>
                    <a:pt x="356" y="155"/>
                  </a:cubicBezTo>
                  <a:cubicBezTo>
                    <a:pt x="357" y="151"/>
                    <a:pt x="357" y="151"/>
                    <a:pt x="357" y="151"/>
                  </a:cubicBezTo>
                  <a:cubicBezTo>
                    <a:pt x="357" y="151"/>
                    <a:pt x="359" y="145"/>
                    <a:pt x="359" y="144"/>
                  </a:cubicBezTo>
                  <a:cubicBezTo>
                    <a:pt x="359" y="143"/>
                    <a:pt x="358" y="139"/>
                    <a:pt x="358" y="139"/>
                  </a:cubicBezTo>
                  <a:cubicBezTo>
                    <a:pt x="358" y="139"/>
                    <a:pt x="356" y="138"/>
                    <a:pt x="358" y="135"/>
                  </a:cubicBezTo>
                  <a:cubicBezTo>
                    <a:pt x="360" y="132"/>
                    <a:pt x="362" y="128"/>
                    <a:pt x="362" y="128"/>
                  </a:cubicBezTo>
                  <a:cubicBezTo>
                    <a:pt x="363" y="120"/>
                    <a:pt x="363" y="120"/>
                    <a:pt x="363" y="120"/>
                  </a:cubicBezTo>
                  <a:cubicBezTo>
                    <a:pt x="363" y="120"/>
                    <a:pt x="360" y="118"/>
                    <a:pt x="363" y="116"/>
                  </a:cubicBezTo>
                  <a:cubicBezTo>
                    <a:pt x="366" y="114"/>
                    <a:pt x="372" y="106"/>
                    <a:pt x="372" y="106"/>
                  </a:cubicBezTo>
                  <a:cubicBezTo>
                    <a:pt x="378" y="100"/>
                    <a:pt x="378" y="100"/>
                    <a:pt x="378" y="100"/>
                  </a:cubicBezTo>
                  <a:cubicBezTo>
                    <a:pt x="368" y="97"/>
                    <a:pt x="368" y="97"/>
                    <a:pt x="368" y="97"/>
                  </a:cubicBezTo>
                  <a:lnTo>
                    <a:pt x="362" y="97"/>
                  </a:lnTo>
                  <a:close/>
                  <a:moveTo>
                    <a:pt x="157" y="372"/>
                  </a:moveTo>
                  <a:cubicBezTo>
                    <a:pt x="157" y="372"/>
                    <a:pt x="157" y="372"/>
                    <a:pt x="157" y="372"/>
                  </a:cubicBezTo>
                  <a:cubicBezTo>
                    <a:pt x="157" y="372"/>
                    <a:pt x="157" y="372"/>
                    <a:pt x="157" y="372"/>
                  </a:cubicBezTo>
                  <a:close/>
                  <a:moveTo>
                    <a:pt x="158" y="371"/>
                  </a:moveTo>
                  <a:cubicBezTo>
                    <a:pt x="158" y="371"/>
                    <a:pt x="158" y="371"/>
                    <a:pt x="158" y="371"/>
                  </a:cubicBezTo>
                  <a:cubicBezTo>
                    <a:pt x="158" y="371"/>
                    <a:pt x="158" y="371"/>
                    <a:pt x="158" y="371"/>
                  </a:cubicBezTo>
                  <a:cubicBezTo>
                    <a:pt x="158" y="371"/>
                    <a:pt x="158" y="371"/>
                    <a:pt x="158" y="371"/>
                  </a:cubicBezTo>
                  <a:cubicBezTo>
                    <a:pt x="158" y="371"/>
                    <a:pt x="158" y="371"/>
                    <a:pt x="158" y="371"/>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 name="Freeform 73"/>
            <p:cNvSpPr>
              <a:spLocks/>
            </p:cNvSpPr>
            <p:nvPr/>
          </p:nvSpPr>
          <p:spPr bwMode="auto">
            <a:xfrm>
              <a:off x="5316549" y="5089513"/>
              <a:ext cx="89537" cy="196070"/>
            </a:xfrm>
            <a:custGeom>
              <a:avLst/>
              <a:gdLst>
                <a:gd name="T0" fmla="*/ 31 w 31"/>
                <a:gd name="T1" fmla="*/ 35 h 72"/>
                <a:gd name="T2" fmla="*/ 28 w 31"/>
                <a:gd name="T3" fmla="*/ 30 h 72"/>
                <a:gd name="T4" fmla="*/ 30 w 31"/>
                <a:gd name="T5" fmla="*/ 21 h 72"/>
                <a:gd name="T6" fmla="*/ 29 w 31"/>
                <a:gd name="T7" fmla="*/ 19 h 72"/>
                <a:gd name="T8" fmla="*/ 28 w 31"/>
                <a:gd name="T9" fmla="*/ 17 h 72"/>
                <a:gd name="T10" fmla="*/ 27 w 31"/>
                <a:gd name="T11" fmla="*/ 10 h 72"/>
                <a:gd name="T12" fmla="*/ 27 w 31"/>
                <a:gd name="T13" fmla="*/ 0 h 72"/>
                <a:gd name="T14" fmla="*/ 22 w 31"/>
                <a:gd name="T15" fmla="*/ 1 h 72"/>
                <a:gd name="T16" fmla="*/ 23 w 31"/>
                <a:gd name="T17" fmla="*/ 5 h 72"/>
                <a:gd name="T18" fmla="*/ 22 w 31"/>
                <a:gd name="T19" fmla="*/ 13 h 72"/>
                <a:gd name="T20" fmla="*/ 18 w 31"/>
                <a:gd name="T21" fmla="*/ 14 h 72"/>
                <a:gd name="T22" fmla="*/ 16 w 31"/>
                <a:gd name="T23" fmla="*/ 14 h 72"/>
                <a:gd name="T24" fmla="*/ 14 w 31"/>
                <a:gd name="T25" fmla="*/ 17 h 72"/>
                <a:gd name="T26" fmla="*/ 10 w 31"/>
                <a:gd name="T27" fmla="*/ 18 h 72"/>
                <a:gd name="T28" fmla="*/ 6 w 31"/>
                <a:gd name="T29" fmla="*/ 20 h 72"/>
                <a:gd name="T30" fmla="*/ 3 w 31"/>
                <a:gd name="T31" fmla="*/ 25 h 72"/>
                <a:gd name="T32" fmla="*/ 0 w 31"/>
                <a:gd name="T33" fmla="*/ 27 h 72"/>
                <a:gd name="T34" fmla="*/ 2 w 31"/>
                <a:gd name="T35" fmla="*/ 30 h 72"/>
                <a:gd name="T36" fmla="*/ 0 w 31"/>
                <a:gd name="T37" fmla="*/ 41 h 72"/>
                <a:gd name="T38" fmla="*/ 3 w 31"/>
                <a:gd name="T39" fmla="*/ 40 h 72"/>
                <a:gd name="T40" fmla="*/ 3 w 31"/>
                <a:gd name="T41" fmla="*/ 45 h 72"/>
                <a:gd name="T42" fmla="*/ 1 w 31"/>
                <a:gd name="T43" fmla="*/ 48 h 72"/>
                <a:gd name="T44" fmla="*/ 4 w 31"/>
                <a:gd name="T45" fmla="*/ 50 h 72"/>
                <a:gd name="T46" fmla="*/ 6 w 31"/>
                <a:gd name="T47" fmla="*/ 50 h 72"/>
                <a:gd name="T48" fmla="*/ 4 w 31"/>
                <a:gd name="T49" fmla="*/ 55 h 72"/>
                <a:gd name="T50" fmla="*/ 4 w 31"/>
                <a:gd name="T51" fmla="*/ 57 h 72"/>
                <a:gd name="T52" fmla="*/ 9 w 31"/>
                <a:gd name="T53" fmla="*/ 59 h 72"/>
                <a:gd name="T54" fmla="*/ 7 w 31"/>
                <a:gd name="T55" fmla="*/ 61 h 72"/>
                <a:gd name="T56" fmla="*/ 6 w 31"/>
                <a:gd name="T57" fmla="*/ 64 h 72"/>
                <a:gd name="T58" fmla="*/ 10 w 31"/>
                <a:gd name="T59" fmla="*/ 66 h 72"/>
                <a:gd name="T60" fmla="*/ 12 w 31"/>
                <a:gd name="T61" fmla="*/ 68 h 72"/>
                <a:gd name="T62" fmla="*/ 16 w 31"/>
                <a:gd name="T63" fmla="*/ 71 h 72"/>
                <a:gd name="T64" fmla="*/ 20 w 31"/>
                <a:gd name="T65" fmla="*/ 72 h 72"/>
                <a:gd name="T66" fmla="*/ 22 w 31"/>
                <a:gd name="T67" fmla="*/ 68 h 72"/>
                <a:gd name="T68" fmla="*/ 23 w 31"/>
                <a:gd name="T69" fmla="*/ 61 h 72"/>
                <a:gd name="T70" fmla="*/ 25 w 31"/>
                <a:gd name="T71" fmla="*/ 55 h 72"/>
                <a:gd name="T72" fmla="*/ 26 w 31"/>
                <a:gd name="T73" fmla="*/ 51 h 72"/>
                <a:gd name="T74" fmla="*/ 24 w 31"/>
                <a:gd name="T75" fmla="*/ 46 h 72"/>
                <a:gd name="T76" fmla="*/ 25 w 31"/>
                <a:gd name="T77" fmla="*/ 45 h 72"/>
                <a:gd name="T78" fmla="*/ 28 w 31"/>
                <a:gd name="T79" fmla="*/ 42 h 72"/>
                <a:gd name="T80" fmla="*/ 30 w 31"/>
                <a:gd name="T81" fmla="*/ 39 h 72"/>
                <a:gd name="T82" fmla="*/ 31 w 31"/>
                <a:gd name="T83" fmla="*/ 3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 h="72">
                  <a:moveTo>
                    <a:pt x="31" y="35"/>
                  </a:moveTo>
                  <a:cubicBezTo>
                    <a:pt x="30" y="34"/>
                    <a:pt x="28" y="30"/>
                    <a:pt x="28" y="30"/>
                  </a:cubicBezTo>
                  <a:cubicBezTo>
                    <a:pt x="30" y="21"/>
                    <a:pt x="30" y="21"/>
                    <a:pt x="30" y="21"/>
                  </a:cubicBezTo>
                  <a:cubicBezTo>
                    <a:pt x="29" y="19"/>
                    <a:pt x="29" y="19"/>
                    <a:pt x="29" y="19"/>
                  </a:cubicBezTo>
                  <a:cubicBezTo>
                    <a:pt x="28" y="17"/>
                    <a:pt x="28" y="17"/>
                    <a:pt x="28" y="17"/>
                  </a:cubicBezTo>
                  <a:cubicBezTo>
                    <a:pt x="27" y="10"/>
                    <a:pt x="27" y="10"/>
                    <a:pt x="27" y="10"/>
                  </a:cubicBezTo>
                  <a:cubicBezTo>
                    <a:pt x="27" y="0"/>
                    <a:pt x="27" y="0"/>
                    <a:pt x="27" y="0"/>
                  </a:cubicBezTo>
                  <a:cubicBezTo>
                    <a:pt x="22" y="1"/>
                    <a:pt x="22" y="1"/>
                    <a:pt x="22" y="1"/>
                  </a:cubicBezTo>
                  <a:cubicBezTo>
                    <a:pt x="23" y="5"/>
                    <a:pt x="23" y="5"/>
                    <a:pt x="23" y="5"/>
                  </a:cubicBezTo>
                  <a:cubicBezTo>
                    <a:pt x="22" y="13"/>
                    <a:pt x="22" y="13"/>
                    <a:pt x="22" y="13"/>
                  </a:cubicBezTo>
                  <a:cubicBezTo>
                    <a:pt x="18" y="14"/>
                    <a:pt x="18" y="14"/>
                    <a:pt x="18" y="14"/>
                  </a:cubicBezTo>
                  <a:cubicBezTo>
                    <a:pt x="16" y="14"/>
                    <a:pt x="16" y="14"/>
                    <a:pt x="16" y="14"/>
                  </a:cubicBezTo>
                  <a:cubicBezTo>
                    <a:pt x="14" y="17"/>
                    <a:pt x="14" y="17"/>
                    <a:pt x="14" y="17"/>
                  </a:cubicBezTo>
                  <a:cubicBezTo>
                    <a:pt x="10" y="18"/>
                    <a:pt x="10" y="18"/>
                    <a:pt x="10" y="18"/>
                  </a:cubicBezTo>
                  <a:cubicBezTo>
                    <a:pt x="6" y="20"/>
                    <a:pt x="6" y="20"/>
                    <a:pt x="6" y="20"/>
                  </a:cubicBezTo>
                  <a:cubicBezTo>
                    <a:pt x="3" y="25"/>
                    <a:pt x="3" y="25"/>
                    <a:pt x="3" y="25"/>
                  </a:cubicBezTo>
                  <a:cubicBezTo>
                    <a:pt x="0" y="27"/>
                    <a:pt x="0" y="27"/>
                    <a:pt x="0" y="27"/>
                  </a:cubicBezTo>
                  <a:cubicBezTo>
                    <a:pt x="0" y="27"/>
                    <a:pt x="1" y="28"/>
                    <a:pt x="2" y="30"/>
                  </a:cubicBezTo>
                  <a:cubicBezTo>
                    <a:pt x="3" y="33"/>
                    <a:pt x="0" y="41"/>
                    <a:pt x="0" y="41"/>
                  </a:cubicBezTo>
                  <a:cubicBezTo>
                    <a:pt x="3" y="40"/>
                    <a:pt x="3" y="40"/>
                    <a:pt x="3" y="40"/>
                  </a:cubicBezTo>
                  <a:cubicBezTo>
                    <a:pt x="3" y="45"/>
                    <a:pt x="3" y="45"/>
                    <a:pt x="3" y="45"/>
                  </a:cubicBezTo>
                  <a:cubicBezTo>
                    <a:pt x="1" y="48"/>
                    <a:pt x="1" y="48"/>
                    <a:pt x="1" y="48"/>
                  </a:cubicBezTo>
                  <a:cubicBezTo>
                    <a:pt x="4" y="50"/>
                    <a:pt x="4" y="50"/>
                    <a:pt x="4" y="50"/>
                  </a:cubicBezTo>
                  <a:cubicBezTo>
                    <a:pt x="6" y="50"/>
                    <a:pt x="6" y="50"/>
                    <a:pt x="6" y="50"/>
                  </a:cubicBezTo>
                  <a:cubicBezTo>
                    <a:pt x="4" y="55"/>
                    <a:pt x="4" y="55"/>
                    <a:pt x="4" y="55"/>
                  </a:cubicBezTo>
                  <a:cubicBezTo>
                    <a:pt x="4" y="57"/>
                    <a:pt x="4" y="57"/>
                    <a:pt x="4" y="57"/>
                  </a:cubicBezTo>
                  <a:cubicBezTo>
                    <a:pt x="9" y="59"/>
                    <a:pt x="9" y="59"/>
                    <a:pt x="9" y="59"/>
                  </a:cubicBezTo>
                  <a:cubicBezTo>
                    <a:pt x="7" y="61"/>
                    <a:pt x="7" y="61"/>
                    <a:pt x="7" y="61"/>
                  </a:cubicBezTo>
                  <a:cubicBezTo>
                    <a:pt x="6" y="64"/>
                    <a:pt x="6" y="64"/>
                    <a:pt x="6" y="64"/>
                  </a:cubicBezTo>
                  <a:cubicBezTo>
                    <a:pt x="10" y="66"/>
                    <a:pt x="10" y="66"/>
                    <a:pt x="10" y="66"/>
                  </a:cubicBezTo>
                  <a:cubicBezTo>
                    <a:pt x="12" y="68"/>
                    <a:pt x="12" y="68"/>
                    <a:pt x="12" y="68"/>
                  </a:cubicBezTo>
                  <a:cubicBezTo>
                    <a:pt x="12" y="68"/>
                    <a:pt x="14" y="71"/>
                    <a:pt x="16" y="71"/>
                  </a:cubicBezTo>
                  <a:cubicBezTo>
                    <a:pt x="17" y="71"/>
                    <a:pt x="20" y="72"/>
                    <a:pt x="20" y="72"/>
                  </a:cubicBezTo>
                  <a:cubicBezTo>
                    <a:pt x="20" y="72"/>
                    <a:pt x="21" y="70"/>
                    <a:pt x="22" y="68"/>
                  </a:cubicBezTo>
                  <a:cubicBezTo>
                    <a:pt x="22" y="65"/>
                    <a:pt x="19" y="62"/>
                    <a:pt x="23" y="61"/>
                  </a:cubicBezTo>
                  <a:cubicBezTo>
                    <a:pt x="28" y="60"/>
                    <a:pt x="25" y="55"/>
                    <a:pt x="25" y="55"/>
                  </a:cubicBezTo>
                  <a:cubicBezTo>
                    <a:pt x="26" y="51"/>
                    <a:pt x="26" y="51"/>
                    <a:pt x="26" y="51"/>
                  </a:cubicBezTo>
                  <a:cubicBezTo>
                    <a:pt x="24" y="46"/>
                    <a:pt x="24" y="46"/>
                    <a:pt x="24" y="46"/>
                  </a:cubicBezTo>
                  <a:cubicBezTo>
                    <a:pt x="25" y="45"/>
                    <a:pt x="25" y="45"/>
                    <a:pt x="25" y="45"/>
                  </a:cubicBezTo>
                  <a:cubicBezTo>
                    <a:pt x="28" y="42"/>
                    <a:pt x="28" y="42"/>
                    <a:pt x="28" y="42"/>
                  </a:cubicBezTo>
                  <a:cubicBezTo>
                    <a:pt x="30" y="39"/>
                    <a:pt x="30" y="39"/>
                    <a:pt x="30" y="39"/>
                  </a:cubicBezTo>
                  <a:cubicBezTo>
                    <a:pt x="30" y="39"/>
                    <a:pt x="31" y="37"/>
                    <a:pt x="31" y="35"/>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Freeform 74"/>
            <p:cNvSpPr>
              <a:spLocks noEditPoints="1"/>
            </p:cNvSpPr>
            <p:nvPr/>
          </p:nvSpPr>
          <p:spPr bwMode="auto">
            <a:xfrm>
              <a:off x="6258132" y="1377795"/>
              <a:ext cx="3445733" cy="3277368"/>
            </a:xfrm>
            <a:custGeom>
              <a:avLst/>
              <a:gdLst>
                <a:gd name="T0" fmla="*/ 317 w 1189"/>
                <a:gd name="T1" fmla="*/ 847 h 1199"/>
                <a:gd name="T2" fmla="*/ 272 w 1189"/>
                <a:gd name="T3" fmla="*/ 852 h 1199"/>
                <a:gd name="T4" fmla="*/ 289 w 1189"/>
                <a:gd name="T5" fmla="*/ 813 h 1199"/>
                <a:gd name="T6" fmla="*/ 239 w 1189"/>
                <a:gd name="T7" fmla="*/ 779 h 1199"/>
                <a:gd name="T8" fmla="*/ 214 w 1189"/>
                <a:gd name="T9" fmla="*/ 734 h 1199"/>
                <a:gd name="T10" fmla="*/ 158 w 1189"/>
                <a:gd name="T11" fmla="*/ 729 h 1199"/>
                <a:gd name="T12" fmla="*/ 128 w 1189"/>
                <a:gd name="T13" fmla="*/ 703 h 1199"/>
                <a:gd name="T14" fmla="*/ 120 w 1189"/>
                <a:gd name="T15" fmla="*/ 659 h 1199"/>
                <a:gd name="T16" fmla="*/ 104 w 1189"/>
                <a:gd name="T17" fmla="*/ 592 h 1199"/>
                <a:gd name="T18" fmla="*/ 149 w 1189"/>
                <a:gd name="T19" fmla="*/ 559 h 1199"/>
                <a:gd name="T20" fmla="*/ 98 w 1189"/>
                <a:gd name="T21" fmla="*/ 539 h 1199"/>
                <a:gd name="T22" fmla="*/ 129 w 1189"/>
                <a:gd name="T23" fmla="*/ 448 h 1199"/>
                <a:gd name="T24" fmla="*/ 81 w 1189"/>
                <a:gd name="T25" fmla="*/ 368 h 1199"/>
                <a:gd name="T26" fmla="*/ 61 w 1189"/>
                <a:gd name="T27" fmla="*/ 307 h 1199"/>
                <a:gd name="T28" fmla="*/ 9 w 1189"/>
                <a:gd name="T29" fmla="*/ 218 h 1199"/>
                <a:gd name="T30" fmla="*/ 0 w 1189"/>
                <a:gd name="T31" fmla="*/ 190 h 1199"/>
                <a:gd name="T32" fmla="*/ 0 w 1189"/>
                <a:gd name="T33" fmla="*/ 190 h 1199"/>
                <a:gd name="T34" fmla="*/ 1 w 1189"/>
                <a:gd name="T35" fmla="*/ 189 h 1199"/>
                <a:gd name="T36" fmla="*/ 2 w 1189"/>
                <a:gd name="T37" fmla="*/ 188 h 1199"/>
                <a:gd name="T38" fmla="*/ 6 w 1189"/>
                <a:gd name="T39" fmla="*/ 183 h 1199"/>
                <a:gd name="T40" fmla="*/ 38 w 1189"/>
                <a:gd name="T41" fmla="*/ 134 h 1199"/>
                <a:gd name="T42" fmla="*/ 45 w 1189"/>
                <a:gd name="T43" fmla="*/ 141 h 1199"/>
                <a:gd name="T44" fmla="*/ 74 w 1189"/>
                <a:gd name="T45" fmla="*/ 147 h 1199"/>
                <a:gd name="T46" fmla="*/ 157 w 1189"/>
                <a:gd name="T47" fmla="*/ 156 h 1199"/>
                <a:gd name="T48" fmla="*/ 208 w 1189"/>
                <a:gd name="T49" fmla="*/ 166 h 1199"/>
                <a:gd name="T50" fmla="*/ 226 w 1189"/>
                <a:gd name="T51" fmla="*/ 225 h 1199"/>
                <a:gd name="T52" fmla="*/ 129 w 1189"/>
                <a:gd name="T53" fmla="*/ 257 h 1199"/>
                <a:gd name="T54" fmla="*/ 88 w 1189"/>
                <a:gd name="T55" fmla="*/ 249 h 1199"/>
                <a:gd name="T56" fmla="*/ 121 w 1189"/>
                <a:gd name="T57" fmla="*/ 273 h 1199"/>
                <a:gd name="T58" fmla="*/ 152 w 1189"/>
                <a:gd name="T59" fmla="*/ 311 h 1199"/>
                <a:gd name="T60" fmla="*/ 186 w 1189"/>
                <a:gd name="T61" fmla="*/ 339 h 1199"/>
                <a:gd name="T62" fmla="*/ 232 w 1189"/>
                <a:gd name="T63" fmla="*/ 334 h 1199"/>
                <a:gd name="T64" fmla="*/ 192 w 1189"/>
                <a:gd name="T65" fmla="*/ 305 h 1199"/>
                <a:gd name="T66" fmla="*/ 259 w 1189"/>
                <a:gd name="T67" fmla="*/ 297 h 1199"/>
                <a:gd name="T68" fmla="*/ 253 w 1189"/>
                <a:gd name="T69" fmla="*/ 203 h 1199"/>
                <a:gd name="T70" fmla="*/ 282 w 1189"/>
                <a:gd name="T71" fmla="*/ 171 h 1199"/>
                <a:gd name="T72" fmla="*/ 227 w 1189"/>
                <a:gd name="T73" fmla="*/ 109 h 1199"/>
                <a:gd name="T74" fmla="*/ 282 w 1189"/>
                <a:gd name="T75" fmla="*/ 126 h 1199"/>
                <a:gd name="T76" fmla="*/ 327 w 1189"/>
                <a:gd name="T77" fmla="*/ 143 h 1199"/>
                <a:gd name="T78" fmla="*/ 338 w 1189"/>
                <a:gd name="T79" fmla="*/ 68 h 1199"/>
                <a:gd name="T80" fmla="*/ 360 w 1189"/>
                <a:gd name="T81" fmla="*/ 13 h 1199"/>
                <a:gd name="T82" fmla="*/ 1162 w 1189"/>
                <a:gd name="T83" fmla="*/ 672 h 1199"/>
                <a:gd name="T84" fmla="*/ 1002 w 1189"/>
                <a:gd name="T85" fmla="*/ 761 h 1199"/>
                <a:gd name="T86" fmla="*/ 825 w 1189"/>
                <a:gd name="T87" fmla="*/ 816 h 1199"/>
                <a:gd name="T88" fmla="*/ 895 w 1189"/>
                <a:gd name="T89" fmla="*/ 958 h 1199"/>
                <a:gd name="T90" fmla="*/ 954 w 1189"/>
                <a:gd name="T91" fmla="*/ 1173 h 1199"/>
                <a:gd name="T92" fmla="*/ 899 w 1189"/>
                <a:gd name="T93" fmla="*/ 1164 h 1199"/>
                <a:gd name="T94" fmla="*/ 888 w 1189"/>
                <a:gd name="T95" fmla="*/ 1194 h 1199"/>
                <a:gd name="T96" fmla="*/ 853 w 1189"/>
                <a:gd name="T97" fmla="*/ 1166 h 1199"/>
                <a:gd name="T98" fmla="*/ 794 w 1189"/>
                <a:gd name="T99" fmla="*/ 1161 h 1199"/>
                <a:gd name="T100" fmla="*/ 739 w 1189"/>
                <a:gd name="T101" fmla="*/ 1153 h 1199"/>
                <a:gd name="T102" fmla="*/ 723 w 1189"/>
                <a:gd name="T103" fmla="*/ 1155 h 1199"/>
                <a:gd name="T104" fmla="*/ 722 w 1189"/>
                <a:gd name="T105" fmla="*/ 1155 h 1199"/>
                <a:gd name="T106" fmla="*/ 710 w 1189"/>
                <a:gd name="T107" fmla="*/ 1156 h 1199"/>
                <a:gd name="T108" fmla="*/ 557 w 1189"/>
                <a:gd name="T109" fmla="*/ 1135 h 1199"/>
                <a:gd name="T110" fmla="*/ 522 w 1189"/>
                <a:gd name="T111" fmla="*/ 1046 h 1199"/>
                <a:gd name="T112" fmla="*/ 521 w 1189"/>
                <a:gd name="T113" fmla="*/ 990 h 1199"/>
                <a:gd name="T114" fmla="*/ 533 w 1189"/>
                <a:gd name="T115" fmla="*/ 920 h 1199"/>
                <a:gd name="T116" fmla="*/ 477 w 1189"/>
                <a:gd name="T117" fmla="*/ 894 h 1199"/>
                <a:gd name="T118" fmla="*/ 418 w 1189"/>
                <a:gd name="T119" fmla="*/ 903 h 1199"/>
                <a:gd name="T120" fmla="*/ 307 w 1189"/>
                <a:gd name="T121" fmla="*/ 57 h 1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89" h="1199">
                  <a:moveTo>
                    <a:pt x="369" y="880"/>
                  </a:moveTo>
                  <a:cubicBezTo>
                    <a:pt x="363" y="882"/>
                    <a:pt x="363" y="882"/>
                    <a:pt x="363" y="882"/>
                  </a:cubicBezTo>
                  <a:cubicBezTo>
                    <a:pt x="363" y="882"/>
                    <a:pt x="359" y="886"/>
                    <a:pt x="359" y="884"/>
                  </a:cubicBezTo>
                  <a:cubicBezTo>
                    <a:pt x="359" y="883"/>
                    <a:pt x="360" y="879"/>
                    <a:pt x="360" y="878"/>
                  </a:cubicBezTo>
                  <a:cubicBezTo>
                    <a:pt x="359" y="877"/>
                    <a:pt x="355" y="880"/>
                    <a:pt x="356" y="876"/>
                  </a:cubicBezTo>
                  <a:cubicBezTo>
                    <a:pt x="357" y="875"/>
                    <a:pt x="356" y="872"/>
                    <a:pt x="355" y="872"/>
                  </a:cubicBezTo>
                  <a:cubicBezTo>
                    <a:pt x="354" y="870"/>
                    <a:pt x="349" y="870"/>
                    <a:pt x="351" y="866"/>
                  </a:cubicBezTo>
                  <a:cubicBezTo>
                    <a:pt x="352" y="864"/>
                    <a:pt x="356" y="863"/>
                    <a:pt x="356" y="863"/>
                  </a:cubicBezTo>
                  <a:cubicBezTo>
                    <a:pt x="356" y="861"/>
                    <a:pt x="356" y="861"/>
                    <a:pt x="356" y="861"/>
                  </a:cubicBezTo>
                  <a:cubicBezTo>
                    <a:pt x="353" y="858"/>
                    <a:pt x="353" y="858"/>
                    <a:pt x="353" y="858"/>
                  </a:cubicBezTo>
                  <a:cubicBezTo>
                    <a:pt x="344" y="854"/>
                    <a:pt x="344" y="854"/>
                    <a:pt x="344" y="854"/>
                  </a:cubicBezTo>
                  <a:cubicBezTo>
                    <a:pt x="344" y="854"/>
                    <a:pt x="343" y="849"/>
                    <a:pt x="342" y="849"/>
                  </a:cubicBezTo>
                  <a:cubicBezTo>
                    <a:pt x="341" y="849"/>
                    <a:pt x="338" y="846"/>
                    <a:pt x="338" y="846"/>
                  </a:cubicBezTo>
                  <a:cubicBezTo>
                    <a:pt x="338" y="846"/>
                    <a:pt x="336" y="843"/>
                    <a:pt x="333" y="841"/>
                  </a:cubicBezTo>
                  <a:cubicBezTo>
                    <a:pt x="330" y="840"/>
                    <a:pt x="327" y="848"/>
                    <a:pt x="327" y="848"/>
                  </a:cubicBezTo>
                  <a:cubicBezTo>
                    <a:pt x="324" y="845"/>
                    <a:pt x="324" y="845"/>
                    <a:pt x="324" y="845"/>
                  </a:cubicBezTo>
                  <a:cubicBezTo>
                    <a:pt x="317" y="847"/>
                    <a:pt x="317" y="847"/>
                    <a:pt x="317" y="847"/>
                  </a:cubicBezTo>
                  <a:cubicBezTo>
                    <a:pt x="313" y="854"/>
                    <a:pt x="313" y="854"/>
                    <a:pt x="313" y="854"/>
                  </a:cubicBezTo>
                  <a:cubicBezTo>
                    <a:pt x="309" y="855"/>
                    <a:pt x="309" y="855"/>
                    <a:pt x="309" y="855"/>
                  </a:cubicBezTo>
                  <a:cubicBezTo>
                    <a:pt x="305" y="855"/>
                    <a:pt x="305" y="855"/>
                    <a:pt x="305" y="855"/>
                  </a:cubicBezTo>
                  <a:cubicBezTo>
                    <a:pt x="298" y="857"/>
                    <a:pt x="298" y="857"/>
                    <a:pt x="298" y="857"/>
                  </a:cubicBezTo>
                  <a:cubicBezTo>
                    <a:pt x="295" y="862"/>
                    <a:pt x="295" y="862"/>
                    <a:pt x="295" y="862"/>
                  </a:cubicBezTo>
                  <a:cubicBezTo>
                    <a:pt x="296" y="867"/>
                    <a:pt x="296" y="867"/>
                    <a:pt x="296" y="867"/>
                  </a:cubicBezTo>
                  <a:cubicBezTo>
                    <a:pt x="292" y="870"/>
                    <a:pt x="292" y="870"/>
                    <a:pt x="292" y="870"/>
                  </a:cubicBezTo>
                  <a:cubicBezTo>
                    <a:pt x="283" y="869"/>
                    <a:pt x="283" y="869"/>
                    <a:pt x="283" y="869"/>
                  </a:cubicBezTo>
                  <a:cubicBezTo>
                    <a:pt x="285" y="869"/>
                    <a:pt x="285" y="869"/>
                    <a:pt x="285" y="869"/>
                  </a:cubicBezTo>
                  <a:cubicBezTo>
                    <a:pt x="279" y="866"/>
                    <a:pt x="279" y="866"/>
                    <a:pt x="279" y="866"/>
                  </a:cubicBezTo>
                  <a:cubicBezTo>
                    <a:pt x="279" y="863"/>
                    <a:pt x="279" y="863"/>
                    <a:pt x="279" y="863"/>
                  </a:cubicBezTo>
                  <a:cubicBezTo>
                    <a:pt x="276" y="864"/>
                    <a:pt x="276" y="864"/>
                    <a:pt x="276" y="864"/>
                  </a:cubicBezTo>
                  <a:cubicBezTo>
                    <a:pt x="274" y="863"/>
                    <a:pt x="274" y="863"/>
                    <a:pt x="274" y="863"/>
                  </a:cubicBezTo>
                  <a:cubicBezTo>
                    <a:pt x="275" y="861"/>
                    <a:pt x="275" y="861"/>
                    <a:pt x="275" y="861"/>
                  </a:cubicBezTo>
                  <a:cubicBezTo>
                    <a:pt x="274" y="859"/>
                    <a:pt x="274" y="859"/>
                    <a:pt x="274" y="859"/>
                  </a:cubicBezTo>
                  <a:cubicBezTo>
                    <a:pt x="271" y="854"/>
                    <a:pt x="271" y="854"/>
                    <a:pt x="271" y="854"/>
                  </a:cubicBezTo>
                  <a:cubicBezTo>
                    <a:pt x="272" y="852"/>
                    <a:pt x="272" y="852"/>
                    <a:pt x="272" y="852"/>
                  </a:cubicBezTo>
                  <a:cubicBezTo>
                    <a:pt x="270" y="851"/>
                    <a:pt x="270" y="851"/>
                    <a:pt x="270" y="851"/>
                  </a:cubicBezTo>
                  <a:cubicBezTo>
                    <a:pt x="268" y="849"/>
                    <a:pt x="268" y="849"/>
                    <a:pt x="268" y="849"/>
                  </a:cubicBezTo>
                  <a:cubicBezTo>
                    <a:pt x="269" y="846"/>
                    <a:pt x="269" y="846"/>
                    <a:pt x="269" y="846"/>
                  </a:cubicBezTo>
                  <a:cubicBezTo>
                    <a:pt x="268" y="843"/>
                    <a:pt x="268" y="843"/>
                    <a:pt x="268" y="843"/>
                  </a:cubicBezTo>
                  <a:cubicBezTo>
                    <a:pt x="265" y="841"/>
                    <a:pt x="265" y="841"/>
                    <a:pt x="265" y="841"/>
                  </a:cubicBezTo>
                  <a:cubicBezTo>
                    <a:pt x="261" y="839"/>
                    <a:pt x="261" y="839"/>
                    <a:pt x="261" y="839"/>
                  </a:cubicBezTo>
                  <a:cubicBezTo>
                    <a:pt x="258" y="837"/>
                    <a:pt x="258" y="837"/>
                    <a:pt x="258" y="837"/>
                  </a:cubicBezTo>
                  <a:cubicBezTo>
                    <a:pt x="258" y="835"/>
                    <a:pt x="258" y="835"/>
                    <a:pt x="258" y="835"/>
                  </a:cubicBezTo>
                  <a:cubicBezTo>
                    <a:pt x="259" y="829"/>
                    <a:pt x="259" y="829"/>
                    <a:pt x="259" y="829"/>
                  </a:cubicBezTo>
                  <a:cubicBezTo>
                    <a:pt x="259" y="829"/>
                    <a:pt x="260" y="828"/>
                    <a:pt x="263" y="827"/>
                  </a:cubicBezTo>
                  <a:cubicBezTo>
                    <a:pt x="266" y="826"/>
                    <a:pt x="266" y="827"/>
                    <a:pt x="266" y="827"/>
                  </a:cubicBezTo>
                  <a:cubicBezTo>
                    <a:pt x="272" y="828"/>
                    <a:pt x="272" y="828"/>
                    <a:pt x="272" y="828"/>
                  </a:cubicBezTo>
                  <a:cubicBezTo>
                    <a:pt x="277" y="826"/>
                    <a:pt x="277" y="826"/>
                    <a:pt x="277" y="826"/>
                  </a:cubicBezTo>
                  <a:cubicBezTo>
                    <a:pt x="277" y="826"/>
                    <a:pt x="283" y="822"/>
                    <a:pt x="284" y="821"/>
                  </a:cubicBezTo>
                  <a:cubicBezTo>
                    <a:pt x="285" y="820"/>
                    <a:pt x="283" y="816"/>
                    <a:pt x="283" y="816"/>
                  </a:cubicBezTo>
                  <a:cubicBezTo>
                    <a:pt x="287" y="815"/>
                    <a:pt x="287" y="815"/>
                    <a:pt x="287" y="815"/>
                  </a:cubicBezTo>
                  <a:cubicBezTo>
                    <a:pt x="289" y="813"/>
                    <a:pt x="289" y="813"/>
                    <a:pt x="289" y="813"/>
                  </a:cubicBezTo>
                  <a:cubicBezTo>
                    <a:pt x="288" y="808"/>
                    <a:pt x="288" y="808"/>
                    <a:pt x="288" y="808"/>
                  </a:cubicBezTo>
                  <a:cubicBezTo>
                    <a:pt x="285" y="807"/>
                    <a:pt x="285" y="807"/>
                    <a:pt x="285" y="807"/>
                  </a:cubicBezTo>
                  <a:cubicBezTo>
                    <a:pt x="282" y="805"/>
                    <a:pt x="282" y="805"/>
                    <a:pt x="282" y="805"/>
                  </a:cubicBezTo>
                  <a:cubicBezTo>
                    <a:pt x="278" y="803"/>
                    <a:pt x="278" y="803"/>
                    <a:pt x="278" y="803"/>
                  </a:cubicBezTo>
                  <a:cubicBezTo>
                    <a:pt x="279" y="799"/>
                    <a:pt x="279" y="799"/>
                    <a:pt x="279" y="799"/>
                  </a:cubicBezTo>
                  <a:cubicBezTo>
                    <a:pt x="276" y="799"/>
                    <a:pt x="276" y="799"/>
                    <a:pt x="276" y="799"/>
                  </a:cubicBezTo>
                  <a:cubicBezTo>
                    <a:pt x="272" y="799"/>
                    <a:pt x="272" y="799"/>
                    <a:pt x="272" y="799"/>
                  </a:cubicBezTo>
                  <a:cubicBezTo>
                    <a:pt x="268" y="798"/>
                    <a:pt x="268" y="798"/>
                    <a:pt x="268" y="798"/>
                  </a:cubicBezTo>
                  <a:cubicBezTo>
                    <a:pt x="266" y="799"/>
                    <a:pt x="266" y="799"/>
                    <a:pt x="266" y="799"/>
                  </a:cubicBezTo>
                  <a:cubicBezTo>
                    <a:pt x="264" y="801"/>
                    <a:pt x="264" y="801"/>
                    <a:pt x="264" y="801"/>
                  </a:cubicBezTo>
                  <a:cubicBezTo>
                    <a:pt x="260" y="801"/>
                    <a:pt x="260" y="801"/>
                    <a:pt x="260" y="801"/>
                  </a:cubicBezTo>
                  <a:cubicBezTo>
                    <a:pt x="259" y="794"/>
                    <a:pt x="259" y="794"/>
                    <a:pt x="259" y="794"/>
                  </a:cubicBezTo>
                  <a:cubicBezTo>
                    <a:pt x="257" y="790"/>
                    <a:pt x="257" y="790"/>
                    <a:pt x="257" y="790"/>
                  </a:cubicBezTo>
                  <a:cubicBezTo>
                    <a:pt x="253" y="789"/>
                    <a:pt x="253" y="789"/>
                    <a:pt x="253" y="789"/>
                  </a:cubicBezTo>
                  <a:cubicBezTo>
                    <a:pt x="244" y="787"/>
                    <a:pt x="244" y="787"/>
                    <a:pt x="244" y="787"/>
                  </a:cubicBezTo>
                  <a:cubicBezTo>
                    <a:pt x="240" y="781"/>
                    <a:pt x="240" y="781"/>
                    <a:pt x="240" y="781"/>
                  </a:cubicBezTo>
                  <a:cubicBezTo>
                    <a:pt x="239" y="779"/>
                    <a:pt x="239" y="779"/>
                    <a:pt x="239" y="779"/>
                  </a:cubicBezTo>
                  <a:cubicBezTo>
                    <a:pt x="239" y="779"/>
                    <a:pt x="239" y="779"/>
                    <a:pt x="236" y="778"/>
                  </a:cubicBezTo>
                  <a:cubicBezTo>
                    <a:pt x="234" y="778"/>
                    <a:pt x="236" y="776"/>
                    <a:pt x="236" y="776"/>
                  </a:cubicBezTo>
                  <a:cubicBezTo>
                    <a:pt x="236" y="772"/>
                    <a:pt x="236" y="772"/>
                    <a:pt x="236" y="772"/>
                  </a:cubicBezTo>
                  <a:cubicBezTo>
                    <a:pt x="232" y="772"/>
                    <a:pt x="232" y="772"/>
                    <a:pt x="232" y="772"/>
                  </a:cubicBezTo>
                  <a:cubicBezTo>
                    <a:pt x="229" y="769"/>
                    <a:pt x="229" y="769"/>
                    <a:pt x="229" y="769"/>
                  </a:cubicBezTo>
                  <a:cubicBezTo>
                    <a:pt x="223" y="767"/>
                    <a:pt x="223" y="767"/>
                    <a:pt x="223" y="767"/>
                  </a:cubicBezTo>
                  <a:cubicBezTo>
                    <a:pt x="225" y="761"/>
                    <a:pt x="225" y="761"/>
                    <a:pt x="225" y="761"/>
                  </a:cubicBezTo>
                  <a:cubicBezTo>
                    <a:pt x="226" y="758"/>
                    <a:pt x="226" y="758"/>
                    <a:pt x="226" y="758"/>
                  </a:cubicBezTo>
                  <a:cubicBezTo>
                    <a:pt x="226" y="754"/>
                    <a:pt x="226" y="754"/>
                    <a:pt x="226" y="754"/>
                  </a:cubicBezTo>
                  <a:cubicBezTo>
                    <a:pt x="224" y="752"/>
                    <a:pt x="224" y="752"/>
                    <a:pt x="224" y="752"/>
                  </a:cubicBezTo>
                  <a:cubicBezTo>
                    <a:pt x="220" y="749"/>
                    <a:pt x="220" y="749"/>
                    <a:pt x="220" y="749"/>
                  </a:cubicBezTo>
                  <a:cubicBezTo>
                    <a:pt x="219" y="746"/>
                    <a:pt x="219" y="746"/>
                    <a:pt x="219" y="746"/>
                  </a:cubicBezTo>
                  <a:cubicBezTo>
                    <a:pt x="219" y="744"/>
                    <a:pt x="219" y="744"/>
                    <a:pt x="219" y="744"/>
                  </a:cubicBezTo>
                  <a:cubicBezTo>
                    <a:pt x="219" y="737"/>
                    <a:pt x="219" y="737"/>
                    <a:pt x="219" y="737"/>
                  </a:cubicBezTo>
                  <a:cubicBezTo>
                    <a:pt x="218" y="734"/>
                    <a:pt x="218" y="734"/>
                    <a:pt x="218" y="734"/>
                  </a:cubicBezTo>
                  <a:cubicBezTo>
                    <a:pt x="214" y="736"/>
                    <a:pt x="214" y="736"/>
                    <a:pt x="214" y="736"/>
                  </a:cubicBezTo>
                  <a:cubicBezTo>
                    <a:pt x="214" y="734"/>
                    <a:pt x="214" y="734"/>
                    <a:pt x="214" y="734"/>
                  </a:cubicBezTo>
                  <a:cubicBezTo>
                    <a:pt x="211" y="735"/>
                    <a:pt x="211" y="735"/>
                    <a:pt x="211" y="735"/>
                  </a:cubicBezTo>
                  <a:cubicBezTo>
                    <a:pt x="209" y="733"/>
                    <a:pt x="209" y="733"/>
                    <a:pt x="209" y="733"/>
                  </a:cubicBezTo>
                  <a:cubicBezTo>
                    <a:pt x="206" y="731"/>
                    <a:pt x="206" y="731"/>
                    <a:pt x="206" y="731"/>
                  </a:cubicBezTo>
                  <a:cubicBezTo>
                    <a:pt x="200" y="729"/>
                    <a:pt x="200" y="729"/>
                    <a:pt x="200" y="729"/>
                  </a:cubicBezTo>
                  <a:cubicBezTo>
                    <a:pt x="200" y="729"/>
                    <a:pt x="197" y="730"/>
                    <a:pt x="194" y="731"/>
                  </a:cubicBezTo>
                  <a:cubicBezTo>
                    <a:pt x="191" y="732"/>
                    <a:pt x="192" y="732"/>
                    <a:pt x="191" y="733"/>
                  </a:cubicBezTo>
                  <a:cubicBezTo>
                    <a:pt x="189" y="733"/>
                    <a:pt x="188" y="735"/>
                    <a:pt x="188" y="737"/>
                  </a:cubicBezTo>
                  <a:cubicBezTo>
                    <a:pt x="187" y="738"/>
                    <a:pt x="184" y="739"/>
                    <a:pt x="183" y="739"/>
                  </a:cubicBezTo>
                  <a:cubicBezTo>
                    <a:pt x="182" y="739"/>
                    <a:pt x="180" y="737"/>
                    <a:pt x="180" y="737"/>
                  </a:cubicBezTo>
                  <a:cubicBezTo>
                    <a:pt x="180" y="735"/>
                    <a:pt x="180" y="735"/>
                    <a:pt x="180" y="735"/>
                  </a:cubicBezTo>
                  <a:cubicBezTo>
                    <a:pt x="179" y="730"/>
                    <a:pt x="179" y="730"/>
                    <a:pt x="179" y="730"/>
                  </a:cubicBezTo>
                  <a:cubicBezTo>
                    <a:pt x="173" y="730"/>
                    <a:pt x="173" y="730"/>
                    <a:pt x="173" y="730"/>
                  </a:cubicBezTo>
                  <a:cubicBezTo>
                    <a:pt x="167" y="732"/>
                    <a:pt x="167" y="732"/>
                    <a:pt x="167" y="732"/>
                  </a:cubicBezTo>
                  <a:cubicBezTo>
                    <a:pt x="166" y="734"/>
                    <a:pt x="166" y="734"/>
                    <a:pt x="166" y="734"/>
                  </a:cubicBezTo>
                  <a:cubicBezTo>
                    <a:pt x="162" y="733"/>
                    <a:pt x="162" y="733"/>
                    <a:pt x="162" y="733"/>
                  </a:cubicBezTo>
                  <a:cubicBezTo>
                    <a:pt x="161" y="730"/>
                    <a:pt x="161" y="730"/>
                    <a:pt x="161" y="730"/>
                  </a:cubicBezTo>
                  <a:cubicBezTo>
                    <a:pt x="158" y="729"/>
                    <a:pt x="158" y="729"/>
                    <a:pt x="158" y="729"/>
                  </a:cubicBezTo>
                  <a:cubicBezTo>
                    <a:pt x="154" y="731"/>
                    <a:pt x="154" y="731"/>
                    <a:pt x="154" y="731"/>
                  </a:cubicBezTo>
                  <a:cubicBezTo>
                    <a:pt x="154" y="731"/>
                    <a:pt x="154" y="732"/>
                    <a:pt x="152" y="733"/>
                  </a:cubicBezTo>
                  <a:cubicBezTo>
                    <a:pt x="152" y="733"/>
                    <a:pt x="151" y="732"/>
                    <a:pt x="150" y="732"/>
                  </a:cubicBezTo>
                  <a:cubicBezTo>
                    <a:pt x="150" y="733"/>
                    <a:pt x="148" y="732"/>
                    <a:pt x="147" y="731"/>
                  </a:cubicBezTo>
                  <a:cubicBezTo>
                    <a:pt x="147" y="730"/>
                    <a:pt x="147" y="730"/>
                    <a:pt x="147" y="729"/>
                  </a:cubicBezTo>
                  <a:cubicBezTo>
                    <a:pt x="147" y="728"/>
                    <a:pt x="147" y="726"/>
                    <a:pt x="147" y="726"/>
                  </a:cubicBezTo>
                  <a:cubicBezTo>
                    <a:pt x="148" y="722"/>
                    <a:pt x="148" y="722"/>
                    <a:pt x="148" y="722"/>
                  </a:cubicBezTo>
                  <a:cubicBezTo>
                    <a:pt x="148" y="722"/>
                    <a:pt x="145" y="719"/>
                    <a:pt x="144" y="719"/>
                  </a:cubicBezTo>
                  <a:cubicBezTo>
                    <a:pt x="144" y="718"/>
                    <a:pt x="143" y="715"/>
                    <a:pt x="143" y="715"/>
                  </a:cubicBezTo>
                  <a:cubicBezTo>
                    <a:pt x="143" y="715"/>
                    <a:pt x="142" y="714"/>
                    <a:pt x="141" y="713"/>
                  </a:cubicBezTo>
                  <a:cubicBezTo>
                    <a:pt x="140" y="713"/>
                    <a:pt x="139" y="712"/>
                    <a:pt x="139" y="712"/>
                  </a:cubicBezTo>
                  <a:cubicBezTo>
                    <a:pt x="140" y="710"/>
                    <a:pt x="140" y="710"/>
                    <a:pt x="140" y="710"/>
                  </a:cubicBezTo>
                  <a:cubicBezTo>
                    <a:pt x="137" y="708"/>
                    <a:pt x="137" y="708"/>
                    <a:pt x="137" y="708"/>
                  </a:cubicBezTo>
                  <a:cubicBezTo>
                    <a:pt x="132" y="705"/>
                    <a:pt x="132" y="705"/>
                    <a:pt x="132" y="705"/>
                  </a:cubicBezTo>
                  <a:cubicBezTo>
                    <a:pt x="134" y="703"/>
                    <a:pt x="134" y="703"/>
                    <a:pt x="134" y="703"/>
                  </a:cubicBezTo>
                  <a:cubicBezTo>
                    <a:pt x="131" y="701"/>
                    <a:pt x="131" y="701"/>
                    <a:pt x="131" y="701"/>
                  </a:cubicBezTo>
                  <a:cubicBezTo>
                    <a:pt x="128" y="703"/>
                    <a:pt x="128" y="703"/>
                    <a:pt x="128" y="703"/>
                  </a:cubicBezTo>
                  <a:cubicBezTo>
                    <a:pt x="128" y="699"/>
                    <a:pt x="128" y="699"/>
                    <a:pt x="128" y="699"/>
                  </a:cubicBezTo>
                  <a:cubicBezTo>
                    <a:pt x="126" y="693"/>
                    <a:pt x="126" y="693"/>
                    <a:pt x="126" y="693"/>
                  </a:cubicBezTo>
                  <a:cubicBezTo>
                    <a:pt x="128" y="691"/>
                    <a:pt x="128" y="691"/>
                    <a:pt x="128" y="691"/>
                  </a:cubicBezTo>
                  <a:cubicBezTo>
                    <a:pt x="127" y="683"/>
                    <a:pt x="127" y="683"/>
                    <a:pt x="127" y="683"/>
                  </a:cubicBezTo>
                  <a:cubicBezTo>
                    <a:pt x="127" y="683"/>
                    <a:pt x="125" y="682"/>
                    <a:pt x="125" y="682"/>
                  </a:cubicBezTo>
                  <a:cubicBezTo>
                    <a:pt x="124" y="682"/>
                    <a:pt x="122" y="680"/>
                    <a:pt x="122" y="680"/>
                  </a:cubicBezTo>
                  <a:cubicBezTo>
                    <a:pt x="118" y="679"/>
                    <a:pt x="118" y="679"/>
                    <a:pt x="118" y="679"/>
                  </a:cubicBezTo>
                  <a:cubicBezTo>
                    <a:pt x="118" y="677"/>
                    <a:pt x="118" y="677"/>
                    <a:pt x="118" y="677"/>
                  </a:cubicBezTo>
                  <a:cubicBezTo>
                    <a:pt x="116" y="675"/>
                    <a:pt x="116" y="675"/>
                    <a:pt x="116" y="675"/>
                  </a:cubicBezTo>
                  <a:cubicBezTo>
                    <a:pt x="113" y="675"/>
                    <a:pt x="113" y="675"/>
                    <a:pt x="113" y="675"/>
                  </a:cubicBezTo>
                  <a:cubicBezTo>
                    <a:pt x="113" y="675"/>
                    <a:pt x="112" y="675"/>
                    <a:pt x="112" y="675"/>
                  </a:cubicBezTo>
                  <a:cubicBezTo>
                    <a:pt x="112" y="674"/>
                    <a:pt x="111" y="671"/>
                    <a:pt x="111" y="671"/>
                  </a:cubicBezTo>
                  <a:cubicBezTo>
                    <a:pt x="113" y="668"/>
                    <a:pt x="113" y="668"/>
                    <a:pt x="113" y="668"/>
                  </a:cubicBezTo>
                  <a:cubicBezTo>
                    <a:pt x="113" y="668"/>
                    <a:pt x="113" y="665"/>
                    <a:pt x="113" y="664"/>
                  </a:cubicBezTo>
                  <a:cubicBezTo>
                    <a:pt x="114" y="663"/>
                    <a:pt x="117" y="663"/>
                    <a:pt x="117" y="663"/>
                  </a:cubicBezTo>
                  <a:cubicBezTo>
                    <a:pt x="119" y="662"/>
                    <a:pt x="119" y="662"/>
                    <a:pt x="119" y="662"/>
                  </a:cubicBezTo>
                  <a:cubicBezTo>
                    <a:pt x="120" y="659"/>
                    <a:pt x="120" y="659"/>
                    <a:pt x="120" y="659"/>
                  </a:cubicBezTo>
                  <a:cubicBezTo>
                    <a:pt x="120" y="659"/>
                    <a:pt x="117" y="659"/>
                    <a:pt x="116" y="657"/>
                  </a:cubicBezTo>
                  <a:cubicBezTo>
                    <a:pt x="115" y="656"/>
                    <a:pt x="116" y="657"/>
                    <a:pt x="116" y="656"/>
                  </a:cubicBezTo>
                  <a:cubicBezTo>
                    <a:pt x="116" y="655"/>
                    <a:pt x="115" y="656"/>
                    <a:pt x="115" y="656"/>
                  </a:cubicBezTo>
                  <a:cubicBezTo>
                    <a:pt x="115" y="656"/>
                    <a:pt x="114" y="656"/>
                    <a:pt x="114" y="654"/>
                  </a:cubicBezTo>
                  <a:cubicBezTo>
                    <a:pt x="114" y="654"/>
                    <a:pt x="114" y="652"/>
                    <a:pt x="113" y="652"/>
                  </a:cubicBezTo>
                  <a:cubicBezTo>
                    <a:pt x="113" y="650"/>
                    <a:pt x="111" y="650"/>
                    <a:pt x="111" y="650"/>
                  </a:cubicBezTo>
                  <a:cubicBezTo>
                    <a:pt x="110" y="649"/>
                    <a:pt x="110" y="649"/>
                    <a:pt x="109" y="648"/>
                  </a:cubicBezTo>
                  <a:cubicBezTo>
                    <a:pt x="108" y="646"/>
                    <a:pt x="108" y="646"/>
                    <a:pt x="108" y="646"/>
                  </a:cubicBezTo>
                  <a:cubicBezTo>
                    <a:pt x="105" y="644"/>
                    <a:pt x="107" y="640"/>
                    <a:pt x="105" y="638"/>
                  </a:cubicBezTo>
                  <a:cubicBezTo>
                    <a:pt x="102" y="636"/>
                    <a:pt x="102" y="630"/>
                    <a:pt x="101" y="628"/>
                  </a:cubicBezTo>
                  <a:cubicBezTo>
                    <a:pt x="98" y="624"/>
                    <a:pt x="99" y="623"/>
                    <a:pt x="100" y="621"/>
                  </a:cubicBezTo>
                  <a:cubicBezTo>
                    <a:pt x="101" y="616"/>
                    <a:pt x="104" y="612"/>
                    <a:pt x="104" y="604"/>
                  </a:cubicBezTo>
                  <a:cubicBezTo>
                    <a:pt x="105" y="598"/>
                    <a:pt x="105" y="598"/>
                    <a:pt x="105" y="598"/>
                  </a:cubicBezTo>
                  <a:cubicBezTo>
                    <a:pt x="109" y="595"/>
                    <a:pt x="109" y="595"/>
                    <a:pt x="109" y="595"/>
                  </a:cubicBezTo>
                  <a:cubicBezTo>
                    <a:pt x="108" y="593"/>
                    <a:pt x="108" y="593"/>
                    <a:pt x="108" y="593"/>
                  </a:cubicBezTo>
                  <a:cubicBezTo>
                    <a:pt x="104" y="592"/>
                    <a:pt x="104" y="592"/>
                    <a:pt x="104" y="592"/>
                  </a:cubicBezTo>
                  <a:cubicBezTo>
                    <a:pt x="104" y="592"/>
                    <a:pt x="104" y="592"/>
                    <a:pt x="104" y="592"/>
                  </a:cubicBezTo>
                  <a:cubicBezTo>
                    <a:pt x="105" y="591"/>
                    <a:pt x="105" y="591"/>
                    <a:pt x="105" y="591"/>
                  </a:cubicBezTo>
                  <a:cubicBezTo>
                    <a:pt x="102" y="581"/>
                    <a:pt x="102" y="581"/>
                    <a:pt x="102" y="581"/>
                  </a:cubicBezTo>
                  <a:cubicBezTo>
                    <a:pt x="103" y="578"/>
                    <a:pt x="103" y="578"/>
                    <a:pt x="103" y="578"/>
                  </a:cubicBezTo>
                  <a:cubicBezTo>
                    <a:pt x="106" y="580"/>
                    <a:pt x="106" y="580"/>
                    <a:pt x="106" y="580"/>
                  </a:cubicBezTo>
                  <a:cubicBezTo>
                    <a:pt x="108" y="581"/>
                    <a:pt x="108" y="581"/>
                    <a:pt x="108" y="581"/>
                  </a:cubicBezTo>
                  <a:cubicBezTo>
                    <a:pt x="110" y="578"/>
                    <a:pt x="110" y="578"/>
                    <a:pt x="110" y="578"/>
                  </a:cubicBezTo>
                  <a:cubicBezTo>
                    <a:pt x="109" y="575"/>
                    <a:pt x="109" y="575"/>
                    <a:pt x="109" y="575"/>
                  </a:cubicBezTo>
                  <a:cubicBezTo>
                    <a:pt x="109" y="575"/>
                    <a:pt x="110" y="572"/>
                    <a:pt x="111" y="572"/>
                  </a:cubicBezTo>
                  <a:cubicBezTo>
                    <a:pt x="112" y="573"/>
                    <a:pt x="116" y="573"/>
                    <a:pt x="116" y="573"/>
                  </a:cubicBezTo>
                  <a:cubicBezTo>
                    <a:pt x="119" y="570"/>
                    <a:pt x="119" y="570"/>
                    <a:pt x="119" y="570"/>
                  </a:cubicBezTo>
                  <a:cubicBezTo>
                    <a:pt x="119" y="566"/>
                    <a:pt x="119" y="566"/>
                    <a:pt x="119" y="566"/>
                  </a:cubicBezTo>
                  <a:cubicBezTo>
                    <a:pt x="121" y="563"/>
                    <a:pt x="121" y="563"/>
                    <a:pt x="121" y="563"/>
                  </a:cubicBezTo>
                  <a:cubicBezTo>
                    <a:pt x="126" y="562"/>
                    <a:pt x="126" y="562"/>
                    <a:pt x="126" y="562"/>
                  </a:cubicBezTo>
                  <a:cubicBezTo>
                    <a:pt x="126" y="562"/>
                    <a:pt x="135" y="562"/>
                    <a:pt x="136" y="562"/>
                  </a:cubicBezTo>
                  <a:cubicBezTo>
                    <a:pt x="137" y="562"/>
                    <a:pt x="140" y="562"/>
                    <a:pt x="141" y="562"/>
                  </a:cubicBezTo>
                  <a:cubicBezTo>
                    <a:pt x="142" y="562"/>
                    <a:pt x="147" y="563"/>
                    <a:pt x="147" y="563"/>
                  </a:cubicBezTo>
                  <a:cubicBezTo>
                    <a:pt x="149" y="559"/>
                    <a:pt x="149" y="559"/>
                    <a:pt x="149" y="559"/>
                  </a:cubicBezTo>
                  <a:cubicBezTo>
                    <a:pt x="142" y="557"/>
                    <a:pt x="142" y="557"/>
                    <a:pt x="142" y="557"/>
                  </a:cubicBezTo>
                  <a:cubicBezTo>
                    <a:pt x="138" y="557"/>
                    <a:pt x="138" y="557"/>
                    <a:pt x="138" y="557"/>
                  </a:cubicBezTo>
                  <a:cubicBezTo>
                    <a:pt x="135" y="553"/>
                    <a:pt x="135" y="553"/>
                    <a:pt x="135" y="553"/>
                  </a:cubicBezTo>
                  <a:cubicBezTo>
                    <a:pt x="130" y="552"/>
                    <a:pt x="130" y="552"/>
                    <a:pt x="130" y="552"/>
                  </a:cubicBezTo>
                  <a:cubicBezTo>
                    <a:pt x="124" y="554"/>
                    <a:pt x="124" y="554"/>
                    <a:pt x="124" y="554"/>
                  </a:cubicBezTo>
                  <a:cubicBezTo>
                    <a:pt x="120" y="555"/>
                    <a:pt x="120" y="555"/>
                    <a:pt x="120" y="555"/>
                  </a:cubicBezTo>
                  <a:cubicBezTo>
                    <a:pt x="114" y="554"/>
                    <a:pt x="114" y="554"/>
                    <a:pt x="114" y="554"/>
                  </a:cubicBezTo>
                  <a:cubicBezTo>
                    <a:pt x="113" y="551"/>
                    <a:pt x="113" y="551"/>
                    <a:pt x="113" y="551"/>
                  </a:cubicBezTo>
                  <a:cubicBezTo>
                    <a:pt x="113" y="551"/>
                    <a:pt x="109" y="551"/>
                    <a:pt x="108" y="551"/>
                  </a:cubicBezTo>
                  <a:cubicBezTo>
                    <a:pt x="107" y="551"/>
                    <a:pt x="106" y="551"/>
                    <a:pt x="105" y="550"/>
                  </a:cubicBezTo>
                  <a:cubicBezTo>
                    <a:pt x="104" y="550"/>
                    <a:pt x="101" y="545"/>
                    <a:pt x="101" y="545"/>
                  </a:cubicBezTo>
                  <a:cubicBezTo>
                    <a:pt x="102" y="542"/>
                    <a:pt x="102" y="542"/>
                    <a:pt x="102" y="542"/>
                  </a:cubicBezTo>
                  <a:cubicBezTo>
                    <a:pt x="104" y="544"/>
                    <a:pt x="104" y="544"/>
                    <a:pt x="104" y="544"/>
                  </a:cubicBezTo>
                  <a:cubicBezTo>
                    <a:pt x="104" y="544"/>
                    <a:pt x="105" y="545"/>
                    <a:pt x="105" y="544"/>
                  </a:cubicBezTo>
                  <a:cubicBezTo>
                    <a:pt x="105" y="543"/>
                    <a:pt x="104" y="539"/>
                    <a:pt x="104" y="539"/>
                  </a:cubicBezTo>
                  <a:cubicBezTo>
                    <a:pt x="104" y="539"/>
                    <a:pt x="105" y="534"/>
                    <a:pt x="103" y="535"/>
                  </a:cubicBezTo>
                  <a:cubicBezTo>
                    <a:pt x="101" y="535"/>
                    <a:pt x="98" y="538"/>
                    <a:pt x="98" y="539"/>
                  </a:cubicBezTo>
                  <a:cubicBezTo>
                    <a:pt x="98" y="540"/>
                    <a:pt x="97" y="542"/>
                    <a:pt x="96" y="543"/>
                  </a:cubicBezTo>
                  <a:cubicBezTo>
                    <a:pt x="96" y="545"/>
                    <a:pt x="95" y="545"/>
                    <a:pt x="94" y="546"/>
                  </a:cubicBezTo>
                  <a:cubicBezTo>
                    <a:pt x="93" y="547"/>
                    <a:pt x="89" y="548"/>
                    <a:pt x="89" y="548"/>
                  </a:cubicBezTo>
                  <a:cubicBezTo>
                    <a:pt x="86" y="548"/>
                    <a:pt x="86" y="548"/>
                    <a:pt x="86" y="548"/>
                  </a:cubicBezTo>
                  <a:cubicBezTo>
                    <a:pt x="88" y="545"/>
                    <a:pt x="88" y="545"/>
                    <a:pt x="88" y="545"/>
                  </a:cubicBezTo>
                  <a:cubicBezTo>
                    <a:pt x="90" y="540"/>
                    <a:pt x="90" y="540"/>
                    <a:pt x="90" y="540"/>
                  </a:cubicBezTo>
                  <a:cubicBezTo>
                    <a:pt x="90" y="540"/>
                    <a:pt x="94" y="533"/>
                    <a:pt x="94" y="531"/>
                  </a:cubicBezTo>
                  <a:cubicBezTo>
                    <a:pt x="95" y="530"/>
                    <a:pt x="96" y="527"/>
                    <a:pt x="96" y="526"/>
                  </a:cubicBezTo>
                  <a:cubicBezTo>
                    <a:pt x="97" y="524"/>
                    <a:pt x="99" y="523"/>
                    <a:pt x="99" y="523"/>
                  </a:cubicBezTo>
                  <a:cubicBezTo>
                    <a:pt x="102" y="514"/>
                    <a:pt x="102" y="514"/>
                    <a:pt x="102" y="514"/>
                  </a:cubicBezTo>
                  <a:cubicBezTo>
                    <a:pt x="112" y="494"/>
                    <a:pt x="112" y="494"/>
                    <a:pt x="112" y="494"/>
                  </a:cubicBezTo>
                  <a:cubicBezTo>
                    <a:pt x="112" y="494"/>
                    <a:pt x="114" y="488"/>
                    <a:pt x="115" y="486"/>
                  </a:cubicBezTo>
                  <a:cubicBezTo>
                    <a:pt x="115" y="485"/>
                    <a:pt x="117" y="480"/>
                    <a:pt x="117" y="479"/>
                  </a:cubicBezTo>
                  <a:cubicBezTo>
                    <a:pt x="118" y="477"/>
                    <a:pt x="120" y="471"/>
                    <a:pt x="120" y="471"/>
                  </a:cubicBezTo>
                  <a:cubicBezTo>
                    <a:pt x="120" y="471"/>
                    <a:pt x="122" y="463"/>
                    <a:pt x="122" y="461"/>
                  </a:cubicBezTo>
                  <a:cubicBezTo>
                    <a:pt x="122" y="459"/>
                    <a:pt x="124" y="458"/>
                    <a:pt x="125" y="457"/>
                  </a:cubicBezTo>
                  <a:cubicBezTo>
                    <a:pt x="126" y="457"/>
                    <a:pt x="128" y="449"/>
                    <a:pt x="129" y="448"/>
                  </a:cubicBezTo>
                  <a:cubicBezTo>
                    <a:pt x="129" y="446"/>
                    <a:pt x="131" y="432"/>
                    <a:pt x="131" y="432"/>
                  </a:cubicBezTo>
                  <a:cubicBezTo>
                    <a:pt x="129" y="422"/>
                    <a:pt x="129" y="422"/>
                    <a:pt x="129" y="422"/>
                  </a:cubicBezTo>
                  <a:cubicBezTo>
                    <a:pt x="125" y="419"/>
                    <a:pt x="125" y="419"/>
                    <a:pt x="125" y="419"/>
                  </a:cubicBezTo>
                  <a:cubicBezTo>
                    <a:pt x="120" y="416"/>
                    <a:pt x="120" y="416"/>
                    <a:pt x="120" y="416"/>
                  </a:cubicBezTo>
                  <a:cubicBezTo>
                    <a:pt x="120" y="416"/>
                    <a:pt x="114" y="413"/>
                    <a:pt x="113" y="412"/>
                  </a:cubicBezTo>
                  <a:cubicBezTo>
                    <a:pt x="113" y="411"/>
                    <a:pt x="109" y="410"/>
                    <a:pt x="108" y="409"/>
                  </a:cubicBezTo>
                  <a:cubicBezTo>
                    <a:pt x="107" y="409"/>
                    <a:pt x="103" y="408"/>
                    <a:pt x="102" y="408"/>
                  </a:cubicBezTo>
                  <a:cubicBezTo>
                    <a:pt x="101" y="408"/>
                    <a:pt x="98" y="406"/>
                    <a:pt x="96" y="404"/>
                  </a:cubicBezTo>
                  <a:cubicBezTo>
                    <a:pt x="94" y="402"/>
                    <a:pt x="90" y="399"/>
                    <a:pt x="90" y="399"/>
                  </a:cubicBezTo>
                  <a:cubicBezTo>
                    <a:pt x="94" y="392"/>
                    <a:pt x="94" y="392"/>
                    <a:pt x="94" y="392"/>
                  </a:cubicBezTo>
                  <a:cubicBezTo>
                    <a:pt x="94" y="392"/>
                    <a:pt x="94" y="387"/>
                    <a:pt x="95" y="386"/>
                  </a:cubicBezTo>
                  <a:cubicBezTo>
                    <a:pt x="95" y="385"/>
                    <a:pt x="95" y="382"/>
                    <a:pt x="95" y="382"/>
                  </a:cubicBezTo>
                  <a:cubicBezTo>
                    <a:pt x="94" y="379"/>
                    <a:pt x="94" y="379"/>
                    <a:pt x="94" y="379"/>
                  </a:cubicBezTo>
                  <a:cubicBezTo>
                    <a:pt x="91" y="375"/>
                    <a:pt x="91" y="375"/>
                    <a:pt x="91" y="375"/>
                  </a:cubicBezTo>
                  <a:cubicBezTo>
                    <a:pt x="91" y="375"/>
                    <a:pt x="87" y="374"/>
                    <a:pt x="86" y="375"/>
                  </a:cubicBezTo>
                  <a:cubicBezTo>
                    <a:pt x="85" y="375"/>
                    <a:pt x="85" y="373"/>
                    <a:pt x="84" y="371"/>
                  </a:cubicBezTo>
                  <a:cubicBezTo>
                    <a:pt x="84" y="370"/>
                    <a:pt x="83" y="370"/>
                    <a:pt x="81" y="368"/>
                  </a:cubicBezTo>
                  <a:cubicBezTo>
                    <a:pt x="79" y="367"/>
                    <a:pt x="78" y="365"/>
                    <a:pt x="78" y="365"/>
                  </a:cubicBezTo>
                  <a:cubicBezTo>
                    <a:pt x="80" y="360"/>
                    <a:pt x="80" y="360"/>
                    <a:pt x="80" y="360"/>
                  </a:cubicBezTo>
                  <a:cubicBezTo>
                    <a:pt x="80" y="360"/>
                    <a:pt x="79" y="358"/>
                    <a:pt x="79" y="356"/>
                  </a:cubicBezTo>
                  <a:cubicBezTo>
                    <a:pt x="79" y="355"/>
                    <a:pt x="76" y="356"/>
                    <a:pt x="76" y="356"/>
                  </a:cubicBezTo>
                  <a:cubicBezTo>
                    <a:pt x="70" y="355"/>
                    <a:pt x="70" y="355"/>
                    <a:pt x="70" y="355"/>
                  </a:cubicBezTo>
                  <a:cubicBezTo>
                    <a:pt x="66" y="348"/>
                    <a:pt x="66" y="348"/>
                    <a:pt x="66" y="348"/>
                  </a:cubicBezTo>
                  <a:cubicBezTo>
                    <a:pt x="66" y="348"/>
                    <a:pt x="67" y="343"/>
                    <a:pt x="67" y="342"/>
                  </a:cubicBezTo>
                  <a:cubicBezTo>
                    <a:pt x="68" y="341"/>
                    <a:pt x="68" y="339"/>
                    <a:pt x="68" y="339"/>
                  </a:cubicBezTo>
                  <a:cubicBezTo>
                    <a:pt x="64" y="338"/>
                    <a:pt x="64" y="338"/>
                    <a:pt x="64" y="338"/>
                  </a:cubicBezTo>
                  <a:cubicBezTo>
                    <a:pt x="65" y="335"/>
                    <a:pt x="65" y="335"/>
                    <a:pt x="65" y="335"/>
                  </a:cubicBezTo>
                  <a:cubicBezTo>
                    <a:pt x="63" y="330"/>
                    <a:pt x="63" y="330"/>
                    <a:pt x="63" y="330"/>
                  </a:cubicBezTo>
                  <a:cubicBezTo>
                    <a:pt x="63" y="327"/>
                    <a:pt x="63" y="327"/>
                    <a:pt x="63" y="327"/>
                  </a:cubicBezTo>
                  <a:cubicBezTo>
                    <a:pt x="61" y="323"/>
                    <a:pt x="61" y="323"/>
                    <a:pt x="61" y="323"/>
                  </a:cubicBezTo>
                  <a:cubicBezTo>
                    <a:pt x="61" y="321"/>
                    <a:pt x="61" y="321"/>
                    <a:pt x="61" y="321"/>
                  </a:cubicBezTo>
                  <a:cubicBezTo>
                    <a:pt x="64" y="317"/>
                    <a:pt x="64" y="317"/>
                    <a:pt x="64" y="317"/>
                  </a:cubicBezTo>
                  <a:cubicBezTo>
                    <a:pt x="64" y="313"/>
                    <a:pt x="64" y="313"/>
                    <a:pt x="64" y="313"/>
                  </a:cubicBezTo>
                  <a:cubicBezTo>
                    <a:pt x="61" y="307"/>
                    <a:pt x="61" y="307"/>
                    <a:pt x="61" y="307"/>
                  </a:cubicBezTo>
                  <a:cubicBezTo>
                    <a:pt x="61" y="307"/>
                    <a:pt x="59" y="304"/>
                    <a:pt x="59" y="303"/>
                  </a:cubicBezTo>
                  <a:cubicBezTo>
                    <a:pt x="58" y="302"/>
                    <a:pt x="52" y="298"/>
                    <a:pt x="52" y="298"/>
                  </a:cubicBezTo>
                  <a:cubicBezTo>
                    <a:pt x="50" y="292"/>
                    <a:pt x="50" y="292"/>
                    <a:pt x="50" y="292"/>
                  </a:cubicBezTo>
                  <a:cubicBezTo>
                    <a:pt x="44" y="285"/>
                    <a:pt x="44" y="285"/>
                    <a:pt x="44" y="285"/>
                  </a:cubicBezTo>
                  <a:cubicBezTo>
                    <a:pt x="39" y="279"/>
                    <a:pt x="39" y="279"/>
                    <a:pt x="39" y="279"/>
                  </a:cubicBezTo>
                  <a:cubicBezTo>
                    <a:pt x="35" y="276"/>
                    <a:pt x="35" y="276"/>
                    <a:pt x="35" y="276"/>
                  </a:cubicBezTo>
                  <a:cubicBezTo>
                    <a:pt x="33" y="270"/>
                    <a:pt x="33" y="270"/>
                    <a:pt x="33" y="270"/>
                  </a:cubicBezTo>
                  <a:cubicBezTo>
                    <a:pt x="33" y="270"/>
                    <a:pt x="34" y="264"/>
                    <a:pt x="34" y="263"/>
                  </a:cubicBezTo>
                  <a:cubicBezTo>
                    <a:pt x="34" y="262"/>
                    <a:pt x="37" y="256"/>
                    <a:pt x="37" y="252"/>
                  </a:cubicBezTo>
                  <a:cubicBezTo>
                    <a:pt x="37" y="249"/>
                    <a:pt x="39" y="244"/>
                    <a:pt x="39" y="244"/>
                  </a:cubicBezTo>
                  <a:cubicBezTo>
                    <a:pt x="39" y="238"/>
                    <a:pt x="39" y="238"/>
                    <a:pt x="39" y="238"/>
                  </a:cubicBezTo>
                  <a:cubicBezTo>
                    <a:pt x="37" y="235"/>
                    <a:pt x="37" y="235"/>
                    <a:pt x="37" y="235"/>
                  </a:cubicBezTo>
                  <a:cubicBezTo>
                    <a:pt x="32" y="232"/>
                    <a:pt x="32" y="232"/>
                    <a:pt x="32" y="232"/>
                  </a:cubicBezTo>
                  <a:cubicBezTo>
                    <a:pt x="29" y="228"/>
                    <a:pt x="29" y="228"/>
                    <a:pt x="29" y="228"/>
                  </a:cubicBezTo>
                  <a:cubicBezTo>
                    <a:pt x="29" y="228"/>
                    <a:pt x="28" y="223"/>
                    <a:pt x="22" y="222"/>
                  </a:cubicBezTo>
                  <a:cubicBezTo>
                    <a:pt x="16" y="220"/>
                    <a:pt x="15" y="221"/>
                    <a:pt x="15" y="221"/>
                  </a:cubicBezTo>
                  <a:cubicBezTo>
                    <a:pt x="9" y="218"/>
                    <a:pt x="9" y="218"/>
                    <a:pt x="9" y="218"/>
                  </a:cubicBezTo>
                  <a:cubicBezTo>
                    <a:pt x="6" y="212"/>
                    <a:pt x="6" y="212"/>
                    <a:pt x="6" y="212"/>
                  </a:cubicBezTo>
                  <a:cubicBezTo>
                    <a:pt x="3" y="207"/>
                    <a:pt x="3" y="207"/>
                    <a:pt x="3" y="207"/>
                  </a:cubicBezTo>
                  <a:cubicBezTo>
                    <a:pt x="5" y="204"/>
                    <a:pt x="5" y="204"/>
                    <a:pt x="5" y="204"/>
                  </a:cubicBezTo>
                  <a:cubicBezTo>
                    <a:pt x="6" y="199"/>
                    <a:pt x="6" y="199"/>
                    <a:pt x="6" y="199"/>
                  </a:cubicBezTo>
                  <a:cubicBezTo>
                    <a:pt x="6" y="196"/>
                    <a:pt x="6" y="196"/>
                    <a:pt x="6" y="196"/>
                  </a:cubicBezTo>
                  <a:cubicBezTo>
                    <a:pt x="5" y="192"/>
                    <a:pt x="5" y="192"/>
                    <a:pt x="5" y="192"/>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89"/>
                    <a:pt x="0" y="189"/>
                    <a:pt x="0" y="189"/>
                  </a:cubicBezTo>
                  <a:cubicBezTo>
                    <a:pt x="1" y="189"/>
                    <a:pt x="1" y="189"/>
                    <a:pt x="1" y="189"/>
                  </a:cubicBezTo>
                  <a:cubicBezTo>
                    <a:pt x="1" y="189"/>
                    <a:pt x="1" y="189"/>
                    <a:pt x="1" y="189"/>
                  </a:cubicBezTo>
                  <a:cubicBezTo>
                    <a:pt x="1" y="189"/>
                    <a:pt x="1" y="189"/>
                    <a:pt x="1" y="189"/>
                  </a:cubicBezTo>
                  <a:cubicBezTo>
                    <a:pt x="1" y="189"/>
                    <a:pt x="1" y="189"/>
                    <a:pt x="1" y="189"/>
                  </a:cubicBezTo>
                  <a:cubicBezTo>
                    <a:pt x="1" y="189"/>
                    <a:pt x="1" y="189"/>
                    <a:pt x="1" y="189"/>
                  </a:cubicBezTo>
                  <a:cubicBezTo>
                    <a:pt x="1" y="189"/>
                    <a:pt x="1" y="189"/>
                    <a:pt x="1" y="189"/>
                  </a:cubicBezTo>
                  <a:cubicBezTo>
                    <a:pt x="1" y="189"/>
                    <a:pt x="1" y="189"/>
                    <a:pt x="1" y="189"/>
                  </a:cubicBezTo>
                  <a:cubicBezTo>
                    <a:pt x="1" y="189"/>
                    <a:pt x="1" y="189"/>
                    <a:pt x="1" y="189"/>
                  </a:cubicBezTo>
                  <a:cubicBezTo>
                    <a:pt x="1" y="189"/>
                    <a:pt x="1" y="189"/>
                    <a:pt x="1" y="189"/>
                  </a:cubicBezTo>
                  <a:cubicBezTo>
                    <a:pt x="1" y="189"/>
                    <a:pt x="1" y="189"/>
                    <a:pt x="1" y="189"/>
                  </a:cubicBezTo>
                  <a:cubicBezTo>
                    <a:pt x="1" y="189"/>
                    <a:pt x="1" y="189"/>
                    <a:pt x="1" y="189"/>
                  </a:cubicBezTo>
                  <a:cubicBezTo>
                    <a:pt x="1" y="189"/>
                    <a:pt x="1" y="189"/>
                    <a:pt x="1" y="189"/>
                  </a:cubicBezTo>
                  <a:cubicBezTo>
                    <a:pt x="1" y="188"/>
                    <a:pt x="1" y="188"/>
                    <a:pt x="1" y="188"/>
                  </a:cubicBezTo>
                  <a:cubicBezTo>
                    <a:pt x="2" y="188"/>
                    <a:pt x="2" y="188"/>
                    <a:pt x="2" y="188"/>
                  </a:cubicBezTo>
                  <a:cubicBezTo>
                    <a:pt x="2" y="188"/>
                    <a:pt x="2" y="188"/>
                    <a:pt x="2" y="188"/>
                  </a:cubicBezTo>
                  <a:cubicBezTo>
                    <a:pt x="2" y="188"/>
                    <a:pt x="2" y="188"/>
                    <a:pt x="2" y="188"/>
                  </a:cubicBezTo>
                  <a:cubicBezTo>
                    <a:pt x="2" y="188"/>
                    <a:pt x="2" y="188"/>
                    <a:pt x="2" y="188"/>
                  </a:cubicBezTo>
                  <a:cubicBezTo>
                    <a:pt x="2" y="188"/>
                    <a:pt x="2" y="188"/>
                    <a:pt x="2" y="188"/>
                  </a:cubicBezTo>
                  <a:cubicBezTo>
                    <a:pt x="2" y="188"/>
                    <a:pt x="2" y="188"/>
                    <a:pt x="2" y="188"/>
                  </a:cubicBezTo>
                  <a:cubicBezTo>
                    <a:pt x="2" y="188"/>
                    <a:pt x="2" y="188"/>
                    <a:pt x="2" y="188"/>
                  </a:cubicBezTo>
                  <a:cubicBezTo>
                    <a:pt x="2" y="188"/>
                    <a:pt x="2" y="188"/>
                    <a:pt x="2" y="188"/>
                  </a:cubicBezTo>
                  <a:cubicBezTo>
                    <a:pt x="3" y="187"/>
                    <a:pt x="3" y="187"/>
                    <a:pt x="3" y="187"/>
                  </a:cubicBezTo>
                  <a:cubicBezTo>
                    <a:pt x="3" y="187"/>
                    <a:pt x="3" y="187"/>
                    <a:pt x="3" y="187"/>
                  </a:cubicBezTo>
                  <a:cubicBezTo>
                    <a:pt x="3" y="187"/>
                    <a:pt x="3" y="187"/>
                    <a:pt x="3" y="187"/>
                  </a:cubicBezTo>
                  <a:cubicBezTo>
                    <a:pt x="3" y="187"/>
                    <a:pt x="3" y="187"/>
                    <a:pt x="3" y="187"/>
                  </a:cubicBezTo>
                  <a:cubicBezTo>
                    <a:pt x="3" y="187"/>
                    <a:pt x="3" y="187"/>
                    <a:pt x="3" y="187"/>
                  </a:cubicBezTo>
                  <a:cubicBezTo>
                    <a:pt x="3" y="187"/>
                    <a:pt x="3" y="187"/>
                    <a:pt x="3" y="187"/>
                  </a:cubicBezTo>
                  <a:cubicBezTo>
                    <a:pt x="3" y="187"/>
                    <a:pt x="3" y="187"/>
                    <a:pt x="3" y="187"/>
                  </a:cubicBezTo>
                  <a:cubicBezTo>
                    <a:pt x="4" y="186"/>
                    <a:pt x="4" y="186"/>
                    <a:pt x="4" y="186"/>
                  </a:cubicBezTo>
                  <a:cubicBezTo>
                    <a:pt x="4" y="186"/>
                    <a:pt x="4" y="186"/>
                    <a:pt x="4" y="186"/>
                  </a:cubicBezTo>
                  <a:cubicBezTo>
                    <a:pt x="4" y="186"/>
                    <a:pt x="4" y="186"/>
                    <a:pt x="4" y="186"/>
                  </a:cubicBezTo>
                  <a:cubicBezTo>
                    <a:pt x="4" y="186"/>
                    <a:pt x="4" y="186"/>
                    <a:pt x="4" y="186"/>
                  </a:cubicBezTo>
                  <a:cubicBezTo>
                    <a:pt x="4" y="186"/>
                    <a:pt x="4" y="186"/>
                    <a:pt x="4" y="186"/>
                  </a:cubicBezTo>
                  <a:cubicBezTo>
                    <a:pt x="4" y="186"/>
                    <a:pt x="4" y="186"/>
                    <a:pt x="4" y="186"/>
                  </a:cubicBezTo>
                  <a:cubicBezTo>
                    <a:pt x="4" y="186"/>
                    <a:pt x="4" y="186"/>
                    <a:pt x="4" y="186"/>
                  </a:cubicBezTo>
                  <a:cubicBezTo>
                    <a:pt x="4" y="186"/>
                    <a:pt x="4" y="186"/>
                    <a:pt x="4" y="186"/>
                  </a:cubicBezTo>
                  <a:cubicBezTo>
                    <a:pt x="5" y="185"/>
                    <a:pt x="6" y="184"/>
                    <a:pt x="6" y="183"/>
                  </a:cubicBezTo>
                  <a:cubicBezTo>
                    <a:pt x="6" y="183"/>
                    <a:pt x="7" y="183"/>
                    <a:pt x="7" y="183"/>
                  </a:cubicBezTo>
                  <a:cubicBezTo>
                    <a:pt x="8" y="183"/>
                    <a:pt x="8" y="183"/>
                    <a:pt x="9" y="183"/>
                  </a:cubicBezTo>
                  <a:cubicBezTo>
                    <a:pt x="9" y="183"/>
                    <a:pt x="12" y="176"/>
                    <a:pt x="11" y="173"/>
                  </a:cubicBezTo>
                  <a:cubicBezTo>
                    <a:pt x="10" y="170"/>
                    <a:pt x="14" y="167"/>
                    <a:pt x="14" y="167"/>
                  </a:cubicBezTo>
                  <a:cubicBezTo>
                    <a:pt x="19" y="161"/>
                    <a:pt x="19" y="161"/>
                    <a:pt x="19" y="161"/>
                  </a:cubicBezTo>
                  <a:cubicBezTo>
                    <a:pt x="18" y="155"/>
                    <a:pt x="18" y="155"/>
                    <a:pt x="18" y="155"/>
                  </a:cubicBezTo>
                  <a:cubicBezTo>
                    <a:pt x="25" y="155"/>
                    <a:pt x="25" y="155"/>
                    <a:pt x="25" y="155"/>
                  </a:cubicBezTo>
                  <a:cubicBezTo>
                    <a:pt x="25" y="155"/>
                    <a:pt x="30" y="153"/>
                    <a:pt x="28" y="150"/>
                  </a:cubicBezTo>
                  <a:cubicBezTo>
                    <a:pt x="27" y="148"/>
                    <a:pt x="27" y="146"/>
                    <a:pt x="26" y="144"/>
                  </a:cubicBezTo>
                  <a:cubicBezTo>
                    <a:pt x="26" y="144"/>
                    <a:pt x="26" y="143"/>
                    <a:pt x="26" y="143"/>
                  </a:cubicBezTo>
                  <a:cubicBezTo>
                    <a:pt x="26" y="143"/>
                    <a:pt x="28" y="141"/>
                    <a:pt x="28" y="141"/>
                  </a:cubicBezTo>
                  <a:cubicBezTo>
                    <a:pt x="30" y="141"/>
                    <a:pt x="30" y="141"/>
                    <a:pt x="30" y="141"/>
                  </a:cubicBezTo>
                  <a:cubicBezTo>
                    <a:pt x="33" y="141"/>
                    <a:pt x="33" y="141"/>
                    <a:pt x="33" y="141"/>
                  </a:cubicBezTo>
                  <a:cubicBezTo>
                    <a:pt x="33" y="141"/>
                    <a:pt x="34" y="142"/>
                    <a:pt x="36" y="142"/>
                  </a:cubicBezTo>
                  <a:cubicBezTo>
                    <a:pt x="37" y="142"/>
                    <a:pt x="40" y="141"/>
                    <a:pt x="40" y="141"/>
                  </a:cubicBezTo>
                  <a:cubicBezTo>
                    <a:pt x="37" y="137"/>
                    <a:pt x="37" y="137"/>
                    <a:pt x="37" y="137"/>
                  </a:cubicBezTo>
                  <a:cubicBezTo>
                    <a:pt x="38" y="134"/>
                    <a:pt x="38" y="134"/>
                    <a:pt x="38" y="134"/>
                  </a:cubicBezTo>
                  <a:cubicBezTo>
                    <a:pt x="41" y="134"/>
                    <a:pt x="41" y="134"/>
                    <a:pt x="41" y="134"/>
                  </a:cubicBezTo>
                  <a:cubicBezTo>
                    <a:pt x="42" y="134"/>
                    <a:pt x="42" y="134"/>
                    <a:pt x="42" y="134"/>
                  </a:cubicBezTo>
                  <a:cubicBezTo>
                    <a:pt x="39" y="129"/>
                    <a:pt x="39" y="129"/>
                    <a:pt x="39" y="129"/>
                  </a:cubicBezTo>
                  <a:cubicBezTo>
                    <a:pt x="39" y="129"/>
                    <a:pt x="40" y="127"/>
                    <a:pt x="41" y="127"/>
                  </a:cubicBezTo>
                  <a:cubicBezTo>
                    <a:pt x="42" y="127"/>
                    <a:pt x="44" y="129"/>
                    <a:pt x="44" y="129"/>
                  </a:cubicBezTo>
                  <a:cubicBezTo>
                    <a:pt x="45" y="129"/>
                    <a:pt x="48" y="130"/>
                    <a:pt x="48" y="130"/>
                  </a:cubicBezTo>
                  <a:cubicBezTo>
                    <a:pt x="51" y="131"/>
                    <a:pt x="51" y="131"/>
                    <a:pt x="51" y="131"/>
                  </a:cubicBezTo>
                  <a:cubicBezTo>
                    <a:pt x="54" y="131"/>
                    <a:pt x="54" y="131"/>
                    <a:pt x="54" y="131"/>
                  </a:cubicBezTo>
                  <a:cubicBezTo>
                    <a:pt x="58" y="131"/>
                    <a:pt x="58" y="131"/>
                    <a:pt x="58" y="131"/>
                  </a:cubicBezTo>
                  <a:cubicBezTo>
                    <a:pt x="59" y="133"/>
                    <a:pt x="59" y="133"/>
                    <a:pt x="59" y="133"/>
                  </a:cubicBezTo>
                  <a:cubicBezTo>
                    <a:pt x="59" y="133"/>
                    <a:pt x="60" y="135"/>
                    <a:pt x="60" y="135"/>
                  </a:cubicBezTo>
                  <a:cubicBezTo>
                    <a:pt x="59" y="136"/>
                    <a:pt x="59" y="138"/>
                    <a:pt x="58" y="138"/>
                  </a:cubicBezTo>
                  <a:cubicBezTo>
                    <a:pt x="58" y="139"/>
                    <a:pt x="57" y="139"/>
                    <a:pt x="56" y="139"/>
                  </a:cubicBezTo>
                  <a:cubicBezTo>
                    <a:pt x="55" y="139"/>
                    <a:pt x="52" y="140"/>
                    <a:pt x="52" y="140"/>
                  </a:cubicBezTo>
                  <a:cubicBezTo>
                    <a:pt x="48" y="140"/>
                    <a:pt x="48" y="140"/>
                    <a:pt x="48" y="140"/>
                  </a:cubicBezTo>
                  <a:cubicBezTo>
                    <a:pt x="46" y="139"/>
                    <a:pt x="46" y="139"/>
                    <a:pt x="46" y="139"/>
                  </a:cubicBezTo>
                  <a:cubicBezTo>
                    <a:pt x="45" y="141"/>
                    <a:pt x="45" y="141"/>
                    <a:pt x="45" y="141"/>
                  </a:cubicBezTo>
                  <a:cubicBezTo>
                    <a:pt x="45" y="141"/>
                    <a:pt x="47" y="142"/>
                    <a:pt x="48" y="143"/>
                  </a:cubicBezTo>
                  <a:cubicBezTo>
                    <a:pt x="50" y="143"/>
                    <a:pt x="50" y="143"/>
                    <a:pt x="50" y="143"/>
                  </a:cubicBezTo>
                  <a:cubicBezTo>
                    <a:pt x="51" y="143"/>
                    <a:pt x="52" y="145"/>
                    <a:pt x="52" y="145"/>
                  </a:cubicBezTo>
                  <a:cubicBezTo>
                    <a:pt x="51" y="148"/>
                    <a:pt x="51" y="148"/>
                    <a:pt x="51" y="148"/>
                  </a:cubicBezTo>
                  <a:cubicBezTo>
                    <a:pt x="51" y="148"/>
                    <a:pt x="53" y="145"/>
                    <a:pt x="54" y="145"/>
                  </a:cubicBezTo>
                  <a:cubicBezTo>
                    <a:pt x="54" y="145"/>
                    <a:pt x="58" y="145"/>
                    <a:pt x="58" y="145"/>
                  </a:cubicBezTo>
                  <a:cubicBezTo>
                    <a:pt x="58" y="145"/>
                    <a:pt x="62" y="143"/>
                    <a:pt x="62" y="143"/>
                  </a:cubicBezTo>
                  <a:cubicBezTo>
                    <a:pt x="63" y="143"/>
                    <a:pt x="62" y="145"/>
                    <a:pt x="62" y="145"/>
                  </a:cubicBezTo>
                  <a:cubicBezTo>
                    <a:pt x="65" y="144"/>
                    <a:pt x="65" y="144"/>
                    <a:pt x="65" y="144"/>
                  </a:cubicBezTo>
                  <a:cubicBezTo>
                    <a:pt x="68" y="142"/>
                    <a:pt x="68" y="142"/>
                    <a:pt x="68" y="142"/>
                  </a:cubicBezTo>
                  <a:cubicBezTo>
                    <a:pt x="70" y="142"/>
                    <a:pt x="70" y="142"/>
                    <a:pt x="70" y="142"/>
                  </a:cubicBezTo>
                  <a:cubicBezTo>
                    <a:pt x="70" y="142"/>
                    <a:pt x="71" y="144"/>
                    <a:pt x="70" y="145"/>
                  </a:cubicBezTo>
                  <a:cubicBezTo>
                    <a:pt x="70" y="146"/>
                    <a:pt x="70" y="146"/>
                    <a:pt x="70" y="147"/>
                  </a:cubicBezTo>
                  <a:cubicBezTo>
                    <a:pt x="70" y="148"/>
                    <a:pt x="70" y="149"/>
                    <a:pt x="70" y="150"/>
                  </a:cubicBezTo>
                  <a:cubicBezTo>
                    <a:pt x="70" y="150"/>
                    <a:pt x="70" y="151"/>
                    <a:pt x="71" y="151"/>
                  </a:cubicBezTo>
                  <a:cubicBezTo>
                    <a:pt x="72" y="151"/>
                    <a:pt x="72" y="150"/>
                    <a:pt x="72" y="150"/>
                  </a:cubicBezTo>
                  <a:cubicBezTo>
                    <a:pt x="74" y="147"/>
                    <a:pt x="74" y="147"/>
                    <a:pt x="74" y="147"/>
                  </a:cubicBezTo>
                  <a:cubicBezTo>
                    <a:pt x="74" y="147"/>
                    <a:pt x="75" y="145"/>
                    <a:pt x="76" y="145"/>
                  </a:cubicBezTo>
                  <a:cubicBezTo>
                    <a:pt x="76" y="145"/>
                    <a:pt x="78" y="144"/>
                    <a:pt x="78" y="144"/>
                  </a:cubicBezTo>
                  <a:cubicBezTo>
                    <a:pt x="83" y="143"/>
                    <a:pt x="83" y="143"/>
                    <a:pt x="83" y="143"/>
                  </a:cubicBezTo>
                  <a:cubicBezTo>
                    <a:pt x="83" y="143"/>
                    <a:pt x="87" y="143"/>
                    <a:pt x="87" y="143"/>
                  </a:cubicBezTo>
                  <a:cubicBezTo>
                    <a:pt x="88" y="143"/>
                    <a:pt x="89" y="143"/>
                    <a:pt x="90" y="143"/>
                  </a:cubicBezTo>
                  <a:cubicBezTo>
                    <a:pt x="91" y="144"/>
                    <a:pt x="93" y="144"/>
                    <a:pt x="94" y="144"/>
                  </a:cubicBezTo>
                  <a:cubicBezTo>
                    <a:pt x="95" y="144"/>
                    <a:pt x="95" y="144"/>
                    <a:pt x="95" y="144"/>
                  </a:cubicBezTo>
                  <a:cubicBezTo>
                    <a:pt x="95" y="144"/>
                    <a:pt x="97" y="142"/>
                    <a:pt x="97" y="142"/>
                  </a:cubicBezTo>
                  <a:cubicBezTo>
                    <a:pt x="97" y="141"/>
                    <a:pt x="97" y="141"/>
                    <a:pt x="98" y="140"/>
                  </a:cubicBezTo>
                  <a:cubicBezTo>
                    <a:pt x="98" y="139"/>
                    <a:pt x="99" y="138"/>
                    <a:pt x="99" y="138"/>
                  </a:cubicBezTo>
                  <a:cubicBezTo>
                    <a:pt x="100" y="138"/>
                    <a:pt x="113" y="140"/>
                    <a:pt x="113" y="140"/>
                  </a:cubicBezTo>
                  <a:cubicBezTo>
                    <a:pt x="123" y="143"/>
                    <a:pt x="123" y="143"/>
                    <a:pt x="123" y="143"/>
                  </a:cubicBezTo>
                  <a:cubicBezTo>
                    <a:pt x="130" y="144"/>
                    <a:pt x="130" y="144"/>
                    <a:pt x="130" y="144"/>
                  </a:cubicBezTo>
                  <a:cubicBezTo>
                    <a:pt x="130" y="144"/>
                    <a:pt x="136" y="147"/>
                    <a:pt x="137" y="148"/>
                  </a:cubicBezTo>
                  <a:cubicBezTo>
                    <a:pt x="138" y="148"/>
                    <a:pt x="148" y="150"/>
                    <a:pt x="148" y="150"/>
                  </a:cubicBezTo>
                  <a:cubicBezTo>
                    <a:pt x="153" y="153"/>
                    <a:pt x="153" y="153"/>
                    <a:pt x="153" y="153"/>
                  </a:cubicBezTo>
                  <a:cubicBezTo>
                    <a:pt x="153" y="153"/>
                    <a:pt x="157" y="155"/>
                    <a:pt x="157" y="156"/>
                  </a:cubicBezTo>
                  <a:cubicBezTo>
                    <a:pt x="158" y="156"/>
                    <a:pt x="161" y="158"/>
                    <a:pt x="161" y="158"/>
                  </a:cubicBezTo>
                  <a:cubicBezTo>
                    <a:pt x="164" y="156"/>
                    <a:pt x="164" y="156"/>
                    <a:pt x="164" y="156"/>
                  </a:cubicBezTo>
                  <a:cubicBezTo>
                    <a:pt x="164" y="156"/>
                    <a:pt x="168" y="157"/>
                    <a:pt x="168" y="158"/>
                  </a:cubicBezTo>
                  <a:cubicBezTo>
                    <a:pt x="168" y="158"/>
                    <a:pt x="176" y="160"/>
                    <a:pt x="176" y="160"/>
                  </a:cubicBezTo>
                  <a:cubicBezTo>
                    <a:pt x="176" y="160"/>
                    <a:pt x="182" y="162"/>
                    <a:pt x="183" y="162"/>
                  </a:cubicBezTo>
                  <a:cubicBezTo>
                    <a:pt x="184" y="162"/>
                    <a:pt x="187" y="161"/>
                    <a:pt x="187" y="161"/>
                  </a:cubicBezTo>
                  <a:cubicBezTo>
                    <a:pt x="187" y="159"/>
                    <a:pt x="187" y="159"/>
                    <a:pt x="187" y="159"/>
                  </a:cubicBezTo>
                  <a:cubicBezTo>
                    <a:pt x="187" y="159"/>
                    <a:pt x="186" y="158"/>
                    <a:pt x="188" y="158"/>
                  </a:cubicBezTo>
                  <a:cubicBezTo>
                    <a:pt x="189" y="158"/>
                    <a:pt x="190" y="158"/>
                    <a:pt x="191" y="159"/>
                  </a:cubicBezTo>
                  <a:cubicBezTo>
                    <a:pt x="191" y="160"/>
                    <a:pt x="193" y="159"/>
                    <a:pt x="194" y="161"/>
                  </a:cubicBezTo>
                  <a:cubicBezTo>
                    <a:pt x="194" y="162"/>
                    <a:pt x="198" y="163"/>
                    <a:pt x="198" y="163"/>
                  </a:cubicBezTo>
                  <a:cubicBezTo>
                    <a:pt x="201" y="165"/>
                    <a:pt x="201" y="165"/>
                    <a:pt x="201" y="165"/>
                  </a:cubicBezTo>
                  <a:cubicBezTo>
                    <a:pt x="202" y="167"/>
                    <a:pt x="202" y="167"/>
                    <a:pt x="202" y="167"/>
                  </a:cubicBezTo>
                  <a:cubicBezTo>
                    <a:pt x="204" y="168"/>
                    <a:pt x="204" y="168"/>
                    <a:pt x="204" y="168"/>
                  </a:cubicBezTo>
                  <a:cubicBezTo>
                    <a:pt x="204" y="166"/>
                    <a:pt x="204" y="166"/>
                    <a:pt x="204" y="166"/>
                  </a:cubicBezTo>
                  <a:cubicBezTo>
                    <a:pt x="205" y="166"/>
                    <a:pt x="205" y="165"/>
                    <a:pt x="205" y="165"/>
                  </a:cubicBezTo>
                  <a:cubicBezTo>
                    <a:pt x="208" y="166"/>
                    <a:pt x="208" y="166"/>
                    <a:pt x="208" y="166"/>
                  </a:cubicBezTo>
                  <a:cubicBezTo>
                    <a:pt x="208" y="166"/>
                    <a:pt x="209" y="166"/>
                    <a:pt x="209" y="166"/>
                  </a:cubicBezTo>
                  <a:cubicBezTo>
                    <a:pt x="210" y="166"/>
                    <a:pt x="212" y="165"/>
                    <a:pt x="212" y="166"/>
                  </a:cubicBezTo>
                  <a:cubicBezTo>
                    <a:pt x="212" y="166"/>
                    <a:pt x="214" y="167"/>
                    <a:pt x="214" y="168"/>
                  </a:cubicBezTo>
                  <a:cubicBezTo>
                    <a:pt x="215" y="169"/>
                    <a:pt x="216" y="171"/>
                    <a:pt x="216" y="171"/>
                  </a:cubicBezTo>
                  <a:cubicBezTo>
                    <a:pt x="216" y="171"/>
                    <a:pt x="216" y="172"/>
                    <a:pt x="216" y="173"/>
                  </a:cubicBezTo>
                  <a:cubicBezTo>
                    <a:pt x="216" y="174"/>
                    <a:pt x="217" y="175"/>
                    <a:pt x="217" y="175"/>
                  </a:cubicBezTo>
                  <a:cubicBezTo>
                    <a:pt x="219" y="176"/>
                    <a:pt x="219" y="176"/>
                    <a:pt x="219" y="176"/>
                  </a:cubicBezTo>
                  <a:cubicBezTo>
                    <a:pt x="222" y="183"/>
                    <a:pt x="222" y="183"/>
                    <a:pt x="222" y="183"/>
                  </a:cubicBezTo>
                  <a:cubicBezTo>
                    <a:pt x="224" y="184"/>
                    <a:pt x="224" y="184"/>
                    <a:pt x="224" y="184"/>
                  </a:cubicBezTo>
                  <a:cubicBezTo>
                    <a:pt x="226" y="183"/>
                    <a:pt x="226" y="183"/>
                    <a:pt x="226" y="183"/>
                  </a:cubicBezTo>
                  <a:cubicBezTo>
                    <a:pt x="228" y="183"/>
                    <a:pt x="228" y="183"/>
                    <a:pt x="228" y="183"/>
                  </a:cubicBezTo>
                  <a:cubicBezTo>
                    <a:pt x="231" y="188"/>
                    <a:pt x="231" y="188"/>
                    <a:pt x="231" y="188"/>
                  </a:cubicBezTo>
                  <a:cubicBezTo>
                    <a:pt x="233" y="195"/>
                    <a:pt x="233" y="195"/>
                    <a:pt x="233" y="195"/>
                  </a:cubicBezTo>
                  <a:cubicBezTo>
                    <a:pt x="232" y="205"/>
                    <a:pt x="232" y="205"/>
                    <a:pt x="232" y="205"/>
                  </a:cubicBezTo>
                  <a:cubicBezTo>
                    <a:pt x="231" y="212"/>
                    <a:pt x="231" y="212"/>
                    <a:pt x="231" y="212"/>
                  </a:cubicBezTo>
                  <a:cubicBezTo>
                    <a:pt x="231" y="212"/>
                    <a:pt x="230" y="217"/>
                    <a:pt x="230" y="218"/>
                  </a:cubicBezTo>
                  <a:cubicBezTo>
                    <a:pt x="230" y="219"/>
                    <a:pt x="226" y="225"/>
                    <a:pt x="226" y="225"/>
                  </a:cubicBezTo>
                  <a:cubicBezTo>
                    <a:pt x="226" y="225"/>
                    <a:pt x="223" y="230"/>
                    <a:pt x="223" y="231"/>
                  </a:cubicBezTo>
                  <a:cubicBezTo>
                    <a:pt x="222" y="232"/>
                    <a:pt x="218" y="238"/>
                    <a:pt x="218" y="238"/>
                  </a:cubicBezTo>
                  <a:cubicBezTo>
                    <a:pt x="209" y="248"/>
                    <a:pt x="209" y="248"/>
                    <a:pt x="209" y="248"/>
                  </a:cubicBezTo>
                  <a:cubicBezTo>
                    <a:pt x="209" y="248"/>
                    <a:pt x="204" y="251"/>
                    <a:pt x="203" y="252"/>
                  </a:cubicBezTo>
                  <a:cubicBezTo>
                    <a:pt x="201" y="253"/>
                    <a:pt x="194" y="254"/>
                    <a:pt x="194" y="254"/>
                  </a:cubicBezTo>
                  <a:cubicBezTo>
                    <a:pt x="187" y="254"/>
                    <a:pt x="187" y="254"/>
                    <a:pt x="187" y="254"/>
                  </a:cubicBezTo>
                  <a:cubicBezTo>
                    <a:pt x="178" y="251"/>
                    <a:pt x="178" y="251"/>
                    <a:pt x="178" y="251"/>
                  </a:cubicBezTo>
                  <a:cubicBezTo>
                    <a:pt x="172" y="253"/>
                    <a:pt x="172" y="253"/>
                    <a:pt x="172" y="253"/>
                  </a:cubicBezTo>
                  <a:cubicBezTo>
                    <a:pt x="165" y="255"/>
                    <a:pt x="165" y="255"/>
                    <a:pt x="165" y="255"/>
                  </a:cubicBezTo>
                  <a:cubicBezTo>
                    <a:pt x="158" y="255"/>
                    <a:pt x="158" y="255"/>
                    <a:pt x="158" y="255"/>
                  </a:cubicBezTo>
                  <a:cubicBezTo>
                    <a:pt x="151" y="257"/>
                    <a:pt x="151" y="257"/>
                    <a:pt x="151" y="257"/>
                  </a:cubicBezTo>
                  <a:cubicBezTo>
                    <a:pt x="151" y="257"/>
                    <a:pt x="148" y="257"/>
                    <a:pt x="147" y="257"/>
                  </a:cubicBezTo>
                  <a:cubicBezTo>
                    <a:pt x="147" y="257"/>
                    <a:pt x="141" y="255"/>
                    <a:pt x="141" y="255"/>
                  </a:cubicBezTo>
                  <a:cubicBezTo>
                    <a:pt x="136" y="254"/>
                    <a:pt x="136" y="254"/>
                    <a:pt x="136" y="254"/>
                  </a:cubicBezTo>
                  <a:cubicBezTo>
                    <a:pt x="132" y="254"/>
                    <a:pt x="132" y="254"/>
                    <a:pt x="132" y="254"/>
                  </a:cubicBezTo>
                  <a:cubicBezTo>
                    <a:pt x="131" y="257"/>
                    <a:pt x="131" y="257"/>
                    <a:pt x="131" y="257"/>
                  </a:cubicBezTo>
                  <a:cubicBezTo>
                    <a:pt x="131" y="257"/>
                    <a:pt x="131" y="257"/>
                    <a:pt x="129" y="257"/>
                  </a:cubicBezTo>
                  <a:cubicBezTo>
                    <a:pt x="128" y="257"/>
                    <a:pt x="126" y="257"/>
                    <a:pt x="126" y="257"/>
                  </a:cubicBezTo>
                  <a:cubicBezTo>
                    <a:pt x="126" y="254"/>
                    <a:pt x="126" y="254"/>
                    <a:pt x="126" y="254"/>
                  </a:cubicBezTo>
                  <a:cubicBezTo>
                    <a:pt x="120" y="254"/>
                    <a:pt x="120" y="254"/>
                    <a:pt x="120" y="254"/>
                  </a:cubicBezTo>
                  <a:cubicBezTo>
                    <a:pt x="120" y="254"/>
                    <a:pt x="118" y="254"/>
                    <a:pt x="116" y="254"/>
                  </a:cubicBezTo>
                  <a:cubicBezTo>
                    <a:pt x="114" y="254"/>
                    <a:pt x="112" y="252"/>
                    <a:pt x="111" y="252"/>
                  </a:cubicBezTo>
                  <a:cubicBezTo>
                    <a:pt x="110" y="252"/>
                    <a:pt x="110" y="253"/>
                    <a:pt x="110" y="253"/>
                  </a:cubicBezTo>
                  <a:cubicBezTo>
                    <a:pt x="110" y="255"/>
                    <a:pt x="110" y="255"/>
                    <a:pt x="110" y="255"/>
                  </a:cubicBezTo>
                  <a:cubicBezTo>
                    <a:pt x="106" y="255"/>
                    <a:pt x="106" y="255"/>
                    <a:pt x="106" y="255"/>
                  </a:cubicBezTo>
                  <a:cubicBezTo>
                    <a:pt x="101" y="253"/>
                    <a:pt x="101" y="253"/>
                    <a:pt x="101" y="253"/>
                  </a:cubicBezTo>
                  <a:cubicBezTo>
                    <a:pt x="98" y="251"/>
                    <a:pt x="98" y="251"/>
                    <a:pt x="98" y="251"/>
                  </a:cubicBezTo>
                  <a:cubicBezTo>
                    <a:pt x="94" y="247"/>
                    <a:pt x="94" y="247"/>
                    <a:pt x="94" y="247"/>
                  </a:cubicBezTo>
                  <a:cubicBezTo>
                    <a:pt x="94" y="245"/>
                    <a:pt x="94" y="245"/>
                    <a:pt x="94" y="245"/>
                  </a:cubicBezTo>
                  <a:cubicBezTo>
                    <a:pt x="90" y="245"/>
                    <a:pt x="90" y="245"/>
                    <a:pt x="90" y="245"/>
                  </a:cubicBezTo>
                  <a:cubicBezTo>
                    <a:pt x="85" y="245"/>
                    <a:pt x="85" y="245"/>
                    <a:pt x="85" y="245"/>
                  </a:cubicBezTo>
                  <a:cubicBezTo>
                    <a:pt x="81" y="247"/>
                    <a:pt x="81" y="247"/>
                    <a:pt x="81" y="247"/>
                  </a:cubicBezTo>
                  <a:cubicBezTo>
                    <a:pt x="85" y="248"/>
                    <a:pt x="85" y="248"/>
                    <a:pt x="85" y="248"/>
                  </a:cubicBezTo>
                  <a:cubicBezTo>
                    <a:pt x="88" y="249"/>
                    <a:pt x="88" y="249"/>
                    <a:pt x="88" y="249"/>
                  </a:cubicBezTo>
                  <a:cubicBezTo>
                    <a:pt x="88" y="249"/>
                    <a:pt x="91" y="248"/>
                    <a:pt x="91" y="250"/>
                  </a:cubicBezTo>
                  <a:cubicBezTo>
                    <a:pt x="91" y="252"/>
                    <a:pt x="89" y="252"/>
                    <a:pt x="90" y="254"/>
                  </a:cubicBezTo>
                  <a:cubicBezTo>
                    <a:pt x="92" y="256"/>
                    <a:pt x="94" y="257"/>
                    <a:pt x="94" y="257"/>
                  </a:cubicBezTo>
                  <a:cubicBezTo>
                    <a:pt x="94" y="257"/>
                    <a:pt x="96" y="257"/>
                    <a:pt x="97" y="257"/>
                  </a:cubicBezTo>
                  <a:cubicBezTo>
                    <a:pt x="98" y="257"/>
                    <a:pt x="99" y="257"/>
                    <a:pt x="99" y="257"/>
                  </a:cubicBezTo>
                  <a:cubicBezTo>
                    <a:pt x="101" y="259"/>
                    <a:pt x="101" y="259"/>
                    <a:pt x="101" y="259"/>
                  </a:cubicBezTo>
                  <a:cubicBezTo>
                    <a:pt x="101" y="259"/>
                    <a:pt x="100" y="260"/>
                    <a:pt x="101" y="260"/>
                  </a:cubicBezTo>
                  <a:cubicBezTo>
                    <a:pt x="102" y="260"/>
                    <a:pt x="106" y="260"/>
                    <a:pt x="106" y="260"/>
                  </a:cubicBezTo>
                  <a:cubicBezTo>
                    <a:pt x="110" y="262"/>
                    <a:pt x="110" y="262"/>
                    <a:pt x="110" y="262"/>
                  </a:cubicBezTo>
                  <a:cubicBezTo>
                    <a:pt x="110" y="264"/>
                    <a:pt x="110" y="264"/>
                    <a:pt x="110" y="264"/>
                  </a:cubicBezTo>
                  <a:cubicBezTo>
                    <a:pt x="110" y="264"/>
                    <a:pt x="109" y="266"/>
                    <a:pt x="111" y="266"/>
                  </a:cubicBezTo>
                  <a:cubicBezTo>
                    <a:pt x="112" y="266"/>
                    <a:pt x="115" y="266"/>
                    <a:pt x="115" y="266"/>
                  </a:cubicBezTo>
                  <a:cubicBezTo>
                    <a:pt x="115" y="266"/>
                    <a:pt x="114" y="265"/>
                    <a:pt x="116" y="266"/>
                  </a:cubicBezTo>
                  <a:cubicBezTo>
                    <a:pt x="117" y="266"/>
                    <a:pt x="117" y="267"/>
                    <a:pt x="117" y="267"/>
                  </a:cubicBezTo>
                  <a:cubicBezTo>
                    <a:pt x="117" y="267"/>
                    <a:pt x="118" y="269"/>
                    <a:pt x="118" y="270"/>
                  </a:cubicBezTo>
                  <a:cubicBezTo>
                    <a:pt x="118" y="271"/>
                    <a:pt x="119" y="272"/>
                    <a:pt x="119" y="272"/>
                  </a:cubicBezTo>
                  <a:cubicBezTo>
                    <a:pt x="119" y="272"/>
                    <a:pt x="117" y="273"/>
                    <a:pt x="121" y="273"/>
                  </a:cubicBezTo>
                  <a:cubicBezTo>
                    <a:pt x="125" y="273"/>
                    <a:pt x="125" y="273"/>
                    <a:pt x="125" y="273"/>
                  </a:cubicBezTo>
                  <a:cubicBezTo>
                    <a:pt x="127" y="273"/>
                    <a:pt x="127" y="273"/>
                    <a:pt x="127" y="273"/>
                  </a:cubicBezTo>
                  <a:cubicBezTo>
                    <a:pt x="131" y="274"/>
                    <a:pt x="131" y="274"/>
                    <a:pt x="131" y="274"/>
                  </a:cubicBezTo>
                  <a:cubicBezTo>
                    <a:pt x="136" y="276"/>
                    <a:pt x="136" y="276"/>
                    <a:pt x="136" y="276"/>
                  </a:cubicBezTo>
                  <a:cubicBezTo>
                    <a:pt x="142" y="279"/>
                    <a:pt x="142" y="279"/>
                    <a:pt x="142" y="279"/>
                  </a:cubicBezTo>
                  <a:cubicBezTo>
                    <a:pt x="142" y="279"/>
                    <a:pt x="142" y="282"/>
                    <a:pt x="143" y="282"/>
                  </a:cubicBezTo>
                  <a:cubicBezTo>
                    <a:pt x="144" y="282"/>
                    <a:pt x="147" y="282"/>
                    <a:pt x="147" y="282"/>
                  </a:cubicBezTo>
                  <a:cubicBezTo>
                    <a:pt x="150" y="289"/>
                    <a:pt x="150" y="289"/>
                    <a:pt x="150" y="289"/>
                  </a:cubicBezTo>
                  <a:cubicBezTo>
                    <a:pt x="145" y="289"/>
                    <a:pt x="145" y="289"/>
                    <a:pt x="145" y="289"/>
                  </a:cubicBezTo>
                  <a:cubicBezTo>
                    <a:pt x="148" y="295"/>
                    <a:pt x="148" y="295"/>
                    <a:pt x="148" y="295"/>
                  </a:cubicBezTo>
                  <a:cubicBezTo>
                    <a:pt x="150" y="298"/>
                    <a:pt x="150" y="298"/>
                    <a:pt x="150" y="298"/>
                  </a:cubicBezTo>
                  <a:cubicBezTo>
                    <a:pt x="149" y="302"/>
                    <a:pt x="149" y="302"/>
                    <a:pt x="149" y="302"/>
                  </a:cubicBezTo>
                  <a:cubicBezTo>
                    <a:pt x="147" y="305"/>
                    <a:pt x="147" y="305"/>
                    <a:pt x="147" y="305"/>
                  </a:cubicBezTo>
                  <a:cubicBezTo>
                    <a:pt x="147" y="305"/>
                    <a:pt x="147" y="305"/>
                    <a:pt x="147" y="306"/>
                  </a:cubicBezTo>
                  <a:cubicBezTo>
                    <a:pt x="147" y="307"/>
                    <a:pt x="148" y="307"/>
                    <a:pt x="148" y="307"/>
                  </a:cubicBezTo>
                  <a:cubicBezTo>
                    <a:pt x="148" y="307"/>
                    <a:pt x="149" y="308"/>
                    <a:pt x="150" y="309"/>
                  </a:cubicBezTo>
                  <a:cubicBezTo>
                    <a:pt x="150" y="310"/>
                    <a:pt x="152" y="310"/>
                    <a:pt x="152" y="311"/>
                  </a:cubicBezTo>
                  <a:cubicBezTo>
                    <a:pt x="152" y="312"/>
                    <a:pt x="155" y="315"/>
                    <a:pt x="155" y="315"/>
                  </a:cubicBezTo>
                  <a:cubicBezTo>
                    <a:pt x="156" y="316"/>
                    <a:pt x="156" y="316"/>
                    <a:pt x="156" y="316"/>
                  </a:cubicBezTo>
                  <a:cubicBezTo>
                    <a:pt x="159" y="318"/>
                    <a:pt x="159" y="318"/>
                    <a:pt x="159" y="318"/>
                  </a:cubicBezTo>
                  <a:cubicBezTo>
                    <a:pt x="159" y="318"/>
                    <a:pt x="159" y="318"/>
                    <a:pt x="159" y="319"/>
                  </a:cubicBezTo>
                  <a:cubicBezTo>
                    <a:pt x="159" y="320"/>
                    <a:pt x="161" y="322"/>
                    <a:pt x="161" y="322"/>
                  </a:cubicBezTo>
                  <a:cubicBezTo>
                    <a:pt x="164" y="324"/>
                    <a:pt x="164" y="324"/>
                    <a:pt x="164" y="324"/>
                  </a:cubicBezTo>
                  <a:cubicBezTo>
                    <a:pt x="164" y="324"/>
                    <a:pt x="164" y="324"/>
                    <a:pt x="164" y="325"/>
                  </a:cubicBezTo>
                  <a:cubicBezTo>
                    <a:pt x="164" y="327"/>
                    <a:pt x="164" y="329"/>
                    <a:pt x="164" y="329"/>
                  </a:cubicBezTo>
                  <a:cubicBezTo>
                    <a:pt x="167" y="329"/>
                    <a:pt x="167" y="329"/>
                    <a:pt x="167" y="329"/>
                  </a:cubicBezTo>
                  <a:cubicBezTo>
                    <a:pt x="166" y="332"/>
                    <a:pt x="166" y="332"/>
                    <a:pt x="166" y="332"/>
                  </a:cubicBezTo>
                  <a:cubicBezTo>
                    <a:pt x="166" y="332"/>
                    <a:pt x="165" y="333"/>
                    <a:pt x="166" y="335"/>
                  </a:cubicBezTo>
                  <a:cubicBezTo>
                    <a:pt x="168" y="336"/>
                    <a:pt x="168" y="338"/>
                    <a:pt x="168" y="338"/>
                  </a:cubicBezTo>
                  <a:cubicBezTo>
                    <a:pt x="174" y="342"/>
                    <a:pt x="174" y="342"/>
                    <a:pt x="174" y="342"/>
                  </a:cubicBezTo>
                  <a:cubicBezTo>
                    <a:pt x="177" y="342"/>
                    <a:pt x="177" y="342"/>
                    <a:pt x="177" y="342"/>
                  </a:cubicBezTo>
                  <a:cubicBezTo>
                    <a:pt x="180" y="341"/>
                    <a:pt x="180" y="341"/>
                    <a:pt x="180" y="341"/>
                  </a:cubicBezTo>
                  <a:cubicBezTo>
                    <a:pt x="182" y="338"/>
                    <a:pt x="182" y="338"/>
                    <a:pt x="182" y="338"/>
                  </a:cubicBezTo>
                  <a:cubicBezTo>
                    <a:pt x="182" y="338"/>
                    <a:pt x="184" y="338"/>
                    <a:pt x="186" y="339"/>
                  </a:cubicBezTo>
                  <a:cubicBezTo>
                    <a:pt x="188" y="339"/>
                    <a:pt x="191" y="339"/>
                    <a:pt x="191" y="339"/>
                  </a:cubicBezTo>
                  <a:cubicBezTo>
                    <a:pt x="191" y="339"/>
                    <a:pt x="191" y="339"/>
                    <a:pt x="191" y="340"/>
                  </a:cubicBezTo>
                  <a:cubicBezTo>
                    <a:pt x="192" y="342"/>
                    <a:pt x="194" y="341"/>
                    <a:pt x="194" y="341"/>
                  </a:cubicBezTo>
                  <a:cubicBezTo>
                    <a:pt x="194" y="341"/>
                    <a:pt x="196" y="341"/>
                    <a:pt x="196" y="342"/>
                  </a:cubicBezTo>
                  <a:cubicBezTo>
                    <a:pt x="196" y="343"/>
                    <a:pt x="197" y="344"/>
                    <a:pt x="198" y="345"/>
                  </a:cubicBezTo>
                  <a:cubicBezTo>
                    <a:pt x="199" y="346"/>
                    <a:pt x="199" y="346"/>
                    <a:pt x="200" y="347"/>
                  </a:cubicBezTo>
                  <a:cubicBezTo>
                    <a:pt x="200" y="348"/>
                    <a:pt x="197" y="348"/>
                    <a:pt x="201" y="349"/>
                  </a:cubicBezTo>
                  <a:cubicBezTo>
                    <a:pt x="204" y="349"/>
                    <a:pt x="212" y="350"/>
                    <a:pt x="212" y="350"/>
                  </a:cubicBezTo>
                  <a:cubicBezTo>
                    <a:pt x="212" y="350"/>
                    <a:pt x="217" y="349"/>
                    <a:pt x="219" y="349"/>
                  </a:cubicBezTo>
                  <a:cubicBezTo>
                    <a:pt x="222" y="349"/>
                    <a:pt x="222" y="350"/>
                    <a:pt x="222" y="350"/>
                  </a:cubicBezTo>
                  <a:cubicBezTo>
                    <a:pt x="224" y="350"/>
                    <a:pt x="224" y="350"/>
                    <a:pt x="224" y="350"/>
                  </a:cubicBezTo>
                  <a:cubicBezTo>
                    <a:pt x="224" y="350"/>
                    <a:pt x="226" y="349"/>
                    <a:pt x="226" y="348"/>
                  </a:cubicBezTo>
                  <a:cubicBezTo>
                    <a:pt x="226" y="347"/>
                    <a:pt x="226" y="345"/>
                    <a:pt x="226" y="345"/>
                  </a:cubicBezTo>
                  <a:cubicBezTo>
                    <a:pt x="226" y="345"/>
                    <a:pt x="226" y="343"/>
                    <a:pt x="227" y="343"/>
                  </a:cubicBezTo>
                  <a:cubicBezTo>
                    <a:pt x="229" y="343"/>
                    <a:pt x="230" y="342"/>
                    <a:pt x="230" y="342"/>
                  </a:cubicBezTo>
                  <a:cubicBezTo>
                    <a:pt x="232" y="341"/>
                    <a:pt x="232" y="341"/>
                    <a:pt x="232" y="341"/>
                  </a:cubicBezTo>
                  <a:cubicBezTo>
                    <a:pt x="232" y="334"/>
                    <a:pt x="232" y="334"/>
                    <a:pt x="232" y="334"/>
                  </a:cubicBezTo>
                  <a:cubicBezTo>
                    <a:pt x="232" y="334"/>
                    <a:pt x="231" y="331"/>
                    <a:pt x="230" y="331"/>
                  </a:cubicBezTo>
                  <a:cubicBezTo>
                    <a:pt x="229" y="330"/>
                    <a:pt x="227" y="328"/>
                    <a:pt x="227" y="328"/>
                  </a:cubicBezTo>
                  <a:cubicBezTo>
                    <a:pt x="226" y="325"/>
                    <a:pt x="226" y="325"/>
                    <a:pt x="226" y="325"/>
                  </a:cubicBezTo>
                  <a:cubicBezTo>
                    <a:pt x="222" y="323"/>
                    <a:pt x="222" y="323"/>
                    <a:pt x="222" y="323"/>
                  </a:cubicBezTo>
                  <a:cubicBezTo>
                    <a:pt x="222" y="323"/>
                    <a:pt x="222" y="321"/>
                    <a:pt x="221" y="321"/>
                  </a:cubicBezTo>
                  <a:cubicBezTo>
                    <a:pt x="220" y="322"/>
                    <a:pt x="221" y="322"/>
                    <a:pt x="219" y="324"/>
                  </a:cubicBezTo>
                  <a:cubicBezTo>
                    <a:pt x="218" y="326"/>
                    <a:pt x="215" y="327"/>
                    <a:pt x="215" y="327"/>
                  </a:cubicBezTo>
                  <a:cubicBezTo>
                    <a:pt x="211" y="328"/>
                    <a:pt x="211" y="328"/>
                    <a:pt x="211" y="328"/>
                  </a:cubicBezTo>
                  <a:cubicBezTo>
                    <a:pt x="211" y="328"/>
                    <a:pt x="208" y="326"/>
                    <a:pt x="207" y="326"/>
                  </a:cubicBezTo>
                  <a:cubicBezTo>
                    <a:pt x="206" y="325"/>
                    <a:pt x="200" y="320"/>
                    <a:pt x="200" y="320"/>
                  </a:cubicBezTo>
                  <a:cubicBezTo>
                    <a:pt x="200" y="320"/>
                    <a:pt x="197" y="317"/>
                    <a:pt x="196" y="317"/>
                  </a:cubicBezTo>
                  <a:cubicBezTo>
                    <a:pt x="195" y="317"/>
                    <a:pt x="193" y="317"/>
                    <a:pt x="193" y="317"/>
                  </a:cubicBezTo>
                  <a:cubicBezTo>
                    <a:pt x="191" y="313"/>
                    <a:pt x="191" y="313"/>
                    <a:pt x="191" y="313"/>
                  </a:cubicBezTo>
                  <a:cubicBezTo>
                    <a:pt x="190" y="312"/>
                    <a:pt x="190" y="312"/>
                    <a:pt x="190" y="312"/>
                  </a:cubicBezTo>
                  <a:cubicBezTo>
                    <a:pt x="190" y="312"/>
                    <a:pt x="187" y="310"/>
                    <a:pt x="189" y="310"/>
                  </a:cubicBezTo>
                  <a:cubicBezTo>
                    <a:pt x="191" y="310"/>
                    <a:pt x="192" y="308"/>
                    <a:pt x="192" y="308"/>
                  </a:cubicBezTo>
                  <a:cubicBezTo>
                    <a:pt x="192" y="305"/>
                    <a:pt x="192" y="305"/>
                    <a:pt x="192" y="305"/>
                  </a:cubicBezTo>
                  <a:cubicBezTo>
                    <a:pt x="192" y="303"/>
                    <a:pt x="192" y="303"/>
                    <a:pt x="192" y="303"/>
                  </a:cubicBezTo>
                  <a:cubicBezTo>
                    <a:pt x="191" y="299"/>
                    <a:pt x="191" y="299"/>
                    <a:pt x="191" y="299"/>
                  </a:cubicBezTo>
                  <a:cubicBezTo>
                    <a:pt x="191" y="299"/>
                    <a:pt x="190" y="295"/>
                    <a:pt x="191" y="295"/>
                  </a:cubicBezTo>
                  <a:cubicBezTo>
                    <a:pt x="193" y="295"/>
                    <a:pt x="198" y="294"/>
                    <a:pt x="198" y="294"/>
                  </a:cubicBezTo>
                  <a:cubicBezTo>
                    <a:pt x="198" y="294"/>
                    <a:pt x="200" y="295"/>
                    <a:pt x="202" y="295"/>
                  </a:cubicBezTo>
                  <a:cubicBezTo>
                    <a:pt x="204" y="296"/>
                    <a:pt x="206" y="297"/>
                    <a:pt x="206" y="297"/>
                  </a:cubicBezTo>
                  <a:cubicBezTo>
                    <a:pt x="206" y="297"/>
                    <a:pt x="210" y="298"/>
                    <a:pt x="211" y="299"/>
                  </a:cubicBezTo>
                  <a:cubicBezTo>
                    <a:pt x="212" y="300"/>
                    <a:pt x="213" y="301"/>
                    <a:pt x="215" y="302"/>
                  </a:cubicBezTo>
                  <a:cubicBezTo>
                    <a:pt x="217" y="303"/>
                    <a:pt x="222" y="302"/>
                    <a:pt x="222" y="302"/>
                  </a:cubicBezTo>
                  <a:cubicBezTo>
                    <a:pt x="222" y="302"/>
                    <a:pt x="224" y="301"/>
                    <a:pt x="226" y="301"/>
                  </a:cubicBezTo>
                  <a:cubicBezTo>
                    <a:pt x="227" y="301"/>
                    <a:pt x="234" y="301"/>
                    <a:pt x="234" y="301"/>
                  </a:cubicBezTo>
                  <a:cubicBezTo>
                    <a:pt x="234" y="301"/>
                    <a:pt x="237" y="301"/>
                    <a:pt x="238" y="301"/>
                  </a:cubicBezTo>
                  <a:cubicBezTo>
                    <a:pt x="239" y="301"/>
                    <a:pt x="242" y="301"/>
                    <a:pt x="242" y="301"/>
                  </a:cubicBezTo>
                  <a:cubicBezTo>
                    <a:pt x="249" y="303"/>
                    <a:pt x="249" y="303"/>
                    <a:pt x="249" y="303"/>
                  </a:cubicBezTo>
                  <a:cubicBezTo>
                    <a:pt x="254" y="300"/>
                    <a:pt x="254" y="300"/>
                    <a:pt x="254" y="300"/>
                  </a:cubicBezTo>
                  <a:cubicBezTo>
                    <a:pt x="254" y="300"/>
                    <a:pt x="254" y="296"/>
                    <a:pt x="254" y="296"/>
                  </a:cubicBezTo>
                  <a:cubicBezTo>
                    <a:pt x="255" y="297"/>
                    <a:pt x="257" y="296"/>
                    <a:pt x="259" y="297"/>
                  </a:cubicBezTo>
                  <a:cubicBezTo>
                    <a:pt x="261" y="297"/>
                    <a:pt x="265" y="295"/>
                    <a:pt x="265" y="295"/>
                  </a:cubicBezTo>
                  <a:cubicBezTo>
                    <a:pt x="261" y="289"/>
                    <a:pt x="261" y="289"/>
                    <a:pt x="261" y="289"/>
                  </a:cubicBezTo>
                  <a:cubicBezTo>
                    <a:pt x="261" y="289"/>
                    <a:pt x="260" y="289"/>
                    <a:pt x="259" y="286"/>
                  </a:cubicBezTo>
                  <a:cubicBezTo>
                    <a:pt x="258" y="283"/>
                    <a:pt x="255" y="279"/>
                    <a:pt x="255" y="279"/>
                  </a:cubicBezTo>
                  <a:cubicBezTo>
                    <a:pt x="255" y="279"/>
                    <a:pt x="252" y="279"/>
                    <a:pt x="250" y="278"/>
                  </a:cubicBezTo>
                  <a:cubicBezTo>
                    <a:pt x="247" y="277"/>
                    <a:pt x="249" y="278"/>
                    <a:pt x="247" y="277"/>
                  </a:cubicBezTo>
                  <a:cubicBezTo>
                    <a:pt x="246" y="275"/>
                    <a:pt x="239" y="271"/>
                    <a:pt x="239" y="271"/>
                  </a:cubicBezTo>
                  <a:cubicBezTo>
                    <a:pt x="239" y="271"/>
                    <a:pt x="236" y="271"/>
                    <a:pt x="235" y="269"/>
                  </a:cubicBezTo>
                  <a:cubicBezTo>
                    <a:pt x="234" y="266"/>
                    <a:pt x="234" y="259"/>
                    <a:pt x="234" y="259"/>
                  </a:cubicBezTo>
                  <a:cubicBezTo>
                    <a:pt x="236" y="255"/>
                    <a:pt x="236" y="255"/>
                    <a:pt x="236" y="255"/>
                  </a:cubicBezTo>
                  <a:cubicBezTo>
                    <a:pt x="240" y="247"/>
                    <a:pt x="240" y="247"/>
                    <a:pt x="240" y="247"/>
                  </a:cubicBezTo>
                  <a:cubicBezTo>
                    <a:pt x="241" y="240"/>
                    <a:pt x="241" y="240"/>
                    <a:pt x="241" y="240"/>
                  </a:cubicBezTo>
                  <a:cubicBezTo>
                    <a:pt x="249" y="230"/>
                    <a:pt x="249" y="230"/>
                    <a:pt x="249" y="230"/>
                  </a:cubicBezTo>
                  <a:cubicBezTo>
                    <a:pt x="251" y="223"/>
                    <a:pt x="251" y="223"/>
                    <a:pt x="251" y="223"/>
                  </a:cubicBezTo>
                  <a:cubicBezTo>
                    <a:pt x="253" y="216"/>
                    <a:pt x="253" y="216"/>
                    <a:pt x="253" y="216"/>
                  </a:cubicBezTo>
                  <a:cubicBezTo>
                    <a:pt x="254" y="209"/>
                    <a:pt x="254" y="209"/>
                    <a:pt x="254" y="209"/>
                  </a:cubicBezTo>
                  <a:cubicBezTo>
                    <a:pt x="253" y="203"/>
                    <a:pt x="253" y="203"/>
                    <a:pt x="253" y="203"/>
                  </a:cubicBezTo>
                  <a:cubicBezTo>
                    <a:pt x="264" y="203"/>
                    <a:pt x="264" y="203"/>
                    <a:pt x="264" y="203"/>
                  </a:cubicBezTo>
                  <a:cubicBezTo>
                    <a:pt x="264" y="206"/>
                    <a:pt x="264" y="206"/>
                    <a:pt x="264" y="206"/>
                  </a:cubicBezTo>
                  <a:cubicBezTo>
                    <a:pt x="264" y="206"/>
                    <a:pt x="265" y="202"/>
                    <a:pt x="266" y="202"/>
                  </a:cubicBezTo>
                  <a:cubicBezTo>
                    <a:pt x="267" y="202"/>
                    <a:pt x="273" y="199"/>
                    <a:pt x="273" y="199"/>
                  </a:cubicBezTo>
                  <a:cubicBezTo>
                    <a:pt x="276" y="200"/>
                    <a:pt x="276" y="200"/>
                    <a:pt x="276" y="200"/>
                  </a:cubicBezTo>
                  <a:cubicBezTo>
                    <a:pt x="282" y="202"/>
                    <a:pt x="282" y="202"/>
                    <a:pt x="282" y="202"/>
                  </a:cubicBezTo>
                  <a:cubicBezTo>
                    <a:pt x="282" y="202"/>
                    <a:pt x="285" y="202"/>
                    <a:pt x="284" y="204"/>
                  </a:cubicBezTo>
                  <a:cubicBezTo>
                    <a:pt x="283" y="206"/>
                    <a:pt x="283" y="206"/>
                    <a:pt x="284" y="206"/>
                  </a:cubicBezTo>
                  <a:cubicBezTo>
                    <a:pt x="285" y="206"/>
                    <a:pt x="288" y="203"/>
                    <a:pt x="288" y="203"/>
                  </a:cubicBezTo>
                  <a:cubicBezTo>
                    <a:pt x="293" y="205"/>
                    <a:pt x="293" y="205"/>
                    <a:pt x="293" y="205"/>
                  </a:cubicBezTo>
                  <a:cubicBezTo>
                    <a:pt x="288" y="200"/>
                    <a:pt x="288" y="200"/>
                    <a:pt x="288" y="200"/>
                  </a:cubicBezTo>
                  <a:cubicBezTo>
                    <a:pt x="288" y="200"/>
                    <a:pt x="288" y="195"/>
                    <a:pt x="288" y="194"/>
                  </a:cubicBezTo>
                  <a:cubicBezTo>
                    <a:pt x="288" y="193"/>
                    <a:pt x="287" y="186"/>
                    <a:pt x="287" y="186"/>
                  </a:cubicBezTo>
                  <a:cubicBezTo>
                    <a:pt x="286" y="181"/>
                    <a:pt x="286" y="181"/>
                    <a:pt x="286" y="181"/>
                  </a:cubicBezTo>
                  <a:cubicBezTo>
                    <a:pt x="285" y="177"/>
                    <a:pt x="285" y="177"/>
                    <a:pt x="285" y="177"/>
                  </a:cubicBezTo>
                  <a:cubicBezTo>
                    <a:pt x="282" y="175"/>
                    <a:pt x="282" y="175"/>
                    <a:pt x="282" y="175"/>
                  </a:cubicBezTo>
                  <a:cubicBezTo>
                    <a:pt x="282" y="171"/>
                    <a:pt x="282" y="171"/>
                    <a:pt x="282" y="171"/>
                  </a:cubicBezTo>
                  <a:cubicBezTo>
                    <a:pt x="279" y="168"/>
                    <a:pt x="279" y="168"/>
                    <a:pt x="279" y="168"/>
                  </a:cubicBezTo>
                  <a:cubicBezTo>
                    <a:pt x="274" y="165"/>
                    <a:pt x="274" y="165"/>
                    <a:pt x="274" y="165"/>
                  </a:cubicBezTo>
                  <a:cubicBezTo>
                    <a:pt x="270" y="164"/>
                    <a:pt x="270" y="164"/>
                    <a:pt x="270" y="164"/>
                  </a:cubicBezTo>
                  <a:cubicBezTo>
                    <a:pt x="267" y="164"/>
                    <a:pt x="267" y="164"/>
                    <a:pt x="267" y="164"/>
                  </a:cubicBezTo>
                  <a:cubicBezTo>
                    <a:pt x="264" y="164"/>
                    <a:pt x="264" y="164"/>
                    <a:pt x="264" y="164"/>
                  </a:cubicBezTo>
                  <a:cubicBezTo>
                    <a:pt x="261" y="161"/>
                    <a:pt x="261" y="161"/>
                    <a:pt x="261" y="161"/>
                  </a:cubicBezTo>
                  <a:cubicBezTo>
                    <a:pt x="261" y="161"/>
                    <a:pt x="260" y="155"/>
                    <a:pt x="260" y="154"/>
                  </a:cubicBezTo>
                  <a:cubicBezTo>
                    <a:pt x="260" y="153"/>
                    <a:pt x="259" y="148"/>
                    <a:pt x="259" y="148"/>
                  </a:cubicBezTo>
                  <a:cubicBezTo>
                    <a:pt x="258" y="141"/>
                    <a:pt x="258" y="141"/>
                    <a:pt x="258" y="141"/>
                  </a:cubicBezTo>
                  <a:cubicBezTo>
                    <a:pt x="256" y="135"/>
                    <a:pt x="256" y="135"/>
                    <a:pt x="256" y="135"/>
                  </a:cubicBezTo>
                  <a:cubicBezTo>
                    <a:pt x="256" y="135"/>
                    <a:pt x="254" y="131"/>
                    <a:pt x="253" y="129"/>
                  </a:cubicBezTo>
                  <a:cubicBezTo>
                    <a:pt x="252" y="128"/>
                    <a:pt x="251" y="124"/>
                    <a:pt x="251" y="124"/>
                  </a:cubicBezTo>
                  <a:cubicBezTo>
                    <a:pt x="249" y="118"/>
                    <a:pt x="249" y="118"/>
                    <a:pt x="249" y="118"/>
                  </a:cubicBezTo>
                  <a:cubicBezTo>
                    <a:pt x="243" y="117"/>
                    <a:pt x="243" y="117"/>
                    <a:pt x="243" y="117"/>
                  </a:cubicBezTo>
                  <a:cubicBezTo>
                    <a:pt x="232" y="114"/>
                    <a:pt x="232" y="114"/>
                    <a:pt x="232" y="114"/>
                  </a:cubicBezTo>
                  <a:cubicBezTo>
                    <a:pt x="227" y="111"/>
                    <a:pt x="227" y="111"/>
                    <a:pt x="227" y="111"/>
                  </a:cubicBezTo>
                  <a:cubicBezTo>
                    <a:pt x="227" y="109"/>
                    <a:pt x="227" y="109"/>
                    <a:pt x="227" y="109"/>
                  </a:cubicBezTo>
                  <a:cubicBezTo>
                    <a:pt x="230" y="108"/>
                    <a:pt x="230" y="108"/>
                    <a:pt x="230" y="108"/>
                  </a:cubicBezTo>
                  <a:cubicBezTo>
                    <a:pt x="230" y="108"/>
                    <a:pt x="232" y="108"/>
                    <a:pt x="234" y="108"/>
                  </a:cubicBezTo>
                  <a:cubicBezTo>
                    <a:pt x="236" y="109"/>
                    <a:pt x="238" y="109"/>
                    <a:pt x="239" y="109"/>
                  </a:cubicBezTo>
                  <a:cubicBezTo>
                    <a:pt x="241" y="109"/>
                    <a:pt x="243" y="109"/>
                    <a:pt x="243" y="109"/>
                  </a:cubicBezTo>
                  <a:cubicBezTo>
                    <a:pt x="247" y="104"/>
                    <a:pt x="247" y="104"/>
                    <a:pt x="247" y="104"/>
                  </a:cubicBezTo>
                  <a:cubicBezTo>
                    <a:pt x="259" y="98"/>
                    <a:pt x="259" y="98"/>
                    <a:pt x="259" y="98"/>
                  </a:cubicBezTo>
                  <a:cubicBezTo>
                    <a:pt x="264" y="97"/>
                    <a:pt x="264" y="97"/>
                    <a:pt x="264" y="97"/>
                  </a:cubicBezTo>
                  <a:cubicBezTo>
                    <a:pt x="270" y="97"/>
                    <a:pt x="270" y="97"/>
                    <a:pt x="270" y="97"/>
                  </a:cubicBezTo>
                  <a:cubicBezTo>
                    <a:pt x="270" y="97"/>
                    <a:pt x="270" y="100"/>
                    <a:pt x="272" y="101"/>
                  </a:cubicBezTo>
                  <a:cubicBezTo>
                    <a:pt x="273" y="102"/>
                    <a:pt x="274" y="102"/>
                    <a:pt x="275" y="102"/>
                  </a:cubicBezTo>
                  <a:cubicBezTo>
                    <a:pt x="276" y="103"/>
                    <a:pt x="281" y="103"/>
                    <a:pt x="281" y="103"/>
                  </a:cubicBezTo>
                  <a:cubicBezTo>
                    <a:pt x="284" y="105"/>
                    <a:pt x="284" y="105"/>
                    <a:pt x="284" y="105"/>
                  </a:cubicBezTo>
                  <a:cubicBezTo>
                    <a:pt x="287" y="109"/>
                    <a:pt x="287" y="109"/>
                    <a:pt x="287" y="109"/>
                  </a:cubicBezTo>
                  <a:cubicBezTo>
                    <a:pt x="294" y="113"/>
                    <a:pt x="294" y="113"/>
                    <a:pt x="294" y="113"/>
                  </a:cubicBezTo>
                  <a:cubicBezTo>
                    <a:pt x="294" y="113"/>
                    <a:pt x="294" y="115"/>
                    <a:pt x="293" y="116"/>
                  </a:cubicBezTo>
                  <a:cubicBezTo>
                    <a:pt x="292" y="117"/>
                    <a:pt x="294" y="119"/>
                    <a:pt x="290" y="121"/>
                  </a:cubicBezTo>
                  <a:cubicBezTo>
                    <a:pt x="287" y="122"/>
                    <a:pt x="283" y="126"/>
                    <a:pt x="282" y="126"/>
                  </a:cubicBezTo>
                  <a:cubicBezTo>
                    <a:pt x="282" y="127"/>
                    <a:pt x="279" y="130"/>
                    <a:pt x="279" y="130"/>
                  </a:cubicBezTo>
                  <a:cubicBezTo>
                    <a:pt x="277" y="133"/>
                    <a:pt x="277" y="133"/>
                    <a:pt x="277" y="133"/>
                  </a:cubicBezTo>
                  <a:cubicBezTo>
                    <a:pt x="278" y="136"/>
                    <a:pt x="278" y="136"/>
                    <a:pt x="278" y="136"/>
                  </a:cubicBezTo>
                  <a:cubicBezTo>
                    <a:pt x="278" y="136"/>
                    <a:pt x="278" y="137"/>
                    <a:pt x="278" y="137"/>
                  </a:cubicBezTo>
                  <a:cubicBezTo>
                    <a:pt x="278" y="138"/>
                    <a:pt x="276" y="141"/>
                    <a:pt x="276" y="141"/>
                  </a:cubicBezTo>
                  <a:cubicBezTo>
                    <a:pt x="277" y="145"/>
                    <a:pt x="277" y="145"/>
                    <a:pt x="277" y="145"/>
                  </a:cubicBezTo>
                  <a:cubicBezTo>
                    <a:pt x="277" y="145"/>
                    <a:pt x="278" y="147"/>
                    <a:pt x="278" y="148"/>
                  </a:cubicBezTo>
                  <a:cubicBezTo>
                    <a:pt x="279" y="150"/>
                    <a:pt x="286" y="151"/>
                    <a:pt x="286" y="151"/>
                  </a:cubicBezTo>
                  <a:cubicBezTo>
                    <a:pt x="293" y="151"/>
                    <a:pt x="293" y="151"/>
                    <a:pt x="293" y="151"/>
                  </a:cubicBezTo>
                  <a:cubicBezTo>
                    <a:pt x="299" y="157"/>
                    <a:pt x="299" y="157"/>
                    <a:pt x="299" y="157"/>
                  </a:cubicBezTo>
                  <a:cubicBezTo>
                    <a:pt x="304" y="160"/>
                    <a:pt x="304" y="160"/>
                    <a:pt x="304" y="160"/>
                  </a:cubicBezTo>
                  <a:cubicBezTo>
                    <a:pt x="310" y="158"/>
                    <a:pt x="310" y="158"/>
                    <a:pt x="310" y="158"/>
                  </a:cubicBezTo>
                  <a:cubicBezTo>
                    <a:pt x="315" y="155"/>
                    <a:pt x="315" y="155"/>
                    <a:pt x="315" y="155"/>
                  </a:cubicBezTo>
                  <a:cubicBezTo>
                    <a:pt x="319" y="152"/>
                    <a:pt x="319" y="152"/>
                    <a:pt x="319" y="152"/>
                  </a:cubicBezTo>
                  <a:cubicBezTo>
                    <a:pt x="319" y="152"/>
                    <a:pt x="321" y="149"/>
                    <a:pt x="322" y="148"/>
                  </a:cubicBezTo>
                  <a:cubicBezTo>
                    <a:pt x="323" y="148"/>
                    <a:pt x="325" y="145"/>
                    <a:pt x="325" y="145"/>
                  </a:cubicBezTo>
                  <a:cubicBezTo>
                    <a:pt x="325" y="145"/>
                    <a:pt x="327" y="144"/>
                    <a:pt x="327" y="143"/>
                  </a:cubicBezTo>
                  <a:cubicBezTo>
                    <a:pt x="327" y="142"/>
                    <a:pt x="326" y="135"/>
                    <a:pt x="326" y="135"/>
                  </a:cubicBezTo>
                  <a:cubicBezTo>
                    <a:pt x="324" y="130"/>
                    <a:pt x="324" y="130"/>
                    <a:pt x="324" y="130"/>
                  </a:cubicBezTo>
                  <a:cubicBezTo>
                    <a:pt x="322" y="125"/>
                    <a:pt x="322" y="125"/>
                    <a:pt x="322" y="125"/>
                  </a:cubicBezTo>
                  <a:cubicBezTo>
                    <a:pt x="322" y="125"/>
                    <a:pt x="321" y="122"/>
                    <a:pt x="321" y="121"/>
                  </a:cubicBezTo>
                  <a:cubicBezTo>
                    <a:pt x="321" y="120"/>
                    <a:pt x="319" y="117"/>
                    <a:pt x="319" y="117"/>
                  </a:cubicBezTo>
                  <a:cubicBezTo>
                    <a:pt x="316" y="114"/>
                    <a:pt x="316" y="114"/>
                    <a:pt x="316" y="114"/>
                  </a:cubicBezTo>
                  <a:cubicBezTo>
                    <a:pt x="318" y="110"/>
                    <a:pt x="318" y="110"/>
                    <a:pt x="318" y="110"/>
                  </a:cubicBezTo>
                  <a:cubicBezTo>
                    <a:pt x="319" y="108"/>
                    <a:pt x="319" y="108"/>
                    <a:pt x="319" y="108"/>
                  </a:cubicBezTo>
                  <a:cubicBezTo>
                    <a:pt x="324" y="103"/>
                    <a:pt x="324" y="103"/>
                    <a:pt x="324" y="103"/>
                  </a:cubicBezTo>
                  <a:cubicBezTo>
                    <a:pt x="326" y="100"/>
                    <a:pt x="326" y="100"/>
                    <a:pt x="326" y="100"/>
                  </a:cubicBezTo>
                  <a:cubicBezTo>
                    <a:pt x="322" y="96"/>
                    <a:pt x="322" y="96"/>
                    <a:pt x="322" y="96"/>
                  </a:cubicBezTo>
                  <a:cubicBezTo>
                    <a:pt x="320" y="96"/>
                    <a:pt x="320" y="96"/>
                    <a:pt x="320" y="96"/>
                  </a:cubicBezTo>
                  <a:cubicBezTo>
                    <a:pt x="324" y="93"/>
                    <a:pt x="324" y="93"/>
                    <a:pt x="324" y="93"/>
                  </a:cubicBezTo>
                  <a:cubicBezTo>
                    <a:pt x="328" y="91"/>
                    <a:pt x="328" y="91"/>
                    <a:pt x="328" y="91"/>
                  </a:cubicBezTo>
                  <a:cubicBezTo>
                    <a:pt x="332" y="82"/>
                    <a:pt x="332" y="82"/>
                    <a:pt x="332" y="82"/>
                  </a:cubicBezTo>
                  <a:cubicBezTo>
                    <a:pt x="334" y="76"/>
                    <a:pt x="334" y="76"/>
                    <a:pt x="334" y="76"/>
                  </a:cubicBezTo>
                  <a:cubicBezTo>
                    <a:pt x="338" y="68"/>
                    <a:pt x="338" y="68"/>
                    <a:pt x="338" y="68"/>
                  </a:cubicBezTo>
                  <a:cubicBezTo>
                    <a:pt x="338" y="68"/>
                    <a:pt x="339" y="61"/>
                    <a:pt x="339" y="60"/>
                  </a:cubicBezTo>
                  <a:cubicBezTo>
                    <a:pt x="339" y="60"/>
                    <a:pt x="341" y="58"/>
                    <a:pt x="341" y="58"/>
                  </a:cubicBezTo>
                  <a:cubicBezTo>
                    <a:pt x="345" y="54"/>
                    <a:pt x="345" y="54"/>
                    <a:pt x="345" y="54"/>
                  </a:cubicBezTo>
                  <a:cubicBezTo>
                    <a:pt x="347" y="49"/>
                    <a:pt x="347" y="49"/>
                    <a:pt x="347" y="49"/>
                  </a:cubicBezTo>
                  <a:cubicBezTo>
                    <a:pt x="349" y="45"/>
                    <a:pt x="349" y="45"/>
                    <a:pt x="349" y="45"/>
                  </a:cubicBezTo>
                  <a:cubicBezTo>
                    <a:pt x="353" y="39"/>
                    <a:pt x="353" y="39"/>
                    <a:pt x="353" y="39"/>
                  </a:cubicBezTo>
                  <a:cubicBezTo>
                    <a:pt x="356" y="41"/>
                    <a:pt x="356" y="41"/>
                    <a:pt x="356" y="41"/>
                  </a:cubicBezTo>
                  <a:cubicBezTo>
                    <a:pt x="356" y="41"/>
                    <a:pt x="357" y="43"/>
                    <a:pt x="357" y="44"/>
                  </a:cubicBezTo>
                  <a:cubicBezTo>
                    <a:pt x="357" y="45"/>
                    <a:pt x="357" y="46"/>
                    <a:pt x="358" y="46"/>
                  </a:cubicBezTo>
                  <a:cubicBezTo>
                    <a:pt x="359" y="46"/>
                    <a:pt x="358" y="46"/>
                    <a:pt x="360" y="45"/>
                  </a:cubicBezTo>
                  <a:cubicBezTo>
                    <a:pt x="361" y="44"/>
                    <a:pt x="362" y="41"/>
                    <a:pt x="362" y="40"/>
                  </a:cubicBezTo>
                  <a:cubicBezTo>
                    <a:pt x="362" y="39"/>
                    <a:pt x="363" y="39"/>
                    <a:pt x="361" y="38"/>
                  </a:cubicBezTo>
                  <a:cubicBezTo>
                    <a:pt x="359" y="37"/>
                    <a:pt x="356" y="36"/>
                    <a:pt x="356" y="36"/>
                  </a:cubicBezTo>
                  <a:cubicBezTo>
                    <a:pt x="356" y="36"/>
                    <a:pt x="353" y="35"/>
                    <a:pt x="353" y="34"/>
                  </a:cubicBezTo>
                  <a:cubicBezTo>
                    <a:pt x="353" y="33"/>
                    <a:pt x="356" y="26"/>
                    <a:pt x="356" y="26"/>
                  </a:cubicBezTo>
                  <a:cubicBezTo>
                    <a:pt x="359" y="18"/>
                    <a:pt x="359" y="18"/>
                    <a:pt x="359" y="18"/>
                  </a:cubicBezTo>
                  <a:cubicBezTo>
                    <a:pt x="360" y="13"/>
                    <a:pt x="360" y="13"/>
                    <a:pt x="360" y="13"/>
                  </a:cubicBezTo>
                  <a:cubicBezTo>
                    <a:pt x="362" y="10"/>
                    <a:pt x="362" y="10"/>
                    <a:pt x="362" y="10"/>
                  </a:cubicBezTo>
                  <a:cubicBezTo>
                    <a:pt x="364" y="6"/>
                    <a:pt x="366" y="1"/>
                    <a:pt x="369" y="0"/>
                  </a:cubicBezTo>
                  <a:cubicBezTo>
                    <a:pt x="1189" y="0"/>
                    <a:pt x="1189" y="0"/>
                    <a:pt x="1189" y="0"/>
                  </a:cubicBezTo>
                  <a:cubicBezTo>
                    <a:pt x="1189" y="591"/>
                    <a:pt x="1189" y="591"/>
                    <a:pt x="1189" y="591"/>
                  </a:cubicBezTo>
                  <a:cubicBezTo>
                    <a:pt x="1177" y="595"/>
                    <a:pt x="1177" y="595"/>
                    <a:pt x="1177" y="595"/>
                  </a:cubicBezTo>
                  <a:cubicBezTo>
                    <a:pt x="1176" y="595"/>
                    <a:pt x="1153" y="592"/>
                    <a:pt x="1154" y="599"/>
                  </a:cubicBezTo>
                  <a:cubicBezTo>
                    <a:pt x="1154" y="603"/>
                    <a:pt x="1159" y="604"/>
                    <a:pt x="1159" y="604"/>
                  </a:cubicBezTo>
                  <a:cubicBezTo>
                    <a:pt x="1169" y="614"/>
                    <a:pt x="1169" y="614"/>
                    <a:pt x="1169" y="614"/>
                  </a:cubicBezTo>
                  <a:cubicBezTo>
                    <a:pt x="1168" y="619"/>
                    <a:pt x="1168" y="619"/>
                    <a:pt x="1168" y="619"/>
                  </a:cubicBezTo>
                  <a:cubicBezTo>
                    <a:pt x="1175" y="621"/>
                    <a:pt x="1175" y="621"/>
                    <a:pt x="1175" y="621"/>
                  </a:cubicBezTo>
                  <a:cubicBezTo>
                    <a:pt x="1189" y="621"/>
                    <a:pt x="1189" y="621"/>
                    <a:pt x="1189" y="621"/>
                  </a:cubicBezTo>
                  <a:cubicBezTo>
                    <a:pt x="1189" y="631"/>
                    <a:pt x="1189" y="631"/>
                    <a:pt x="1189" y="631"/>
                  </a:cubicBezTo>
                  <a:cubicBezTo>
                    <a:pt x="1180" y="632"/>
                    <a:pt x="1171" y="633"/>
                    <a:pt x="1170" y="633"/>
                  </a:cubicBezTo>
                  <a:cubicBezTo>
                    <a:pt x="1162" y="644"/>
                    <a:pt x="1162" y="644"/>
                    <a:pt x="1162" y="644"/>
                  </a:cubicBezTo>
                  <a:cubicBezTo>
                    <a:pt x="1172" y="657"/>
                    <a:pt x="1172" y="657"/>
                    <a:pt x="1172" y="657"/>
                  </a:cubicBezTo>
                  <a:cubicBezTo>
                    <a:pt x="1171" y="666"/>
                    <a:pt x="1171" y="666"/>
                    <a:pt x="1171" y="666"/>
                  </a:cubicBezTo>
                  <a:cubicBezTo>
                    <a:pt x="1162" y="672"/>
                    <a:pt x="1162" y="672"/>
                    <a:pt x="1162" y="672"/>
                  </a:cubicBezTo>
                  <a:cubicBezTo>
                    <a:pt x="1169" y="680"/>
                    <a:pt x="1169" y="680"/>
                    <a:pt x="1169" y="680"/>
                  </a:cubicBezTo>
                  <a:cubicBezTo>
                    <a:pt x="1182" y="679"/>
                    <a:pt x="1182" y="679"/>
                    <a:pt x="1182" y="679"/>
                  </a:cubicBezTo>
                  <a:cubicBezTo>
                    <a:pt x="1189" y="684"/>
                    <a:pt x="1189" y="684"/>
                    <a:pt x="1189" y="684"/>
                  </a:cubicBezTo>
                  <a:cubicBezTo>
                    <a:pt x="1189" y="722"/>
                    <a:pt x="1189" y="722"/>
                    <a:pt x="1189" y="722"/>
                  </a:cubicBezTo>
                  <a:cubicBezTo>
                    <a:pt x="1186" y="722"/>
                    <a:pt x="1183" y="723"/>
                    <a:pt x="1179" y="723"/>
                  </a:cubicBezTo>
                  <a:cubicBezTo>
                    <a:pt x="1173" y="733"/>
                    <a:pt x="1173" y="733"/>
                    <a:pt x="1173" y="733"/>
                  </a:cubicBezTo>
                  <a:cubicBezTo>
                    <a:pt x="1132" y="725"/>
                    <a:pt x="1132" y="725"/>
                    <a:pt x="1132" y="725"/>
                  </a:cubicBezTo>
                  <a:cubicBezTo>
                    <a:pt x="1119" y="717"/>
                    <a:pt x="1119" y="717"/>
                    <a:pt x="1119" y="717"/>
                  </a:cubicBezTo>
                  <a:cubicBezTo>
                    <a:pt x="1108" y="724"/>
                    <a:pt x="1111" y="722"/>
                    <a:pt x="1102" y="731"/>
                  </a:cubicBezTo>
                  <a:cubicBezTo>
                    <a:pt x="1077" y="724"/>
                    <a:pt x="1077" y="724"/>
                    <a:pt x="1077" y="724"/>
                  </a:cubicBezTo>
                  <a:cubicBezTo>
                    <a:pt x="1062" y="732"/>
                    <a:pt x="1062" y="732"/>
                    <a:pt x="1062" y="732"/>
                  </a:cubicBezTo>
                  <a:cubicBezTo>
                    <a:pt x="1044" y="749"/>
                    <a:pt x="1044" y="749"/>
                    <a:pt x="1044" y="749"/>
                  </a:cubicBezTo>
                  <a:cubicBezTo>
                    <a:pt x="1015" y="748"/>
                    <a:pt x="1015" y="748"/>
                    <a:pt x="1015" y="748"/>
                  </a:cubicBezTo>
                  <a:cubicBezTo>
                    <a:pt x="1008" y="739"/>
                    <a:pt x="1008" y="739"/>
                    <a:pt x="1008" y="739"/>
                  </a:cubicBezTo>
                  <a:cubicBezTo>
                    <a:pt x="1007" y="747"/>
                    <a:pt x="1007" y="747"/>
                    <a:pt x="1007" y="747"/>
                  </a:cubicBezTo>
                  <a:cubicBezTo>
                    <a:pt x="1013" y="755"/>
                    <a:pt x="1013" y="755"/>
                    <a:pt x="1013" y="755"/>
                  </a:cubicBezTo>
                  <a:cubicBezTo>
                    <a:pt x="1002" y="761"/>
                    <a:pt x="1002" y="761"/>
                    <a:pt x="1002" y="761"/>
                  </a:cubicBezTo>
                  <a:cubicBezTo>
                    <a:pt x="998" y="750"/>
                    <a:pt x="998" y="750"/>
                    <a:pt x="998" y="750"/>
                  </a:cubicBezTo>
                  <a:cubicBezTo>
                    <a:pt x="988" y="737"/>
                    <a:pt x="988" y="737"/>
                    <a:pt x="988" y="737"/>
                  </a:cubicBezTo>
                  <a:cubicBezTo>
                    <a:pt x="974" y="734"/>
                    <a:pt x="974" y="734"/>
                    <a:pt x="974" y="734"/>
                  </a:cubicBezTo>
                  <a:cubicBezTo>
                    <a:pt x="966" y="728"/>
                    <a:pt x="966" y="728"/>
                    <a:pt x="966" y="728"/>
                  </a:cubicBezTo>
                  <a:cubicBezTo>
                    <a:pt x="964" y="728"/>
                    <a:pt x="935" y="731"/>
                    <a:pt x="929" y="732"/>
                  </a:cubicBezTo>
                  <a:cubicBezTo>
                    <a:pt x="922" y="727"/>
                    <a:pt x="921" y="727"/>
                    <a:pt x="913" y="723"/>
                  </a:cubicBezTo>
                  <a:cubicBezTo>
                    <a:pt x="905" y="729"/>
                    <a:pt x="905" y="729"/>
                    <a:pt x="905" y="729"/>
                  </a:cubicBezTo>
                  <a:cubicBezTo>
                    <a:pt x="905" y="729"/>
                    <a:pt x="901" y="736"/>
                    <a:pt x="894" y="737"/>
                  </a:cubicBezTo>
                  <a:cubicBezTo>
                    <a:pt x="887" y="737"/>
                    <a:pt x="888" y="727"/>
                    <a:pt x="888" y="727"/>
                  </a:cubicBezTo>
                  <a:cubicBezTo>
                    <a:pt x="877" y="729"/>
                    <a:pt x="877" y="729"/>
                    <a:pt x="877" y="729"/>
                  </a:cubicBezTo>
                  <a:cubicBezTo>
                    <a:pt x="864" y="748"/>
                    <a:pt x="864" y="748"/>
                    <a:pt x="864" y="748"/>
                  </a:cubicBezTo>
                  <a:cubicBezTo>
                    <a:pt x="847" y="762"/>
                    <a:pt x="847" y="762"/>
                    <a:pt x="847" y="762"/>
                  </a:cubicBezTo>
                  <a:cubicBezTo>
                    <a:pt x="837" y="777"/>
                    <a:pt x="837" y="777"/>
                    <a:pt x="837" y="777"/>
                  </a:cubicBezTo>
                  <a:cubicBezTo>
                    <a:pt x="819" y="784"/>
                    <a:pt x="819" y="784"/>
                    <a:pt x="819" y="784"/>
                  </a:cubicBezTo>
                  <a:cubicBezTo>
                    <a:pt x="820" y="791"/>
                    <a:pt x="820" y="791"/>
                    <a:pt x="820" y="791"/>
                  </a:cubicBezTo>
                  <a:cubicBezTo>
                    <a:pt x="838" y="806"/>
                    <a:pt x="838" y="806"/>
                    <a:pt x="838" y="806"/>
                  </a:cubicBezTo>
                  <a:cubicBezTo>
                    <a:pt x="825" y="816"/>
                    <a:pt x="825" y="816"/>
                    <a:pt x="825" y="816"/>
                  </a:cubicBezTo>
                  <a:cubicBezTo>
                    <a:pt x="806" y="795"/>
                    <a:pt x="813" y="811"/>
                    <a:pt x="789" y="792"/>
                  </a:cubicBezTo>
                  <a:cubicBezTo>
                    <a:pt x="785" y="807"/>
                    <a:pt x="785" y="802"/>
                    <a:pt x="786" y="814"/>
                  </a:cubicBezTo>
                  <a:cubicBezTo>
                    <a:pt x="776" y="822"/>
                    <a:pt x="776" y="822"/>
                    <a:pt x="776" y="822"/>
                  </a:cubicBezTo>
                  <a:cubicBezTo>
                    <a:pt x="782" y="843"/>
                    <a:pt x="778" y="836"/>
                    <a:pt x="791" y="851"/>
                  </a:cubicBezTo>
                  <a:cubicBezTo>
                    <a:pt x="784" y="867"/>
                    <a:pt x="785" y="860"/>
                    <a:pt x="786" y="880"/>
                  </a:cubicBezTo>
                  <a:cubicBezTo>
                    <a:pt x="805" y="886"/>
                    <a:pt x="805" y="886"/>
                    <a:pt x="805" y="886"/>
                  </a:cubicBezTo>
                  <a:cubicBezTo>
                    <a:pt x="809" y="897"/>
                    <a:pt x="809" y="897"/>
                    <a:pt x="809" y="897"/>
                  </a:cubicBezTo>
                  <a:cubicBezTo>
                    <a:pt x="822" y="903"/>
                    <a:pt x="822" y="903"/>
                    <a:pt x="822" y="903"/>
                  </a:cubicBezTo>
                  <a:cubicBezTo>
                    <a:pt x="834" y="895"/>
                    <a:pt x="834" y="895"/>
                    <a:pt x="834" y="895"/>
                  </a:cubicBezTo>
                  <a:cubicBezTo>
                    <a:pt x="851" y="904"/>
                    <a:pt x="851" y="904"/>
                    <a:pt x="851" y="904"/>
                  </a:cubicBezTo>
                  <a:cubicBezTo>
                    <a:pt x="874" y="921"/>
                    <a:pt x="874" y="921"/>
                    <a:pt x="874" y="921"/>
                  </a:cubicBezTo>
                  <a:cubicBezTo>
                    <a:pt x="888" y="938"/>
                    <a:pt x="888" y="938"/>
                    <a:pt x="888" y="938"/>
                  </a:cubicBezTo>
                  <a:cubicBezTo>
                    <a:pt x="880" y="932"/>
                    <a:pt x="880" y="932"/>
                    <a:pt x="880" y="932"/>
                  </a:cubicBezTo>
                  <a:cubicBezTo>
                    <a:pt x="875" y="934"/>
                    <a:pt x="875" y="934"/>
                    <a:pt x="875" y="934"/>
                  </a:cubicBezTo>
                  <a:cubicBezTo>
                    <a:pt x="878" y="940"/>
                    <a:pt x="878" y="940"/>
                    <a:pt x="878" y="940"/>
                  </a:cubicBezTo>
                  <a:cubicBezTo>
                    <a:pt x="895" y="944"/>
                    <a:pt x="895" y="944"/>
                    <a:pt x="895" y="944"/>
                  </a:cubicBezTo>
                  <a:cubicBezTo>
                    <a:pt x="895" y="958"/>
                    <a:pt x="895" y="958"/>
                    <a:pt x="895" y="958"/>
                  </a:cubicBezTo>
                  <a:cubicBezTo>
                    <a:pt x="882" y="1006"/>
                    <a:pt x="882" y="1006"/>
                    <a:pt x="882" y="1006"/>
                  </a:cubicBezTo>
                  <a:cubicBezTo>
                    <a:pt x="871" y="1028"/>
                    <a:pt x="871" y="1028"/>
                    <a:pt x="871" y="1028"/>
                  </a:cubicBezTo>
                  <a:cubicBezTo>
                    <a:pt x="868" y="1042"/>
                    <a:pt x="868" y="1042"/>
                    <a:pt x="868" y="1042"/>
                  </a:cubicBezTo>
                  <a:cubicBezTo>
                    <a:pt x="867" y="1055"/>
                    <a:pt x="867" y="1055"/>
                    <a:pt x="867" y="1055"/>
                  </a:cubicBezTo>
                  <a:cubicBezTo>
                    <a:pt x="870" y="1067"/>
                    <a:pt x="870" y="1067"/>
                    <a:pt x="870" y="1067"/>
                  </a:cubicBezTo>
                  <a:cubicBezTo>
                    <a:pt x="870" y="1067"/>
                    <a:pt x="871" y="1070"/>
                    <a:pt x="873" y="1073"/>
                  </a:cubicBezTo>
                  <a:cubicBezTo>
                    <a:pt x="876" y="1076"/>
                    <a:pt x="877" y="1080"/>
                    <a:pt x="881" y="1083"/>
                  </a:cubicBezTo>
                  <a:cubicBezTo>
                    <a:pt x="886" y="1086"/>
                    <a:pt x="884" y="1087"/>
                    <a:pt x="898" y="1088"/>
                  </a:cubicBezTo>
                  <a:cubicBezTo>
                    <a:pt x="912" y="1089"/>
                    <a:pt x="899" y="1096"/>
                    <a:pt x="900" y="1098"/>
                  </a:cubicBezTo>
                  <a:cubicBezTo>
                    <a:pt x="901" y="1100"/>
                    <a:pt x="902" y="1111"/>
                    <a:pt x="907" y="1122"/>
                  </a:cubicBezTo>
                  <a:cubicBezTo>
                    <a:pt x="913" y="1133"/>
                    <a:pt x="916" y="1132"/>
                    <a:pt x="925" y="1136"/>
                  </a:cubicBezTo>
                  <a:cubicBezTo>
                    <a:pt x="933" y="1141"/>
                    <a:pt x="930" y="1143"/>
                    <a:pt x="936" y="1154"/>
                  </a:cubicBezTo>
                  <a:cubicBezTo>
                    <a:pt x="941" y="1164"/>
                    <a:pt x="955" y="1159"/>
                    <a:pt x="957" y="1159"/>
                  </a:cubicBezTo>
                  <a:cubicBezTo>
                    <a:pt x="958" y="1159"/>
                    <a:pt x="960" y="1162"/>
                    <a:pt x="962" y="1165"/>
                  </a:cubicBezTo>
                  <a:cubicBezTo>
                    <a:pt x="962" y="1165"/>
                    <a:pt x="962" y="1165"/>
                    <a:pt x="962" y="1165"/>
                  </a:cubicBezTo>
                  <a:cubicBezTo>
                    <a:pt x="962" y="1165"/>
                    <a:pt x="958" y="1170"/>
                    <a:pt x="956" y="1171"/>
                  </a:cubicBezTo>
                  <a:cubicBezTo>
                    <a:pt x="955" y="1171"/>
                    <a:pt x="954" y="1172"/>
                    <a:pt x="954" y="1173"/>
                  </a:cubicBezTo>
                  <a:cubicBezTo>
                    <a:pt x="953" y="1174"/>
                    <a:pt x="955" y="1175"/>
                    <a:pt x="954" y="1176"/>
                  </a:cubicBezTo>
                  <a:cubicBezTo>
                    <a:pt x="952" y="1177"/>
                    <a:pt x="951" y="1180"/>
                    <a:pt x="951" y="1182"/>
                  </a:cubicBezTo>
                  <a:cubicBezTo>
                    <a:pt x="951" y="1183"/>
                    <a:pt x="950" y="1185"/>
                    <a:pt x="950" y="1185"/>
                  </a:cubicBezTo>
                  <a:cubicBezTo>
                    <a:pt x="950" y="1185"/>
                    <a:pt x="946" y="1190"/>
                    <a:pt x="943" y="1190"/>
                  </a:cubicBezTo>
                  <a:cubicBezTo>
                    <a:pt x="939" y="1190"/>
                    <a:pt x="937" y="1189"/>
                    <a:pt x="934" y="1188"/>
                  </a:cubicBezTo>
                  <a:cubicBezTo>
                    <a:pt x="931" y="1187"/>
                    <a:pt x="930" y="1188"/>
                    <a:pt x="930" y="1188"/>
                  </a:cubicBezTo>
                  <a:cubicBezTo>
                    <a:pt x="930" y="1188"/>
                    <a:pt x="928" y="1188"/>
                    <a:pt x="925" y="1186"/>
                  </a:cubicBezTo>
                  <a:cubicBezTo>
                    <a:pt x="922" y="1185"/>
                    <a:pt x="924" y="1185"/>
                    <a:pt x="924" y="1185"/>
                  </a:cubicBezTo>
                  <a:cubicBezTo>
                    <a:pt x="921" y="1181"/>
                    <a:pt x="921" y="1181"/>
                    <a:pt x="921" y="1181"/>
                  </a:cubicBezTo>
                  <a:cubicBezTo>
                    <a:pt x="918" y="1178"/>
                    <a:pt x="918" y="1178"/>
                    <a:pt x="918" y="1178"/>
                  </a:cubicBezTo>
                  <a:cubicBezTo>
                    <a:pt x="918" y="1178"/>
                    <a:pt x="917" y="1177"/>
                    <a:pt x="917" y="1175"/>
                  </a:cubicBezTo>
                  <a:cubicBezTo>
                    <a:pt x="916" y="1174"/>
                    <a:pt x="916" y="1175"/>
                    <a:pt x="915" y="1175"/>
                  </a:cubicBezTo>
                  <a:cubicBezTo>
                    <a:pt x="913" y="1176"/>
                    <a:pt x="912" y="1176"/>
                    <a:pt x="911" y="1175"/>
                  </a:cubicBezTo>
                  <a:cubicBezTo>
                    <a:pt x="910" y="1175"/>
                    <a:pt x="910" y="1173"/>
                    <a:pt x="910" y="1173"/>
                  </a:cubicBezTo>
                  <a:cubicBezTo>
                    <a:pt x="909" y="1172"/>
                    <a:pt x="907" y="1171"/>
                    <a:pt x="905" y="1170"/>
                  </a:cubicBezTo>
                  <a:cubicBezTo>
                    <a:pt x="902" y="1170"/>
                    <a:pt x="903" y="1168"/>
                    <a:pt x="900" y="1168"/>
                  </a:cubicBezTo>
                  <a:cubicBezTo>
                    <a:pt x="897" y="1168"/>
                    <a:pt x="899" y="1165"/>
                    <a:pt x="899" y="1164"/>
                  </a:cubicBezTo>
                  <a:cubicBezTo>
                    <a:pt x="898" y="1163"/>
                    <a:pt x="896" y="1166"/>
                    <a:pt x="895" y="1167"/>
                  </a:cubicBezTo>
                  <a:cubicBezTo>
                    <a:pt x="894" y="1168"/>
                    <a:pt x="894" y="1169"/>
                    <a:pt x="892" y="1169"/>
                  </a:cubicBezTo>
                  <a:cubicBezTo>
                    <a:pt x="891" y="1169"/>
                    <a:pt x="891" y="1165"/>
                    <a:pt x="891" y="1165"/>
                  </a:cubicBezTo>
                  <a:cubicBezTo>
                    <a:pt x="891" y="1165"/>
                    <a:pt x="891" y="1165"/>
                    <a:pt x="887" y="1165"/>
                  </a:cubicBezTo>
                  <a:cubicBezTo>
                    <a:pt x="883" y="1164"/>
                    <a:pt x="886" y="1167"/>
                    <a:pt x="886" y="1167"/>
                  </a:cubicBezTo>
                  <a:cubicBezTo>
                    <a:pt x="883" y="1172"/>
                    <a:pt x="883" y="1172"/>
                    <a:pt x="883" y="1172"/>
                  </a:cubicBezTo>
                  <a:cubicBezTo>
                    <a:pt x="879" y="1175"/>
                    <a:pt x="879" y="1175"/>
                    <a:pt x="879" y="1175"/>
                  </a:cubicBezTo>
                  <a:cubicBezTo>
                    <a:pt x="879" y="1175"/>
                    <a:pt x="880" y="1178"/>
                    <a:pt x="880" y="1179"/>
                  </a:cubicBezTo>
                  <a:cubicBezTo>
                    <a:pt x="881" y="1181"/>
                    <a:pt x="883" y="1182"/>
                    <a:pt x="883" y="1182"/>
                  </a:cubicBezTo>
                  <a:cubicBezTo>
                    <a:pt x="883" y="1182"/>
                    <a:pt x="885" y="1184"/>
                    <a:pt x="888" y="1185"/>
                  </a:cubicBezTo>
                  <a:cubicBezTo>
                    <a:pt x="890" y="1187"/>
                    <a:pt x="890" y="1187"/>
                    <a:pt x="891" y="1187"/>
                  </a:cubicBezTo>
                  <a:cubicBezTo>
                    <a:pt x="893" y="1187"/>
                    <a:pt x="895" y="1188"/>
                    <a:pt x="898" y="1189"/>
                  </a:cubicBezTo>
                  <a:cubicBezTo>
                    <a:pt x="902" y="1191"/>
                    <a:pt x="900" y="1190"/>
                    <a:pt x="904" y="1194"/>
                  </a:cubicBezTo>
                  <a:cubicBezTo>
                    <a:pt x="909" y="1197"/>
                    <a:pt x="904" y="1194"/>
                    <a:pt x="903" y="1197"/>
                  </a:cubicBezTo>
                  <a:cubicBezTo>
                    <a:pt x="902" y="1199"/>
                    <a:pt x="898" y="1193"/>
                    <a:pt x="895" y="1194"/>
                  </a:cubicBezTo>
                  <a:cubicBezTo>
                    <a:pt x="891" y="1195"/>
                    <a:pt x="890" y="1193"/>
                    <a:pt x="888" y="1193"/>
                  </a:cubicBezTo>
                  <a:cubicBezTo>
                    <a:pt x="888" y="1193"/>
                    <a:pt x="888" y="1194"/>
                    <a:pt x="888" y="1194"/>
                  </a:cubicBezTo>
                  <a:cubicBezTo>
                    <a:pt x="887" y="1194"/>
                    <a:pt x="887" y="1194"/>
                    <a:pt x="887" y="1194"/>
                  </a:cubicBezTo>
                  <a:cubicBezTo>
                    <a:pt x="887" y="1193"/>
                    <a:pt x="886" y="1192"/>
                    <a:pt x="886" y="1192"/>
                  </a:cubicBezTo>
                  <a:cubicBezTo>
                    <a:pt x="885" y="1191"/>
                    <a:pt x="881" y="1190"/>
                    <a:pt x="881" y="1190"/>
                  </a:cubicBezTo>
                  <a:cubicBezTo>
                    <a:pt x="878" y="1190"/>
                    <a:pt x="878" y="1190"/>
                    <a:pt x="878" y="1190"/>
                  </a:cubicBezTo>
                  <a:cubicBezTo>
                    <a:pt x="876" y="1189"/>
                    <a:pt x="876" y="1189"/>
                    <a:pt x="876" y="1189"/>
                  </a:cubicBezTo>
                  <a:cubicBezTo>
                    <a:pt x="873" y="1185"/>
                    <a:pt x="873" y="1185"/>
                    <a:pt x="873" y="1185"/>
                  </a:cubicBezTo>
                  <a:cubicBezTo>
                    <a:pt x="871" y="1183"/>
                    <a:pt x="871" y="1183"/>
                    <a:pt x="871" y="1183"/>
                  </a:cubicBezTo>
                  <a:cubicBezTo>
                    <a:pt x="868" y="1180"/>
                    <a:pt x="868" y="1180"/>
                    <a:pt x="868" y="1180"/>
                  </a:cubicBezTo>
                  <a:cubicBezTo>
                    <a:pt x="869" y="1178"/>
                    <a:pt x="869" y="1178"/>
                    <a:pt x="869" y="1178"/>
                  </a:cubicBezTo>
                  <a:cubicBezTo>
                    <a:pt x="872" y="1176"/>
                    <a:pt x="872" y="1176"/>
                    <a:pt x="872" y="1176"/>
                  </a:cubicBezTo>
                  <a:cubicBezTo>
                    <a:pt x="872" y="1176"/>
                    <a:pt x="873" y="1175"/>
                    <a:pt x="874" y="1173"/>
                  </a:cubicBezTo>
                  <a:cubicBezTo>
                    <a:pt x="875" y="1171"/>
                    <a:pt x="873" y="1172"/>
                    <a:pt x="873" y="1172"/>
                  </a:cubicBezTo>
                  <a:cubicBezTo>
                    <a:pt x="873" y="1172"/>
                    <a:pt x="871" y="1170"/>
                    <a:pt x="869" y="1169"/>
                  </a:cubicBezTo>
                  <a:cubicBezTo>
                    <a:pt x="867" y="1168"/>
                    <a:pt x="865" y="1170"/>
                    <a:pt x="865" y="1170"/>
                  </a:cubicBezTo>
                  <a:cubicBezTo>
                    <a:pt x="860" y="1170"/>
                    <a:pt x="860" y="1170"/>
                    <a:pt x="860" y="1170"/>
                  </a:cubicBezTo>
                  <a:cubicBezTo>
                    <a:pt x="856" y="1169"/>
                    <a:pt x="856" y="1169"/>
                    <a:pt x="856" y="1169"/>
                  </a:cubicBezTo>
                  <a:cubicBezTo>
                    <a:pt x="853" y="1166"/>
                    <a:pt x="853" y="1166"/>
                    <a:pt x="853" y="1166"/>
                  </a:cubicBezTo>
                  <a:cubicBezTo>
                    <a:pt x="847" y="1165"/>
                    <a:pt x="847" y="1165"/>
                    <a:pt x="847" y="1165"/>
                  </a:cubicBezTo>
                  <a:cubicBezTo>
                    <a:pt x="844" y="1163"/>
                    <a:pt x="844" y="1163"/>
                    <a:pt x="844" y="1163"/>
                  </a:cubicBezTo>
                  <a:cubicBezTo>
                    <a:pt x="844" y="1163"/>
                    <a:pt x="844" y="1157"/>
                    <a:pt x="844" y="1156"/>
                  </a:cubicBezTo>
                  <a:cubicBezTo>
                    <a:pt x="844" y="1155"/>
                    <a:pt x="844" y="1152"/>
                    <a:pt x="844" y="1152"/>
                  </a:cubicBezTo>
                  <a:cubicBezTo>
                    <a:pt x="844" y="1152"/>
                    <a:pt x="839" y="1152"/>
                    <a:pt x="837" y="1152"/>
                  </a:cubicBezTo>
                  <a:cubicBezTo>
                    <a:pt x="835" y="1153"/>
                    <a:pt x="833" y="1152"/>
                    <a:pt x="833" y="1152"/>
                  </a:cubicBezTo>
                  <a:cubicBezTo>
                    <a:pt x="833" y="1152"/>
                    <a:pt x="826" y="1151"/>
                    <a:pt x="825" y="1150"/>
                  </a:cubicBezTo>
                  <a:cubicBezTo>
                    <a:pt x="825" y="1148"/>
                    <a:pt x="825" y="1148"/>
                    <a:pt x="824" y="1149"/>
                  </a:cubicBezTo>
                  <a:cubicBezTo>
                    <a:pt x="823" y="1149"/>
                    <a:pt x="818" y="1149"/>
                    <a:pt x="818" y="1149"/>
                  </a:cubicBezTo>
                  <a:cubicBezTo>
                    <a:pt x="813" y="1147"/>
                    <a:pt x="813" y="1147"/>
                    <a:pt x="813" y="1147"/>
                  </a:cubicBezTo>
                  <a:cubicBezTo>
                    <a:pt x="813" y="1154"/>
                    <a:pt x="813" y="1154"/>
                    <a:pt x="813" y="1154"/>
                  </a:cubicBezTo>
                  <a:cubicBezTo>
                    <a:pt x="812" y="1152"/>
                    <a:pt x="812" y="1152"/>
                    <a:pt x="812" y="1152"/>
                  </a:cubicBezTo>
                  <a:cubicBezTo>
                    <a:pt x="804" y="1152"/>
                    <a:pt x="804" y="1152"/>
                    <a:pt x="804" y="1152"/>
                  </a:cubicBezTo>
                  <a:cubicBezTo>
                    <a:pt x="800" y="1155"/>
                    <a:pt x="800" y="1155"/>
                    <a:pt x="800" y="1155"/>
                  </a:cubicBezTo>
                  <a:cubicBezTo>
                    <a:pt x="795" y="1156"/>
                    <a:pt x="795" y="1156"/>
                    <a:pt x="795" y="1156"/>
                  </a:cubicBezTo>
                  <a:cubicBezTo>
                    <a:pt x="796" y="1159"/>
                    <a:pt x="796" y="1159"/>
                    <a:pt x="796" y="1159"/>
                  </a:cubicBezTo>
                  <a:cubicBezTo>
                    <a:pt x="794" y="1161"/>
                    <a:pt x="794" y="1161"/>
                    <a:pt x="794" y="1161"/>
                  </a:cubicBezTo>
                  <a:cubicBezTo>
                    <a:pt x="794" y="1161"/>
                    <a:pt x="791" y="1162"/>
                    <a:pt x="790" y="1162"/>
                  </a:cubicBezTo>
                  <a:cubicBezTo>
                    <a:pt x="790" y="1162"/>
                    <a:pt x="789" y="1164"/>
                    <a:pt x="789" y="1165"/>
                  </a:cubicBezTo>
                  <a:cubicBezTo>
                    <a:pt x="788" y="1166"/>
                    <a:pt x="787" y="1166"/>
                    <a:pt x="787" y="1166"/>
                  </a:cubicBezTo>
                  <a:cubicBezTo>
                    <a:pt x="784" y="1165"/>
                    <a:pt x="784" y="1165"/>
                    <a:pt x="784" y="1165"/>
                  </a:cubicBezTo>
                  <a:cubicBezTo>
                    <a:pt x="781" y="1165"/>
                    <a:pt x="781" y="1165"/>
                    <a:pt x="781" y="1165"/>
                  </a:cubicBezTo>
                  <a:cubicBezTo>
                    <a:pt x="779" y="1164"/>
                    <a:pt x="779" y="1164"/>
                    <a:pt x="779" y="1164"/>
                  </a:cubicBezTo>
                  <a:cubicBezTo>
                    <a:pt x="781" y="1160"/>
                    <a:pt x="781" y="1160"/>
                    <a:pt x="781" y="1160"/>
                  </a:cubicBezTo>
                  <a:cubicBezTo>
                    <a:pt x="781" y="1158"/>
                    <a:pt x="781" y="1158"/>
                    <a:pt x="781" y="1158"/>
                  </a:cubicBezTo>
                  <a:cubicBezTo>
                    <a:pt x="781" y="1158"/>
                    <a:pt x="781" y="1158"/>
                    <a:pt x="781" y="1158"/>
                  </a:cubicBezTo>
                  <a:cubicBezTo>
                    <a:pt x="781" y="1158"/>
                    <a:pt x="781" y="1158"/>
                    <a:pt x="781" y="1158"/>
                  </a:cubicBezTo>
                  <a:cubicBezTo>
                    <a:pt x="776" y="1159"/>
                    <a:pt x="776" y="1159"/>
                    <a:pt x="776" y="1159"/>
                  </a:cubicBezTo>
                  <a:cubicBezTo>
                    <a:pt x="771" y="1156"/>
                    <a:pt x="771" y="1156"/>
                    <a:pt x="771" y="1156"/>
                  </a:cubicBezTo>
                  <a:cubicBezTo>
                    <a:pt x="761" y="1156"/>
                    <a:pt x="761" y="1156"/>
                    <a:pt x="761" y="1156"/>
                  </a:cubicBezTo>
                  <a:cubicBezTo>
                    <a:pt x="755" y="1155"/>
                    <a:pt x="755" y="1155"/>
                    <a:pt x="755" y="1155"/>
                  </a:cubicBezTo>
                  <a:cubicBezTo>
                    <a:pt x="751" y="1150"/>
                    <a:pt x="751" y="1150"/>
                    <a:pt x="751" y="1150"/>
                  </a:cubicBezTo>
                  <a:cubicBezTo>
                    <a:pt x="744" y="1149"/>
                    <a:pt x="744" y="1149"/>
                    <a:pt x="744" y="1149"/>
                  </a:cubicBezTo>
                  <a:cubicBezTo>
                    <a:pt x="739" y="1153"/>
                    <a:pt x="739" y="1153"/>
                    <a:pt x="739" y="1153"/>
                  </a:cubicBezTo>
                  <a:cubicBezTo>
                    <a:pt x="739" y="1153"/>
                    <a:pt x="733" y="1150"/>
                    <a:pt x="731" y="1151"/>
                  </a:cubicBezTo>
                  <a:cubicBezTo>
                    <a:pt x="729" y="1151"/>
                    <a:pt x="726" y="1152"/>
                    <a:pt x="725" y="1153"/>
                  </a:cubicBezTo>
                  <a:cubicBezTo>
                    <a:pt x="724" y="1153"/>
                    <a:pt x="724" y="1153"/>
                    <a:pt x="723" y="1154"/>
                  </a:cubicBezTo>
                  <a:cubicBezTo>
                    <a:pt x="723" y="1154"/>
                    <a:pt x="723" y="1154"/>
                    <a:pt x="723" y="1154"/>
                  </a:cubicBezTo>
                  <a:cubicBezTo>
                    <a:pt x="723" y="1154"/>
                    <a:pt x="723" y="1154"/>
                    <a:pt x="723" y="1154"/>
                  </a:cubicBezTo>
                  <a:cubicBezTo>
                    <a:pt x="723" y="1154"/>
                    <a:pt x="723" y="1154"/>
                    <a:pt x="723" y="1154"/>
                  </a:cubicBezTo>
                  <a:cubicBezTo>
                    <a:pt x="723" y="1154"/>
                    <a:pt x="723" y="1154"/>
                    <a:pt x="723" y="1154"/>
                  </a:cubicBezTo>
                  <a:cubicBezTo>
                    <a:pt x="723" y="1154"/>
                    <a:pt x="723" y="1154"/>
                    <a:pt x="723" y="1154"/>
                  </a:cubicBezTo>
                  <a:cubicBezTo>
                    <a:pt x="723" y="1154"/>
                    <a:pt x="723" y="1154"/>
                    <a:pt x="723" y="1154"/>
                  </a:cubicBezTo>
                  <a:cubicBezTo>
                    <a:pt x="723" y="1154"/>
                    <a:pt x="723" y="1154"/>
                    <a:pt x="723" y="1154"/>
                  </a:cubicBezTo>
                  <a:cubicBezTo>
                    <a:pt x="723" y="1154"/>
                    <a:pt x="723" y="1154"/>
                    <a:pt x="723" y="1154"/>
                  </a:cubicBezTo>
                  <a:cubicBezTo>
                    <a:pt x="723" y="1154"/>
                    <a:pt x="723" y="1154"/>
                    <a:pt x="723" y="1154"/>
                  </a:cubicBezTo>
                  <a:cubicBezTo>
                    <a:pt x="723" y="1154"/>
                    <a:pt x="723" y="1154"/>
                    <a:pt x="723" y="1154"/>
                  </a:cubicBezTo>
                  <a:cubicBezTo>
                    <a:pt x="723" y="1154"/>
                    <a:pt x="723" y="1154"/>
                    <a:pt x="723" y="1154"/>
                  </a:cubicBezTo>
                  <a:cubicBezTo>
                    <a:pt x="723" y="1154"/>
                    <a:pt x="723" y="1154"/>
                    <a:pt x="723" y="1154"/>
                  </a:cubicBezTo>
                  <a:cubicBezTo>
                    <a:pt x="723" y="1154"/>
                    <a:pt x="723" y="1154"/>
                    <a:pt x="723" y="1154"/>
                  </a:cubicBezTo>
                  <a:cubicBezTo>
                    <a:pt x="723" y="1155"/>
                    <a:pt x="723" y="1155"/>
                    <a:pt x="723" y="1155"/>
                  </a:cubicBezTo>
                  <a:cubicBezTo>
                    <a:pt x="723" y="1155"/>
                    <a:pt x="723" y="1155"/>
                    <a:pt x="723" y="1155"/>
                  </a:cubicBezTo>
                  <a:cubicBezTo>
                    <a:pt x="722" y="1155"/>
                    <a:pt x="722" y="1155"/>
                    <a:pt x="722" y="1155"/>
                  </a:cubicBezTo>
                  <a:cubicBezTo>
                    <a:pt x="722" y="1155"/>
                    <a:pt x="722" y="1155"/>
                    <a:pt x="722" y="1155"/>
                  </a:cubicBezTo>
                  <a:cubicBezTo>
                    <a:pt x="722" y="1155"/>
                    <a:pt x="722" y="1155"/>
                    <a:pt x="722" y="1155"/>
                  </a:cubicBezTo>
                  <a:cubicBezTo>
                    <a:pt x="722" y="1155"/>
                    <a:pt x="722" y="1155"/>
                    <a:pt x="722" y="1155"/>
                  </a:cubicBezTo>
                  <a:cubicBezTo>
                    <a:pt x="722" y="1155"/>
                    <a:pt x="722" y="1155"/>
                    <a:pt x="722" y="1155"/>
                  </a:cubicBezTo>
                  <a:cubicBezTo>
                    <a:pt x="722" y="1155"/>
                    <a:pt x="722" y="1155"/>
                    <a:pt x="722" y="1155"/>
                  </a:cubicBezTo>
                  <a:cubicBezTo>
                    <a:pt x="722" y="1155"/>
                    <a:pt x="722" y="1155"/>
                    <a:pt x="722" y="1155"/>
                  </a:cubicBezTo>
                  <a:cubicBezTo>
                    <a:pt x="722" y="1155"/>
                    <a:pt x="722" y="1155"/>
                    <a:pt x="722" y="1155"/>
                  </a:cubicBezTo>
                  <a:cubicBezTo>
                    <a:pt x="722" y="1155"/>
                    <a:pt x="722" y="1155"/>
                    <a:pt x="722" y="1155"/>
                  </a:cubicBezTo>
                  <a:cubicBezTo>
                    <a:pt x="722" y="1155"/>
                    <a:pt x="722" y="1155"/>
                    <a:pt x="722" y="1155"/>
                  </a:cubicBezTo>
                  <a:cubicBezTo>
                    <a:pt x="722" y="1155"/>
                    <a:pt x="722" y="1155"/>
                    <a:pt x="722" y="1155"/>
                  </a:cubicBezTo>
                  <a:cubicBezTo>
                    <a:pt x="722" y="1155"/>
                    <a:pt x="722" y="1155"/>
                    <a:pt x="722" y="1155"/>
                  </a:cubicBezTo>
                  <a:cubicBezTo>
                    <a:pt x="722" y="1155"/>
                    <a:pt x="722" y="1155"/>
                    <a:pt x="722" y="1155"/>
                  </a:cubicBezTo>
                  <a:cubicBezTo>
                    <a:pt x="722" y="1155"/>
                    <a:pt x="722" y="1155"/>
                    <a:pt x="722" y="1155"/>
                  </a:cubicBezTo>
                  <a:cubicBezTo>
                    <a:pt x="722" y="1155"/>
                    <a:pt x="722" y="1155"/>
                    <a:pt x="722" y="1155"/>
                  </a:cubicBezTo>
                  <a:cubicBezTo>
                    <a:pt x="722" y="1155"/>
                    <a:pt x="722" y="1155"/>
                    <a:pt x="722" y="1155"/>
                  </a:cubicBezTo>
                  <a:cubicBezTo>
                    <a:pt x="722" y="1155"/>
                    <a:pt x="722" y="1155"/>
                    <a:pt x="722" y="1155"/>
                  </a:cubicBezTo>
                  <a:cubicBezTo>
                    <a:pt x="722" y="1155"/>
                    <a:pt x="722" y="1155"/>
                    <a:pt x="722" y="1155"/>
                  </a:cubicBezTo>
                  <a:cubicBezTo>
                    <a:pt x="722" y="1155"/>
                    <a:pt x="722" y="1155"/>
                    <a:pt x="722" y="1155"/>
                  </a:cubicBezTo>
                  <a:cubicBezTo>
                    <a:pt x="722" y="1155"/>
                    <a:pt x="722" y="1155"/>
                    <a:pt x="722" y="1155"/>
                  </a:cubicBezTo>
                  <a:cubicBezTo>
                    <a:pt x="722" y="1155"/>
                    <a:pt x="722" y="1155"/>
                    <a:pt x="722" y="1155"/>
                  </a:cubicBezTo>
                  <a:cubicBezTo>
                    <a:pt x="722" y="1155"/>
                    <a:pt x="722" y="1155"/>
                    <a:pt x="722" y="1155"/>
                  </a:cubicBezTo>
                  <a:cubicBezTo>
                    <a:pt x="721" y="1155"/>
                    <a:pt x="721" y="1155"/>
                    <a:pt x="721" y="1155"/>
                  </a:cubicBezTo>
                  <a:cubicBezTo>
                    <a:pt x="721" y="1155"/>
                    <a:pt x="721" y="1155"/>
                    <a:pt x="721" y="1155"/>
                  </a:cubicBezTo>
                  <a:cubicBezTo>
                    <a:pt x="721" y="1155"/>
                    <a:pt x="721" y="1155"/>
                    <a:pt x="721" y="1155"/>
                  </a:cubicBezTo>
                  <a:cubicBezTo>
                    <a:pt x="721" y="1155"/>
                    <a:pt x="721" y="1155"/>
                    <a:pt x="721" y="1155"/>
                  </a:cubicBezTo>
                  <a:cubicBezTo>
                    <a:pt x="721" y="1155"/>
                    <a:pt x="721" y="1155"/>
                    <a:pt x="721" y="1155"/>
                  </a:cubicBezTo>
                  <a:cubicBezTo>
                    <a:pt x="721" y="1155"/>
                    <a:pt x="721" y="1155"/>
                    <a:pt x="721" y="1155"/>
                  </a:cubicBezTo>
                  <a:cubicBezTo>
                    <a:pt x="721" y="1155"/>
                    <a:pt x="721" y="1155"/>
                    <a:pt x="721" y="1155"/>
                  </a:cubicBezTo>
                  <a:cubicBezTo>
                    <a:pt x="721" y="1155"/>
                    <a:pt x="721" y="1155"/>
                    <a:pt x="721" y="1155"/>
                  </a:cubicBezTo>
                  <a:cubicBezTo>
                    <a:pt x="720" y="1156"/>
                    <a:pt x="718" y="1155"/>
                    <a:pt x="717" y="1155"/>
                  </a:cubicBezTo>
                  <a:cubicBezTo>
                    <a:pt x="716" y="1156"/>
                    <a:pt x="715" y="1157"/>
                    <a:pt x="713" y="1157"/>
                  </a:cubicBezTo>
                  <a:cubicBezTo>
                    <a:pt x="712" y="1157"/>
                    <a:pt x="711" y="1156"/>
                    <a:pt x="710" y="1156"/>
                  </a:cubicBezTo>
                  <a:cubicBezTo>
                    <a:pt x="709" y="1157"/>
                    <a:pt x="708" y="1157"/>
                    <a:pt x="707" y="1157"/>
                  </a:cubicBezTo>
                  <a:cubicBezTo>
                    <a:pt x="705" y="1157"/>
                    <a:pt x="704" y="1156"/>
                    <a:pt x="704" y="1156"/>
                  </a:cubicBezTo>
                  <a:cubicBezTo>
                    <a:pt x="701" y="1156"/>
                    <a:pt x="701" y="1156"/>
                    <a:pt x="701" y="1156"/>
                  </a:cubicBezTo>
                  <a:cubicBezTo>
                    <a:pt x="699" y="1154"/>
                    <a:pt x="699" y="1154"/>
                    <a:pt x="699" y="1154"/>
                  </a:cubicBezTo>
                  <a:cubicBezTo>
                    <a:pt x="699" y="1154"/>
                    <a:pt x="698" y="1155"/>
                    <a:pt x="696" y="1155"/>
                  </a:cubicBezTo>
                  <a:cubicBezTo>
                    <a:pt x="694" y="1155"/>
                    <a:pt x="692" y="1154"/>
                    <a:pt x="691" y="1154"/>
                  </a:cubicBezTo>
                  <a:cubicBezTo>
                    <a:pt x="689" y="1155"/>
                    <a:pt x="687" y="1155"/>
                    <a:pt x="687" y="1155"/>
                  </a:cubicBezTo>
                  <a:cubicBezTo>
                    <a:pt x="681" y="1153"/>
                    <a:pt x="681" y="1153"/>
                    <a:pt x="681" y="1153"/>
                  </a:cubicBezTo>
                  <a:cubicBezTo>
                    <a:pt x="677" y="1152"/>
                    <a:pt x="677" y="1152"/>
                    <a:pt x="677" y="1152"/>
                  </a:cubicBezTo>
                  <a:cubicBezTo>
                    <a:pt x="673" y="1151"/>
                    <a:pt x="673" y="1151"/>
                    <a:pt x="673" y="1151"/>
                  </a:cubicBezTo>
                  <a:cubicBezTo>
                    <a:pt x="671" y="1153"/>
                    <a:pt x="671" y="1153"/>
                    <a:pt x="671" y="1153"/>
                  </a:cubicBezTo>
                  <a:cubicBezTo>
                    <a:pt x="667" y="1153"/>
                    <a:pt x="667" y="1153"/>
                    <a:pt x="667" y="1153"/>
                  </a:cubicBezTo>
                  <a:cubicBezTo>
                    <a:pt x="667" y="1153"/>
                    <a:pt x="663" y="1152"/>
                    <a:pt x="660" y="1153"/>
                  </a:cubicBezTo>
                  <a:cubicBezTo>
                    <a:pt x="659" y="1153"/>
                    <a:pt x="656" y="1155"/>
                    <a:pt x="656" y="1155"/>
                  </a:cubicBezTo>
                  <a:cubicBezTo>
                    <a:pt x="655" y="1156"/>
                    <a:pt x="658" y="1159"/>
                    <a:pt x="656" y="1159"/>
                  </a:cubicBezTo>
                  <a:cubicBezTo>
                    <a:pt x="633" y="1156"/>
                    <a:pt x="604" y="1146"/>
                    <a:pt x="580" y="1140"/>
                  </a:cubicBezTo>
                  <a:cubicBezTo>
                    <a:pt x="580" y="1140"/>
                    <a:pt x="560" y="1135"/>
                    <a:pt x="557" y="1135"/>
                  </a:cubicBezTo>
                  <a:cubicBezTo>
                    <a:pt x="554" y="1135"/>
                    <a:pt x="547" y="1126"/>
                    <a:pt x="547" y="1124"/>
                  </a:cubicBezTo>
                  <a:cubicBezTo>
                    <a:pt x="547" y="1122"/>
                    <a:pt x="546" y="1114"/>
                    <a:pt x="550" y="1113"/>
                  </a:cubicBezTo>
                  <a:cubicBezTo>
                    <a:pt x="553" y="1111"/>
                    <a:pt x="553" y="1111"/>
                    <a:pt x="558" y="1106"/>
                  </a:cubicBezTo>
                  <a:cubicBezTo>
                    <a:pt x="563" y="1101"/>
                    <a:pt x="563" y="1096"/>
                    <a:pt x="563" y="1096"/>
                  </a:cubicBezTo>
                  <a:cubicBezTo>
                    <a:pt x="551" y="1089"/>
                    <a:pt x="551" y="1089"/>
                    <a:pt x="551" y="1089"/>
                  </a:cubicBezTo>
                  <a:cubicBezTo>
                    <a:pt x="551" y="1089"/>
                    <a:pt x="537" y="1097"/>
                    <a:pt x="535" y="1095"/>
                  </a:cubicBezTo>
                  <a:cubicBezTo>
                    <a:pt x="532" y="1093"/>
                    <a:pt x="519" y="1102"/>
                    <a:pt x="519" y="1102"/>
                  </a:cubicBezTo>
                  <a:cubicBezTo>
                    <a:pt x="506" y="1103"/>
                    <a:pt x="506" y="1103"/>
                    <a:pt x="506" y="1103"/>
                  </a:cubicBezTo>
                  <a:cubicBezTo>
                    <a:pt x="506" y="1101"/>
                    <a:pt x="506" y="1101"/>
                    <a:pt x="506" y="1101"/>
                  </a:cubicBezTo>
                  <a:cubicBezTo>
                    <a:pt x="506" y="1101"/>
                    <a:pt x="509" y="1093"/>
                    <a:pt x="512" y="1095"/>
                  </a:cubicBezTo>
                  <a:cubicBezTo>
                    <a:pt x="515" y="1085"/>
                    <a:pt x="515" y="1085"/>
                    <a:pt x="515" y="1085"/>
                  </a:cubicBezTo>
                  <a:cubicBezTo>
                    <a:pt x="514" y="1074"/>
                    <a:pt x="514" y="1074"/>
                    <a:pt x="514" y="1074"/>
                  </a:cubicBezTo>
                  <a:cubicBezTo>
                    <a:pt x="510" y="1059"/>
                    <a:pt x="510" y="1059"/>
                    <a:pt x="510" y="1059"/>
                  </a:cubicBezTo>
                  <a:cubicBezTo>
                    <a:pt x="526" y="1058"/>
                    <a:pt x="526" y="1058"/>
                    <a:pt x="526" y="1058"/>
                  </a:cubicBezTo>
                  <a:cubicBezTo>
                    <a:pt x="541" y="1050"/>
                    <a:pt x="541" y="1050"/>
                    <a:pt x="541" y="1050"/>
                  </a:cubicBezTo>
                  <a:cubicBezTo>
                    <a:pt x="536" y="1042"/>
                    <a:pt x="536" y="1042"/>
                    <a:pt x="536" y="1042"/>
                  </a:cubicBezTo>
                  <a:cubicBezTo>
                    <a:pt x="522" y="1046"/>
                    <a:pt x="522" y="1046"/>
                    <a:pt x="522" y="1046"/>
                  </a:cubicBezTo>
                  <a:cubicBezTo>
                    <a:pt x="510" y="1044"/>
                    <a:pt x="510" y="1044"/>
                    <a:pt x="510" y="1044"/>
                  </a:cubicBezTo>
                  <a:cubicBezTo>
                    <a:pt x="492" y="1059"/>
                    <a:pt x="492" y="1059"/>
                    <a:pt x="492" y="1059"/>
                  </a:cubicBezTo>
                  <a:cubicBezTo>
                    <a:pt x="473" y="1059"/>
                    <a:pt x="473" y="1059"/>
                    <a:pt x="473" y="1059"/>
                  </a:cubicBezTo>
                  <a:cubicBezTo>
                    <a:pt x="467" y="1058"/>
                    <a:pt x="467" y="1058"/>
                    <a:pt x="467" y="1058"/>
                  </a:cubicBezTo>
                  <a:cubicBezTo>
                    <a:pt x="467" y="1056"/>
                    <a:pt x="468" y="1055"/>
                    <a:pt x="468" y="1055"/>
                  </a:cubicBezTo>
                  <a:cubicBezTo>
                    <a:pt x="470" y="1054"/>
                    <a:pt x="482" y="1050"/>
                    <a:pt x="482" y="1050"/>
                  </a:cubicBezTo>
                  <a:cubicBezTo>
                    <a:pt x="490" y="1045"/>
                    <a:pt x="490" y="1045"/>
                    <a:pt x="490" y="1045"/>
                  </a:cubicBezTo>
                  <a:cubicBezTo>
                    <a:pt x="490" y="1045"/>
                    <a:pt x="494" y="1039"/>
                    <a:pt x="496" y="1039"/>
                  </a:cubicBezTo>
                  <a:cubicBezTo>
                    <a:pt x="498" y="1038"/>
                    <a:pt x="499" y="1035"/>
                    <a:pt x="501" y="1032"/>
                  </a:cubicBezTo>
                  <a:cubicBezTo>
                    <a:pt x="503" y="1028"/>
                    <a:pt x="505" y="1026"/>
                    <a:pt x="505" y="1026"/>
                  </a:cubicBezTo>
                  <a:cubicBezTo>
                    <a:pt x="505" y="1026"/>
                    <a:pt x="514" y="1024"/>
                    <a:pt x="514" y="1022"/>
                  </a:cubicBezTo>
                  <a:cubicBezTo>
                    <a:pt x="513" y="1021"/>
                    <a:pt x="510" y="1018"/>
                    <a:pt x="515" y="1018"/>
                  </a:cubicBezTo>
                  <a:cubicBezTo>
                    <a:pt x="519" y="1017"/>
                    <a:pt x="519" y="1018"/>
                    <a:pt x="521" y="1017"/>
                  </a:cubicBezTo>
                  <a:cubicBezTo>
                    <a:pt x="523" y="1015"/>
                    <a:pt x="523" y="1014"/>
                    <a:pt x="524" y="1012"/>
                  </a:cubicBezTo>
                  <a:cubicBezTo>
                    <a:pt x="524" y="1011"/>
                    <a:pt x="526" y="1008"/>
                    <a:pt x="525" y="1006"/>
                  </a:cubicBezTo>
                  <a:cubicBezTo>
                    <a:pt x="525" y="1005"/>
                    <a:pt x="521" y="999"/>
                    <a:pt x="520" y="997"/>
                  </a:cubicBezTo>
                  <a:cubicBezTo>
                    <a:pt x="520" y="995"/>
                    <a:pt x="521" y="990"/>
                    <a:pt x="521" y="990"/>
                  </a:cubicBezTo>
                  <a:cubicBezTo>
                    <a:pt x="521" y="990"/>
                    <a:pt x="523" y="989"/>
                    <a:pt x="525" y="988"/>
                  </a:cubicBezTo>
                  <a:cubicBezTo>
                    <a:pt x="527" y="986"/>
                    <a:pt x="530" y="981"/>
                    <a:pt x="530" y="981"/>
                  </a:cubicBezTo>
                  <a:cubicBezTo>
                    <a:pt x="531" y="977"/>
                    <a:pt x="531" y="977"/>
                    <a:pt x="531" y="977"/>
                  </a:cubicBezTo>
                  <a:cubicBezTo>
                    <a:pt x="531" y="977"/>
                    <a:pt x="534" y="975"/>
                    <a:pt x="535" y="974"/>
                  </a:cubicBezTo>
                  <a:cubicBezTo>
                    <a:pt x="537" y="974"/>
                    <a:pt x="549" y="969"/>
                    <a:pt x="550" y="969"/>
                  </a:cubicBezTo>
                  <a:cubicBezTo>
                    <a:pt x="551" y="969"/>
                    <a:pt x="559" y="969"/>
                    <a:pt x="557" y="966"/>
                  </a:cubicBezTo>
                  <a:cubicBezTo>
                    <a:pt x="554" y="962"/>
                    <a:pt x="553" y="960"/>
                    <a:pt x="553" y="958"/>
                  </a:cubicBezTo>
                  <a:cubicBezTo>
                    <a:pt x="552" y="956"/>
                    <a:pt x="552" y="950"/>
                    <a:pt x="552" y="949"/>
                  </a:cubicBezTo>
                  <a:cubicBezTo>
                    <a:pt x="553" y="948"/>
                    <a:pt x="560" y="947"/>
                    <a:pt x="552" y="946"/>
                  </a:cubicBezTo>
                  <a:cubicBezTo>
                    <a:pt x="545" y="945"/>
                    <a:pt x="551" y="942"/>
                    <a:pt x="549" y="941"/>
                  </a:cubicBezTo>
                  <a:cubicBezTo>
                    <a:pt x="546" y="939"/>
                    <a:pt x="542" y="936"/>
                    <a:pt x="542" y="936"/>
                  </a:cubicBezTo>
                  <a:cubicBezTo>
                    <a:pt x="539" y="936"/>
                    <a:pt x="539" y="936"/>
                    <a:pt x="539" y="936"/>
                  </a:cubicBezTo>
                  <a:cubicBezTo>
                    <a:pt x="540" y="928"/>
                    <a:pt x="540" y="928"/>
                    <a:pt x="540" y="928"/>
                  </a:cubicBezTo>
                  <a:cubicBezTo>
                    <a:pt x="540" y="928"/>
                    <a:pt x="542" y="925"/>
                    <a:pt x="543" y="924"/>
                  </a:cubicBezTo>
                  <a:cubicBezTo>
                    <a:pt x="544" y="924"/>
                    <a:pt x="545" y="921"/>
                    <a:pt x="543" y="921"/>
                  </a:cubicBezTo>
                  <a:cubicBezTo>
                    <a:pt x="542" y="921"/>
                    <a:pt x="537" y="923"/>
                    <a:pt x="537" y="923"/>
                  </a:cubicBezTo>
                  <a:cubicBezTo>
                    <a:pt x="537" y="923"/>
                    <a:pt x="533" y="922"/>
                    <a:pt x="533" y="920"/>
                  </a:cubicBezTo>
                  <a:cubicBezTo>
                    <a:pt x="534" y="918"/>
                    <a:pt x="535" y="918"/>
                    <a:pt x="538" y="916"/>
                  </a:cubicBezTo>
                  <a:cubicBezTo>
                    <a:pt x="540" y="913"/>
                    <a:pt x="541" y="912"/>
                    <a:pt x="541" y="912"/>
                  </a:cubicBezTo>
                  <a:cubicBezTo>
                    <a:pt x="540" y="907"/>
                    <a:pt x="540" y="907"/>
                    <a:pt x="540" y="907"/>
                  </a:cubicBezTo>
                  <a:cubicBezTo>
                    <a:pt x="540" y="907"/>
                    <a:pt x="540" y="904"/>
                    <a:pt x="539" y="903"/>
                  </a:cubicBezTo>
                  <a:cubicBezTo>
                    <a:pt x="539" y="903"/>
                    <a:pt x="535" y="894"/>
                    <a:pt x="535" y="894"/>
                  </a:cubicBezTo>
                  <a:cubicBezTo>
                    <a:pt x="535" y="894"/>
                    <a:pt x="529" y="892"/>
                    <a:pt x="529" y="893"/>
                  </a:cubicBezTo>
                  <a:cubicBezTo>
                    <a:pt x="529" y="895"/>
                    <a:pt x="527" y="898"/>
                    <a:pt x="527" y="898"/>
                  </a:cubicBezTo>
                  <a:cubicBezTo>
                    <a:pt x="522" y="898"/>
                    <a:pt x="522" y="898"/>
                    <a:pt x="522" y="898"/>
                  </a:cubicBezTo>
                  <a:cubicBezTo>
                    <a:pt x="519" y="895"/>
                    <a:pt x="519" y="895"/>
                    <a:pt x="519" y="895"/>
                  </a:cubicBezTo>
                  <a:cubicBezTo>
                    <a:pt x="511" y="894"/>
                    <a:pt x="511" y="894"/>
                    <a:pt x="511" y="894"/>
                  </a:cubicBezTo>
                  <a:cubicBezTo>
                    <a:pt x="511" y="894"/>
                    <a:pt x="511" y="895"/>
                    <a:pt x="510" y="896"/>
                  </a:cubicBezTo>
                  <a:cubicBezTo>
                    <a:pt x="510" y="896"/>
                    <a:pt x="504" y="892"/>
                    <a:pt x="504" y="892"/>
                  </a:cubicBezTo>
                  <a:cubicBezTo>
                    <a:pt x="504" y="892"/>
                    <a:pt x="502" y="896"/>
                    <a:pt x="501" y="896"/>
                  </a:cubicBezTo>
                  <a:cubicBezTo>
                    <a:pt x="500" y="896"/>
                    <a:pt x="495" y="895"/>
                    <a:pt x="495" y="895"/>
                  </a:cubicBezTo>
                  <a:cubicBezTo>
                    <a:pt x="488" y="895"/>
                    <a:pt x="488" y="895"/>
                    <a:pt x="488" y="895"/>
                  </a:cubicBezTo>
                  <a:cubicBezTo>
                    <a:pt x="482" y="896"/>
                    <a:pt x="482" y="896"/>
                    <a:pt x="482" y="896"/>
                  </a:cubicBezTo>
                  <a:cubicBezTo>
                    <a:pt x="477" y="894"/>
                    <a:pt x="477" y="894"/>
                    <a:pt x="477" y="894"/>
                  </a:cubicBezTo>
                  <a:cubicBezTo>
                    <a:pt x="476" y="896"/>
                    <a:pt x="476" y="896"/>
                    <a:pt x="476" y="896"/>
                  </a:cubicBezTo>
                  <a:cubicBezTo>
                    <a:pt x="477" y="900"/>
                    <a:pt x="477" y="900"/>
                    <a:pt x="477" y="900"/>
                  </a:cubicBezTo>
                  <a:cubicBezTo>
                    <a:pt x="473" y="903"/>
                    <a:pt x="473" y="903"/>
                    <a:pt x="473" y="903"/>
                  </a:cubicBezTo>
                  <a:cubicBezTo>
                    <a:pt x="467" y="900"/>
                    <a:pt x="467" y="900"/>
                    <a:pt x="467" y="900"/>
                  </a:cubicBezTo>
                  <a:cubicBezTo>
                    <a:pt x="464" y="899"/>
                    <a:pt x="464" y="899"/>
                    <a:pt x="464" y="899"/>
                  </a:cubicBezTo>
                  <a:cubicBezTo>
                    <a:pt x="458" y="894"/>
                    <a:pt x="458" y="894"/>
                    <a:pt x="458" y="894"/>
                  </a:cubicBezTo>
                  <a:cubicBezTo>
                    <a:pt x="453" y="892"/>
                    <a:pt x="453" y="892"/>
                    <a:pt x="453" y="892"/>
                  </a:cubicBezTo>
                  <a:cubicBezTo>
                    <a:pt x="448" y="890"/>
                    <a:pt x="448" y="890"/>
                    <a:pt x="448" y="890"/>
                  </a:cubicBezTo>
                  <a:cubicBezTo>
                    <a:pt x="448" y="890"/>
                    <a:pt x="446" y="896"/>
                    <a:pt x="445" y="896"/>
                  </a:cubicBezTo>
                  <a:cubicBezTo>
                    <a:pt x="444" y="896"/>
                    <a:pt x="441" y="898"/>
                    <a:pt x="439" y="898"/>
                  </a:cubicBezTo>
                  <a:cubicBezTo>
                    <a:pt x="438" y="899"/>
                    <a:pt x="437" y="903"/>
                    <a:pt x="437" y="903"/>
                  </a:cubicBezTo>
                  <a:cubicBezTo>
                    <a:pt x="433" y="905"/>
                    <a:pt x="433" y="905"/>
                    <a:pt x="433" y="905"/>
                  </a:cubicBezTo>
                  <a:cubicBezTo>
                    <a:pt x="433" y="905"/>
                    <a:pt x="431" y="903"/>
                    <a:pt x="429" y="904"/>
                  </a:cubicBezTo>
                  <a:cubicBezTo>
                    <a:pt x="428" y="904"/>
                    <a:pt x="428" y="904"/>
                    <a:pt x="428" y="904"/>
                  </a:cubicBezTo>
                  <a:cubicBezTo>
                    <a:pt x="426" y="907"/>
                    <a:pt x="426" y="907"/>
                    <a:pt x="426" y="907"/>
                  </a:cubicBezTo>
                  <a:cubicBezTo>
                    <a:pt x="426" y="907"/>
                    <a:pt x="425" y="907"/>
                    <a:pt x="423" y="906"/>
                  </a:cubicBezTo>
                  <a:cubicBezTo>
                    <a:pt x="421" y="904"/>
                    <a:pt x="418" y="903"/>
                    <a:pt x="418" y="903"/>
                  </a:cubicBezTo>
                  <a:cubicBezTo>
                    <a:pt x="416" y="902"/>
                    <a:pt x="416" y="902"/>
                    <a:pt x="416" y="902"/>
                  </a:cubicBezTo>
                  <a:cubicBezTo>
                    <a:pt x="416" y="902"/>
                    <a:pt x="409" y="905"/>
                    <a:pt x="408" y="906"/>
                  </a:cubicBezTo>
                  <a:cubicBezTo>
                    <a:pt x="408" y="907"/>
                    <a:pt x="407" y="909"/>
                    <a:pt x="407" y="909"/>
                  </a:cubicBezTo>
                  <a:cubicBezTo>
                    <a:pt x="402" y="906"/>
                    <a:pt x="402" y="906"/>
                    <a:pt x="402" y="906"/>
                  </a:cubicBezTo>
                  <a:cubicBezTo>
                    <a:pt x="397" y="903"/>
                    <a:pt x="397" y="903"/>
                    <a:pt x="397" y="903"/>
                  </a:cubicBezTo>
                  <a:cubicBezTo>
                    <a:pt x="397" y="897"/>
                    <a:pt x="397" y="897"/>
                    <a:pt x="397" y="897"/>
                  </a:cubicBezTo>
                  <a:cubicBezTo>
                    <a:pt x="388" y="890"/>
                    <a:pt x="388" y="890"/>
                    <a:pt x="388" y="890"/>
                  </a:cubicBezTo>
                  <a:cubicBezTo>
                    <a:pt x="386" y="881"/>
                    <a:pt x="386" y="881"/>
                    <a:pt x="386" y="881"/>
                  </a:cubicBezTo>
                  <a:cubicBezTo>
                    <a:pt x="380" y="877"/>
                    <a:pt x="380" y="877"/>
                    <a:pt x="380" y="877"/>
                  </a:cubicBezTo>
                  <a:cubicBezTo>
                    <a:pt x="376" y="881"/>
                    <a:pt x="376" y="881"/>
                    <a:pt x="376" y="881"/>
                  </a:cubicBezTo>
                  <a:cubicBezTo>
                    <a:pt x="369" y="880"/>
                    <a:pt x="369" y="880"/>
                    <a:pt x="369" y="880"/>
                  </a:cubicBezTo>
                  <a:close/>
                  <a:moveTo>
                    <a:pt x="287" y="58"/>
                  </a:moveTo>
                  <a:cubicBezTo>
                    <a:pt x="287" y="58"/>
                    <a:pt x="287" y="58"/>
                    <a:pt x="287" y="58"/>
                  </a:cubicBezTo>
                  <a:cubicBezTo>
                    <a:pt x="288" y="59"/>
                    <a:pt x="288" y="59"/>
                    <a:pt x="288" y="59"/>
                  </a:cubicBezTo>
                  <a:cubicBezTo>
                    <a:pt x="288" y="59"/>
                    <a:pt x="293" y="64"/>
                    <a:pt x="297" y="64"/>
                  </a:cubicBezTo>
                  <a:cubicBezTo>
                    <a:pt x="300" y="64"/>
                    <a:pt x="297" y="64"/>
                    <a:pt x="301" y="63"/>
                  </a:cubicBezTo>
                  <a:cubicBezTo>
                    <a:pt x="305" y="62"/>
                    <a:pt x="305" y="59"/>
                    <a:pt x="307" y="57"/>
                  </a:cubicBezTo>
                  <a:cubicBezTo>
                    <a:pt x="309" y="54"/>
                    <a:pt x="309" y="54"/>
                    <a:pt x="309" y="52"/>
                  </a:cubicBezTo>
                  <a:cubicBezTo>
                    <a:pt x="309" y="50"/>
                    <a:pt x="308" y="46"/>
                    <a:pt x="308" y="43"/>
                  </a:cubicBezTo>
                  <a:cubicBezTo>
                    <a:pt x="308" y="40"/>
                    <a:pt x="311" y="41"/>
                    <a:pt x="313" y="41"/>
                  </a:cubicBezTo>
                  <a:cubicBezTo>
                    <a:pt x="315" y="41"/>
                    <a:pt x="312" y="35"/>
                    <a:pt x="312" y="35"/>
                  </a:cubicBezTo>
                  <a:cubicBezTo>
                    <a:pt x="312" y="35"/>
                    <a:pt x="305" y="32"/>
                    <a:pt x="301" y="32"/>
                  </a:cubicBezTo>
                  <a:cubicBezTo>
                    <a:pt x="298" y="32"/>
                    <a:pt x="291" y="31"/>
                    <a:pt x="291" y="31"/>
                  </a:cubicBezTo>
                  <a:cubicBezTo>
                    <a:pt x="282" y="42"/>
                    <a:pt x="282" y="42"/>
                    <a:pt x="282" y="42"/>
                  </a:cubicBezTo>
                  <a:cubicBezTo>
                    <a:pt x="282" y="42"/>
                    <a:pt x="286" y="58"/>
                    <a:pt x="287" y="58"/>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 name="Freeform 75"/>
            <p:cNvSpPr>
              <a:spLocks noEditPoints="1"/>
            </p:cNvSpPr>
            <p:nvPr/>
          </p:nvSpPr>
          <p:spPr bwMode="auto">
            <a:xfrm>
              <a:off x="4116464" y="2940910"/>
              <a:ext cx="678749" cy="1210461"/>
            </a:xfrm>
            <a:custGeom>
              <a:avLst/>
              <a:gdLst>
                <a:gd name="T0" fmla="*/ 24 w 234"/>
                <a:gd name="T1" fmla="*/ 434 h 443"/>
                <a:gd name="T2" fmla="*/ 78 w 234"/>
                <a:gd name="T3" fmla="*/ 436 h 443"/>
                <a:gd name="T4" fmla="*/ 140 w 234"/>
                <a:gd name="T5" fmla="*/ 427 h 443"/>
                <a:gd name="T6" fmla="*/ 171 w 234"/>
                <a:gd name="T7" fmla="*/ 429 h 443"/>
                <a:gd name="T8" fmla="*/ 205 w 234"/>
                <a:gd name="T9" fmla="*/ 408 h 443"/>
                <a:gd name="T10" fmla="*/ 229 w 234"/>
                <a:gd name="T11" fmla="*/ 377 h 443"/>
                <a:gd name="T12" fmla="*/ 202 w 234"/>
                <a:gd name="T13" fmla="*/ 328 h 443"/>
                <a:gd name="T14" fmla="*/ 192 w 234"/>
                <a:gd name="T15" fmla="*/ 297 h 443"/>
                <a:gd name="T16" fmla="*/ 167 w 234"/>
                <a:gd name="T17" fmla="*/ 227 h 443"/>
                <a:gd name="T18" fmla="*/ 127 w 234"/>
                <a:gd name="T19" fmla="*/ 196 h 443"/>
                <a:gd name="T20" fmla="*/ 133 w 234"/>
                <a:gd name="T21" fmla="*/ 183 h 443"/>
                <a:gd name="T22" fmla="*/ 178 w 234"/>
                <a:gd name="T23" fmla="*/ 139 h 443"/>
                <a:gd name="T24" fmla="*/ 134 w 234"/>
                <a:gd name="T25" fmla="*/ 127 h 443"/>
                <a:gd name="T26" fmla="*/ 116 w 234"/>
                <a:gd name="T27" fmla="*/ 126 h 443"/>
                <a:gd name="T28" fmla="*/ 134 w 234"/>
                <a:gd name="T29" fmla="*/ 110 h 443"/>
                <a:gd name="T30" fmla="*/ 126 w 234"/>
                <a:gd name="T31" fmla="*/ 87 h 443"/>
                <a:gd name="T32" fmla="*/ 110 w 234"/>
                <a:gd name="T33" fmla="*/ 86 h 443"/>
                <a:gd name="T34" fmla="*/ 103 w 234"/>
                <a:gd name="T35" fmla="*/ 111 h 443"/>
                <a:gd name="T36" fmla="*/ 90 w 234"/>
                <a:gd name="T37" fmla="*/ 115 h 443"/>
                <a:gd name="T38" fmla="*/ 87 w 234"/>
                <a:gd name="T39" fmla="*/ 133 h 443"/>
                <a:gd name="T40" fmla="*/ 73 w 234"/>
                <a:gd name="T41" fmla="*/ 116 h 443"/>
                <a:gd name="T42" fmla="*/ 68 w 234"/>
                <a:gd name="T43" fmla="*/ 128 h 443"/>
                <a:gd name="T44" fmla="*/ 84 w 234"/>
                <a:gd name="T45" fmla="*/ 139 h 443"/>
                <a:gd name="T46" fmla="*/ 68 w 234"/>
                <a:gd name="T47" fmla="*/ 154 h 443"/>
                <a:gd name="T48" fmla="*/ 77 w 234"/>
                <a:gd name="T49" fmla="*/ 169 h 443"/>
                <a:gd name="T50" fmla="*/ 53 w 234"/>
                <a:gd name="T51" fmla="*/ 195 h 443"/>
                <a:gd name="T52" fmla="*/ 71 w 234"/>
                <a:gd name="T53" fmla="*/ 187 h 443"/>
                <a:gd name="T54" fmla="*/ 68 w 234"/>
                <a:gd name="T55" fmla="*/ 206 h 443"/>
                <a:gd name="T56" fmla="*/ 81 w 234"/>
                <a:gd name="T57" fmla="*/ 191 h 443"/>
                <a:gd name="T58" fmla="*/ 79 w 234"/>
                <a:gd name="T59" fmla="*/ 247 h 443"/>
                <a:gd name="T60" fmla="*/ 107 w 234"/>
                <a:gd name="T61" fmla="*/ 247 h 443"/>
                <a:gd name="T62" fmla="*/ 115 w 234"/>
                <a:gd name="T63" fmla="*/ 271 h 443"/>
                <a:gd name="T64" fmla="*/ 116 w 234"/>
                <a:gd name="T65" fmla="*/ 308 h 443"/>
                <a:gd name="T66" fmla="*/ 78 w 234"/>
                <a:gd name="T67" fmla="*/ 303 h 443"/>
                <a:gd name="T68" fmla="*/ 84 w 234"/>
                <a:gd name="T69" fmla="*/ 340 h 443"/>
                <a:gd name="T70" fmla="*/ 50 w 234"/>
                <a:gd name="T71" fmla="*/ 371 h 443"/>
                <a:gd name="T72" fmla="*/ 82 w 234"/>
                <a:gd name="T73" fmla="*/ 380 h 443"/>
                <a:gd name="T74" fmla="*/ 112 w 234"/>
                <a:gd name="T75" fmla="*/ 388 h 443"/>
                <a:gd name="T76" fmla="*/ 40 w 234"/>
                <a:gd name="T77" fmla="*/ 214 h 443"/>
                <a:gd name="T78" fmla="*/ 65 w 234"/>
                <a:gd name="T79" fmla="*/ 253 h 443"/>
                <a:gd name="T80" fmla="*/ 34 w 234"/>
                <a:gd name="T81" fmla="*/ 261 h 443"/>
                <a:gd name="T82" fmla="*/ 11 w 234"/>
                <a:gd name="T83" fmla="*/ 232 h 443"/>
                <a:gd name="T84" fmla="*/ 61 w 234"/>
                <a:gd name="T85" fmla="*/ 183 h 443"/>
                <a:gd name="T86" fmla="*/ 83 w 234"/>
                <a:gd name="T87" fmla="*/ 212 h 443"/>
                <a:gd name="T88" fmla="*/ 53 w 234"/>
                <a:gd name="T89" fmla="*/ 160 h 443"/>
                <a:gd name="T90" fmla="*/ 63 w 234"/>
                <a:gd name="T91" fmla="*/ 138 h 443"/>
                <a:gd name="T92" fmla="*/ 37 w 234"/>
                <a:gd name="T93" fmla="*/ 143 h 443"/>
                <a:gd name="T94" fmla="*/ 48 w 234"/>
                <a:gd name="T95" fmla="*/ 128 h 443"/>
                <a:gd name="T96" fmla="*/ 56 w 234"/>
                <a:gd name="T97" fmla="*/ 107 h 443"/>
                <a:gd name="T98" fmla="*/ 65 w 234"/>
                <a:gd name="T99" fmla="*/ 86 h 443"/>
                <a:gd name="T100" fmla="*/ 76 w 234"/>
                <a:gd name="T101" fmla="*/ 94 h 443"/>
                <a:gd name="T102" fmla="*/ 215 w 234"/>
                <a:gd name="T103" fmla="*/ 12 h 443"/>
                <a:gd name="T104" fmla="*/ 198 w 234"/>
                <a:gd name="T105" fmla="*/ 22 h 443"/>
                <a:gd name="T106" fmla="*/ 217 w 234"/>
                <a:gd name="T107" fmla="*/ 2 h 443"/>
                <a:gd name="T108" fmla="*/ 209 w 234"/>
                <a:gd name="T109" fmla="*/ 24 h 443"/>
                <a:gd name="T110" fmla="*/ 195 w 234"/>
                <a:gd name="T111" fmla="*/ 52 h 443"/>
                <a:gd name="T112" fmla="*/ 178 w 234"/>
                <a:gd name="T113" fmla="*/ 58 h 443"/>
                <a:gd name="T114" fmla="*/ 166 w 234"/>
                <a:gd name="T115" fmla="*/ 65 h 443"/>
                <a:gd name="T116" fmla="*/ 165 w 234"/>
                <a:gd name="T117" fmla="*/ 61 h 443"/>
                <a:gd name="T118" fmla="*/ 154 w 234"/>
                <a:gd name="T119" fmla="*/ 74 h 443"/>
                <a:gd name="T120" fmla="*/ 151 w 234"/>
                <a:gd name="T121" fmla="*/ 75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4" h="443">
                  <a:moveTo>
                    <a:pt x="59" y="403"/>
                  </a:moveTo>
                  <a:cubicBezTo>
                    <a:pt x="56" y="406"/>
                    <a:pt x="56" y="406"/>
                    <a:pt x="56" y="406"/>
                  </a:cubicBezTo>
                  <a:cubicBezTo>
                    <a:pt x="56" y="409"/>
                    <a:pt x="56" y="409"/>
                    <a:pt x="56" y="409"/>
                  </a:cubicBezTo>
                  <a:cubicBezTo>
                    <a:pt x="54" y="412"/>
                    <a:pt x="54" y="412"/>
                    <a:pt x="54" y="412"/>
                  </a:cubicBezTo>
                  <a:cubicBezTo>
                    <a:pt x="54" y="412"/>
                    <a:pt x="53" y="413"/>
                    <a:pt x="52" y="413"/>
                  </a:cubicBezTo>
                  <a:cubicBezTo>
                    <a:pt x="52" y="414"/>
                    <a:pt x="49" y="417"/>
                    <a:pt x="49" y="417"/>
                  </a:cubicBezTo>
                  <a:cubicBezTo>
                    <a:pt x="49" y="417"/>
                    <a:pt x="48" y="417"/>
                    <a:pt x="48" y="418"/>
                  </a:cubicBezTo>
                  <a:cubicBezTo>
                    <a:pt x="47" y="418"/>
                    <a:pt x="42" y="420"/>
                    <a:pt x="42" y="420"/>
                  </a:cubicBezTo>
                  <a:cubicBezTo>
                    <a:pt x="40" y="423"/>
                    <a:pt x="40" y="423"/>
                    <a:pt x="40" y="423"/>
                  </a:cubicBezTo>
                  <a:cubicBezTo>
                    <a:pt x="36" y="424"/>
                    <a:pt x="36" y="424"/>
                    <a:pt x="36" y="424"/>
                  </a:cubicBezTo>
                  <a:cubicBezTo>
                    <a:pt x="34" y="428"/>
                    <a:pt x="34" y="428"/>
                    <a:pt x="34" y="428"/>
                  </a:cubicBezTo>
                  <a:cubicBezTo>
                    <a:pt x="30" y="430"/>
                    <a:pt x="30" y="430"/>
                    <a:pt x="30" y="430"/>
                  </a:cubicBezTo>
                  <a:cubicBezTo>
                    <a:pt x="27" y="430"/>
                    <a:pt x="27" y="430"/>
                    <a:pt x="27" y="430"/>
                  </a:cubicBezTo>
                  <a:cubicBezTo>
                    <a:pt x="24" y="429"/>
                    <a:pt x="24" y="429"/>
                    <a:pt x="24" y="429"/>
                  </a:cubicBezTo>
                  <a:cubicBezTo>
                    <a:pt x="21" y="430"/>
                    <a:pt x="21" y="430"/>
                    <a:pt x="21" y="430"/>
                  </a:cubicBezTo>
                  <a:cubicBezTo>
                    <a:pt x="19" y="432"/>
                    <a:pt x="19" y="432"/>
                    <a:pt x="19" y="432"/>
                  </a:cubicBezTo>
                  <a:cubicBezTo>
                    <a:pt x="20" y="435"/>
                    <a:pt x="20" y="435"/>
                    <a:pt x="20" y="435"/>
                  </a:cubicBezTo>
                  <a:cubicBezTo>
                    <a:pt x="23" y="437"/>
                    <a:pt x="23" y="437"/>
                    <a:pt x="23" y="437"/>
                  </a:cubicBezTo>
                  <a:cubicBezTo>
                    <a:pt x="24" y="434"/>
                    <a:pt x="24" y="434"/>
                    <a:pt x="24" y="434"/>
                  </a:cubicBezTo>
                  <a:cubicBezTo>
                    <a:pt x="29" y="437"/>
                    <a:pt x="29" y="437"/>
                    <a:pt x="29" y="437"/>
                  </a:cubicBezTo>
                  <a:cubicBezTo>
                    <a:pt x="29" y="437"/>
                    <a:pt x="31" y="439"/>
                    <a:pt x="31" y="440"/>
                  </a:cubicBezTo>
                  <a:cubicBezTo>
                    <a:pt x="31" y="440"/>
                    <a:pt x="31" y="443"/>
                    <a:pt x="32" y="442"/>
                  </a:cubicBezTo>
                  <a:cubicBezTo>
                    <a:pt x="33" y="442"/>
                    <a:pt x="36" y="439"/>
                    <a:pt x="36" y="439"/>
                  </a:cubicBezTo>
                  <a:cubicBezTo>
                    <a:pt x="35" y="436"/>
                    <a:pt x="35" y="436"/>
                    <a:pt x="35" y="436"/>
                  </a:cubicBezTo>
                  <a:cubicBezTo>
                    <a:pt x="35" y="436"/>
                    <a:pt x="38" y="435"/>
                    <a:pt x="39" y="435"/>
                  </a:cubicBezTo>
                  <a:cubicBezTo>
                    <a:pt x="41" y="436"/>
                    <a:pt x="42" y="436"/>
                    <a:pt x="43" y="435"/>
                  </a:cubicBezTo>
                  <a:cubicBezTo>
                    <a:pt x="43" y="434"/>
                    <a:pt x="45" y="433"/>
                    <a:pt x="45" y="433"/>
                  </a:cubicBezTo>
                  <a:cubicBezTo>
                    <a:pt x="45" y="433"/>
                    <a:pt x="47" y="432"/>
                    <a:pt x="47" y="431"/>
                  </a:cubicBezTo>
                  <a:cubicBezTo>
                    <a:pt x="47" y="430"/>
                    <a:pt x="50" y="429"/>
                    <a:pt x="50" y="429"/>
                  </a:cubicBezTo>
                  <a:cubicBezTo>
                    <a:pt x="50" y="429"/>
                    <a:pt x="55" y="431"/>
                    <a:pt x="56" y="431"/>
                  </a:cubicBezTo>
                  <a:cubicBezTo>
                    <a:pt x="57" y="431"/>
                    <a:pt x="62" y="430"/>
                    <a:pt x="62" y="430"/>
                  </a:cubicBezTo>
                  <a:cubicBezTo>
                    <a:pt x="65" y="432"/>
                    <a:pt x="65" y="432"/>
                    <a:pt x="65" y="432"/>
                  </a:cubicBezTo>
                  <a:cubicBezTo>
                    <a:pt x="65" y="432"/>
                    <a:pt x="65" y="434"/>
                    <a:pt x="66" y="434"/>
                  </a:cubicBezTo>
                  <a:cubicBezTo>
                    <a:pt x="68" y="435"/>
                    <a:pt x="69" y="434"/>
                    <a:pt x="69" y="434"/>
                  </a:cubicBezTo>
                  <a:cubicBezTo>
                    <a:pt x="71" y="437"/>
                    <a:pt x="71" y="437"/>
                    <a:pt x="71" y="437"/>
                  </a:cubicBezTo>
                  <a:cubicBezTo>
                    <a:pt x="74" y="440"/>
                    <a:pt x="74" y="440"/>
                    <a:pt x="74" y="440"/>
                  </a:cubicBezTo>
                  <a:cubicBezTo>
                    <a:pt x="74" y="440"/>
                    <a:pt x="76" y="439"/>
                    <a:pt x="76" y="439"/>
                  </a:cubicBezTo>
                  <a:cubicBezTo>
                    <a:pt x="76" y="438"/>
                    <a:pt x="77" y="436"/>
                    <a:pt x="78" y="436"/>
                  </a:cubicBezTo>
                  <a:cubicBezTo>
                    <a:pt x="78" y="435"/>
                    <a:pt x="81" y="435"/>
                    <a:pt x="81" y="435"/>
                  </a:cubicBezTo>
                  <a:cubicBezTo>
                    <a:pt x="81" y="435"/>
                    <a:pt x="81" y="433"/>
                    <a:pt x="81" y="432"/>
                  </a:cubicBezTo>
                  <a:cubicBezTo>
                    <a:pt x="81" y="431"/>
                    <a:pt x="81" y="428"/>
                    <a:pt x="81" y="428"/>
                  </a:cubicBezTo>
                  <a:cubicBezTo>
                    <a:pt x="82" y="427"/>
                    <a:pt x="84" y="424"/>
                    <a:pt x="84" y="424"/>
                  </a:cubicBezTo>
                  <a:cubicBezTo>
                    <a:pt x="88" y="423"/>
                    <a:pt x="88" y="423"/>
                    <a:pt x="88" y="423"/>
                  </a:cubicBezTo>
                  <a:cubicBezTo>
                    <a:pt x="98" y="422"/>
                    <a:pt x="98" y="422"/>
                    <a:pt x="98" y="422"/>
                  </a:cubicBezTo>
                  <a:cubicBezTo>
                    <a:pt x="101" y="422"/>
                    <a:pt x="101" y="422"/>
                    <a:pt x="101" y="422"/>
                  </a:cubicBezTo>
                  <a:cubicBezTo>
                    <a:pt x="105" y="426"/>
                    <a:pt x="105" y="426"/>
                    <a:pt x="105" y="426"/>
                  </a:cubicBezTo>
                  <a:cubicBezTo>
                    <a:pt x="109" y="430"/>
                    <a:pt x="109" y="430"/>
                    <a:pt x="109" y="430"/>
                  </a:cubicBezTo>
                  <a:cubicBezTo>
                    <a:pt x="109" y="430"/>
                    <a:pt x="112" y="433"/>
                    <a:pt x="112" y="432"/>
                  </a:cubicBezTo>
                  <a:cubicBezTo>
                    <a:pt x="112" y="431"/>
                    <a:pt x="113" y="427"/>
                    <a:pt x="114" y="427"/>
                  </a:cubicBezTo>
                  <a:cubicBezTo>
                    <a:pt x="114" y="427"/>
                    <a:pt x="117" y="431"/>
                    <a:pt x="117" y="431"/>
                  </a:cubicBezTo>
                  <a:cubicBezTo>
                    <a:pt x="120" y="431"/>
                    <a:pt x="120" y="431"/>
                    <a:pt x="120" y="431"/>
                  </a:cubicBezTo>
                  <a:cubicBezTo>
                    <a:pt x="123" y="431"/>
                    <a:pt x="123" y="431"/>
                    <a:pt x="123" y="431"/>
                  </a:cubicBezTo>
                  <a:cubicBezTo>
                    <a:pt x="125" y="429"/>
                    <a:pt x="125" y="429"/>
                    <a:pt x="125" y="429"/>
                  </a:cubicBezTo>
                  <a:cubicBezTo>
                    <a:pt x="123" y="427"/>
                    <a:pt x="123" y="427"/>
                    <a:pt x="123" y="427"/>
                  </a:cubicBezTo>
                  <a:cubicBezTo>
                    <a:pt x="127" y="428"/>
                    <a:pt x="127" y="428"/>
                    <a:pt x="127" y="428"/>
                  </a:cubicBezTo>
                  <a:cubicBezTo>
                    <a:pt x="135" y="428"/>
                    <a:pt x="135" y="428"/>
                    <a:pt x="135" y="428"/>
                  </a:cubicBezTo>
                  <a:cubicBezTo>
                    <a:pt x="140" y="427"/>
                    <a:pt x="140" y="427"/>
                    <a:pt x="140" y="427"/>
                  </a:cubicBezTo>
                  <a:cubicBezTo>
                    <a:pt x="143" y="426"/>
                    <a:pt x="143" y="426"/>
                    <a:pt x="143" y="426"/>
                  </a:cubicBezTo>
                  <a:cubicBezTo>
                    <a:pt x="142" y="428"/>
                    <a:pt x="142" y="428"/>
                    <a:pt x="142" y="428"/>
                  </a:cubicBezTo>
                  <a:cubicBezTo>
                    <a:pt x="138" y="430"/>
                    <a:pt x="138" y="430"/>
                    <a:pt x="138" y="430"/>
                  </a:cubicBezTo>
                  <a:cubicBezTo>
                    <a:pt x="138" y="430"/>
                    <a:pt x="136" y="430"/>
                    <a:pt x="137" y="431"/>
                  </a:cubicBezTo>
                  <a:cubicBezTo>
                    <a:pt x="137" y="432"/>
                    <a:pt x="141" y="434"/>
                    <a:pt x="141" y="434"/>
                  </a:cubicBezTo>
                  <a:cubicBezTo>
                    <a:pt x="141" y="434"/>
                    <a:pt x="139" y="435"/>
                    <a:pt x="142" y="435"/>
                  </a:cubicBezTo>
                  <a:cubicBezTo>
                    <a:pt x="145" y="435"/>
                    <a:pt x="146" y="434"/>
                    <a:pt x="146" y="434"/>
                  </a:cubicBezTo>
                  <a:cubicBezTo>
                    <a:pt x="149" y="431"/>
                    <a:pt x="149" y="431"/>
                    <a:pt x="149" y="431"/>
                  </a:cubicBezTo>
                  <a:cubicBezTo>
                    <a:pt x="147" y="430"/>
                    <a:pt x="147" y="430"/>
                    <a:pt x="147" y="430"/>
                  </a:cubicBezTo>
                  <a:cubicBezTo>
                    <a:pt x="143" y="429"/>
                    <a:pt x="143" y="429"/>
                    <a:pt x="143" y="429"/>
                  </a:cubicBezTo>
                  <a:cubicBezTo>
                    <a:pt x="144" y="426"/>
                    <a:pt x="144" y="426"/>
                    <a:pt x="144" y="426"/>
                  </a:cubicBezTo>
                  <a:cubicBezTo>
                    <a:pt x="145" y="425"/>
                    <a:pt x="145" y="425"/>
                    <a:pt x="145" y="425"/>
                  </a:cubicBezTo>
                  <a:cubicBezTo>
                    <a:pt x="147" y="428"/>
                    <a:pt x="147" y="428"/>
                    <a:pt x="147" y="428"/>
                  </a:cubicBezTo>
                  <a:cubicBezTo>
                    <a:pt x="150" y="426"/>
                    <a:pt x="150" y="426"/>
                    <a:pt x="150" y="426"/>
                  </a:cubicBezTo>
                  <a:cubicBezTo>
                    <a:pt x="153" y="427"/>
                    <a:pt x="153" y="427"/>
                    <a:pt x="153" y="427"/>
                  </a:cubicBezTo>
                  <a:cubicBezTo>
                    <a:pt x="155" y="431"/>
                    <a:pt x="155" y="431"/>
                    <a:pt x="155" y="431"/>
                  </a:cubicBezTo>
                  <a:cubicBezTo>
                    <a:pt x="155" y="431"/>
                    <a:pt x="157" y="432"/>
                    <a:pt x="158" y="431"/>
                  </a:cubicBezTo>
                  <a:cubicBezTo>
                    <a:pt x="159" y="430"/>
                    <a:pt x="161" y="429"/>
                    <a:pt x="161" y="429"/>
                  </a:cubicBezTo>
                  <a:cubicBezTo>
                    <a:pt x="171" y="429"/>
                    <a:pt x="171" y="429"/>
                    <a:pt x="171" y="429"/>
                  </a:cubicBezTo>
                  <a:cubicBezTo>
                    <a:pt x="171" y="429"/>
                    <a:pt x="175" y="429"/>
                    <a:pt x="176" y="430"/>
                  </a:cubicBezTo>
                  <a:cubicBezTo>
                    <a:pt x="177" y="431"/>
                    <a:pt x="180" y="433"/>
                    <a:pt x="180" y="433"/>
                  </a:cubicBezTo>
                  <a:cubicBezTo>
                    <a:pt x="184" y="434"/>
                    <a:pt x="184" y="434"/>
                    <a:pt x="184" y="434"/>
                  </a:cubicBezTo>
                  <a:cubicBezTo>
                    <a:pt x="188" y="433"/>
                    <a:pt x="188" y="433"/>
                    <a:pt x="188" y="433"/>
                  </a:cubicBezTo>
                  <a:cubicBezTo>
                    <a:pt x="188" y="433"/>
                    <a:pt x="189" y="432"/>
                    <a:pt x="190" y="432"/>
                  </a:cubicBezTo>
                  <a:cubicBezTo>
                    <a:pt x="191" y="431"/>
                    <a:pt x="194" y="430"/>
                    <a:pt x="195" y="430"/>
                  </a:cubicBezTo>
                  <a:cubicBezTo>
                    <a:pt x="196" y="430"/>
                    <a:pt x="200" y="429"/>
                    <a:pt x="201" y="429"/>
                  </a:cubicBezTo>
                  <a:cubicBezTo>
                    <a:pt x="202" y="429"/>
                    <a:pt x="202" y="430"/>
                    <a:pt x="204" y="429"/>
                  </a:cubicBezTo>
                  <a:cubicBezTo>
                    <a:pt x="205" y="429"/>
                    <a:pt x="207" y="425"/>
                    <a:pt x="207" y="425"/>
                  </a:cubicBezTo>
                  <a:cubicBezTo>
                    <a:pt x="207" y="425"/>
                    <a:pt x="208" y="424"/>
                    <a:pt x="210" y="423"/>
                  </a:cubicBezTo>
                  <a:cubicBezTo>
                    <a:pt x="211" y="423"/>
                    <a:pt x="213" y="424"/>
                    <a:pt x="214" y="422"/>
                  </a:cubicBezTo>
                  <a:cubicBezTo>
                    <a:pt x="215" y="421"/>
                    <a:pt x="216" y="420"/>
                    <a:pt x="217" y="419"/>
                  </a:cubicBezTo>
                  <a:cubicBezTo>
                    <a:pt x="217" y="418"/>
                    <a:pt x="219" y="416"/>
                    <a:pt x="219" y="415"/>
                  </a:cubicBezTo>
                  <a:cubicBezTo>
                    <a:pt x="219" y="414"/>
                    <a:pt x="219" y="411"/>
                    <a:pt x="219" y="411"/>
                  </a:cubicBezTo>
                  <a:cubicBezTo>
                    <a:pt x="219" y="411"/>
                    <a:pt x="216" y="411"/>
                    <a:pt x="216" y="411"/>
                  </a:cubicBezTo>
                  <a:cubicBezTo>
                    <a:pt x="215" y="411"/>
                    <a:pt x="212" y="411"/>
                    <a:pt x="211" y="411"/>
                  </a:cubicBezTo>
                  <a:cubicBezTo>
                    <a:pt x="211" y="411"/>
                    <a:pt x="207" y="410"/>
                    <a:pt x="207" y="410"/>
                  </a:cubicBezTo>
                  <a:cubicBezTo>
                    <a:pt x="207" y="409"/>
                    <a:pt x="207" y="409"/>
                    <a:pt x="207" y="409"/>
                  </a:cubicBezTo>
                  <a:cubicBezTo>
                    <a:pt x="207" y="409"/>
                    <a:pt x="205" y="408"/>
                    <a:pt x="205" y="408"/>
                  </a:cubicBezTo>
                  <a:cubicBezTo>
                    <a:pt x="204" y="408"/>
                    <a:pt x="204" y="407"/>
                    <a:pt x="203" y="407"/>
                  </a:cubicBezTo>
                  <a:cubicBezTo>
                    <a:pt x="202" y="406"/>
                    <a:pt x="201" y="405"/>
                    <a:pt x="201" y="405"/>
                  </a:cubicBezTo>
                  <a:cubicBezTo>
                    <a:pt x="198" y="404"/>
                    <a:pt x="198" y="404"/>
                    <a:pt x="198" y="404"/>
                  </a:cubicBezTo>
                  <a:cubicBezTo>
                    <a:pt x="195" y="404"/>
                    <a:pt x="195" y="404"/>
                    <a:pt x="195" y="404"/>
                  </a:cubicBezTo>
                  <a:cubicBezTo>
                    <a:pt x="198" y="403"/>
                    <a:pt x="198" y="403"/>
                    <a:pt x="198" y="403"/>
                  </a:cubicBezTo>
                  <a:cubicBezTo>
                    <a:pt x="198" y="403"/>
                    <a:pt x="201" y="403"/>
                    <a:pt x="202" y="403"/>
                  </a:cubicBezTo>
                  <a:cubicBezTo>
                    <a:pt x="203" y="403"/>
                    <a:pt x="207" y="403"/>
                    <a:pt x="207" y="403"/>
                  </a:cubicBezTo>
                  <a:cubicBezTo>
                    <a:pt x="207" y="402"/>
                    <a:pt x="209" y="399"/>
                    <a:pt x="209" y="399"/>
                  </a:cubicBezTo>
                  <a:cubicBezTo>
                    <a:pt x="209" y="396"/>
                    <a:pt x="209" y="396"/>
                    <a:pt x="209" y="396"/>
                  </a:cubicBezTo>
                  <a:cubicBezTo>
                    <a:pt x="207" y="395"/>
                    <a:pt x="207" y="395"/>
                    <a:pt x="207" y="395"/>
                  </a:cubicBezTo>
                  <a:cubicBezTo>
                    <a:pt x="203" y="395"/>
                    <a:pt x="203" y="395"/>
                    <a:pt x="203" y="395"/>
                  </a:cubicBezTo>
                  <a:cubicBezTo>
                    <a:pt x="208" y="393"/>
                    <a:pt x="208" y="393"/>
                    <a:pt x="208" y="393"/>
                  </a:cubicBezTo>
                  <a:cubicBezTo>
                    <a:pt x="210" y="391"/>
                    <a:pt x="210" y="391"/>
                    <a:pt x="210" y="391"/>
                  </a:cubicBezTo>
                  <a:cubicBezTo>
                    <a:pt x="212" y="393"/>
                    <a:pt x="212" y="393"/>
                    <a:pt x="212" y="393"/>
                  </a:cubicBezTo>
                  <a:cubicBezTo>
                    <a:pt x="212" y="393"/>
                    <a:pt x="217" y="393"/>
                    <a:pt x="217" y="393"/>
                  </a:cubicBezTo>
                  <a:cubicBezTo>
                    <a:pt x="217" y="392"/>
                    <a:pt x="218" y="390"/>
                    <a:pt x="218" y="390"/>
                  </a:cubicBezTo>
                  <a:cubicBezTo>
                    <a:pt x="219" y="388"/>
                    <a:pt x="219" y="388"/>
                    <a:pt x="219" y="388"/>
                  </a:cubicBezTo>
                  <a:cubicBezTo>
                    <a:pt x="226" y="382"/>
                    <a:pt x="226" y="382"/>
                    <a:pt x="226" y="382"/>
                  </a:cubicBezTo>
                  <a:cubicBezTo>
                    <a:pt x="229" y="377"/>
                    <a:pt x="229" y="377"/>
                    <a:pt x="229" y="377"/>
                  </a:cubicBezTo>
                  <a:cubicBezTo>
                    <a:pt x="230" y="373"/>
                    <a:pt x="230" y="373"/>
                    <a:pt x="230" y="373"/>
                  </a:cubicBezTo>
                  <a:cubicBezTo>
                    <a:pt x="234" y="365"/>
                    <a:pt x="234" y="365"/>
                    <a:pt x="234" y="365"/>
                  </a:cubicBezTo>
                  <a:cubicBezTo>
                    <a:pt x="234" y="356"/>
                    <a:pt x="234" y="356"/>
                    <a:pt x="234" y="356"/>
                  </a:cubicBezTo>
                  <a:cubicBezTo>
                    <a:pt x="229" y="349"/>
                    <a:pt x="229" y="349"/>
                    <a:pt x="229" y="349"/>
                  </a:cubicBezTo>
                  <a:cubicBezTo>
                    <a:pt x="229" y="349"/>
                    <a:pt x="225" y="345"/>
                    <a:pt x="223" y="345"/>
                  </a:cubicBezTo>
                  <a:cubicBezTo>
                    <a:pt x="222" y="344"/>
                    <a:pt x="213" y="343"/>
                    <a:pt x="213" y="343"/>
                  </a:cubicBezTo>
                  <a:cubicBezTo>
                    <a:pt x="206" y="341"/>
                    <a:pt x="206" y="341"/>
                    <a:pt x="206" y="341"/>
                  </a:cubicBezTo>
                  <a:cubicBezTo>
                    <a:pt x="203" y="342"/>
                    <a:pt x="203" y="342"/>
                    <a:pt x="203" y="342"/>
                  </a:cubicBezTo>
                  <a:cubicBezTo>
                    <a:pt x="202" y="345"/>
                    <a:pt x="202" y="345"/>
                    <a:pt x="202" y="345"/>
                  </a:cubicBezTo>
                  <a:cubicBezTo>
                    <a:pt x="200" y="346"/>
                    <a:pt x="200" y="346"/>
                    <a:pt x="200" y="346"/>
                  </a:cubicBezTo>
                  <a:cubicBezTo>
                    <a:pt x="200" y="346"/>
                    <a:pt x="198" y="348"/>
                    <a:pt x="197" y="348"/>
                  </a:cubicBezTo>
                  <a:cubicBezTo>
                    <a:pt x="197" y="348"/>
                    <a:pt x="195" y="345"/>
                    <a:pt x="195" y="345"/>
                  </a:cubicBezTo>
                  <a:cubicBezTo>
                    <a:pt x="195" y="345"/>
                    <a:pt x="193" y="343"/>
                    <a:pt x="192" y="343"/>
                  </a:cubicBezTo>
                  <a:cubicBezTo>
                    <a:pt x="192" y="343"/>
                    <a:pt x="189" y="342"/>
                    <a:pt x="189" y="342"/>
                  </a:cubicBezTo>
                  <a:cubicBezTo>
                    <a:pt x="193" y="340"/>
                    <a:pt x="193" y="340"/>
                    <a:pt x="193" y="340"/>
                  </a:cubicBezTo>
                  <a:cubicBezTo>
                    <a:pt x="196" y="338"/>
                    <a:pt x="196" y="338"/>
                    <a:pt x="196" y="338"/>
                  </a:cubicBezTo>
                  <a:cubicBezTo>
                    <a:pt x="196" y="338"/>
                    <a:pt x="198" y="336"/>
                    <a:pt x="198" y="336"/>
                  </a:cubicBezTo>
                  <a:cubicBezTo>
                    <a:pt x="199" y="336"/>
                    <a:pt x="201" y="334"/>
                    <a:pt x="201" y="334"/>
                  </a:cubicBezTo>
                  <a:cubicBezTo>
                    <a:pt x="202" y="328"/>
                    <a:pt x="202" y="328"/>
                    <a:pt x="202" y="328"/>
                  </a:cubicBezTo>
                  <a:cubicBezTo>
                    <a:pt x="200" y="321"/>
                    <a:pt x="200" y="321"/>
                    <a:pt x="200" y="321"/>
                  </a:cubicBezTo>
                  <a:cubicBezTo>
                    <a:pt x="197" y="318"/>
                    <a:pt x="197" y="318"/>
                    <a:pt x="197" y="318"/>
                  </a:cubicBezTo>
                  <a:cubicBezTo>
                    <a:pt x="196" y="315"/>
                    <a:pt x="196" y="315"/>
                    <a:pt x="196" y="315"/>
                  </a:cubicBezTo>
                  <a:cubicBezTo>
                    <a:pt x="194" y="314"/>
                    <a:pt x="194" y="314"/>
                    <a:pt x="194" y="314"/>
                  </a:cubicBezTo>
                  <a:cubicBezTo>
                    <a:pt x="191" y="312"/>
                    <a:pt x="191" y="312"/>
                    <a:pt x="191" y="312"/>
                  </a:cubicBezTo>
                  <a:cubicBezTo>
                    <a:pt x="189" y="309"/>
                    <a:pt x="189" y="309"/>
                    <a:pt x="189" y="309"/>
                  </a:cubicBezTo>
                  <a:cubicBezTo>
                    <a:pt x="187" y="307"/>
                    <a:pt x="187" y="307"/>
                    <a:pt x="187" y="307"/>
                  </a:cubicBezTo>
                  <a:cubicBezTo>
                    <a:pt x="188" y="305"/>
                    <a:pt x="188" y="305"/>
                    <a:pt x="188" y="305"/>
                  </a:cubicBezTo>
                  <a:cubicBezTo>
                    <a:pt x="189" y="306"/>
                    <a:pt x="189" y="306"/>
                    <a:pt x="189" y="306"/>
                  </a:cubicBezTo>
                  <a:cubicBezTo>
                    <a:pt x="189" y="306"/>
                    <a:pt x="190" y="308"/>
                    <a:pt x="190" y="308"/>
                  </a:cubicBezTo>
                  <a:cubicBezTo>
                    <a:pt x="190" y="308"/>
                    <a:pt x="191" y="309"/>
                    <a:pt x="191" y="310"/>
                  </a:cubicBezTo>
                  <a:cubicBezTo>
                    <a:pt x="192" y="310"/>
                    <a:pt x="195" y="311"/>
                    <a:pt x="195" y="311"/>
                  </a:cubicBezTo>
                  <a:cubicBezTo>
                    <a:pt x="197" y="311"/>
                    <a:pt x="197" y="311"/>
                    <a:pt x="197" y="311"/>
                  </a:cubicBezTo>
                  <a:cubicBezTo>
                    <a:pt x="198" y="314"/>
                    <a:pt x="198" y="314"/>
                    <a:pt x="198" y="314"/>
                  </a:cubicBezTo>
                  <a:cubicBezTo>
                    <a:pt x="198" y="314"/>
                    <a:pt x="199" y="312"/>
                    <a:pt x="199" y="312"/>
                  </a:cubicBezTo>
                  <a:cubicBezTo>
                    <a:pt x="199" y="311"/>
                    <a:pt x="197" y="308"/>
                    <a:pt x="197" y="308"/>
                  </a:cubicBezTo>
                  <a:cubicBezTo>
                    <a:pt x="196" y="307"/>
                    <a:pt x="195" y="305"/>
                    <a:pt x="195" y="304"/>
                  </a:cubicBezTo>
                  <a:cubicBezTo>
                    <a:pt x="195" y="304"/>
                    <a:pt x="193" y="299"/>
                    <a:pt x="193" y="299"/>
                  </a:cubicBezTo>
                  <a:cubicBezTo>
                    <a:pt x="193" y="299"/>
                    <a:pt x="192" y="297"/>
                    <a:pt x="192" y="297"/>
                  </a:cubicBezTo>
                  <a:cubicBezTo>
                    <a:pt x="192" y="296"/>
                    <a:pt x="192" y="292"/>
                    <a:pt x="192" y="292"/>
                  </a:cubicBezTo>
                  <a:cubicBezTo>
                    <a:pt x="194" y="291"/>
                    <a:pt x="194" y="291"/>
                    <a:pt x="194" y="291"/>
                  </a:cubicBezTo>
                  <a:cubicBezTo>
                    <a:pt x="195" y="290"/>
                    <a:pt x="195" y="290"/>
                    <a:pt x="195" y="290"/>
                  </a:cubicBezTo>
                  <a:cubicBezTo>
                    <a:pt x="195" y="290"/>
                    <a:pt x="194" y="290"/>
                    <a:pt x="194" y="289"/>
                  </a:cubicBezTo>
                  <a:cubicBezTo>
                    <a:pt x="194" y="288"/>
                    <a:pt x="192" y="286"/>
                    <a:pt x="192" y="286"/>
                  </a:cubicBezTo>
                  <a:cubicBezTo>
                    <a:pt x="192" y="286"/>
                    <a:pt x="190" y="285"/>
                    <a:pt x="190" y="284"/>
                  </a:cubicBezTo>
                  <a:cubicBezTo>
                    <a:pt x="189" y="283"/>
                    <a:pt x="188" y="281"/>
                    <a:pt x="188" y="281"/>
                  </a:cubicBezTo>
                  <a:cubicBezTo>
                    <a:pt x="188" y="280"/>
                    <a:pt x="187" y="275"/>
                    <a:pt x="187" y="275"/>
                  </a:cubicBezTo>
                  <a:cubicBezTo>
                    <a:pt x="184" y="271"/>
                    <a:pt x="184" y="271"/>
                    <a:pt x="184" y="271"/>
                  </a:cubicBezTo>
                  <a:cubicBezTo>
                    <a:pt x="184" y="271"/>
                    <a:pt x="182" y="269"/>
                    <a:pt x="182" y="269"/>
                  </a:cubicBezTo>
                  <a:cubicBezTo>
                    <a:pt x="181" y="269"/>
                    <a:pt x="179" y="268"/>
                    <a:pt x="179" y="268"/>
                  </a:cubicBezTo>
                  <a:cubicBezTo>
                    <a:pt x="178" y="268"/>
                    <a:pt x="174" y="266"/>
                    <a:pt x="174" y="266"/>
                  </a:cubicBezTo>
                  <a:cubicBezTo>
                    <a:pt x="174" y="266"/>
                    <a:pt x="171" y="262"/>
                    <a:pt x="171" y="261"/>
                  </a:cubicBezTo>
                  <a:cubicBezTo>
                    <a:pt x="171" y="260"/>
                    <a:pt x="169" y="256"/>
                    <a:pt x="169" y="256"/>
                  </a:cubicBezTo>
                  <a:cubicBezTo>
                    <a:pt x="169" y="252"/>
                    <a:pt x="169" y="252"/>
                    <a:pt x="169" y="252"/>
                  </a:cubicBezTo>
                  <a:cubicBezTo>
                    <a:pt x="168" y="246"/>
                    <a:pt x="168" y="246"/>
                    <a:pt x="168" y="246"/>
                  </a:cubicBezTo>
                  <a:cubicBezTo>
                    <a:pt x="167" y="239"/>
                    <a:pt x="167" y="239"/>
                    <a:pt x="167" y="239"/>
                  </a:cubicBezTo>
                  <a:cubicBezTo>
                    <a:pt x="167" y="233"/>
                    <a:pt x="167" y="233"/>
                    <a:pt x="167" y="233"/>
                  </a:cubicBezTo>
                  <a:cubicBezTo>
                    <a:pt x="167" y="227"/>
                    <a:pt x="167" y="227"/>
                    <a:pt x="167" y="227"/>
                  </a:cubicBezTo>
                  <a:cubicBezTo>
                    <a:pt x="166" y="223"/>
                    <a:pt x="166" y="223"/>
                    <a:pt x="166" y="223"/>
                  </a:cubicBezTo>
                  <a:cubicBezTo>
                    <a:pt x="163" y="217"/>
                    <a:pt x="163" y="217"/>
                    <a:pt x="163" y="217"/>
                  </a:cubicBezTo>
                  <a:cubicBezTo>
                    <a:pt x="161" y="213"/>
                    <a:pt x="161" y="213"/>
                    <a:pt x="161" y="213"/>
                  </a:cubicBezTo>
                  <a:cubicBezTo>
                    <a:pt x="156" y="208"/>
                    <a:pt x="156" y="208"/>
                    <a:pt x="156" y="208"/>
                  </a:cubicBezTo>
                  <a:cubicBezTo>
                    <a:pt x="153" y="204"/>
                    <a:pt x="153" y="204"/>
                    <a:pt x="153" y="204"/>
                  </a:cubicBezTo>
                  <a:cubicBezTo>
                    <a:pt x="151" y="203"/>
                    <a:pt x="151" y="203"/>
                    <a:pt x="151" y="203"/>
                  </a:cubicBezTo>
                  <a:cubicBezTo>
                    <a:pt x="147" y="199"/>
                    <a:pt x="147" y="199"/>
                    <a:pt x="147" y="199"/>
                  </a:cubicBezTo>
                  <a:cubicBezTo>
                    <a:pt x="143" y="197"/>
                    <a:pt x="143" y="197"/>
                    <a:pt x="143" y="197"/>
                  </a:cubicBezTo>
                  <a:cubicBezTo>
                    <a:pt x="140" y="199"/>
                    <a:pt x="140" y="199"/>
                    <a:pt x="140" y="199"/>
                  </a:cubicBezTo>
                  <a:cubicBezTo>
                    <a:pt x="137" y="200"/>
                    <a:pt x="137" y="200"/>
                    <a:pt x="137" y="200"/>
                  </a:cubicBezTo>
                  <a:cubicBezTo>
                    <a:pt x="134" y="201"/>
                    <a:pt x="134" y="201"/>
                    <a:pt x="134" y="201"/>
                  </a:cubicBezTo>
                  <a:cubicBezTo>
                    <a:pt x="129" y="198"/>
                    <a:pt x="129" y="198"/>
                    <a:pt x="129" y="198"/>
                  </a:cubicBezTo>
                  <a:cubicBezTo>
                    <a:pt x="126" y="196"/>
                    <a:pt x="126" y="196"/>
                    <a:pt x="126" y="196"/>
                  </a:cubicBezTo>
                  <a:cubicBezTo>
                    <a:pt x="122" y="195"/>
                    <a:pt x="122" y="195"/>
                    <a:pt x="122" y="195"/>
                  </a:cubicBezTo>
                  <a:cubicBezTo>
                    <a:pt x="121" y="195"/>
                    <a:pt x="121" y="195"/>
                    <a:pt x="121" y="195"/>
                  </a:cubicBezTo>
                  <a:cubicBezTo>
                    <a:pt x="121" y="195"/>
                    <a:pt x="121" y="194"/>
                    <a:pt x="121" y="194"/>
                  </a:cubicBezTo>
                  <a:cubicBezTo>
                    <a:pt x="121" y="195"/>
                    <a:pt x="123" y="194"/>
                    <a:pt x="123" y="194"/>
                  </a:cubicBezTo>
                  <a:cubicBezTo>
                    <a:pt x="123" y="194"/>
                    <a:pt x="125" y="195"/>
                    <a:pt x="125" y="195"/>
                  </a:cubicBezTo>
                  <a:cubicBezTo>
                    <a:pt x="125" y="195"/>
                    <a:pt x="127" y="196"/>
                    <a:pt x="127" y="196"/>
                  </a:cubicBezTo>
                  <a:cubicBezTo>
                    <a:pt x="127" y="196"/>
                    <a:pt x="128" y="197"/>
                    <a:pt x="129" y="197"/>
                  </a:cubicBezTo>
                  <a:cubicBezTo>
                    <a:pt x="130" y="197"/>
                    <a:pt x="132" y="197"/>
                    <a:pt x="132" y="197"/>
                  </a:cubicBezTo>
                  <a:cubicBezTo>
                    <a:pt x="135" y="195"/>
                    <a:pt x="135" y="195"/>
                    <a:pt x="135" y="195"/>
                  </a:cubicBezTo>
                  <a:cubicBezTo>
                    <a:pt x="136" y="193"/>
                    <a:pt x="136" y="193"/>
                    <a:pt x="136" y="193"/>
                  </a:cubicBezTo>
                  <a:cubicBezTo>
                    <a:pt x="138" y="192"/>
                    <a:pt x="138" y="192"/>
                    <a:pt x="138" y="192"/>
                  </a:cubicBezTo>
                  <a:cubicBezTo>
                    <a:pt x="140" y="191"/>
                    <a:pt x="140" y="191"/>
                    <a:pt x="140" y="191"/>
                  </a:cubicBezTo>
                  <a:cubicBezTo>
                    <a:pt x="141" y="191"/>
                    <a:pt x="141" y="191"/>
                    <a:pt x="141" y="191"/>
                  </a:cubicBezTo>
                  <a:cubicBezTo>
                    <a:pt x="141" y="191"/>
                    <a:pt x="142" y="192"/>
                    <a:pt x="143" y="192"/>
                  </a:cubicBezTo>
                  <a:cubicBezTo>
                    <a:pt x="145" y="192"/>
                    <a:pt x="146" y="191"/>
                    <a:pt x="146" y="191"/>
                  </a:cubicBezTo>
                  <a:cubicBezTo>
                    <a:pt x="146" y="191"/>
                    <a:pt x="149" y="189"/>
                    <a:pt x="149" y="189"/>
                  </a:cubicBezTo>
                  <a:cubicBezTo>
                    <a:pt x="149" y="189"/>
                    <a:pt x="148" y="188"/>
                    <a:pt x="148" y="188"/>
                  </a:cubicBezTo>
                  <a:cubicBezTo>
                    <a:pt x="148" y="187"/>
                    <a:pt x="146" y="186"/>
                    <a:pt x="146" y="186"/>
                  </a:cubicBezTo>
                  <a:cubicBezTo>
                    <a:pt x="146" y="186"/>
                    <a:pt x="145" y="186"/>
                    <a:pt x="145" y="185"/>
                  </a:cubicBezTo>
                  <a:cubicBezTo>
                    <a:pt x="145" y="184"/>
                    <a:pt x="145" y="182"/>
                    <a:pt x="145" y="182"/>
                  </a:cubicBezTo>
                  <a:cubicBezTo>
                    <a:pt x="144" y="181"/>
                    <a:pt x="144" y="181"/>
                    <a:pt x="144" y="181"/>
                  </a:cubicBezTo>
                  <a:cubicBezTo>
                    <a:pt x="144" y="181"/>
                    <a:pt x="143" y="180"/>
                    <a:pt x="142" y="181"/>
                  </a:cubicBezTo>
                  <a:cubicBezTo>
                    <a:pt x="141" y="181"/>
                    <a:pt x="140" y="181"/>
                    <a:pt x="140" y="181"/>
                  </a:cubicBezTo>
                  <a:cubicBezTo>
                    <a:pt x="137" y="182"/>
                    <a:pt x="137" y="182"/>
                    <a:pt x="137" y="182"/>
                  </a:cubicBezTo>
                  <a:cubicBezTo>
                    <a:pt x="133" y="183"/>
                    <a:pt x="133" y="183"/>
                    <a:pt x="133" y="183"/>
                  </a:cubicBezTo>
                  <a:cubicBezTo>
                    <a:pt x="133" y="182"/>
                    <a:pt x="133" y="182"/>
                    <a:pt x="133" y="182"/>
                  </a:cubicBezTo>
                  <a:cubicBezTo>
                    <a:pt x="137" y="181"/>
                    <a:pt x="137" y="181"/>
                    <a:pt x="137" y="181"/>
                  </a:cubicBezTo>
                  <a:cubicBezTo>
                    <a:pt x="139" y="180"/>
                    <a:pt x="139" y="180"/>
                    <a:pt x="139" y="180"/>
                  </a:cubicBezTo>
                  <a:cubicBezTo>
                    <a:pt x="139" y="180"/>
                    <a:pt x="139" y="179"/>
                    <a:pt x="140" y="179"/>
                  </a:cubicBezTo>
                  <a:cubicBezTo>
                    <a:pt x="141" y="179"/>
                    <a:pt x="143" y="180"/>
                    <a:pt x="144" y="180"/>
                  </a:cubicBezTo>
                  <a:cubicBezTo>
                    <a:pt x="144" y="180"/>
                    <a:pt x="147" y="180"/>
                    <a:pt x="147" y="180"/>
                  </a:cubicBezTo>
                  <a:cubicBezTo>
                    <a:pt x="147" y="180"/>
                    <a:pt x="150" y="178"/>
                    <a:pt x="150" y="178"/>
                  </a:cubicBezTo>
                  <a:cubicBezTo>
                    <a:pt x="151" y="177"/>
                    <a:pt x="154" y="175"/>
                    <a:pt x="154" y="175"/>
                  </a:cubicBezTo>
                  <a:cubicBezTo>
                    <a:pt x="154" y="173"/>
                    <a:pt x="154" y="173"/>
                    <a:pt x="154" y="173"/>
                  </a:cubicBezTo>
                  <a:cubicBezTo>
                    <a:pt x="154" y="173"/>
                    <a:pt x="155" y="171"/>
                    <a:pt x="156" y="171"/>
                  </a:cubicBezTo>
                  <a:cubicBezTo>
                    <a:pt x="156" y="171"/>
                    <a:pt x="159" y="169"/>
                    <a:pt x="159" y="169"/>
                  </a:cubicBezTo>
                  <a:cubicBezTo>
                    <a:pt x="162" y="165"/>
                    <a:pt x="162" y="165"/>
                    <a:pt x="162" y="165"/>
                  </a:cubicBezTo>
                  <a:cubicBezTo>
                    <a:pt x="164" y="161"/>
                    <a:pt x="164" y="161"/>
                    <a:pt x="164" y="161"/>
                  </a:cubicBezTo>
                  <a:cubicBezTo>
                    <a:pt x="166" y="158"/>
                    <a:pt x="166" y="158"/>
                    <a:pt x="166" y="158"/>
                  </a:cubicBezTo>
                  <a:cubicBezTo>
                    <a:pt x="166" y="158"/>
                    <a:pt x="168" y="156"/>
                    <a:pt x="168" y="155"/>
                  </a:cubicBezTo>
                  <a:cubicBezTo>
                    <a:pt x="168" y="154"/>
                    <a:pt x="168" y="151"/>
                    <a:pt x="168" y="151"/>
                  </a:cubicBezTo>
                  <a:cubicBezTo>
                    <a:pt x="168" y="151"/>
                    <a:pt x="170" y="149"/>
                    <a:pt x="171" y="149"/>
                  </a:cubicBezTo>
                  <a:cubicBezTo>
                    <a:pt x="171" y="148"/>
                    <a:pt x="177" y="144"/>
                    <a:pt x="177" y="144"/>
                  </a:cubicBezTo>
                  <a:cubicBezTo>
                    <a:pt x="178" y="139"/>
                    <a:pt x="178" y="139"/>
                    <a:pt x="178" y="139"/>
                  </a:cubicBezTo>
                  <a:cubicBezTo>
                    <a:pt x="177" y="138"/>
                    <a:pt x="177" y="138"/>
                    <a:pt x="177" y="138"/>
                  </a:cubicBezTo>
                  <a:cubicBezTo>
                    <a:pt x="176" y="135"/>
                    <a:pt x="176" y="135"/>
                    <a:pt x="176" y="135"/>
                  </a:cubicBezTo>
                  <a:cubicBezTo>
                    <a:pt x="174" y="133"/>
                    <a:pt x="174" y="133"/>
                    <a:pt x="174" y="133"/>
                  </a:cubicBezTo>
                  <a:cubicBezTo>
                    <a:pt x="172" y="131"/>
                    <a:pt x="172" y="131"/>
                    <a:pt x="172" y="131"/>
                  </a:cubicBezTo>
                  <a:cubicBezTo>
                    <a:pt x="170" y="131"/>
                    <a:pt x="170" y="131"/>
                    <a:pt x="170" y="131"/>
                  </a:cubicBezTo>
                  <a:cubicBezTo>
                    <a:pt x="170" y="131"/>
                    <a:pt x="169" y="132"/>
                    <a:pt x="168" y="132"/>
                  </a:cubicBezTo>
                  <a:cubicBezTo>
                    <a:pt x="168" y="131"/>
                    <a:pt x="166" y="130"/>
                    <a:pt x="166" y="130"/>
                  </a:cubicBezTo>
                  <a:cubicBezTo>
                    <a:pt x="163" y="131"/>
                    <a:pt x="163" y="131"/>
                    <a:pt x="163" y="131"/>
                  </a:cubicBezTo>
                  <a:cubicBezTo>
                    <a:pt x="159" y="130"/>
                    <a:pt x="159" y="130"/>
                    <a:pt x="159" y="130"/>
                  </a:cubicBezTo>
                  <a:cubicBezTo>
                    <a:pt x="158" y="129"/>
                    <a:pt x="158" y="129"/>
                    <a:pt x="158" y="129"/>
                  </a:cubicBezTo>
                  <a:cubicBezTo>
                    <a:pt x="155" y="128"/>
                    <a:pt x="155" y="128"/>
                    <a:pt x="155" y="128"/>
                  </a:cubicBezTo>
                  <a:cubicBezTo>
                    <a:pt x="153" y="127"/>
                    <a:pt x="153" y="127"/>
                    <a:pt x="153" y="127"/>
                  </a:cubicBezTo>
                  <a:cubicBezTo>
                    <a:pt x="150" y="128"/>
                    <a:pt x="150" y="128"/>
                    <a:pt x="150" y="128"/>
                  </a:cubicBezTo>
                  <a:cubicBezTo>
                    <a:pt x="147" y="129"/>
                    <a:pt x="147" y="129"/>
                    <a:pt x="147" y="129"/>
                  </a:cubicBezTo>
                  <a:cubicBezTo>
                    <a:pt x="146" y="127"/>
                    <a:pt x="146" y="127"/>
                    <a:pt x="146" y="127"/>
                  </a:cubicBezTo>
                  <a:cubicBezTo>
                    <a:pt x="144" y="126"/>
                    <a:pt x="144" y="126"/>
                    <a:pt x="144" y="126"/>
                  </a:cubicBezTo>
                  <a:cubicBezTo>
                    <a:pt x="138" y="125"/>
                    <a:pt x="138" y="125"/>
                    <a:pt x="138" y="125"/>
                  </a:cubicBezTo>
                  <a:cubicBezTo>
                    <a:pt x="138" y="127"/>
                    <a:pt x="138" y="127"/>
                    <a:pt x="138" y="127"/>
                  </a:cubicBezTo>
                  <a:cubicBezTo>
                    <a:pt x="134" y="127"/>
                    <a:pt x="134" y="127"/>
                    <a:pt x="134" y="127"/>
                  </a:cubicBezTo>
                  <a:cubicBezTo>
                    <a:pt x="134" y="127"/>
                    <a:pt x="134" y="126"/>
                    <a:pt x="133" y="127"/>
                  </a:cubicBezTo>
                  <a:cubicBezTo>
                    <a:pt x="133" y="127"/>
                    <a:pt x="131" y="128"/>
                    <a:pt x="131" y="128"/>
                  </a:cubicBezTo>
                  <a:cubicBezTo>
                    <a:pt x="130" y="129"/>
                    <a:pt x="130" y="129"/>
                    <a:pt x="130" y="129"/>
                  </a:cubicBezTo>
                  <a:cubicBezTo>
                    <a:pt x="128" y="128"/>
                    <a:pt x="128" y="128"/>
                    <a:pt x="128" y="128"/>
                  </a:cubicBezTo>
                  <a:cubicBezTo>
                    <a:pt x="125" y="128"/>
                    <a:pt x="125" y="128"/>
                    <a:pt x="125" y="128"/>
                  </a:cubicBezTo>
                  <a:cubicBezTo>
                    <a:pt x="123" y="130"/>
                    <a:pt x="123" y="130"/>
                    <a:pt x="123" y="130"/>
                  </a:cubicBezTo>
                  <a:cubicBezTo>
                    <a:pt x="121" y="131"/>
                    <a:pt x="121" y="131"/>
                    <a:pt x="121" y="131"/>
                  </a:cubicBezTo>
                  <a:cubicBezTo>
                    <a:pt x="119" y="133"/>
                    <a:pt x="119" y="133"/>
                    <a:pt x="119" y="133"/>
                  </a:cubicBezTo>
                  <a:cubicBezTo>
                    <a:pt x="120" y="131"/>
                    <a:pt x="120" y="131"/>
                    <a:pt x="120" y="131"/>
                  </a:cubicBezTo>
                  <a:cubicBezTo>
                    <a:pt x="121" y="129"/>
                    <a:pt x="121" y="129"/>
                    <a:pt x="121" y="129"/>
                  </a:cubicBezTo>
                  <a:cubicBezTo>
                    <a:pt x="123" y="129"/>
                    <a:pt x="123" y="129"/>
                    <a:pt x="123" y="129"/>
                  </a:cubicBezTo>
                  <a:cubicBezTo>
                    <a:pt x="125" y="126"/>
                    <a:pt x="125" y="126"/>
                    <a:pt x="125" y="126"/>
                  </a:cubicBezTo>
                  <a:cubicBezTo>
                    <a:pt x="125" y="126"/>
                    <a:pt x="127" y="125"/>
                    <a:pt x="127" y="125"/>
                  </a:cubicBezTo>
                  <a:cubicBezTo>
                    <a:pt x="128" y="124"/>
                    <a:pt x="129" y="123"/>
                    <a:pt x="129" y="123"/>
                  </a:cubicBezTo>
                  <a:cubicBezTo>
                    <a:pt x="127" y="122"/>
                    <a:pt x="127" y="122"/>
                    <a:pt x="127" y="122"/>
                  </a:cubicBezTo>
                  <a:cubicBezTo>
                    <a:pt x="124" y="124"/>
                    <a:pt x="124" y="124"/>
                    <a:pt x="124" y="124"/>
                  </a:cubicBezTo>
                  <a:cubicBezTo>
                    <a:pt x="124" y="124"/>
                    <a:pt x="123" y="123"/>
                    <a:pt x="123" y="123"/>
                  </a:cubicBezTo>
                  <a:cubicBezTo>
                    <a:pt x="123" y="123"/>
                    <a:pt x="121" y="125"/>
                    <a:pt x="121" y="125"/>
                  </a:cubicBezTo>
                  <a:cubicBezTo>
                    <a:pt x="116" y="126"/>
                    <a:pt x="116" y="126"/>
                    <a:pt x="116" y="126"/>
                  </a:cubicBezTo>
                  <a:cubicBezTo>
                    <a:pt x="120" y="123"/>
                    <a:pt x="120" y="123"/>
                    <a:pt x="120" y="123"/>
                  </a:cubicBezTo>
                  <a:cubicBezTo>
                    <a:pt x="120" y="123"/>
                    <a:pt x="122" y="122"/>
                    <a:pt x="123" y="122"/>
                  </a:cubicBezTo>
                  <a:cubicBezTo>
                    <a:pt x="123" y="122"/>
                    <a:pt x="125" y="121"/>
                    <a:pt x="125" y="121"/>
                  </a:cubicBezTo>
                  <a:cubicBezTo>
                    <a:pt x="126" y="121"/>
                    <a:pt x="127" y="121"/>
                    <a:pt x="128" y="121"/>
                  </a:cubicBezTo>
                  <a:cubicBezTo>
                    <a:pt x="128" y="121"/>
                    <a:pt x="130" y="122"/>
                    <a:pt x="131" y="121"/>
                  </a:cubicBezTo>
                  <a:cubicBezTo>
                    <a:pt x="131" y="121"/>
                    <a:pt x="132" y="120"/>
                    <a:pt x="132" y="119"/>
                  </a:cubicBezTo>
                  <a:cubicBezTo>
                    <a:pt x="132" y="119"/>
                    <a:pt x="134" y="117"/>
                    <a:pt x="134" y="117"/>
                  </a:cubicBezTo>
                  <a:cubicBezTo>
                    <a:pt x="129" y="117"/>
                    <a:pt x="129" y="117"/>
                    <a:pt x="129" y="117"/>
                  </a:cubicBezTo>
                  <a:cubicBezTo>
                    <a:pt x="129" y="117"/>
                    <a:pt x="128" y="118"/>
                    <a:pt x="127" y="118"/>
                  </a:cubicBezTo>
                  <a:cubicBezTo>
                    <a:pt x="127" y="117"/>
                    <a:pt x="125" y="117"/>
                    <a:pt x="125" y="117"/>
                  </a:cubicBezTo>
                  <a:cubicBezTo>
                    <a:pt x="124" y="116"/>
                    <a:pt x="123" y="116"/>
                    <a:pt x="123" y="115"/>
                  </a:cubicBezTo>
                  <a:cubicBezTo>
                    <a:pt x="123" y="115"/>
                    <a:pt x="121" y="114"/>
                    <a:pt x="121" y="114"/>
                  </a:cubicBezTo>
                  <a:cubicBezTo>
                    <a:pt x="122" y="113"/>
                    <a:pt x="122" y="113"/>
                    <a:pt x="122" y="113"/>
                  </a:cubicBezTo>
                  <a:cubicBezTo>
                    <a:pt x="123" y="115"/>
                    <a:pt x="123" y="115"/>
                    <a:pt x="123" y="115"/>
                  </a:cubicBezTo>
                  <a:cubicBezTo>
                    <a:pt x="123" y="115"/>
                    <a:pt x="124" y="116"/>
                    <a:pt x="125" y="116"/>
                  </a:cubicBezTo>
                  <a:cubicBezTo>
                    <a:pt x="126" y="115"/>
                    <a:pt x="127" y="115"/>
                    <a:pt x="128" y="115"/>
                  </a:cubicBezTo>
                  <a:cubicBezTo>
                    <a:pt x="129" y="115"/>
                    <a:pt x="130" y="113"/>
                    <a:pt x="130" y="113"/>
                  </a:cubicBezTo>
                  <a:cubicBezTo>
                    <a:pt x="130" y="113"/>
                    <a:pt x="129" y="113"/>
                    <a:pt x="131" y="112"/>
                  </a:cubicBezTo>
                  <a:cubicBezTo>
                    <a:pt x="133" y="111"/>
                    <a:pt x="133" y="111"/>
                    <a:pt x="134" y="110"/>
                  </a:cubicBezTo>
                  <a:cubicBezTo>
                    <a:pt x="136" y="109"/>
                    <a:pt x="140" y="107"/>
                    <a:pt x="140" y="107"/>
                  </a:cubicBezTo>
                  <a:cubicBezTo>
                    <a:pt x="144" y="105"/>
                    <a:pt x="144" y="105"/>
                    <a:pt x="144" y="105"/>
                  </a:cubicBezTo>
                  <a:cubicBezTo>
                    <a:pt x="148" y="101"/>
                    <a:pt x="148" y="101"/>
                    <a:pt x="148" y="101"/>
                  </a:cubicBezTo>
                  <a:cubicBezTo>
                    <a:pt x="150" y="101"/>
                    <a:pt x="150" y="101"/>
                    <a:pt x="150" y="101"/>
                  </a:cubicBezTo>
                  <a:cubicBezTo>
                    <a:pt x="153" y="98"/>
                    <a:pt x="153" y="98"/>
                    <a:pt x="153" y="98"/>
                  </a:cubicBezTo>
                  <a:cubicBezTo>
                    <a:pt x="155" y="96"/>
                    <a:pt x="155" y="96"/>
                    <a:pt x="155" y="96"/>
                  </a:cubicBezTo>
                  <a:cubicBezTo>
                    <a:pt x="154" y="92"/>
                    <a:pt x="154" y="92"/>
                    <a:pt x="154" y="92"/>
                  </a:cubicBezTo>
                  <a:cubicBezTo>
                    <a:pt x="156" y="89"/>
                    <a:pt x="156" y="89"/>
                    <a:pt x="156" y="89"/>
                  </a:cubicBezTo>
                  <a:cubicBezTo>
                    <a:pt x="155" y="87"/>
                    <a:pt x="155" y="87"/>
                    <a:pt x="155" y="87"/>
                  </a:cubicBezTo>
                  <a:cubicBezTo>
                    <a:pt x="153" y="86"/>
                    <a:pt x="153" y="86"/>
                    <a:pt x="153" y="86"/>
                  </a:cubicBezTo>
                  <a:cubicBezTo>
                    <a:pt x="149" y="86"/>
                    <a:pt x="149" y="86"/>
                    <a:pt x="149" y="86"/>
                  </a:cubicBezTo>
                  <a:cubicBezTo>
                    <a:pt x="149" y="86"/>
                    <a:pt x="148" y="88"/>
                    <a:pt x="147" y="88"/>
                  </a:cubicBezTo>
                  <a:cubicBezTo>
                    <a:pt x="147" y="88"/>
                    <a:pt x="143" y="85"/>
                    <a:pt x="143" y="85"/>
                  </a:cubicBezTo>
                  <a:cubicBezTo>
                    <a:pt x="143" y="85"/>
                    <a:pt x="140" y="87"/>
                    <a:pt x="140" y="87"/>
                  </a:cubicBezTo>
                  <a:cubicBezTo>
                    <a:pt x="138" y="87"/>
                    <a:pt x="138" y="87"/>
                    <a:pt x="138" y="87"/>
                  </a:cubicBezTo>
                  <a:cubicBezTo>
                    <a:pt x="138" y="87"/>
                    <a:pt x="137" y="87"/>
                    <a:pt x="136" y="87"/>
                  </a:cubicBezTo>
                  <a:cubicBezTo>
                    <a:pt x="134" y="87"/>
                    <a:pt x="131" y="86"/>
                    <a:pt x="131" y="86"/>
                  </a:cubicBezTo>
                  <a:cubicBezTo>
                    <a:pt x="128" y="87"/>
                    <a:pt x="128" y="87"/>
                    <a:pt x="128" y="87"/>
                  </a:cubicBezTo>
                  <a:cubicBezTo>
                    <a:pt x="126" y="87"/>
                    <a:pt x="126" y="87"/>
                    <a:pt x="126" y="87"/>
                  </a:cubicBezTo>
                  <a:cubicBezTo>
                    <a:pt x="123" y="89"/>
                    <a:pt x="123" y="89"/>
                    <a:pt x="123" y="89"/>
                  </a:cubicBezTo>
                  <a:cubicBezTo>
                    <a:pt x="124" y="88"/>
                    <a:pt x="124" y="88"/>
                    <a:pt x="124" y="88"/>
                  </a:cubicBezTo>
                  <a:cubicBezTo>
                    <a:pt x="125" y="85"/>
                    <a:pt x="125" y="85"/>
                    <a:pt x="125" y="85"/>
                  </a:cubicBezTo>
                  <a:cubicBezTo>
                    <a:pt x="125" y="85"/>
                    <a:pt x="124" y="84"/>
                    <a:pt x="124" y="84"/>
                  </a:cubicBezTo>
                  <a:cubicBezTo>
                    <a:pt x="123" y="84"/>
                    <a:pt x="122" y="83"/>
                    <a:pt x="122" y="83"/>
                  </a:cubicBezTo>
                  <a:cubicBezTo>
                    <a:pt x="120" y="86"/>
                    <a:pt x="120" y="86"/>
                    <a:pt x="120" y="86"/>
                  </a:cubicBezTo>
                  <a:cubicBezTo>
                    <a:pt x="117" y="87"/>
                    <a:pt x="117" y="87"/>
                    <a:pt x="117" y="87"/>
                  </a:cubicBezTo>
                  <a:cubicBezTo>
                    <a:pt x="118" y="86"/>
                    <a:pt x="118" y="86"/>
                    <a:pt x="118" y="86"/>
                  </a:cubicBezTo>
                  <a:cubicBezTo>
                    <a:pt x="120" y="85"/>
                    <a:pt x="120" y="85"/>
                    <a:pt x="120" y="85"/>
                  </a:cubicBezTo>
                  <a:cubicBezTo>
                    <a:pt x="120" y="83"/>
                    <a:pt x="120" y="83"/>
                    <a:pt x="120" y="83"/>
                  </a:cubicBezTo>
                  <a:cubicBezTo>
                    <a:pt x="120" y="83"/>
                    <a:pt x="120" y="83"/>
                    <a:pt x="119" y="83"/>
                  </a:cubicBezTo>
                  <a:cubicBezTo>
                    <a:pt x="119" y="83"/>
                    <a:pt x="118" y="83"/>
                    <a:pt x="118" y="83"/>
                  </a:cubicBezTo>
                  <a:cubicBezTo>
                    <a:pt x="116" y="82"/>
                    <a:pt x="116" y="82"/>
                    <a:pt x="116" y="82"/>
                  </a:cubicBezTo>
                  <a:cubicBezTo>
                    <a:pt x="115" y="80"/>
                    <a:pt x="115" y="80"/>
                    <a:pt x="115" y="80"/>
                  </a:cubicBezTo>
                  <a:cubicBezTo>
                    <a:pt x="113" y="81"/>
                    <a:pt x="113" y="81"/>
                    <a:pt x="113" y="81"/>
                  </a:cubicBezTo>
                  <a:cubicBezTo>
                    <a:pt x="112" y="82"/>
                    <a:pt x="112" y="82"/>
                    <a:pt x="112" y="82"/>
                  </a:cubicBezTo>
                  <a:cubicBezTo>
                    <a:pt x="111" y="83"/>
                    <a:pt x="111" y="83"/>
                    <a:pt x="111" y="83"/>
                  </a:cubicBezTo>
                  <a:cubicBezTo>
                    <a:pt x="109" y="84"/>
                    <a:pt x="109" y="84"/>
                    <a:pt x="109" y="84"/>
                  </a:cubicBezTo>
                  <a:cubicBezTo>
                    <a:pt x="110" y="86"/>
                    <a:pt x="110" y="86"/>
                    <a:pt x="110" y="86"/>
                  </a:cubicBezTo>
                  <a:cubicBezTo>
                    <a:pt x="109" y="88"/>
                    <a:pt x="109" y="88"/>
                    <a:pt x="109" y="88"/>
                  </a:cubicBezTo>
                  <a:cubicBezTo>
                    <a:pt x="107" y="88"/>
                    <a:pt x="107" y="88"/>
                    <a:pt x="107" y="88"/>
                  </a:cubicBezTo>
                  <a:cubicBezTo>
                    <a:pt x="107" y="88"/>
                    <a:pt x="107" y="91"/>
                    <a:pt x="107" y="91"/>
                  </a:cubicBezTo>
                  <a:cubicBezTo>
                    <a:pt x="107" y="92"/>
                    <a:pt x="109" y="93"/>
                    <a:pt x="109" y="93"/>
                  </a:cubicBezTo>
                  <a:cubicBezTo>
                    <a:pt x="108" y="95"/>
                    <a:pt x="108" y="95"/>
                    <a:pt x="108" y="95"/>
                  </a:cubicBezTo>
                  <a:cubicBezTo>
                    <a:pt x="109" y="95"/>
                    <a:pt x="109" y="95"/>
                    <a:pt x="109" y="95"/>
                  </a:cubicBezTo>
                  <a:cubicBezTo>
                    <a:pt x="109" y="95"/>
                    <a:pt x="108" y="96"/>
                    <a:pt x="108" y="96"/>
                  </a:cubicBezTo>
                  <a:cubicBezTo>
                    <a:pt x="107" y="96"/>
                    <a:pt x="106" y="94"/>
                    <a:pt x="106" y="94"/>
                  </a:cubicBezTo>
                  <a:cubicBezTo>
                    <a:pt x="104" y="94"/>
                    <a:pt x="104" y="94"/>
                    <a:pt x="104" y="94"/>
                  </a:cubicBezTo>
                  <a:cubicBezTo>
                    <a:pt x="102" y="94"/>
                    <a:pt x="102" y="94"/>
                    <a:pt x="102" y="94"/>
                  </a:cubicBezTo>
                  <a:cubicBezTo>
                    <a:pt x="101" y="96"/>
                    <a:pt x="101" y="96"/>
                    <a:pt x="101" y="96"/>
                  </a:cubicBezTo>
                  <a:cubicBezTo>
                    <a:pt x="102" y="98"/>
                    <a:pt x="102" y="98"/>
                    <a:pt x="102" y="98"/>
                  </a:cubicBezTo>
                  <a:cubicBezTo>
                    <a:pt x="101" y="100"/>
                    <a:pt x="101" y="100"/>
                    <a:pt x="101" y="100"/>
                  </a:cubicBezTo>
                  <a:cubicBezTo>
                    <a:pt x="101" y="101"/>
                    <a:pt x="101" y="101"/>
                    <a:pt x="101" y="101"/>
                  </a:cubicBezTo>
                  <a:cubicBezTo>
                    <a:pt x="101" y="101"/>
                    <a:pt x="100" y="102"/>
                    <a:pt x="100" y="103"/>
                  </a:cubicBezTo>
                  <a:cubicBezTo>
                    <a:pt x="100" y="103"/>
                    <a:pt x="100" y="106"/>
                    <a:pt x="100" y="106"/>
                  </a:cubicBezTo>
                  <a:cubicBezTo>
                    <a:pt x="100" y="106"/>
                    <a:pt x="101" y="107"/>
                    <a:pt x="101" y="108"/>
                  </a:cubicBezTo>
                  <a:cubicBezTo>
                    <a:pt x="102" y="108"/>
                    <a:pt x="103" y="109"/>
                    <a:pt x="103" y="109"/>
                  </a:cubicBezTo>
                  <a:cubicBezTo>
                    <a:pt x="103" y="111"/>
                    <a:pt x="103" y="111"/>
                    <a:pt x="103" y="111"/>
                  </a:cubicBezTo>
                  <a:cubicBezTo>
                    <a:pt x="102" y="109"/>
                    <a:pt x="102" y="109"/>
                    <a:pt x="102" y="109"/>
                  </a:cubicBezTo>
                  <a:cubicBezTo>
                    <a:pt x="102" y="109"/>
                    <a:pt x="101" y="108"/>
                    <a:pt x="100" y="108"/>
                  </a:cubicBezTo>
                  <a:cubicBezTo>
                    <a:pt x="100" y="107"/>
                    <a:pt x="100" y="106"/>
                    <a:pt x="99" y="106"/>
                  </a:cubicBezTo>
                  <a:cubicBezTo>
                    <a:pt x="99" y="106"/>
                    <a:pt x="98" y="107"/>
                    <a:pt x="98" y="107"/>
                  </a:cubicBezTo>
                  <a:cubicBezTo>
                    <a:pt x="98" y="107"/>
                    <a:pt x="97" y="107"/>
                    <a:pt x="97" y="107"/>
                  </a:cubicBezTo>
                  <a:cubicBezTo>
                    <a:pt x="98" y="108"/>
                    <a:pt x="96" y="109"/>
                    <a:pt x="96" y="109"/>
                  </a:cubicBezTo>
                  <a:cubicBezTo>
                    <a:pt x="96" y="109"/>
                    <a:pt x="94" y="110"/>
                    <a:pt x="94" y="109"/>
                  </a:cubicBezTo>
                  <a:cubicBezTo>
                    <a:pt x="94" y="108"/>
                    <a:pt x="94" y="107"/>
                    <a:pt x="93" y="107"/>
                  </a:cubicBezTo>
                  <a:cubicBezTo>
                    <a:pt x="93" y="106"/>
                    <a:pt x="92" y="107"/>
                    <a:pt x="92" y="107"/>
                  </a:cubicBezTo>
                  <a:cubicBezTo>
                    <a:pt x="92" y="108"/>
                    <a:pt x="91" y="109"/>
                    <a:pt x="91" y="109"/>
                  </a:cubicBezTo>
                  <a:cubicBezTo>
                    <a:pt x="92" y="110"/>
                    <a:pt x="92" y="110"/>
                    <a:pt x="92" y="110"/>
                  </a:cubicBezTo>
                  <a:cubicBezTo>
                    <a:pt x="92" y="110"/>
                    <a:pt x="91" y="112"/>
                    <a:pt x="91" y="112"/>
                  </a:cubicBezTo>
                  <a:cubicBezTo>
                    <a:pt x="91" y="112"/>
                    <a:pt x="90" y="110"/>
                    <a:pt x="90" y="109"/>
                  </a:cubicBezTo>
                  <a:cubicBezTo>
                    <a:pt x="90" y="109"/>
                    <a:pt x="90" y="107"/>
                    <a:pt x="90" y="108"/>
                  </a:cubicBezTo>
                  <a:cubicBezTo>
                    <a:pt x="89" y="108"/>
                    <a:pt x="88" y="109"/>
                    <a:pt x="88" y="109"/>
                  </a:cubicBezTo>
                  <a:cubicBezTo>
                    <a:pt x="88" y="109"/>
                    <a:pt x="87" y="109"/>
                    <a:pt x="87" y="110"/>
                  </a:cubicBezTo>
                  <a:cubicBezTo>
                    <a:pt x="88" y="110"/>
                    <a:pt x="87" y="113"/>
                    <a:pt x="88" y="113"/>
                  </a:cubicBezTo>
                  <a:cubicBezTo>
                    <a:pt x="89" y="114"/>
                    <a:pt x="88" y="114"/>
                    <a:pt x="89" y="114"/>
                  </a:cubicBezTo>
                  <a:cubicBezTo>
                    <a:pt x="90" y="114"/>
                    <a:pt x="90" y="115"/>
                    <a:pt x="90" y="115"/>
                  </a:cubicBezTo>
                  <a:cubicBezTo>
                    <a:pt x="87" y="115"/>
                    <a:pt x="87" y="115"/>
                    <a:pt x="87" y="115"/>
                  </a:cubicBezTo>
                  <a:cubicBezTo>
                    <a:pt x="87" y="115"/>
                    <a:pt x="86" y="116"/>
                    <a:pt x="86" y="116"/>
                  </a:cubicBezTo>
                  <a:cubicBezTo>
                    <a:pt x="86" y="117"/>
                    <a:pt x="87" y="118"/>
                    <a:pt x="87" y="118"/>
                  </a:cubicBezTo>
                  <a:cubicBezTo>
                    <a:pt x="87" y="118"/>
                    <a:pt x="88" y="119"/>
                    <a:pt x="88" y="120"/>
                  </a:cubicBezTo>
                  <a:cubicBezTo>
                    <a:pt x="88" y="120"/>
                    <a:pt x="87" y="121"/>
                    <a:pt x="87" y="121"/>
                  </a:cubicBezTo>
                  <a:cubicBezTo>
                    <a:pt x="87" y="121"/>
                    <a:pt x="86" y="120"/>
                    <a:pt x="85" y="120"/>
                  </a:cubicBezTo>
                  <a:cubicBezTo>
                    <a:pt x="85" y="120"/>
                    <a:pt x="85" y="120"/>
                    <a:pt x="84" y="121"/>
                  </a:cubicBezTo>
                  <a:cubicBezTo>
                    <a:pt x="84" y="121"/>
                    <a:pt x="83" y="122"/>
                    <a:pt x="83" y="123"/>
                  </a:cubicBezTo>
                  <a:cubicBezTo>
                    <a:pt x="83" y="123"/>
                    <a:pt x="84" y="123"/>
                    <a:pt x="84" y="125"/>
                  </a:cubicBezTo>
                  <a:cubicBezTo>
                    <a:pt x="84" y="126"/>
                    <a:pt x="83" y="127"/>
                    <a:pt x="83" y="127"/>
                  </a:cubicBezTo>
                  <a:cubicBezTo>
                    <a:pt x="83" y="127"/>
                    <a:pt x="83" y="128"/>
                    <a:pt x="83" y="128"/>
                  </a:cubicBezTo>
                  <a:cubicBezTo>
                    <a:pt x="84" y="129"/>
                    <a:pt x="86" y="129"/>
                    <a:pt x="86" y="129"/>
                  </a:cubicBezTo>
                  <a:cubicBezTo>
                    <a:pt x="87" y="129"/>
                    <a:pt x="87" y="129"/>
                    <a:pt x="88" y="129"/>
                  </a:cubicBezTo>
                  <a:cubicBezTo>
                    <a:pt x="88" y="129"/>
                    <a:pt x="89" y="129"/>
                    <a:pt x="89" y="130"/>
                  </a:cubicBezTo>
                  <a:cubicBezTo>
                    <a:pt x="90" y="130"/>
                    <a:pt x="91" y="130"/>
                    <a:pt x="91" y="130"/>
                  </a:cubicBezTo>
                  <a:cubicBezTo>
                    <a:pt x="91" y="130"/>
                    <a:pt x="90" y="132"/>
                    <a:pt x="89" y="131"/>
                  </a:cubicBezTo>
                  <a:cubicBezTo>
                    <a:pt x="88" y="130"/>
                    <a:pt x="87" y="130"/>
                    <a:pt x="86" y="130"/>
                  </a:cubicBezTo>
                  <a:cubicBezTo>
                    <a:pt x="85" y="130"/>
                    <a:pt x="85" y="132"/>
                    <a:pt x="85" y="132"/>
                  </a:cubicBezTo>
                  <a:cubicBezTo>
                    <a:pt x="87" y="133"/>
                    <a:pt x="87" y="133"/>
                    <a:pt x="87" y="133"/>
                  </a:cubicBezTo>
                  <a:cubicBezTo>
                    <a:pt x="87" y="133"/>
                    <a:pt x="88" y="134"/>
                    <a:pt x="87" y="134"/>
                  </a:cubicBezTo>
                  <a:cubicBezTo>
                    <a:pt x="86" y="134"/>
                    <a:pt x="84" y="133"/>
                    <a:pt x="84" y="133"/>
                  </a:cubicBezTo>
                  <a:cubicBezTo>
                    <a:pt x="84" y="133"/>
                    <a:pt x="84" y="133"/>
                    <a:pt x="83" y="133"/>
                  </a:cubicBezTo>
                  <a:cubicBezTo>
                    <a:pt x="83" y="133"/>
                    <a:pt x="82" y="134"/>
                    <a:pt x="82" y="134"/>
                  </a:cubicBezTo>
                  <a:cubicBezTo>
                    <a:pt x="81" y="134"/>
                    <a:pt x="81" y="134"/>
                    <a:pt x="80" y="134"/>
                  </a:cubicBezTo>
                  <a:cubicBezTo>
                    <a:pt x="80" y="133"/>
                    <a:pt x="78" y="132"/>
                    <a:pt x="78" y="132"/>
                  </a:cubicBezTo>
                  <a:cubicBezTo>
                    <a:pt x="78" y="132"/>
                    <a:pt x="77" y="131"/>
                    <a:pt x="77" y="131"/>
                  </a:cubicBezTo>
                  <a:cubicBezTo>
                    <a:pt x="77" y="130"/>
                    <a:pt x="77" y="128"/>
                    <a:pt x="78" y="128"/>
                  </a:cubicBezTo>
                  <a:cubicBezTo>
                    <a:pt x="78" y="128"/>
                    <a:pt x="78" y="127"/>
                    <a:pt x="79" y="127"/>
                  </a:cubicBezTo>
                  <a:cubicBezTo>
                    <a:pt x="79" y="127"/>
                    <a:pt x="82" y="127"/>
                    <a:pt x="80" y="126"/>
                  </a:cubicBezTo>
                  <a:cubicBezTo>
                    <a:pt x="79" y="125"/>
                    <a:pt x="79" y="124"/>
                    <a:pt x="78" y="125"/>
                  </a:cubicBezTo>
                  <a:cubicBezTo>
                    <a:pt x="78" y="125"/>
                    <a:pt x="76" y="126"/>
                    <a:pt x="76" y="126"/>
                  </a:cubicBezTo>
                  <a:cubicBezTo>
                    <a:pt x="76" y="126"/>
                    <a:pt x="76" y="125"/>
                    <a:pt x="76" y="123"/>
                  </a:cubicBezTo>
                  <a:cubicBezTo>
                    <a:pt x="77" y="120"/>
                    <a:pt x="76" y="120"/>
                    <a:pt x="77" y="119"/>
                  </a:cubicBezTo>
                  <a:cubicBezTo>
                    <a:pt x="78" y="119"/>
                    <a:pt x="78" y="118"/>
                    <a:pt x="78" y="118"/>
                  </a:cubicBezTo>
                  <a:cubicBezTo>
                    <a:pt x="78" y="118"/>
                    <a:pt x="78" y="117"/>
                    <a:pt x="77" y="116"/>
                  </a:cubicBezTo>
                  <a:cubicBezTo>
                    <a:pt x="76" y="114"/>
                    <a:pt x="76" y="113"/>
                    <a:pt x="75" y="112"/>
                  </a:cubicBezTo>
                  <a:cubicBezTo>
                    <a:pt x="74" y="112"/>
                    <a:pt x="73" y="113"/>
                    <a:pt x="73" y="113"/>
                  </a:cubicBezTo>
                  <a:cubicBezTo>
                    <a:pt x="73" y="114"/>
                    <a:pt x="72" y="115"/>
                    <a:pt x="73" y="116"/>
                  </a:cubicBezTo>
                  <a:cubicBezTo>
                    <a:pt x="73" y="117"/>
                    <a:pt x="73" y="118"/>
                    <a:pt x="72" y="118"/>
                  </a:cubicBezTo>
                  <a:cubicBezTo>
                    <a:pt x="72" y="119"/>
                    <a:pt x="72" y="119"/>
                    <a:pt x="71" y="119"/>
                  </a:cubicBezTo>
                  <a:cubicBezTo>
                    <a:pt x="70" y="118"/>
                    <a:pt x="70" y="118"/>
                    <a:pt x="70" y="117"/>
                  </a:cubicBezTo>
                  <a:cubicBezTo>
                    <a:pt x="69" y="117"/>
                    <a:pt x="69" y="117"/>
                    <a:pt x="69" y="116"/>
                  </a:cubicBezTo>
                  <a:cubicBezTo>
                    <a:pt x="68" y="116"/>
                    <a:pt x="67" y="115"/>
                    <a:pt x="67" y="115"/>
                  </a:cubicBezTo>
                  <a:cubicBezTo>
                    <a:pt x="67" y="115"/>
                    <a:pt x="65" y="114"/>
                    <a:pt x="65" y="115"/>
                  </a:cubicBezTo>
                  <a:cubicBezTo>
                    <a:pt x="65" y="115"/>
                    <a:pt x="65" y="116"/>
                    <a:pt x="66" y="116"/>
                  </a:cubicBezTo>
                  <a:cubicBezTo>
                    <a:pt x="66" y="117"/>
                    <a:pt x="66" y="117"/>
                    <a:pt x="66" y="118"/>
                  </a:cubicBezTo>
                  <a:cubicBezTo>
                    <a:pt x="66" y="118"/>
                    <a:pt x="66" y="119"/>
                    <a:pt x="66" y="119"/>
                  </a:cubicBezTo>
                  <a:cubicBezTo>
                    <a:pt x="66" y="119"/>
                    <a:pt x="65" y="118"/>
                    <a:pt x="64" y="118"/>
                  </a:cubicBezTo>
                  <a:cubicBezTo>
                    <a:pt x="64" y="118"/>
                    <a:pt x="62" y="120"/>
                    <a:pt x="62" y="120"/>
                  </a:cubicBezTo>
                  <a:cubicBezTo>
                    <a:pt x="62" y="120"/>
                    <a:pt x="62" y="120"/>
                    <a:pt x="62" y="121"/>
                  </a:cubicBezTo>
                  <a:cubicBezTo>
                    <a:pt x="63" y="121"/>
                    <a:pt x="62" y="122"/>
                    <a:pt x="63" y="123"/>
                  </a:cubicBezTo>
                  <a:cubicBezTo>
                    <a:pt x="63" y="124"/>
                    <a:pt x="63" y="125"/>
                    <a:pt x="64" y="125"/>
                  </a:cubicBezTo>
                  <a:cubicBezTo>
                    <a:pt x="65" y="126"/>
                    <a:pt x="69" y="124"/>
                    <a:pt x="69" y="124"/>
                  </a:cubicBezTo>
                  <a:cubicBezTo>
                    <a:pt x="69" y="124"/>
                    <a:pt x="71" y="126"/>
                    <a:pt x="71" y="126"/>
                  </a:cubicBezTo>
                  <a:cubicBezTo>
                    <a:pt x="71" y="126"/>
                    <a:pt x="71" y="128"/>
                    <a:pt x="71" y="128"/>
                  </a:cubicBezTo>
                  <a:cubicBezTo>
                    <a:pt x="71" y="128"/>
                    <a:pt x="71" y="128"/>
                    <a:pt x="70" y="128"/>
                  </a:cubicBezTo>
                  <a:cubicBezTo>
                    <a:pt x="69" y="128"/>
                    <a:pt x="68" y="127"/>
                    <a:pt x="68" y="128"/>
                  </a:cubicBezTo>
                  <a:cubicBezTo>
                    <a:pt x="68" y="129"/>
                    <a:pt x="68" y="131"/>
                    <a:pt x="68" y="131"/>
                  </a:cubicBezTo>
                  <a:cubicBezTo>
                    <a:pt x="69" y="132"/>
                    <a:pt x="69" y="134"/>
                    <a:pt x="70" y="134"/>
                  </a:cubicBezTo>
                  <a:cubicBezTo>
                    <a:pt x="72" y="135"/>
                    <a:pt x="72" y="135"/>
                    <a:pt x="73" y="135"/>
                  </a:cubicBezTo>
                  <a:cubicBezTo>
                    <a:pt x="74" y="134"/>
                    <a:pt x="73" y="133"/>
                    <a:pt x="74" y="134"/>
                  </a:cubicBezTo>
                  <a:cubicBezTo>
                    <a:pt x="75" y="134"/>
                    <a:pt x="76" y="134"/>
                    <a:pt x="77" y="135"/>
                  </a:cubicBezTo>
                  <a:cubicBezTo>
                    <a:pt x="77" y="136"/>
                    <a:pt x="76" y="136"/>
                    <a:pt x="76" y="136"/>
                  </a:cubicBezTo>
                  <a:cubicBezTo>
                    <a:pt x="76" y="136"/>
                    <a:pt x="75" y="136"/>
                    <a:pt x="75" y="136"/>
                  </a:cubicBezTo>
                  <a:cubicBezTo>
                    <a:pt x="75" y="137"/>
                    <a:pt x="74" y="137"/>
                    <a:pt x="75" y="137"/>
                  </a:cubicBezTo>
                  <a:cubicBezTo>
                    <a:pt x="77" y="138"/>
                    <a:pt x="78" y="137"/>
                    <a:pt x="78" y="137"/>
                  </a:cubicBezTo>
                  <a:cubicBezTo>
                    <a:pt x="78" y="137"/>
                    <a:pt x="79" y="136"/>
                    <a:pt x="79" y="137"/>
                  </a:cubicBezTo>
                  <a:cubicBezTo>
                    <a:pt x="79" y="137"/>
                    <a:pt x="78" y="138"/>
                    <a:pt x="78" y="138"/>
                  </a:cubicBezTo>
                  <a:cubicBezTo>
                    <a:pt x="77" y="139"/>
                    <a:pt x="77" y="139"/>
                    <a:pt x="77" y="140"/>
                  </a:cubicBezTo>
                  <a:cubicBezTo>
                    <a:pt x="77" y="140"/>
                    <a:pt x="76" y="141"/>
                    <a:pt x="76" y="141"/>
                  </a:cubicBezTo>
                  <a:cubicBezTo>
                    <a:pt x="76" y="142"/>
                    <a:pt x="74" y="145"/>
                    <a:pt x="77" y="143"/>
                  </a:cubicBezTo>
                  <a:cubicBezTo>
                    <a:pt x="80" y="141"/>
                    <a:pt x="80" y="141"/>
                    <a:pt x="80" y="140"/>
                  </a:cubicBezTo>
                  <a:cubicBezTo>
                    <a:pt x="80" y="140"/>
                    <a:pt x="80" y="140"/>
                    <a:pt x="81" y="139"/>
                  </a:cubicBezTo>
                  <a:cubicBezTo>
                    <a:pt x="83" y="138"/>
                    <a:pt x="84" y="138"/>
                    <a:pt x="84" y="138"/>
                  </a:cubicBezTo>
                  <a:cubicBezTo>
                    <a:pt x="84" y="137"/>
                    <a:pt x="85" y="137"/>
                    <a:pt x="85" y="138"/>
                  </a:cubicBezTo>
                  <a:cubicBezTo>
                    <a:pt x="84" y="139"/>
                    <a:pt x="84" y="138"/>
                    <a:pt x="84" y="139"/>
                  </a:cubicBezTo>
                  <a:cubicBezTo>
                    <a:pt x="85" y="140"/>
                    <a:pt x="85" y="140"/>
                    <a:pt x="86" y="140"/>
                  </a:cubicBezTo>
                  <a:cubicBezTo>
                    <a:pt x="86" y="140"/>
                    <a:pt x="87" y="141"/>
                    <a:pt x="87" y="141"/>
                  </a:cubicBezTo>
                  <a:cubicBezTo>
                    <a:pt x="87" y="141"/>
                    <a:pt x="85" y="140"/>
                    <a:pt x="84" y="140"/>
                  </a:cubicBezTo>
                  <a:cubicBezTo>
                    <a:pt x="84" y="140"/>
                    <a:pt x="83" y="140"/>
                    <a:pt x="83" y="140"/>
                  </a:cubicBezTo>
                  <a:cubicBezTo>
                    <a:pt x="83" y="140"/>
                    <a:pt x="82" y="141"/>
                    <a:pt x="82" y="141"/>
                  </a:cubicBezTo>
                  <a:cubicBezTo>
                    <a:pt x="82" y="142"/>
                    <a:pt x="82" y="142"/>
                    <a:pt x="82" y="142"/>
                  </a:cubicBezTo>
                  <a:cubicBezTo>
                    <a:pt x="82" y="142"/>
                    <a:pt x="83" y="143"/>
                    <a:pt x="83" y="143"/>
                  </a:cubicBezTo>
                  <a:cubicBezTo>
                    <a:pt x="83" y="144"/>
                    <a:pt x="83" y="144"/>
                    <a:pt x="82" y="144"/>
                  </a:cubicBezTo>
                  <a:cubicBezTo>
                    <a:pt x="81" y="144"/>
                    <a:pt x="82" y="143"/>
                    <a:pt x="80" y="143"/>
                  </a:cubicBezTo>
                  <a:cubicBezTo>
                    <a:pt x="79" y="144"/>
                    <a:pt x="79" y="142"/>
                    <a:pt x="78" y="144"/>
                  </a:cubicBezTo>
                  <a:cubicBezTo>
                    <a:pt x="78" y="147"/>
                    <a:pt x="77" y="147"/>
                    <a:pt x="77" y="147"/>
                  </a:cubicBezTo>
                  <a:cubicBezTo>
                    <a:pt x="77" y="147"/>
                    <a:pt x="77" y="147"/>
                    <a:pt x="77" y="148"/>
                  </a:cubicBezTo>
                  <a:cubicBezTo>
                    <a:pt x="77" y="148"/>
                    <a:pt x="77" y="148"/>
                    <a:pt x="79" y="149"/>
                  </a:cubicBezTo>
                  <a:cubicBezTo>
                    <a:pt x="80" y="150"/>
                    <a:pt x="81" y="151"/>
                    <a:pt x="81" y="151"/>
                  </a:cubicBezTo>
                  <a:cubicBezTo>
                    <a:pt x="81" y="151"/>
                    <a:pt x="80" y="151"/>
                    <a:pt x="79" y="151"/>
                  </a:cubicBezTo>
                  <a:cubicBezTo>
                    <a:pt x="78" y="152"/>
                    <a:pt x="77" y="152"/>
                    <a:pt x="76" y="152"/>
                  </a:cubicBezTo>
                  <a:cubicBezTo>
                    <a:pt x="76" y="153"/>
                    <a:pt x="75" y="153"/>
                    <a:pt x="74" y="153"/>
                  </a:cubicBezTo>
                  <a:cubicBezTo>
                    <a:pt x="74" y="153"/>
                    <a:pt x="72" y="153"/>
                    <a:pt x="71" y="153"/>
                  </a:cubicBezTo>
                  <a:cubicBezTo>
                    <a:pt x="70" y="153"/>
                    <a:pt x="69" y="153"/>
                    <a:pt x="68" y="154"/>
                  </a:cubicBezTo>
                  <a:cubicBezTo>
                    <a:pt x="68" y="154"/>
                    <a:pt x="68" y="155"/>
                    <a:pt x="68" y="155"/>
                  </a:cubicBezTo>
                  <a:cubicBezTo>
                    <a:pt x="68" y="155"/>
                    <a:pt x="67" y="155"/>
                    <a:pt x="68" y="156"/>
                  </a:cubicBezTo>
                  <a:cubicBezTo>
                    <a:pt x="69" y="156"/>
                    <a:pt x="72" y="156"/>
                    <a:pt x="72" y="156"/>
                  </a:cubicBezTo>
                  <a:cubicBezTo>
                    <a:pt x="73" y="156"/>
                    <a:pt x="73" y="157"/>
                    <a:pt x="73" y="157"/>
                  </a:cubicBezTo>
                  <a:cubicBezTo>
                    <a:pt x="71" y="157"/>
                    <a:pt x="71" y="157"/>
                    <a:pt x="71" y="157"/>
                  </a:cubicBezTo>
                  <a:cubicBezTo>
                    <a:pt x="71" y="157"/>
                    <a:pt x="70" y="156"/>
                    <a:pt x="69" y="156"/>
                  </a:cubicBezTo>
                  <a:cubicBezTo>
                    <a:pt x="69" y="157"/>
                    <a:pt x="66" y="157"/>
                    <a:pt x="66" y="157"/>
                  </a:cubicBezTo>
                  <a:cubicBezTo>
                    <a:pt x="66" y="157"/>
                    <a:pt x="65" y="159"/>
                    <a:pt x="65" y="159"/>
                  </a:cubicBezTo>
                  <a:cubicBezTo>
                    <a:pt x="65" y="160"/>
                    <a:pt x="65" y="161"/>
                    <a:pt x="66" y="162"/>
                  </a:cubicBezTo>
                  <a:cubicBezTo>
                    <a:pt x="67" y="163"/>
                    <a:pt x="67" y="164"/>
                    <a:pt x="67" y="164"/>
                  </a:cubicBezTo>
                  <a:cubicBezTo>
                    <a:pt x="67" y="165"/>
                    <a:pt x="67" y="164"/>
                    <a:pt x="67" y="165"/>
                  </a:cubicBezTo>
                  <a:cubicBezTo>
                    <a:pt x="67" y="166"/>
                    <a:pt x="65" y="167"/>
                    <a:pt x="65" y="167"/>
                  </a:cubicBezTo>
                  <a:cubicBezTo>
                    <a:pt x="65" y="167"/>
                    <a:pt x="65" y="167"/>
                    <a:pt x="65" y="168"/>
                  </a:cubicBezTo>
                  <a:cubicBezTo>
                    <a:pt x="64" y="170"/>
                    <a:pt x="63" y="172"/>
                    <a:pt x="64" y="172"/>
                  </a:cubicBezTo>
                  <a:cubicBezTo>
                    <a:pt x="65" y="172"/>
                    <a:pt x="65" y="173"/>
                    <a:pt x="67" y="172"/>
                  </a:cubicBezTo>
                  <a:cubicBezTo>
                    <a:pt x="69" y="172"/>
                    <a:pt x="66" y="171"/>
                    <a:pt x="70" y="172"/>
                  </a:cubicBezTo>
                  <a:cubicBezTo>
                    <a:pt x="73" y="172"/>
                    <a:pt x="73" y="172"/>
                    <a:pt x="74" y="172"/>
                  </a:cubicBezTo>
                  <a:cubicBezTo>
                    <a:pt x="75" y="171"/>
                    <a:pt x="75" y="171"/>
                    <a:pt x="76" y="171"/>
                  </a:cubicBezTo>
                  <a:cubicBezTo>
                    <a:pt x="76" y="170"/>
                    <a:pt x="74" y="170"/>
                    <a:pt x="77" y="169"/>
                  </a:cubicBezTo>
                  <a:cubicBezTo>
                    <a:pt x="79" y="168"/>
                    <a:pt x="79" y="168"/>
                    <a:pt x="79" y="168"/>
                  </a:cubicBezTo>
                  <a:cubicBezTo>
                    <a:pt x="79" y="168"/>
                    <a:pt x="78" y="166"/>
                    <a:pt x="80" y="168"/>
                  </a:cubicBezTo>
                  <a:cubicBezTo>
                    <a:pt x="82" y="170"/>
                    <a:pt x="81" y="170"/>
                    <a:pt x="81" y="170"/>
                  </a:cubicBezTo>
                  <a:cubicBezTo>
                    <a:pt x="80" y="172"/>
                    <a:pt x="80" y="172"/>
                    <a:pt x="80" y="172"/>
                  </a:cubicBezTo>
                  <a:cubicBezTo>
                    <a:pt x="80" y="173"/>
                    <a:pt x="80" y="173"/>
                    <a:pt x="80" y="173"/>
                  </a:cubicBezTo>
                  <a:cubicBezTo>
                    <a:pt x="80" y="173"/>
                    <a:pt x="79" y="173"/>
                    <a:pt x="78" y="174"/>
                  </a:cubicBezTo>
                  <a:cubicBezTo>
                    <a:pt x="77" y="176"/>
                    <a:pt x="75" y="179"/>
                    <a:pt x="74" y="179"/>
                  </a:cubicBezTo>
                  <a:cubicBezTo>
                    <a:pt x="74" y="179"/>
                    <a:pt x="75" y="179"/>
                    <a:pt x="73" y="180"/>
                  </a:cubicBezTo>
                  <a:cubicBezTo>
                    <a:pt x="72" y="181"/>
                    <a:pt x="71" y="182"/>
                    <a:pt x="69" y="183"/>
                  </a:cubicBezTo>
                  <a:cubicBezTo>
                    <a:pt x="68" y="184"/>
                    <a:pt x="68" y="183"/>
                    <a:pt x="67" y="184"/>
                  </a:cubicBezTo>
                  <a:cubicBezTo>
                    <a:pt x="67" y="184"/>
                    <a:pt x="67" y="186"/>
                    <a:pt x="67" y="186"/>
                  </a:cubicBezTo>
                  <a:cubicBezTo>
                    <a:pt x="66" y="187"/>
                    <a:pt x="66" y="187"/>
                    <a:pt x="66" y="187"/>
                  </a:cubicBezTo>
                  <a:cubicBezTo>
                    <a:pt x="63" y="188"/>
                    <a:pt x="63" y="188"/>
                    <a:pt x="63" y="188"/>
                  </a:cubicBezTo>
                  <a:cubicBezTo>
                    <a:pt x="61" y="187"/>
                    <a:pt x="61" y="187"/>
                    <a:pt x="61" y="187"/>
                  </a:cubicBezTo>
                  <a:cubicBezTo>
                    <a:pt x="59" y="189"/>
                    <a:pt x="59" y="189"/>
                    <a:pt x="59" y="189"/>
                  </a:cubicBezTo>
                  <a:cubicBezTo>
                    <a:pt x="59" y="189"/>
                    <a:pt x="57" y="188"/>
                    <a:pt x="56" y="188"/>
                  </a:cubicBezTo>
                  <a:cubicBezTo>
                    <a:pt x="55" y="188"/>
                    <a:pt x="55" y="189"/>
                    <a:pt x="55" y="189"/>
                  </a:cubicBezTo>
                  <a:cubicBezTo>
                    <a:pt x="55" y="189"/>
                    <a:pt x="54" y="190"/>
                    <a:pt x="54" y="191"/>
                  </a:cubicBezTo>
                  <a:cubicBezTo>
                    <a:pt x="53" y="192"/>
                    <a:pt x="53" y="195"/>
                    <a:pt x="53" y="195"/>
                  </a:cubicBezTo>
                  <a:cubicBezTo>
                    <a:pt x="51" y="196"/>
                    <a:pt x="51" y="196"/>
                    <a:pt x="51" y="196"/>
                  </a:cubicBezTo>
                  <a:cubicBezTo>
                    <a:pt x="51" y="196"/>
                    <a:pt x="51" y="198"/>
                    <a:pt x="52" y="197"/>
                  </a:cubicBezTo>
                  <a:cubicBezTo>
                    <a:pt x="53" y="196"/>
                    <a:pt x="54" y="195"/>
                    <a:pt x="55" y="194"/>
                  </a:cubicBezTo>
                  <a:cubicBezTo>
                    <a:pt x="56" y="194"/>
                    <a:pt x="57" y="193"/>
                    <a:pt x="57" y="193"/>
                  </a:cubicBezTo>
                  <a:cubicBezTo>
                    <a:pt x="57" y="195"/>
                    <a:pt x="57" y="195"/>
                    <a:pt x="57" y="195"/>
                  </a:cubicBezTo>
                  <a:cubicBezTo>
                    <a:pt x="56" y="198"/>
                    <a:pt x="56" y="198"/>
                    <a:pt x="56" y="198"/>
                  </a:cubicBezTo>
                  <a:cubicBezTo>
                    <a:pt x="55" y="199"/>
                    <a:pt x="55" y="199"/>
                    <a:pt x="55" y="199"/>
                  </a:cubicBezTo>
                  <a:cubicBezTo>
                    <a:pt x="54" y="200"/>
                    <a:pt x="54" y="200"/>
                    <a:pt x="54" y="200"/>
                  </a:cubicBezTo>
                  <a:cubicBezTo>
                    <a:pt x="54" y="200"/>
                    <a:pt x="53" y="204"/>
                    <a:pt x="54" y="203"/>
                  </a:cubicBezTo>
                  <a:cubicBezTo>
                    <a:pt x="56" y="202"/>
                    <a:pt x="55" y="202"/>
                    <a:pt x="57" y="202"/>
                  </a:cubicBezTo>
                  <a:cubicBezTo>
                    <a:pt x="58" y="201"/>
                    <a:pt x="58" y="200"/>
                    <a:pt x="61" y="200"/>
                  </a:cubicBezTo>
                  <a:cubicBezTo>
                    <a:pt x="63" y="200"/>
                    <a:pt x="63" y="198"/>
                    <a:pt x="63" y="198"/>
                  </a:cubicBezTo>
                  <a:cubicBezTo>
                    <a:pt x="63" y="197"/>
                    <a:pt x="63" y="196"/>
                    <a:pt x="63" y="196"/>
                  </a:cubicBezTo>
                  <a:cubicBezTo>
                    <a:pt x="63" y="195"/>
                    <a:pt x="62" y="194"/>
                    <a:pt x="64" y="194"/>
                  </a:cubicBezTo>
                  <a:cubicBezTo>
                    <a:pt x="66" y="193"/>
                    <a:pt x="65" y="194"/>
                    <a:pt x="66" y="193"/>
                  </a:cubicBezTo>
                  <a:cubicBezTo>
                    <a:pt x="66" y="193"/>
                    <a:pt x="66" y="194"/>
                    <a:pt x="67" y="192"/>
                  </a:cubicBezTo>
                  <a:cubicBezTo>
                    <a:pt x="67" y="190"/>
                    <a:pt x="67" y="191"/>
                    <a:pt x="68" y="189"/>
                  </a:cubicBezTo>
                  <a:cubicBezTo>
                    <a:pt x="70" y="188"/>
                    <a:pt x="69" y="188"/>
                    <a:pt x="70" y="188"/>
                  </a:cubicBezTo>
                  <a:cubicBezTo>
                    <a:pt x="70" y="187"/>
                    <a:pt x="70" y="187"/>
                    <a:pt x="71" y="187"/>
                  </a:cubicBezTo>
                  <a:cubicBezTo>
                    <a:pt x="72" y="186"/>
                    <a:pt x="72" y="186"/>
                    <a:pt x="72" y="185"/>
                  </a:cubicBezTo>
                  <a:cubicBezTo>
                    <a:pt x="72" y="185"/>
                    <a:pt x="75" y="183"/>
                    <a:pt x="75" y="183"/>
                  </a:cubicBezTo>
                  <a:cubicBezTo>
                    <a:pt x="75" y="182"/>
                    <a:pt x="75" y="182"/>
                    <a:pt x="75" y="182"/>
                  </a:cubicBezTo>
                  <a:cubicBezTo>
                    <a:pt x="78" y="179"/>
                    <a:pt x="78" y="179"/>
                    <a:pt x="78" y="179"/>
                  </a:cubicBezTo>
                  <a:cubicBezTo>
                    <a:pt x="78" y="179"/>
                    <a:pt x="79" y="179"/>
                    <a:pt x="78" y="180"/>
                  </a:cubicBezTo>
                  <a:cubicBezTo>
                    <a:pt x="78" y="181"/>
                    <a:pt x="77" y="182"/>
                    <a:pt x="77" y="182"/>
                  </a:cubicBezTo>
                  <a:cubicBezTo>
                    <a:pt x="77" y="184"/>
                    <a:pt x="77" y="184"/>
                    <a:pt x="77" y="184"/>
                  </a:cubicBezTo>
                  <a:cubicBezTo>
                    <a:pt x="75" y="186"/>
                    <a:pt x="75" y="186"/>
                    <a:pt x="75" y="186"/>
                  </a:cubicBezTo>
                  <a:cubicBezTo>
                    <a:pt x="75" y="186"/>
                    <a:pt x="76" y="187"/>
                    <a:pt x="75" y="187"/>
                  </a:cubicBezTo>
                  <a:cubicBezTo>
                    <a:pt x="74" y="188"/>
                    <a:pt x="73" y="189"/>
                    <a:pt x="73" y="189"/>
                  </a:cubicBezTo>
                  <a:cubicBezTo>
                    <a:pt x="73" y="191"/>
                    <a:pt x="73" y="191"/>
                    <a:pt x="73" y="191"/>
                  </a:cubicBezTo>
                  <a:cubicBezTo>
                    <a:pt x="73" y="191"/>
                    <a:pt x="73" y="191"/>
                    <a:pt x="73" y="191"/>
                  </a:cubicBezTo>
                  <a:cubicBezTo>
                    <a:pt x="72" y="194"/>
                    <a:pt x="72" y="194"/>
                    <a:pt x="72" y="194"/>
                  </a:cubicBezTo>
                  <a:cubicBezTo>
                    <a:pt x="74" y="196"/>
                    <a:pt x="74" y="196"/>
                    <a:pt x="74" y="196"/>
                  </a:cubicBezTo>
                  <a:cubicBezTo>
                    <a:pt x="74" y="197"/>
                    <a:pt x="74" y="197"/>
                    <a:pt x="74" y="197"/>
                  </a:cubicBezTo>
                  <a:cubicBezTo>
                    <a:pt x="74" y="197"/>
                    <a:pt x="73" y="198"/>
                    <a:pt x="73" y="199"/>
                  </a:cubicBezTo>
                  <a:cubicBezTo>
                    <a:pt x="72" y="199"/>
                    <a:pt x="70" y="202"/>
                    <a:pt x="70" y="202"/>
                  </a:cubicBezTo>
                  <a:cubicBezTo>
                    <a:pt x="69" y="204"/>
                    <a:pt x="69" y="204"/>
                    <a:pt x="69" y="204"/>
                  </a:cubicBezTo>
                  <a:cubicBezTo>
                    <a:pt x="68" y="206"/>
                    <a:pt x="68" y="206"/>
                    <a:pt x="68" y="206"/>
                  </a:cubicBezTo>
                  <a:cubicBezTo>
                    <a:pt x="67" y="209"/>
                    <a:pt x="67" y="209"/>
                    <a:pt x="67" y="209"/>
                  </a:cubicBezTo>
                  <a:cubicBezTo>
                    <a:pt x="66" y="212"/>
                    <a:pt x="66" y="212"/>
                    <a:pt x="66" y="212"/>
                  </a:cubicBezTo>
                  <a:cubicBezTo>
                    <a:pt x="65" y="213"/>
                    <a:pt x="65" y="213"/>
                    <a:pt x="65" y="213"/>
                  </a:cubicBezTo>
                  <a:cubicBezTo>
                    <a:pt x="65" y="213"/>
                    <a:pt x="64" y="215"/>
                    <a:pt x="66" y="215"/>
                  </a:cubicBezTo>
                  <a:cubicBezTo>
                    <a:pt x="67" y="216"/>
                    <a:pt x="67" y="216"/>
                    <a:pt x="68" y="216"/>
                  </a:cubicBezTo>
                  <a:cubicBezTo>
                    <a:pt x="70" y="216"/>
                    <a:pt x="69" y="216"/>
                    <a:pt x="70" y="216"/>
                  </a:cubicBezTo>
                  <a:cubicBezTo>
                    <a:pt x="70" y="216"/>
                    <a:pt x="72" y="216"/>
                    <a:pt x="72" y="214"/>
                  </a:cubicBezTo>
                  <a:cubicBezTo>
                    <a:pt x="72" y="213"/>
                    <a:pt x="72" y="211"/>
                    <a:pt x="72" y="211"/>
                  </a:cubicBezTo>
                  <a:cubicBezTo>
                    <a:pt x="72" y="210"/>
                    <a:pt x="74" y="208"/>
                    <a:pt x="74" y="208"/>
                  </a:cubicBezTo>
                  <a:cubicBezTo>
                    <a:pt x="74" y="205"/>
                    <a:pt x="74" y="205"/>
                    <a:pt x="74" y="205"/>
                  </a:cubicBezTo>
                  <a:cubicBezTo>
                    <a:pt x="74" y="205"/>
                    <a:pt x="73" y="204"/>
                    <a:pt x="75" y="202"/>
                  </a:cubicBezTo>
                  <a:cubicBezTo>
                    <a:pt x="77" y="201"/>
                    <a:pt x="76" y="202"/>
                    <a:pt x="77" y="201"/>
                  </a:cubicBezTo>
                  <a:cubicBezTo>
                    <a:pt x="77" y="201"/>
                    <a:pt x="78" y="200"/>
                    <a:pt x="78" y="199"/>
                  </a:cubicBezTo>
                  <a:cubicBezTo>
                    <a:pt x="79" y="198"/>
                    <a:pt x="79" y="198"/>
                    <a:pt x="79" y="198"/>
                  </a:cubicBezTo>
                  <a:cubicBezTo>
                    <a:pt x="80" y="197"/>
                    <a:pt x="80" y="197"/>
                    <a:pt x="80" y="197"/>
                  </a:cubicBezTo>
                  <a:cubicBezTo>
                    <a:pt x="79" y="191"/>
                    <a:pt x="79" y="191"/>
                    <a:pt x="79" y="191"/>
                  </a:cubicBezTo>
                  <a:cubicBezTo>
                    <a:pt x="79" y="191"/>
                    <a:pt x="80" y="189"/>
                    <a:pt x="80" y="189"/>
                  </a:cubicBezTo>
                  <a:cubicBezTo>
                    <a:pt x="81" y="188"/>
                    <a:pt x="82" y="189"/>
                    <a:pt x="82" y="189"/>
                  </a:cubicBezTo>
                  <a:cubicBezTo>
                    <a:pt x="82" y="189"/>
                    <a:pt x="82" y="189"/>
                    <a:pt x="81" y="191"/>
                  </a:cubicBezTo>
                  <a:cubicBezTo>
                    <a:pt x="81" y="192"/>
                    <a:pt x="82" y="195"/>
                    <a:pt x="82" y="195"/>
                  </a:cubicBezTo>
                  <a:cubicBezTo>
                    <a:pt x="87" y="200"/>
                    <a:pt x="87" y="200"/>
                    <a:pt x="87" y="200"/>
                  </a:cubicBezTo>
                  <a:cubicBezTo>
                    <a:pt x="87" y="200"/>
                    <a:pt x="90" y="204"/>
                    <a:pt x="90" y="204"/>
                  </a:cubicBezTo>
                  <a:cubicBezTo>
                    <a:pt x="90" y="205"/>
                    <a:pt x="94" y="208"/>
                    <a:pt x="94" y="208"/>
                  </a:cubicBezTo>
                  <a:cubicBezTo>
                    <a:pt x="94" y="208"/>
                    <a:pt x="94" y="209"/>
                    <a:pt x="94" y="210"/>
                  </a:cubicBezTo>
                  <a:cubicBezTo>
                    <a:pt x="94" y="210"/>
                    <a:pt x="95" y="211"/>
                    <a:pt x="94" y="212"/>
                  </a:cubicBezTo>
                  <a:cubicBezTo>
                    <a:pt x="94" y="213"/>
                    <a:pt x="93" y="215"/>
                    <a:pt x="93" y="215"/>
                  </a:cubicBezTo>
                  <a:cubicBezTo>
                    <a:pt x="91" y="216"/>
                    <a:pt x="91" y="216"/>
                    <a:pt x="91" y="216"/>
                  </a:cubicBezTo>
                  <a:cubicBezTo>
                    <a:pt x="89" y="218"/>
                    <a:pt x="89" y="218"/>
                    <a:pt x="89" y="218"/>
                  </a:cubicBezTo>
                  <a:cubicBezTo>
                    <a:pt x="88" y="222"/>
                    <a:pt x="88" y="222"/>
                    <a:pt x="88" y="222"/>
                  </a:cubicBezTo>
                  <a:cubicBezTo>
                    <a:pt x="86" y="224"/>
                    <a:pt x="86" y="224"/>
                    <a:pt x="86" y="224"/>
                  </a:cubicBezTo>
                  <a:cubicBezTo>
                    <a:pt x="83" y="226"/>
                    <a:pt x="83" y="226"/>
                    <a:pt x="83" y="226"/>
                  </a:cubicBezTo>
                  <a:cubicBezTo>
                    <a:pt x="79" y="230"/>
                    <a:pt x="79" y="230"/>
                    <a:pt x="79" y="230"/>
                  </a:cubicBezTo>
                  <a:cubicBezTo>
                    <a:pt x="78" y="233"/>
                    <a:pt x="78" y="233"/>
                    <a:pt x="78" y="233"/>
                  </a:cubicBezTo>
                  <a:cubicBezTo>
                    <a:pt x="75" y="236"/>
                    <a:pt x="75" y="236"/>
                    <a:pt x="75" y="236"/>
                  </a:cubicBezTo>
                  <a:cubicBezTo>
                    <a:pt x="75" y="239"/>
                    <a:pt x="75" y="239"/>
                    <a:pt x="75" y="239"/>
                  </a:cubicBezTo>
                  <a:cubicBezTo>
                    <a:pt x="75" y="239"/>
                    <a:pt x="77" y="242"/>
                    <a:pt x="77" y="242"/>
                  </a:cubicBezTo>
                  <a:cubicBezTo>
                    <a:pt x="78" y="242"/>
                    <a:pt x="79" y="243"/>
                    <a:pt x="79" y="243"/>
                  </a:cubicBezTo>
                  <a:cubicBezTo>
                    <a:pt x="79" y="247"/>
                    <a:pt x="79" y="247"/>
                    <a:pt x="79" y="247"/>
                  </a:cubicBezTo>
                  <a:cubicBezTo>
                    <a:pt x="79" y="247"/>
                    <a:pt x="80" y="249"/>
                    <a:pt x="80" y="249"/>
                  </a:cubicBezTo>
                  <a:cubicBezTo>
                    <a:pt x="81" y="249"/>
                    <a:pt x="82" y="246"/>
                    <a:pt x="82" y="246"/>
                  </a:cubicBezTo>
                  <a:cubicBezTo>
                    <a:pt x="82" y="246"/>
                    <a:pt x="80" y="244"/>
                    <a:pt x="80" y="242"/>
                  </a:cubicBezTo>
                  <a:cubicBezTo>
                    <a:pt x="80" y="241"/>
                    <a:pt x="81" y="238"/>
                    <a:pt x="81" y="238"/>
                  </a:cubicBezTo>
                  <a:cubicBezTo>
                    <a:pt x="83" y="238"/>
                    <a:pt x="83" y="238"/>
                    <a:pt x="83" y="238"/>
                  </a:cubicBezTo>
                  <a:cubicBezTo>
                    <a:pt x="83" y="238"/>
                    <a:pt x="83" y="238"/>
                    <a:pt x="84" y="239"/>
                  </a:cubicBezTo>
                  <a:cubicBezTo>
                    <a:pt x="84" y="240"/>
                    <a:pt x="84" y="239"/>
                    <a:pt x="85" y="240"/>
                  </a:cubicBezTo>
                  <a:cubicBezTo>
                    <a:pt x="85" y="241"/>
                    <a:pt x="88" y="243"/>
                    <a:pt x="88" y="243"/>
                  </a:cubicBezTo>
                  <a:cubicBezTo>
                    <a:pt x="88" y="243"/>
                    <a:pt x="90" y="246"/>
                    <a:pt x="90" y="246"/>
                  </a:cubicBezTo>
                  <a:cubicBezTo>
                    <a:pt x="91" y="247"/>
                    <a:pt x="92" y="249"/>
                    <a:pt x="93" y="249"/>
                  </a:cubicBezTo>
                  <a:cubicBezTo>
                    <a:pt x="94" y="248"/>
                    <a:pt x="94" y="249"/>
                    <a:pt x="95" y="247"/>
                  </a:cubicBezTo>
                  <a:cubicBezTo>
                    <a:pt x="95" y="245"/>
                    <a:pt x="95" y="245"/>
                    <a:pt x="95" y="244"/>
                  </a:cubicBezTo>
                  <a:cubicBezTo>
                    <a:pt x="95" y="243"/>
                    <a:pt x="95" y="241"/>
                    <a:pt x="95" y="241"/>
                  </a:cubicBezTo>
                  <a:cubicBezTo>
                    <a:pt x="95" y="241"/>
                    <a:pt x="94" y="240"/>
                    <a:pt x="96" y="240"/>
                  </a:cubicBezTo>
                  <a:cubicBezTo>
                    <a:pt x="97" y="240"/>
                    <a:pt x="97" y="242"/>
                    <a:pt x="97" y="242"/>
                  </a:cubicBezTo>
                  <a:cubicBezTo>
                    <a:pt x="97" y="242"/>
                    <a:pt x="98" y="244"/>
                    <a:pt x="99" y="245"/>
                  </a:cubicBezTo>
                  <a:cubicBezTo>
                    <a:pt x="100" y="245"/>
                    <a:pt x="100" y="245"/>
                    <a:pt x="101" y="246"/>
                  </a:cubicBezTo>
                  <a:cubicBezTo>
                    <a:pt x="102" y="247"/>
                    <a:pt x="106" y="248"/>
                    <a:pt x="106" y="248"/>
                  </a:cubicBezTo>
                  <a:cubicBezTo>
                    <a:pt x="106" y="248"/>
                    <a:pt x="106" y="247"/>
                    <a:pt x="107" y="247"/>
                  </a:cubicBezTo>
                  <a:cubicBezTo>
                    <a:pt x="108" y="246"/>
                    <a:pt x="109" y="245"/>
                    <a:pt x="109" y="245"/>
                  </a:cubicBezTo>
                  <a:cubicBezTo>
                    <a:pt x="109" y="245"/>
                    <a:pt x="109" y="244"/>
                    <a:pt x="110" y="245"/>
                  </a:cubicBezTo>
                  <a:cubicBezTo>
                    <a:pt x="112" y="245"/>
                    <a:pt x="113" y="245"/>
                    <a:pt x="113" y="245"/>
                  </a:cubicBezTo>
                  <a:cubicBezTo>
                    <a:pt x="114" y="244"/>
                    <a:pt x="115" y="241"/>
                    <a:pt x="115" y="241"/>
                  </a:cubicBezTo>
                  <a:cubicBezTo>
                    <a:pt x="115" y="241"/>
                    <a:pt x="115" y="239"/>
                    <a:pt x="117" y="240"/>
                  </a:cubicBezTo>
                  <a:cubicBezTo>
                    <a:pt x="118" y="241"/>
                    <a:pt x="128" y="243"/>
                    <a:pt x="128" y="243"/>
                  </a:cubicBezTo>
                  <a:cubicBezTo>
                    <a:pt x="127" y="244"/>
                    <a:pt x="127" y="244"/>
                    <a:pt x="127" y="244"/>
                  </a:cubicBezTo>
                  <a:cubicBezTo>
                    <a:pt x="123" y="244"/>
                    <a:pt x="123" y="244"/>
                    <a:pt x="123" y="244"/>
                  </a:cubicBezTo>
                  <a:cubicBezTo>
                    <a:pt x="121" y="244"/>
                    <a:pt x="121" y="244"/>
                    <a:pt x="121" y="244"/>
                  </a:cubicBezTo>
                  <a:cubicBezTo>
                    <a:pt x="121" y="244"/>
                    <a:pt x="120" y="244"/>
                    <a:pt x="120" y="245"/>
                  </a:cubicBezTo>
                  <a:cubicBezTo>
                    <a:pt x="120" y="246"/>
                    <a:pt x="119" y="247"/>
                    <a:pt x="119" y="248"/>
                  </a:cubicBezTo>
                  <a:cubicBezTo>
                    <a:pt x="118" y="249"/>
                    <a:pt x="118" y="249"/>
                    <a:pt x="117" y="250"/>
                  </a:cubicBezTo>
                  <a:cubicBezTo>
                    <a:pt x="117" y="251"/>
                    <a:pt x="114" y="253"/>
                    <a:pt x="114" y="253"/>
                  </a:cubicBezTo>
                  <a:cubicBezTo>
                    <a:pt x="112" y="255"/>
                    <a:pt x="112" y="255"/>
                    <a:pt x="112" y="255"/>
                  </a:cubicBezTo>
                  <a:cubicBezTo>
                    <a:pt x="110" y="259"/>
                    <a:pt x="110" y="259"/>
                    <a:pt x="110" y="259"/>
                  </a:cubicBezTo>
                  <a:cubicBezTo>
                    <a:pt x="110" y="259"/>
                    <a:pt x="111" y="263"/>
                    <a:pt x="111" y="263"/>
                  </a:cubicBezTo>
                  <a:cubicBezTo>
                    <a:pt x="112" y="263"/>
                    <a:pt x="114" y="266"/>
                    <a:pt x="114" y="266"/>
                  </a:cubicBezTo>
                  <a:cubicBezTo>
                    <a:pt x="114" y="266"/>
                    <a:pt x="114" y="267"/>
                    <a:pt x="114" y="268"/>
                  </a:cubicBezTo>
                  <a:cubicBezTo>
                    <a:pt x="114" y="269"/>
                    <a:pt x="114" y="270"/>
                    <a:pt x="115" y="271"/>
                  </a:cubicBezTo>
                  <a:cubicBezTo>
                    <a:pt x="115" y="272"/>
                    <a:pt x="116" y="275"/>
                    <a:pt x="116" y="275"/>
                  </a:cubicBezTo>
                  <a:cubicBezTo>
                    <a:pt x="117" y="276"/>
                    <a:pt x="117" y="276"/>
                    <a:pt x="117" y="276"/>
                  </a:cubicBezTo>
                  <a:cubicBezTo>
                    <a:pt x="117" y="278"/>
                    <a:pt x="117" y="278"/>
                    <a:pt x="117" y="278"/>
                  </a:cubicBezTo>
                  <a:cubicBezTo>
                    <a:pt x="117" y="278"/>
                    <a:pt x="117" y="280"/>
                    <a:pt x="118" y="280"/>
                  </a:cubicBezTo>
                  <a:cubicBezTo>
                    <a:pt x="119" y="280"/>
                    <a:pt x="122" y="278"/>
                    <a:pt x="122" y="278"/>
                  </a:cubicBezTo>
                  <a:cubicBezTo>
                    <a:pt x="128" y="277"/>
                    <a:pt x="128" y="277"/>
                    <a:pt x="128" y="277"/>
                  </a:cubicBezTo>
                  <a:cubicBezTo>
                    <a:pt x="128" y="277"/>
                    <a:pt x="128" y="280"/>
                    <a:pt x="127" y="281"/>
                  </a:cubicBezTo>
                  <a:cubicBezTo>
                    <a:pt x="127" y="282"/>
                    <a:pt x="126" y="282"/>
                    <a:pt x="125" y="283"/>
                  </a:cubicBezTo>
                  <a:cubicBezTo>
                    <a:pt x="125" y="283"/>
                    <a:pt x="125" y="285"/>
                    <a:pt x="125" y="285"/>
                  </a:cubicBezTo>
                  <a:cubicBezTo>
                    <a:pt x="125" y="285"/>
                    <a:pt x="125" y="286"/>
                    <a:pt x="123" y="287"/>
                  </a:cubicBezTo>
                  <a:cubicBezTo>
                    <a:pt x="122" y="287"/>
                    <a:pt x="121" y="287"/>
                    <a:pt x="121" y="287"/>
                  </a:cubicBezTo>
                  <a:cubicBezTo>
                    <a:pt x="121" y="287"/>
                    <a:pt x="119" y="286"/>
                    <a:pt x="119" y="288"/>
                  </a:cubicBezTo>
                  <a:cubicBezTo>
                    <a:pt x="119" y="290"/>
                    <a:pt x="118" y="291"/>
                    <a:pt x="118" y="292"/>
                  </a:cubicBezTo>
                  <a:cubicBezTo>
                    <a:pt x="118" y="293"/>
                    <a:pt x="116" y="294"/>
                    <a:pt x="118" y="295"/>
                  </a:cubicBezTo>
                  <a:cubicBezTo>
                    <a:pt x="120" y="295"/>
                    <a:pt x="120" y="297"/>
                    <a:pt x="120" y="297"/>
                  </a:cubicBezTo>
                  <a:cubicBezTo>
                    <a:pt x="120" y="297"/>
                    <a:pt x="119" y="299"/>
                    <a:pt x="118" y="300"/>
                  </a:cubicBezTo>
                  <a:cubicBezTo>
                    <a:pt x="117" y="300"/>
                    <a:pt x="116" y="300"/>
                    <a:pt x="116" y="301"/>
                  </a:cubicBezTo>
                  <a:cubicBezTo>
                    <a:pt x="116" y="302"/>
                    <a:pt x="117" y="306"/>
                    <a:pt x="117" y="306"/>
                  </a:cubicBezTo>
                  <a:cubicBezTo>
                    <a:pt x="117" y="306"/>
                    <a:pt x="118" y="308"/>
                    <a:pt x="116" y="308"/>
                  </a:cubicBezTo>
                  <a:cubicBezTo>
                    <a:pt x="115" y="307"/>
                    <a:pt x="115" y="307"/>
                    <a:pt x="114" y="307"/>
                  </a:cubicBezTo>
                  <a:cubicBezTo>
                    <a:pt x="113" y="307"/>
                    <a:pt x="113" y="308"/>
                    <a:pt x="113" y="308"/>
                  </a:cubicBezTo>
                  <a:cubicBezTo>
                    <a:pt x="113" y="308"/>
                    <a:pt x="113" y="308"/>
                    <a:pt x="113" y="310"/>
                  </a:cubicBezTo>
                  <a:cubicBezTo>
                    <a:pt x="113" y="311"/>
                    <a:pt x="113" y="313"/>
                    <a:pt x="113" y="313"/>
                  </a:cubicBezTo>
                  <a:cubicBezTo>
                    <a:pt x="111" y="313"/>
                    <a:pt x="111" y="313"/>
                    <a:pt x="111" y="313"/>
                  </a:cubicBezTo>
                  <a:cubicBezTo>
                    <a:pt x="109" y="310"/>
                    <a:pt x="109" y="310"/>
                    <a:pt x="109" y="310"/>
                  </a:cubicBezTo>
                  <a:cubicBezTo>
                    <a:pt x="109" y="310"/>
                    <a:pt x="106" y="310"/>
                    <a:pt x="105" y="310"/>
                  </a:cubicBezTo>
                  <a:cubicBezTo>
                    <a:pt x="104" y="310"/>
                    <a:pt x="102" y="311"/>
                    <a:pt x="102" y="311"/>
                  </a:cubicBezTo>
                  <a:cubicBezTo>
                    <a:pt x="102" y="311"/>
                    <a:pt x="98" y="309"/>
                    <a:pt x="97" y="308"/>
                  </a:cubicBezTo>
                  <a:cubicBezTo>
                    <a:pt x="97" y="308"/>
                    <a:pt x="97" y="307"/>
                    <a:pt x="96" y="308"/>
                  </a:cubicBezTo>
                  <a:cubicBezTo>
                    <a:pt x="96" y="309"/>
                    <a:pt x="97" y="308"/>
                    <a:pt x="96" y="309"/>
                  </a:cubicBezTo>
                  <a:cubicBezTo>
                    <a:pt x="95" y="309"/>
                    <a:pt x="97" y="309"/>
                    <a:pt x="94" y="309"/>
                  </a:cubicBezTo>
                  <a:cubicBezTo>
                    <a:pt x="91" y="310"/>
                    <a:pt x="87" y="311"/>
                    <a:pt x="87" y="311"/>
                  </a:cubicBezTo>
                  <a:cubicBezTo>
                    <a:pt x="87" y="311"/>
                    <a:pt x="90" y="308"/>
                    <a:pt x="89" y="308"/>
                  </a:cubicBezTo>
                  <a:cubicBezTo>
                    <a:pt x="88" y="307"/>
                    <a:pt x="89" y="307"/>
                    <a:pt x="88" y="307"/>
                  </a:cubicBezTo>
                  <a:cubicBezTo>
                    <a:pt x="86" y="306"/>
                    <a:pt x="85" y="304"/>
                    <a:pt x="85" y="304"/>
                  </a:cubicBezTo>
                  <a:cubicBezTo>
                    <a:pt x="85" y="303"/>
                    <a:pt x="85" y="301"/>
                    <a:pt x="84" y="301"/>
                  </a:cubicBezTo>
                  <a:cubicBezTo>
                    <a:pt x="82" y="301"/>
                    <a:pt x="82" y="299"/>
                    <a:pt x="80" y="301"/>
                  </a:cubicBezTo>
                  <a:cubicBezTo>
                    <a:pt x="79" y="302"/>
                    <a:pt x="79" y="302"/>
                    <a:pt x="78" y="303"/>
                  </a:cubicBezTo>
                  <a:cubicBezTo>
                    <a:pt x="78" y="304"/>
                    <a:pt x="74" y="304"/>
                    <a:pt x="74" y="304"/>
                  </a:cubicBezTo>
                  <a:cubicBezTo>
                    <a:pt x="74" y="304"/>
                    <a:pt x="77" y="308"/>
                    <a:pt x="77" y="309"/>
                  </a:cubicBezTo>
                  <a:cubicBezTo>
                    <a:pt x="77" y="309"/>
                    <a:pt x="78" y="313"/>
                    <a:pt x="78" y="313"/>
                  </a:cubicBezTo>
                  <a:cubicBezTo>
                    <a:pt x="84" y="312"/>
                    <a:pt x="84" y="312"/>
                    <a:pt x="84" y="312"/>
                  </a:cubicBezTo>
                  <a:cubicBezTo>
                    <a:pt x="84" y="312"/>
                    <a:pt x="80" y="314"/>
                    <a:pt x="80" y="315"/>
                  </a:cubicBezTo>
                  <a:cubicBezTo>
                    <a:pt x="79" y="317"/>
                    <a:pt x="79" y="317"/>
                    <a:pt x="79" y="318"/>
                  </a:cubicBezTo>
                  <a:cubicBezTo>
                    <a:pt x="78" y="319"/>
                    <a:pt x="78" y="320"/>
                    <a:pt x="76" y="320"/>
                  </a:cubicBezTo>
                  <a:cubicBezTo>
                    <a:pt x="74" y="321"/>
                    <a:pt x="71" y="321"/>
                    <a:pt x="70" y="322"/>
                  </a:cubicBezTo>
                  <a:cubicBezTo>
                    <a:pt x="69" y="323"/>
                    <a:pt x="68" y="323"/>
                    <a:pt x="68" y="324"/>
                  </a:cubicBezTo>
                  <a:cubicBezTo>
                    <a:pt x="68" y="325"/>
                    <a:pt x="64" y="325"/>
                    <a:pt x="68" y="326"/>
                  </a:cubicBezTo>
                  <a:cubicBezTo>
                    <a:pt x="73" y="327"/>
                    <a:pt x="74" y="327"/>
                    <a:pt x="74" y="327"/>
                  </a:cubicBezTo>
                  <a:cubicBezTo>
                    <a:pt x="74" y="327"/>
                    <a:pt x="76" y="325"/>
                    <a:pt x="77" y="324"/>
                  </a:cubicBezTo>
                  <a:cubicBezTo>
                    <a:pt x="79" y="323"/>
                    <a:pt x="79" y="323"/>
                    <a:pt x="82" y="323"/>
                  </a:cubicBezTo>
                  <a:cubicBezTo>
                    <a:pt x="85" y="324"/>
                    <a:pt x="85" y="323"/>
                    <a:pt x="85" y="324"/>
                  </a:cubicBezTo>
                  <a:cubicBezTo>
                    <a:pt x="85" y="325"/>
                    <a:pt x="85" y="326"/>
                    <a:pt x="85" y="327"/>
                  </a:cubicBezTo>
                  <a:cubicBezTo>
                    <a:pt x="84" y="329"/>
                    <a:pt x="83" y="330"/>
                    <a:pt x="84" y="332"/>
                  </a:cubicBezTo>
                  <a:cubicBezTo>
                    <a:pt x="86" y="334"/>
                    <a:pt x="83" y="336"/>
                    <a:pt x="83" y="336"/>
                  </a:cubicBezTo>
                  <a:cubicBezTo>
                    <a:pt x="83" y="336"/>
                    <a:pt x="82" y="339"/>
                    <a:pt x="83" y="339"/>
                  </a:cubicBezTo>
                  <a:cubicBezTo>
                    <a:pt x="83" y="339"/>
                    <a:pt x="84" y="340"/>
                    <a:pt x="84" y="340"/>
                  </a:cubicBezTo>
                  <a:cubicBezTo>
                    <a:pt x="84" y="340"/>
                    <a:pt x="82" y="344"/>
                    <a:pt x="82" y="344"/>
                  </a:cubicBezTo>
                  <a:cubicBezTo>
                    <a:pt x="82" y="345"/>
                    <a:pt x="79" y="350"/>
                    <a:pt x="79" y="350"/>
                  </a:cubicBezTo>
                  <a:cubicBezTo>
                    <a:pt x="78" y="350"/>
                    <a:pt x="79" y="350"/>
                    <a:pt x="75" y="352"/>
                  </a:cubicBezTo>
                  <a:cubicBezTo>
                    <a:pt x="70" y="353"/>
                    <a:pt x="67" y="354"/>
                    <a:pt x="67" y="354"/>
                  </a:cubicBezTo>
                  <a:cubicBezTo>
                    <a:pt x="63" y="355"/>
                    <a:pt x="63" y="355"/>
                    <a:pt x="63" y="355"/>
                  </a:cubicBezTo>
                  <a:cubicBezTo>
                    <a:pt x="60" y="357"/>
                    <a:pt x="60" y="357"/>
                    <a:pt x="60" y="357"/>
                  </a:cubicBezTo>
                  <a:cubicBezTo>
                    <a:pt x="58" y="357"/>
                    <a:pt x="58" y="357"/>
                    <a:pt x="58" y="357"/>
                  </a:cubicBezTo>
                  <a:cubicBezTo>
                    <a:pt x="54" y="357"/>
                    <a:pt x="54" y="357"/>
                    <a:pt x="54" y="357"/>
                  </a:cubicBezTo>
                  <a:cubicBezTo>
                    <a:pt x="54" y="357"/>
                    <a:pt x="50" y="359"/>
                    <a:pt x="50" y="360"/>
                  </a:cubicBezTo>
                  <a:cubicBezTo>
                    <a:pt x="49" y="360"/>
                    <a:pt x="47" y="361"/>
                    <a:pt x="47" y="361"/>
                  </a:cubicBezTo>
                  <a:cubicBezTo>
                    <a:pt x="46" y="362"/>
                    <a:pt x="50" y="364"/>
                    <a:pt x="50" y="364"/>
                  </a:cubicBezTo>
                  <a:cubicBezTo>
                    <a:pt x="51" y="366"/>
                    <a:pt x="51" y="366"/>
                    <a:pt x="51" y="366"/>
                  </a:cubicBezTo>
                  <a:cubicBezTo>
                    <a:pt x="49" y="366"/>
                    <a:pt x="49" y="366"/>
                    <a:pt x="49" y="366"/>
                  </a:cubicBezTo>
                  <a:cubicBezTo>
                    <a:pt x="47" y="367"/>
                    <a:pt x="47" y="367"/>
                    <a:pt x="47" y="367"/>
                  </a:cubicBezTo>
                  <a:cubicBezTo>
                    <a:pt x="46" y="369"/>
                    <a:pt x="46" y="369"/>
                    <a:pt x="46" y="369"/>
                  </a:cubicBezTo>
                  <a:cubicBezTo>
                    <a:pt x="48" y="370"/>
                    <a:pt x="48" y="370"/>
                    <a:pt x="48" y="370"/>
                  </a:cubicBezTo>
                  <a:cubicBezTo>
                    <a:pt x="48" y="370"/>
                    <a:pt x="49" y="370"/>
                    <a:pt x="50" y="370"/>
                  </a:cubicBezTo>
                  <a:cubicBezTo>
                    <a:pt x="51" y="370"/>
                    <a:pt x="54" y="369"/>
                    <a:pt x="54" y="369"/>
                  </a:cubicBezTo>
                  <a:cubicBezTo>
                    <a:pt x="50" y="371"/>
                    <a:pt x="50" y="371"/>
                    <a:pt x="50" y="371"/>
                  </a:cubicBezTo>
                  <a:cubicBezTo>
                    <a:pt x="50" y="374"/>
                    <a:pt x="50" y="374"/>
                    <a:pt x="50" y="374"/>
                  </a:cubicBezTo>
                  <a:cubicBezTo>
                    <a:pt x="50" y="374"/>
                    <a:pt x="49" y="375"/>
                    <a:pt x="50" y="375"/>
                  </a:cubicBezTo>
                  <a:cubicBezTo>
                    <a:pt x="52" y="375"/>
                    <a:pt x="53" y="375"/>
                    <a:pt x="53" y="375"/>
                  </a:cubicBezTo>
                  <a:cubicBezTo>
                    <a:pt x="53" y="375"/>
                    <a:pt x="55" y="374"/>
                    <a:pt x="56" y="374"/>
                  </a:cubicBezTo>
                  <a:cubicBezTo>
                    <a:pt x="58" y="374"/>
                    <a:pt x="59" y="374"/>
                    <a:pt x="59" y="374"/>
                  </a:cubicBezTo>
                  <a:cubicBezTo>
                    <a:pt x="59" y="374"/>
                    <a:pt x="59" y="372"/>
                    <a:pt x="60" y="372"/>
                  </a:cubicBezTo>
                  <a:cubicBezTo>
                    <a:pt x="60" y="372"/>
                    <a:pt x="59" y="372"/>
                    <a:pt x="61" y="372"/>
                  </a:cubicBezTo>
                  <a:cubicBezTo>
                    <a:pt x="63" y="372"/>
                    <a:pt x="69" y="372"/>
                    <a:pt x="69" y="372"/>
                  </a:cubicBezTo>
                  <a:cubicBezTo>
                    <a:pt x="69" y="372"/>
                    <a:pt x="69" y="372"/>
                    <a:pt x="70" y="373"/>
                  </a:cubicBezTo>
                  <a:cubicBezTo>
                    <a:pt x="70" y="374"/>
                    <a:pt x="71" y="375"/>
                    <a:pt x="72" y="376"/>
                  </a:cubicBezTo>
                  <a:cubicBezTo>
                    <a:pt x="74" y="377"/>
                    <a:pt x="77" y="377"/>
                    <a:pt x="77" y="377"/>
                  </a:cubicBezTo>
                  <a:cubicBezTo>
                    <a:pt x="75" y="378"/>
                    <a:pt x="75" y="378"/>
                    <a:pt x="75" y="378"/>
                  </a:cubicBezTo>
                  <a:cubicBezTo>
                    <a:pt x="72" y="378"/>
                    <a:pt x="72" y="378"/>
                    <a:pt x="72" y="378"/>
                  </a:cubicBezTo>
                  <a:cubicBezTo>
                    <a:pt x="72" y="378"/>
                    <a:pt x="70" y="377"/>
                    <a:pt x="70" y="378"/>
                  </a:cubicBezTo>
                  <a:cubicBezTo>
                    <a:pt x="70" y="379"/>
                    <a:pt x="68" y="381"/>
                    <a:pt x="69" y="382"/>
                  </a:cubicBezTo>
                  <a:cubicBezTo>
                    <a:pt x="70" y="382"/>
                    <a:pt x="74" y="383"/>
                    <a:pt x="74" y="383"/>
                  </a:cubicBezTo>
                  <a:cubicBezTo>
                    <a:pt x="78" y="382"/>
                    <a:pt x="78" y="382"/>
                    <a:pt x="78" y="382"/>
                  </a:cubicBezTo>
                  <a:cubicBezTo>
                    <a:pt x="79" y="381"/>
                    <a:pt x="79" y="381"/>
                    <a:pt x="79" y="381"/>
                  </a:cubicBezTo>
                  <a:cubicBezTo>
                    <a:pt x="82" y="380"/>
                    <a:pt x="82" y="380"/>
                    <a:pt x="82" y="380"/>
                  </a:cubicBezTo>
                  <a:cubicBezTo>
                    <a:pt x="82" y="380"/>
                    <a:pt x="82" y="381"/>
                    <a:pt x="82" y="382"/>
                  </a:cubicBezTo>
                  <a:cubicBezTo>
                    <a:pt x="82" y="382"/>
                    <a:pt x="82" y="384"/>
                    <a:pt x="82" y="384"/>
                  </a:cubicBezTo>
                  <a:cubicBezTo>
                    <a:pt x="82" y="384"/>
                    <a:pt x="83" y="386"/>
                    <a:pt x="83" y="386"/>
                  </a:cubicBezTo>
                  <a:cubicBezTo>
                    <a:pt x="84" y="387"/>
                    <a:pt x="86" y="388"/>
                    <a:pt x="86" y="388"/>
                  </a:cubicBezTo>
                  <a:cubicBezTo>
                    <a:pt x="87" y="391"/>
                    <a:pt x="87" y="391"/>
                    <a:pt x="87" y="391"/>
                  </a:cubicBezTo>
                  <a:cubicBezTo>
                    <a:pt x="90" y="392"/>
                    <a:pt x="90" y="392"/>
                    <a:pt x="90" y="392"/>
                  </a:cubicBezTo>
                  <a:cubicBezTo>
                    <a:pt x="90" y="392"/>
                    <a:pt x="93" y="392"/>
                    <a:pt x="93" y="392"/>
                  </a:cubicBezTo>
                  <a:cubicBezTo>
                    <a:pt x="94" y="392"/>
                    <a:pt x="96" y="393"/>
                    <a:pt x="96" y="393"/>
                  </a:cubicBezTo>
                  <a:cubicBezTo>
                    <a:pt x="97" y="392"/>
                    <a:pt x="99" y="390"/>
                    <a:pt x="99" y="390"/>
                  </a:cubicBezTo>
                  <a:cubicBezTo>
                    <a:pt x="102" y="388"/>
                    <a:pt x="102" y="388"/>
                    <a:pt x="102" y="388"/>
                  </a:cubicBezTo>
                  <a:cubicBezTo>
                    <a:pt x="102" y="388"/>
                    <a:pt x="104" y="388"/>
                    <a:pt x="105" y="388"/>
                  </a:cubicBezTo>
                  <a:cubicBezTo>
                    <a:pt x="106" y="388"/>
                    <a:pt x="111" y="387"/>
                    <a:pt x="111" y="387"/>
                  </a:cubicBezTo>
                  <a:cubicBezTo>
                    <a:pt x="111" y="387"/>
                    <a:pt x="112" y="385"/>
                    <a:pt x="114" y="385"/>
                  </a:cubicBezTo>
                  <a:cubicBezTo>
                    <a:pt x="115" y="384"/>
                    <a:pt x="118" y="382"/>
                    <a:pt x="118" y="382"/>
                  </a:cubicBezTo>
                  <a:cubicBezTo>
                    <a:pt x="124" y="381"/>
                    <a:pt x="124" y="381"/>
                    <a:pt x="124" y="381"/>
                  </a:cubicBezTo>
                  <a:cubicBezTo>
                    <a:pt x="119" y="383"/>
                    <a:pt x="119" y="383"/>
                    <a:pt x="119" y="383"/>
                  </a:cubicBezTo>
                  <a:cubicBezTo>
                    <a:pt x="117" y="384"/>
                    <a:pt x="117" y="384"/>
                    <a:pt x="117" y="384"/>
                  </a:cubicBezTo>
                  <a:cubicBezTo>
                    <a:pt x="114" y="387"/>
                    <a:pt x="114" y="387"/>
                    <a:pt x="114" y="387"/>
                  </a:cubicBezTo>
                  <a:cubicBezTo>
                    <a:pt x="112" y="388"/>
                    <a:pt x="112" y="388"/>
                    <a:pt x="112" y="388"/>
                  </a:cubicBezTo>
                  <a:cubicBezTo>
                    <a:pt x="112" y="388"/>
                    <a:pt x="110" y="389"/>
                    <a:pt x="110" y="389"/>
                  </a:cubicBezTo>
                  <a:cubicBezTo>
                    <a:pt x="110" y="390"/>
                    <a:pt x="107" y="394"/>
                    <a:pt x="107" y="394"/>
                  </a:cubicBezTo>
                  <a:cubicBezTo>
                    <a:pt x="105" y="394"/>
                    <a:pt x="105" y="394"/>
                    <a:pt x="105" y="394"/>
                  </a:cubicBezTo>
                  <a:cubicBezTo>
                    <a:pt x="105" y="394"/>
                    <a:pt x="103" y="396"/>
                    <a:pt x="102" y="397"/>
                  </a:cubicBezTo>
                  <a:cubicBezTo>
                    <a:pt x="101" y="399"/>
                    <a:pt x="100" y="399"/>
                    <a:pt x="100" y="399"/>
                  </a:cubicBezTo>
                  <a:cubicBezTo>
                    <a:pt x="100" y="399"/>
                    <a:pt x="101" y="401"/>
                    <a:pt x="97" y="401"/>
                  </a:cubicBezTo>
                  <a:cubicBezTo>
                    <a:pt x="93" y="400"/>
                    <a:pt x="90" y="399"/>
                    <a:pt x="90" y="399"/>
                  </a:cubicBezTo>
                  <a:cubicBezTo>
                    <a:pt x="90" y="399"/>
                    <a:pt x="85" y="398"/>
                    <a:pt x="85" y="398"/>
                  </a:cubicBezTo>
                  <a:cubicBezTo>
                    <a:pt x="84" y="398"/>
                    <a:pt x="84" y="398"/>
                    <a:pt x="82" y="398"/>
                  </a:cubicBezTo>
                  <a:cubicBezTo>
                    <a:pt x="80" y="397"/>
                    <a:pt x="72" y="395"/>
                    <a:pt x="72" y="395"/>
                  </a:cubicBezTo>
                  <a:cubicBezTo>
                    <a:pt x="72" y="395"/>
                    <a:pt x="70" y="395"/>
                    <a:pt x="69" y="396"/>
                  </a:cubicBezTo>
                  <a:cubicBezTo>
                    <a:pt x="69" y="396"/>
                    <a:pt x="67" y="397"/>
                    <a:pt x="67" y="398"/>
                  </a:cubicBezTo>
                  <a:cubicBezTo>
                    <a:pt x="67" y="399"/>
                    <a:pt x="67" y="400"/>
                    <a:pt x="67" y="400"/>
                  </a:cubicBezTo>
                  <a:cubicBezTo>
                    <a:pt x="67" y="402"/>
                    <a:pt x="67" y="402"/>
                    <a:pt x="67" y="402"/>
                  </a:cubicBezTo>
                  <a:cubicBezTo>
                    <a:pt x="64" y="403"/>
                    <a:pt x="64" y="403"/>
                    <a:pt x="64" y="403"/>
                  </a:cubicBezTo>
                  <a:cubicBezTo>
                    <a:pt x="59" y="403"/>
                    <a:pt x="59" y="403"/>
                    <a:pt x="59" y="403"/>
                  </a:cubicBezTo>
                  <a:close/>
                  <a:moveTo>
                    <a:pt x="35" y="214"/>
                  </a:moveTo>
                  <a:cubicBezTo>
                    <a:pt x="35" y="214"/>
                    <a:pt x="35" y="214"/>
                    <a:pt x="35" y="214"/>
                  </a:cubicBezTo>
                  <a:cubicBezTo>
                    <a:pt x="36" y="215"/>
                    <a:pt x="40" y="214"/>
                    <a:pt x="40" y="214"/>
                  </a:cubicBezTo>
                  <a:cubicBezTo>
                    <a:pt x="44" y="214"/>
                    <a:pt x="44" y="214"/>
                    <a:pt x="44" y="214"/>
                  </a:cubicBezTo>
                  <a:cubicBezTo>
                    <a:pt x="44" y="214"/>
                    <a:pt x="48" y="214"/>
                    <a:pt x="48" y="214"/>
                  </a:cubicBezTo>
                  <a:cubicBezTo>
                    <a:pt x="49" y="215"/>
                    <a:pt x="50" y="215"/>
                    <a:pt x="50" y="215"/>
                  </a:cubicBezTo>
                  <a:cubicBezTo>
                    <a:pt x="50" y="215"/>
                    <a:pt x="52" y="214"/>
                    <a:pt x="53" y="214"/>
                  </a:cubicBezTo>
                  <a:cubicBezTo>
                    <a:pt x="54" y="215"/>
                    <a:pt x="56" y="217"/>
                    <a:pt x="56" y="217"/>
                  </a:cubicBezTo>
                  <a:cubicBezTo>
                    <a:pt x="56" y="221"/>
                    <a:pt x="56" y="221"/>
                    <a:pt x="56" y="221"/>
                  </a:cubicBezTo>
                  <a:cubicBezTo>
                    <a:pt x="57" y="225"/>
                    <a:pt x="57" y="225"/>
                    <a:pt x="57" y="225"/>
                  </a:cubicBezTo>
                  <a:cubicBezTo>
                    <a:pt x="59" y="229"/>
                    <a:pt x="59" y="229"/>
                    <a:pt x="59" y="229"/>
                  </a:cubicBezTo>
                  <a:cubicBezTo>
                    <a:pt x="62" y="233"/>
                    <a:pt x="62" y="233"/>
                    <a:pt x="62" y="233"/>
                  </a:cubicBezTo>
                  <a:cubicBezTo>
                    <a:pt x="60" y="236"/>
                    <a:pt x="60" y="236"/>
                    <a:pt x="60" y="236"/>
                  </a:cubicBezTo>
                  <a:cubicBezTo>
                    <a:pt x="60" y="236"/>
                    <a:pt x="60" y="239"/>
                    <a:pt x="60" y="239"/>
                  </a:cubicBezTo>
                  <a:cubicBezTo>
                    <a:pt x="59" y="239"/>
                    <a:pt x="57" y="240"/>
                    <a:pt x="56" y="240"/>
                  </a:cubicBezTo>
                  <a:cubicBezTo>
                    <a:pt x="56" y="241"/>
                    <a:pt x="55" y="243"/>
                    <a:pt x="55" y="243"/>
                  </a:cubicBezTo>
                  <a:cubicBezTo>
                    <a:pt x="55" y="243"/>
                    <a:pt x="59" y="240"/>
                    <a:pt x="59" y="241"/>
                  </a:cubicBezTo>
                  <a:cubicBezTo>
                    <a:pt x="60" y="241"/>
                    <a:pt x="62" y="241"/>
                    <a:pt x="62" y="241"/>
                  </a:cubicBezTo>
                  <a:cubicBezTo>
                    <a:pt x="64" y="242"/>
                    <a:pt x="64" y="242"/>
                    <a:pt x="64" y="242"/>
                  </a:cubicBezTo>
                  <a:cubicBezTo>
                    <a:pt x="65" y="246"/>
                    <a:pt x="65" y="246"/>
                    <a:pt x="65" y="246"/>
                  </a:cubicBezTo>
                  <a:cubicBezTo>
                    <a:pt x="65" y="250"/>
                    <a:pt x="65" y="250"/>
                    <a:pt x="65" y="250"/>
                  </a:cubicBezTo>
                  <a:cubicBezTo>
                    <a:pt x="65" y="250"/>
                    <a:pt x="65" y="253"/>
                    <a:pt x="65" y="253"/>
                  </a:cubicBezTo>
                  <a:cubicBezTo>
                    <a:pt x="65" y="254"/>
                    <a:pt x="64" y="255"/>
                    <a:pt x="64" y="254"/>
                  </a:cubicBezTo>
                  <a:cubicBezTo>
                    <a:pt x="63" y="254"/>
                    <a:pt x="62" y="254"/>
                    <a:pt x="62" y="253"/>
                  </a:cubicBezTo>
                  <a:cubicBezTo>
                    <a:pt x="62" y="251"/>
                    <a:pt x="63" y="250"/>
                    <a:pt x="63" y="249"/>
                  </a:cubicBezTo>
                  <a:cubicBezTo>
                    <a:pt x="63" y="249"/>
                    <a:pt x="64" y="246"/>
                    <a:pt x="63" y="246"/>
                  </a:cubicBezTo>
                  <a:cubicBezTo>
                    <a:pt x="62" y="246"/>
                    <a:pt x="61" y="244"/>
                    <a:pt x="61" y="246"/>
                  </a:cubicBezTo>
                  <a:cubicBezTo>
                    <a:pt x="60" y="247"/>
                    <a:pt x="61" y="249"/>
                    <a:pt x="61" y="249"/>
                  </a:cubicBezTo>
                  <a:cubicBezTo>
                    <a:pt x="61" y="249"/>
                    <a:pt x="62" y="250"/>
                    <a:pt x="61" y="251"/>
                  </a:cubicBezTo>
                  <a:cubicBezTo>
                    <a:pt x="61" y="252"/>
                    <a:pt x="61" y="252"/>
                    <a:pt x="60" y="253"/>
                  </a:cubicBezTo>
                  <a:cubicBezTo>
                    <a:pt x="59" y="254"/>
                    <a:pt x="61" y="255"/>
                    <a:pt x="61" y="255"/>
                  </a:cubicBezTo>
                  <a:cubicBezTo>
                    <a:pt x="61" y="256"/>
                    <a:pt x="61" y="256"/>
                    <a:pt x="61" y="256"/>
                  </a:cubicBezTo>
                  <a:cubicBezTo>
                    <a:pt x="61" y="256"/>
                    <a:pt x="62" y="259"/>
                    <a:pt x="61" y="259"/>
                  </a:cubicBezTo>
                  <a:cubicBezTo>
                    <a:pt x="60" y="259"/>
                    <a:pt x="60" y="260"/>
                    <a:pt x="57" y="259"/>
                  </a:cubicBezTo>
                  <a:cubicBezTo>
                    <a:pt x="54" y="257"/>
                    <a:pt x="52" y="257"/>
                    <a:pt x="52" y="257"/>
                  </a:cubicBezTo>
                  <a:cubicBezTo>
                    <a:pt x="52" y="261"/>
                    <a:pt x="52" y="261"/>
                    <a:pt x="52" y="261"/>
                  </a:cubicBezTo>
                  <a:cubicBezTo>
                    <a:pt x="50" y="264"/>
                    <a:pt x="50" y="264"/>
                    <a:pt x="50" y="264"/>
                  </a:cubicBezTo>
                  <a:cubicBezTo>
                    <a:pt x="44" y="266"/>
                    <a:pt x="44" y="266"/>
                    <a:pt x="44" y="266"/>
                  </a:cubicBezTo>
                  <a:cubicBezTo>
                    <a:pt x="41" y="262"/>
                    <a:pt x="41" y="262"/>
                    <a:pt x="41" y="262"/>
                  </a:cubicBezTo>
                  <a:cubicBezTo>
                    <a:pt x="41" y="262"/>
                    <a:pt x="39" y="262"/>
                    <a:pt x="38" y="262"/>
                  </a:cubicBezTo>
                  <a:cubicBezTo>
                    <a:pt x="38" y="262"/>
                    <a:pt x="34" y="261"/>
                    <a:pt x="34" y="261"/>
                  </a:cubicBezTo>
                  <a:cubicBezTo>
                    <a:pt x="33" y="257"/>
                    <a:pt x="33" y="257"/>
                    <a:pt x="33" y="257"/>
                  </a:cubicBezTo>
                  <a:cubicBezTo>
                    <a:pt x="29" y="253"/>
                    <a:pt x="29" y="253"/>
                    <a:pt x="29" y="253"/>
                  </a:cubicBezTo>
                  <a:cubicBezTo>
                    <a:pt x="29" y="250"/>
                    <a:pt x="29" y="250"/>
                    <a:pt x="29" y="250"/>
                  </a:cubicBezTo>
                  <a:cubicBezTo>
                    <a:pt x="27" y="245"/>
                    <a:pt x="27" y="245"/>
                    <a:pt x="27" y="245"/>
                  </a:cubicBezTo>
                  <a:cubicBezTo>
                    <a:pt x="22" y="246"/>
                    <a:pt x="22" y="246"/>
                    <a:pt x="22" y="246"/>
                  </a:cubicBezTo>
                  <a:cubicBezTo>
                    <a:pt x="21" y="250"/>
                    <a:pt x="21" y="250"/>
                    <a:pt x="21" y="250"/>
                  </a:cubicBezTo>
                  <a:cubicBezTo>
                    <a:pt x="21" y="250"/>
                    <a:pt x="22" y="251"/>
                    <a:pt x="20" y="252"/>
                  </a:cubicBezTo>
                  <a:cubicBezTo>
                    <a:pt x="19" y="252"/>
                    <a:pt x="16" y="253"/>
                    <a:pt x="16" y="253"/>
                  </a:cubicBezTo>
                  <a:cubicBezTo>
                    <a:pt x="16" y="253"/>
                    <a:pt x="12" y="254"/>
                    <a:pt x="11" y="253"/>
                  </a:cubicBezTo>
                  <a:cubicBezTo>
                    <a:pt x="11" y="253"/>
                    <a:pt x="8" y="249"/>
                    <a:pt x="8" y="249"/>
                  </a:cubicBezTo>
                  <a:cubicBezTo>
                    <a:pt x="8" y="249"/>
                    <a:pt x="6" y="249"/>
                    <a:pt x="6" y="249"/>
                  </a:cubicBezTo>
                  <a:cubicBezTo>
                    <a:pt x="5" y="249"/>
                    <a:pt x="4" y="250"/>
                    <a:pt x="4" y="248"/>
                  </a:cubicBezTo>
                  <a:cubicBezTo>
                    <a:pt x="4" y="246"/>
                    <a:pt x="4" y="244"/>
                    <a:pt x="4" y="244"/>
                  </a:cubicBezTo>
                  <a:cubicBezTo>
                    <a:pt x="4" y="244"/>
                    <a:pt x="6" y="247"/>
                    <a:pt x="4" y="243"/>
                  </a:cubicBezTo>
                  <a:cubicBezTo>
                    <a:pt x="1" y="240"/>
                    <a:pt x="0" y="237"/>
                    <a:pt x="0" y="237"/>
                  </a:cubicBezTo>
                  <a:cubicBezTo>
                    <a:pt x="5" y="235"/>
                    <a:pt x="5" y="235"/>
                    <a:pt x="5" y="235"/>
                  </a:cubicBezTo>
                  <a:cubicBezTo>
                    <a:pt x="5" y="235"/>
                    <a:pt x="9" y="235"/>
                    <a:pt x="9" y="235"/>
                  </a:cubicBezTo>
                  <a:cubicBezTo>
                    <a:pt x="10" y="235"/>
                    <a:pt x="11" y="233"/>
                    <a:pt x="11" y="233"/>
                  </a:cubicBezTo>
                  <a:cubicBezTo>
                    <a:pt x="11" y="233"/>
                    <a:pt x="12" y="232"/>
                    <a:pt x="11" y="232"/>
                  </a:cubicBezTo>
                  <a:cubicBezTo>
                    <a:pt x="10" y="231"/>
                    <a:pt x="8" y="230"/>
                    <a:pt x="8" y="230"/>
                  </a:cubicBezTo>
                  <a:cubicBezTo>
                    <a:pt x="8" y="230"/>
                    <a:pt x="7" y="228"/>
                    <a:pt x="9" y="227"/>
                  </a:cubicBezTo>
                  <a:cubicBezTo>
                    <a:pt x="12" y="227"/>
                    <a:pt x="12" y="227"/>
                    <a:pt x="13" y="227"/>
                  </a:cubicBezTo>
                  <a:cubicBezTo>
                    <a:pt x="15" y="228"/>
                    <a:pt x="16" y="230"/>
                    <a:pt x="17" y="227"/>
                  </a:cubicBezTo>
                  <a:cubicBezTo>
                    <a:pt x="18" y="225"/>
                    <a:pt x="16" y="225"/>
                    <a:pt x="18" y="224"/>
                  </a:cubicBezTo>
                  <a:cubicBezTo>
                    <a:pt x="21" y="224"/>
                    <a:pt x="22" y="223"/>
                    <a:pt x="22" y="222"/>
                  </a:cubicBezTo>
                  <a:cubicBezTo>
                    <a:pt x="22" y="222"/>
                    <a:pt x="23" y="219"/>
                    <a:pt x="23" y="219"/>
                  </a:cubicBezTo>
                  <a:cubicBezTo>
                    <a:pt x="24" y="219"/>
                    <a:pt x="28" y="219"/>
                    <a:pt x="28" y="219"/>
                  </a:cubicBezTo>
                  <a:cubicBezTo>
                    <a:pt x="28" y="219"/>
                    <a:pt x="29" y="218"/>
                    <a:pt x="31" y="218"/>
                  </a:cubicBezTo>
                  <a:cubicBezTo>
                    <a:pt x="33" y="219"/>
                    <a:pt x="33" y="218"/>
                    <a:pt x="33" y="218"/>
                  </a:cubicBezTo>
                  <a:cubicBezTo>
                    <a:pt x="33" y="218"/>
                    <a:pt x="35" y="215"/>
                    <a:pt x="35" y="214"/>
                  </a:cubicBezTo>
                  <a:close/>
                  <a:moveTo>
                    <a:pt x="60" y="183"/>
                  </a:moveTo>
                  <a:cubicBezTo>
                    <a:pt x="60" y="183"/>
                    <a:pt x="60" y="183"/>
                    <a:pt x="60" y="183"/>
                  </a:cubicBezTo>
                  <a:cubicBezTo>
                    <a:pt x="60" y="183"/>
                    <a:pt x="59" y="180"/>
                    <a:pt x="60" y="181"/>
                  </a:cubicBezTo>
                  <a:cubicBezTo>
                    <a:pt x="61" y="181"/>
                    <a:pt x="63" y="180"/>
                    <a:pt x="63" y="180"/>
                  </a:cubicBezTo>
                  <a:cubicBezTo>
                    <a:pt x="63" y="180"/>
                    <a:pt x="64" y="179"/>
                    <a:pt x="64" y="179"/>
                  </a:cubicBezTo>
                  <a:cubicBezTo>
                    <a:pt x="65" y="179"/>
                    <a:pt x="65" y="181"/>
                    <a:pt x="64" y="181"/>
                  </a:cubicBezTo>
                  <a:cubicBezTo>
                    <a:pt x="64" y="181"/>
                    <a:pt x="63" y="182"/>
                    <a:pt x="62" y="182"/>
                  </a:cubicBezTo>
                  <a:cubicBezTo>
                    <a:pt x="62" y="182"/>
                    <a:pt x="61" y="183"/>
                    <a:pt x="61" y="183"/>
                  </a:cubicBezTo>
                  <a:cubicBezTo>
                    <a:pt x="60" y="183"/>
                    <a:pt x="60" y="183"/>
                    <a:pt x="60" y="183"/>
                  </a:cubicBezTo>
                  <a:close/>
                  <a:moveTo>
                    <a:pt x="71" y="200"/>
                  </a:moveTo>
                  <a:cubicBezTo>
                    <a:pt x="71" y="200"/>
                    <a:pt x="71" y="200"/>
                    <a:pt x="71" y="200"/>
                  </a:cubicBezTo>
                  <a:cubicBezTo>
                    <a:pt x="71" y="200"/>
                    <a:pt x="70" y="200"/>
                    <a:pt x="70" y="201"/>
                  </a:cubicBezTo>
                  <a:cubicBezTo>
                    <a:pt x="69" y="201"/>
                    <a:pt x="67" y="200"/>
                    <a:pt x="67" y="200"/>
                  </a:cubicBezTo>
                  <a:cubicBezTo>
                    <a:pt x="67" y="200"/>
                    <a:pt x="68" y="199"/>
                    <a:pt x="68" y="198"/>
                  </a:cubicBezTo>
                  <a:cubicBezTo>
                    <a:pt x="69" y="198"/>
                    <a:pt x="70" y="197"/>
                    <a:pt x="70" y="197"/>
                  </a:cubicBezTo>
                  <a:cubicBezTo>
                    <a:pt x="70" y="197"/>
                    <a:pt x="70" y="196"/>
                    <a:pt x="70" y="196"/>
                  </a:cubicBezTo>
                  <a:cubicBezTo>
                    <a:pt x="70" y="197"/>
                    <a:pt x="71" y="199"/>
                    <a:pt x="71" y="199"/>
                  </a:cubicBezTo>
                  <a:cubicBezTo>
                    <a:pt x="71" y="200"/>
                    <a:pt x="71" y="200"/>
                    <a:pt x="71" y="200"/>
                  </a:cubicBezTo>
                  <a:close/>
                  <a:moveTo>
                    <a:pt x="77" y="205"/>
                  </a:moveTo>
                  <a:cubicBezTo>
                    <a:pt x="77" y="205"/>
                    <a:pt x="77" y="205"/>
                    <a:pt x="77" y="205"/>
                  </a:cubicBezTo>
                  <a:cubicBezTo>
                    <a:pt x="77" y="205"/>
                    <a:pt x="78" y="203"/>
                    <a:pt x="79" y="203"/>
                  </a:cubicBezTo>
                  <a:cubicBezTo>
                    <a:pt x="79" y="202"/>
                    <a:pt x="79" y="202"/>
                    <a:pt x="80" y="201"/>
                  </a:cubicBezTo>
                  <a:cubicBezTo>
                    <a:pt x="80" y="201"/>
                    <a:pt x="81" y="200"/>
                    <a:pt x="82" y="201"/>
                  </a:cubicBezTo>
                  <a:cubicBezTo>
                    <a:pt x="83" y="201"/>
                    <a:pt x="85" y="203"/>
                    <a:pt x="84" y="203"/>
                  </a:cubicBezTo>
                  <a:cubicBezTo>
                    <a:pt x="84" y="204"/>
                    <a:pt x="83" y="203"/>
                    <a:pt x="83" y="206"/>
                  </a:cubicBezTo>
                  <a:cubicBezTo>
                    <a:pt x="83" y="208"/>
                    <a:pt x="84" y="208"/>
                    <a:pt x="84" y="209"/>
                  </a:cubicBezTo>
                  <a:cubicBezTo>
                    <a:pt x="84" y="209"/>
                    <a:pt x="83" y="212"/>
                    <a:pt x="83" y="212"/>
                  </a:cubicBezTo>
                  <a:cubicBezTo>
                    <a:pt x="83" y="212"/>
                    <a:pt x="83" y="214"/>
                    <a:pt x="82" y="213"/>
                  </a:cubicBezTo>
                  <a:cubicBezTo>
                    <a:pt x="82" y="213"/>
                    <a:pt x="82" y="213"/>
                    <a:pt x="80" y="213"/>
                  </a:cubicBezTo>
                  <a:cubicBezTo>
                    <a:pt x="79" y="213"/>
                    <a:pt x="77" y="211"/>
                    <a:pt x="77" y="211"/>
                  </a:cubicBezTo>
                  <a:cubicBezTo>
                    <a:pt x="77" y="211"/>
                    <a:pt x="77" y="207"/>
                    <a:pt x="77" y="207"/>
                  </a:cubicBezTo>
                  <a:cubicBezTo>
                    <a:pt x="77" y="207"/>
                    <a:pt x="76" y="205"/>
                    <a:pt x="76" y="205"/>
                  </a:cubicBezTo>
                  <a:cubicBezTo>
                    <a:pt x="77" y="205"/>
                    <a:pt x="77" y="205"/>
                    <a:pt x="77" y="205"/>
                  </a:cubicBezTo>
                  <a:close/>
                  <a:moveTo>
                    <a:pt x="60" y="169"/>
                  </a:moveTo>
                  <a:cubicBezTo>
                    <a:pt x="60" y="169"/>
                    <a:pt x="60" y="169"/>
                    <a:pt x="60" y="169"/>
                  </a:cubicBezTo>
                  <a:cubicBezTo>
                    <a:pt x="60" y="169"/>
                    <a:pt x="60" y="168"/>
                    <a:pt x="61" y="169"/>
                  </a:cubicBezTo>
                  <a:cubicBezTo>
                    <a:pt x="62" y="169"/>
                    <a:pt x="63" y="170"/>
                    <a:pt x="63" y="171"/>
                  </a:cubicBezTo>
                  <a:cubicBezTo>
                    <a:pt x="63" y="171"/>
                    <a:pt x="65" y="172"/>
                    <a:pt x="64" y="173"/>
                  </a:cubicBezTo>
                  <a:cubicBezTo>
                    <a:pt x="63" y="173"/>
                    <a:pt x="62" y="174"/>
                    <a:pt x="62" y="173"/>
                  </a:cubicBezTo>
                  <a:cubicBezTo>
                    <a:pt x="61" y="173"/>
                    <a:pt x="61" y="173"/>
                    <a:pt x="61" y="173"/>
                  </a:cubicBezTo>
                  <a:cubicBezTo>
                    <a:pt x="61" y="172"/>
                    <a:pt x="59" y="171"/>
                    <a:pt x="59" y="171"/>
                  </a:cubicBezTo>
                  <a:cubicBezTo>
                    <a:pt x="59" y="171"/>
                    <a:pt x="60" y="169"/>
                    <a:pt x="60" y="169"/>
                  </a:cubicBezTo>
                  <a:close/>
                  <a:moveTo>
                    <a:pt x="50" y="158"/>
                  </a:moveTo>
                  <a:cubicBezTo>
                    <a:pt x="50" y="158"/>
                    <a:pt x="50" y="158"/>
                    <a:pt x="50" y="158"/>
                  </a:cubicBezTo>
                  <a:cubicBezTo>
                    <a:pt x="51" y="159"/>
                    <a:pt x="52" y="158"/>
                    <a:pt x="52" y="159"/>
                  </a:cubicBezTo>
                  <a:cubicBezTo>
                    <a:pt x="52" y="159"/>
                    <a:pt x="54" y="159"/>
                    <a:pt x="53" y="160"/>
                  </a:cubicBezTo>
                  <a:cubicBezTo>
                    <a:pt x="52" y="161"/>
                    <a:pt x="51" y="161"/>
                    <a:pt x="50" y="161"/>
                  </a:cubicBezTo>
                  <a:cubicBezTo>
                    <a:pt x="49" y="161"/>
                    <a:pt x="51" y="161"/>
                    <a:pt x="49" y="161"/>
                  </a:cubicBezTo>
                  <a:cubicBezTo>
                    <a:pt x="47" y="161"/>
                    <a:pt x="45" y="163"/>
                    <a:pt x="46" y="161"/>
                  </a:cubicBezTo>
                  <a:cubicBezTo>
                    <a:pt x="48" y="159"/>
                    <a:pt x="50" y="158"/>
                    <a:pt x="50" y="158"/>
                  </a:cubicBezTo>
                  <a:close/>
                  <a:moveTo>
                    <a:pt x="59" y="154"/>
                  </a:moveTo>
                  <a:cubicBezTo>
                    <a:pt x="59" y="154"/>
                    <a:pt x="59" y="154"/>
                    <a:pt x="59" y="154"/>
                  </a:cubicBezTo>
                  <a:cubicBezTo>
                    <a:pt x="59" y="154"/>
                    <a:pt x="60" y="152"/>
                    <a:pt x="61" y="153"/>
                  </a:cubicBezTo>
                  <a:cubicBezTo>
                    <a:pt x="62" y="154"/>
                    <a:pt x="63" y="155"/>
                    <a:pt x="62" y="156"/>
                  </a:cubicBezTo>
                  <a:cubicBezTo>
                    <a:pt x="60" y="157"/>
                    <a:pt x="60" y="157"/>
                    <a:pt x="59" y="157"/>
                  </a:cubicBezTo>
                  <a:cubicBezTo>
                    <a:pt x="58" y="158"/>
                    <a:pt x="56" y="159"/>
                    <a:pt x="55" y="159"/>
                  </a:cubicBezTo>
                  <a:cubicBezTo>
                    <a:pt x="55" y="159"/>
                    <a:pt x="53" y="158"/>
                    <a:pt x="54" y="157"/>
                  </a:cubicBezTo>
                  <a:cubicBezTo>
                    <a:pt x="55" y="157"/>
                    <a:pt x="56" y="157"/>
                    <a:pt x="56" y="156"/>
                  </a:cubicBezTo>
                  <a:cubicBezTo>
                    <a:pt x="57" y="156"/>
                    <a:pt x="59" y="154"/>
                    <a:pt x="59" y="154"/>
                  </a:cubicBezTo>
                  <a:close/>
                  <a:moveTo>
                    <a:pt x="63" y="138"/>
                  </a:moveTo>
                  <a:cubicBezTo>
                    <a:pt x="63" y="138"/>
                    <a:pt x="63" y="138"/>
                    <a:pt x="63" y="138"/>
                  </a:cubicBezTo>
                  <a:cubicBezTo>
                    <a:pt x="63" y="138"/>
                    <a:pt x="63" y="135"/>
                    <a:pt x="64" y="136"/>
                  </a:cubicBezTo>
                  <a:cubicBezTo>
                    <a:pt x="66" y="137"/>
                    <a:pt x="66" y="136"/>
                    <a:pt x="66" y="137"/>
                  </a:cubicBezTo>
                  <a:cubicBezTo>
                    <a:pt x="66" y="138"/>
                    <a:pt x="67" y="137"/>
                    <a:pt x="66" y="138"/>
                  </a:cubicBezTo>
                  <a:cubicBezTo>
                    <a:pt x="65" y="138"/>
                    <a:pt x="63" y="138"/>
                    <a:pt x="63" y="138"/>
                  </a:cubicBezTo>
                  <a:close/>
                  <a:moveTo>
                    <a:pt x="70" y="146"/>
                  </a:moveTo>
                  <a:cubicBezTo>
                    <a:pt x="70" y="146"/>
                    <a:pt x="70" y="146"/>
                    <a:pt x="70" y="146"/>
                  </a:cubicBezTo>
                  <a:cubicBezTo>
                    <a:pt x="70" y="146"/>
                    <a:pt x="71" y="144"/>
                    <a:pt x="72" y="145"/>
                  </a:cubicBezTo>
                  <a:cubicBezTo>
                    <a:pt x="72" y="145"/>
                    <a:pt x="73" y="144"/>
                    <a:pt x="73" y="145"/>
                  </a:cubicBezTo>
                  <a:cubicBezTo>
                    <a:pt x="73" y="146"/>
                    <a:pt x="73" y="147"/>
                    <a:pt x="72" y="148"/>
                  </a:cubicBezTo>
                  <a:cubicBezTo>
                    <a:pt x="71" y="148"/>
                    <a:pt x="71" y="148"/>
                    <a:pt x="70" y="148"/>
                  </a:cubicBezTo>
                  <a:cubicBezTo>
                    <a:pt x="70" y="147"/>
                    <a:pt x="70" y="146"/>
                    <a:pt x="70" y="146"/>
                  </a:cubicBezTo>
                  <a:close/>
                  <a:moveTo>
                    <a:pt x="66" y="143"/>
                  </a:moveTo>
                  <a:cubicBezTo>
                    <a:pt x="66" y="143"/>
                    <a:pt x="66" y="143"/>
                    <a:pt x="66" y="143"/>
                  </a:cubicBezTo>
                  <a:cubicBezTo>
                    <a:pt x="66" y="143"/>
                    <a:pt x="66" y="140"/>
                    <a:pt x="67" y="139"/>
                  </a:cubicBezTo>
                  <a:cubicBezTo>
                    <a:pt x="68" y="139"/>
                    <a:pt x="69" y="139"/>
                    <a:pt x="69" y="139"/>
                  </a:cubicBezTo>
                  <a:cubicBezTo>
                    <a:pt x="69" y="139"/>
                    <a:pt x="72" y="142"/>
                    <a:pt x="72" y="142"/>
                  </a:cubicBezTo>
                  <a:cubicBezTo>
                    <a:pt x="72" y="143"/>
                    <a:pt x="71" y="143"/>
                    <a:pt x="70" y="144"/>
                  </a:cubicBezTo>
                  <a:cubicBezTo>
                    <a:pt x="69" y="144"/>
                    <a:pt x="68" y="144"/>
                    <a:pt x="68" y="144"/>
                  </a:cubicBezTo>
                  <a:cubicBezTo>
                    <a:pt x="67" y="143"/>
                    <a:pt x="66" y="143"/>
                    <a:pt x="66" y="143"/>
                  </a:cubicBezTo>
                  <a:close/>
                  <a:moveTo>
                    <a:pt x="37" y="140"/>
                  </a:moveTo>
                  <a:cubicBezTo>
                    <a:pt x="37" y="140"/>
                    <a:pt x="37" y="140"/>
                    <a:pt x="37" y="140"/>
                  </a:cubicBezTo>
                  <a:cubicBezTo>
                    <a:pt x="37" y="141"/>
                    <a:pt x="37" y="140"/>
                    <a:pt x="38" y="141"/>
                  </a:cubicBezTo>
                  <a:cubicBezTo>
                    <a:pt x="38" y="142"/>
                    <a:pt x="37" y="143"/>
                    <a:pt x="37" y="143"/>
                  </a:cubicBezTo>
                  <a:cubicBezTo>
                    <a:pt x="37" y="143"/>
                    <a:pt x="36" y="144"/>
                    <a:pt x="36" y="144"/>
                  </a:cubicBezTo>
                  <a:cubicBezTo>
                    <a:pt x="35" y="143"/>
                    <a:pt x="35" y="142"/>
                    <a:pt x="35" y="142"/>
                  </a:cubicBezTo>
                  <a:cubicBezTo>
                    <a:pt x="37" y="140"/>
                    <a:pt x="37" y="140"/>
                    <a:pt x="37" y="140"/>
                  </a:cubicBezTo>
                  <a:close/>
                  <a:moveTo>
                    <a:pt x="43" y="133"/>
                  </a:moveTo>
                  <a:cubicBezTo>
                    <a:pt x="43" y="133"/>
                    <a:pt x="43" y="133"/>
                    <a:pt x="43" y="133"/>
                  </a:cubicBezTo>
                  <a:cubicBezTo>
                    <a:pt x="44" y="133"/>
                    <a:pt x="45" y="135"/>
                    <a:pt x="45" y="135"/>
                  </a:cubicBezTo>
                  <a:cubicBezTo>
                    <a:pt x="43" y="137"/>
                    <a:pt x="43" y="137"/>
                    <a:pt x="43" y="137"/>
                  </a:cubicBezTo>
                  <a:cubicBezTo>
                    <a:pt x="43" y="137"/>
                    <a:pt x="41" y="138"/>
                    <a:pt x="40" y="138"/>
                  </a:cubicBezTo>
                  <a:cubicBezTo>
                    <a:pt x="40" y="139"/>
                    <a:pt x="41" y="141"/>
                    <a:pt x="40" y="140"/>
                  </a:cubicBezTo>
                  <a:cubicBezTo>
                    <a:pt x="38" y="140"/>
                    <a:pt x="38" y="138"/>
                    <a:pt x="38" y="138"/>
                  </a:cubicBezTo>
                  <a:cubicBezTo>
                    <a:pt x="39" y="137"/>
                    <a:pt x="39" y="137"/>
                    <a:pt x="40" y="136"/>
                  </a:cubicBezTo>
                  <a:cubicBezTo>
                    <a:pt x="40" y="136"/>
                    <a:pt x="42" y="133"/>
                    <a:pt x="42" y="133"/>
                  </a:cubicBezTo>
                  <a:cubicBezTo>
                    <a:pt x="43" y="133"/>
                    <a:pt x="43" y="133"/>
                    <a:pt x="43" y="133"/>
                  </a:cubicBezTo>
                  <a:close/>
                  <a:moveTo>
                    <a:pt x="47" y="121"/>
                  </a:moveTo>
                  <a:cubicBezTo>
                    <a:pt x="47" y="121"/>
                    <a:pt x="47" y="121"/>
                    <a:pt x="47" y="121"/>
                  </a:cubicBezTo>
                  <a:cubicBezTo>
                    <a:pt x="47" y="121"/>
                    <a:pt x="49" y="121"/>
                    <a:pt x="49" y="122"/>
                  </a:cubicBezTo>
                  <a:cubicBezTo>
                    <a:pt x="50" y="122"/>
                    <a:pt x="50" y="124"/>
                    <a:pt x="50" y="124"/>
                  </a:cubicBezTo>
                  <a:cubicBezTo>
                    <a:pt x="50" y="124"/>
                    <a:pt x="51" y="125"/>
                    <a:pt x="50" y="126"/>
                  </a:cubicBezTo>
                  <a:cubicBezTo>
                    <a:pt x="50" y="127"/>
                    <a:pt x="48" y="128"/>
                    <a:pt x="48" y="128"/>
                  </a:cubicBezTo>
                  <a:cubicBezTo>
                    <a:pt x="48" y="132"/>
                    <a:pt x="48" y="132"/>
                    <a:pt x="48" y="132"/>
                  </a:cubicBezTo>
                  <a:cubicBezTo>
                    <a:pt x="47" y="133"/>
                    <a:pt x="47" y="133"/>
                    <a:pt x="47" y="133"/>
                  </a:cubicBezTo>
                  <a:cubicBezTo>
                    <a:pt x="45" y="132"/>
                    <a:pt x="45" y="132"/>
                    <a:pt x="45" y="132"/>
                  </a:cubicBezTo>
                  <a:cubicBezTo>
                    <a:pt x="45" y="128"/>
                    <a:pt x="45" y="128"/>
                    <a:pt x="45" y="128"/>
                  </a:cubicBezTo>
                  <a:cubicBezTo>
                    <a:pt x="44" y="125"/>
                    <a:pt x="44" y="125"/>
                    <a:pt x="44" y="125"/>
                  </a:cubicBezTo>
                  <a:cubicBezTo>
                    <a:pt x="46" y="123"/>
                    <a:pt x="46" y="123"/>
                    <a:pt x="46" y="123"/>
                  </a:cubicBezTo>
                  <a:cubicBezTo>
                    <a:pt x="47" y="121"/>
                    <a:pt x="47" y="121"/>
                    <a:pt x="47" y="121"/>
                  </a:cubicBezTo>
                  <a:close/>
                  <a:moveTo>
                    <a:pt x="49" y="115"/>
                  </a:moveTo>
                  <a:cubicBezTo>
                    <a:pt x="49" y="115"/>
                    <a:pt x="49" y="115"/>
                    <a:pt x="49" y="115"/>
                  </a:cubicBezTo>
                  <a:cubicBezTo>
                    <a:pt x="49" y="115"/>
                    <a:pt x="51" y="114"/>
                    <a:pt x="52" y="115"/>
                  </a:cubicBezTo>
                  <a:cubicBezTo>
                    <a:pt x="52" y="115"/>
                    <a:pt x="52" y="114"/>
                    <a:pt x="53" y="116"/>
                  </a:cubicBezTo>
                  <a:cubicBezTo>
                    <a:pt x="53" y="118"/>
                    <a:pt x="54" y="117"/>
                    <a:pt x="54" y="118"/>
                  </a:cubicBezTo>
                  <a:cubicBezTo>
                    <a:pt x="53" y="119"/>
                    <a:pt x="53" y="120"/>
                    <a:pt x="53" y="120"/>
                  </a:cubicBezTo>
                  <a:cubicBezTo>
                    <a:pt x="52" y="121"/>
                    <a:pt x="53" y="122"/>
                    <a:pt x="51" y="121"/>
                  </a:cubicBezTo>
                  <a:cubicBezTo>
                    <a:pt x="49" y="120"/>
                    <a:pt x="49" y="120"/>
                    <a:pt x="49" y="120"/>
                  </a:cubicBezTo>
                  <a:cubicBezTo>
                    <a:pt x="48" y="119"/>
                    <a:pt x="48" y="119"/>
                    <a:pt x="48" y="119"/>
                  </a:cubicBezTo>
                  <a:cubicBezTo>
                    <a:pt x="49" y="115"/>
                    <a:pt x="49" y="115"/>
                    <a:pt x="49" y="115"/>
                  </a:cubicBezTo>
                  <a:close/>
                  <a:moveTo>
                    <a:pt x="56" y="107"/>
                  </a:moveTo>
                  <a:cubicBezTo>
                    <a:pt x="56" y="107"/>
                    <a:pt x="56" y="107"/>
                    <a:pt x="56" y="107"/>
                  </a:cubicBezTo>
                  <a:cubicBezTo>
                    <a:pt x="56" y="107"/>
                    <a:pt x="57" y="106"/>
                    <a:pt x="56" y="108"/>
                  </a:cubicBezTo>
                  <a:cubicBezTo>
                    <a:pt x="55" y="110"/>
                    <a:pt x="54" y="110"/>
                    <a:pt x="55" y="111"/>
                  </a:cubicBezTo>
                  <a:cubicBezTo>
                    <a:pt x="55" y="111"/>
                    <a:pt x="56" y="111"/>
                    <a:pt x="56" y="111"/>
                  </a:cubicBezTo>
                  <a:cubicBezTo>
                    <a:pt x="56" y="114"/>
                    <a:pt x="56" y="114"/>
                    <a:pt x="56" y="114"/>
                  </a:cubicBezTo>
                  <a:cubicBezTo>
                    <a:pt x="56" y="114"/>
                    <a:pt x="56" y="114"/>
                    <a:pt x="54" y="114"/>
                  </a:cubicBezTo>
                  <a:cubicBezTo>
                    <a:pt x="52" y="114"/>
                    <a:pt x="50" y="113"/>
                    <a:pt x="50" y="113"/>
                  </a:cubicBezTo>
                  <a:cubicBezTo>
                    <a:pt x="47" y="111"/>
                    <a:pt x="47" y="111"/>
                    <a:pt x="47" y="111"/>
                  </a:cubicBezTo>
                  <a:cubicBezTo>
                    <a:pt x="47" y="111"/>
                    <a:pt x="47" y="110"/>
                    <a:pt x="48" y="108"/>
                  </a:cubicBezTo>
                  <a:cubicBezTo>
                    <a:pt x="49" y="107"/>
                    <a:pt x="51" y="107"/>
                    <a:pt x="51" y="107"/>
                  </a:cubicBezTo>
                  <a:cubicBezTo>
                    <a:pt x="51" y="107"/>
                    <a:pt x="52" y="109"/>
                    <a:pt x="53" y="107"/>
                  </a:cubicBezTo>
                  <a:cubicBezTo>
                    <a:pt x="54" y="106"/>
                    <a:pt x="54" y="104"/>
                    <a:pt x="54" y="105"/>
                  </a:cubicBezTo>
                  <a:cubicBezTo>
                    <a:pt x="55" y="106"/>
                    <a:pt x="56" y="107"/>
                    <a:pt x="56" y="107"/>
                  </a:cubicBezTo>
                  <a:close/>
                  <a:moveTo>
                    <a:pt x="63" y="98"/>
                  </a:moveTo>
                  <a:cubicBezTo>
                    <a:pt x="63" y="98"/>
                    <a:pt x="63" y="98"/>
                    <a:pt x="63" y="98"/>
                  </a:cubicBezTo>
                  <a:cubicBezTo>
                    <a:pt x="62" y="97"/>
                    <a:pt x="61" y="96"/>
                    <a:pt x="61" y="96"/>
                  </a:cubicBezTo>
                  <a:cubicBezTo>
                    <a:pt x="63" y="94"/>
                    <a:pt x="63" y="94"/>
                    <a:pt x="63" y="94"/>
                  </a:cubicBezTo>
                  <a:cubicBezTo>
                    <a:pt x="63" y="94"/>
                    <a:pt x="61" y="92"/>
                    <a:pt x="61" y="91"/>
                  </a:cubicBezTo>
                  <a:cubicBezTo>
                    <a:pt x="61" y="90"/>
                    <a:pt x="61" y="89"/>
                    <a:pt x="62" y="88"/>
                  </a:cubicBezTo>
                  <a:cubicBezTo>
                    <a:pt x="63" y="87"/>
                    <a:pt x="64" y="86"/>
                    <a:pt x="65" y="86"/>
                  </a:cubicBezTo>
                  <a:cubicBezTo>
                    <a:pt x="65" y="86"/>
                    <a:pt x="65" y="86"/>
                    <a:pt x="66" y="88"/>
                  </a:cubicBezTo>
                  <a:cubicBezTo>
                    <a:pt x="66" y="89"/>
                    <a:pt x="66" y="90"/>
                    <a:pt x="67" y="90"/>
                  </a:cubicBezTo>
                  <a:cubicBezTo>
                    <a:pt x="68" y="89"/>
                    <a:pt x="68" y="88"/>
                    <a:pt x="69" y="87"/>
                  </a:cubicBezTo>
                  <a:cubicBezTo>
                    <a:pt x="70" y="86"/>
                    <a:pt x="70" y="84"/>
                    <a:pt x="70" y="84"/>
                  </a:cubicBezTo>
                  <a:cubicBezTo>
                    <a:pt x="70" y="84"/>
                    <a:pt x="72" y="85"/>
                    <a:pt x="73" y="84"/>
                  </a:cubicBezTo>
                  <a:cubicBezTo>
                    <a:pt x="74" y="83"/>
                    <a:pt x="73" y="84"/>
                    <a:pt x="76" y="83"/>
                  </a:cubicBezTo>
                  <a:cubicBezTo>
                    <a:pt x="78" y="82"/>
                    <a:pt x="78" y="82"/>
                    <a:pt x="79" y="81"/>
                  </a:cubicBezTo>
                  <a:cubicBezTo>
                    <a:pt x="80" y="80"/>
                    <a:pt x="80" y="81"/>
                    <a:pt x="81" y="80"/>
                  </a:cubicBezTo>
                  <a:cubicBezTo>
                    <a:pt x="81" y="80"/>
                    <a:pt x="82" y="78"/>
                    <a:pt x="83" y="79"/>
                  </a:cubicBezTo>
                  <a:cubicBezTo>
                    <a:pt x="84" y="79"/>
                    <a:pt x="85" y="80"/>
                    <a:pt x="85" y="81"/>
                  </a:cubicBezTo>
                  <a:cubicBezTo>
                    <a:pt x="85" y="82"/>
                    <a:pt x="86" y="83"/>
                    <a:pt x="85" y="84"/>
                  </a:cubicBezTo>
                  <a:cubicBezTo>
                    <a:pt x="84" y="85"/>
                    <a:pt x="84" y="86"/>
                    <a:pt x="84" y="86"/>
                  </a:cubicBezTo>
                  <a:cubicBezTo>
                    <a:pt x="83" y="87"/>
                    <a:pt x="80" y="89"/>
                    <a:pt x="80" y="89"/>
                  </a:cubicBezTo>
                  <a:cubicBezTo>
                    <a:pt x="80" y="89"/>
                    <a:pt x="80" y="90"/>
                    <a:pt x="81" y="90"/>
                  </a:cubicBezTo>
                  <a:cubicBezTo>
                    <a:pt x="82" y="90"/>
                    <a:pt x="83" y="88"/>
                    <a:pt x="83" y="89"/>
                  </a:cubicBezTo>
                  <a:cubicBezTo>
                    <a:pt x="83" y="90"/>
                    <a:pt x="85" y="92"/>
                    <a:pt x="83" y="92"/>
                  </a:cubicBezTo>
                  <a:cubicBezTo>
                    <a:pt x="81" y="92"/>
                    <a:pt x="79" y="92"/>
                    <a:pt x="79" y="92"/>
                  </a:cubicBezTo>
                  <a:cubicBezTo>
                    <a:pt x="78" y="94"/>
                    <a:pt x="78" y="94"/>
                    <a:pt x="78" y="94"/>
                  </a:cubicBezTo>
                  <a:cubicBezTo>
                    <a:pt x="78" y="94"/>
                    <a:pt x="76" y="93"/>
                    <a:pt x="76" y="94"/>
                  </a:cubicBezTo>
                  <a:cubicBezTo>
                    <a:pt x="76" y="95"/>
                    <a:pt x="77" y="96"/>
                    <a:pt x="77" y="96"/>
                  </a:cubicBezTo>
                  <a:cubicBezTo>
                    <a:pt x="75" y="98"/>
                    <a:pt x="75" y="98"/>
                    <a:pt x="75" y="98"/>
                  </a:cubicBezTo>
                  <a:cubicBezTo>
                    <a:pt x="75" y="98"/>
                    <a:pt x="73" y="97"/>
                    <a:pt x="73" y="98"/>
                  </a:cubicBezTo>
                  <a:cubicBezTo>
                    <a:pt x="73" y="99"/>
                    <a:pt x="74" y="101"/>
                    <a:pt x="74" y="101"/>
                  </a:cubicBezTo>
                  <a:cubicBezTo>
                    <a:pt x="74" y="101"/>
                    <a:pt x="74" y="102"/>
                    <a:pt x="73" y="102"/>
                  </a:cubicBezTo>
                  <a:cubicBezTo>
                    <a:pt x="72" y="102"/>
                    <a:pt x="70" y="102"/>
                    <a:pt x="69" y="102"/>
                  </a:cubicBezTo>
                  <a:cubicBezTo>
                    <a:pt x="68" y="101"/>
                    <a:pt x="68" y="101"/>
                    <a:pt x="68" y="101"/>
                  </a:cubicBezTo>
                  <a:cubicBezTo>
                    <a:pt x="67" y="104"/>
                    <a:pt x="67" y="104"/>
                    <a:pt x="67" y="104"/>
                  </a:cubicBezTo>
                  <a:cubicBezTo>
                    <a:pt x="67" y="104"/>
                    <a:pt x="68" y="104"/>
                    <a:pt x="67" y="105"/>
                  </a:cubicBezTo>
                  <a:cubicBezTo>
                    <a:pt x="66" y="106"/>
                    <a:pt x="64" y="106"/>
                    <a:pt x="64" y="106"/>
                  </a:cubicBezTo>
                  <a:cubicBezTo>
                    <a:pt x="64" y="106"/>
                    <a:pt x="63" y="106"/>
                    <a:pt x="63" y="106"/>
                  </a:cubicBezTo>
                  <a:cubicBezTo>
                    <a:pt x="63" y="107"/>
                    <a:pt x="62" y="108"/>
                    <a:pt x="62" y="108"/>
                  </a:cubicBezTo>
                  <a:cubicBezTo>
                    <a:pt x="61" y="108"/>
                    <a:pt x="59" y="106"/>
                    <a:pt x="59" y="106"/>
                  </a:cubicBezTo>
                  <a:cubicBezTo>
                    <a:pt x="59" y="105"/>
                    <a:pt x="58" y="102"/>
                    <a:pt x="59" y="102"/>
                  </a:cubicBezTo>
                  <a:cubicBezTo>
                    <a:pt x="61" y="103"/>
                    <a:pt x="62" y="103"/>
                    <a:pt x="62" y="102"/>
                  </a:cubicBezTo>
                  <a:cubicBezTo>
                    <a:pt x="62" y="100"/>
                    <a:pt x="62" y="99"/>
                    <a:pt x="62" y="99"/>
                  </a:cubicBezTo>
                  <a:cubicBezTo>
                    <a:pt x="63" y="98"/>
                    <a:pt x="63" y="98"/>
                    <a:pt x="63" y="98"/>
                  </a:cubicBezTo>
                  <a:close/>
                  <a:moveTo>
                    <a:pt x="215" y="12"/>
                  </a:moveTo>
                  <a:cubicBezTo>
                    <a:pt x="215" y="12"/>
                    <a:pt x="215" y="12"/>
                    <a:pt x="215" y="12"/>
                  </a:cubicBezTo>
                  <a:cubicBezTo>
                    <a:pt x="216" y="13"/>
                    <a:pt x="218" y="14"/>
                    <a:pt x="218" y="13"/>
                  </a:cubicBezTo>
                  <a:cubicBezTo>
                    <a:pt x="219" y="12"/>
                    <a:pt x="219" y="11"/>
                    <a:pt x="219" y="11"/>
                  </a:cubicBezTo>
                  <a:cubicBezTo>
                    <a:pt x="219" y="10"/>
                    <a:pt x="217" y="10"/>
                    <a:pt x="217" y="10"/>
                  </a:cubicBezTo>
                  <a:cubicBezTo>
                    <a:pt x="216" y="10"/>
                    <a:pt x="215" y="11"/>
                    <a:pt x="215" y="11"/>
                  </a:cubicBezTo>
                  <a:cubicBezTo>
                    <a:pt x="215" y="12"/>
                    <a:pt x="215" y="12"/>
                    <a:pt x="215" y="12"/>
                  </a:cubicBezTo>
                  <a:close/>
                  <a:moveTo>
                    <a:pt x="190" y="26"/>
                  </a:moveTo>
                  <a:cubicBezTo>
                    <a:pt x="190" y="26"/>
                    <a:pt x="190" y="26"/>
                    <a:pt x="190" y="26"/>
                  </a:cubicBezTo>
                  <a:cubicBezTo>
                    <a:pt x="190" y="26"/>
                    <a:pt x="191" y="25"/>
                    <a:pt x="191" y="26"/>
                  </a:cubicBezTo>
                  <a:cubicBezTo>
                    <a:pt x="191" y="27"/>
                    <a:pt x="191" y="27"/>
                    <a:pt x="191" y="28"/>
                  </a:cubicBezTo>
                  <a:cubicBezTo>
                    <a:pt x="190" y="28"/>
                    <a:pt x="188" y="30"/>
                    <a:pt x="188" y="29"/>
                  </a:cubicBezTo>
                  <a:cubicBezTo>
                    <a:pt x="187" y="28"/>
                    <a:pt x="188" y="26"/>
                    <a:pt x="188" y="26"/>
                  </a:cubicBezTo>
                  <a:cubicBezTo>
                    <a:pt x="190" y="26"/>
                    <a:pt x="190" y="26"/>
                    <a:pt x="190" y="26"/>
                  </a:cubicBezTo>
                  <a:close/>
                  <a:moveTo>
                    <a:pt x="204" y="28"/>
                  </a:moveTo>
                  <a:cubicBezTo>
                    <a:pt x="204" y="28"/>
                    <a:pt x="204" y="28"/>
                    <a:pt x="204" y="28"/>
                  </a:cubicBezTo>
                  <a:cubicBezTo>
                    <a:pt x="204" y="28"/>
                    <a:pt x="205" y="28"/>
                    <a:pt x="203" y="28"/>
                  </a:cubicBezTo>
                  <a:cubicBezTo>
                    <a:pt x="201" y="28"/>
                    <a:pt x="200" y="29"/>
                    <a:pt x="200" y="27"/>
                  </a:cubicBezTo>
                  <a:cubicBezTo>
                    <a:pt x="200" y="26"/>
                    <a:pt x="201" y="25"/>
                    <a:pt x="199" y="25"/>
                  </a:cubicBezTo>
                  <a:cubicBezTo>
                    <a:pt x="198" y="25"/>
                    <a:pt x="198" y="25"/>
                    <a:pt x="198" y="25"/>
                  </a:cubicBezTo>
                  <a:cubicBezTo>
                    <a:pt x="197" y="25"/>
                    <a:pt x="197" y="23"/>
                    <a:pt x="198" y="22"/>
                  </a:cubicBezTo>
                  <a:cubicBezTo>
                    <a:pt x="199" y="21"/>
                    <a:pt x="199" y="21"/>
                    <a:pt x="200" y="21"/>
                  </a:cubicBezTo>
                  <a:cubicBezTo>
                    <a:pt x="201" y="22"/>
                    <a:pt x="201" y="22"/>
                    <a:pt x="202" y="22"/>
                  </a:cubicBezTo>
                  <a:cubicBezTo>
                    <a:pt x="204" y="22"/>
                    <a:pt x="204" y="23"/>
                    <a:pt x="204" y="22"/>
                  </a:cubicBezTo>
                  <a:cubicBezTo>
                    <a:pt x="205" y="21"/>
                    <a:pt x="205" y="20"/>
                    <a:pt x="204" y="19"/>
                  </a:cubicBezTo>
                  <a:cubicBezTo>
                    <a:pt x="203" y="18"/>
                    <a:pt x="203" y="18"/>
                    <a:pt x="202" y="17"/>
                  </a:cubicBezTo>
                  <a:cubicBezTo>
                    <a:pt x="202" y="16"/>
                    <a:pt x="200" y="14"/>
                    <a:pt x="200" y="13"/>
                  </a:cubicBezTo>
                  <a:cubicBezTo>
                    <a:pt x="200" y="13"/>
                    <a:pt x="200" y="12"/>
                    <a:pt x="202" y="11"/>
                  </a:cubicBezTo>
                  <a:cubicBezTo>
                    <a:pt x="203" y="10"/>
                    <a:pt x="205" y="8"/>
                    <a:pt x="206" y="8"/>
                  </a:cubicBezTo>
                  <a:cubicBezTo>
                    <a:pt x="207" y="9"/>
                    <a:pt x="208" y="8"/>
                    <a:pt x="208" y="10"/>
                  </a:cubicBezTo>
                  <a:cubicBezTo>
                    <a:pt x="208" y="11"/>
                    <a:pt x="208" y="12"/>
                    <a:pt x="207" y="13"/>
                  </a:cubicBezTo>
                  <a:cubicBezTo>
                    <a:pt x="207" y="13"/>
                    <a:pt x="206" y="14"/>
                    <a:pt x="206" y="14"/>
                  </a:cubicBezTo>
                  <a:cubicBezTo>
                    <a:pt x="206" y="14"/>
                    <a:pt x="206" y="16"/>
                    <a:pt x="207" y="16"/>
                  </a:cubicBezTo>
                  <a:cubicBezTo>
                    <a:pt x="209" y="15"/>
                    <a:pt x="210" y="14"/>
                    <a:pt x="210" y="13"/>
                  </a:cubicBezTo>
                  <a:cubicBezTo>
                    <a:pt x="210" y="12"/>
                    <a:pt x="211" y="13"/>
                    <a:pt x="211" y="11"/>
                  </a:cubicBezTo>
                  <a:cubicBezTo>
                    <a:pt x="210" y="9"/>
                    <a:pt x="209" y="9"/>
                    <a:pt x="210" y="9"/>
                  </a:cubicBezTo>
                  <a:cubicBezTo>
                    <a:pt x="211" y="9"/>
                    <a:pt x="212" y="10"/>
                    <a:pt x="213" y="8"/>
                  </a:cubicBezTo>
                  <a:cubicBezTo>
                    <a:pt x="214" y="6"/>
                    <a:pt x="214" y="5"/>
                    <a:pt x="214" y="5"/>
                  </a:cubicBezTo>
                  <a:cubicBezTo>
                    <a:pt x="214" y="5"/>
                    <a:pt x="214" y="6"/>
                    <a:pt x="215" y="5"/>
                  </a:cubicBezTo>
                  <a:cubicBezTo>
                    <a:pt x="217" y="4"/>
                    <a:pt x="216" y="3"/>
                    <a:pt x="217" y="2"/>
                  </a:cubicBezTo>
                  <a:cubicBezTo>
                    <a:pt x="217" y="2"/>
                    <a:pt x="216" y="0"/>
                    <a:pt x="218" y="1"/>
                  </a:cubicBezTo>
                  <a:cubicBezTo>
                    <a:pt x="220" y="1"/>
                    <a:pt x="220" y="1"/>
                    <a:pt x="221" y="2"/>
                  </a:cubicBezTo>
                  <a:cubicBezTo>
                    <a:pt x="221" y="3"/>
                    <a:pt x="220" y="5"/>
                    <a:pt x="219" y="5"/>
                  </a:cubicBezTo>
                  <a:cubicBezTo>
                    <a:pt x="219" y="5"/>
                    <a:pt x="218" y="5"/>
                    <a:pt x="217" y="6"/>
                  </a:cubicBezTo>
                  <a:cubicBezTo>
                    <a:pt x="216" y="7"/>
                    <a:pt x="217" y="8"/>
                    <a:pt x="217" y="9"/>
                  </a:cubicBezTo>
                  <a:cubicBezTo>
                    <a:pt x="216" y="9"/>
                    <a:pt x="215" y="9"/>
                    <a:pt x="215" y="10"/>
                  </a:cubicBezTo>
                  <a:cubicBezTo>
                    <a:pt x="214" y="10"/>
                    <a:pt x="213" y="11"/>
                    <a:pt x="213" y="11"/>
                  </a:cubicBezTo>
                  <a:cubicBezTo>
                    <a:pt x="214" y="12"/>
                    <a:pt x="213" y="13"/>
                    <a:pt x="212" y="13"/>
                  </a:cubicBezTo>
                  <a:cubicBezTo>
                    <a:pt x="212" y="14"/>
                    <a:pt x="209" y="12"/>
                    <a:pt x="212" y="14"/>
                  </a:cubicBezTo>
                  <a:cubicBezTo>
                    <a:pt x="214" y="15"/>
                    <a:pt x="215" y="15"/>
                    <a:pt x="214" y="16"/>
                  </a:cubicBezTo>
                  <a:cubicBezTo>
                    <a:pt x="213" y="16"/>
                    <a:pt x="212" y="16"/>
                    <a:pt x="211" y="16"/>
                  </a:cubicBezTo>
                  <a:cubicBezTo>
                    <a:pt x="210" y="17"/>
                    <a:pt x="210" y="18"/>
                    <a:pt x="211" y="18"/>
                  </a:cubicBezTo>
                  <a:cubicBezTo>
                    <a:pt x="213" y="19"/>
                    <a:pt x="212" y="19"/>
                    <a:pt x="213" y="19"/>
                  </a:cubicBezTo>
                  <a:cubicBezTo>
                    <a:pt x="214" y="19"/>
                    <a:pt x="218" y="19"/>
                    <a:pt x="217" y="20"/>
                  </a:cubicBezTo>
                  <a:cubicBezTo>
                    <a:pt x="217" y="20"/>
                    <a:pt x="217" y="21"/>
                    <a:pt x="216" y="21"/>
                  </a:cubicBezTo>
                  <a:cubicBezTo>
                    <a:pt x="214" y="22"/>
                    <a:pt x="212" y="22"/>
                    <a:pt x="211" y="21"/>
                  </a:cubicBezTo>
                  <a:cubicBezTo>
                    <a:pt x="210" y="20"/>
                    <a:pt x="210" y="19"/>
                    <a:pt x="210" y="21"/>
                  </a:cubicBezTo>
                  <a:cubicBezTo>
                    <a:pt x="211" y="24"/>
                    <a:pt x="213" y="24"/>
                    <a:pt x="212" y="24"/>
                  </a:cubicBezTo>
                  <a:cubicBezTo>
                    <a:pt x="210" y="24"/>
                    <a:pt x="209" y="24"/>
                    <a:pt x="209" y="24"/>
                  </a:cubicBezTo>
                  <a:cubicBezTo>
                    <a:pt x="209" y="24"/>
                    <a:pt x="208" y="23"/>
                    <a:pt x="209" y="25"/>
                  </a:cubicBezTo>
                  <a:cubicBezTo>
                    <a:pt x="209" y="27"/>
                    <a:pt x="209" y="27"/>
                    <a:pt x="209" y="27"/>
                  </a:cubicBezTo>
                  <a:cubicBezTo>
                    <a:pt x="209" y="27"/>
                    <a:pt x="208" y="28"/>
                    <a:pt x="208" y="28"/>
                  </a:cubicBezTo>
                  <a:cubicBezTo>
                    <a:pt x="208" y="29"/>
                    <a:pt x="209" y="30"/>
                    <a:pt x="209" y="31"/>
                  </a:cubicBezTo>
                  <a:cubicBezTo>
                    <a:pt x="210" y="32"/>
                    <a:pt x="209" y="34"/>
                    <a:pt x="208" y="34"/>
                  </a:cubicBezTo>
                  <a:cubicBezTo>
                    <a:pt x="208" y="35"/>
                    <a:pt x="207" y="35"/>
                    <a:pt x="207" y="36"/>
                  </a:cubicBezTo>
                  <a:cubicBezTo>
                    <a:pt x="206" y="37"/>
                    <a:pt x="206" y="38"/>
                    <a:pt x="206" y="38"/>
                  </a:cubicBezTo>
                  <a:cubicBezTo>
                    <a:pt x="204" y="42"/>
                    <a:pt x="204" y="42"/>
                    <a:pt x="204" y="42"/>
                  </a:cubicBezTo>
                  <a:cubicBezTo>
                    <a:pt x="204" y="42"/>
                    <a:pt x="203" y="44"/>
                    <a:pt x="203" y="42"/>
                  </a:cubicBezTo>
                  <a:cubicBezTo>
                    <a:pt x="202" y="40"/>
                    <a:pt x="202" y="41"/>
                    <a:pt x="202" y="40"/>
                  </a:cubicBezTo>
                  <a:cubicBezTo>
                    <a:pt x="203" y="40"/>
                    <a:pt x="203" y="38"/>
                    <a:pt x="204" y="38"/>
                  </a:cubicBezTo>
                  <a:cubicBezTo>
                    <a:pt x="204" y="37"/>
                    <a:pt x="205" y="34"/>
                    <a:pt x="205" y="34"/>
                  </a:cubicBezTo>
                  <a:cubicBezTo>
                    <a:pt x="205" y="34"/>
                    <a:pt x="206" y="33"/>
                    <a:pt x="207" y="33"/>
                  </a:cubicBezTo>
                  <a:cubicBezTo>
                    <a:pt x="207" y="33"/>
                    <a:pt x="205" y="30"/>
                    <a:pt x="205" y="30"/>
                  </a:cubicBezTo>
                  <a:cubicBezTo>
                    <a:pt x="206" y="28"/>
                    <a:pt x="206" y="28"/>
                    <a:pt x="206" y="28"/>
                  </a:cubicBezTo>
                  <a:cubicBezTo>
                    <a:pt x="204" y="28"/>
                    <a:pt x="204" y="28"/>
                    <a:pt x="204" y="28"/>
                  </a:cubicBezTo>
                  <a:close/>
                  <a:moveTo>
                    <a:pt x="193" y="55"/>
                  </a:moveTo>
                  <a:cubicBezTo>
                    <a:pt x="193" y="55"/>
                    <a:pt x="193" y="55"/>
                    <a:pt x="193" y="55"/>
                  </a:cubicBezTo>
                  <a:cubicBezTo>
                    <a:pt x="193" y="55"/>
                    <a:pt x="195" y="52"/>
                    <a:pt x="195" y="52"/>
                  </a:cubicBezTo>
                  <a:cubicBezTo>
                    <a:pt x="196" y="52"/>
                    <a:pt x="196" y="53"/>
                    <a:pt x="196" y="53"/>
                  </a:cubicBezTo>
                  <a:cubicBezTo>
                    <a:pt x="196" y="54"/>
                    <a:pt x="196" y="56"/>
                    <a:pt x="196" y="55"/>
                  </a:cubicBezTo>
                  <a:cubicBezTo>
                    <a:pt x="195" y="55"/>
                    <a:pt x="194" y="55"/>
                    <a:pt x="194" y="55"/>
                  </a:cubicBezTo>
                  <a:cubicBezTo>
                    <a:pt x="193" y="55"/>
                    <a:pt x="193" y="55"/>
                    <a:pt x="193" y="55"/>
                  </a:cubicBezTo>
                  <a:close/>
                  <a:moveTo>
                    <a:pt x="158" y="79"/>
                  </a:moveTo>
                  <a:cubicBezTo>
                    <a:pt x="158" y="79"/>
                    <a:pt x="158" y="79"/>
                    <a:pt x="158" y="79"/>
                  </a:cubicBezTo>
                  <a:cubicBezTo>
                    <a:pt x="160" y="78"/>
                    <a:pt x="160" y="78"/>
                    <a:pt x="160" y="78"/>
                  </a:cubicBezTo>
                  <a:cubicBezTo>
                    <a:pt x="162" y="78"/>
                    <a:pt x="162" y="78"/>
                    <a:pt x="162" y="78"/>
                  </a:cubicBezTo>
                  <a:cubicBezTo>
                    <a:pt x="162" y="78"/>
                    <a:pt x="163" y="77"/>
                    <a:pt x="163" y="79"/>
                  </a:cubicBezTo>
                  <a:cubicBezTo>
                    <a:pt x="162" y="80"/>
                    <a:pt x="160" y="83"/>
                    <a:pt x="160" y="83"/>
                  </a:cubicBezTo>
                  <a:cubicBezTo>
                    <a:pt x="160" y="83"/>
                    <a:pt x="161" y="83"/>
                    <a:pt x="160" y="83"/>
                  </a:cubicBezTo>
                  <a:cubicBezTo>
                    <a:pt x="158" y="84"/>
                    <a:pt x="158" y="85"/>
                    <a:pt x="157" y="84"/>
                  </a:cubicBezTo>
                  <a:cubicBezTo>
                    <a:pt x="156" y="83"/>
                    <a:pt x="156" y="83"/>
                    <a:pt x="156" y="82"/>
                  </a:cubicBezTo>
                  <a:cubicBezTo>
                    <a:pt x="156" y="81"/>
                    <a:pt x="156" y="79"/>
                    <a:pt x="156" y="79"/>
                  </a:cubicBezTo>
                  <a:cubicBezTo>
                    <a:pt x="158" y="79"/>
                    <a:pt x="158" y="79"/>
                    <a:pt x="158" y="79"/>
                  </a:cubicBezTo>
                  <a:close/>
                  <a:moveTo>
                    <a:pt x="175" y="59"/>
                  </a:moveTo>
                  <a:cubicBezTo>
                    <a:pt x="175" y="59"/>
                    <a:pt x="175" y="59"/>
                    <a:pt x="175" y="59"/>
                  </a:cubicBezTo>
                  <a:cubicBezTo>
                    <a:pt x="175" y="58"/>
                    <a:pt x="176" y="57"/>
                    <a:pt x="177" y="57"/>
                  </a:cubicBezTo>
                  <a:cubicBezTo>
                    <a:pt x="177" y="57"/>
                    <a:pt x="178" y="57"/>
                    <a:pt x="178" y="58"/>
                  </a:cubicBezTo>
                  <a:cubicBezTo>
                    <a:pt x="177" y="59"/>
                    <a:pt x="177" y="60"/>
                    <a:pt x="176" y="60"/>
                  </a:cubicBezTo>
                  <a:cubicBezTo>
                    <a:pt x="175" y="60"/>
                    <a:pt x="175" y="59"/>
                    <a:pt x="175" y="59"/>
                  </a:cubicBezTo>
                  <a:close/>
                  <a:moveTo>
                    <a:pt x="172" y="62"/>
                  </a:moveTo>
                  <a:cubicBezTo>
                    <a:pt x="172" y="62"/>
                    <a:pt x="172" y="62"/>
                    <a:pt x="172" y="62"/>
                  </a:cubicBezTo>
                  <a:cubicBezTo>
                    <a:pt x="172" y="62"/>
                    <a:pt x="174" y="61"/>
                    <a:pt x="174" y="61"/>
                  </a:cubicBezTo>
                  <a:cubicBezTo>
                    <a:pt x="174" y="62"/>
                    <a:pt x="175" y="61"/>
                    <a:pt x="174" y="62"/>
                  </a:cubicBezTo>
                  <a:cubicBezTo>
                    <a:pt x="174" y="63"/>
                    <a:pt x="176" y="63"/>
                    <a:pt x="174" y="64"/>
                  </a:cubicBezTo>
                  <a:cubicBezTo>
                    <a:pt x="172" y="65"/>
                    <a:pt x="172" y="66"/>
                    <a:pt x="171" y="65"/>
                  </a:cubicBezTo>
                  <a:cubicBezTo>
                    <a:pt x="170" y="64"/>
                    <a:pt x="170" y="63"/>
                    <a:pt x="170" y="63"/>
                  </a:cubicBezTo>
                  <a:cubicBezTo>
                    <a:pt x="170" y="62"/>
                    <a:pt x="171" y="61"/>
                    <a:pt x="171" y="61"/>
                  </a:cubicBezTo>
                  <a:cubicBezTo>
                    <a:pt x="171" y="61"/>
                    <a:pt x="172" y="62"/>
                    <a:pt x="172" y="62"/>
                  </a:cubicBezTo>
                  <a:close/>
                  <a:moveTo>
                    <a:pt x="166" y="65"/>
                  </a:moveTo>
                  <a:cubicBezTo>
                    <a:pt x="166" y="65"/>
                    <a:pt x="166" y="65"/>
                    <a:pt x="166" y="65"/>
                  </a:cubicBezTo>
                  <a:cubicBezTo>
                    <a:pt x="166" y="65"/>
                    <a:pt x="167" y="66"/>
                    <a:pt x="167" y="66"/>
                  </a:cubicBezTo>
                  <a:cubicBezTo>
                    <a:pt x="167" y="66"/>
                    <a:pt x="168" y="66"/>
                    <a:pt x="169" y="65"/>
                  </a:cubicBezTo>
                  <a:cubicBezTo>
                    <a:pt x="170" y="65"/>
                    <a:pt x="169" y="65"/>
                    <a:pt x="169" y="64"/>
                  </a:cubicBezTo>
                  <a:cubicBezTo>
                    <a:pt x="170" y="63"/>
                    <a:pt x="169" y="63"/>
                    <a:pt x="169" y="63"/>
                  </a:cubicBezTo>
                  <a:cubicBezTo>
                    <a:pt x="169" y="62"/>
                    <a:pt x="168" y="62"/>
                    <a:pt x="167" y="62"/>
                  </a:cubicBezTo>
                  <a:cubicBezTo>
                    <a:pt x="166" y="62"/>
                    <a:pt x="166" y="65"/>
                    <a:pt x="166" y="65"/>
                  </a:cubicBezTo>
                  <a:close/>
                  <a:moveTo>
                    <a:pt x="169" y="69"/>
                  </a:moveTo>
                  <a:cubicBezTo>
                    <a:pt x="169" y="69"/>
                    <a:pt x="169" y="69"/>
                    <a:pt x="169" y="69"/>
                  </a:cubicBezTo>
                  <a:cubicBezTo>
                    <a:pt x="169" y="69"/>
                    <a:pt x="169" y="68"/>
                    <a:pt x="170" y="68"/>
                  </a:cubicBezTo>
                  <a:cubicBezTo>
                    <a:pt x="171" y="68"/>
                    <a:pt x="171" y="68"/>
                    <a:pt x="171" y="68"/>
                  </a:cubicBezTo>
                  <a:cubicBezTo>
                    <a:pt x="171" y="69"/>
                    <a:pt x="171" y="70"/>
                    <a:pt x="170" y="70"/>
                  </a:cubicBezTo>
                  <a:cubicBezTo>
                    <a:pt x="170" y="70"/>
                    <a:pt x="169" y="69"/>
                    <a:pt x="169" y="69"/>
                  </a:cubicBezTo>
                  <a:close/>
                  <a:moveTo>
                    <a:pt x="162" y="70"/>
                  </a:moveTo>
                  <a:cubicBezTo>
                    <a:pt x="162" y="70"/>
                    <a:pt x="162" y="70"/>
                    <a:pt x="162" y="70"/>
                  </a:cubicBezTo>
                  <a:cubicBezTo>
                    <a:pt x="163" y="68"/>
                    <a:pt x="163" y="68"/>
                    <a:pt x="163" y="68"/>
                  </a:cubicBezTo>
                  <a:cubicBezTo>
                    <a:pt x="164" y="69"/>
                    <a:pt x="164" y="69"/>
                    <a:pt x="164" y="69"/>
                  </a:cubicBezTo>
                  <a:cubicBezTo>
                    <a:pt x="164" y="69"/>
                    <a:pt x="165" y="70"/>
                    <a:pt x="165" y="70"/>
                  </a:cubicBezTo>
                  <a:cubicBezTo>
                    <a:pt x="164" y="71"/>
                    <a:pt x="164" y="71"/>
                    <a:pt x="163" y="71"/>
                  </a:cubicBezTo>
                  <a:cubicBezTo>
                    <a:pt x="163" y="71"/>
                    <a:pt x="162" y="71"/>
                    <a:pt x="162" y="71"/>
                  </a:cubicBezTo>
                  <a:cubicBezTo>
                    <a:pt x="162" y="70"/>
                    <a:pt x="162" y="70"/>
                    <a:pt x="162" y="70"/>
                  </a:cubicBezTo>
                  <a:close/>
                  <a:moveTo>
                    <a:pt x="162" y="59"/>
                  </a:moveTo>
                  <a:cubicBezTo>
                    <a:pt x="162" y="59"/>
                    <a:pt x="162" y="59"/>
                    <a:pt x="162" y="59"/>
                  </a:cubicBezTo>
                  <a:cubicBezTo>
                    <a:pt x="162" y="59"/>
                    <a:pt x="164" y="57"/>
                    <a:pt x="164" y="57"/>
                  </a:cubicBezTo>
                  <a:cubicBezTo>
                    <a:pt x="164" y="57"/>
                    <a:pt x="165" y="56"/>
                    <a:pt x="165" y="58"/>
                  </a:cubicBezTo>
                  <a:cubicBezTo>
                    <a:pt x="166" y="59"/>
                    <a:pt x="167" y="61"/>
                    <a:pt x="165" y="61"/>
                  </a:cubicBezTo>
                  <a:cubicBezTo>
                    <a:pt x="163" y="61"/>
                    <a:pt x="162" y="62"/>
                    <a:pt x="162" y="61"/>
                  </a:cubicBezTo>
                  <a:cubicBezTo>
                    <a:pt x="162" y="60"/>
                    <a:pt x="162" y="59"/>
                    <a:pt x="162" y="59"/>
                  </a:cubicBezTo>
                  <a:close/>
                  <a:moveTo>
                    <a:pt x="159" y="64"/>
                  </a:moveTo>
                  <a:cubicBezTo>
                    <a:pt x="159" y="64"/>
                    <a:pt x="159" y="64"/>
                    <a:pt x="159" y="64"/>
                  </a:cubicBezTo>
                  <a:cubicBezTo>
                    <a:pt x="159" y="64"/>
                    <a:pt x="161" y="63"/>
                    <a:pt x="161" y="63"/>
                  </a:cubicBezTo>
                  <a:cubicBezTo>
                    <a:pt x="162" y="63"/>
                    <a:pt x="163" y="63"/>
                    <a:pt x="163" y="64"/>
                  </a:cubicBezTo>
                  <a:cubicBezTo>
                    <a:pt x="163" y="65"/>
                    <a:pt x="163" y="65"/>
                    <a:pt x="162" y="66"/>
                  </a:cubicBezTo>
                  <a:cubicBezTo>
                    <a:pt x="162" y="66"/>
                    <a:pt x="161" y="67"/>
                    <a:pt x="161" y="66"/>
                  </a:cubicBezTo>
                  <a:cubicBezTo>
                    <a:pt x="160" y="66"/>
                    <a:pt x="159" y="64"/>
                    <a:pt x="159" y="64"/>
                  </a:cubicBezTo>
                  <a:close/>
                  <a:moveTo>
                    <a:pt x="161" y="74"/>
                  </a:moveTo>
                  <a:cubicBezTo>
                    <a:pt x="161" y="74"/>
                    <a:pt x="161" y="74"/>
                    <a:pt x="161" y="74"/>
                  </a:cubicBezTo>
                  <a:cubicBezTo>
                    <a:pt x="161" y="74"/>
                    <a:pt x="160" y="77"/>
                    <a:pt x="161" y="77"/>
                  </a:cubicBezTo>
                  <a:cubicBezTo>
                    <a:pt x="161" y="78"/>
                    <a:pt x="163" y="77"/>
                    <a:pt x="163" y="77"/>
                  </a:cubicBezTo>
                  <a:cubicBezTo>
                    <a:pt x="164" y="77"/>
                    <a:pt x="164" y="75"/>
                    <a:pt x="164" y="75"/>
                  </a:cubicBezTo>
                  <a:cubicBezTo>
                    <a:pt x="164" y="75"/>
                    <a:pt x="163" y="74"/>
                    <a:pt x="163" y="73"/>
                  </a:cubicBezTo>
                  <a:cubicBezTo>
                    <a:pt x="162" y="72"/>
                    <a:pt x="161" y="74"/>
                    <a:pt x="161" y="74"/>
                  </a:cubicBezTo>
                  <a:close/>
                  <a:moveTo>
                    <a:pt x="154" y="71"/>
                  </a:moveTo>
                  <a:cubicBezTo>
                    <a:pt x="154" y="71"/>
                    <a:pt x="154" y="71"/>
                    <a:pt x="154" y="71"/>
                  </a:cubicBezTo>
                  <a:cubicBezTo>
                    <a:pt x="154" y="74"/>
                    <a:pt x="154" y="74"/>
                    <a:pt x="154" y="74"/>
                  </a:cubicBezTo>
                  <a:cubicBezTo>
                    <a:pt x="154" y="74"/>
                    <a:pt x="156" y="75"/>
                    <a:pt x="156" y="75"/>
                  </a:cubicBezTo>
                  <a:cubicBezTo>
                    <a:pt x="157" y="76"/>
                    <a:pt x="157" y="76"/>
                    <a:pt x="158" y="76"/>
                  </a:cubicBezTo>
                  <a:cubicBezTo>
                    <a:pt x="160" y="76"/>
                    <a:pt x="159" y="76"/>
                    <a:pt x="160" y="76"/>
                  </a:cubicBezTo>
                  <a:cubicBezTo>
                    <a:pt x="160" y="75"/>
                    <a:pt x="160" y="75"/>
                    <a:pt x="160" y="75"/>
                  </a:cubicBezTo>
                  <a:cubicBezTo>
                    <a:pt x="160" y="75"/>
                    <a:pt x="159" y="73"/>
                    <a:pt x="158" y="73"/>
                  </a:cubicBezTo>
                  <a:cubicBezTo>
                    <a:pt x="158" y="73"/>
                    <a:pt x="158" y="72"/>
                    <a:pt x="158" y="72"/>
                  </a:cubicBezTo>
                  <a:cubicBezTo>
                    <a:pt x="158" y="71"/>
                    <a:pt x="159" y="71"/>
                    <a:pt x="159" y="70"/>
                  </a:cubicBezTo>
                  <a:cubicBezTo>
                    <a:pt x="160" y="70"/>
                    <a:pt x="160" y="68"/>
                    <a:pt x="160" y="68"/>
                  </a:cubicBezTo>
                  <a:cubicBezTo>
                    <a:pt x="160" y="68"/>
                    <a:pt x="158" y="68"/>
                    <a:pt x="158" y="67"/>
                  </a:cubicBezTo>
                  <a:cubicBezTo>
                    <a:pt x="158" y="67"/>
                    <a:pt x="157" y="66"/>
                    <a:pt x="157" y="66"/>
                  </a:cubicBezTo>
                  <a:cubicBezTo>
                    <a:pt x="156" y="65"/>
                    <a:pt x="155" y="65"/>
                    <a:pt x="154" y="65"/>
                  </a:cubicBezTo>
                  <a:cubicBezTo>
                    <a:pt x="154" y="65"/>
                    <a:pt x="153" y="67"/>
                    <a:pt x="153" y="68"/>
                  </a:cubicBezTo>
                  <a:cubicBezTo>
                    <a:pt x="153" y="69"/>
                    <a:pt x="152" y="70"/>
                    <a:pt x="151" y="70"/>
                  </a:cubicBezTo>
                  <a:cubicBezTo>
                    <a:pt x="151" y="71"/>
                    <a:pt x="152" y="72"/>
                    <a:pt x="153" y="72"/>
                  </a:cubicBezTo>
                  <a:cubicBezTo>
                    <a:pt x="153" y="72"/>
                    <a:pt x="154" y="71"/>
                    <a:pt x="154" y="71"/>
                  </a:cubicBezTo>
                  <a:close/>
                  <a:moveTo>
                    <a:pt x="151" y="78"/>
                  </a:moveTo>
                  <a:cubicBezTo>
                    <a:pt x="151" y="78"/>
                    <a:pt x="151" y="78"/>
                    <a:pt x="151" y="78"/>
                  </a:cubicBezTo>
                  <a:cubicBezTo>
                    <a:pt x="151" y="78"/>
                    <a:pt x="149" y="76"/>
                    <a:pt x="149" y="76"/>
                  </a:cubicBezTo>
                  <a:cubicBezTo>
                    <a:pt x="149" y="76"/>
                    <a:pt x="151" y="75"/>
                    <a:pt x="151" y="75"/>
                  </a:cubicBezTo>
                  <a:cubicBezTo>
                    <a:pt x="151" y="75"/>
                    <a:pt x="151" y="74"/>
                    <a:pt x="152" y="74"/>
                  </a:cubicBezTo>
                  <a:cubicBezTo>
                    <a:pt x="154" y="74"/>
                    <a:pt x="154" y="75"/>
                    <a:pt x="154" y="75"/>
                  </a:cubicBezTo>
                  <a:cubicBezTo>
                    <a:pt x="154" y="75"/>
                    <a:pt x="155" y="77"/>
                    <a:pt x="155" y="77"/>
                  </a:cubicBezTo>
                  <a:cubicBezTo>
                    <a:pt x="155" y="78"/>
                    <a:pt x="155" y="78"/>
                    <a:pt x="155" y="79"/>
                  </a:cubicBezTo>
                  <a:cubicBezTo>
                    <a:pt x="155" y="79"/>
                    <a:pt x="156" y="80"/>
                    <a:pt x="154" y="80"/>
                  </a:cubicBezTo>
                  <a:cubicBezTo>
                    <a:pt x="153" y="80"/>
                    <a:pt x="152" y="80"/>
                    <a:pt x="152" y="80"/>
                  </a:cubicBezTo>
                  <a:lnTo>
                    <a:pt x="151" y="78"/>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Rectangle 76"/>
            <p:cNvSpPr>
              <a:spLocks noChangeArrowheads="1"/>
            </p:cNvSpPr>
            <p:nvPr/>
          </p:nvSpPr>
          <p:spPr bwMode="auto">
            <a:xfrm>
              <a:off x="4006708" y="3714299"/>
              <a:ext cx="1444" cy="1362"/>
            </a:xfrm>
            <a:prstGeom prst="rect">
              <a:avLst/>
            </a:pr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 name="Rectangle 77"/>
            <p:cNvSpPr>
              <a:spLocks noChangeArrowheads="1"/>
            </p:cNvSpPr>
            <p:nvPr/>
          </p:nvSpPr>
          <p:spPr bwMode="auto">
            <a:xfrm>
              <a:off x="4015373" y="3703406"/>
              <a:ext cx="1444" cy="1362"/>
            </a:xfrm>
            <a:prstGeom prst="rect">
              <a:avLst/>
            </a:pr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 name="Freeform 78"/>
            <p:cNvSpPr>
              <a:spLocks/>
            </p:cNvSpPr>
            <p:nvPr/>
          </p:nvSpPr>
          <p:spPr bwMode="auto">
            <a:xfrm>
              <a:off x="3989379" y="363260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 name="Freeform 79"/>
            <p:cNvSpPr>
              <a:spLocks/>
            </p:cNvSpPr>
            <p:nvPr/>
          </p:nvSpPr>
          <p:spPr bwMode="auto">
            <a:xfrm>
              <a:off x="3989379" y="362988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 name="Rectangle 80"/>
            <p:cNvSpPr>
              <a:spLocks noChangeArrowheads="1"/>
            </p:cNvSpPr>
            <p:nvPr/>
          </p:nvSpPr>
          <p:spPr bwMode="auto">
            <a:xfrm>
              <a:off x="3977826" y="3618987"/>
              <a:ext cx="1444" cy="1362"/>
            </a:xfrm>
            <a:prstGeom prst="rect">
              <a:avLst/>
            </a:pr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 name="Freeform 81"/>
            <p:cNvSpPr>
              <a:spLocks/>
            </p:cNvSpPr>
            <p:nvPr/>
          </p:nvSpPr>
          <p:spPr bwMode="auto">
            <a:xfrm>
              <a:off x="4003820" y="37714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 name="Rectangle 82"/>
            <p:cNvSpPr>
              <a:spLocks noChangeArrowheads="1"/>
            </p:cNvSpPr>
            <p:nvPr/>
          </p:nvSpPr>
          <p:spPr bwMode="auto">
            <a:xfrm>
              <a:off x="4015373" y="3717022"/>
              <a:ext cx="1444" cy="1362"/>
            </a:xfrm>
            <a:prstGeom prst="rect">
              <a:avLst/>
            </a:pr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 name="Freeform 83"/>
            <p:cNvSpPr>
              <a:spLocks/>
            </p:cNvSpPr>
            <p:nvPr/>
          </p:nvSpPr>
          <p:spPr bwMode="auto">
            <a:xfrm>
              <a:off x="3931613" y="376876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 name="Freeform 84"/>
            <p:cNvSpPr>
              <a:spLocks/>
            </p:cNvSpPr>
            <p:nvPr/>
          </p:nvSpPr>
          <p:spPr bwMode="auto">
            <a:xfrm>
              <a:off x="4110687" y="351822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 name="Freeform 85"/>
            <p:cNvSpPr>
              <a:spLocks/>
            </p:cNvSpPr>
            <p:nvPr/>
          </p:nvSpPr>
          <p:spPr bwMode="auto">
            <a:xfrm>
              <a:off x="3998044" y="37742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 name="Rectangle 86"/>
            <p:cNvSpPr>
              <a:spLocks noChangeArrowheads="1"/>
            </p:cNvSpPr>
            <p:nvPr/>
          </p:nvSpPr>
          <p:spPr bwMode="auto">
            <a:xfrm>
              <a:off x="3888288" y="3812334"/>
              <a:ext cx="1444" cy="1362"/>
            </a:xfrm>
            <a:prstGeom prst="rect">
              <a:avLst/>
            </a:pr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 name="Freeform 87"/>
            <p:cNvSpPr>
              <a:spLocks/>
            </p:cNvSpPr>
            <p:nvPr/>
          </p:nvSpPr>
          <p:spPr bwMode="auto">
            <a:xfrm>
              <a:off x="3917171" y="381505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 name="Freeform 88"/>
            <p:cNvSpPr>
              <a:spLocks/>
            </p:cNvSpPr>
            <p:nvPr/>
          </p:nvSpPr>
          <p:spPr bwMode="auto">
            <a:xfrm>
              <a:off x="3920060" y="381778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 name="Freeform 89"/>
            <p:cNvSpPr>
              <a:spLocks/>
            </p:cNvSpPr>
            <p:nvPr/>
          </p:nvSpPr>
          <p:spPr bwMode="auto">
            <a:xfrm>
              <a:off x="3896953" y="379599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 name="Freeform 90"/>
            <p:cNvSpPr>
              <a:spLocks/>
            </p:cNvSpPr>
            <p:nvPr/>
          </p:nvSpPr>
          <p:spPr bwMode="auto">
            <a:xfrm>
              <a:off x="3868070" y="3493720"/>
              <a:ext cx="371146" cy="409841"/>
            </a:xfrm>
            <a:custGeom>
              <a:avLst/>
              <a:gdLst>
                <a:gd name="T0" fmla="*/ 93 w 128"/>
                <a:gd name="T1" fmla="*/ 137 h 150"/>
                <a:gd name="T2" fmla="*/ 108 w 128"/>
                <a:gd name="T3" fmla="*/ 137 h 150"/>
                <a:gd name="T4" fmla="*/ 109 w 128"/>
                <a:gd name="T5" fmla="*/ 131 h 150"/>
                <a:gd name="T6" fmla="*/ 122 w 128"/>
                <a:gd name="T7" fmla="*/ 111 h 150"/>
                <a:gd name="T8" fmla="*/ 123 w 128"/>
                <a:gd name="T9" fmla="*/ 91 h 150"/>
                <a:gd name="T10" fmla="*/ 125 w 128"/>
                <a:gd name="T11" fmla="*/ 72 h 150"/>
                <a:gd name="T12" fmla="*/ 113 w 128"/>
                <a:gd name="T13" fmla="*/ 48 h 150"/>
                <a:gd name="T14" fmla="*/ 91 w 128"/>
                <a:gd name="T15" fmla="*/ 49 h 150"/>
                <a:gd name="T16" fmla="*/ 93 w 128"/>
                <a:gd name="T17" fmla="*/ 29 h 150"/>
                <a:gd name="T18" fmla="*/ 113 w 128"/>
                <a:gd name="T19" fmla="*/ 15 h 150"/>
                <a:gd name="T20" fmla="*/ 120 w 128"/>
                <a:gd name="T21" fmla="*/ 5 h 150"/>
                <a:gd name="T22" fmla="*/ 117 w 128"/>
                <a:gd name="T23" fmla="*/ 4 h 150"/>
                <a:gd name="T24" fmla="*/ 109 w 128"/>
                <a:gd name="T25" fmla="*/ 4 h 150"/>
                <a:gd name="T26" fmla="*/ 107 w 128"/>
                <a:gd name="T27" fmla="*/ 13 h 150"/>
                <a:gd name="T28" fmla="*/ 107 w 128"/>
                <a:gd name="T29" fmla="*/ 5 h 150"/>
                <a:gd name="T30" fmla="*/ 98 w 128"/>
                <a:gd name="T31" fmla="*/ 3 h 150"/>
                <a:gd name="T32" fmla="*/ 86 w 128"/>
                <a:gd name="T33" fmla="*/ 8 h 150"/>
                <a:gd name="T34" fmla="*/ 86 w 128"/>
                <a:gd name="T35" fmla="*/ 15 h 150"/>
                <a:gd name="T36" fmla="*/ 80 w 128"/>
                <a:gd name="T37" fmla="*/ 18 h 150"/>
                <a:gd name="T38" fmla="*/ 77 w 128"/>
                <a:gd name="T39" fmla="*/ 24 h 150"/>
                <a:gd name="T40" fmla="*/ 87 w 128"/>
                <a:gd name="T41" fmla="*/ 25 h 150"/>
                <a:gd name="T42" fmla="*/ 73 w 128"/>
                <a:gd name="T43" fmla="*/ 34 h 150"/>
                <a:gd name="T44" fmla="*/ 72 w 128"/>
                <a:gd name="T45" fmla="*/ 41 h 150"/>
                <a:gd name="T46" fmla="*/ 58 w 128"/>
                <a:gd name="T47" fmla="*/ 37 h 150"/>
                <a:gd name="T48" fmla="*/ 49 w 128"/>
                <a:gd name="T49" fmla="*/ 29 h 150"/>
                <a:gd name="T50" fmla="*/ 39 w 128"/>
                <a:gd name="T51" fmla="*/ 28 h 150"/>
                <a:gd name="T52" fmla="*/ 36 w 128"/>
                <a:gd name="T53" fmla="*/ 33 h 150"/>
                <a:gd name="T54" fmla="*/ 37 w 128"/>
                <a:gd name="T55" fmla="*/ 38 h 150"/>
                <a:gd name="T56" fmla="*/ 28 w 128"/>
                <a:gd name="T57" fmla="*/ 39 h 150"/>
                <a:gd name="T58" fmla="*/ 38 w 128"/>
                <a:gd name="T59" fmla="*/ 46 h 150"/>
                <a:gd name="T60" fmla="*/ 36 w 128"/>
                <a:gd name="T61" fmla="*/ 50 h 150"/>
                <a:gd name="T62" fmla="*/ 34 w 128"/>
                <a:gd name="T63" fmla="*/ 57 h 150"/>
                <a:gd name="T64" fmla="*/ 28 w 128"/>
                <a:gd name="T65" fmla="*/ 61 h 150"/>
                <a:gd name="T66" fmla="*/ 28 w 128"/>
                <a:gd name="T67" fmla="*/ 65 h 150"/>
                <a:gd name="T68" fmla="*/ 32 w 128"/>
                <a:gd name="T69" fmla="*/ 70 h 150"/>
                <a:gd name="T70" fmla="*/ 36 w 128"/>
                <a:gd name="T71" fmla="*/ 72 h 150"/>
                <a:gd name="T72" fmla="*/ 37 w 128"/>
                <a:gd name="T73" fmla="*/ 74 h 150"/>
                <a:gd name="T74" fmla="*/ 51 w 128"/>
                <a:gd name="T75" fmla="*/ 77 h 150"/>
                <a:gd name="T76" fmla="*/ 51 w 128"/>
                <a:gd name="T77" fmla="*/ 82 h 150"/>
                <a:gd name="T78" fmla="*/ 39 w 128"/>
                <a:gd name="T79" fmla="*/ 85 h 150"/>
                <a:gd name="T80" fmla="*/ 29 w 128"/>
                <a:gd name="T81" fmla="*/ 95 h 150"/>
                <a:gd name="T82" fmla="*/ 23 w 128"/>
                <a:gd name="T83" fmla="*/ 101 h 150"/>
                <a:gd name="T84" fmla="*/ 35 w 128"/>
                <a:gd name="T85" fmla="*/ 102 h 150"/>
                <a:gd name="T86" fmla="*/ 46 w 128"/>
                <a:gd name="T87" fmla="*/ 99 h 150"/>
                <a:gd name="T88" fmla="*/ 34 w 128"/>
                <a:gd name="T89" fmla="*/ 104 h 150"/>
                <a:gd name="T90" fmla="*/ 24 w 128"/>
                <a:gd name="T91" fmla="*/ 106 h 150"/>
                <a:gd name="T92" fmla="*/ 19 w 128"/>
                <a:gd name="T93" fmla="*/ 114 h 150"/>
                <a:gd name="T94" fmla="*/ 13 w 128"/>
                <a:gd name="T95" fmla="*/ 111 h 150"/>
                <a:gd name="T96" fmla="*/ 5 w 128"/>
                <a:gd name="T97" fmla="*/ 111 h 150"/>
                <a:gd name="T98" fmla="*/ 8 w 128"/>
                <a:gd name="T99" fmla="*/ 117 h 150"/>
                <a:gd name="T100" fmla="*/ 19 w 128"/>
                <a:gd name="T101" fmla="*/ 118 h 150"/>
                <a:gd name="T102" fmla="*/ 8 w 128"/>
                <a:gd name="T103" fmla="*/ 121 h 150"/>
                <a:gd name="T104" fmla="*/ 0 w 128"/>
                <a:gd name="T105" fmla="*/ 128 h 150"/>
                <a:gd name="T106" fmla="*/ 4 w 128"/>
                <a:gd name="T107" fmla="*/ 132 h 150"/>
                <a:gd name="T108" fmla="*/ 16 w 128"/>
                <a:gd name="T109" fmla="*/ 131 h 150"/>
                <a:gd name="T110" fmla="*/ 5 w 128"/>
                <a:gd name="T111" fmla="*/ 137 h 150"/>
                <a:gd name="T112" fmla="*/ 15 w 128"/>
                <a:gd name="T113" fmla="*/ 139 h 150"/>
                <a:gd name="T114" fmla="*/ 11 w 128"/>
                <a:gd name="T115" fmla="*/ 143 h 150"/>
                <a:gd name="T116" fmla="*/ 16 w 128"/>
                <a:gd name="T117" fmla="*/ 144 h 150"/>
                <a:gd name="T118" fmla="*/ 23 w 128"/>
                <a:gd name="T119" fmla="*/ 149 h 150"/>
                <a:gd name="T120" fmla="*/ 46 w 128"/>
                <a:gd name="T121" fmla="*/ 146 h 150"/>
                <a:gd name="T122" fmla="*/ 56 w 128"/>
                <a:gd name="T123" fmla="*/ 144 h 150"/>
                <a:gd name="T124" fmla="*/ 75 w 128"/>
                <a:gd name="T125"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8" h="150">
                  <a:moveTo>
                    <a:pt x="75" y="138"/>
                  </a:moveTo>
                  <a:cubicBezTo>
                    <a:pt x="74" y="138"/>
                    <a:pt x="74" y="138"/>
                    <a:pt x="74" y="138"/>
                  </a:cubicBezTo>
                  <a:cubicBezTo>
                    <a:pt x="74" y="136"/>
                    <a:pt x="74" y="136"/>
                    <a:pt x="74" y="136"/>
                  </a:cubicBezTo>
                  <a:cubicBezTo>
                    <a:pt x="80" y="136"/>
                    <a:pt x="80" y="136"/>
                    <a:pt x="80" y="136"/>
                  </a:cubicBezTo>
                  <a:cubicBezTo>
                    <a:pt x="82" y="136"/>
                    <a:pt x="82" y="136"/>
                    <a:pt x="82" y="136"/>
                  </a:cubicBezTo>
                  <a:cubicBezTo>
                    <a:pt x="82" y="136"/>
                    <a:pt x="85" y="136"/>
                    <a:pt x="87" y="136"/>
                  </a:cubicBezTo>
                  <a:cubicBezTo>
                    <a:pt x="90" y="137"/>
                    <a:pt x="90" y="137"/>
                    <a:pt x="90" y="137"/>
                  </a:cubicBezTo>
                  <a:cubicBezTo>
                    <a:pt x="90" y="137"/>
                    <a:pt x="90" y="136"/>
                    <a:pt x="90" y="135"/>
                  </a:cubicBezTo>
                  <a:cubicBezTo>
                    <a:pt x="93" y="135"/>
                    <a:pt x="93" y="135"/>
                    <a:pt x="93" y="135"/>
                  </a:cubicBezTo>
                  <a:cubicBezTo>
                    <a:pt x="93" y="137"/>
                    <a:pt x="93" y="137"/>
                    <a:pt x="93" y="137"/>
                  </a:cubicBezTo>
                  <a:cubicBezTo>
                    <a:pt x="93" y="137"/>
                    <a:pt x="94" y="137"/>
                    <a:pt x="94" y="137"/>
                  </a:cubicBezTo>
                  <a:cubicBezTo>
                    <a:pt x="94" y="137"/>
                    <a:pt x="95" y="137"/>
                    <a:pt x="95" y="137"/>
                  </a:cubicBezTo>
                  <a:cubicBezTo>
                    <a:pt x="96" y="135"/>
                    <a:pt x="96" y="135"/>
                    <a:pt x="96" y="135"/>
                  </a:cubicBezTo>
                  <a:cubicBezTo>
                    <a:pt x="96" y="135"/>
                    <a:pt x="98" y="136"/>
                    <a:pt x="99" y="136"/>
                  </a:cubicBezTo>
                  <a:cubicBezTo>
                    <a:pt x="100" y="136"/>
                    <a:pt x="101" y="138"/>
                    <a:pt x="101" y="138"/>
                  </a:cubicBezTo>
                  <a:cubicBezTo>
                    <a:pt x="104" y="138"/>
                    <a:pt x="104" y="138"/>
                    <a:pt x="104" y="138"/>
                  </a:cubicBezTo>
                  <a:cubicBezTo>
                    <a:pt x="104" y="138"/>
                    <a:pt x="105" y="139"/>
                    <a:pt x="105" y="139"/>
                  </a:cubicBezTo>
                  <a:cubicBezTo>
                    <a:pt x="106" y="139"/>
                    <a:pt x="106" y="139"/>
                    <a:pt x="106" y="139"/>
                  </a:cubicBezTo>
                  <a:cubicBezTo>
                    <a:pt x="107" y="139"/>
                    <a:pt x="107" y="139"/>
                    <a:pt x="107" y="139"/>
                  </a:cubicBezTo>
                  <a:cubicBezTo>
                    <a:pt x="108" y="137"/>
                    <a:pt x="108" y="137"/>
                    <a:pt x="108" y="137"/>
                  </a:cubicBezTo>
                  <a:cubicBezTo>
                    <a:pt x="108" y="137"/>
                    <a:pt x="108" y="136"/>
                    <a:pt x="108" y="135"/>
                  </a:cubicBezTo>
                  <a:cubicBezTo>
                    <a:pt x="108" y="135"/>
                    <a:pt x="107" y="135"/>
                    <a:pt x="106" y="134"/>
                  </a:cubicBezTo>
                  <a:cubicBezTo>
                    <a:pt x="106" y="134"/>
                    <a:pt x="105" y="133"/>
                    <a:pt x="105" y="133"/>
                  </a:cubicBezTo>
                  <a:cubicBezTo>
                    <a:pt x="105" y="131"/>
                    <a:pt x="105" y="131"/>
                    <a:pt x="105" y="131"/>
                  </a:cubicBezTo>
                  <a:cubicBezTo>
                    <a:pt x="105" y="131"/>
                    <a:pt x="105" y="131"/>
                    <a:pt x="106" y="131"/>
                  </a:cubicBezTo>
                  <a:cubicBezTo>
                    <a:pt x="105" y="131"/>
                    <a:pt x="105" y="131"/>
                    <a:pt x="105" y="131"/>
                  </a:cubicBezTo>
                  <a:cubicBezTo>
                    <a:pt x="105" y="131"/>
                    <a:pt x="106" y="131"/>
                    <a:pt x="106" y="131"/>
                  </a:cubicBezTo>
                  <a:cubicBezTo>
                    <a:pt x="106" y="131"/>
                    <a:pt x="107" y="132"/>
                    <a:pt x="107" y="132"/>
                  </a:cubicBezTo>
                  <a:cubicBezTo>
                    <a:pt x="107" y="132"/>
                    <a:pt x="108" y="132"/>
                    <a:pt x="108" y="132"/>
                  </a:cubicBezTo>
                  <a:cubicBezTo>
                    <a:pt x="108" y="132"/>
                    <a:pt x="109" y="131"/>
                    <a:pt x="109" y="131"/>
                  </a:cubicBezTo>
                  <a:cubicBezTo>
                    <a:pt x="110" y="130"/>
                    <a:pt x="110" y="129"/>
                    <a:pt x="110" y="129"/>
                  </a:cubicBezTo>
                  <a:cubicBezTo>
                    <a:pt x="114" y="125"/>
                    <a:pt x="114" y="125"/>
                    <a:pt x="114" y="125"/>
                  </a:cubicBezTo>
                  <a:cubicBezTo>
                    <a:pt x="115" y="124"/>
                    <a:pt x="115" y="124"/>
                    <a:pt x="115" y="124"/>
                  </a:cubicBezTo>
                  <a:cubicBezTo>
                    <a:pt x="115" y="123"/>
                    <a:pt x="115" y="122"/>
                    <a:pt x="115" y="122"/>
                  </a:cubicBezTo>
                  <a:cubicBezTo>
                    <a:pt x="115" y="120"/>
                    <a:pt x="115" y="120"/>
                    <a:pt x="115" y="120"/>
                  </a:cubicBezTo>
                  <a:cubicBezTo>
                    <a:pt x="116" y="119"/>
                    <a:pt x="117" y="118"/>
                    <a:pt x="117" y="118"/>
                  </a:cubicBezTo>
                  <a:cubicBezTo>
                    <a:pt x="118" y="117"/>
                    <a:pt x="118" y="116"/>
                    <a:pt x="118" y="116"/>
                  </a:cubicBezTo>
                  <a:cubicBezTo>
                    <a:pt x="119" y="116"/>
                    <a:pt x="119" y="115"/>
                    <a:pt x="119" y="115"/>
                  </a:cubicBezTo>
                  <a:cubicBezTo>
                    <a:pt x="119" y="114"/>
                    <a:pt x="120" y="113"/>
                    <a:pt x="121" y="113"/>
                  </a:cubicBezTo>
                  <a:cubicBezTo>
                    <a:pt x="122" y="111"/>
                    <a:pt x="122" y="111"/>
                    <a:pt x="122" y="111"/>
                  </a:cubicBezTo>
                  <a:cubicBezTo>
                    <a:pt x="124" y="109"/>
                    <a:pt x="124" y="109"/>
                    <a:pt x="124" y="109"/>
                  </a:cubicBezTo>
                  <a:cubicBezTo>
                    <a:pt x="123" y="108"/>
                    <a:pt x="123" y="108"/>
                    <a:pt x="123" y="108"/>
                  </a:cubicBezTo>
                  <a:cubicBezTo>
                    <a:pt x="124" y="106"/>
                    <a:pt x="124" y="106"/>
                    <a:pt x="124" y="106"/>
                  </a:cubicBezTo>
                  <a:cubicBezTo>
                    <a:pt x="124" y="103"/>
                    <a:pt x="124" y="103"/>
                    <a:pt x="124" y="103"/>
                  </a:cubicBezTo>
                  <a:cubicBezTo>
                    <a:pt x="124" y="102"/>
                    <a:pt x="124" y="101"/>
                    <a:pt x="124" y="101"/>
                  </a:cubicBezTo>
                  <a:cubicBezTo>
                    <a:pt x="124" y="101"/>
                    <a:pt x="123" y="101"/>
                    <a:pt x="124" y="97"/>
                  </a:cubicBezTo>
                  <a:cubicBezTo>
                    <a:pt x="124" y="97"/>
                    <a:pt x="124" y="96"/>
                    <a:pt x="125" y="95"/>
                  </a:cubicBezTo>
                  <a:cubicBezTo>
                    <a:pt x="125" y="95"/>
                    <a:pt x="124" y="95"/>
                    <a:pt x="124" y="94"/>
                  </a:cubicBezTo>
                  <a:cubicBezTo>
                    <a:pt x="124" y="94"/>
                    <a:pt x="123" y="93"/>
                    <a:pt x="123" y="92"/>
                  </a:cubicBezTo>
                  <a:cubicBezTo>
                    <a:pt x="123" y="92"/>
                    <a:pt x="123" y="91"/>
                    <a:pt x="123" y="91"/>
                  </a:cubicBezTo>
                  <a:cubicBezTo>
                    <a:pt x="126" y="91"/>
                    <a:pt x="126" y="91"/>
                    <a:pt x="126" y="91"/>
                  </a:cubicBezTo>
                  <a:cubicBezTo>
                    <a:pt x="126" y="91"/>
                    <a:pt x="125" y="91"/>
                    <a:pt x="125" y="91"/>
                  </a:cubicBezTo>
                  <a:cubicBezTo>
                    <a:pt x="125" y="88"/>
                    <a:pt x="125" y="88"/>
                    <a:pt x="125" y="88"/>
                  </a:cubicBezTo>
                  <a:cubicBezTo>
                    <a:pt x="126" y="87"/>
                    <a:pt x="126" y="87"/>
                    <a:pt x="126" y="87"/>
                  </a:cubicBezTo>
                  <a:cubicBezTo>
                    <a:pt x="128" y="83"/>
                    <a:pt x="128" y="83"/>
                    <a:pt x="128" y="83"/>
                  </a:cubicBezTo>
                  <a:cubicBezTo>
                    <a:pt x="126" y="82"/>
                    <a:pt x="126" y="82"/>
                    <a:pt x="126" y="82"/>
                  </a:cubicBezTo>
                  <a:cubicBezTo>
                    <a:pt x="126" y="82"/>
                    <a:pt x="125" y="80"/>
                    <a:pt x="125" y="80"/>
                  </a:cubicBezTo>
                  <a:cubicBezTo>
                    <a:pt x="125" y="79"/>
                    <a:pt x="124" y="78"/>
                    <a:pt x="124" y="78"/>
                  </a:cubicBezTo>
                  <a:cubicBezTo>
                    <a:pt x="125" y="75"/>
                    <a:pt x="125" y="75"/>
                    <a:pt x="125" y="75"/>
                  </a:cubicBezTo>
                  <a:cubicBezTo>
                    <a:pt x="125" y="72"/>
                    <a:pt x="125" y="72"/>
                    <a:pt x="125" y="72"/>
                  </a:cubicBezTo>
                  <a:cubicBezTo>
                    <a:pt x="126" y="70"/>
                    <a:pt x="126" y="70"/>
                    <a:pt x="126" y="70"/>
                  </a:cubicBezTo>
                  <a:cubicBezTo>
                    <a:pt x="123" y="67"/>
                    <a:pt x="123" y="67"/>
                    <a:pt x="123" y="67"/>
                  </a:cubicBezTo>
                  <a:cubicBezTo>
                    <a:pt x="126" y="63"/>
                    <a:pt x="126" y="63"/>
                    <a:pt x="126" y="63"/>
                  </a:cubicBezTo>
                  <a:cubicBezTo>
                    <a:pt x="128" y="64"/>
                    <a:pt x="128" y="64"/>
                    <a:pt x="128" y="64"/>
                  </a:cubicBezTo>
                  <a:cubicBezTo>
                    <a:pt x="126" y="62"/>
                    <a:pt x="126" y="62"/>
                    <a:pt x="126" y="62"/>
                  </a:cubicBezTo>
                  <a:cubicBezTo>
                    <a:pt x="126" y="63"/>
                    <a:pt x="125" y="63"/>
                    <a:pt x="124" y="63"/>
                  </a:cubicBezTo>
                  <a:cubicBezTo>
                    <a:pt x="118" y="61"/>
                    <a:pt x="118" y="61"/>
                    <a:pt x="118" y="61"/>
                  </a:cubicBezTo>
                  <a:cubicBezTo>
                    <a:pt x="117" y="56"/>
                    <a:pt x="117" y="56"/>
                    <a:pt x="117" y="56"/>
                  </a:cubicBezTo>
                  <a:cubicBezTo>
                    <a:pt x="112" y="52"/>
                    <a:pt x="112" y="52"/>
                    <a:pt x="112" y="52"/>
                  </a:cubicBezTo>
                  <a:cubicBezTo>
                    <a:pt x="113" y="48"/>
                    <a:pt x="113" y="48"/>
                    <a:pt x="113" y="48"/>
                  </a:cubicBezTo>
                  <a:cubicBezTo>
                    <a:pt x="112" y="45"/>
                    <a:pt x="112" y="45"/>
                    <a:pt x="112" y="45"/>
                  </a:cubicBezTo>
                  <a:cubicBezTo>
                    <a:pt x="110" y="46"/>
                    <a:pt x="110" y="46"/>
                    <a:pt x="110" y="46"/>
                  </a:cubicBezTo>
                  <a:cubicBezTo>
                    <a:pt x="109" y="47"/>
                    <a:pt x="109" y="47"/>
                    <a:pt x="109" y="47"/>
                  </a:cubicBezTo>
                  <a:cubicBezTo>
                    <a:pt x="110" y="48"/>
                    <a:pt x="110" y="49"/>
                    <a:pt x="109" y="50"/>
                  </a:cubicBezTo>
                  <a:cubicBezTo>
                    <a:pt x="109" y="51"/>
                    <a:pt x="108" y="52"/>
                    <a:pt x="107" y="52"/>
                  </a:cubicBezTo>
                  <a:cubicBezTo>
                    <a:pt x="105" y="53"/>
                    <a:pt x="102" y="53"/>
                    <a:pt x="102" y="53"/>
                  </a:cubicBezTo>
                  <a:cubicBezTo>
                    <a:pt x="102" y="53"/>
                    <a:pt x="99" y="54"/>
                    <a:pt x="98" y="54"/>
                  </a:cubicBezTo>
                  <a:cubicBezTo>
                    <a:pt x="96" y="54"/>
                    <a:pt x="95" y="52"/>
                    <a:pt x="93" y="49"/>
                  </a:cubicBezTo>
                  <a:cubicBezTo>
                    <a:pt x="92" y="49"/>
                    <a:pt x="92" y="49"/>
                    <a:pt x="92" y="49"/>
                  </a:cubicBezTo>
                  <a:cubicBezTo>
                    <a:pt x="91" y="49"/>
                    <a:pt x="91" y="49"/>
                    <a:pt x="91" y="49"/>
                  </a:cubicBezTo>
                  <a:cubicBezTo>
                    <a:pt x="91" y="49"/>
                    <a:pt x="91" y="49"/>
                    <a:pt x="91" y="49"/>
                  </a:cubicBezTo>
                  <a:cubicBezTo>
                    <a:pt x="90" y="49"/>
                    <a:pt x="88" y="49"/>
                    <a:pt x="88" y="46"/>
                  </a:cubicBezTo>
                  <a:cubicBezTo>
                    <a:pt x="88" y="45"/>
                    <a:pt x="88" y="43"/>
                    <a:pt x="88" y="43"/>
                  </a:cubicBezTo>
                  <a:cubicBezTo>
                    <a:pt x="88" y="43"/>
                    <a:pt x="88" y="43"/>
                    <a:pt x="88" y="43"/>
                  </a:cubicBezTo>
                  <a:cubicBezTo>
                    <a:pt x="85" y="39"/>
                    <a:pt x="84" y="36"/>
                    <a:pt x="84" y="36"/>
                  </a:cubicBezTo>
                  <a:cubicBezTo>
                    <a:pt x="84" y="34"/>
                    <a:pt x="84" y="34"/>
                    <a:pt x="84" y="34"/>
                  </a:cubicBezTo>
                  <a:cubicBezTo>
                    <a:pt x="90" y="30"/>
                    <a:pt x="90" y="30"/>
                    <a:pt x="90" y="30"/>
                  </a:cubicBezTo>
                  <a:cubicBezTo>
                    <a:pt x="91" y="30"/>
                    <a:pt x="91" y="30"/>
                    <a:pt x="91" y="30"/>
                  </a:cubicBezTo>
                  <a:cubicBezTo>
                    <a:pt x="91" y="30"/>
                    <a:pt x="93" y="30"/>
                    <a:pt x="94" y="31"/>
                  </a:cubicBezTo>
                  <a:cubicBezTo>
                    <a:pt x="93" y="30"/>
                    <a:pt x="93" y="29"/>
                    <a:pt x="93" y="29"/>
                  </a:cubicBezTo>
                  <a:cubicBezTo>
                    <a:pt x="92" y="28"/>
                    <a:pt x="91" y="27"/>
                    <a:pt x="92" y="25"/>
                  </a:cubicBezTo>
                  <a:cubicBezTo>
                    <a:pt x="92" y="25"/>
                    <a:pt x="93" y="23"/>
                    <a:pt x="95" y="23"/>
                  </a:cubicBezTo>
                  <a:cubicBezTo>
                    <a:pt x="96" y="23"/>
                    <a:pt x="97" y="23"/>
                    <a:pt x="98" y="23"/>
                  </a:cubicBezTo>
                  <a:cubicBezTo>
                    <a:pt x="98" y="23"/>
                    <a:pt x="99" y="23"/>
                    <a:pt x="100" y="23"/>
                  </a:cubicBezTo>
                  <a:cubicBezTo>
                    <a:pt x="100" y="23"/>
                    <a:pt x="100" y="23"/>
                    <a:pt x="101" y="24"/>
                  </a:cubicBezTo>
                  <a:cubicBezTo>
                    <a:pt x="101" y="23"/>
                    <a:pt x="101" y="23"/>
                    <a:pt x="101" y="23"/>
                  </a:cubicBezTo>
                  <a:cubicBezTo>
                    <a:pt x="101" y="21"/>
                    <a:pt x="103" y="20"/>
                    <a:pt x="104" y="20"/>
                  </a:cubicBezTo>
                  <a:cubicBezTo>
                    <a:pt x="105" y="20"/>
                    <a:pt x="106" y="20"/>
                    <a:pt x="106" y="19"/>
                  </a:cubicBezTo>
                  <a:cubicBezTo>
                    <a:pt x="106" y="17"/>
                    <a:pt x="107" y="14"/>
                    <a:pt x="109" y="14"/>
                  </a:cubicBezTo>
                  <a:cubicBezTo>
                    <a:pt x="110" y="14"/>
                    <a:pt x="112" y="15"/>
                    <a:pt x="113" y="15"/>
                  </a:cubicBezTo>
                  <a:cubicBezTo>
                    <a:pt x="114" y="14"/>
                    <a:pt x="115" y="14"/>
                    <a:pt x="116" y="14"/>
                  </a:cubicBezTo>
                  <a:cubicBezTo>
                    <a:pt x="117" y="14"/>
                    <a:pt x="117" y="14"/>
                    <a:pt x="118" y="14"/>
                  </a:cubicBezTo>
                  <a:cubicBezTo>
                    <a:pt x="118" y="13"/>
                    <a:pt x="118" y="12"/>
                    <a:pt x="119" y="11"/>
                  </a:cubicBezTo>
                  <a:cubicBezTo>
                    <a:pt x="119" y="11"/>
                    <a:pt x="119" y="11"/>
                    <a:pt x="119" y="11"/>
                  </a:cubicBezTo>
                  <a:cubicBezTo>
                    <a:pt x="120" y="10"/>
                    <a:pt x="120" y="10"/>
                    <a:pt x="120" y="10"/>
                  </a:cubicBezTo>
                  <a:cubicBezTo>
                    <a:pt x="121" y="10"/>
                    <a:pt x="121" y="10"/>
                    <a:pt x="122" y="10"/>
                  </a:cubicBezTo>
                  <a:cubicBezTo>
                    <a:pt x="122" y="9"/>
                    <a:pt x="122" y="9"/>
                    <a:pt x="122" y="9"/>
                  </a:cubicBezTo>
                  <a:cubicBezTo>
                    <a:pt x="122" y="9"/>
                    <a:pt x="122" y="8"/>
                    <a:pt x="123" y="8"/>
                  </a:cubicBezTo>
                  <a:cubicBezTo>
                    <a:pt x="121" y="6"/>
                    <a:pt x="121" y="6"/>
                    <a:pt x="121" y="6"/>
                  </a:cubicBezTo>
                  <a:cubicBezTo>
                    <a:pt x="121" y="6"/>
                    <a:pt x="120" y="5"/>
                    <a:pt x="120" y="5"/>
                  </a:cubicBezTo>
                  <a:cubicBezTo>
                    <a:pt x="120" y="5"/>
                    <a:pt x="119" y="5"/>
                    <a:pt x="119" y="4"/>
                  </a:cubicBezTo>
                  <a:cubicBezTo>
                    <a:pt x="119" y="4"/>
                    <a:pt x="118" y="3"/>
                    <a:pt x="118" y="3"/>
                  </a:cubicBezTo>
                  <a:cubicBezTo>
                    <a:pt x="118" y="3"/>
                    <a:pt x="118" y="2"/>
                    <a:pt x="118" y="2"/>
                  </a:cubicBezTo>
                  <a:cubicBezTo>
                    <a:pt x="118" y="2"/>
                    <a:pt x="117" y="1"/>
                    <a:pt x="116" y="0"/>
                  </a:cubicBezTo>
                  <a:cubicBezTo>
                    <a:pt x="115" y="0"/>
                    <a:pt x="115" y="0"/>
                    <a:pt x="115" y="0"/>
                  </a:cubicBezTo>
                  <a:cubicBezTo>
                    <a:pt x="114" y="0"/>
                    <a:pt x="114" y="1"/>
                    <a:pt x="114" y="1"/>
                  </a:cubicBezTo>
                  <a:cubicBezTo>
                    <a:pt x="114" y="1"/>
                    <a:pt x="114" y="1"/>
                    <a:pt x="115" y="1"/>
                  </a:cubicBezTo>
                  <a:cubicBezTo>
                    <a:pt x="115" y="2"/>
                    <a:pt x="115" y="2"/>
                    <a:pt x="115" y="2"/>
                  </a:cubicBezTo>
                  <a:cubicBezTo>
                    <a:pt x="116" y="2"/>
                    <a:pt x="116" y="3"/>
                    <a:pt x="116" y="3"/>
                  </a:cubicBezTo>
                  <a:cubicBezTo>
                    <a:pt x="116" y="3"/>
                    <a:pt x="117" y="4"/>
                    <a:pt x="117" y="4"/>
                  </a:cubicBezTo>
                  <a:cubicBezTo>
                    <a:pt x="117" y="4"/>
                    <a:pt x="116" y="4"/>
                    <a:pt x="116" y="4"/>
                  </a:cubicBezTo>
                  <a:cubicBezTo>
                    <a:pt x="116" y="4"/>
                    <a:pt x="115" y="4"/>
                    <a:pt x="115" y="4"/>
                  </a:cubicBezTo>
                  <a:cubicBezTo>
                    <a:pt x="115" y="4"/>
                    <a:pt x="114" y="4"/>
                    <a:pt x="114" y="4"/>
                  </a:cubicBezTo>
                  <a:cubicBezTo>
                    <a:pt x="115" y="3"/>
                    <a:pt x="115" y="3"/>
                    <a:pt x="115" y="3"/>
                  </a:cubicBezTo>
                  <a:cubicBezTo>
                    <a:pt x="114" y="3"/>
                    <a:pt x="114" y="3"/>
                    <a:pt x="114" y="3"/>
                  </a:cubicBezTo>
                  <a:cubicBezTo>
                    <a:pt x="114" y="3"/>
                    <a:pt x="114" y="2"/>
                    <a:pt x="113" y="2"/>
                  </a:cubicBezTo>
                  <a:cubicBezTo>
                    <a:pt x="113" y="2"/>
                    <a:pt x="113" y="2"/>
                    <a:pt x="113" y="2"/>
                  </a:cubicBezTo>
                  <a:cubicBezTo>
                    <a:pt x="112" y="2"/>
                    <a:pt x="111" y="2"/>
                    <a:pt x="110" y="2"/>
                  </a:cubicBezTo>
                  <a:cubicBezTo>
                    <a:pt x="110" y="2"/>
                    <a:pt x="110" y="3"/>
                    <a:pt x="110" y="3"/>
                  </a:cubicBezTo>
                  <a:cubicBezTo>
                    <a:pt x="109" y="4"/>
                    <a:pt x="109" y="4"/>
                    <a:pt x="109" y="4"/>
                  </a:cubicBezTo>
                  <a:cubicBezTo>
                    <a:pt x="109" y="5"/>
                    <a:pt x="109" y="5"/>
                    <a:pt x="109" y="5"/>
                  </a:cubicBezTo>
                  <a:cubicBezTo>
                    <a:pt x="109" y="6"/>
                    <a:pt x="109" y="7"/>
                    <a:pt x="109" y="7"/>
                  </a:cubicBezTo>
                  <a:cubicBezTo>
                    <a:pt x="109" y="7"/>
                    <a:pt x="110" y="8"/>
                    <a:pt x="110" y="8"/>
                  </a:cubicBezTo>
                  <a:cubicBezTo>
                    <a:pt x="111" y="9"/>
                    <a:pt x="109" y="10"/>
                    <a:pt x="109" y="10"/>
                  </a:cubicBezTo>
                  <a:cubicBezTo>
                    <a:pt x="108" y="11"/>
                    <a:pt x="108" y="11"/>
                    <a:pt x="108" y="11"/>
                  </a:cubicBezTo>
                  <a:cubicBezTo>
                    <a:pt x="108" y="11"/>
                    <a:pt x="108" y="11"/>
                    <a:pt x="108" y="11"/>
                  </a:cubicBezTo>
                  <a:cubicBezTo>
                    <a:pt x="109" y="11"/>
                    <a:pt x="109" y="11"/>
                    <a:pt x="109" y="11"/>
                  </a:cubicBezTo>
                  <a:cubicBezTo>
                    <a:pt x="109" y="12"/>
                    <a:pt x="108" y="12"/>
                    <a:pt x="108" y="12"/>
                  </a:cubicBezTo>
                  <a:cubicBezTo>
                    <a:pt x="107" y="12"/>
                    <a:pt x="107" y="12"/>
                    <a:pt x="107" y="12"/>
                  </a:cubicBezTo>
                  <a:cubicBezTo>
                    <a:pt x="107" y="13"/>
                    <a:pt x="107" y="13"/>
                    <a:pt x="107" y="13"/>
                  </a:cubicBezTo>
                  <a:cubicBezTo>
                    <a:pt x="106" y="12"/>
                    <a:pt x="106" y="12"/>
                    <a:pt x="106" y="12"/>
                  </a:cubicBezTo>
                  <a:cubicBezTo>
                    <a:pt x="106" y="13"/>
                    <a:pt x="106" y="13"/>
                    <a:pt x="106" y="13"/>
                  </a:cubicBezTo>
                  <a:cubicBezTo>
                    <a:pt x="106" y="12"/>
                    <a:pt x="106" y="12"/>
                    <a:pt x="106" y="12"/>
                  </a:cubicBezTo>
                  <a:cubicBezTo>
                    <a:pt x="107" y="11"/>
                    <a:pt x="107" y="11"/>
                    <a:pt x="107" y="11"/>
                  </a:cubicBezTo>
                  <a:cubicBezTo>
                    <a:pt x="107" y="11"/>
                    <a:pt x="107" y="10"/>
                    <a:pt x="107" y="10"/>
                  </a:cubicBezTo>
                  <a:cubicBezTo>
                    <a:pt x="107" y="10"/>
                    <a:pt x="107" y="9"/>
                    <a:pt x="108" y="9"/>
                  </a:cubicBezTo>
                  <a:cubicBezTo>
                    <a:pt x="108" y="8"/>
                    <a:pt x="108" y="8"/>
                    <a:pt x="108" y="8"/>
                  </a:cubicBezTo>
                  <a:cubicBezTo>
                    <a:pt x="108" y="8"/>
                    <a:pt x="107" y="7"/>
                    <a:pt x="107" y="7"/>
                  </a:cubicBezTo>
                  <a:cubicBezTo>
                    <a:pt x="107" y="7"/>
                    <a:pt x="107" y="7"/>
                    <a:pt x="107" y="6"/>
                  </a:cubicBezTo>
                  <a:cubicBezTo>
                    <a:pt x="107" y="6"/>
                    <a:pt x="107" y="6"/>
                    <a:pt x="107" y="5"/>
                  </a:cubicBezTo>
                  <a:cubicBezTo>
                    <a:pt x="107" y="5"/>
                    <a:pt x="107" y="3"/>
                    <a:pt x="107" y="3"/>
                  </a:cubicBezTo>
                  <a:cubicBezTo>
                    <a:pt x="107" y="2"/>
                    <a:pt x="106" y="2"/>
                    <a:pt x="106" y="2"/>
                  </a:cubicBezTo>
                  <a:cubicBezTo>
                    <a:pt x="106" y="2"/>
                    <a:pt x="106" y="2"/>
                    <a:pt x="105" y="2"/>
                  </a:cubicBezTo>
                  <a:cubicBezTo>
                    <a:pt x="105" y="2"/>
                    <a:pt x="105" y="2"/>
                    <a:pt x="105" y="2"/>
                  </a:cubicBezTo>
                  <a:cubicBezTo>
                    <a:pt x="104" y="3"/>
                    <a:pt x="104" y="3"/>
                    <a:pt x="103" y="3"/>
                  </a:cubicBezTo>
                  <a:cubicBezTo>
                    <a:pt x="102" y="4"/>
                    <a:pt x="102" y="4"/>
                    <a:pt x="102" y="4"/>
                  </a:cubicBezTo>
                  <a:cubicBezTo>
                    <a:pt x="102" y="5"/>
                    <a:pt x="101" y="6"/>
                    <a:pt x="100" y="6"/>
                  </a:cubicBezTo>
                  <a:cubicBezTo>
                    <a:pt x="100" y="6"/>
                    <a:pt x="99" y="5"/>
                    <a:pt x="99" y="4"/>
                  </a:cubicBezTo>
                  <a:cubicBezTo>
                    <a:pt x="99" y="4"/>
                    <a:pt x="98" y="4"/>
                    <a:pt x="98" y="4"/>
                  </a:cubicBezTo>
                  <a:cubicBezTo>
                    <a:pt x="98" y="3"/>
                    <a:pt x="98" y="3"/>
                    <a:pt x="98" y="3"/>
                  </a:cubicBezTo>
                  <a:cubicBezTo>
                    <a:pt x="97" y="3"/>
                    <a:pt x="96" y="3"/>
                    <a:pt x="96" y="3"/>
                  </a:cubicBezTo>
                  <a:cubicBezTo>
                    <a:pt x="95" y="4"/>
                    <a:pt x="95" y="4"/>
                    <a:pt x="95" y="4"/>
                  </a:cubicBezTo>
                  <a:cubicBezTo>
                    <a:pt x="95" y="4"/>
                    <a:pt x="94" y="4"/>
                    <a:pt x="94" y="4"/>
                  </a:cubicBezTo>
                  <a:cubicBezTo>
                    <a:pt x="94" y="4"/>
                    <a:pt x="93" y="3"/>
                    <a:pt x="93" y="3"/>
                  </a:cubicBezTo>
                  <a:cubicBezTo>
                    <a:pt x="92" y="4"/>
                    <a:pt x="92" y="4"/>
                    <a:pt x="92" y="4"/>
                  </a:cubicBezTo>
                  <a:cubicBezTo>
                    <a:pt x="92" y="4"/>
                    <a:pt x="91" y="4"/>
                    <a:pt x="91" y="3"/>
                  </a:cubicBezTo>
                  <a:cubicBezTo>
                    <a:pt x="89" y="4"/>
                    <a:pt x="89" y="4"/>
                    <a:pt x="89" y="4"/>
                  </a:cubicBezTo>
                  <a:cubicBezTo>
                    <a:pt x="89" y="4"/>
                    <a:pt x="89" y="5"/>
                    <a:pt x="88" y="6"/>
                  </a:cubicBezTo>
                  <a:cubicBezTo>
                    <a:pt x="88" y="6"/>
                    <a:pt x="87" y="7"/>
                    <a:pt x="87" y="7"/>
                  </a:cubicBezTo>
                  <a:cubicBezTo>
                    <a:pt x="86" y="7"/>
                    <a:pt x="86" y="7"/>
                    <a:pt x="86" y="8"/>
                  </a:cubicBezTo>
                  <a:cubicBezTo>
                    <a:pt x="85" y="8"/>
                    <a:pt x="85" y="8"/>
                    <a:pt x="85" y="8"/>
                  </a:cubicBezTo>
                  <a:cubicBezTo>
                    <a:pt x="84" y="9"/>
                    <a:pt x="84" y="9"/>
                    <a:pt x="84" y="9"/>
                  </a:cubicBezTo>
                  <a:cubicBezTo>
                    <a:pt x="84" y="9"/>
                    <a:pt x="84" y="9"/>
                    <a:pt x="84" y="9"/>
                  </a:cubicBezTo>
                  <a:cubicBezTo>
                    <a:pt x="84" y="9"/>
                    <a:pt x="84" y="9"/>
                    <a:pt x="84" y="9"/>
                  </a:cubicBezTo>
                  <a:cubicBezTo>
                    <a:pt x="84" y="9"/>
                    <a:pt x="84" y="9"/>
                    <a:pt x="84" y="9"/>
                  </a:cubicBezTo>
                  <a:cubicBezTo>
                    <a:pt x="84" y="9"/>
                    <a:pt x="84" y="10"/>
                    <a:pt x="84" y="11"/>
                  </a:cubicBezTo>
                  <a:cubicBezTo>
                    <a:pt x="84" y="11"/>
                    <a:pt x="84" y="11"/>
                    <a:pt x="83" y="11"/>
                  </a:cubicBezTo>
                  <a:cubicBezTo>
                    <a:pt x="83" y="12"/>
                    <a:pt x="84" y="12"/>
                    <a:pt x="84" y="12"/>
                  </a:cubicBezTo>
                  <a:cubicBezTo>
                    <a:pt x="85" y="13"/>
                    <a:pt x="85" y="13"/>
                    <a:pt x="85" y="14"/>
                  </a:cubicBezTo>
                  <a:cubicBezTo>
                    <a:pt x="86" y="14"/>
                    <a:pt x="86" y="15"/>
                    <a:pt x="86" y="15"/>
                  </a:cubicBezTo>
                  <a:cubicBezTo>
                    <a:pt x="86" y="15"/>
                    <a:pt x="85" y="15"/>
                    <a:pt x="85" y="15"/>
                  </a:cubicBezTo>
                  <a:cubicBezTo>
                    <a:pt x="85" y="15"/>
                    <a:pt x="84" y="15"/>
                    <a:pt x="84" y="15"/>
                  </a:cubicBezTo>
                  <a:cubicBezTo>
                    <a:pt x="82" y="15"/>
                    <a:pt x="82" y="15"/>
                    <a:pt x="82" y="15"/>
                  </a:cubicBezTo>
                  <a:cubicBezTo>
                    <a:pt x="81" y="15"/>
                    <a:pt x="81" y="15"/>
                    <a:pt x="81" y="15"/>
                  </a:cubicBezTo>
                  <a:cubicBezTo>
                    <a:pt x="81" y="15"/>
                    <a:pt x="80" y="15"/>
                    <a:pt x="80" y="15"/>
                  </a:cubicBezTo>
                  <a:cubicBezTo>
                    <a:pt x="80" y="15"/>
                    <a:pt x="81" y="16"/>
                    <a:pt x="82" y="16"/>
                  </a:cubicBezTo>
                  <a:cubicBezTo>
                    <a:pt x="83" y="17"/>
                    <a:pt x="83" y="17"/>
                    <a:pt x="83" y="17"/>
                  </a:cubicBezTo>
                  <a:cubicBezTo>
                    <a:pt x="83" y="17"/>
                    <a:pt x="83" y="17"/>
                    <a:pt x="83" y="18"/>
                  </a:cubicBezTo>
                  <a:cubicBezTo>
                    <a:pt x="83" y="18"/>
                    <a:pt x="82" y="18"/>
                    <a:pt x="81" y="18"/>
                  </a:cubicBezTo>
                  <a:cubicBezTo>
                    <a:pt x="81" y="18"/>
                    <a:pt x="80" y="18"/>
                    <a:pt x="80" y="18"/>
                  </a:cubicBezTo>
                  <a:cubicBezTo>
                    <a:pt x="79" y="18"/>
                    <a:pt x="79" y="18"/>
                    <a:pt x="79" y="18"/>
                  </a:cubicBezTo>
                  <a:cubicBezTo>
                    <a:pt x="79" y="17"/>
                    <a:pt x="78" y="17"/>
                    <a:pt x="77" y="16"/>
                  </a:cubicBezTo>
                  <a:cubicBezTo>
                    <a:pt x="76" y="16"/>
                    <a:pt x="76" y="16"/>
                    <a:pt x="76" y="16"/>
                  </a:cubicBezTo>
                  <a:cubicBezTo>
                    <a:pt x="76" y="17"/>
                    <a:pt x="76" y="17"/>
                    <a:pt x="75" y="18"/>
                  </a:cubicBezTo>
                  <a:cubicBezTo>
                    <a:pt x="75" y="18"/>
                    <a:pt x="75" y="18"/>
                    <a:pt x="75" y="18"/>
                  </a:cubicBezTo>
                  <a:cubicBezTo>
                    <a:pt x="74" y="18"/>
                    <a:pt x="74" y="19"/>
                    <a:pt x="74" y="19"/>
                  </a:cubicBezTo>
                  <a:cubicBezTo>
                    <a:pt x="73" y="20"/>
                    <a:pt x="73" y="20"/>
                    <a:pt x="73" y="20"/>
                  </a:cubicBezTo>
                  <a:cubicBezTo>
                    <a:pt x="73" y="20"/>
                    <a:pt x="73" y="20"/>
                    <a:pt x="73" y="21"/>
                  </a:cubicBezTo>
                  <a:cubicBezTo>
                    <a:pt x="75" y="21"/>
                    <a:pt x="75" y="21"/>
                    <a:pt x="75" y="21"/>
                  </a:cubicBezTo>
                  <a:cubicBezTo>
                    <a:pt x="74" y="21"/>
                    <a:pt x="76" y="23"/>
                    <a:pt x="77" y="24"/>
                  </a:cubicBezTo>
                  <a:cubicBezTo>
                    <a:pt x="78" y="24"/>
                    <a:pt x="78" y="24"/>
                    <a:pt x="78" y="24"/>
                  </a:cubicBezTo>
                  <a:cubicBezTo>
                    <a:pt x="79" y="24"/>
                    <a:pt x="79" y="24"/>
                    <a:pt x="79" y="24"/>
                  </a:cubicBezTo>
                  <a:cubicBezTo>
                    <a:pt x="80" y="25"/>
                    <a:pt x="81" y="25"/>
                    <a:pt x="81" y="26"/>
                  </a:cubicBezTo>
                  <a:cubicBezTo>
                    <a:pt x="81" y="25"/>
                    <a:pt x="82" y="24"/>
                    <a:pt x="83" y="24"/>
                  </a:cubicBezTo>
                  <a:cubicBezTo>
                    <a:pt x="84" y="24"/>
                    <a:pt x="84" y="26"/>
                    <a:pt x="85" y="26"/>
                  </a:cubicBezTo>
                  <a:cubicBezTo>
                    <a:pt x="85" y="26"/>
                    <a:pt x="85" y="26"/>
                    <a:pt x="85" y="26"/>
                  </a:cubicBezTo>
                  <a:cubicBezTo>
                    <a:pt x="87" y="24"/>
                    <a:pt x="87" y="24"/>
                    <a:pt x="87" y="24"/>
                  </a:cubicBezTo>
                  <a:cubicBezTo>
                    <a:pt x="87" y="25"/>
                    <a:pt x="87" y="25"/>
                    <a:pt x="87" y="25"/>
                  </a:cubicBezTo>
                  <a:cubicBezTo>
                    <a:pt x="87" y="25"/>
                    <a:pt x="87" y="25"/>
                    <a:pt x="87" y="25"/>
                  </a:cubicBezTo>
                  <a:cubicBezTo>
                    <a:pt x="87" y="25"/>
                    <a:pt x="87" y="25"/>
                    <a:pt x="87" y="25"/>
                  </a:cubicBezTo>
                  <a:cubicBezTo>
                    <a:pt x="87" y="28"/>
                    <a:pt x="87" y="28"/>
                    <a:pt x="87" y="28"/>
                  </a:cubicBezTo>
                  <a:cubicBezTo>
                    <a:pt x="87" y="28"/>
                    <a:pt x="86" y="29"/>
                    <a:pt x="85" y="29"/>
                  </a:cubicBezTo>
                  <a:cubicBezTo>
                    <a:pt x="85" y="29"/>
                    <a:pt x="85" y="30"/>
                    <a:pt x="85" y="30"/>
                  </a:cubicBezTo>
                  <a:cubicBezTo>
                    <a:pt x="84" y="31"/>
                    <a:pt x="84" y="31"/>
                    <a:pt x="83" y="31"/>
                  </a:cubicBezTo>
                  <a:cubicBezTo>
                    <a:pt x="83" y="31"/>
                    <a:pt x="82" y="31"/>
                    <a:pt x="82" y="31"/>
                  </a:cubicBezTo>
                  <a:cubicBezTo>
                    <a:pt x="82" y="31"/>
                    <a:pt x="81" y="31"/>
                    <a:pt x="80" y="31"/>
                  </a:cubicBezTo>
                  <a:cubicBezTo>
                    <a:pt x="79" y="31"/>
                    <a:pt x="78" y="32"/>
                    <a:pt x="78" y="32"/>
                  </a:cubicBezTo>
                  <a:cubicBezTo>
                    <a:pt x="78" y="32"/>
                    <a:pt x="77" y="33"/>
                    <a:pt x="75" y="33"/>
                  </a:cubicBezTo>
                  <a:cubicBezTo>
                    <a:pt x="74" y="33"/>
                    <a:pt x="74" y="33"/>
                    <a:pt x="73" y="34"/>
                  </a:cubicBezTo>
                  <a:cubicBezTo>
                    <a:pt x="73" y="34"/>
                    <a:pt x="73" y="34"/>
                    <a:pt x="73" y="34"/>
                  </a:cubicBezTo>
                  <a:cubicBezTo>
                    <a:pt x="72" y="35"/>
                    <a:pt x="73" y="35"/>
                    <a:pt x="73" y="35"/>
                  </a:cubicBezTo>
                  <a:cubicBezTo>
                    <a:pt x="74" y="36"/>
                    <a:pt x="74" y="36"/>
                    <a:pt x="74" y="36"/>
                  </a:cubicBezTo>
                  <a:cubicBezTo>
                    <a:pt x="75" y="37"/>
                    <a:pt x="75" y="37"/>
                    <a:pt x="75" y="37"/>
                  </a:cubicBezTo>
                  <a:cubicBezTo>
                    <a:pt x="75" y="37"/>
                    <a:pt x="74" y="38"/>
                    <a:pt x="72" y="38"/>
                  </a:cubicBezTo>
                  <a:cubicBezTo>
                    <a:pt x="72" y="38"/>
                    <a:pt x="72" y="38"/>
                    <a:pt x="73" y="39"/>
                  </a:cubicBezTo>
                  <a:cubicBezTo>
                    <a:pt x="74" y="41"/>
                    <a:pt x="74" y="41"/>
                    <a:pt x="74" y="41"/>
                  </a:cubicBezTo>
                  <a:cubicBezTo>
                    <a:pt x="73" y="41"/>
                    <a:pt x="73" y="41"/>
                    <a:pt x="73" y="41"/>
                  </a:cubicBezTo>
                  <a:cubicBezTo>
                    <a:pt x="73" y="41"/>
                    <a:pt x="73" y="41"/>
                    <a:pt x="73" y="41"/>
                  </a:cubicBezTo>
                  <a:cubicBezTo>
                    <a:pt x="73" y="41"/>
                    <a:pt x="73" y="41"/>
                    <a:pt x="73" y="41"/>
                  </a:cubicBezTo>
                  <a:cubicBezTo>
                    <a:pt x="72" y="41"/>
                    <a:pt x="72" y="41"/>
                    <a:pt x="72" y="41"/>
                  </a:cubicBezTo>
                  <a:cubicBezTo>
                    <a:pt x="70" y="39"/>
                    <a:pt x="70" y="39"/>
                    <a:pt x="70" y="38"/>
                  </a:cubicBezTo>
                  <a:cubicBezTo>
                    <a:pt x="70" y="38"/>
                    <a:pt x="70" y="38"/>
                    <a:pt x="69" y="38"/>
                  </a:cubicBezTo>
                  <a:cubicBezTo>
                    <a:pt x="68" y="37"/>
                    <a:pt x="68" y="37"/>
                    <a:pt x="68" y="37"/>
                  </a:cubicBezTo>
                  <a:cubicBezTo>
                    <a:pt x="66" y="37"/>
                    <a:pt x="66" y="37"/>
                    <a:pt x="66" y="37"/>
                  </a:cubicBezTo>
                  <a:cubicBezTo>
                    <a:pt x="66" y="36"/>
                    <a:pt x="66" y="36"/>
                    <a:pt x="66" y="36"/>
                  </a:cubicBezTo>
                  <a:cubicBezTo>
                    <a:pt x="63" y="35"/>
                    <a:pt x="63" y="35"/>
                    <a:pt x="63" y="35"/>
                  </a:cubicBezTo>
                  <a:cubicBezTo>
                    <a:pt x="63" y="35"/>
                    <a:pt x="62" y="35"/>
                    <a:pt x="62" y="35"/>
                  </a:cubicBezTo>
                  <a:cubicBezTo>
                    <a:pt x="61" y="35"/>
                    <a:pt x="60" y="36"/>
                    <a:pt x="60" y="36"/>
                  </a:cubicBezTo>
                  <a:cubicBezTo>
                    <a:pt x="60" y="36"/>
                    <a:pt x="59" y="37"/>
                    <a:pt x="59" y="37"/>
                  </a:cubicBezTo>
                  <a:cubicBezTo>
                    <a:pt x="59" y="37"/>
                    <a:pt x="58" y="37"/>
                    <a:pt x="58" y="37"/>
                  </a:cubicBezTo>
                  <a:cubicBezTo>
                    <a:pt x="58" y="37"/>
                    <a:pt x="57" y="36"/>
                    <a:pt x="57" y="35"/>
                  </a:cubicBezTo>
                  <a:cubicBezTo>
                    <a:pt x="57" y="35"/>
                    <a:pt x="57" y="35"/>
                    <a:pt x="57" y="35"/>
                  </a:cubicBezTo>
                  <a:cubicBezTo>
                    <a:pt x="57" y="35"/>
                    <a:pt x="57" y="34"/>
                    <a:pt x="56" y="34"/>
                  </a:cubicBezTo>
                  <a:cubicBezTo>
                    <a:pt x="56" y="34"/>
                    <a:pt x="56" y="34"/>
                    <a:pt x="56" y="33"/>
                  </a:cubicBezTo>
                  <a:cubicBezTo>
                    <a:pt x="55" y="32"/>
                    <a:pt x="55" y="32"/>
                    <a:pt x="55" y="32"/>
                  </a:cubicBezTo>
                  <a:cubicBezTo>
                    <a:pt x="55" y="32"/>
                    <a:pt x="54" y="32"/>
                    <a:pt x="53" y="32"/>
                  </a:cubicBezTo>
                  <a:cubicBezTo>
                    <a:pt x="53" y="32"/>
                    <a:pt x="52" y="32"/>
                    <a:pt x="52" y="31"/>
                  </a:cubicBezTo>
                  <a:cubicBezTo>
                    <a:pt x="52" y="31"/>
                    <a:pt x="51" y="31"/>
                    <a:pt x="51" y="31"/>
                  </a:cubicBezTo>
                  <a:cubicBezTo>
                    <a:pt x="51" y="31"/>
                    <a:pt x="50" y="30"/>
                    <a:pt x="50" y="30"/>
                  </a:cubicBezTo>
                  <a:cubicBezTo>
                    <a:pt x="49" y="30"/>
                    <a:pt x="49" y="29"/>
                    <a:pt x="49" y="29"/>
                  </a:cubicBezTo>
                  <a:cubicBezTo>
                    <a:pt x="48" y="30"/>
                    <a:pt x="48" y="30"/>
                    <a:pt x="48" y="30"/>
                  </a:cubicBezTo>
                  <a:cubicBezTo>
                    <a:pt x="47" y="29"/>
                    <a:pt x="47" y="29"/>
                    <a:pt x="46" y="29"/>
                  </a:cubicBezTo>
                  <a:cubicBezTo>
                    <a:pt x="45" y="28"/>
                    <a:pt x="45" y="28"/>
                    <a:pt x="45" y="28"/>
                  </a:cubicBezTo>
                  <a:cubicBezTo>
                    <a:pt x="45" y="28"/>
                    <a:pt x="45" y="28"/>
                    <a:pt x="44" y="27"/>
                  </a:cubicBezTo>
                  <a:cubicBezTo>
                    <a:pt x="44" y="27"/>
                    <a:pt x="43" y="27"/>
                    <a:pt x="43" y="27"/>
                  </a:cubicBezTo>
                  <a:cubicBezTo>
                    <a:pt x="43" y="28"/>
                    <a:pt x="43" y="28"/>
                    <a:pt x="43" y="28"/>
                  </a:cubicBezTo>
                  <a:cubicBezTo>
                    <a:pt x="44" y="29"/>
                    <a:pt x="44" y="30"/>
                    <a:pt x="44" y="30"/>
                  </a:cubicBezTo>
                  <a:cubicBezTo>
                    <a:pt x="43" y="30"/>
                    <a:pt x="42" y="30"/>
                    <a:pt x="41" y="29"/>
                  </a:cubicBezTo>
                  <a:cubicBezTo>
                    <a:pt x="40" y="29"/>
                    <a:pt x="40" y="29"/>
                    <a:pt x="40" y="29"/>
                  </a:cubicBezTo>
                  <a:cubicBezTo>
                    <a:pt x="39" y="28"/>
                    <a:pt x="39" y="28"/>
                    <a:pt x="39" y="28"/>
                  </a:cubicBezTo>
                  <a:cubicBezTo>
                    <a:pt x="39" y="28"/>
                    <a:pt x="38" y="28"/>
                    <a:pt x="38" y="28"/>
                  </a:cubicBezTo>
                  <a:cubicBezTo>
                    <a:pt x="38" y="28"/>
                    <a:pt x="37" y="29"/>
                    <a:pt x="37" y="29"/>
                  </a:cubicBezTo>
                  <a:cubicBezTo>
                    <a:pt x="36" y="29"/>
                    <a:pt x="36" y="29"/>
                    <a:pt x="36" y="29"/>
                  </a:cubicBezTo>
                  <a:cubicBezTo>
                    <a:pt x="36" y="31"/>
                    <a:pt x="36" y="31"/>
                    <a:pt x="36" y="31"/>
                  </a:cubicBezTo>
                  <a:cubicBezTo>
                    <a:pt x="36" y="32"/>
                    <a:pt x="36" y="32"/>
                    <a:pt x="35" y="32"/>
                  </a:cubicBezTo>
                  <a:cubicBezTo>
                    <a:pt x="34" y="32"/>
                    <a:pt x="34" y="32"/>
                    <a:pt x="34" y="33"/>
                  </a:cubicBezTo>
                  <a:cubicBezTo>
                    <a:pt x="34" y="33"/>
                    <a:pt x="34" y="34"/>
                    <a:pt x="34" y="34"/>
                  </a:cubicBezTo>
                  <a:cubicBezTo>
                    <a:pt x="34" y="34"/>
                    <a:pt x="34" y="34"/>
                    <a:pt x="34" y="34"/>
                  </a:cubicBezTo>
                  <a:cubicBezTo>
                    <a:pt x="34" y="34"/>
                    <a:pt x="35" y="34"/>
                    <a:pt x="35" y="33"/>
                  </a:cubicBezTo>
                  <a:cubicBezTo>
                    <a:pt x="36" y="33"/>
                    <a:pt x="36" y="33"/>
                    <a:pt x="36" y="33"/>
                  </a:cubicBezTo>
                  <a:cubicBezTo>
                    <a:pt x="35" y="33"/>
                    <a:pt x="35" y="33"/>
                    <a:pt x="35" y="33"/>
                  </a:cubicBezTo>
                  <a:cubicBezTo>
                    <a:pt x="35" y="32"/>
                    <a:pt x="36" y="32"/>
                    <a:pt x="36" y="32"/>
                  </a:cubicBezTo>
                  <a:cubicBezTo>
                    <a:pt x="37" y="32"/>
                    <a:pt x="37" y="32"/>
                    <a:pt x="37" y="32"/>
                  </a:cubicBezTo>
                  <a:cubicBezTo>
                    <a:pt x="37" y="31"/>
                    <a:pt x="38" y="31"/>
                    <a:pt x="38" y="31"/>
                  </a:cubicBezTo>
                  <a:cubicBezTo>
                    <a:pt x="39" y="31"/>
                    <a:pt x="39" y="31"/>
                    <a:pt x="39" y="32"/>
                  </a:cubicBezTo>
                  <a:cubicBezTo>
                    <a:pt x="39" y="32"/>
                    <a:pt x="39" y="33"/>
                    <a:pt x="38" y="33"/>
                  </a:cubicBezTo>
                  <a:cubicBezTo>
                    <a:pt x="39" y="34"/>
                    <a:pt x="39" y="34"/>
                    <a:pt x="39" y="34"/>
                  </a:cubicBezTo>
                  <a:cubicBezTo>
                    <a:pt x="39" y="35"/>
                    <a:pt x="38" y="35"/>
                    <a:pt x="38" y="35"/>
                  </a:cubicBezTo>
                  <a:cubicBezTo>
                    <a:pt x="38" y="35"/>
                    <a:pt x="37" y="36"/>
                    <a:pt x="37" y="36"/>
                  </a:cubicBezTo>
                  <a:cubicBezTo>
                    <a:pt x="37" y="37"/>
                    <a:pt x="37" y="37"/>
                    <a:pt x="37" y="38"/>
                  </a:cubicBezTo>
                  <a:cubicBezTo>
                    <a:pt x="37" y="37"/>
                    <a:pt x="38" y="38"/>
                    <a:pt x="38" y="38"/>
                  </a:cubicBezTo>
                  <a:cubicBezTo>
                    <a:pt x="38" y="38"/>
                    <a:pt x="38" y="38"/>
                    <a:pt x="38" y="39"/>
                  </a:cubicBezTo>
                  <a:cubicBezTo>
                    <a:pt x="38" y="39"/>
                    <a:pt x="38" y="39"/>
                    <a:pt x="38" y="39"/>
                  </a:cubicBezTo>
                  <a:cubicBezTo>
                    <a:pt x="38" y="40"/>
                    <a:pt x="38" y="40"/>
                    <a:pt x="37" y="40"/>
                  </a:cubicBezTo>
                  <a:cubicBezTo>
                    <a:pt x="36" y="40"/>
                    <a:pt x="36" y="40"/>
                    <a:pt x="36" y="40"/>
                  </a:cubicBezTo>
                  <a:cubicBezTo>
                    <a:pt x="36" y="40"/>
                    <a:pt x="36" y="39"/>
                    <a:pt x="35" y="39"/>
                  </a:cubicBezTo>
                  <a:cubicBezTo>
                    <a:pt x="34" y="39"/>
                    <a:pt x="34" y="39"/>
                    <a:pt x="34" y="39"/>
                  </a:cubicBezTo>
                  <a:cubicBezTo>
                    <a:pt x="34" y="39"/>
                    <a:pt x="33" y="39"/>
                    <a:pt x="32" y="39"/>
                  </a:cubicBezTo>
                  <a:cubicBezTo>
                    <a:pt x="31" y="38"/>
                    <a:pt x="30" y="38"/>
                    <a:pt x="29" y="38"/>
                  </a:cubicBezTo>
                  <a:cubicBezTo>
                    <a:pt x="28" y="38"/>
                    <a:pt x="28" y="39"/>
                    <a:pt x="28" y="39"/>
                  </a:cubicBezTo>
                  <a:cubicBezTo>
                    <a:pt x="28" y="39"/>
                    <a:pt x="29" y="39"/>
                    <a:pt x="31" y="40"/>
                  </a:cubicBezTo>
                  <a:cubicBezTo>
                    <a:pt x="31" y="40"/>
                    <a:pt x="32" y="40"/>
                    <a:pt x="32" y="40"/>
                  </a:cubicBezTo>
                  <a:cubicBezTo>
                    <a:pt x="32" y="40"/>
                    <a:pt x="32" y="40"/>
                    <a:pt x="32" y="40"/>
                  </a:cubicBezTo>
                  <a:cubicBezTo>
                    <a:pt x="33" y="40"/>
                    <a:pt x="33" y="40"/>
                    <a:pt x="33" y="41"/>
                  </a:cubicBezTo>
                  <a:cubicBezTo>
                    <a:pt x="33" y="43"/>
                    <a:pt x="33" y="43"/>
                    <a:pt x="33" y="43"/>
                  </a:cubicBezTo>
                  <a:cubicBezTo>
                    <a:pt x="33" y="43"/>
                    <a:pt x="34" y="43"/>
                    <a:pt x="34" y="44"/>
                  </a:cubicBezTo>
                  <a:cubicBezTo>
                    <a:pt x="34" y="45"/>
                    <a:pt x="34" y="45"/>
                    <a:pt x="34" y="45"/>
                  </a:cubicBezTo>
                  <a:cubicBezTo>
                    <a:pt x="35" y="46"/>
                    <a:pt x="35" y="46"/>
                    <a:pt x="36" y="46"/>
                  </a:cubicBezTo>
                  <a:cubicBezTo>
                    <a:pt x="36" y="46"/>
                    <a:pt x="37" y="46"/>
                    <a:pt x="37" y="46"/>
                  </a:cubicBezTo>
                  <a:cubicBezTo>
                    <a:pt x="37" y="46"/>
                    <a:pt x="38" y="46"/>
                    <a:pt x="38" y="46"/>
                  </a:cubicBezTo>
                  <a:cubicBezTo>
                    <a:pt x="39" y="46"/>
                    <a:pt x="39" y="46"/>
                    <a:pt x="39" y="46"/>
                  </a:cubicBezTo>
                  <a:cubicBezTo>
                    <a:pt x="40" y="46"/>
                    <a:pt x="41" y="46"/>
                    <a:pt x="42" y="46"/>
                  </a:cubicBezTo>
                  <a:cubicBezTo>
                    <a:pt x="43" y="46"/>
                    <a:pt x="44" y="47"/>
                    <a:pt x="44" y="47"/>
                  </a:cubicBezTo>
                  <a:cubicBezTo>
                    <a:pt x="44" y="48"/>
                    <a:pt x="43" y="49"/>
                    <a:pt x="43" y="50"/>
                  </a:cubicBezTo>
                  <a:cubicBezTo>
                    <a:pt x="43" y="49"/>
                    <a:pt x="43" y="49"/>
                    <a:pt x="43" y="49"/>
                  </a:cubicBezTo>
                  <a:cubicBezTo>
                    <a:pt x="42" y="50"/>
                    <a:pt x="42" y="50"/>
                    <a:pt x="42" y="50"/>
                  </a:cubicBezTo>
                  <a:cubicBezTo>
                    <a:pt x="42" y="51"/>
                    <a:pt x="42" y="51"/>
                    <a:pt x="42" y="51"/>
                  </a:cubicBezTo>
                  <a:cubicBezTo>
                    <a:pt x="42" y="51"/>
                    <a:pt x="42" y="51"/>
                    <a:pt x="41" y="51"/>
                  </a:cubicBezTo>
                  <a:cubicBezTo>
                    <a:pt x="39" y="51"/>
                    <a:pt x="38" y="51"/>
                    <a:pt x="38" y="51"/>
                  </a:cubicBezTo>
                  <a:cubicBezTo>
                    <a:pt x="36" y="50"/>
                    <a:pt x="36" y="50"/>
                    <a:pt x="36" y="50"/>
                  </a:cubicBezTo>
                  <a:cubicBezTo>
                    <a:pt x="36" y="50"/>
                    <a:pt x="35" y="51"/>
                    <a:pt x="35" y="51"/>
                  </a:cubicBezTo>
                  <a:cubicBezTo>
                    <a:pt x="34" y="52"/>
                    <a:pt x="34" y="52"/>
                    <a:pt x="34" y="52"/>
                  </a:cubicBezTo>
                  <a:cubicBezTo>
                    <a:pt x="34" y="53"/>
                    <a:pt x="34" y="53"/>
                    <a:pt x="34" y="53"/>
                  </a:cubicBezTo>
                  <a:cubicBezTo>
                    <a:pt x="34" y="53"/>
                    <a:pt x="34" y="53"/>
                    <a:pt x="33" y="55"/>
                  </a:cubicBezTo>
                  <a:cubicBezTo>
                    <a:pt x="33" y="55"/>
                    <a:pt x="34" y="55"/>
                    <a:pt x="34" y="55"/>
                  </a:cubicBezTo>
                  <a:cubicBezTo>
                    <a:pt x="34" y="57"/>
                    <a:pt x="34" y="57"/>
                    <a:pt x="34" y="57"/>
                  </a:cubicBezTo>
                  <a:cubicBezTo>
                    <a:pt x="34" y="57"/>
                    <a:pt x="34" y="57"/>
                    <a:pt x="34" y="57"/>
                  </a:cubicBezTo>
                  <a:cubicBezTo>
                    <a:pt x="34" y="57"/>
                    <a:pt x="34" y="57"/>
                    <a:pt x="34" y="57"/>
                  </a:cubicBezTo>
                  <a:cubicBezTo>
                    <a:pt x="34" y="57"/>
                    <a:pt x="34" y="57"/>
                    <a:pt x="34" y="57"/>
                  </a:cubicBezTo>
                  <a:cubicBezTo>
                    <a:pt x="34" y="57"/>
                    <a:pt x="34" y="57"/>
                    <a:pt x="34" y="57"/>
                  </a:cubicBezTo>
                  <a:cubicBezTo>
                    <a:pt x="33" y="58"/>
                    <a:pt x="32" y="57"/>
                    <a:pt x="32" y="57"/>
                  </a:cubicBezTo>
                  <a:cubicBezTo>
                    <a:pt x="32" y="57"/>
                    <a:pt x="32" y="57"/>
                    <a:pt x="31" y="57"/>
                  </a:cubicBezTo>
                  <a:cubicBezTo>
                    <a:pt x="31" y="56"/>
                    <a:pt x="30" y="56"/>
                    <a:pt x="30" y="56"/>
                  </a:cubicBezTo>
                  <a:cubicBezTo>
                    <a:pt x="29" y="58"/>
                    <a:pt x="29" y="58"/>
                    <a:pt x="29" y="58"/>
                  </a:cubicBezTo>
                  <a:cubicBezTo>
                    <a:pt x="28" y="58"/>
                    <a:pt x="28" y="58"/>
                    <a:pt x="28" y="58"/>
                  </a:cubicBezTo>
                  <a:cubicBezTo>
                    <a:pt x="27" y="58"/>
                    <a:pt x="27" y="58"/>
                    <a:pt x="27" y="58"/>
                  </a:cubicBezTo>
                  <a:cubicBezTo>
                    <a:pt x="27" y="58"/>
                    <a:pt x="26" y="58"/>
                    <a:pt x="26" y="58"/>
                  </a:cubicBezTo>
                  <a:cubicBezTo>
                    <a:pt x="26" y="58"/>
                    <a:pt x="26" y="58"/>
                    <a:pt x="26" y="59"/>
                  </a:cubicBezTo>
                  <a:cubicBezTo>
                    <a:pt x="26" y="59"/>
                    <a:pt x="26" y="60"/>
                    <a:pt x="26" y="60"/>
                  </a:cubicBezTo>
                  <a:cubicBezTo>
                    <a:pt x="26" y="60"/>
                    <a:pt x="27" y="60"/>
                    <a:pt x="28" y="61"/>
                  </a:cubicBezTo>
                  <a:cubicBezTo>
                    <a:pt x="28" y="61"/>
                    <a:pt x="28" y="62"/>
                    <a:pt x="28" y="62"/>
                  </a:cubicBezTo>
                  <a:cubicBezTo>
                    <a:pt x="28" y="62"/>
                    <a:pt x="27" y="63"/>
                    <a:pt x="27" y="63"/>
                  </a:cubicBezTo>
                  <a:cubicBezTo>
                    <a:pt x="27" y="63"/>
                    <a:pt x="27" y="63"/>
                    <a:pt x="25" y="61"/>
                  </a:cubicBezTo>
                  <a:cubicBezTo>
                    <a:pt x="25" y="61"/>
                    <a:pt x="25" y="61"/>
                    <a:pt x="25" y="61"/>
                  </a:cubicBezTo>
                  <a:cubicBezTo>
                    <a:pt x="25" y="61"/>
                    <a:pt x="25" y="61"/>
                    <a:pt x="25" y="61"/>
                  </a:cubicBezTo>
                  <a:cubicBezTo>
                    <a:pt x="24" y="61"/>
                    <a:pt x="24" y="62"/>
                    <a:pt x="24" y="62"/>
                  </a:cubicBezTo>
                  <a:cubicBezTo>
                    <a:pt x="24" y="63"/>
                    <a:pt x="24" y="63"/>
                    <a:pt x="25" y="63"/>
                  </a:cubicBezTo>
                  <a:cubicBezTo>
                    <a:pt x="26" y="63"/>
                    <a:pt x="26" y="63"/>
                    <a:pt x="26" y="63"/>
                  </a:cubicBezTo>
                  <a:cubicBezTo>
                    <a:pt x="27" y="64"/>
                    <a:pt x="27" y="64"/>
                    <a:pt x="27" y="64"/>
                  </a:cubicBezTo>
                  <a:cubicBezTo>
                    <a:pt x="28" y="65"/>
                    <a:pt x="28" y="65"/>
                    <a:pt x="28" y="65"/>
                  </a:cubicBezTo>
                  <a:cubicBezTo>
                    <a:pt x="28" y="65"/>
                    <a:pt x="28" y="65"/>
                    <a:pt x="28" y="66"/>
                  </a:cubicBezTo>
                  <a:cubicBezTo>
                    <a:pt x="29" y="66"/>
                    <a:pt x="30" y="65"/>
                    <a:pt x="31" y="65"/>
                  </a:cubicBezTo>
                  <a:cubicBezTo>
                    <a:pt x="32" y="65"/>
                    <a:pt x="32" y="65"/>
                    <a:pt x="32" y="65"/>
                  </a:cubicBezTo>
                  <a:cubicBezTo>
                    <a:pt x="33" y="66"/>
                    <a:pt x="33" y="67"/>
                    <a:pt x="33" y="67"/>
                  </a:cubicBezTo>
                  <a:cubicBezTo>
                    <a:pt x="33" y="67"/>
                    <a:pt x="32" y="68"/>
                    <a:pt x="32" y="68"/>
                  </a:cubicBezTo>
                  <a:cubicBezTo>
                    <a:pt x="32" y="68"/>
                    <a:pt x="32" y="67"/>
                    <a:pt x="32" y="67"/>
                  </a:cubicBezTo>
                  <a:cubicBezTo>
                    <a:pt x="32" y="67"/>
                    <a:pt x="32" y="67"/>
                    <a:pt x="32" y="67"/>
                  </a:cubicBezTo>
                  <a:cubicBezTo>
                    <a:pt x="31" y="67"/>
                    <a:pt x="31" y="68"/>
                    <a:pt x="31" y="69"/>
                  </a:cubicBezTo>
                  <a:cubicBezTo>
                    <a:pt x="31" y="69"/>
                    <a:pt x="31" y="69"/>
                    <a:pt x="31" y="69"/>
                  </a:cubicBezTo>
                  <a:cubicBezTo>
                    <a:pt x="31" y="70"/>
                    <a:pt x="31" y="70"/>
                    <a:pt x="32" y="70"/>
                  </a:cubicBezTo>
                  <a:cubicBezTo>
                    <a:pt x="33" y="70"/>
                    <a:pt x="33" y="70"/>
                    <a:pt x="33" y="70"/>
                  </a:cubicBezTo>
                  <a:cubicBezTo>
                    <a:pt x="34" y="70"/>
                    <a:pt x="34" y="70"/>
                    <a:pt x="34" y="70"/>
                  </a:cubicBezTo>
                  <a:cubicBezTo>
                    <a:pt x="34" y="69"/>
                    <a:pt x="35" y="69"/>
                    <a:pt x="35" y="69"/>
                  </a:cubicBezTo>
                  <a:cubicBezTo>
                    <a:pt x="35" y="68"/>
                    <a:pt x="36" y="68"/>
                    <a:pt x="36" y="68"/>
                  </a:cubicBezTo>
                  <a:cubicBezTo>
                    <a:pt x="36" y="68"/>
                    <a:pt x="38" y="69"/>
                    <a:pt x="38" y="69"/>
                  </a:cubicBezTo>
                  <a:cubicBezTo>
                    <a:pt x="38" y="69"/>
                    <a:pt x="38" y="69"/>
                    <a:pt x="38" y="69"/>
                  </a:cubicBezTo>
                  <a:cubicBezTo>
                    <a:pt x="38" y="70"/>
                    <a:pt x="38" y="70"/>
                    <a:pt x="38" y="70"/>
                  </a:cubicBezTo>
                  <a:cubicBezTo>
                    <a:pt x="38" y="70"/>
                    <a:pt x="38" y="70"/>
                    <a:pt x="38" y="70"/>
                  </a:cubicBezTo>
                  <a:cubicBezTo>
                    <a:pt x="37" y="70"/>
                    <a:pt x="37" y="70"/>
                    <a:pt x="37" y="70"/>
                  </a:cubicBezTo>
                  <a:cubicBezTo>
                    <a:pt x="37" y="70"/>
                    <a:pt x="36" y="71"/>
                    <a:pt x="36" y="72"/>
                  </a:cubicBezTo>
                  <a:cubicBezTo>
                    <a:pt x="36" y="72"/>
                    <a:pt x="36" y="72"/>
                    <a:pt x="35" y="72"/>
                  </a:cubicBezTo>
                  <a:cubicBezTo>
                    <a:pt x="35" y="72"/>
                    <a:pt x="35" y="72"/>
                    <a:pt x="35" y="72"/>
                  </a:cubicBezTo>
                  <a:cubicBezTo>
                    <a:pt x="34" y="71"/>
                    <a:pt x="34" y="71"/>
                    <a:pt x="34" y="71"/>
                  </a:cubicBezTo>
                  <a:cubicBezTo>
                    <a:pt x="34" y="72"/>
                    <a:pt x="34" y="72"/>
                    <a:pt x="34" y="72"/>
                  </a:cubicBezTo>
                  <a:cubicBezTo>
                    <a:pt x="34" y="73"/>
                    <a:pt x="34" y="73"/>
                    <a:pt x="34" y="73"/>
                  </a:cubicBezTo>
                  <a:cubicBezTo>
                    <a:pt x="34" y="74"/>
                    <a:pt x="34" y="74"/>
                    <a:pt x="34" y="73"/>
                  </a:cubicBezTo>
                  <a:cubicBezTo>
                    <a:pt x="35" y="73"/>
                    <a:pt x="35" y="73"/>
                    <a:pt x="35" y="73"/>
                  </a:cubicBezTo>
                  <a:cubicBezTo>
                    <a:pt x="35" y="73"/>
                    <a:pt x="35" y="73"/>
                    <a:pt x="35" y="73"/>
                  </a:cubicBezTo>
                  <a:cubicBezTo>
                    <a:pt x="36" y="73"/>
                    <a:pt x="36" y="73"/>
                    <a:pt x="37" y="73"/>
                  </a:cubicBezTo>
                  <a:cubicBezTo>
                    <a:pt x="37" y="74"/>
                    <a:pt x="37" y="74"/>
                    <a:pt x="37" y="74"/>
                  </a:cubicBezTo>
                  <a:cubicBezTo>
                    <a:pt x="38" y="74"/>
                    <a:pt x="38" y="75"/>
                    <a:pt x="38" y="75"/>
                  </a:cubicBezTo>
                  <a:cubicBezTo>
                    <a:pt x="38" y="75"/>
                    <a:pt x="39" y="75"/>
                    <a:pt x="39" y="75"/>
                  </a:cubicBezTo>
                  <a:cubicBezTo>
                    <a:pt x="40" y="76"/>
                    <a:pt x="40" y="76"/>
                    <a:pt x="41" y="76"/>
                  </a:cubicBezTo>
                  <a:cubicBezTo>
                    <a:pt x="44" y="76"/>
                    <a:pt x="44" y="76"/>
                    <a:pt x="44" y="76"/>
                  </a:cubicBezTo>
                  <a:cubicBezTo>
                    <a:pt x="45" y="76"/>
                    <a:pt x="45" y="76"/>
                    <a:pt x="45" y="76"/>
                  </a:cubicBezTo>
                  <a:cubicBezTo>
                    <a:pt x="46" y="76"/>
                    <a:pt x="49" y="76"/>
                    <a:pt x="49" y="76"/>
                  </a:cubicBezTo>
                  <a:cubicBezTo>
                    <a:pt x="51" y="77"/>
                    <a:pt x="51" y="77"/>
                    <a:pt x="51" y="77"/>
                  </a:cubicBezTo>
                  <a:cubicBezTo>
                    <a:pt x="51" y="77"/>
                    <a:pt x="51" y="77"/>
                    <a:pt x="51" y="77"/>
                  </a:cubicBezTo>
                  <a:cubicBezTo>
                    <a:pt x="51" y="77"/>
                    <a:pt x="51" y="77"/>
                    <a:pt x="51" y="77"/>
                  </a:cubicBezTo>
                  <a:cubicBezTo>
                    <a:pt x="51" y="77"/>
                    <a:pt x="51" y="77"/>
                    <a:pt x="51" y="77"/>
                  </a:cubicBezTo>
                  <a:cubicBezTo>
                    <a:pt x="51" y="79"/>
                    <a:pt x="51" y="79"/>
                    <a:pt x="51" y="79"/>
                  </a:cubicBezTo>
                  <a:cubicBezTo>
                    <a:pt x="51" y="79"/>
                    <a:pt x="51" y="79"/>
                    <a:pt x="51" y="79"/>
                  </a:cubicBezTo>
                  <a:cubicBezTo>
                    <a:pt x="51" y="79"/>
                    <a:pt x="52" y="79"/>
                    <a:pt x="53" y="79"/>
                  </a:cubicBezTo>
                  <a:cubicBezTo>
                    <a:pt x="53" y="80"/>
                    <a:pt x="53" y="80"/>
                    <a:pt x="51" y="80"/>
                  </a:cubicBezTo>
                  <a:cubicBezTo>
                    <a:pt x="51" y="80"/>
                    <a:pt x="51" y="80"/>
                    <a:pt x="51" y="80"/>
                  </a:cubicBezTo>
                  <a:cubicBezTo>
                    <a:pt x="52" y="81"/>
                    <a:pt x="52" y="81"/>
                    <a:pt x="52" y="81"/>
                  </a:cubicBezTo>
                  <a:cubicBezTo>
                    <a:pt x="51" y="83"/>
                    <a:pt x="51" y="83"/>
                    <a:pt x="51" y="83"/>
                  </a:cubicBezTo>
                  <a:cubicBezTo>
                    <a:pt x="51" y="82"/>
                    <a:pt x="51" y="82"/>
                    <a:pt x="51" y="82"/>
                  </a:cubicBezTo>
                  <a:cubicBezTo>
                    <a:pt x="51" y="82"/>
                    <a:pt x="51" y="82"/>
                    <a:pt x="51" y="82"/>
                  </a:cubicBezTo>
                  <a:cubicBezTo>
                    <a:pt x="51" y="82"/>
                    <a:pt x="51" y="82"/>
                    <a:pt x="51" y="82"/>
                  </a:cubicBezTo>
                  <a:cubicBezTo>
                    <a:pt x="50" y="81"/>
                    <a:pt x="50" y="81"/>
                    <a:pt x="50" y="81"/>
                  </a:cubicBezTo>
                  <a:cubicBezTo>
                    <a:pt x="48" y="81"/>
                    <a:pt x="48" y="81"/>
                    <a:pt x="48" y="81"/>
                  </a:cubicBezTo>
                  <a:cubicBezTo>
                    <a:pt x="48" y="81"/>
                    <a:pt x="48" y="81"/>
                    <a:pt x="48" y="81"/>
                  </a:cubicBezTo>
                  <a:cubicBezTo>
                    <a:pt x="48" y="82"/>
                    <a:pt x="48" y="82"/>
                    <a:pt x="48" y="82"/>
                  </a:cubicBezTo>
                  <a:cubicBezTo>
                    <a:pt x="47" y="82"/>
                    <a:pt x="47" y="82"/>
                    <a:pt x="47" y="82"/>
                  </a:cubicBezTo>
                  <a:cubicBezTo>
                    <a:pt x="46" y="82"/>
                    <a:pt x="45" y="82"/>
                    <a:pt x="45" y="82"/>
                  </a:cubicBezTo>
                  <a:cubicBezTo>
                    <a:pt x="44" y="81"/>
                    <a:pt x="44" y="81"/>
                    <a:pt x="43" y="81"/>
                  </a:cubicBezTo>
                  <a:cubicBezTo>
                    <a:pt x="42" y="82"/>
                    <a:pt x="42" y="82"/>
                    <a:pt x="42" y="82"/>
                  </a:cubicBezTo>
                  <a:cubicBezTo>
                    <a:pt x="42" y="83"/>
                    <a:pt x="41" y="83"/>
                    <a:pt x="40" y="83"/>
                  </a:cubicBezTo>
                  <a:cubicBezTo>
                    <a:pt x="40" y="83"/>
                    <a:pt x="40" y="84"/>
                    <a:pt x="39" y="85"/>
                  </a:cubicBezTo>
                  <a:cubicBezTo>
                    <a:pt x="36" y="87"/>
                    <a:pt x="36" y="87"/>
                    <a:pt x="36" y="87"/>
                  </a:cubicBezTo>
                  <a:cubicBezTo>
                    <a:pt x="36" y="88"/>
                    <a:pt x="36" y="88"/>
                    <a:pt x="36" y="88"/>
                  </a:cubicBezTo>
                  <a:cubicBezTo>
                    <a:pt x="36" y="88"/>
                    <a:pt x="37" y="88"/>
                    <a:pt x="38" y="89"/>
                  </a:cubicBezTo>
                  <a:cubicBezTo>
                    <a:pt x="38" y="89"/>
                    <a:pt x="38" y="90"/>
                    <a:pt x="37" y="90"/>
                  </a:cubicBezTo>
                  <a:cubicBezTo>
                    <a:pt x="37" y="90"/>
                    <a:pt x="37" y="90"/>
                    <a:pt x="36" y="91"/>
                  </a:cubicBezTo>
                  <a:cubicBezTo>
                    <a:pt x="36" y="91"/>
                    <a:pt x="35" y="92"/>
                    <a:pt x="35" y="92"/>
                  </a:cubicBezTo>
                  <a:cubicBezTo>
                    <a:pt x="35" y="93"/>
                    <a:pt x="34" y="93"/>
                    <a:pt x="34" y="93"/>
                  </a:cubicBezTo>
                  <a:cubicBezTo>
                    <a:pt x="34" y="94"/>
                    <a:pt x="34" y="94"/>
                    <a:pt x="33" y="95"/>
                  </a:cubicBezTo>
                  <a:cubicBezTo>
                    <a:pt x="33" y="96"/>
                    <a:pt x="32" y="95"/>
                    <a:pt x="31" y="95"/>
                  </a:cubicBezTo>
                  <a:cubicBezTo>
                    <a:pt x="30" y="95"/>
                    <a:pt x="30" y="95"/>
                    <a:pt x="29" y="95"/>
                  </a:cubicBezTo>
                  <a:cubicBezTo>
                    <a:pt x="29" y="96"/>
                    <a:pt x="29" y="96"/>
                    <a:pt x="29" y="96"/>
                  </a:cubicBezTo>
                  <a:cubicBezTo>
                    <a:pt x="28" y="96"/>
                    <a:pt x="28" y="97"/>
                    <a:pt x="28" y="97"/>
                  </a:cubicBezTo>
                  <a:cubicBezTo>
                    <a:pt x="27" y="97"/>
                    <a:pt x="27" y="98"/>
                    <a:pt x="27" y="98"/>
                  </a:cubicBezTo>
                  <a:cubicBezTo>
                    <a:pt x="26" y="99"/>
                    <a:pt x="26" y="99"/>
                    <a:pt x="25" y="99"/>
                  </a:cubicBezTo>
                  <a:cubicBezTo>
                    <a:pt x="25" y="99"/>
                    <a:pt x="24" y="99"/>
                    <a:pt x="24" y="99"/>
                  </a:cubicBezTo>
                  <a:cubicBezTo>
                    <a:pt x="23" y="99"/>
                    <a:pt x="23" y="99"/>
                    <a:pt x="23" y="99"/>
                  </a:cubicBezTo>
                  <a:cubicBezTo>
                    <a:pt x="23" y="99"/>
                    <a:pt x="23" y="99"/>
                    <a:pt x="22" y="99"/>
                  </a:cubicBezTo>
                  <a:cubicBezTo>
                    <a:pt x="21" y="99"/>
                    <a:pt x="21" y="101"/>
                    <a:pt x="21" y="101"/>
                  </a:cubicBezTo>
                  <a:cubicBezTo>
                    <a:pt x="21" y="101"/>
                    <a:pt x="21" y="101"/>
                    <a:pt x="22" y="100"/>
                  </a:cubicBezTo>
                  <a:cubicBezTo>
                    <a:pt x="22" y="100"/>
                    <a:pt x="22" y="101"/>
                    <a:pt x="23" y="101"/>
                  </a:cubicBezTo>
                  <a:cubicBezTo>
                    <a:pt x="23" y="101"/>
                    <a:pt x="24" y="101"/>
                    <a:pt x="25" y="100"/>
                  </a:cubicBezTo>
                  <a:cubicBezTo>
                    <a:pt x="26" y="100"/>
                    <a:pt x="26" y="100"/>
                    <a:pt x="26" y="100"/>
                  </a:cubicBezTo>
                  <a:cubicBezTo>
                    <a:pt x="27" y="100"/>
                    <a:pt x="27" y="100"/>
                    <a:pt x="27" y="100"/>
                  </a:cubicBezTo>
                  <a:cubicBezTo>
                    <a:pt x="28" y="100"/>
                    <a:pt x="29" y="100"/>
                    <a:pt x="29" y="100"/>
                  </a:cubicBezTo>
                  <a:cubicBezTo>
                    <a:pt x="29" y="100"/>
                    <a:pt x="30" y="100"/>
                    <a:pt x="30" y="100"/>
                  </a:cubicBezTo>
                  <a:cubicBezTo>
                    <a:pt x="30" y="99"/>
                    <a:pt x="30" y="99"/>
                    <a:pt x="31" y="99"/>
                  </a:cubicBezTo>
                  <a:cubicBezTo>
                    <a:pt x="31" y="99"/>
                    <a:pt x="31" y="99"/>
                    <a:pt x="32" y="101"/>
                  </a:cubicBezTo>
                  <a:cubicBezTo>
                    <a:pt x="32" y="101"/>
                    <a:pt x="32" y="101"/>
                    <a:pt x="32" y="102"/>
                  </a:cubicBezTo>
                  <a:cubicBezTo>
                    <a:pt x="32" y="102"/>
                    <a:pt x="33" y="102"/>
                    <a:pt x="34" y="102"/>
                  </a:cubicBezTo>
                  <a:cubicBezTo>
                    <a:pt x="35" y="102"/>
                    <a:pt x="35" y="102"/>
                    <a:pt x="35" y="102"/>
                  </a:cubicBezTo>
                  <a:cubicBezTo>
                    <a:pt x="35" y="102"/>
                    <a:pt x="36" y="102"/>
                    <a:pt x="36" y="102"/>
                  </a:cubicBezTo>
                  <a:cubicBezTo>
                    <a:pt x="36" y="102"/>
                    <a:pt x="37" y="102"/>
                    <a:pt x="37" y="102"/>
                  </a:cubicBezTo>
                  <a:cubicBezTo>
                    <a:pt x="37" y="102"/>
                    <a:pt x="38" y="102"/>
                    <a:pt x="38" y="102"/>
                  </a:cubicBezTo>
                  <a:cubicBezTo>
                    <a:pt x="39" y="103"/>
                    <a:pt x="39" y="103"/>
                    <a:pt x="39" y="103"/>
                  </a:cubicBezTo>
                  <a:cubicBezTo>
                    <a:pt x="40" y="103"/>
                    <a:pt x="40" y="103"/>
                    <a:pt x="40" y="103"/>
                  </a:cubicBezTo>
                  <a:cubicBezTo>
                    <a:pt x="41" y="103"/>
                    <a:pt x="41" y="103"/>
                    <a:pt x="41" y="103"/>
                  </a:cubicBezTo>
                  <a:cubicBezTo>
                    <a:pt x="42" y="102"/>
                    <a:pt x="43" y="102"/>
                    <a:pt x="43" y="101"/>
                  </a:cubicBezTo>
                  <a:cubicBezTo>
                    <a:pt x="43" y="101"/>
                    <a:pt x="44" y="100"/>
                    <a:pt x="44" y="100"/>
                  </a:cubicBezTo>
                  <a:cubicBezTo>
                    <a:pt x="45" y="99"/>
                    <a:pt x="45" y="99"/>
                    <a:pt x="46" y="99"/>
                  </a:cubicBezTo>
                  <a:cubicBezTo>
                    <a:pt x="46" y="99"/>
                    <a:pt x="46" y="99"/>
                    <a:pt x="46" y="99"/>
                  </a:cubicBezTo>
                  <a:cubicBezTo>
                    <a:pt x="47" y="100"/>
                    <a:pt x="47" y="100"/>
                    <a:pt x="46" y="101"/>
                  </a:cubicBezTo>
                  <a:cubicBezTo>
                    <a:pt x="47" y="103"/>
                    <a:pt x="47" y="103"/>
                    <a:pt x="47" y="103"/>
                  </a:cubicBezTo>
                  <a:cubicBezTo>
                    <a:pt x="47" y="103"/>
                    <a:pt x="47" y="103"/>
                    <a:pt x="46" y="103"/>
                  </a:cubicBezTo>
                  <a:cubicBezTo>
                    <a:pt x="46" y="103"/>
                    <a:pt x="45" y="103"/>
                    <a:pt x="45" y="104"/>
                  </a:cubicBezTo>
                  <a:cubicBezTo>
                    <a:pt x="45" y="104"/>
                    <a:pt x="44" y="104"/>
                    <a:pt x="43" y="104"/>
                  </a:cubicBezTo>
                  <a:cubicBezTo>
                    <a:pt x="43" y="104"/>
                    <a:pt x="42" y="104"/>
                    <a:pt x="41" y="104"/>
                  </a:cubicBezTo>
                  <a:cubicBezTo>
                    <a:pt x="41" y="104"/>
                    <a:pt x="41" y="104"/>
                    <a:pt x="41" y="104"/>
                  </a:cubicBezTo>
                  <a:cubicBezTo>
                    <a:pt x="40" y="104"/>
                    <a:pt x="39" y="104"/>
                    <a:pt x="38" y="104"/>
                  </a:cubicBezTo>
                  <a:cubicBezTo>
                    <a:pt x="38" y="104"/>
                    <a:pt x="37" y="105"/>
                    <a:pt x="37" y="105"/>
                  </a:cubicBezTo>
                  <a:cubicBezTo>
                    <a:pt x="36" y="105"/>
                    <a:pt x="35" y="105"/>
                    <a:pt x="34" y="104"/>
                  </a:cubicBezTo>
                  <a:cubicBezTo>
                    <a:pt x="34" y="104"/>
                    <a:pt x="33" y="103"/>
                    <a:pt x="33" y="103"/>
                  </a:cubicBezTo>
                  <a:cubicBezTo>
                    <a:pt x="31" y="103"/>
                    <a:pt x="31" y="103"/>
                    <a:pt x="31" y="103"/>
                  </a:cubicBezTo>
                  <a:cubicBezTo>
                    <a:pt x="30" y="103"/>
                    <a:pt x="30" y="103"/>
                    <a:pt x="30" y="103"/>
                  </a:cubicBezTo>
                  <a:cubicBezTo>
                    <a:pt x="27" y="102"/>
                    <a:pt x="27" y="102"/>
                    <a:pt x="27" y="102"/>
                  </a:cubicBezTo>
                  <a:cubicBezTo>
                    <a:pt x="27" y="103"/>
                    <a:pt x="27" y="103"/>
                    <a:pt x="27" y="103"/>
                  </a:cubicBezTo>
                  <a:cubicBezTo>
                    <a:pt x="27" y="103"/>
                    <a:pt x="27" y="103"/>
                    <a:pt x="27" y="103"/>
                  </a:cubicBezTo>
                  <a:cubicBezTo>
                    <a:pt x="27" y="103"/>
                    <a:pt x="26" y="104"/>
                    <a:pt x="26" y="104"/>
                  </a:cubicBezTo>
                  <a:cubicBezTo>
                    <a:pt x="26" y="104"/>
                    <a:pt x="26" y="104"/>
                    <a:pt x="26" y="105"/>
                  </a:cubicBezTo>
                  <a:cubicBezTo>
                    <a:pt x="25" y="105"/>
                    <a:pt x="25" y="105"/>
                    <a:pt x="25" y="105"/>
                  </a:cubicBezTo>
                  <a:cubicBezTo>
                    <a:pt x="25" y="105"/>
                    <a:pt x="24" y="106"/>
                    <a:pt x="24" y="106"/>
                  </a:cubicBezTo>
                  <a:cubicBezTo>
                    <a:pt x="24" y="106"/>
                    <a:pt x="23" y="106"/>
                    <a:pt x="23" y="106"/>
                  </a:cubicBezTo>
                  <a:cubicBezTo>
                    <a:pt x="22" y="107"/>
                    <a:pt x="22" y="107"/>
                    <a:pt x="22" y="107"/>
                  </a:cubicBezTo>
                  <a:cubicBezTo>
                    <a:pt x="18" y="107"/>
                    <a:pt x="18" y="107"/>
                    <a:pt x="18" y="107"/>
                  </a:cubicBezTo>
                  <a:cubicBezTo>
                    <a:pt x="18" y="107"/>
                    <a:pt x="18" y="107"/>
                    <a:pt x="18" y="107"/>
                  </a:cubicBezTo>
                  <a:cubicBezTo>
                    <a:pt x="18" y="107"/>
                    <a:pt x="19" y="107"/>
                    <a:pt x="20" y="108"/>
                  </a:cubicBezTo>
                  <a:cubicBezTo>
                    <a:pt x="20" y="108"/>
                    <a:pt x="20" y="108"/>
                    <a:pt x="20" y="108"/>
                  </a:cubicBezTo>
                  <a:cubicBezTo>
                    <a:pt x="20" y="108"/>
                    <a:pt x="20" y="109"/>
                    <a:pt x="20" y="109"/>
                  </a:cubicBezTo>
                  <a:cubicBezTo>
                    <a:pt x="20" y="109"/>
                    <a:pt x="19" y="111"/>
                    <a:pt x="19" y="111"/>
                  </a:cubicBezTo>
                  <a:cubicBezTo>
                    <a:pt x="19" y="111"/>
                    <a:pt x="19" y="112"/>
                    <a:pt x="19" y="112"/>
                  </a:cubicBezTo>
                  <a:cubicBezTo>
                    <a:pt x="19" y="112"/>
                    <a:pt x="19" y="113"/>
                    <a:pt x="19" y="114"/>
                  </a:cubicBezTo>
                  <a:cubicBezTo>
                    <a:pt x="19" y="114"/>
                    <a:pt x="19" y="114"/>
                    <a:pt x="19" y="114"/>
                  </a:cubicBezTo>
                  <a:cubicBezTo>
                    <a:pt x="19" y="114"/>
                    <a:pt x="19" y="114"/>
                    <a:pt x="19" y="114"/>
                  </a:cubicBezTo>
                  <a:cubicBezTo>
                    <a:pt x="19" y="114"/>
                    <a:pt x="18" y="114"/>
                    <a:pt x="18" y="114"/>
                  </a:cubicBezTo>
                  <a:cubicBezTo>
                    <a:pt x="18" y="114"/>
                    <a:pt x="18" y="114"/>
                    <a:pt x="18" y="114"/>
                  </a:cubicBezTo>
                  <a:cubicBezTo>
                    <a:pt x="18" y="114"/>
                    <a:pt x="18" y="115"/>
                    <a:pt x="18" y="115"/>
                  </a:cubicBezTo>
                  <a:cubicBezTo>
                    <a:pt x="17" y="115"/>
                    <a:pt x="17" y="114"/>
                    <a:pt x="16" y="114"/>
                  </a:cubicBezTo>
                  <a:cubicBezTo>
                    <a:pt x="16" y="114"/>
                    <a:pt x="16" y="114"/>
                    <a:pt x="15" y="114"/>
                  </a:cubicBezTo>
                  <a:cubicBezTo>
                    <a:pt x="16" y="113"/>
                    <a:pt x="15" y="113"/>
                    <a:pt x="15" y="113"/>
                  </a:cubicBezTo>
                  <a:cubicBezTo>
                    <a:pt x="14" y="113"/>
                    <a:pt x="14" y="112"/>
                    <a:pt x="14" y="112"/>
                  </a:cubicBezTo>
                  <a:cubicBezTo>
                    <a:pt x="14" y="112"/>
                    <a:pt x="14" y="111"/>
                    <a:pt x="13" y="111"/>
                  </a:cubicBezTo>
                  <a:cubicBezTo>
                    <a:pt x="13" y="111"/>
                    <a:pt x="13" y="111"/>
                    <a:pt x="12" y="112"/>
                  </a:cubicBezTo>
                  <a:cubicBezTo>
                    <a:pt x="12" y="113"/>
                    <a:pt x="11" y="112"/>
                    <a:pt x="10" y="112"/>
                  </a:cubicBezTo>
                  <a:cubicBezTo>
                    <a:pt x="10" y="112"/>
                    <a:pt x="10" y="112"/>
                    <a:pt x="10" y="112"/>
                  </a:cubicBezTo>
                  <a:cubicBezTo>
                    <a:pt x="10" y="112"/>
                    <a:pt x="10" y="111"/>
                    <a:pt x="10" y="111"/>
                  </a:cubicBezTo>
                  <a:cubicBezTo>
                    <a:pt x="10" y="111"/>
                    <a:pt x="10" y="111"/>
                    <a:pt x="10" y="111"/>
                  </a:cubicBezTo>
                  <a:cubicBezTo>
                    <a:pt x="10" y="111"/>
                    <a:pt x="10" y="110"/>
                    <a:pt x="10" y="110"/>
                  </a:cubicBezTo>
                  <a:cubicBezTo>
                    <a:pt x="10" y="110"/>
                    <a:pt x="10" y="110"/>
                    <a:pt x="10" y="110"/>
                  </a:cubicBezTo>
                  <a:cubicBezTo>
                    <a:pt x="10" y="110"/>
                    <a:pt x="9" y="110"/>
                    <a:pt x="8" y="110"/>
                  </a:cubicBezTo>
                  <a:cubicBezTo>
                    <a:pt x="8" y="110"/>
                    <a:pt x="7" y="111"/>
                    <a:pt x="6" y="111"/>
                  </a:cubicBezTo>
                  <a:cubicBezTo>
                    <a:pt x="6" y="111"/>
                    <a:pt x="5" y="111"/>
                    <a:pt x="5" y="111"/>
                  </a:cubicBezTo>
                  <a:cubicBezTo>
                    <a:pt x="5" y="112"/>
                    <a:pt x="4" y="113"/>
                    <a:pt x="4" y="113"/>
                  </a:cubicBezTo>
                  <a:cubicBezTo>
                    <a:pt x="3" y="114"/>
                    <a:pt x="3" y="113"/>
                    <a:pt x="3" y="113"/>
                  </a:cubicBezTo>
                  <a:cubicBezTo>
                    <a:pt x="3" y="112"/>
                    <a:pt x="3" y="112"/>
                    <a:pt x="3" y="112"/>
                  </a:cubicBezTo>
                  <a:cubicBezTo>
                    <a:pt x="2" y="112"/>
                    <a:pt x="2" y="113"/>
                    <a:pt x="1" y="113"/>
                  </a:cubicBezTo>
                  <a:cubicBezTo>
                    <a:pt x="1" y="113"/>
                    <a:pt x="1" y="114"/>
                    <a:pt x="1" y="114"/>
                  </a:cubicBezTo>
                  <a:cubicBezTo>
                    <a:pt x="1" y="114"/>
                    <a:pt x="2" y="115"/>
                    <a:pt x="2" y="115"/>
                  </a:cubicBezTo>
                  <a:cubicBezTo>
                    <a:pt x="2" y="115"/>
                    <a:pt x="3" y="115"/>
                    <a:pt x="3" y="115"/>
                  </a:cubicBezTo>
                  <a:cubicBezTo>
                    <a:pt x="3" y="115"/>
                    <a:pt x="4" y="115"/>
                    <a:pt x="4" y="115"/>
                  </a:cubicBezTo>
                  <a:cubicBezTo>
                    <a:pt x="4" y="115"/>
                    <a:pt x="5" y="115"/>
                    <a:pt x="6" y="116"/>
                  </a:cubicBezTo>
                  <a:cubicBezTo>
                    <a:pt x="8" y="116"/>
                    <a:pt x="8" y="116"/>
                    <a:pt x="8" y="117"/>
                  </a:cubicBezTo>
                  <a:cubicBezTo>
                    <a:pt x="8" y="117"/>
                    <a:pt x="8" y="117"/>
                    <a:pt x="7" y="117"/>
                  </a:cubicBezTo>
                  <a:cubicBezTo>
                    <a:pt x="8" y="117"/>
                    <a:pt x="8" y="117"/>
                    <a:pt x="8" y="117"/>
                  </a:cubicBezTo>
                  <a:cubicBezTo>
                    <a:pt x="9" y="117"/>
                    <a:pt x="9" y="117"/>
                    <a:pt x="9" y="117"/>
                  </a:cubicBezTo>
                  <a:cubicBezTo>
                    <a:pt x="9" y="117"/>
                    <a:pt x="10" y="117"/>
                    <a:pt x="11" y="117"/>
                  </a:cubicBezTo>
                  <a:cubicBezTo>
                    <a:pt x="12" y="117"/>
                    <a:pt x="12" y="118"/>
                    <a:pt x="12" y="118"/>
                  </a:cubicBezTo>
                  <a:cubicBezTo>
                    <a:pt x="12" y="118"/>
                    <a:pt x="13" y="117"/>
                    <a:pt x="14" y="117"/>
                  </a:cubicBezTo>
                  <a:cubicBezTo>
                    <a:pt x="15" y="117"/>
                    <a:pt x="15" y="118"/>
                    <a:pt x="15" y="118"/>
                  </a:cubicBezTo>
                  <a:cubicBezTo>
                    <a:pt x="16" y="118"/>
                    <a:pt x="16" y="118"/>
                    <a:pt x="17" y="118"/>
                  </a:cubicBezTo>
                  <a:cubicBezTo>
                    <a:pt x="18" y="118"/>
                    <a:pt x="18" y="118"/>
                    <a:pt x="18" y="118"/>
                  </a:cubicBezTo>
                  <a:cubicBezTo>
                    <a:pt x="18" y="118"/>
                    <a:pt x="19" y="118"/>
                    <a:pt x="19" y="118"/>
                  </a:cubicBezTo>
                  <a:cubicBezTo>
                    <a:pt x="19" y="118"/>
                    <a:pt x="19" y="119"/>
                    <a:pt x="19" y="119"/>
                  </a:cubicBezTo>
                  <a:cubicBezTo>
                    <a:pt x="19" y="119"/>
                    <a:pt x="18" y="119"/>
                    <a:pt x="18" y="119"/>
                  </a:cubicBezTo>
                  <a:cubicBezTo>
                    <a:pt x="17" y="119"/>
                    <a:pt x="17" y="119"/>
                    <a:pt x="17" y="119"/>
                  </a:cubicBezTo>
                  <a:cubicBezTo>
                    <a:pt x="16" y="119"/>
                    <a:pt x="16" y="119"/>
                    <a:pt x="16" y="119"/>
                  </a:cubicBezTo>
                  <a:cubicBezTo>
                    <a:pt x="16" y="119"/>
                    <a:pt x="16" y="119"/>
                    <a:pt x="16" y="119"/>
                  </a:cubicBezTo>
                  <a:cubicBezTo>
                    <a:pt x="15" y="120"/>
                    <a:pt x="15" y="120"/>
                    <a:pt x="15" y="120"/>
                  </a:cubicBezTo>
                  <a:cubicBezTo>
                    <a:pt x="14" y="121"/>
                    <a:pt x="13" y="121"/>
                    <a:pt x="13" y="121"/>
                  </a:cubicBezTo>
                  <a:cubicBezTo>
                    <a:pt x="12" y="121"/>
                    <a:pt x="11" y="121"/>
                    <a:pt x="11" y="121"/>
                  </a:cubicBezTo>
                  <a:cubicBezTo>
                    <a:pt x="11" y="121"/>
                    <a:pt x="10" y="121"/>
                    <a:pt x="10" y="121"/>
                  </a:cubicBezTo>
                  <a:cubicBezTo>
                    <a:pt x="10" y="121"/>
                    <a:pt x="9" y="121"/>
                    <a:pt x="8" y="121"/>
                  </a:cubicBezTo>
                  <a:cubicBezTo>
                    <a:pt x="8" y="121"/>
                    <a:pt x="7" y="121"/>
                    <a:pt x="7" y="122"/>
                  </a:cubicBezTo>
                  <a:cubicBezTo>
                    <a:pt x="6" y="122"/>
                    <a:pt x="6" y="122"/>
                    <a:pt x="6" y="122"/>
                  </a:cubicBezTo>
                  <a:cubicBezTo>
                    <a:pt x="6" y="122"/>
                    <a:pt x="5" y="122"/>
                    <a:pt x="5" y="122"/>
                  </a:cubicBezTo>
                  <a:cubicBezTo>
                    <a:pt x="4" y="122"/>
                    <a:pt x="4" y="122"/>
                    <a:pt x="4" y="123"/>
                  </a:cubicBezTo>
                  <a:cubicBezTo>
                    <a:pt x="3" y="123"/>
                    <a:pt x="3" y="123"/>
                    <a:pt x="3" y="123"/>
                  </a:cubicBezTo>
                  <a:cubicBezTo>
                    <a:pt x="4" y="124"/>
                    <a:pt x="4" y="125"/>
                    <a:pt x="3" y="125"/>
                  </a:cubicBezTo>
                  <a:cubicBezTo>
                    <a:pt x="2" y="125"/>
                    <a:pt x="2" y="125"/>
                    <a:pt x="2" y="125"/>
                  </a:cubicBezTo>
                  <a:cubicBezTo>
                    <a:pt x="1" y="125"/>
                    <a:pt x="1" y="125"/>
                    <a:pt x="0" y="126"/>
                  </a:cubicBezTo>
                  <a:cubicBezTo>
                    <a:pt x="0" y="126"/>
                    <a:pt x="0" y="126"/>
                    <a:pt x="0" y="126"/>
                  </a:cubicBezTo>
                  <a:cubicBezTo>
                    <a:pt x="1" y="127"/>
                    <a:pt x="0" y="128"/>
                    <a:pt x="0" y="128"/>
                  </a:cubicBezTo>
                  <a:cubicBezTo>
                    <a:pt x="0" y="128"/>
                    <a:pt x="0" y="129"/>
                    <a:pt x="0" y="129"/>
                  </a:cubicBezTo>
                  <a:cubicBezTo>
                    <a:pt x="1" y="129"/>
                    <a:pt x="1" y="129"/>
                    <a:pt x="1" y="129"/>
                  </a:cubicBezTo>
                  <a:cubicBezTo>
                    <a:pt x="1" y="129"/>
                    <a:pt x="1" y="129"/>
                    <a:pt x="1" y="129"/>
                  </a:cubicBezTo>
                  <a:cubicBezTo>
                    <a:pt x="1" y="129"/>
                    <a:pt x="1" y="129"/>
                    <a:pt x="1" y="129"/>
                  </a:cubicBezTo>
                  <a:cubicBezTo>
                    <a:pt x="2" y="128"/>
                    <a:pt x="3" y="128"/>
                    <a:pt x="3" y="128"/>
                  </a:cubicBezTo>
                  <a:cubicBezTo>
                    <a:pt x="3" y="128"/>
                    <a:pt x="4" y="128"/>
                    <a:pt x="4" y="128"/>
                  </a:cubicBezTo>
                  <a:cubicBezTo>
                    <a:pt x="5" y="128"/>
                    <a:pt x="5" y="128"/>
                    <a:pt x="5" y="128"/>
                  </a:cubicBezTo>
                  <a:cubicBezTo>
                    <a:pt x="5" y="129"/>
                    <a:pt x="4" y="129"/>
                    <a:pt x="4" y="130"/>
                  </a:cubicBezTo>
                  <a:cubicBezTo>
                    <a:pt x="4" y="130"/>
                    <a:pt x="4" y="130"/>
                    <a:pt x="4" y="131"/>
                  </a:cubicBezTo>
                  <a:cubicBezTo>
                    <a:pt x="4" y="131"/>
                    <a:pt x="4" y="132"/>
                    <a:pt x="4" y="132"/>
                  </a:cubicBezTo>
                  <a:cubicBezTo>
                    <a:pt x="4" y="132"/>
                    <a:pt x="5" y="132"/>
                    <a:pt x="6" y="132"/>
                  </a:cubicBezTo>
                  <a:cubicBezTo>
                    <a:pt x="6" y="132"/>
                    <a:pt x="7" y="132"/>
                    <a:pt x="8" y="132"/>
                  </a:cubicBezTo>
                  <a:cubicBezTo>
                    <a:pt x="9" y="132"/>
                    <a:pt x="9" y="132"/>
                    <a:pt x="9" y="132"/>
                  </a:cubicBezTo>
                  <a:cubicBezTo>
                    <a:pt x="9" y="132"/>
                    <a:pt x="9" y="132"/>
                    <a:pt x="10" y="132"/>
                  </a:cubicBezTo>
                  <a:cubicBezTo>
                    <a:pt x="10" y="132"/>
                    <a:pt x="10" y="131"/>
                    <a:pt x="10" y="131"/>
                  </a:cubicBezTo>
                  <a:cubicBezTo>
                    <a:pt x="11" y="132"/>
                    <a:pt x="11" y="132"/>
                    <a:pt x="11" y="132"/>
                  </a:cubicBezTo>
                  <a:cubicBezTo>
                    <a:pt x="12" y="132"/>
                    <a:pt x="12" y="132"/>
                    <a:pt x="13" y="132"/>
                  </a:cubicBezTo>
                  <a:cubicBezTo>
                    <a:pt x="13" y="131"/>
                    <a:pt x="14" y="131"/>
                    <a:pt x="14" y="131"/>
                  </a:cubicBezTo>
                  <a:cubicBezTo>
                    <a:pt x="14" y="131"/>
                    <a:pt x="15" y="131"/>
                    <a:pt x="15" y="131"/>
                  </a:cubicBezTo>
                  <a:cubicBezTo>
                    <a:pt x="16" y="131"/>
                    <a:pt x="16" y="131"/>
                    <a:pt x="16" y="131"/>
                  </a:cubicBezTo>
                  <a:cubicBezTo>
                    <a:pt x="17" y="131"/>
                    <a:pt x="17" y="131"/>
                    <a:pt x="17" y="131"/>
                  </a:cubicBezTo>
                  <a:cubicBezTo>
                    <a:pt x="17" y="131"/>
                    <a:pt x="18" y="132"/>
                    <a:pt x="18" y="132"/>
                  </a:cubicBezTo>
                  <a:cubicBezTo>
                    <a:pt x="18" y="133"/>
                    <a:pt x="16" y="133"/>
                    <a:pt x="15" y="133"/>
                  </a:cubicBezTo>
                  <a:cubicBezTo>
                    <a:pt x="15" y="133"/>
                    <a:pt x="14" y="133"/>
                    <a:pt x="14" y="133"/>
                  </a:cubicBezTo>
                  <a:cubicBezTo>
                    <a:pt x="14" y="133"/>
                    <a:pt x="13" y="133"/>
                    <a:pt x="13" y="133"/>
                  </a:cubicBezTo>
                  <a:cubicBezTo>
                    <a:pt x="12" y="134"/>
                    <a:pt x="12" y="134"/>
                    <a:pt x="11" y="134"/>
                  </a:cubicBezTo>
                  <a:cubicBezTo>
                    <a:pt x="10" y="134"/>
                    <a:pt x="10" y="134"/>
                    <a:pt x="10" y="134"/>
                  </a:cubicBezTo>
                  <a:cubicBezTo>
                    <a:pt x="8" y="135"/>
                    <a:pt x="8" y="135"/>
                    <a:pt x="8" y="135"/>
                  </a:cubicBezTo>
                  <a:cubicBezTo>
                    <a:pt x="8" y="135"/>
                    <a:pt x="6" y="136"/>
                    <a:pt x="6" y="136"/>
                  </a:cubicBezTo>
                  <a:cubicBezTo>
                    <a:pt x="6" y="137"/>
                    <a:pt x="6" y="137"/>
                    <a:pt x="5" y="137"/>
                  </a:cubicBezTo>
                  <a:cubicBezTo>
                    <a:pt x="4" y="138"/>
                    <a:pt x="4" y="138"/>
                    <a:pt x="4" y="138"/>
                  </a:cubicBezTo>
                  <a:cubicBezTo>
                    <a:pt x="3" y="138"/>
                    <a:pt x="2" y="138"/>
                    <a:pt x="1" y="139"/>
                  </a:cubicBezTo>
                  <a:cubicBezTo>
                    <a:pt x="2" y="139"/>
                    <a:pt x="4" y="139"/>
                    <a:pt x="6" y="139"/>
                  </a:cubicBezTo>
                  <a:cubicBezTo>
                    <a:pt x="6" y="139"/>
                    <a:pt x="6" y="139"/>
                    <a:pt x="6" y="139"/>
                  </a:cubicBezTo>
                  <a:cubicBezTo>
                    <a:pt x="7" y="139"/>
                    <a:pt x="7" y="139"/>
                    <a:pt x="8" y="139"/>
                  </a:cubicBezTo>
                  <a:cubicBezTo>
                    <a:pt x="8" y="139"/>
                    <a:pt x="8" y="139"/>
                    <a:pt x="9" y="138"/>
                  </a:cubicBezTo>
                  <a:cubicBezTo>
                    <a:pt x="10" y="138"/>
                    <a:pt x="10" y="138"/>
                    <a:pt x="10" y="138"/>
                  </a:cubicBezTo>
                  <a:cubicBezTo>
                    <a:pt x="11" y="138"/>
                    <a:pt x="11" y="138"/>
                    <a:pt x="12" y="138"/>
                  </a:cubicBezTo>
                  <a:cubicBezTo>
                    <a:pt x="13" y="138"/>
                    <a:pt x="13" y="139"/>
                    <a:pt x="14" y="139"/>
                  </a:cubicBezTo>
                  <a:cubicBezTo>
                    <a:pt x="15" y="139"/>
                    <a:pt x="15" y="139"/>
                    <a:pt x="15" y="139"/>
                  </a:cubicBezTo>
                  <a:cubicBezTo>
                    <a:pt x="16" y="139"/>
                    <a:pt x="16" y="139"/>
                    <a:pt x="16" y="139"/>
                  </a:cubicBezTo>
                  <a:cubicBezTo>
                    <a:pt x="16" y="139"/>
                    <a:pt x="18" y="138"/>
                    <a:pt x="18" y="138"/>
                  </a:cubicBezTo>
                  <a:cubicBezTo>
                    <a:pt x="19" y="138"/>
                    <a:pt x="20" y="137"/>
                    <a:pt x="20" y="137"/>
                  </a:cubicBezTo>
                  <a:cubicBezTo>
                    <a:pt x="20" y="137"/>
                    <a:pt x="21" y="138"/>
                    <a:pt x="21" y="139"/>
                  </a:cubicBezTo>
                  <a:cubicBezTo>
                    <a:pt x="21" y="140"/>
                    <a:pt x="20" y="141"/>
                    <a:pt x="20" y="141"/>
                  </a:cubicBezTo>
                  <a:cubicBezTo>
                    <a:pt x="19" y="141"/>
                    <a:pt x="18" y="142"/>
                    <a:pt x="17" y="141"/>
                  </a:cubicBezTo>
                  <a:cubicBezTo>
                    <a:pt x="16" y="141"/>
                    <a:pt x="15" y="142"/>
                    <a:pt x="14" y="142"/>
                  </a:cubicBezTo>
                  <a:cubicBezTo>
                    <a:pt x="14" y="142"/>
                    <a:pt x="14" y="142"/>
                    <a:pt x="13" y="142"/>
                  </a:cubicBezTo>
                  <a:cubicBezTo>
                    <a:pt x="12" y="142"/>
                    <a:pt x="12" y="142"/>
                    <a:pt x="12" y="142"/>
                  </a:cubicBezTo>
                  <a:cubicBezTo>
                    <a:pt x="12" y="142"/>
                    <a:pt x="12" y="143"/>
                    <a:pt x="11" y="143"/>
                  </a:cubicBezTo>
                  <a:cubicBezTo>
                    <a:pt x="11" y="143"/>
                    <a:pt x="12" y="143"/>
                    <a:pt x="13" y="143"/>
                  </a:cubicBezTo>
                  <a:cubicBezTo>
                    <a:pt x="13" y="143"/>
                    <a:pt x="14" y="143"/>
                    <a:pt x="14" y="143"/>
                  </a:cubicBezTo>
                  <a:cubicBezTo>
                    <a:pt x="15" y="143"/>
                    <a:pt x="15" y="143"/>
                    <a:pt x="15" y="143"/>
                  </a:cubicBezTo>
                  <a:cubicBezTo>
                    <a:pt x="15" y="143"/>
                    <a:pt x="15" y="143"/>
                    <a:pt x="15" y="143"/>
                  </a:cubicBezTo>
                  <a:cubicBezTo>
                    <a:pt x="16" y="142"/>
                    <a:pt x="16" y="142"/>
                    <a:pt x="16" y="142"/>
                  </a:cubicBezTo>
                  <a:cubicBezTo>
                    <a:pt x="16" y="142"/>
                    <a:pt x="17" y="142"/>
                    <a:pt x="17" y="142"/>
                  </a:cubicBezTo>
                  <a:cubicBezTo>
                    <a:pt x="17" y="142"/>
                    <a:pt x="17" y="142"/>
                    <a:pt x="17" y="142"/>
                  </a:cubicBezTo>
                  <a:cubicBezTo>
                    <a:pt x="17" y="142"/>
                    <a:pt x="17" y="142"/>
                    <a:pt x="17" y="142"/>
                  </a:cubicBezTo>
                  <a:cubicBezTo>
                    <a:pt x="17" y="143"/>
                    <a:pt x="17" y="143"/>
                    <a:pt x="17" y="143"/>
                  </a:cubicBezTo>
                  <a:cubicBezTo>
                    <a:pt x="17" y="143"/>
                    <a:pt x="16" y="144"/>
                    <a:pt x="16" y="144"/>
                  </a:cubicBezTo>
                  <a:cubicBezTo>
                    <a:pt x="16" y="144"/>
                    <a:pt x="15" y="145"/>
                    <a:pt x="13" y="145"/>
                  </a:cubicBezTo>
                  <a:cubicBezTo>
                    <a:pt x="13" y="145"/>
                    <a:pt x="12" y="145"/>
                    <a:pt x="11" y="145"/>
                  </a:cubicBezTo>
                  <a:cubicBezTo>
                    <a:pt x="11" y="145"/>
                    <a:pt x="11" y="146"/>
                    <a:pt x="10" y="146"/>
                  </a:cubicBezTo>
                  <a:cubicBezTo>
                    <a:pt x="10" y="146"/>
                    <a:pt x="10" y="146"/>
                    <a:pt x="10" y="146"/>
                  </a:cubicBezTo>
                  <a:cubicBezTo>
                    <a:pt x="10" y="147"/>
                    <a:pt x="10" y="147"/>
                    <a:pt x="11" y="147"/>
                  </a:cubicBezTo>
                  <a:cubicBezTo>
                    <a:pt x="14" y="146"/>
                    <a:pt x="14" y="146"/>
                    <a:pt x="14" y="146"/>
                  </a:cubicBezTo>
                  <a:cubicBezTo>
                    <a:pt x="15" y="146"/>
                    <a:pt x="18" y="147"/>
                    <a:pt x="19" y="147"/>
                  </a:cubicBezTo>
                  <a:cubicBezTo>
                    <a:pt x="20" y="147"/>
                    <a:pt x="21" y="147"/>
                    <a:pt x="21" y="147"/>
                  </a:cubicBezTo>
                  <a:cubicBezTo>
                    <a:pt x="22" y="147"/>
                    <a:pt x="22" y="147"/>
                    <a:pt x="22" y="147"/>
                  </a:cubicBezTo>
                  <a:cubicBezTo>
                    <a:pt x="23" y="149"/>
                    <a:pt x="23" y="149"/>
                    <a:pt x="23" y="149"/>
                  </a:cubicBezTo>
                  <a:cubicBezTo>
                    <a:pt x="25" y="148"/>
                    <a:pt x="25" y="148"/>
                    <a:pt x="25" y="148"/>
                  </a:cubicBezTo>
                  <a:cubicBezTo>
                    <a:pt x="31" y="148"/>
                    <a:pt x="31" y="148"/>
                    <a:pt x="31" y="148"/>
                  </a:cubicBezTo>
                  <a:cubicBezTo>
                    <a:pt x="32" y="150"/>
                    <a:pt x="32" y="150"/>
                    <a:pt x="32" y="150"/>
                  </a:cubicBezTo>
                  <a:cubicBezTo>
                    <a:pt x="36" y="149"/>
                    <a:pt x="36" y="149"/>
                    <a:pt x="36" y="149"/>
                  </a:cubicBezTo>
                  <a:cubicBezTo>
                    <a:pt x="38" y="150"/>
                    <a:pt x="38" y="150"/>
                    <a:pt x="38" y="150"/>
                  </a:cubicBezTo>
                  <a:cubicBezTo>
                    <a:pt x="39" y="148"/>
                    <a:pt x="39" y="148"/>
                    <a:pt x="39" y="148"/>
                  </a:cubicBezTo>
                  <a:cubicBezTo>
                    <a:pt x="43" y="148"/>
                    <a:pt x="43" y="148"/>
                    <a:pt x="43" y="148"/>
                  </a:cubicBezTo>
                  <a:cubicBezTo>
                    <a:pt x="46" y="148"/>
                    <a:pt x="46" y="148"/>
                    <a:pt x="46" y="148"/>
                  </a:cubicBezTo>
                  <a:cubicBezTo>
                    <a:pt x="46" y="146"/>
                    <a:pt x="46" y="146"/>
                    <a:pt x="46" y="146"/>
                  </a:cubicBezTo>
                  <a:cubicBezTo>
                    <a:pt x="46" y="146"/>
                    <a:pt x="46" y="146"/>
                    <a:pt x="46" y="146"/>
                  </a:cubicBezTo>
                  <a:cubicBezTo>
                    <a:pt x="46" y="146"/>
                    <a:pt x="46" y="146"/>
                    <a:pt x="46" y="146"/>
                  </a:cubicBezTo>
                  <a:cubicBezTo>
                    <a:pt x="47" y="146"/>
                    <a:pt x="47" y="146"/>
                    <a:pt x="47" y="146"/>
                  </a:cubicBezTo>
                  <a:cubicBezTo>
                    <a:pt x="48" y="146"/>
                    <a:pt x="48" y="146"/>
                    <a:pt x="48" y="146"/>
                  </a:cubicBezTo>
                  <a:cubicBezTo>
                    <a:pt x="50" y="146"/>
                    <a:pt x="50" y="146"/>
                    <a:pt x="50" y="146"/>
                  </a:cubicBezTo>
                  <a:cubicBezTo>
                    <a:pt x="53" y="144"/>
                    <a:pt x="53" y="144"/>
                    <a:pt x="53" y="144"/>
                  </a:cubicBezTo>
                  <a:cubicBezTo>
                    <a:pt x="53" y="144"/>
                    <a:pt x="53" y="142"/>
                    <a:pt x="53" y="141"/>
                  </a:cubicBezTo>
                  <a:cubicBezTo>
                    <a:pt x="54" y="141"/>
                    <a:pt x="54" y="140"/>
                    <a:pt x="55" y="140"/>
                  </a:cubicBezTo>
                  <a:cubicBezTo>
                    <a:pt x="55" y="140"/>
                    <a:pt x="56" y="141"/>
                    <a:pt x="56" y="141"/>
                  </a:cubicBezTo>
                  <a:cubicBezTo>
                    <a:pt x="55" y="143"/>
                    <a:pt x="55" y="143"/>
                    <a:pt x="55" y="143"/>
                  </a:cubicBezTo>
                  <a:cubicBezTo>
                    <a:pt x="55" y="143"/>
                    <a:pt x="56" y="144"/>
                    <a:pt x="56" y="144"/>
                  </a:cubicBezTo>
                  <a:cubicBezTo>
                    <a:pt x="59" y="144"/>
                    <a:pt x="59" y="144"/>
                    <a:pt x="59" y="144"/>
                  </a:cubicBezTo>
                  <a:cubicBezTo>
                    <a:pt x="62" y="144"/>
                    <a:pt x="62" y="144"/>
                    <a:pt x="62" y="144"/>
                  </a:cubicBezTo>
                  <a:cubicBezTo>
                    <a:pt x="62" y="143"/>
                    <a:pt x="62" y="143"/>
                    <a:pt x="62" y="143"/>
                  </a:cubicBezTo>
                  <a:cubicBezTo>
                    <a:pt x="61" y="142"/>
                    <a:pt x="61" y="142"/>
                    <a:pt x="61" y="142"/>
                  </a:cubicBezTo>
                  <a:cubicBezTo>
                    <a:pt x="66" y="139"/>
                    <a:pt x="66" y="139"/>
                    <a:pt x="66" y="139"/>
                  </a:cubicBezTo>
                  <a:cubicBezTo>
                    <a:pt x="68" y="141"/>
                    <a:pt x="68" y="141"/>
                    <a:pt x="68" y="141"/>
                  </a:cubicBezTo>
                  <a:cubicBezTo>
                    <a:pt x="68" y="141"/>
                    <a:pt x="68" y="141"/>
                    <a:pt x="68" y="141"/>
                  </a:cubicBezTo>
                  <a:cubicBezTo>
                    <a:pt x="68" y="139"/>
                    <a:pt x="68" y="139"/>
                    <a:pt x="68" y="139"/>
                  </a:cubicBezTo>
                  <a:cubicBezTo>
                    <a:pt x="72" y="140"/>
                    <a:pt x="72" y="140"/>
                    <a:pt x="72" y="140"/>
                  </a:cubicBezTo>
                  <a:cubicBezTo>
                    <a:pt x="75" y="138"/>
                    <a:pt x="75" y="138"/>
                    <a:pt x="75" y="138"/>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 name="Freeform 91"/>
            <p:cNvSpPr>
              <a:spLocks/>
            </p:cNvSpPr>
            <p:nvPr/>
          </p:nvSpPr>
          <p:spPr bwMode="auto">
            <a:xfrm>
              <a:off x="3882512" y="3865436"/>
              <a:ext cx="2888" cy="0"/>
            </a:xfrm>
            <a:custGeom>
              <a:avLst/>
              <a:gdLst>
                <a:gd name="T0" fmla="*/ 1 w 1"/>
                <a:gd name="T1" fmla="*/ 1 w 1"/>
                <a:gd name="T2" fmla="*/ 1 w 1"/>
                <a:gd name="T3" fmla="*/ 1 w 1"/>
              </a:gdLst>
              <a:ahLst/>
              <a:cxnLst>
                <a:cxn ang="0">
                  <a:pos x="T0" y="0"/>
                </a:cxn>
                <a:cxn ang="0">
                  <a:pos x="T1" y="0"/>
                </a:cxn>
                <a:cxn ang="0">
                  <a:pos x="T2" y="0"/>
                </a:cxn>
                <a:cxn ang="0">
                  <a:pos x="T3" y="0"/>
                </a:cxn>
              </a:cxnLst>
              <a:rect l="0" t="0" r="r" b="b"/>
              <a:pathLst>
                <a:path w="1">
                  <a:moveTo>
                    <a:pt x="1" y="0"/>
                  </a:moveTo>
                  <a:cubicBezTo>
                    <a:pt x="0" y="0"/>
                    <a:pt x="0" y="0"/>
                    <a:pt x="1" y="0"/>
                  </a:cubicBezTo>
                  <a:cubicBezTo>
                    <a:pt x="1" y="0"/>
                    <a:pt x="1" y="0"/>
                    <a:pt x="1" y="0"/>
                  </a:cubicBezTo>
                  <a:cubicBezTo>
                    <a:pt x="1" y="0"/>
                    <a:pt x="1" y="0"/>
                    <a:pt x="1" y="0"/>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 name="Freeform 92"/>
            <p:cNvSpPr>
              <a:spLocks/>
            </p:cNvSpPr>
            <p:nvPr/>
          </p:nvSpPr>
          <p:spPr bwMode="auto">
            <a:xfrm>
              <a:off x="4026927" y="3879052"/>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6" name="Freeform 93"/>
            <p:cNvSpPr>
              <a:spLocks/>
            </p:cNvSpPr>
            <p:nvPr/>
          </p:nvSpPr>
          <p:spPr bwMode="auto">
            <a:xfrm>
              <a:off x="4000932" y="3892668"/>
              <a:ext cx="2888" cy="2723"/>
            </a:xfrm>
            <a:custGeom>
              <a:avLst/>
              <a:gdLst>
                <a:gd name="T0" fmla="*/ 2 w 2"/>
                <a:gd name="T1" fmla="*/ 0 h 2"/>
                <a:gd name="T2" fmla="*/ 0 w 2"/>
                <a:gd name="T3" fmla="*/ 0 h 2"/>
                <a:gd name="T4" fmla="*/ 2 w 2"/>
                <a:gd name="T5" fmla="*/ 2 h 2"/>
                <a:gd name="T6" fmla="*/ 2 w 2"/>
                <a:gd name="T7" fmla="*/ 0 h 2"/>
              </a:gdLst>
              <a:ahLst/>
              <a:cxnLst>
                <a:cxn ang="0">
                  <a:pos x="T0" y="T1"/>
                </a:cxn>
                <a:cxn ang="0">
                  <a:pos x="T2" y="T3"/>
                </a:cxn>
                <a:cxn ang="0">
                  <a:pos x="T4" y="T5"/>
                </a:cxn>
                <a:cxn ang="0">
                  <a:pos x="T6" y="T7"/>
                </a:cxn>
              </a:cxnLst>
              <a:rect l="0" t="0" r="r" b="b"/>
              <a:pathLst>
                <a:path w="2" h="2">
                  <a:moveTo>
                    <a:pt x="2" y="0"/>
                  </a:moveTo>
                  <a:lnTo>
                    <a:pt x="0" y="0"/>
                  </a:lnTo>
                  <a:lnTo>
                    <a:pt x="2" y="2"/>
                  </a:lnTo>
                  <a:lnTo>
                    <a:pt x="2" y="0"/>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 name="Freeform 94"/>
            <p:cNvSpPr>
              <a:spLocks/>
            </p:cNvSpPr>
            <p:nvPr/>
          </p:nvSpPr>
          <p:spPr bwMode="auto">
            <a:xfrm>
              <a:off x="3917171" y="385182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8" name="Rectangle 95"/>
            <p:cNvSpPr>
              <a:spLocks noChangeArrowheads="1"/>
            </p:cNvSpPr>
            <p:nvPr/>
          </p:nvSpPr>
          <p:spPr bwMode="auto">
            <a:xfrm>
              <a:off x="4006708" y="3717022"/>
              <a:ext cx="1444" cy="1362"/>
            </a:xfrm>
            <a:prstGeom prst="rect">
              <a:avLst/>
            </a:pr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 name="Freeform 96"/>
            <p:cNvSpPr>
              <a:spLocks/>
            </p:cNvSpPr>
            <p:nvPr/>
          </p:nvSpPr>
          <p:spPr bwMode="auto">
            <a:xfrm>
              <a:off x="3879624" y="379599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 name="Freeform 97"/>
            <p:cNvSpPr>
              <a:spLocks/>
            </p:cNvSpPr>
            <p:nvPr/>
          </p:nvSpPr>
          <p:spPr bwMode="auto">
            <a:xfrm>
              <a:off x="3920060" y="378237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 name="Freeform 98"/>
            <p:cNvSpPr>
              <a:spLocks/>
            </p:cNvSpPr>
            <p:nvPr/>
          </p:nvSpPr>
          <p:spPr bwMode="auto">
            <a:xfrm>
              <a:off x="3905618" y="3793271"/>
              <a:ext cx="0" cy="2723"/>
            </a:xfrm>
            <a:custGeom>
              <a:avLst/>
              <a:gdLst>
                <a:gd name="T0" fmla="*/ 1 h 1"/>
                <a:gd name="T1" fmla="*/ 1 h 1"/>
                <a:gd name="T2" fmla="*/ 1 h 1"/>
              </a:gdLst>
              <a:ahLst/>
              <a:cxnLst>
                <a:cxn ang="0">
                  <a:pos x="0" y="T0"/>
                </a:cxn>
                <a:cxn ang="0">
                  <a:pos x="0" y="T1"/>
                </a:cxn>
                <a:cxn ang="0">
                  <a:pos x="0" y="T2"/>
                </a:cxn>
              </a:cxnLst>
              <a:rect l="0" t="0" r="r" b="b"/>
              <a:pathLst>
                <a:path h="1">
                  <a:moveTo>
                    <a:pt x="0" y="1"/>
                  </a:moveTo>
                  <a:cubicBezTo>
                    <a:pt x="0" y="0"/>
                    <a:pt x="0" y="0"/>
                    <a:pt x="0" y="1"/>
                  </a:cubicBezTo>
                  <a:cubicBezTo>
                    <a:pt x="0" y="1"/>
                    <a:pt x="0" y="1"/>
                    <a:pt x="0" y="1"/>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 name="Freeform 99"/>
            <p:cNvSpPr>
              <a:spLocks/>
            </p:cNvSpPr>
            <p:nvPr/>
          </p:nvSpPr>
          <p:spPr bwMode="auto">
            <a:xfrm>
              <a:off x="4026927" y="357813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 name="Freeform 100"/>
            <p:cNvSpPr>
              <a:spLocks/>
            </p:cNvSpPr>
            <p:nvPr/>
          </p:nvSpPr>
          <p:spPr bwMode="auto">
            <a:xfrm>
              <a:off x="3940278" y="3648942"/>
              <a:ext cx="0" cy="2723"/>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 name="Freeform 101"/>
            <p:cNvSpPr>
              <a:spLocks/>
            </p:cNvSpPr>
            <p:nvPr/>
          </p:nvSpPr>
          <p:spPr bwMode="auto">
            <a:xfrm>
              <a:off x="3977826" y="356724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 name="Freeform 102"/>
            <p:cNvSpPr>
              <a:spLocks/>
            </p:cNvSpPr>
            <p:nvPr/>
          </p:nvSpPr>
          <p:spPr bwMode="auto">
            <a:xfrm>
              <a:off x="3876735" y="379871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 name="Rectangle 103"/>
            <p:cNvSpPr>
              <a:spLocks noChangeArrowheads="1"/>
            </p:cNvSpPr>
            <p:nvPr/>
          </p:nvSpPr>
          <p:spPr bwMode="auto">
            <a:xfrm>
              <a:off x="4084692" y="3873606"/>
              <a:ext cx="1444" cy="1362"/>
            </a:xfrm>
            <a:prstGeom prst="rect">
              <a:avLst/>
            </a:pr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Rectangle 104"/>
            <p:cNvSpPr>
              <a:spLocks noChangeArrowheads="1"/>
            </p:cNvSpPr>
            <p:nvPr/>
          </p:nvSpPr>
          <p:spPr bwMode="auto">
            <a:xfrm>
              <a:off x="4061586" y="3879052"/>
              <a:ext cx="1444" cy="1362"/>
            </a:xfrm>
            <a:prstGeom prst="rect">
              <a:avLst/>
            </a:pr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Rectangle 105"/>
            <p:cNvSpPr>
              <a:spLocks noChangeArrowheads="1"/>
            </p:cNvSpPr>
            <p:nvPr/>
          </p:nvSpPr>
          <p:spPr bwMode="auto">
            <a:xfrm>
              <a:off x="4047145" y="3887222"/>
              <a:ext cx="1444" cy="1362"/>
            </a:xfrm>
            <a:prstGeom prst="rect">
              <a:avLst/>
            </a:pr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Rectangle 106"/>
            <p:cNvSpPr>
              <a:spLocks noChangeArrowheads="1"/>
            </p:cNvSpPr>
            <p:nvPr/>
          </p:nvSpPr>
          <p:spPr bwMode="auto">
            <a:xfrm>
              <a:off x="4233439" y="3665281"/>
              <a:ext cx="1444" cy="1362"/>
            </a:xfrm>
            <a:prstGeom prst="rect">
              <a:avLst/>
            </a:pr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Freeform 107"/>
            <p:cNvSpPr>
              <a:spLocks/>
            </p:cNvSpPr>
            <p:nvPr/>
          </p:nvSpPr>
          <p:spPr bwMode="auto">
            <a:xfrm>
              <a:off x="4116464" y="3561800"/>
              <a:ext cx="2888" cy="0"/>
            </a:xfrm>
            <a:custGeom>
              <a:avLst/>
              <a:gdLst>
                <a:gd name="T0" fmla="*/ 2 w 2"/>
                <a:gd name="T1" fmla="*/ 2 w 2"/>
                <a:gd name="T2" fmla="*/ 0 w 2"/>
                <a:gd name="T3" fmla="*/ 2 w 2"/>
              </a:gdLst>
              <a:ahLst/>
              <a:cxnLst>
                <a:cxn ang="0">
                  <a:pos x="T0" y="0"/>
                </a:cxn>
                <a:cxn ang="0">
                  <a:pos x="T1" y="0"/>
                </a:cxn>
                <a:cxn ang="0">
                  <a:pos x="T2" y="0"/>
                </a:cxn>
                <a:cxn ang="0">
                  <a:pos x="T3" y="0"/>
                </a:cxn>
              </a:cxnLst>
              <a:rect l="0" t="0" r="r" b="b"/>
              <a:pathLst>
                <a:path w="2">
                  <a:moveTo>
                    <a:pt x="2" y="0"/>
                  </a:moveTo>
                  <a:lnTo>
                    <a:pt x="2" y="0"/>
                  </a:lnTo>
                  <a:lnTo>
                    <a:pt x="0" y="0"/>
                  </a:lnTo>
                  <a:lnTo>
                    <a:pt x="2" y="0"/>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 name="Freeform 108"/>
            <p:cNvSpPr>
              <a:spLocks/>
            </p:cNvSpPr>
            <p:nvPr/>
          </p:nvSpPr>
          <p:spPr bwMode="auto">
            <a:xfrm>
              <a:off x="4136682" y="350188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Freeform 109"/>
            <p:cNvSpPr>
              <a:spLocks/>
            </p:cNvSpPr>
            <p:nvPr/>
          </p:nvSpPr>
          <p:spPr bwMode="auto">
            <a:xfrm>
              <a:off x="4171341" y="3851820"/>
              <a:ext cx="2888" cy="2723"/>
            </a:xfrm>
            <a:custGeom>
              <a:avLst/>
              <a:gdLst>
                <a:gd name="T0" fmla="*/ 1 w 1"/>
                <a:gd name="T1" fmla="*/ 1 h 1"/>
                <a:gd name="T2" fmla="*/ 1 w 1"/>
                <a:gd name="T3" fmla="*/ 0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cubicBezTo>
                    <a:pt x="1" y="0"/>
                    <a:pt x="1" y="0"/>
                    <a:pt x="1" y="0"/>
                  </a:cubicBezTo>
                  <a:cubicBezTo>
                    <a:pt x="0" y="0"/>
                    <a:pt x="0" y="0"/>
                    <a:pt x="0" y="0"/>
                  </a:cubicBezTo>
                  <a:lnTo>
                    <a:pt x="1" y="1"/>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Rectangle 110"/>
            <p:cNvSpPr>
              <a:spLocks noChangeArrowheads="1"/>
            </p:cNvSpPr>
            <p:nvPr/>
          </p:nvSpPr>
          <p:spPr bwMode="auto">
            <a:xfrm>
              <a:off x="4078916" y="3602648"/>
              <a:ext cx="1444" cy="2723"/>
            </a:xfrm>
            <a:prstGeom prst="rect">
              <a:avLst/>
            </a:pr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Freeform 111"/>
            <p:cNvSpPr>
              <a:spLocks/>
            </p:cNvSpPr>
            <p:nvPr/>
          </p:nvSpPr>
          <p:spPr bwMode="auto">
            <a:xfrm>
              <a:off x="4201668" y="383275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Rectangle 112"/>
            <p:cNvSpPr>
              <a:spLocks noChangeArrowheads="1"/>
            </p:cNvSpPr>
            <p:nvPr/>
          </p:nvSpPr>
          <p:spPr bwMode="auto">
            <a:xfrm>
              <a:off x="4133793" y="3862713"/>
              <a:ext cx="1444" cy="1362"/>
            </a:xfrm>
            <a:prstGeom prst="rect">
              <a:avLst/>
            </a:pr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 name="Freeform 113"/>
            <p:cNvSpPr>
              <a:spLocks/>
            </p:cNvSpPr>
            <p:nvPr/>
          </p:nvSpPr>
          <p:spPr bwMode="auto">
            <a:xfrm>
              <a:off x="4177118" y="352639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 name="Freeform 114"/>
            <p:cNvSpPr>
              <a:spLocks/>
            </p:cNvSpPr>
            <p:nvPr/>
          </p:nvSpPr>
          <p:spPr bwMode="auto">
            <a:xfrm>
              <a:off x="4174229" y="352639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 name="Freeform 115"/>
            <p:cNvSpPr>
              <a:spLocks/>
            </p:cNvSpPr>
            <p:nvPr/>
          </p:nvSpPr>
          <p:spPr bwMode="auto">
            <a:xfrm>
              <a:off x="4177118" y="352095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 name="Freeform 116"/>
            <p:cNvSpPr>
              <a:spLocks/>
            </p:cNvSpPr>
            <p:nvPr/>
          </p:nvSpPr>
          <p:spPr bwMode="auto">
            <a:xfrm>
              <a:off x="4556928" y="5518417"/>
              <a:ext cx="54878" cy="35402"/>
            </a:xfrm>
            <a:custGeom>
              <a:avLst/>
              <a:gdLst>
                <a:gd name="T0" fmla="*/ 12 w 19"/>
                <a:gd name="T1" fmla="*/ 0 h 13"/>
                <a:gd name="T2" fmla="*/ 3 w 19"/>
                <a:gd name="T3" fmla="*/ 6 h 13"/>
                <a:gd name="T4" fmla="*/ 8 w 19"/>
                <a:gd name="T5" fmla="*/ 13 h 13"/>
                <a:gd name="T6" fmla="*/ 19 w 19"/>
                <a:gd name="T7" fmla="*/ 4 h 13"/>
                <a:gd name="T8" fmla="*/ 12 w 19"/>
                <a:gd name="T9" fmla="*/ 0 h 13"/>
              </a:gdLst>
              <a:ahLst/>
              <a:cxnLst>
                <a:cxn ang="0">
                  <a:pos x="T0" y="T1"/>
                </a:cxn>
                <a:cxn ang="0">
                  <a:pos x="T2" y="T3"/>
                </a:cxn>
                <a:cxn ang="0">
                  <a:pos x="T4" y="T5"/>
                </a:cxn>
                <a:cxn ang="0">
                  <a:pos x="T6" y="T7"/>
                </a:cxn>
                <a:cxn ang="0">
                  <a:pos x="T8" y="T9"/>
                </a:cxn>
              </a:cxnLst>
              <a:rect l="0" t="0" r="r" b="b"/>
              <a:pathLst>
                <a:path w="19" h="13">
                  <a:moveTo>
                    <a:pt x="12" y="0"/>
                  </a:moveTo>
                  <a:cubicBezTo>
                    <a:pt x="8" y="1"/>
                    <a:pt x="5" y="4"/>
                    <a:pt x="3" y="6"/>
                  </a:cubicBezTo>
                  <a:cubicBezTo>
                    <a:pt x="0" y="9"/>
                    <a:pt x="6" y="13"/>
                    <a:pt x="8" y="13"/>
                  </a:cubicBezTo>
                  <a:cubicBezTo>
                    <a:pt x="9" y="13"/>
                    <a:pt x="19" y="7"/>
                    <a:pt x="19" y="4"/>
                  </a:cubicBezTo>
                  <a:cubicBezTo>
                    <a:pt x="18" y="1"/>
                    <a:pt x="14" y="0"/>
                    <a:pt x="12" y="0"/>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 name="Freeform 117"/>
            <p:cNvSpPr>
              <a:spLocks/>
            </p:cNvSpPr>
            <p:nvPr/>
          </p:nvSpPr>
          <p:spPr bwMode="auto">
            <a:xfrm>
              <a:off x="4694122" y="5420382"/>
              <a:ext cx="112643" cy="95312"/>
            </a:xfrm>
            <a:custGeom>
              <a:avLst/>
              <a:gdLst>
                <a:gd name="T0" fmla="*/ 36 w 39"/>
                <a:gd name="T1" fmla="*/ 15 h 35"/>
                <a:gd name="T2" fmla="*/ 26 w 39"/>
                <a:gd name="T3" fmla="*/ 15 h 35"/>
                <a:gd name="T4" fmla="*/ 26 w 39"/>
                <a:gd name="T5" fmla="*/ 5 h 35"/>
                <a:gd name="T6" fmla="*/ 12 w 39"/>
                <a:gd name="T7" fmla="*/ 9 h 35"/>
                <a:gd name="T8" fmla="*/ 1 w 39"/>
                <a:gd name="T9" fmla="*/ 16 h 35"/>
                <a:gd name="T10" fmla="*/ 1 w 39"/>
                <a:gd name="T11" fmla="*/ 20 h 35"/>
                <a:gd name="T12" fmla="*/ 11 w 39"/>
                <a:gd name="T13" fmla="*/ 19 h 35"/>
                <a:gd name="T14" fmla="*/ 13 w 39"/>
                <a:gd name="T15" fmla="*/ 26 h 35"/>
                <a:gd name="T16" fmla="*/ 21 w 39"/>
                <a:gd name="T17" fmla="*/ 30 h 35"/>
                <a:gd name="T18" fmla="*/ 26 w 39"/>
                <a:gd name="T19" fmla="*/ 34 h 35"/>
                <a:gd name="T20" fmla="*/ 39 w 39"/>
                <a:gd name="T21" fmla="*/ 18 h 35"/>
                <a:gd name="T22" fmla="*/ 36 w 39"/>
                <a:gd name="T23" fmla="*/ 1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35">
                  <a:moveTo>
                    <a:pt x="36" y="15"/>
                  </a:moveTo>
                  <a:cubicBezTo>
                    <a:pt x="33" y="14"/>
                    <a:pt x="29" y="17"/>
                    <a:pt x="26" y="15"/>
                  </a:cubicBezTo>
                  <a:cubicBezTo>
                    <a:pt x="24" y="14"/>
                    <a:pt x="29" y="7"/>
                    <a:pt x="26" y="5"/>
                  </a:cubicBezTo>
                  <a:cubicBezTo>
                    <a:pt x="19" y="0"/>
                    <a:pt x="17" y="6"/>
                    <a:pt x="12" y="9"/>
                  </a:cubicBezTo>
                  <a:cubicBezTo>
                    <a:pt x="9" y="12"/>
                    <a:pt x="4" y="13"/>
                    <a:pt x="1" y="16"/>
                  </a:cubicBezTo>
                  <a:cubicBezTo>
                    <a:pt x="0" y="17"/>
                    <a:pt x="0" y="19"/>
                    <a:pt x="1" y="20"/>
                  </a:cubicBezTo>
                  <a:cubicBezTo>
                    <a:pt x="5" y="20"/>
                    <a:pt x="8" y="17"/>
                    <a:pt x="11" y="19"/>
                  </a:cubicBezTo>
                  <a:cubicBezTo>
                    <a:pt x="13" y="20"/>
                    <a:pt x="12" y="24"/>
                    <a:pt x="13" y="26"/>
                  </a:cubicBezTo>
                  <a:cubicBezTo>
                    <a:pt x="8" y="31"/>
                    <a:pt x="21" y="30"/>
                    <a:pt x="21" y="30"/>
                  </a:cubicBezTo>
                  <a:cubicBezTo>
                    <a:pt x="22" y="32"/>
                    <a:pt x="24" y="35"/>
                    <a:pt x="26" y="34"/>
                  </a:cubicBezTo>
                  <a:cubicBezTo>
                    <a:pt x="39" y="18"/>
                    <a:pt x="39" y="18"/>
                    <a:pt x="39" y="18"/>
                  </a:cubicBezTo>
                  <a:cubicBezTo>
                    <a:pt x="39" y="17"/>
                    <a:pt x="38" y="15"/>
                    <a:pt x="36" y="15"/>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 name="Freeform 118"/>
            <p:cNvSpPr>
              <a:spLocks/>
            </p:cNvSpPr>
            <p:nvPr/>
          </p:nvSpPr>
          <p:spPr bwMode="auto">
            <a:xfrm>
              <a:off x="4832760" y="5420382"/>
              <a:ext cx="66431" cy="59910"/>
            </a:xfrm>
            <a:custGeom>
              <a:avLst/>
              <a:gdLst>
                <a:gd name="T0" fmla="*/ 12 w 23"/>
                <a:gd name="T1" fmla="*/ 2 h 22"/>
                <a:gd name="T2" fmla="*/ 0 w 23"/>
                <a:gd name="T3" fmla="*/ 4 h 22"/>
                <a:gd name="T4" fmla="*/ 12 w 23"/>
                <a:gd name="T5" fmla="*/ 10 h 22"/>
                <a:gd name="T6" fmla="*/ 14 w 23"/>
                <a:gd name="T7" fmla="*/ 17 h 22"/>
                <a:gd name="T8" fmla="*/ 18 w 23"/>
                <a:gd name="T9" fmla="*/ 4 h 22"/>
                <a:gd name="T10" fmla="*/ 12 w 23"/>
                <a:gd name="T11" fmla="*/ 2 h 22"/>
              </a:gdLst>
              <a:ahLst/>
              <a:cxnLst>
                <a:cxn ang="0">
                  <a:pos x="T0" y="T1"/>
                </a:cxn>
                <a:cxn ang="0">
                  <a:pos x="T2" y="T3"/>
                </a:cxn>
                <a:cxn ang="0">
                  <a:pos x="T4" y="T5"/>
                </a:cxn>
                <a:cxn ang="0">
                  <a:pos x="T6" y="T7"/>
                </a:cxn>
                <a:cxn ang="0">
                  <a:pos x="T8" y="T9"/>
                </a:cxn>
                <a:cxn ang="0">
                  <a:pos x="T10" y="T11"/>
                </a:cxn>
              </a:cxnLst>
              <a:rect l="0" t="0" r="r" b="b"/>
              <a:pathLst>
                <a:path w="23" h="22">
                  <a:moveTo>
                    <a:pt x="12" y="2"/>
                  </a:moveTo>
                  <a:cubicBezTo>
                    <a:pt x="8" y="2"/>
                    <a:pt x="0" y="0"/>
                    <a:pt x="0" y="4"/>
                  </a:cubicBezTo>
                  <a:cubicBezTo>
                    <a:pt x="0" y="9"/>
                    <a:pt x="9" y="7"/>
                    <a:pt x="12" y="10"/>
                  </a:cubicBezTo>
                  <a:cubicBezTo>
                    <a:pt x="14" y="12"/>
                    <a:pt x="13" y="16"/>
                    <a:pt x="14" y="17"/>
                  </a:cubicBezTo>
                  <a:cubicBezTo>
                    <a:pt x="20" y="22"/>
                    <a:pt x="23" y="13"/>
                    <a:pt x="18" y="4"/>
                  </a:cubicBezTo>
                  <a:cubicBezTo>
                    <a:pt x="17" y="2"/>
                    <a:pt x="14" y="2"/>
                    <a:pt x="12" y="2"/>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2" name="Freeform 119"/>
            <p:cNvSpPr>
              <a:spLocks/>
            </p:cNvSpPr>
            <p:nvPr/>
          </p:nvSpPr>
          <p:spPr bwMode="auto">
            <a:xfrm>
              <a:off x="3652893" y="4813109"/>
              <a:ext cx="1168314" cy="965374"/>
            </a:xfrm>
            <a:custGeom>
              <a:avLst/>
              <a:gdLst>
                <a:gd name="T0" fmla="*/ 375 w 403"/>
                <a:gd name="T1" fmla="*/ 125 h 353"/>
                <a:gd name="T2" fmla="*/ 355 w 403"/>
                <a:gd name="T3" fmla="*/ 117 h 353"/>
                <a:gd name="T4" fmla="*/ 342 w 403"/>
                <a:gd name="T5" fmla="*/ 112 h 353"/>
                <a:gd name="T6" fmla="*/ 341 w 403"/>
                <a:gd name="T7" fmla="*/ 110 h 353"/>
                <a:gd name="T8" fmla="*/ 320 w 403"/>
                <a:gd name="T9" fmla="*/ 95 h 353"/>
                <a:gd name="T10" fmla="*/ 256 w 403"/>
                <a:gd name="T11" fmla="*/ 76 h 353"/>
                <a:gd name="T12" fmla="*/ 226 w 403"/>
                <a:gd name="T13" fmla="*/ 58 h 353"/>
                <a:gd name="T14" fmla="*/ 105 w 403"/>
                <a:gd name="T15" fmla="*/ 21 h 353"/>
                <a:gd name="T16" fmla="*/ 29 w 403"/>
                <a:gd name="T17" fmla="*/ 14 h 353"/>
                <a:gd name="T18" fmla="*/ 6 w 403"/>
                <a:gd name="T19" fmla="*/ 33 h 353"/>
                <a:gd name="T20" fmla="*/ 6 w 403"/>
                <a:gd name="T21" fmla="*/ 62 h 353"/>
                <a:gd name="T22" fmla="*/ 11 w 403"/>
                <a:gd name="T23" fmla="*/ 69 h 353"/>
                <a:gd name="T24" fmla="*/ 24 w 403"/>
                <a:gd name="T25" fmla="*/ 68 h 353"/>
                <a:gd name="T26" fmla="*/ 28 w 403"/>
                <a:gd name="T27" fmla="*/ 75 h 353"/>
                <a:gd name="T28" fmla="*/ 28 w 403"/>
                <a:gd name="T29" fmla="*/ 82 h 353"/>
                <a:gd name="T30" fmla="*/ 36 w 403"/>
                <a:gd name="T31" fmla="*/ 82 h 353"/>
                <a:gd name="T32" fmla="*/ 44 w 403"/>
                <a:gd name="T33" fmla="*/ 87 h 353"/>
                <a:gd name="T34" fmla="*/ 51 w 403"/>
                <a:gd name="T35" fmla="*/ 87 h 353"/>
                <a:gd name="T36" fmla="*/ 61 w 403"/>
                <a:gd name="T37" fmla="*/ 83 h 353"/>
                <a:gd name="T38" fmla="*/ 70 w 403"/>
                <a:gd name="T39" fmla="*/ 86 h 353"/>
                <a:gd name="T40" fmla="*/ 78 w 403"/>
                <a:gd name="T41" fmla="*/ 91 h 353"/>
                <a:gd name="T42" fmla="*/ 76 w 403"/>
                <a:gd name="T43" fmla="*/ 98 h 353"/>
                <a:gd name="T44" fmla="*/ 85 w 403"/>
                <a:gd name="T45" fmla="*/ 105 h 353"/>
                <a:gd name="T46" fmla="*/ 78 w 403"/>
                <a:gd name="T47" fmla="*/ 115 h 353"/>
                <a:gd name="T48" fmla="*/ 67 w 403"/>
                <a:gd name="T49" fmla="*/ 120 h 353"/>
                <a:gd name="T50" fmla="*/ 57 w 403"/>
                <a:gd name="T51" fmla="*/ 126 h 353"/>
                <a:gd name="T52" fmla="*/ 57 w 403"/>
                <a:gd name="T53" fmla="*/ 136 h 353"/>
                <a:gd name="T54" fmla="*/ 56 w 403"/>
                <a:gd name="T55" fmla="*/ 146 h 353"/>
                <a:gd name="T56" fmla="*/ 53 w 403"/>
                <a:gd name="T57" fmla="*/ 157 h 353"/>
                <a:gd name="T58" fmla="*/ 45 w 403"/>
                <a:gd name="T59" fmla="*/ 161 h 353"/>
                <a:gd name="T60" fmla="*/ 47 w 403"/>
                <a:gd name="T61" fmla="*/ 172 h 353"/>
                <a:gd name="T62" fmla="*/ 42 w 403"/>
                <a:gd name="T63" fmla="*/ 179 h 353"/>
                <a:gd name="T64" fmla="*/ 36 w 403"/>
                <a:gd name="T65" fmla="*/ 183 h 353"/>
                <a:gd name="T66" fmla="*/ 27 w 403"/>
                <a:gd name="T67" fmla="*/ 181 h 353"/>
                <a:gd name="T68" fmla="*/ 24 w 403"/>
                <a:gd name="T69" fmla="*/ 185 h 353"/>
                <a:gd name="T70" fmla="*/ 27 w 403"/>
                <a:gd name="T71" fmla="*/ 193 h 353"/>
                <a:gd name="T72" fmla="*/ 28 w 403"/>
                <a:gd name="T73" fmla="*/ 202 h 353"/>
                <a:gd name="T74" fmla="*/ 33 w 403"/>
                <a:gd name="T75" fmla="*/ 207 h 353"/>
                <a:gd name="T76" fmla="*/ 31 w 403"/>
                <a:gd name="T77" fmla="*/ 216 h 353"/>
                <a:gd name="T78" fmla="*/ 23 w 403"/>
                <a:gd name="T79" fmla="*/ 221 h 353"/>
                <a:gd name="T80" fmla="*/ 18 w 403"/>
                <a:gd name="T81" fmla="*/ 231 h 353"/>
                <a:gd name="T82" fmla="*/ 19 w 403"/>
                <a:gd name="T83" fmla="*/ 239 h 353"/>
                <a:gd name="T84" fmla="*/ 26 w 403"/>
                <a:gd name="T85" fmla="*/ 247 h 353"/>
                <a:gd name="T86" fmla="*/ 22 w 403"/>
                <a:gd name="T87" fmla="*/ 254 h 353"/>
                <a:gd name="T88" fmla="*/ 12 w 403"/>
                <a:gd name="T89" fmla="*/ 258 h 353"/>
                <a:gd name="T90" fmla="*/ 2 w 403"/>
                <a:gd name="T91" fmla="*/ 268 h 353"/>
                <a:gd name="T92" fmla="*/ 1 w 403"/>
                <a:gd name="T93" fmla="*/ 280 h 353"/>
                <a:gd name="T94" fmla="*/ 33 w 403"/>
                <a:gd name="T95" fmla="*/ 309 h 353"/>
                <a:gd name="T96" fmla="*/ 63 w 403"/>
                <a:gd name="T97" fmla="*/ 348 h 353"/>
                <a:gd name="T98" fmla="*/ 140 w 403"/>
                <a:gd name="T99" fmla="*/ 339 h 353"/>
                <a:gd name="T100" fmla="*/ 196 w 403"/>
                <a:gd name="T101" fmla="*/ 332 h 353"/>
                <a:gd name="T102" fmla="*/ 246 w 403"/>
                <a:gd name="T103" fmla="*/ 296 h 353"/>
                <a:gd name="T104" fmla="*/ 281 w 403"/>
                <a:gd name="T105" fmla="*/ 216 h 353"/>
                <a:gd name="T106" fmla="*/ 348 w 403"/>
                <a:gd name="T107" fmla="*/ 167 h 353"/>
                <a:gd name="T108" fmla="*/ 398 w 403"/>
                <a:gd name="T109" fmla="*/ 121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3" h="353">
                  <a:moveTo>
                    <a:pt x="398" y="121"/>
                  </a:moveTo>
                  <a:cubicBezTo>
                    <a:pt x="397" y="122"/>
                    <a:pt x="397" y="122"/>
                    <a:pt x="397" y="122"/>
                  </a:cubicBezTo>
                  <a:cubicBezTo>
                    <a:pt x="396" y="122"/>
                    <a:pt x="396" y="122"/>
                    <a:pt x="396" y="122"/>
                  </a:cubicBezTo>
                  <a:cubicBezTo>
                    <a:pt x="394" y="122"/>
                    <a:pt x="392" y="122"/>
                    <a:pt x="390" y="122"/>
                  </a:cubicBezTo>
                  <a:cubicBezTo>
                    <a:pt x="383" y="122"/>
                    <a:pt x="383" y="122"/>
                    <a:pt x="383" y="122"/>
                  </a:cubicBezTo>
                  <a:cubicBezTo>
                    <a:pt x="376" y="125"/>
                    <a:pt x="376" y="125"/>
                    <a:pt x="376" y="125"/>
                  </a:cubicBezTo>
                  <a:cubicBezTo>
                    <a:pt x="375" y="125"/>
                    <a:pt x="375" y="125"/>
                    <a:pt x="375" y="125"/>
                  </a:cubicBezTo>
                  <a:cubicBezTo>
                    <a:pt x="374" y="125"/>
                    <a:pt x="374" y="125"/>
                    <a:pt x="374" y="125"/>
                  </a:cubicBezTo>
                  <a:cubicBezTo>
                    <a:pt x="374" y="124"/>
                    <a:pt x="374" y="124"/>
                    <a:pt x="374" y="124"/>
                  </a:cubicBezTo>
                  <a:cubicBezTo>
                    <a:pt x="367" y="119"/>
                    <a:pt x="367" y="119"/>
                    <a:pt x="367" y="119"/>
                  </a:cubicBezTo>
                  <a:cubicBezTo>
                    <a:pt x="361" y="121"/>
                    <a:pt x="361" y="121"/>
                    <a:pt x="361" y="121"/>
                  </a:cubicBezTo>
                  <a:cubicBezTo>
                    <a:pt x="360" y="121"/>
                    <a:pt x="360" y="121"/>
                    <a:pt x="360" y="121"/>
                  </a:cubicBezTo>
                  <a:cubicBezTo>
                    <a:pt x="358" y="120"/>
                    <a:pt x="357" y="119"/>
                    <a:pt x="356" y="118"/>
                  </a:cubicBezTo>
                  <a:cubicBezTo>
                    <a:pt x="356" y="118"/>
                    <a:pt x="355" y="117"/>
                    <a:pt x="355" y="117"/>
                  </a:cubicBezTo>
                  <a:cubicBezTo>
                    <a:pt x="342" y="115"/>
                    <a:pt x="342" y="115"/>
                    <a:pt x="342" y="115"/>
                  </a:cubicBezTo>
                  <a:cubicBezTo>
                    <a:pt x="343" y="113"/>
                    <a:pt x="343" y="113"/>
                    <a:pt x="343" y="113"/>
                  </a:cubicBezTo>
                  <a:cubicBezTo>
                    <a:pt x="343" y="113"/>
                    <a:pt x="343" y="113"/>
                    <a:pt x="343" y="113"/>
                  </a:cubicBezTo>
                  <a:cubicBezTo>
                    <a:pt x="343" y="113"/>
                    <a:pt x="342" y="113"/>
                    <a:pt x="342" y="113"/>
                  </a:cubicBezTo>
                  <a:cubicBezTo>
                    <a:pt x="342" y="113"/>
                    <a:pt x="342" y="113"/>
                    <a:pt x="342" y="113"/>
                  </a:cubicBezTo>
                  <a:cubicBezTo>
                    <a:pt x="342" y="113"/>
                    <a:pt x="342" y="113"/>
                    <a:pt x="342" y="113"/>
                  </a:cubicBezTo>
                  <a:cubicBezTo>
                    <a:pt x="342" y="113"/>
                    <a:pt x="342" y="113"/>
                    <a:pt x="342" y="112"/>
                  </a:cubicBezTo>
                  <a:cubicBezTo>
                    <a:pt x="342" y="112"/>
                    <a:pt x="341" y="112"/>
                    <a:pt x="341" y="112"/>
                  </a:cubicBezTo>
                  <a:cubicBezTo>
                    <a:pt x="341" y="112"/>
                    <a:pt x="341" y="112"/>
                    <a:pt x="341" y="112"/>
                  </a:cubicBezTo>
                  <a:cubicBezTo>
                    <a:pt x="341" y="111"/>
                    <a:pt x="341" y="111"/>
                    <a:pt x="341" y="111"/>
                  </a:cubicBezTo>
                  <a:cubicBezTo>
                    <a:pt x="341" y="111"/>
                    <a:pt x="341" y="111"/>
                    <a:pt x="341" y="111"/>
                  </a:cubicBezTo>
                  <a:cubicBezTo>
                    <a:pt x="341" y="111"/>
                    <a:pt x="341" y="111"/>
                    <a:pt x="341" y="111"/>
                  </a:cubicBezTo>
                  <a:cubicBezTo>
                    <a:pt x="341" y="110"/>
                    <a:pt x="341" y="110"/>
                    <a:pt x="341" y="110"/>
                  </a:cubicBezTo>
                  <a:cubicBezTo>
                    <a:pt x="341" y="110"/>
                    <a:pt x="341" y="110"/>
                    <a:pt x="341" y="110"/>
                  </a:cubicBezTo>
                  <a:cubicBezTo>
                    <a:pt x="342" y="110"/>
                    <a:pt x="342" y="110"/>
                    <a:pt x="342" y="110"/>
                  </a:cubicBezTo>
                  <a:cubicBezTo>
                    <a:pt x="342" y="109"/>
                    <a:pt x="342" y="109"/>
                    <a:pt x="342" y="109"/>
                  </a:cubicBezTo>
                  <a:cubicBezTo>
                    <a:pt x="341" y="109"/>
                    <a:pt x="341" y="109"/>
                    <a:pt x="341" y="109"/>
                  </a:cubicBezTo>
                  <a:cubicBezTo>
                    <a:pt x="341" y="110"/>
                    <a:pt x="341" y="110"/>
                    <a:pt x="341" y="110"/>
                  </a:cubicBezTo>
                  <a:cubicBezTo>
                    <a:pt x="340" y="110"/>
                    <a:pt x="339" y="109"/>
                    <a:pt x="339" y="108"/>
                  </a:cubicBezTo>
                  <a:cubicBezTo>
                    <a:pt x="339" y="106"/>
                    <a:pt x="338" y="105"/>
                    <a:pt x="338" y="104"/>
                  </a:cubicBezTo>
                  <a:cubicBezTo>
                    <a:pt x="335" y="102"/>
                    <a:pt x="325" y="98"/>
                    <a:pt x="320" y="95"/>
                  </a:cubicBezTo>
                  <a:cubicBezTo>
                    <a:pt x="316" y="100"/>
                    <a:pt x="316" y="100"/>
                    <a:pt x="316" y="100"/>
                  </a:cubicBezTo>
                  <a:cubicBezTo>
                    <a:pt x="306" y="98"/>
                    <a:pt x="306" y="98"/>
                    <a:pt x="306" y="98"/>
                  </a:cubicBezTo>
                  <a:cubicBezTo>
                    <a:pt x="294" y="98"/>
                    <a:pt x="294" y="98"/>
                    <a:pt x="294" y="98"/>
                  </a:cubicBezTo>
                  <a:cubicBezTo>
                    <a:pt x="285" y="91"/>
                    <a:pt x="285" y="91"/>
                    <a:pt x="285" y="91"/>
                  </a:cubicBezTo>
                  <a:cubicBezTo>
                    <a:pt x="283" y="90"/>
                    <a:pt x="273" y="86"/>
                    <a:pt x="272" y="85"/>
                  </a:cubicBezTo>
                  <a:cubicBezTo>
                    <a:pt x="271" y="84"/>
                    <a:pt x="267" y="80"/>
                    <a:pt x="266" y="79"/>
                  </a:cubicBezTo>
                  <a:cubicBezTo>
                    <a:pt x="256" y="76"/>
                    <a:pt x="256" y="76"/>
                    <a:pt x="256" y="76"/>
                  </a:cubicBezTo>
                  <a:cubicBezTo>
                    <a:pt x="256" y="75"/>
                    <a:pt x="256" y="75"/>
                    <a:pt x="256" y="75"/>
                  </a:cubicBezTo>
                  <a:cubicBezTo>
                    <a:pt x="255" y="75"/>
                    <a:pt x="251" y="67"/>
                    <a:pt x="250" y="64"/>
                  </a:cubicBezTo>
                  <a:cubicBezTo>
                    <a:pt x="250" y="63"/>
                    <a:pt x="249" y="62"/>
                    <a:pt x="247" y="61"/>
                  </a:cubicBezTo>
                  <a:cubicBezTo>
                    <a:pt x="243" y="60"/>
                    <a:pt x="243" y="60"/>
                    <a:pt x="243" y="60"/>
                  </a:cubicBezTo>
                  <a:cubicBezTo>
                    <a:pt x="245" y="58"/>
                    <a:pt x="245" y="58"/>
                    <a:pt x="245" y="58"/>
                  </a:cubicBezTo>
                  <a:cubicBezTo>
                    <a:pt x="244" y="58"/>
                    <a:pt x="243" y="58"/>
                    <a:pt x="243" y="58"/>
                  </a:cubicBezTo>
                  <a:cubicBezTo>
                    <a:pt x="239" y="54"/>
                    <a:pt x="230" y="59"/>
                    <a:pt x="226" y="58"/>
                  </a:cubicBezTo>
                  <a:cubicBezTo>
                    <a:pt x="223" y="57"/>
                    <a:pt x="216" y="50"/>
                    <a:pt x="210" y="50"/>
                  </a:cubicBezTo>
                  <a:cubicBezTo>
                    <a:pt x="210" y="50"/>
                    <a:pt x="200" y="52"/>
                    <a:pt x="199" y="51"/>
                  </a:cubicBezTo>
                  <a:cubicBezTo>
                    <a:pt x="199" y="51"/>
                    <a:pt x="191" y="45"/>
                    <a:pt x="188" y="43"/>
                  </a:cubicBezTo>
                  <a:cubicBezTo>
                    <a:pt x="185" y="40"/>
                    <a:pt x="179" y="40"/>
                    <a:pt x="178" y="40"/>
                  </a:cubicBezTo>
                  <a:cubicBezTo>
                    <a:pt x="178" y="40"/>
                    <a:pt x="160" y="43"/>
                    <a:pt x="159" y="43"/>
                  </a:cubicBezTo>
                  <a:cubicBezTo>
                    <a:pt x="159" y="42"/>
                    <a:pt x="130" y="28"/>
                    <a:pt x="130" y="28"/>
                  </a:cubicBezTo>
                  <a:cubicBezTo>
                    <a:pt x="121" y="25"/>
                    <a:pt x="113" y="22"/>
                    <a:pt x="105" y="21"/>
                  </a:cubicBezTo>
                  <a:cubicBezTo>
                    <a:pt x="96" y="19"/>
                    <a:pt x="86" y="17"/>
                    <a:pt x="77" y="15"/>
                  </a:cubicBezTo>
                  <a:cubicBezTo>
                    <a:pt x="66" y="12"/>
                    <a:pt x="71" y="8"/>
                    <a:pt x="62" y="3"/>
                  </a:cubicBezTo>
                  <a:cubicBezTo>
                    <a:pt x="60" y="2"/>
                    <a:pt x="58" y="1"/>
                    <a:pt x="55" y="1"/>
                  </a:cubicBezTo>
                  <a:cubicBezTo>
                    <a:pt x="51" y="0"/>
                    <a:pt x="50" y="5"/>
                    <a:pt x="48" y="4"/>
                  </a:cubicBezTo>
                  <a:cubicBezTo>
                    <a:pt x="48" y="6"/>
                    <a:pt x="39" y="3"/>
                    <a:pt x="38" y="7"/>
                  </a:cubicBezTo>
                  <a:cubicBezTo>
                    <a:pt x="38" y="10"/>
                    <a:pt x="36" y="10"/>
                    <a:pt x="35" y="12"/>
                  </a:cubicBezTo>
                  <a:cubicBezTo>
                    <a:pt x="34" y="13"/>
                    <a:pt x="30" y="13"/>
                    <a:pt x="29" y="14"/>
                  </a:cubicBezTo>
                  <a:cubicBezTo>
                    <a:pt x="21" y="13"/>
                    <a:pt x="21" y="11"/>
                    <a:pt x="18" y="12"/>
                  </a:cubicBezTo>
                  <a:cubicBezTo>
                    <a:pt x="17" y="13"/>
                    <a:pt x="14" y="12"/>
                    <a:pt x="12" y="14"/>
                  </a:cubicBezTo>
                  <a:cubicBezTo>
                    <a:pt x="10" y="16"/>
                    <a:pt x="8" y="18"/>
                    <a:pt x="5" y="19"/>
                  </a:cubicBezTo>
                  <a:cubicBezTo>
                    <a:pt x="5" y="19"/>
                    <a:pt x="3" y="19"/>
                    <a:pt x="3" y="22"/>
                  </a:cubicBezTo>
                  <a:cubicBezTo>
                    <a:pt x="3" y="24"/>
                    <a:pt x="2" y="27"/>
                    <a:pt x="2" y="27"/>
                  </a:cubicBezTo>
                  <a:cubicBezTo>
                    <a:pt x="5" y="28"/>
                    <a:pt x="5" y="28"/>
                    <a:pt x="5" y="28"/>
                  </a:cubicBezTo>
                  <a:cubicBezTo>
                    <a:pt x="6" y="33"/>
                    <a:pt x="6" y="33"/>
                    <a:pt x="6" y="33"/>
                  </a:cubicBezTo>
                  <a:cubicBezTo>
                    <a:pt x="11" y="35"/>
                    <a:pt x="11" y="35"/>
                    <a:pt x="11" y="35"/>
                  </a:cubicBezTo>
                  <a:cubicBezTo>
                    <a:pt x="6" y="39"/>
                    <a:pt x="4" y="38"/>
                    <a:pt x="5" y="43"/>
                  </a:cubicBezTo>
                  <a:cubicBezTo>
                    <a:pt x="5" y="45"/>
                    <a:pt x="14" y="38"/>
                    <a:pt x="15" y="40"/>
                  </a:cubicBezTo>
                  <a:cubicBezTo>
                    <a:pt x="16" y="43"/>
                    <a:pt x="9" y="47"/>
                    <a:pt x="9" y="50"/>
                  </a:cubicBezTo>
                  <a:cubicBezTo>
                    <a:pt x="11" y="52"/>
                    <a:pt x="11" y="52"/>
                    <a:pt x="11" y="52"/>
                  </a:cubicBezTo>
                  <a:cubicBezTo>
                    <a:pt x="9" y="59"/>
                    <a:pt x="9" y="59"/>
                    <a:pt x="9" y="59"/>
                  </a:cubicBezTo>
                  <a:cubicBezTo>
                    <a:pt x="6" y="62"/>
                    <a:pt x="6" y="62"/>
                    <a:pt x="6" y="62"/>
                  </a:cubicBezTo>
                  <a:cubicBezTo>
                    <a:pt x="3" y="69"/>
                    <a:pt x="3" y="69"/>
                    <a:pt x="3" y="69"/>
                  </a:cubicBezTo>
                  <a:cubicBezTo>
                    <a:pt x="4" y="73"/>
                    <a:pt x="4" y="73"/>
                    <a:pt x="4" y="73"/>
                  </a:cubicBezTo>
                  <a:cubicBezTo>
                    <a:pt x="5" y="73"/>
                    <a:pt x="6" y="72"/>
                    <a:pt x="6" y="72"/>
                  </a:cubicBezTo>
                  <a:cubicBezTo>
                    <a:pt x="6" y="72"/>
                    <a:pt x="7" y="71"/>
                    <a:pt x="7" y="71"/>
                  </a:cubicBezTo>
                  <a:cubicBezTo>
                    <a:pt x="8" y="71"/>
                    <a:pt x="9" y="71"/>
                    <a:pt x="9" y="71"/>
                  </a:cubicBezTo>
                  <a:cubicBezTo>
                    <a:pt x="9" y="71"/>
                    <a:pt x="11" y="70"/>
                    <a:pt x="11" y="70"/>
                  </a:cubicBezTo>
                  <a:cubicBezTo>
                    <a:pt x="11" y="69"/>
                    <a:pt x="11" y="69"/>
                    <a:pt x="11" y="69"/>
                  </a:cubicBezTo>
                  <a:cubicBezTo>
                    <a:pt x="13" y="68"/>
                    <a:pt x="13" y="68"/>
                    <a:pt x="13" y="68"/>
                  </a:cubicBezTo>
                  <a:cubicBezTo>
                    <a:pt x="14" y="69"/>
                    <a:pt x="14" y="69"/>
                    <a:pt x="14" y="69"/>
                  </a:cubicBezTo>
                  <a:cubicBezTo>
                    <a:pt x="14" y="69"/>
                    <a:pt x="15" y="68"/>
                    <a:pt x="15" y="68"/>
                  </a:cubicBezTo>
                  <a:cubicBezTo>
                    <a:pt x="15" y="68"/>
                    <a:pt x="18" y="68"/>
                    <a:pt x="18" y="68"/>
                  </a:cubicBezTo>
                  <a:cubicBezTo>
                    <a:pt x="18" y="68"/>
                    <a:pt x="19" y="68"/>
                    <a:pt x="20" y="69"/>
                  </a:cubicBezTo>
                  <a:cubicBezTo>
                    <a:pt x="20" y="69"/>
                    <a:pt x="21" y="69"/>
                    <a:pt x="22" y="69"/>
                  </a:cubicBezTo>
                  <a:cubicBezTo>
                    <a:pt x="22" y="69"/>
                    <a:pt x="24" y="68"/>
                    <a:pt x="24" y="68"/>
                  </a:cubicBezTo>
                  <a:cubicBezTo>
                    <a:pt x="27" y="67"/>
                    <a:pt x="27" y="67"/>
                    <a:pt x="27" y="67"/>
                  </a:cubicBezTo>
                  <a:cubicBezTo>
                    <a:pt x="28" y="69"/>
                    <a:pt x="28" y="69"/>
                    <a:pt x="28" y="69"/>
                  </a:cubicBezTo>
                  <a:cubicBezTo>
                    <a:pt x="28" y="69"/>
                    <a:pt x="28" y="70"/>
                    <a:pt x="28" y="70"/>
                  </a:cubicBezTo>
                  <a:cubicBezTo>
                    <a:pt x="28" y="71"/>
                    <a:pt x="28" y="71"/>
                    <a:pt x="29" y="71"/>
                  </a:cubicBezTo>
                  <a:cubicBezTo>
                    <a:pt x="29" y="71"/>
                    <a:pt x="30" y="71"/>
                    <a:pt x="30" y="71"/>
                  </a:cubicBezTo>
                  <a:cubicBezTo>
                    <a:pt x="30" y="72"/>
                    <a:pt x="30" y="74"/>
                    <a:pt x="30" y="74"/>
                  </a:cubicBezTo>
                  <a:cubicBezTo>
                    <a:pt x="28" y="75"/>
                    <a:pt x="28" y="75"/>
                    <a:pt x="28" y="75"/>
                  </a:cubicBezTo>
                  <a:cubicBezTo>
                    <a:pt x="28" y="75"/>
                    <a:pt x="26" y="75"/>
                    <a:pt x="26" y="76"/>
                  </a:cubicBezTo>
                  <a:cubicBezTo>
                    <a:pt x="26" y="76"/>
                    <a:pt x="25" y="77"/>
                    <a:pt x="25" y="77"/>
                  </a:cubicBezTo>
                  <a:cubicBezTo>
                    <a:pt x="25" y="77"/>
                    <a:pt x="24" y="78"/>
                    <a:pt x="24" y="78"/>
                  </a:cubicBezTo>
                  <a:cubicBezTo>
                    <a:pt x="25" y="79"/>
                    <a:pt x="26" y="80"/>
                    <a:pt x="26" y="80"/>
                  </a:cubicBezTo>
                  <a:cubicBezTo>
                    <a:pt x="25" y="81"/>
                    <a:pt x="25" y="81"/>
                    <a:pt x="25" y="81"/>
                  </a:cubicBezTo>
                  <a:cubicBezTo>
                    <a:pt x="25" y="81"/>
                    <a:pt x="25" y="82"/>
                    <a:pt x="26" y="82"/>
                  </a:cubicBezTo>
                  <a:cubicBezTo>
                    <a:pt x="27" y="83"/>
                    <a:pt x="27" y="83"/>
                    <a:pt x="28" y="82"/>
                  </a:cubicBezTo>
                  <a:cubicBezTo>
                    <a:pt x="30" y="82"/>
                    <a:pt x="31" y="81"/>
                    <a:pt x="31" y="81"/>
                  </a:cubicBezTo>
                  <a:cubicBezTo>
                    <a:pt x="31" y="81"/>
                    <a:pt x="32" y="82"/>
                    <a:pt x="32" y="81"/>
                  </a:cubicBezTo>
                  <a:cubicBezTo>
                    <a:pt x="33" y="81"/>
                    <a:pt x="35" y="80"/>
                    <a:pt x="35" y="80"/>
                  </a:cubicBezTo>
                  <a:cubicBezTo>
                    <a:pt x="35" y="80"/>
                    <a:pt x="35" y="79"/>
                    <a:pt x="35" y="79"/>
                  </a:cubicBezTo>
                  <a:cubicBezTo>
                    <a:pt x="35" y="79"/>
                    <a:pt x="35" y="81"/>
                    <a:pt x="35" y="81"/>
                  </a:cubicBezTo>
                  <a:cubicBezTo>
                    <a:pt x="35" y="81"/>
                    <a:pt x="34" y="82"/>
                    <a:pt x="35" y="82"/>
                  </a:cubicBezTo>
                  <a:cubicBezTo>
                    <a:pt x="35" y="83"/>
                    <a:pt x="36" y="82"/>
                    <a:pt x="36" y="82"/>
                  </a:cubicBezTo>
                  <a:cubicBezTo>
                    <a:pt x="37" y="82"/>
                    <a:pt x="37" y="82"/>
                    <a:pt x="37" y="82"/>
                  </a:cubicBezTo>
                  <a:cubicBezTo>
                    <a:pt x="39" y="82"/>
                    <a:pt x="39" y="82"/>
                    <a:pt x="39" y="82"/>
                  </a:cubicBezTo>
                  <a:cubicBezTo>
                    <a:pt x="39" y="82"/>
                    <a:pt x="41" y="81"/>
                    <a:pt x="41" y="81"/>
                  </a:cubicBezTo>
                  <a:cubicBezTo>
                    <a:pt x="41" y="82"/>
                    <a:pt x="42" y="82"/>
                    <a:pt x="42" y="82"/>
                  </a:cubicBezTo>
                  <a:cubicBezTo>
                    <a:pt x="42" y="83"/>
                    <a:pt x="45" y="84"/>
                    <a:pt x="45" y="84"/>
                  </a:cubicBezTo>
                  <a:cubicBezTo>
                    <a:pt x="44" y="85"/>
                    <a:pt x="44" y="85"/>
                    <a:pt x="44" y="85"/>
                  </a:cubicBezTo>
                  <a:cubicBezTo>
                    <a:pt x="44" y="85"/>
                    <a:pt x="43" y="87"/>
                    <a:pt x="44" y="87"/>
                  </a:cubicBezTo>
                  <a:cubicBezTo>
                    <a:pt x="44" y="87"/>
                    <a:pt x="45" y="86"/>
                    <a:pt x="45" y="86"/>
                  </a:cubicBezTo>
                  <a:cubicBezTo>
                    <a:pt x="45" y="86"/>
                    <a:pt x="46" y="85"/>
                    <a:pt x="46" y="85"/>
                  </a:cubicBezTo>
                  <a:cubicBezTo>
                    <a:pt x="46" y="85"/>
                    <a:pt x="47" y="85"/>
                    <a:pt x="47" y="85"/>
                  </a:cubicBezTo>
                  <a:cubicBezTo>
                    <a:pt x="47" y="85"/>
                    <a:pt x="48" y="86"/>
                    <a:pt x="48" y="86"/>
                  </a:cubicBezTo>
                  <a:cubicBezTo>
                    <a:pt x="48" y="86"/>
                    <a:pt x="49" y="88"/>
                    <a:pt x="49" y="88"/>
                  </a:cubicBezTo>
                  <a:cubicBezTo>
                    <a:pt x="49" y="88"/>
                    <a:pt x="50" y="87"/>
                    <a:pt x="50" y="87"/>
                  </a:cubicBezTo>
                  <a:cubicBezTo>
                    <a:pt x="50" y="87"/>
                    <a:pt x="51" y="87"/>
                    <a:pt x="51" y="87"/>
                  </a:cubicBezTo>
                  <a:cubicBezTo>
                    <a:pt x="52" y="87"/>
                    <a:pt x="52" y="87"/>
                    <a:pt x="52" y="87"/>
                  </a:cubicBezTo>
                  <a:cubicBezTo>
                    <a:pt x="53" y="87"/>
                    <a:pt x="56" y="87"/>
                    <a:pt x="56" y="87"/>
                  </a:cubicBezTo>
                  <a:cubicBezTo>
                    <a:pt x="57" y="86"/>
                    <a:pt x="57" y="86"/>
                    <a:pt x="57" y="86"/>
                  </a:cubicBezTo>
                  <a:cubicBezTo>
                    <a:pt x="58" y="84"/>
                    <a:pt x="58" y="84"/>
                    <a:pt x="58" y="84"/>
                  </a:cubicBezTo>
                  <a:cubicBezTo>
                    <a:pt x="58" y="83"/>
                    <a:pt x="58" y="83"/>
                    <a:pt x="58" y="83"/>
                  </a:cubicBezTo>
                  <a:cubicBezTo>
                    <a:pt x="58" y="83"/>
                    <a:pt x="60" y="82"/>
                    <a:pt x="60" y="82"/>
                  </a:cubicBezTo>
                  <a:cubicBezTo>
                    <a:pt x="60" y="82"/>
                    <a:pt x="61" y="82"/>
                    <a:pt x="61" y="83"/>
                  </a:cubicBezTo>
                  <a:cubicBezTo>
                    <a:pt x="61" y="83"/>
                    <a:pt x="63" y="85"/>
                    <a:pt x="63" y="85"/>
                  </a:cubicBezTo>
                  <a:cubicBezTo>
                    <a:pt x="63" y="85"/>
                    <a:pt x="64" y="84"/>
                    <a:pt x="64" y="84"/>
                  </a:cubicBezTo>
                  <a:cubicBezTo>
                    <a:pt x="65" y="85"/>
                    <a:pt x="65" y="84"/>
                    <a:pt x="66" y="85"/>
                  </a:cubicBezTo>
                  <a:cubicBezTo>
                    <a:pt x="66" y="86"/>
                    <a:pt x="66" y="86"/>
                    <a:pt x="66" y="86"/>
                  </a:cubicBezTo>
                  <a:cubicBezTo>
                    <a:pt x="67" y="86"/>
                    <a:pt x="67" y="86"/>
                    <a:pt x="68" y="87"/>
                  </a:cubicBezTo>
                  <a:cubicBezTo>
                    <a:pt x="68" y="87"/>
                    <a:pt x="70" y="87"/>
                    <a:pt x="70" y="87"/>
                  </a:cubicBezTo>
                  <a:cubicBezTo>
                    <a:pt x="70" y="86"/>
                    <a:pt x="70" y="86"/>
                    <a:pt x="70" y="86"/>
                  </a:cubicBezTo>
                  <a:cubicBezTo>
                    <a:pt x="70" y="86"/>
                    <a:pt x="70" y="85"/>
                    <a:pt x="71" y="85"/>
                  </a:cubicBezTo>
                  <a:cubicBezTo>
                    <a:pt x="72" y="86"/>
                    <a:pt x="72" y="87"/>
                    <a:pt x="72" y="87"/>
                  </a:cubicBezTo>
                  <a:cubicBezTo>
                    <a:pt x="72" y="87"/>
                    <a:pt x="73" y="88"/>
                    <a:pt x="73" y="88"/>
                  </a:cubicBezTo>
                  <a:cubicBezTo>
                    <a:pt x="73" y="88"/>
                    <a:pt x="76" y="88"/>
                    <a:pt x="76" y="88"/>
                  </a:cubicBezTo>
                  <a:cubicBezTo>
                    <a:pt x="76" y="88"/>
                    <a:pt x="77" y="88"/>
                    <a:pt x="77" y="88"/>
                  </a:cubicBezTo>
                  <a:cubicBezTo>
                    <a:pt x="78" y="88"/>
                    <a:pt x="78" y="89"/>
                    <a:pt x="78" y="89"/>
                  </a:cubicBezTo>
                  <a:cubicBezTo>
                    <a:pt x="78" y="89"/>
                    <a:pt x="78" y="90"/>
                    <a:pt x="78" y="91"/>
                  </a:cubicBezTo>
                  <a:cubicBezTo>
                    <a:pt x="77" y="91"/>
                    <a:pt x="77" y="91"/>
                    <a:pt x="77" y="91"/>
                  </a:cubicBezTo>
                  <a:cubicBezTo>
                    <a:pt x="78" y="92"/>
                    <a:pt x="79" y="93"/>
                    <a:pt x="79" y="93"/>
                  </a:cubicBezTo>
                  <a:cubicBezTo>
                    <a:pt x="79" y="93"/>
                    <a:pt x="78" y="94"/>
                    <a:pt x="78" y="94"/>
                  </a:cubicBezTo>
                  <a:cubicBezTo>
                    <a:pt x="78" y="95"/>
                    <a:pt x="77" y="96"/>
                    <a:pt x="77" y="96"/>
                  </a:cubicBezTo>
                  <a:cubicBezTo>
                    <a:pt x="77" y="97"/>
                    <a:pt x="77" y="97"/>
                    <a:pt x="77" y="97"/>
                  </a:cubicBezTo>
                  <a:cubicBezTo>
                    <a:pt x="76" y="97"/>
                    <a:pt x="76" y="97"/>
                    <a:pt x="76" y="97"/>
                  </a:cubicBezTo>
                  <a:cubicBezTo>
                    <a:pt x="76" y="98"/>
                    <a:pt x="76" y="98"/>
                    <a:pt x="76" y="98"/>
                  </a:cubicBezTo>
                  <a:cubicBezTo>
                    <a:pt x="76" y="98"/>
                    <a:pt x="76" y="99"/>
                    <a:pt x="76" y="99"/>
                  </a:cubicBezTo>
                  <a:cubicBezTo>
                    <a:pt x="76" y="99"/>
                    <a:pt x="76" y="101"/>
                    <a:pt x="76" y="101"/>
                  </a:cubicBezTo>
                  <a:cubicBezTo>
                    <a:pt x="77" y="102"/>
                    <a:pt x="77" y="102"/>
                    <a:pt x="77" y="102"/>
                  </a:cubicBezTo>
                  <a:cubicBezTo>
                    <a:pt x="77" y="102"/>
                    <a:pt x="78" y="101"/>
                    <a:pt x="79" y="101"/>
                  </a:cubicBezTo>
                  <a:cubicBezTo>
                    <a:pt x="79" y="101"/>
                    <a:pt x="81" y="101"/>
                    <a:pt x="81" y="101"/>
                  </a:cubicBezTo>
                  <a:cubicBezTo>
                    <a:pt x="81" y="101"/>
                    <a:pt x="83" y="103"/>
                    <a:pt x="83" y="103"/>
                  </a:cubicBezTo>
                  <a:cubicBezTo>
                    <a:pt x="83" y="103"/>
                    <a:pt x="85" y="105"/>
                    <a:pt x="85" y="105"/>
                  </a:cubicBezTo>
                  <a:cubicBezTo>
                    <a:pt x="87" y="107"/>
                    <a:pt x="87" y="107"/>
                    <a:pt x="87" y="107"/>
                  </a:cubicBezTo>
                  <a:cubicBezTo>
                    <a:pt x="85" y="108"/>
                    <a:pt x="85" y="108"/>
                    <a:pt x="85" y="108"/>
                  </a:cubicBezTo>
                  <a:cubicBezTo>
                    <a:pt x="83" y="111"/>
                    <a:pt x="83" y="111"/>
                    <a:pt x="83" y="111"/>
                  </a:cubicBezTo>
                  <a:cubicBezTo>
                    <a:pt x="82" y="112"/>
                    <a:pt x="82" y="112"/>
                    <a:pt x="82" y="112"/>
                  </a:cubicBezTo>
                  <a:cubicBezTo>
                    <a:pt x="82" y="112"/>
                    <a:pt x="81" y="113"/>
                    <a:pt x="81" y="113"/>
                  </a:cubicBezTo>
                  <a:cubicBezTo>
                    <a:pt x="81" y="114"/>
                    <a:pt x="79" y="115"/>
                    <a:pt x="79" y="115"/>
                  </a:cubicBezTo>
                  <a:cubicBezTo>
                    <a:pt x="78" y="115"/>
                    <a:pt x="78" y="115"/>
                    <a:pt x="78" y="115"/>
                  </a:cubicBezTo>
                  <a:cubicBezTo>
                    <a:pt x="76" y="116"/>
                    <a:pt x="76" y="116"/>
                    <a:pt x="76" y="116"/>
                  </a:cubicBezTo>
                  <a:cubicBezTo>
                    <a:pt x="75" y="117"/>
                    <a:pt x="75" y="117"/>
                    <a:pt x="75" y="117"/>
                  </a:cubicBezTo>
                  <a:cubicBezTo>
                    <a:pt x="73" y="119"/>
                    <a:pt x="73" y="119"/>
                    <a:pt x="73" y="119"/>
                  </a:cubicBezTo>
                  <a:cubicBezTo>
                    <a:pt x="72" y="119"/>
                    <a:pt x="72" y="119"/>
                    <a:pt x="72" y="119"/>
                  </a:cubicBezTo>
                  <a:cubicBezTo>
                    <a:pt x="70" y="120"/>
                    <a:pt x="70" y="120"/>
                    <a:pt x="70" y="120"/>
                  </a:cubicBezTo>
                  <a:cubicBezTo>
                    <a:pt x="69" y="119"/>
                    <a:pt x="69" y="119"/>
                    <a:pt x="69" y="119"/>
                  </a:cubicBezTo>
                  <a:cubicBezTo>
                    <a:pt x="67" y="120"/>
                    <a:pt x="67" y="120"/>
                    <a:pt x="67" y="120"/>
                  </a:cubicBezTo>
                  <a:cubicBezTo>
                    <a:pt x="66" y="121"/>
                    <a:pt x="66" y="121"/>
                    <a:pt x="66" y="121"/>
                  </a:cubicBezTo>
                  <a:cubicBezTo>
                    <a:pt x="64" y="122"/>
                    <a:pt x="64" y="122"/>
                    <a:pt x="64" y="122"/>
                  </a:cubicBezTo>
                  <a:cubicBezTo>
                    <a:pt x="63" y="125"/>
                    <a:pt x="63" y="125"/>
                    <a:pt x="63" y="125"/>
                  </a:cubicBezTo>
                  <a:cubicBezTo>
                    <a:pt x="63" y="125"/>
                    <a:pt x="61" y="125"/>
                    <a:pt x="61" y="125"/>
                  </a:cubicBezTo>
                  <a:cubicBezTo>
                    <a:pt x="60" y="126"/>
                    <a:pt x="59" y="126"/>
                    <a:pt x="59" y="126"/>
                  </a:cubicBezTo>
                  <a:cubicBezTo>
                    <a:pt x="58" y="126"/>
                    <a:pt x="58" y="126"/>
                    <a:pt x="58" y="126"/>
                  </a:cubicBezTo>
                  <a:cubicBezTo>
                    <a:pt x="57" y="126"/>
                    <a:pt x="57" y="126"/>
                    <a:pt x="57" y="126"/>
                  </a:cubicBezTo>
                  <a:cubicBezTo>
                    <a:pt x="57" y="128"/>
                    <a:pt x="57" y="128"/>
                    <a:pt x="57" y="128"/>
                  </a:cubicBezTo>
                  <a:cubicBezTo>
                    <a:pt x="58" y="128"/>
                    <a:pt x="58" y="128"/>
                    <a:pt x="58" y="128"/>
                  </a:cubicBezTo>
                  <a:cubicBezTo>
                    <a:pt x="58" y="128"/>
                    <a:pt x="58" y="129"/>
                    <a:pt x="57" y="130"/>
                  </a:cubicBezTo>
                  <a:cubicBezTo>
                    <a:pt x="57" y="130"/>
                    <a:pt x="58" y="132"/>
                    <a:pt x="58" y="132"/>
                  </a:cubicBezTo>
                  <a:cubicBezTo>
                    <a:pt x="59" y="133"/>
                    <a:pt x="59" y="133"/>
                    <a:pt x="59" y="133"/>
                  </a:cubicBezTo>
                  <a:cubicBezTo>
                    <a:pt x="59" y="133"/>
                    <a:pt x="59" y="135"/>
                    <a:pt x="59" y="135"/>
                  </a:cubicBezTo>
                  <a:cubicBezTo>
                    <a:pt x="58" y="135"/>
                    <a:pt x="57" y="136"/>
                    <a:pt x="57" y="136"/>
                  </a:cubicBezTo>
                  <a:cubicBezTo>
                    <a:pt x="57" y="137"/>
                    <a:pt x="57" y="137"/>
                    <a:pt x="57" y="137"/>
                  </a:cubicBezTo>
                  <a:cubicBezTo>
                    <a:pt x="57" y="139"/>
                    <a:pt x="57" y="139"/>
                    <a:pt x="57" y="139"/>
                  </a:cubicBezTo>
                  <a:cubicBezTo>
                    <a:pt x="57" y="139"/>
                    <a:pt x="57" y="141"/>
                    <a:pt x="57" y="141"/>
                  </a:cubicBezTo>
                  <a:cubicBezTo>
                    <a:pt x="57" y="142"/>
                    <a:pt x="56" y="143"/>
                    <a:pt x="56" y="143"/>
                  </a:cubicBezTo>
                  <a:cubicBezTo>
                    <a:pt x="55" y="144"/>
                    <a:pt x="55" y="144"/>
                    <a:pt x="55" y="144"/>
                  </a:cubicBezTo>
                  <a:cubicBezTo>
                    <a:pt x="55" y="145"/>
                    <a:pt x="55" y="145"/>
                    <a:pt x="55" y="145"/>
                  </a:cubicBezTo>
                  <a:cubicBezTo>
                    <a:pt x="56" y="146"/>
                    <a:pt x="56" y="146"/>
                    <a:pt x="56" y="146"/>
                  </a:cubicBezTo>
                  <a:cubicBezTo>
                    <a:pt x="55" y="149"/>
                    <a:pt x="55" y="149"/>
                    <a:pt x="55" y="149"/>
                  </a:cubicBezTo>
                  <a:cubicBezTo>
                    <a:pt x="53" y="150"/>
                    <a:pt x="53" y="150"/>
                    <a:pt x="53" y="150"/>
                  </a:cubicBezTo>
                  <a:cubicBezTo>
                    <a:pt x="53" y="152"/>
                    <a:pt x="53" y="152"/>
                    <a:pt x="53" y="152"/>
                  </a:cubicBezTo>
                  <a:cubicBezTo>
                    <a:pt x="54" y="153"/>
                    <a:pt x="54" y="153"/>
                    <a:pt x="54" y="153"/>
                  </a:cubicBezTo>
                  <a:cubicBezTo>
                    <a:pt x="54" y="155"/>
                    <a:pt x="54" y="155"/>
                    <a:pt x="54" y="155"/>
                  </a:cubicBezTo>
                  <a:cubicBezTo>
                    <a:pt x="54" y="156"/>
                    <a:pt x="54" y="156"/>
                    <a:pt x="54" y="156"/>
                  </a:cubicBezTo>
                  <a:cubicBezTo>
                    <a:pt x="53" y="157"/>
                    <a:pt x="53" y="157"/>
                    <a:pt x="53" y="157"/>
                  </a:cubicBezTo>
                  <a:cubicBezTo>
                    <a:pt x="52" y="157"/>
                    <a:pt x="52" y="157"/>
                    <a:pt x="52" y="157"/>
                  </a:cubicBezTo>
                  <a:cubicBezTo>
                    <a:pt x="51" y="159"/>
                    <a:pt x="51" y="159"/>
                    <a:pt x="51" y="159"/>
                  </a:cubicBezTo>
                  <a:cubicBezTo>
                    <a:pt x="49" y="159"/>
                    <a:pt x="49" y="159"/>
                    <a:pt x="49" y="159"/>
                  </a:cubicBezTo>
                  <a:cubicBezTo>
                    <a:pt x="48" y="159"/>
                    <a:pt x="48" y="159"/>
                    <a:pt x="48" y="159"/>
                  </a:cubicBezTo>
                  <a:cubicBezTo>
                    <a:pt x="47" y="160"/>
                    <a:pt x="47" y="160"/>
                    <a:pt x="47" y="160"/>
                  </a:cubicBezTo>
                  <a:cubicBezTo>
                    <a:pt x="46" y="160"/>
                    <a:pt x="46" y="160"/>
                    <a:pt x="46" y="160"/>
                  </a:cubicBezTo>
                  <a:cubicBezTo>
                    <a:pt x="45" y="161"/>
                    <a:pt x="45" y="161"/>
                    <a:pt x="45" y="161"/>
                  </a:cubicBezTo>
                  <a:cubicBezTo>
                    <a:pt x="45" y="162"/>
                    <a:pt x="45" y="162"/>
                    <a:pt x="45" y="162"/>
                  </a:cubicBezTo>
                  <a:cubicBezTo>
                    <a:pt x="45" y="162"/>
                    <a:pt x="45" y="163"/>
                    <a:pt x="45" y="164"/>
                  </a:cubicBezTo>
                  <a:cubicBezTo>
                    <a:pt x="45" y="164"/>
                    <a:pt x="46" y="164"/>
                    <a:pt x="46" y="164"/>
                  </a:cubicBezTo>
                  <a:cubicBezTo>
                    <a:pt x="47" y="165"/>
                    <a:pt x="47" y="165"/>
                    <a:pt x="47" y="165"/>
                  </a:cubicBezTo>
                  <a:cubicBezTo>
                    <a:pt x="48" y="168"/>
                    <a:pt x="48" y="168"/>
                    <a:pt x="48" y="168"/>
                  </a:cubicBezTo>
                  <a:cubicBezTo>
                    <a:pt x="48" y="170"/>
                    <a:pt x="48" y="170"/>
                    <a:pt x="48" y="170"/>
                  </a:cubicBezTo>
                  <a:cubicBezTo>
                    <a:pt x="48" y="170"/>
                    <a:pt x="48" y="171"/>
                    <a:pt x="47" y="172"/>
                  </a:cubicBezTo>
                  <a:cubicBezTo>
                    <a:pt x="47" y="172"/>
                    <a:pt x="46" y="173"/>
                    <a:pt x="46" y="173"/>
                  </a:cubicBezTo>
                  <a:cubicBezTo>
                    <a:pt x="46" y="175"/>
                    <a:pt x="46" y="175"/>
                    <a:pt x="46" y="175"/>
                  </a:cubicBezTo>
                  <a:cubicBezTo>
                    <a:pt x="45" y="176"/>
                    <a:pt x="45" y="176"/>
                    <a:pt x="45" y="176"/>
                  </a:cubicBezTo>
                  <a:cubicBezTo>
                    <a:pt x="44" y="177"/>
                    <a:pt x="44" y="177"/>
                    <a:pt x="44" y="177"/>
                  </a:cubicBezTo>
                  <a:cubicBezTo>
                    <a:pt x="42" y="177"/>
                    <a:pt x="42" y="177"/>
                    <a:pt x="42" y="177"/>
                  </a:cubicBezTo>
                  <a:cubicBezTo>
                    <a:pt x="42" y="178"/>
                    <a:pt x="42" y="178"/>
                    <a:pt x="42" y="178"/>
                  </a:cubicBezTo>
                  <a:cubicBezTo>
                    <a:pt x="42" y="179"/>
                    <a:pt x="42" y="179"/>
                    <a:pt x="42" y="179"/>
                  </a:cubicBezTo>
                  <a:cubicBezTo>
                    <a:pt x="41" y="180"/>
                    <a:pt x="41" y="180"/>
                    <a:pt x="41" y="180"/>
                  </a:cubicBezTo>
                  <a:cubicBezTo>
                    <a:pt x="41" y="180"/>
                    <a:pt x="41" y="180"/>
                    <a:pt x="41" y="180"/>
                  </a:cubicBezTo>
                  <a:cubicBezTo>
                    <a:pt x="41" y="182"/>
                    <a:pt x="41" y="182"/>
                    <a:pt x="41" y="182"/>
                  </a:cubicBezTo>
                  <a:cubicBezTo>
                    <a:pt x="40" y="183"/>
                    <a:pt x="40" y="183"/>
                    <a:pt x="40" y="183"/>
                  </a:cubicBezTo>
                  <a:cubicBezTo>
                    <a:pt x="40" y="183"/>
                    <a:pt x="39" y="183"/>
                    <a:pt x="39" y="183"/>
                  </a:cubicBezTo>
                  <a:cubicBezTo>
                    <a:pt x="38" y="183"/>
                    <a:pt x="37" y="183"/>
                    <a:pt x="37" y="183"/>
                  </a:cubicBezTo>
                  <a:cubicBezTo>
                    <a:pt x="37" y="183"/>
                    <a:pt x="36" y="183"/>
                    <a:pt x="36" y="183"/>
                  </a:cubicBezTo>
                  <a:cubicBezTo>
                    <a:pt x="36" y="183"/>
                    <a:pt x="35" y="183"/>
                    <a:pt x="35" y="183"/>
                  </a:cubicBezTo>
                  <a:cubicBezTo>
                    <a:pt x="35" y="183"/>
                    <a:pt x="34" y="182"/>
                    <a:pt x="34" y="182"/>
                  </a:cubicBezTo>
                  <a:cubicBezTo>
                    <a:pt x="33" y="182"/>
                    <a:pt x="33" y="182"/>
                    <a:pt x="33" y="182"/>
                  </a:cubicBezTo>
                  <a:cubicBezTo>
                    <a:pt x="31" y="182"/>
                    <a:pt x="31" y="182"/>
                    <a:pt x="31" y="182"/>
                  </a:cubicBezTo>
                  <a:cubicBezTo>
                    <a:pt x="29" y="182"/>
                    <a:pt x="29" y="182"/>
                    <a:pt x="29" y="182"/>
                  </a:cubicBezTo>
                  <a:cubicBezTo>
                    <a:pt x="27" y="182"/>
                    <a:pt x="27" y="182"/>
                    <a:pt x="27" y="182"/>
                  </a:cubicBezTo>
                  <a:cubicBezTo>
                    <a:pt x="27" y="181"/>
                    <a:pt x="27" y="181"/>
                    <a:pt x="27" y="181"/>
                  </a:cubicBezTo>
                  <a:cubicBezTo>
                    <a:pt x="26" y="182"/>
                    <a:pt x="26" y="182"/>
                    <a:pt x="26" y="182"/>
                  </a:cubicBezTo>
                  <a:cubicBezTo>
                    <a:pt x="26" y="181"/>
                    <a:pt x="26" y="181"/>
                    <a:pt x="26" y="181"/>
                  </a:cubicBezTo>
                  <a:cubicBezTo>
                    <a:pt x="24" y="180"/>
                    <a:pt x="24" y="180"/>
                    <a:pt x="24" y="180"/>
                  </a:cubicBezTo>
                  <a:cubicBezTo>
                    <a:pt x="22" y="180"/>
                    <a:pt x="22" y="180"/>
                    <a:pt x="22" y="180"/>
                  </a:cubicBezTo>
                  <a:cubicBezTo>
                    <a:pt x="22" y="180"/>
                    <a:pt x="23" y="181"/>
                    <a:pt x="23" y="182"/>
                  </a:cubicBezTo>
                  <a:cubicBezTo>
                    <a:pt x="23" y="182"/>
                    <a:pt x="24" y="183"/>
                    <a:pt x="24" y="183"/>
                  </a:cubicBezTo>
                  <a:cubicBezTo>
                    <a:pt x="24" y="183"/>
                    <a:pt x="24" y="185"/>
                    <a:pt x="24" y="185"/>
                  </a:cubicBezTo>
                  <a:cubicBezTo>
                    <a:pt x="24" y="185"/>
                    <a:pt x="26" y="187"/>
                    <a:pt x="26" y="187"/>
                  </a:cubicBezTo>
                  <a:cubicBezTo>
                    <a:pt x="26" y="188"/>
                    <a:pt x="26" y="188"/>
                    <a:pt x="26" y="188"/>
                  </a:cubicBezTo>
                  <a:cubicBezTo>
                    <a:pt x="26" y="188"/>
                    <a:pt x="26" y="189"/>
                    <a:pt x="26" y="189"/>
                  </a:cubicBezTo>
                  <a:cubicBezTo>
                    <a:pt x="27" y="189"/>
                    <a:pt x="28" y="190"/>
                    <a:pt x="28" y="190"/>
                  </a:cubicBezTo>
                  <a:cubicBezTo>
                    <a:pt x="28" y="191"/>
                    <a:pt x="28" y="191"/>
                    <a:pt x="28" y="191"/>
                  </a:cubicBezTo>
                  <a:cubicBezTo>
                    <a:pt x="27" y="193"/>
                    <a:pt x="27" y="193"/>
                    <a:pt x="27" y="193"/>
                  </a:cubicBezTo>
                  <a:cubicBezTo>
                    <a:pt x="27" y="193"/>
                    <a:pt x="27" y="193"/>
                    <a:pt x="27" y="193"/>
                  </a:cubicBezTo>
                  <a:cubicBezTo>
                    <a:pt x="27" y="195"/>
                    <a:pt x="27" y="195"/>
                    <a:pt x="27" y="195"/>
                  </a:cubicBezTo>
                  <a:cubicBezTo>
                    <a:pt x="27" y="196"/>
                    <a:pt x="27" y="196"/>
                    <a:pt x="27" y="196"/>
                  </a:cubicBezTo>
                  <a:cubicBezTo>
                    <a:pt x="28" y="197"/>
                    <a:pt x="28" y="197"/>
                    <a:pt x="28" y="197"/>
                  </a:cubicBezTo>
                  <a:cubicBezTo>
                    <a:pt x="28" y="198"/>
                    <a:pt x="28" y="198"/>
                    <a:pt x="28" y="198"/>
                  </a:cubicBezTo>
                  <a:cubicBezTo>
                    <a:pt x="27" y="199"/>
                    <a:pt x="27" y="199"/>
                    <a:pt x="27" y="199"/>
                  </a:cubicBezTo>
                  <a:cubicBezTo>
                    <a:pt x="27" y="201"/>
                    <a:pt x="27" y="201"/>
                    <a:pt x="27" y="201"/>
                  </a:cubicBezTo>
                  <a:cubicBezTo>
                    <a:pt x="28" y="202"/>
                    <a:pt x="28" y="202"/>
                    <a:pt x="28" y="202"/>
                  </a:cubicBezTo>
                  <a:cubicBezTo>
                    <a:pt x="29" y="203"/>
                    <a:pt x="29" y="203"/>
                    <a:pt x="29" y="203"/>
                  </a:cubicBezTo>
                  <a:cubicBezTo>
                    <a:pt x="31" y="204"/>
                    <a:pt x="31" y="204"/>
                    <a:pt x="31" y="204"/>
                  </a:cubicBezTo>
                  <a:cubicBezTo>
                    <a:pt x="31" y="205"/>
                    <a:pt x="31" y="205"/>
                    <a:pt x="31" y="205"/>
                  </a:cubicBezTo>
                  <a:cubicBezTo>
                    <a:pt x="30" y="206"/>
                    <a:pt x="30" y="206"/>
                    <a:pt x="30" y="206"/>
                  </a:cubicBezTo>
                  <a:cubicBezTo>
                    <a:pt x="30" y="206"/>
                    <a:pt x="29" y="207"/>
                    <a:pt x="30" y="207"/>
                  </a:cubicBezTo>
                  <a:cubicBezTo>
                    <a:pt x="30" y="207"/>
                    <a:pt x="31" y="207"/>
                    <a:pt x="31" y="207"/>
                  </a:cubicBezTo>
                  <a:cubicBezTo>
                    <a:pt x="33" y="207"/>
                    <a:pt x="33" y="207"/>
                    <a:pt x="33" y="207"/>
                  </a:cubicBezTo>
                  <a:cubicBezTo>
                    <a:pt x="33" y="207"/>
                    <a:pt x="34" y="207"/>
                    <a:pt x="34" y="207"/>
                  </a:cubicBezTo>
                  <a:cubicBezTo>
                    <a:pt x="34" y="207"/>
                    <a:pt x="35" y="209"/>
                    <a:pt x="35" y="209"/>
                  </a:cubicBezTo>
                  <a:cubicBezTo>
                    <a:pt x="35" y="210"/>
                    <a:pt x="35" y="210"/>
                    <a:pt x="35" y="210"/>
                  </a:cubicBezTo>
                  <a:cubicBezTo>
                    <a:pt x="35" y="212"/>
                    <a:pt x="35" y="212"/>
                    <a:pt x="35" y="212"/>
                  </a:cubicBezTo>
                  <a:cubicBezTo>
                    <a:pt x="34" y="214"/>
                    <a:pt x="34" y="214"/>
                    <a:pt x="34" y="214"/>
                  </a:cubicBezTo>
                  <a:cubicBezTo>
                    <a:pt x="32" y="215"/>
                    <a:pt x="32" y="215"/>
                    <a:pt x="32" y="215"/>
                  </a:cubicBezTo>
                  <a:cubicBezTo>
                    <a:pt x="31" y="216"/>
                    <a:pt x="31" y="216"/>
                    <a:pt x="31" y="216"/>
                  </a:cubicBezTo>
                  <a:cubicBezTo>
                    <a:pt x="31" y="217"/>
                    <a:pt x="31" y="217"/>
                    <a:pt x="31" y="217"/>
                  </a:cubicBezTo>
                  <a:cubicBezTo>
                    <a:pt x="30" y="218"/>
                    <a:pt x="30" y="218"/>
                    <a:pt x="30" y="218"/>
                  </a:cubicBezTo>
                  <a:cubicBezTo>
                    <a:pt x="29" y="219"/>
                    <a:pt x="29" y="219"/>
                    <a:pt x="29" y="219"/>
                  </a:cubicBezTo>
                  <a:cubicBezTo>
                    <a:pt x="27" y="219"/>
                    <a:pt x="27" y="219"/>
                    <a:pt x="27" y="219"/>
                  </a:cubicBezTo>
                  <a:cubicBezTo>
                    <a:pt x="27" y="220"/>
                    <a:pt x="27" y="220"/>
                    <a:pt x="27" y="220"/>
                  </a:cubicBezTo>
                  <a:cubicBezTo>
                    <a:pt x="25" y="220"/>
                    <a:pt x="25" y="220"/>
                    <a:pt x="25" y="220"/>
                  </a:cubicBezTo>
                  <a:cubicBezTo>
                    <a:pt x="23" y="221"/>
                    <a:pt x="23" y="221"/>
                    <a:pt x="23" y="221"/>
                  </a:cubicBezTo>
                  <a:cubicBezTo>
                    <a:pt x="22" y="221"/>
                    <a:pt x="22" y="221"/>
                    <a:pt x="22" y="221"/>
                  </a:cubicBezTo>
                  <a:cubicBezTo>
                    <a:pt x="21" y="224"/>
                    <a:pt x="21" y="224"/>
                    <a:pt x="21" y="224"/>
                  </a:cubicBezTo>
                  <a:cubicBezTo>
                    <a:pt x="21" y="224"/>
                    <a:pt x="20" y="226"/>
                    <a:pt x="21" y="226"/>
                  </a:cubicBezTo>
                  <a:cubicBezTo>
                    <a:pt x="21" y="226"/>
                    <a:pt x="21" y="227"/>
                    <a:pt x="21" y="227"/>
                  </a:cubicBezTo>
                  <a:cubicBezTo>
                    <a:pt x="21" y="227"/>
                    <a:pt x="20" y="229"/>
                    <a:pt x="20" y="229"/>
                  </a:cubicBezTo>
                  <a:cubicBezTo>
                    <a:pt x="20" y="229"/>
                    <a:pt x="18" y="229"/>
                    <a:pt x="18" y="229"/>
                  </a:cubicBezTo>
                  <a:cubicBezTo>
                    <a:pt x="18" y="231"/>
                    <a:pt x="18" y="231"/>
                    <a:pt x="18" y="231"/>
                  </a:cubicBezTo>
                  <a:cubicBezTo>
                    <a:pt x="18" y="231"/>
                    <a:pt x="18" y="231"/>
                    <a:pt x="18" y="231"/>
                  </a:cubicBezTo>
                  <a:cubicBezTo>
                    <a:pt x="17" y="232"/>
                    <a:pt x="17" y="232"/>
                    <a:pt x="17" y="232"/>
                  </a:cubicBezTo>
                  <a:cubicBezTo>
                    <a:pt x="18" y="233"/>
                    <a:pt x="18" y="233"/>
                    <a:pt x="18" y="233"/>
                  </a:cubicBezTo>
                  <a:cubicBezTo>
                    <a:pt x="17" y="234"/>
                    <a:pt x="17" y="234"/>
                    <a:pt x="17" y="234"/>
                  </a:cubicBezTo>
                  <a:cubicBezTo>
                    <a:pt x="17" y="235"/>
                    <a:pt x="17" y="235"/>
                    <a:pt x="17" y="235"/>
                  </a:cubicBezTo>
                  <a:cubicBezTo>
                    <a:pt x="17" y="235"/>
                    <a:pt x="18" y="237"/>
                    <a:pt x="18" y="237"/>
                  </a:cubicBezTo>
                  <a:cubicBezTo>
                    <a:pt x="18" y="238"/>
                    <a:pt x="19" y="239"/>
                    <a:pt x="19" y="239"/>
                  </a:cubicBezTo>
                  <a:cubicBezTo>
                    <a:pt x="19" y="239"/>
                    <a:pt x="20" y="240"/>
                    <a:pt x="20" y="240"/>
                  </a:cubicBezTo>
                  <a:cubicBezTo>
                    <a:pt x="20" y="240"/>
                    <a:pt x="20" y="242"/>
                    <a:pt x="20" y="242"/>
                  </a:cubicBezTo>
                  <a:cubicBezTo>
                    <a:pt x="20" y="243"/>
                    <a:pt x="21" y="245"/>
                    <a:pt x="21" y="245"/>
                  </a:cubicBezTo>
                  <a:cubicBezTo>
                    <a:pt x="21" y="246"/>
                    <a:pt x="21" y="246"/>
                    <a:pt x="21" y="246"/>
                  </a:cubicBezTo>
                  <a:cubicBezTo>
                    <a:pt x="21" y="246"/>
                    <a:pt x="21" y="247"/>
                    <a:pt x="22" y="247"/>
                  </a:cubicBezTo>
                  <a:cubicBezTo>
                    <a:pt x="22" y="247"/>
                    <a:pt x="24" y="247"/>
                    <a:pt x="24" y="247"/>
                  </a:cubicBezTo>
                  <a:cubicBezTo>
                    <a:pt x="24" y="247"/>
                    <a:pt x="25" y="247"/>
                    <a:pt x="26" y="247"/>
                  </a:cubicBezTo>
                  <a:cubicBezTo>
                    <a:pt x="26" y="247"/>
                    <a:pt x="26" y="246"/>
                    <a:pt x="27" y="247"/>
                  </a:cubicBezTo>
                  <a:cubicBezTo>
                    <a:pt x="27" y="247"/>
                    <a:pt x="27" y="248"/>
                    <a:pt x="27" y="248"/>
                  </a:cubicBezTo>
                  <a:cubicBezTo>
                    <a:pt x="27" y="248"/>
                    <a:pt x="27" y="249"/>
                    <a:pt x="27" y="249"/>
                  </a:cubicBezTo>
                  <a:cubicBezTo>
                    <a:pt x="24" y="252"/>
                    <a:pt x="24" y="252"/>
                    <a:pt x="24" y="252"/>
                  </a:cubicBezTo>
                  <a:cubicBezTo>
                    <a:pt x="24" y="254"/>
                    <a:pt x="24" y="254"/>
                    <a:pt x="24" y="254"/>
                  </a:cubicBezTo>
                  <a:cubicBezTo>
                    <a:pt x="24" y="254"/>
                    <a:pt x="23" y="254"/>
                    <a:pt x="23" y="254"/>
                  </a:cubicBezTo>
                  <a:cubicBezTo>
                    <a:pt x="23" y="254"/>
                    <a:pt x="22" y="254"/>
                    <a:pt x="22" y="254"/>
                  </a:cubicBezTo>
                  <a:cubicBezTo>
                    <a:pt x="20" y="253"/>
                    <a:pt x="20" y="253"/>
                    <a:pt x="20" y="253"/>
                  </a:cubicBezTo>
                  <a:cubicBezTo>
                    <a:pt x="18" y="253"/>
                    <a:pt x="18" y="253"/>
                    <a:pt x="18" y="253"/>
                  </a:cubicBezTo>
                  <a:cubicBezTo>
                    <a:pt x="18" y="254"/>
                    <a:pt x="18" y="254"/>
                    <a:pt x="18" y="254"/>
                  </a:cubicBezTo>
                  <a:cubicBezTo>
                    <a:pt x="18" y="254"/>
                    <a:pt x="17" y="254"/>
                    <a:pt x="17" y="254"/>
                  </a:cubicBezTo>
                  <a:cubicBezTo>
                    <a:pt x="16" y="254"/>
                    <a:pt x="14" y="254"/>
                    <a:pt x="14" y="254"/>
                  </a:cubicBezTo>
                  <a:cubicBezTo>
                    <a:pt x="14" y="255"/>
                    <a:pt x="14" y="255"/>
                    <a:pt x="14" y="255"/>
                  </a:cubicBezTo>
                  <a:cubicBezTo>
                    <a:pt x="12" y="258"/>
                    <a:pt x="12" y="258"/>
                    <a:pt x="12" y="258"/>
                  </a:cubicBezTo>
                  <a:cubicBezTo>
                    <a:pt x="11" y="260"/>
                    <a:pt x="11" y="260"/>
                    <a:pt x="11" y="260"/>
                  </a:cubicBezTo>
                  <a:cubicBezTo>
                    <a:pt x="9" y="261"/>
                    <a:pt x="9" y="261"/>
                    <a:pt x="9" y="261"/>
                  </a:cubicBezTo>
                  <a:cubicBezTo>
                    <a:pt x="8" y="262"/>
                    <a:pt x="8" y="262"/>
                    <a:pt x="8" y="262"/>
                  </a:cubicBezTo>
                  <a:cubicBezTo>
                    <a:pt x="6" y="263"/>
                    <a:pt x="6" y="263"/>
                    <a:pt x="6" y="263"/>
                  </a:cubicBezTo>
                  <a:cubicBezTo>
                    <a:pt x="6" y="263"/>
                    <a:pt x="5" y="264"/>
                    <a:pt x="5" y="264"/>
                  </a:cubicBezTo>
                  <a:cubicBezTo>
                    <a:pt x="5" y="264"/>
                    <a:pt x="4" y="267"/>
                    <a:pt x="4" y="267"/>
                  </a:cubicBezTo>
                  <a:cubicBezTo>
                    <a:pt x="4" y="267"/>
                    <a:pt x="3" y="268"/>
                    <a:pt x="2" y="268"/>
                  </a:cubicBezTo>
                  <a:cubicBezTo>
                    <a:pt x="2" y="269"/>
                    <a:pt x="1" y="269"/>
                    <a:pt x="1" y="269"/>
                  </a:cubicBezTo>
                  <a:cubicBezTo>
                    <a:pt x="1" y="269"/>
                    <a:pt x="1" y="271"/>
                    <a:pt x="1" y="271"/>
                  </a:cubicBezTo>
                  <a:cubicBezTo>
                    <a:pt x="1" y="271"/>
                    <a:pt x="1" y="273"/>
                    <a:pt x="1" y="273"/>
                  </a:cubicBezTo>
                  <a:cubicBezTo>
                    <a:pt x="2" y="275"/>
                    <a:pt x="2" y="275"/>
                    <a:pt x="2" y="275"/>
                  </a:cubicBezTo>
                  <a:cubicBezTo>
                    <a:pt x="1" y="277"/>
                    <a:pt x="1" y="277"/>
                    <a:pt x="1" y="277"/>
                  </a:cubicBezTo>
                  <a:cubicBezTo>
                    <a:pt x="2" y="278"/>
                    <a:pt x="2" y="278"/>
                    <a:pt x="2" y="278"/>
                  </a:cubicBezTo>
                  <a:cubicBezTo>
                    <a:pt x="1" y="280"/>
                    <a:pt x="1" y="280"/>
                    <a:pt x="1" y="280"/>
                  </a:cubicBezTo>
                  <a:cubicBezTo>
                    <a:pt x="1" y="282"/>
                    <a:pt x="1" y="282"/>
                    <a:pt x="1" y="282"/>
                  </a:cubicBezTo>
                  <a:cubicBezTo>
                    <a:pt x="1" y="283"/>
                    <a:pt x="1" y="283"/>
                    <a:pt x="1" y="283"/>
                  </a:cubicBezTo>
                  <a:cubicBezTo>
                    <a:pt x="0" y="285"/>
                    <a:pt x="0" y="285"/>
                    <a:pt x="0" y="285"/>
                  </a:cubicBezTo>
                  <a:cubicBezTo>
                    <a:pt x="1" y="288"/>
                    <a:pt x="1" y="288"/>
                    <a:pt x="1" y="288"/>
                  </a:cubicBezTo>
                  <a:cubicBezTo>
                    <a:pt x="12" y="290"/>
                    <a:pt x="12" y="290"/>
                    <a:pt x="12" y="290"/>
                  </a:cubicBezTo>
                  <a:cubicBezTo>
                    <a:pt x="17" y="290"/>
                    <a:pt x="21" y="294"/>
                    <a:pt x="25" y="296"/>
                  </a:cubicBezTo>
                  <a:cubicBezTo>
                    <a:pt x="27" y="297"/>
                    <a:pt x="32" y="307"/>
                    <a:pt x="33" y="309"/>
                  </a:cubicBezTo>
                  <a:cubicBezTo>
                    <a:pt x="33" y="309"/>
                    <a:pt x="33" y="315"/>
                    <a:pt x="31" y="315"/>
                  </a:cubicBezTo>
                  <a:cubicBezTo>
                    <a:pt x="30" y="318"/>
                    <a:pt x="33" y="319"/>
                    <a:pt x="34" y="321"/>
                  </a:cubicBezTo>
                  <a:cubicBezTo>
                    <a:pt x="37" y="325"/>
                    <a:pt x="34" y="328"/>
                    <a:pt x="34" y="328"/>
                  </a:cubicBezTo>
                  <a:cubicBezTo>
                    <a:pt x="34" y="331"/>
                    <a:pt x="37" y="339"/>
                    <a:pt x="40" y="342"/>
                  </a:cubicBezTo>
                  <a:cubicBezTo>
                    <a:pt x="42" y="344"/>
                    <a:pt x="44" y="342"/>
                    <a:pt x="45" y="344"/>
                  </a:cubicBezTo>
                  <a:cubicBezTo>
                    <a:pt x="47" y="351"/>
                    <a:pt x="52" y="351"/>
                    <a:pt x="56" y="353"/>
                  </a:cubicBezTo>
                  <a:cubicBezTo>
                    <a:pt x="58" y="352"/>
                    <a:pt x="61" y="349"/>
                    <a:pt x="63" y="348"/>
                  </a:cubicBezTo>
                  <a:cubicBezTo>
                    <a:pt x="67" y="346"/>
                    <a:pt x="68" y="343"/>
                    <a:pt x="71" y="341"/>
                  </a:cubicBezTo>
                  <a:cubicBezTo>
                    <a:pt x="72" y="339"/>
                    <a:pt x="76" y="340"/>
                    <a:pt x="78" y="339"/>
                  </a:cubicBezTo>
                  <a:cubicBezTo>
                    <a:pt x="85" y="336"/>
                    <a:pt x="90" y="339"/>
                    <a:pt x="93" y="338"/>
                  </a:cubicBezTo>
                  <a:cubicBezTo>
                    <a:pt x="95" y="338"/>
                    <a:pt x="98" y="335"/>
                    <a:pt x="101" y="334"/>
                  </a:cubicBezTo>
                  <a:cubicBezTo>
                    <a:pt x="103" y="333"/>
                    <a:pt x="106" y="333"/>
                    <a:pt x="108" y="331"/>
                  </a:cubicBezTo>
                  <a:cubicBezTo>
                    <a:pt x="108" y="331"/>
                    <a:pt x="118" y="333"/>
                    <a:pt x="122" y="334"/>
                  </a:cubicBezTo>
                  <a:cubicBezTo>
                    <a:pt x="129" y="335"/>
                    <a:pt x="136" y="339"/>
                    <a:pt x="140" y="339"/>
                  </a:cubicBezTo>
                  <a:cubicBezTo>
                    <a:pt x="143" y="339"/>
                    <a:pt x="143" y="336"/>
                    <a:pt x="145" y="337"/>
                  </a:cubicBezTo>
                  <a:cubicBezTo>
                    <a:pt x="145" y="337"/>
                    <a:pt x="157" y="343"/>
                    <a:pt x="163" y="344"/>
                  </a:cubicBezTo>
                  <a:cubicBezTo>
                    <a:pt x="167" y="344"/>
                    <a:pt x="167" y="338"/>
                    <a:pt x="172" y="339"/>
                  </a:cubicBezTo>
                  <a:cubicBezTo>
                    <a:pt x="175" y="339"/>
                    <a:pt x="175" y="340"/>
                    <a:pt x="178" y="340"/>
                  </a:cubicBezTo>
                  <a:cubicBezTo>
                    <a:pt x="180" y="340"/>
                    <a:pt x="182" y="346"/>
                    <a:pt x="184" y="346"/>
                  </a:cubicBezTo>
                  <a:cubicBezTo>
                    <a:pt x="185" y="345"/>
                    <a:pt x="189" y="341"/>
                    <a:pt x="190" y="340"/>
                  </a:cubicBezTo>
                  <a:cubicBezTo>
                    <a:pt x="190" y="340"/>
                    <a:pt x="196" y="334"/>
                    <a:pt x="196" y="332"/>
                  </a:cubicBezTo>
                  <a:cubicBezTo>
                    <a:pt x="196" y="330"/>
                    <a:pt x="199" y="322"/>
                    <a:pt x="199" y="322"/>
                  </a:cubicBezTo>
                  <a:cubicBezTo>
                    <a:pt x="202" y="320"/>
                    <a:pt x="207" y="322"/>
                    <a:pt x="210" y="319"/>
                  </a:cubicBezTo>
                  <a:cubicBezTo>
                    <a:pt x="218" y="312"/>
                    <a:pt x="218" y="312"/>
                    <a:pt x="218" y="312"/>
                  </a:cubicBezTo>
                  <a:cubicBezTo>
                    <a:pt x="232" y="316"/>
                    <a:pt x="232" y="316"/>
                    <a:pt x="232" y="316"/>
                  </a:cubicBezTo>
                  <a:cubicBezTo>
                    <a:pt x="240" y="315"/>
                    <a:pt x="240" y="315"/>
                    <a:pt x="240" y="315"/>
                  </a:cubicBezTo>
                  <a:cubicBezTo>
                    <a:pt x="240" y="313"/>
                    <a:pt x="239" y="308"/>
                    <a:pt x="240" y="305"/>
                  </a:cubicBezTo>
                  <a:cubicBezTo>
                    <a:pt x="244" y="300"/>
                    <a:pt x="242" y="301"/>
                    <a:pt x="246" y="296"/>
                  </a:cubicBezTo>
                  <a:cubicBezTo>
                    <a:pt x="248" y="293"/>
                    <a:pt x="249" y="290"/>
                    <a:pt x="252" y="288"/>
                  </a:cubicBezTo>
                  <a:cubicBezTo>
                    <a:pt x="258" y="281"/>
                    <a:pt x="261" y="278"/>
                    <a:pt x="266" y="277"/>
                  </a:cubicBezTo>
                  <a:cubicBezTo>
                    <a:pt x="269" y="276"/>
                    <a:pt x="279" y="270"/>
                    <a:pt x="280" y="269"/>
                  </a:cubicBezTo>
                  <a:cubicBezTo>
                    <a:pt x="282" y="268"/>
                    <a:pt x="274" y="262"/>
                    <a:pt x="270" y="257"/>
                  </a:cubicBezTo>
                  <a:cubicBezTo>
                    <a:pt x="267" y="252"/>
                    <a:pt x="267" y="247"/>
                    <a:pt x="267" y="245"/>
                  </a:cubicBezTo>
                  <a:cubicBezTo>
                    <a:pt x="264" y="232"/>
                    <a:pt x="265" y="238"/>
                    <a:pt x="270" y="228"/>
                  </a:cubicBezTo>
                  <a:cubicBezTo>
                    <a:pt x="273" y="223"/>
                    <a:pt x="278" y="219"/>
                    <a:pt x="281" y="216"/>
                  </a:cubicBezTo>
                  <a:cubicBezTo>
                    <a:pt x="282" y="215"/>
                    <a:pt x="288" y="205"/>
                    <a:pt x="295" y="200"/>
                  </a:cubicBezTo>
                  <a:cubicBezTo>
                    <a:pt x="297" y="199"/>
                    <a:pt x="299" y="193"/>
                    <a:pt x="301" y="192"/>
                  </a:cubicBezTo>
                  <a:cubicBezTo>
                    <a:pt x="306" y="188"/>
                    <a:pt x="312" y="189"/>
                    <a:pt x="313" y="187"/>
                  </a:cubicBezTo>
                  <a:cubicBezTo>
                    <a:pt x="314" y="184"/>
                    <a:pt x="309" y="186"/>
                    <a:pt x="309" y="183"/>
                  </a:cubicBezTo>
                  <a:cubicBezTo>
                    <a:pt x="308" y="176"/>
                    <a:pt x="312" y="177"/>
                    <a:pt x="315" y="176"/>
                  </a:cubicBezTo>
                  <a:cubicBezTo>
                    <a:pt x="318" y="175"/>
                    <a:pt x="322" y="173"/>
                    <a:pt x="325" y="172"/>
                  </a:cubicBezTo>
                  <a:cubicBezTo>
                    <a:pt x="345" y="166"/>
                    <a:pt x="342" y="170"/>
                    <a:pt x="348" y="167"/>
                  </a:cubicBezTo>
                  <a:cubicBezTo>
                    <a:pt x="351" y="165"/>
                    <a:pt x="357" y="167"/>
                    <a:pt x="358" y="165"/>
                  </a:cubicBezTo>
                  <a:cubicBezTo>
                    <a:pt x="359" y="163"/>
                    <a:pt x="365" y="157"/>
                    <a:pt x="367" y="158"/>
                  </a:cubicBezTo>
                  <a:cubicBezTo>
                    <a:pt x="370" y="159"/>
                    <a:pt x="374" y="154"/>
                    <a:pt x="377" y="154"/>
                  </a:cubicBezTo>
                  <a:cubicBezTo>
                    <a:pt x="386" y="152"/>
                    <a:pt x="393" y="147"/>
                    <a:pt x="396" y="142"/>
                  </a:cubicBezTo>
                  <a:cubicBezTo>
                    <a:pt x="398" y="139"/>
                    <a:pt x="392" y="131"/>
                    <a:pt x="395" y="128"/>
                  </a:cubicBezTo>
                  <a:cubicBezTo>
                    <a:pt x="396" y="126"/>
                    <a:pt x="397" y="130"/>
                    <a:pt x="399" y="128"/>
                  </a:cubicBezTo>
                  <a:cubicBezTo>
                    <a:pt x="403" y="124"/>
                    <a:pt x="401" y="122"/>
                    <a:pt x="398" y="121"/>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3" name="Rectangle 120"/>
            <p:cNvSpPr>
              <a:spLocks noChangeArrowheads="1"/>
            </p:cNvSpPr>
            <p:nvPr/>
          </p:nvSpPr>
          <p:spPr bwMode="auto">
            <a:xfrm>
              <a:off x="5406086" y="4555767"/>
              <a:ext cx="2888" cy="1362"/>
            </a:xfrm>
            <a:prstGeom prst="rect">
              <a:avLst/>
            </a:prstGeom>
            <a:grpFill/>
            <a:ln w="9525">
              <a:solidFill>
                <a:schemeClr val="bg1"/>
              </a:solidFill>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 name="Freeform 121"/>
            <p:cNvSpPr>
              <a:spLocks/>
            </p:cNvSpPr>
            <p:nvPr/>
          </p:nvSpPr>
          <p:spPr bwMode="auto">
            <a:xfrm>
              <a:off x="5834997" y="412686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5" name="Freeform 122"/>
            <p:cNvSpPr>
              <a:spLocks/>
            </p:cNvSpPr>
            <p:nvPr/>
          </p:nvSpPr>
          <p:spPr bwMode="auto">
            <a:xfrm>
              <a:off x="5094151" y="4231706"/>
              <a:ext cx="60654" cy="81696"/>
            </a:xfrm>
            <a:custGeom>
              <a:avLst/>
              <a:gdLst>
                <a:gd name="T0" fmla="*/ 0 w 21"/>
                <a:gd name="T1" fmla="*/ 16 h 30"/>
                <a:gd name="T2" fmla="*/ 0 w 21"/>
                <a:gd name="T3" fmla="*/ 17 h 30"/>
                <a:gd name="T4" fmla="*/ 2 w 21"/>
                <a:gd name="T5" fmla="*/ 19 h 30"/>
                <a:gd name="T6" fmla="*/ 3 w 21"/>
                <a:gd name="T7" fmla="*/ 21 h 30"/>
                <a:gd name="T8" fmla="*/ 3 w 21"/>
                <a:gd name="T9" fmla="*/ 22 h 30"/>
                <a:gd name="T10" fmla="*/ 3 w 21"/>
                <a:gd name="T11" fmla="*/ 22 h 30"/>
                <a:gd name="T12" fmla="*/ 3 w 21"/>
                <a:gd name="T13" fmla="*/ 22 h 30"/>
                <a:gd name="T14" fmla="*/ 4 w 21"/>
                <a:gd name="T15" fmla="*/ 24 h 30"/>
                <a:gd name="T16" fmla="*/ 2 w 21"/>
                <a:gd name="T17" fmla="*/ 25 h 30"/>
                <a:gd name="T18" fmla="*/ 3 w 21"/>
                <a:gd name="T19" fmla="*/ 26 h 30"/>
                <a:gd name="T20" fmla="*/ 3 w 21"/>
                <a:gd name="T21" fmla="*/ 28 h 30"/>
                <a:gd name="T22" fmla="*/ 6 w 21"/>
                <a:gd name="T23" fmla="*/ 30 h 30"/>
                <a:gd name="T24" fmla="*/ 8 w 21"/>
                <a:gd name="T25" fmla="*/ 30 h 30"/>
                <a:gd name="T26" fmla="*/ 15 w 21"/>
                <a:gd name="T27" fmla="*/ 29 h 30"/>
                <a:gd name="T28" fmla="*/ 16 w 21"/>
                <a:gd name="T29" fmla="*/ 30 h 30"/>
                <a:gd name="T30" fmla="*/ 20 w 21"/>
                <a:gd name="T31" fmla="*/ 23 h 30"/>
                <a:gd name="T32" fmla="*/ 17 w 21"/>
                <a:gd name="T33" fmla="*/ 17 h 30"/>
                <a:gd name="T34" fmla="*/ 11 w 21"/>
                <a:gd name="T35" fmla="*/ 8 h 30"/>
                <a:gd name="T36" fmla="*/ 11 w 21"/>
                <a:gd name="T37" fmla="*/ 0 h 30"/>
                <a:gd name="T38" fmla="*/ 9 w 21"/>
                <a:gd name="T39" fmla="*/ 1 h 30"/>
                <a:gd name="T40" fmla="*/ 9 w 21"/>
                <a:gd name="T41" fmla="*/ 1 h 30"/>
                <a:gd name="T42" fmla="*/ 9 w 21"/>
                <a:gd name="T43" fmla="*/ 1 h 30"/>
                <a:gd name="T44" fmla="*/ 8 w 21"/>
                <a:gd name="T45" fmla="*/ 0 h 30"/>
                <a:gd name="T46" fmla="*/ 8 w 21"/>
                <a:gd name="T47" fmla="*/ 0 h 30"/>
                <a:gd name="T48" fmla="*/ 7 w 21"/>
                <a:gd name="T49" fmla="*/ 1 h 30"/>
                <a:gd name="T50" fmla="*/ 7 w 21"/>
                <a:gd name="T51" fmla="*/ 1 h 30"/>
                <a:gd name="T52" fmla="*/ 7 w 21"/>
                <a:gd name="T53" fmla="*/ 1 h 30"/>
                <a:gd name="T54" fmla="*/ 7 w 21"/>
                <a:gd name="T55" fmla="*/ 1 h 30"/>
                <a:gd name="T56" fmla="*/ 6 w 21"/>
                <a:gd name="T57" fmla="*/ 1 h 30"/>
                <a:gd name="T58" fmla="*/ 6 w 21"/>
                <a:gd name="T59" fmla="*/ 2 h 30"/>
                <a:gd name="T60" fmla="*/ 6 w 21"/>
                <a:gd name="T61" fmla="*/ 2 h 30"/>
                <a:gd name="T62" fmla="*/ 5 w 21"/>
                <a:gd name="T63" fmla="*/ 3 h 30"/>
                <a:gd name="T64" fmla="*/ 4 w 21"/>
                <a:gd name="T65" fmla="*/ 4 h 30"/>
                <a:gd name="T66" fmla="*/ 4 w 21"/>
                <a:gd name="T67" fmla="*/ 5 h 30"/>
                <a:gd name="T68" fmla="*/ 4 w 21"/>
                <a:gd name="T69" fmla="*/ 5 h 30"/>
                <a:gd name="T70" fmla="*/ 4 w 21"/>
                <a:gd name="T71" fmla="*/ 5 h 30"/>
                <a:gd name="T72" fmla="*/ 2 w 21"/>
                <a:gd name="T73" fmla="*/ 7 h 30"/>
                <a:gd name="T74" fmla="*/ 3 w 21"/>
                <a:gd name="T75" fmla="*/ 8 h 30"/>
                <a:gd name="T76" fmla="*/ 3 w 21"/>
                <a:gd name="T77" fmla="*/ 8 h 30"/>
                <a:gd name="T78" fmla="*/ 3 w 21"/>
                <a:gd name="T79" fmla="*/ 8 h 30"/>
                <a:gd name="T80" fmla="*/ 0 w 21"/>
                <a:gd name="T81" fmla="*/ 11 h 30"/>
                <a:gd name="T82" fmla="*/ 0 w 21"/>
                <a:gd name="T83" fmla="*/ 11 h 30"/>
                <a:gd name="T84" fmla="*/ 0 w 21"/>
                <a:gd name="T85" fmla="*/ 12 h 30"/>
                <a:gd name="T86" fmla="*/ 0 w 21"/>
                <a:gd name="T87" fmla="*/ 15 h 30"/>
                <a:gd name="T88" fmla="*/ 0 w 21"/>
                <a:gd name="T89" fmla="*/ 1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 h="30">
                  <a:moveTo>
                    <a:pt x="0" y="16"/>
                  </a:moveTo>
                  <a:cubicBezTo>
                    <a:pt x="0" y="16"/>
                    <a:pt x="0" y="16"/>
                    <a:pt x="0" y="16"/>
                  </a:cubicBezTo>
                  <a:cubicBezTo>
                    <a:pt x="0" y="16"/>
                    <a:pt x="0" y="16"/>
                    <a:pt x="0" y="16"/>
                  </a:cubicBezTo>
                  <a:cubicBezTo>
                    <a:pt x="0" y="16"/>
                    <a:pt x="0" y="16"/>
                    <a:pt x="0" y="16"/>
                  </a:cubicBezTo>
                  <a:cubicBezTo>
                    <a:pt x="0" y="16"/>
                    <a:pt x="0" y="16"/>
                    <a:pt x="0" y="16"/>
                  </a:cubicBezTo>
                  <a:cubicBezTo>
                    <a:pt x="0" y="17"/>
                    <a:pt x="0" y="17"/>
                    <a:pt x="0" y="17"/>
                  </a:cubicBezTo>
                  <a:cubicBezTo>
                    <a:pt x="1" y="17"/>
                    <a:pt x="1" y="17"/>
                    <a:pt x="1" y="17"/>
                  </a:cubicBezTo>
                  <a:cubicBezTo>
                    <a:pt x="1" y="18"/>
                    <a:pt x="1" y="18"/>
                    <a:pt x="1" y="18"/>
                  </a:cubicBezTo>
                  <a:cubicBezTo>
                    <a:pt x="2" y="19"/>
                    <a:pt x="2" y="19"/>
                    <a:pt x="2" y="19"/>
                  </a:cubicBezTo>
                  <a:cubicBezTo>
                    <a:pt x="3" y="20"/>
                    <a:pt x="3" y="20"/>
                    <a:pt x="3" y="20"/>
                  </a:cubicBezTo>
                  <a:cubicBezTo>
                    <a:pt x="3" y="20"/>
                    <a:pt x="3" y="21"/>
                    <a:pt x="3" y="21"/>
                  </a:cubicBezTo>
                  <a:cubicBezTo>
                    <a:pt x="3" y="21"/>
                    <a:pt x="3" y="21"/>
                    <a:pt x="3" y="21"/>
                  </a:cubicBezTo>
                  <a:cubicBezTo>
                    <a:pt x="3" y="22"/>
                    <a:pt x="3" y="22"/>
                    <a:pt x="3" y="22"/>
                  </a:cubicBezTo>
                  <a:cubicBezTo>
                    <a:pt x="3" y="22"/>
                    <a:pt x="3" y="22"/>
                    <a:pt x="3" y="22"/>
                  </a:cubicBezTo>
                  <a:cubicBezTo>
                    <a:pt x="3" y="22"/>
                    <a:pt x="3" y="22"/>
                    <a:pt x="3" y="22"/>
                  </a:cubicBezTo>
                  <a:cubicBezTo>
                    <a:pt x="3" y="22"/>
                    <a:pt x="3" y="22"/>
                    <a:pt x="3" y="22"/>
                  </a:cubicBezTo>
                  <a:cubicBezTo>
                    <a:pt x="3" y="22"/>
                    <a:pt x="3" y="22"/>
                    <a:pt x="3" y="22"/>
                  </a:cubicBezTo>
                  <a:cubicBezTo>
                    <a:pt x="3" y="22"/>
                    <a:pt x="3" y="22"/>
                    <a:pt x="3" y="22"/>
                  </a:cubicBezTo>
                  <a:cubicBezTo>
                    <a:pt x="3" y="22"/>
                    <a:pt x="3" y="22"/>
                    <a:pt x="3" y="22"/>
                  </a:cubicBezTo>
                  <a:cubicBezTo>
                    <a:pt x="3" y="22"/>
                    <a:pt x="3" y="22"/>
                    <a:pt x="3" y="22"/>
                  </a:cubicBezTo>
                  <a:cubicBezTo>
                    <a:pt x="3" y="22"/>
                    <a:pt x="3" y="22"/>
                    <a:pt x="3" y="22"/>
                  </a:cubicBezTo>
                  <a:cubicBezTo>
                    <a:pt x="3" y="22"/>
                    <a:pt x="3" y="22"/>
                    <a:pt x="3" y="22"/>
                  </a:cubicBezTo>
                  <a:cubicBezTo>
                    <a:pt x="3" y="22"/>
                    <a:pt x="4" y="23"/>
                    <a:pt x="4" y="23"/>
                  </a:cubicBezTo>
                  <a:cubicBezTo>
                    <a:pt x="4" y="24"/>
                    <a:pt x="4" y="24"/>
                    <a:pt x="4" y="24"/>
                  </a:cubicBezTo>
                  <a:cubicBezTo>
                    <a:pt x="4" y="24"/>
                    <a:pt x="4" y="24"/>
                    <a:pt x="4" y="24"/>
                  </a:cubicBezTo>
                  <a:cubicBezTo>
                    <a:pt x="4" y="24"/>
                    <a:pt x="4" y="24"/>
                    <a:pt x="4" y="24"/>
                  </a:cubicBezTo>
                  <a:cubicBezTo>
                    <a:pt x="2" y="25"/>
                    <a:pt x="2" y="25"/>
                    <a:pt x="2" y="25"/>
                  </a:cubicBezTo>
                  <a:cubicBezTo>
                    <a:pt x="2" y="25"/>
                    <a:pt x="2" y="25"/>
                    <a:pt x="2" y="25"/>
                  </a:cubicBezTo>
                  <a:cubicBezTo>
                    <a:pt x="3" y="25"/>
                    <a:pt x="3" y="25"/>
                    <a:pt x="3" y="25"/>
                  </a:cubicBezTo>
                  <a:cubicBezTo>
                    <a:pt x="3" y="26"/>
                    <a:pt x="3" y="26"/>
                    <a:pt x="3" y="26"/>
                  </a:cubicBezTo>
                  <a:cubicBezTo>
                    <a:pt x="4" y="27"/>
                    <a:pt x="4" y="27"/>
                    <a:pt x="4" y="27"/>
                  </a:cubicBezTo>
                  <a:cubicBezTo>
                    <a:pt x="3" y="28"/>
                    <a:pt x="3" y="28"/>
                    <a:pt x="3" y="28"/>
                  </a:cubicBezTo>
                  <a:cubicBezTo>
                    <a:pt x="3" y="28"/>
                    <a:pt x="3" y="28"/>
                    <a:pt x="3" y="28"/>
                  </a:cubicBezTo>
                  <a:cubicBezTo>
                    <a:pt x="4" y="28"/>
                    <a:pt x="4" y="28"/>
                    <a:pt x="4" y="28"/>
                  </a:cubicBezTo>
                  <a:cubicBezTo>
                    <a:pt x="5" y="29"/>
                    <a:pt x="5" y="29"/>
                    <a:pt x="5" y="29"/>
                  </a:cubicBezTo>
                  <a:cubicBezTo>
                    <a:pt x="6" y="29"/>
                    <a:pt x="6" y="29"/>
                    <a:pt x="6" y="30"/>
                  </a:cubicBezTo>
                  <a:cubicBezTo>
                    <a:pt x="6" y="30"/>
                    <a:pt x="6" y="30"/>
                    <a:pt x="6" y="30"/>
                  </a:cubicBezTo>
                  <a:cubicBezTo>
                    <a:pt x="7" y="30"/>
                    <a:pt x="7" y="30"/>
                    <a:pt x="7" y="30"/>
                  </a:cubicBezTo>
                  <a:cubicBezTo>
                    <a:pt x="7" y="30"/>
                    <a:pt x="7" y="30"/>
                    <a:pt x="8" y="30"/>
                  </a:cubicBezTo>
                  <a:cubicBezTo>
                    <a:pt x="10" y="28"/>
                    <a:pt x="10" y="28"/>
                    <a:pt x="10" y="28"/>
                  </a:cubicBezTo>
                  <a:cubicBezTo>
                    <a:pt x="13" y="28"/>
                    <a:pt x="13" y="28"/>
                    <a:pt x="13" y="28"/>
                  </a:cubicBezTo>
                  <a:cubicBezTo>
                    <a:pt x="15" y="29"/>
                    <a:pt x="15" y="29"/>
                    <a:pt x="15" y="29"/>
                  </a:cubicBezTo>
                  <a:cubicBezTo>
                    <a:pt x="16" y="30"/>
                    <a:pt x="16" y="30"/>
                    <a:pt x="16" y="30"/>
                  </a:cubicBezTo>
                  <a:cubicBezTo>
                    <a:pt x="16" y="30"/>
                    <a:pt x="16" y="30"/>
                    <a:pt x="16" y="30"/>
                  </a:cubicBezTo>
                  <a:cubicBezTo>
                    <a:pt x="16" y="30"/>
                    <a:pt x="16" y="30"/>
                    <a:pt x="16" y="30"/>
                  </a:cubicBezTo>
                  <a:cubicBezTo>
                    <a:pt x="16" y="27"/>
                    <a:pt x="16" y="27"/>
                    <a:pt x="16" y="27"/>
                  </a:cubicBezTo>
                  <a:cubicBezTo>
                    <a:pt x="18" y="25"/>
                    <a:pt x="18" y="25"/>
                    <a:pt x="18" y="25"/>
                  </a:cubicBezTo>
                  <a:cubicBezTo>
                    <a:pt x="20" y="23"/>
                    <a:pt x="20" y="23"/>
                    <a:pt x="20" y="23"/>
                  </a:cubicBezTo>
                  <a:cubicBezTo>
                    <a:pt x="21" y="20"/>
                    <a:pt x="21" y="20"/>
                    <a:pt x="21" y="20"/>
                  </a:cubicBezTo>
                  <a:cubicBezTo>
                    <a:pt x="20" y="18"/>
                    <a:pt x="20" y="18"/>
                    <a:pt x="20" y="18"/>
                  </a:cubicBezTo>
                  <a:cubicBezTo>
                    <a:pt x="20" y="18"/>
                    <a:pt x="17" y="17"/>
                    <a:pt x="17" y="17"/>
                  </a:cubicBezTo>
                  <a:cubicBezTo>
                    <a:pt x="16" y="16"/>
                    <a:pt x="13" y="15"/>
                    <a:pt x="13" y="15"/>
                  </a:cubicBezTo>
                  <a:cubicBezTo>
                    <a:pt x="12" y="11"/>
                    <a:pt x="12" y="11"/>
                    <a:pt x="12" y="11"/>
                  </a:cubicBezTo>
                  <a:cubicBezTo>
                    <a:pt x="11" y="8"/>
                    <a:pt x="11" y="8"/>
                    <a:pt x="11" y="8"/>
                  </a:cubicBezTo>
                  <a:cubicBezTo>
                    <a:pt x="10" y="5"/>
                    <a:pt x="10" y="5"/>
                    <a:pt x="10" y="5"/>
                  </a:cubicBezTo>
                  <a:cubicBezTo>
                    <a:pt x="11" y="0"/>
                    <a:pt x="11" y="0"/>
                    <a:pt x="11" y="0"/>
                  </a:cubicBezTo>
                  <a:cubicBezTo>
                    <a:pt x="11" y="0"/>
                    <a:pt x="11" y="0"/>
                    <a:pt x="11" y="0"/>
                  </a:cubicBezTo>
                  <a:cubicBezTo>
                    <a:pt x="11" y="0"/>
                    <a:pt x="10" y="0"/>
                    <a:pt x="10" y="1"/>
                  </a:cubicBezTo>
                  <a:cubicBezTo>
                    <a:pt x="10" y="1"/>
                    <a:pt x="10" y="1"/>
                    <a:pt x="10" y="1"/>
                  </a:cubicBezTo>
                  <a:cubicBezTo>
                    <a:pt x="10" y="1"/>
                    <a:pt x="9" y="1"/>
                    <a:pt x="9" y="1"/>
                  </a:cubicBezTo>
                  <a:cubicBezTo>
                    <a:pt x="9" y="1"/>
                    <a:pt x="9" y="1"/>
                    <a:pt x="9" y="1"/>
                  </a:cubicBezTo>
                  <a:cubicBezTo>
                    <a:pt x="9" y="1"/>
                    <a:pt x="9" y="1"/>
                    <a:pt x="9" y="1"/>
                  </a:cubicBezTo>
                  <a:cubicBezTo>
                    <a:pt x="9" y="1"/>
                    <a:pt x="9" y="1"/>
                    <a:pt x="9" y="1"/>
                  </a:cubicBezTo>
                  <a:cubicBezTo>
                    <a:pt x="9" y="1"/>
                    <a:pt x="9" y="1"/>
                    <a:pt x="9" y="1"/>
                  </a:cubicBezTo>
                  <a:cubicBezTo>
                    <a:pt x="9" y="1"/>
                    <a:pt x="9" y="1"/>
                    <a:pt x="9" y="1"/>
                  </a:cubicBezTo>
                  <a:cubicBezTo>
                    <a:pt x="9" y="1"/>
                    <a:pt x="9" y="1"/>
                    <a:pt x="9" y="1"/>
                  </a:cubicBezTo>
                  <a:cubicBezTo>
                    <a:pt x="8" y="1"/>
                    <a:pt x="8" y="1"/>
                    <a:pt x="8" y="1"/>
                  </a:cubicBezTo>
                  <a:cubicBezTo>
                    <a:pt x="8" y="1"/>
                    <a:pt x="8" y="0"/>
                    <a:pt x="8" y="0"/>
                  </a:cubicBezTo>
                  <a:cubicBezTo>
                    <a:pt x="8" y="0"/>
                    <a:pt x="8" y="0"/>
                    <a:pt x="8" y="0"/>
                  </a:cubicBezTo>
                  <a:cubicBezTo>
                    <a:pt x="8" y="0"/>
                    <a:pt x="8" y="0"/>
                    <a:pt x="8" y="0"/>
                  </a:cubicBezTo>
                  <a:cubicBezTo>
                    <a:pt x="8" y="0"/>
                    <a:pt x="8" y="0"/>
                    <a:pt x="8" y="0"/>
                  </a:cubicBezTo>
                  <a:cubicBezTo>
                    <a:pt x="8" y="0"/>
                    <a:pt x="8" y="0"/>
                    <a:pt x="8" y="0"/>
                  </a:cubicBezTo>
                  <a:cubicBezTo>
                    <a:pt x="8" y="0"/>
                    <a:pt x="7" y="0"/>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6" y="1"/>
                    <a:pt x="6" y="1"/>
                    <a:pt x="6" y="1"/>
                  </a:cubicBezTo>
                  <a:cubicBezTo>
                    <a:pt x="6" y="2"/>
                    <a:pt x="6" y="2"/>
                    <a:pt x="6" y="2"/>
                  </a:cubicBezTo>
                  <a:cubicBezTo>
                    <a:pt x="6" y="2"/>
                    <a:pt x="6" y="2"/>
                    <a:pt x="6" y="2"/>
                  </a:cubicBezTo>
                  <a:cubicBezTo>
                    <a:pt x="6" y="2"/>
                    <a:pt x="6" y="2"/>
                    <a:pt x="6" y="2"/>
                  </a:cubicBezTo>
                  <a:cubicBezTo>
                    <a:pt x="6" y="2"/>
                    <a:pt x="6" y="2"/>
                    <a:pt x="6" y="2"/>
                  </a:cubicBezTo>
                  <a:cubicBezTo>
                    <a:pt x="6" y="2"/>
                    <a:pt x="6" y="2"/>
                    <a:pt x="6" y="2"/>
                  </a:cubicBezTo>
                  <a:cubicBezTo>
                    <a:pt x="6" y="2"/>
                    <a:pt x="6" y="2"/>
                    <a:pt x="6" y="2"/>
                  </a:cubicBezTo>
                  <a:cubicBezTo>
                    <a:pt x="6" y="3"/>
                    <a:pt x="6" y="3"/>
                    <a:pt x="6" y="3"/>
                  </a:cubicBezTo>
                  <a:cubicBezTo>
                    <a:pt x="5" y="3"/>
                    <a:pt x="5" y="3"/>
                    <a:pt x="5" y="3"/>
                  </a:cubicBezTo>
                  <a:cubicBezTo>
                    <a:pt x="5" y="3"/>
                    <a:pt x="5" y="3"/>
                    <a:pt x="5" y="3"/>
                  </a:cubicBezTo>
                  <a:cubicBezTo>
                    <a:pt x="5" y="3"/>
                    <a:pt x="4" y="3"/>
                    <a:pt x="4" y="4"/>
                  </a:cubicBezTo>
                  <a:cubicBezTo>
                    <a:pt x="4" y="4"/>
                    <a:pt x="4" y="4"/>
                    <a:pt x="4" y="4"/>
                  </a:cubicBezTo>
                  <a:cubicBezTo>
                    <a:pt x="4" y="4"/>
                    <a:pt x="4" y="4"/>
                    <a:pt x="4" y="4"/>
                  </a:cubicBezTo>
                  <a:cubicBezTo>
                    <a:pt x="4" y="5"/>
                    <a:pt x="4" y="5"/>
                    <a:pt x="4" y="5"/>
                  </a:cubicBezTo>
                  <a:cubicBezTo>
                    <a:pt x="4" y="5"/>
                    <a:pt x="4" y="5"/>
                    <a:pt x="4" y="5"/>
                  </a:cubicBezTo>
                  <a:cubicBezTo>
                    <a:pt x="4" y="5"/>
                    <a:pt x="4" y="5"/>
                    <a:pt x="4" y="5"/>
                  </a:cubicBezTo>
                  <a:cubicBezTo>
                    <a:pt x="4" y="5"/>
                    <a:pt x="4" y="5"/>
                    <a:pt x="4" y="5"/>
                  </a:cubicBezTo>
                  <a:cubicBezTo>
                    <a:pt x="4" y="5"/>
                    <a:pt x="4" y="5"/>
                    <a:pt x="4" y="5"/>
                  </a:cubicBezTo>
                  <a:cubicBezTo>
                    <a:pt x="4" y="5"/>
                    <a:pt x="4" y="5"/>
                    <a:pt x="4" y="5"/>
                  </a:cubicBezTo>
                  <a:cubicBezTo>
                    <a:pt x="4" y="5"/>
                    <a:pt x="4" y="5"/>
                    <a:pt x="4" y="5"/>
                  </a:cubicBezTo>
                  <a:cubicBezTo>
                    <a:pt x="4" y="5"/>
                    <a:pt x="4" y="5"/>
                    <a:pt x="4" y="5"/>
                  </a:cubicBezTo>
                  <a:cubicBezTo>
                    <a:pt x="4" y="5"/>
                    <a:pt x="4" y="5"/>
                    <a:pt x="4" y="5"/>
                  </a:cubicBezTo>
                  <a:cubicBezTo>
                    <a:pt x="4" y="5"/>
                    <a:pt x="4" y="5"/>
                    <a:pt x="4" y="5"/>
                  </a:cubicBezTo>
                  <a:cubicBezTo>
                    <a:pt x="4" y="6"/>
                    <a:pt x="3" y="7"/>
                    <a:pt x="2" y="7"/>
                  </a:cubicBezTo>
                  <a:cubicBezTo>
                    <a:pt x="2" y="7"/>
                    <a:pt x="2" y="7"/>
                    <a:pt x="2" y="7"/>
                  </a:cubicBezTo>
                  <a:cubicBezTo>
                    <a:pt x="2" y="7"/>
                    <a:pt x="2" y="7"/>
                    <a:pt x="2" y="7"/>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2" y="9"/>
                    <a:pt x="2" y="10"/>
                  </a:cubicBezTo>
                  <a:cubicBezTo>
                    <a:pt x="1" y="10"/>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2"/>
                    <a:pt x="0" y="12"/>
                    <a:pt x="0" y="12"/>
                  </a:cubicBezTo>
                  <a:cubicBezTo>
                    <a:pt x="0" y="12"/>
                    <a:pt x="0" y="12"/>
                    <a:pt x="0" y="12"/>
                  </a:cubicBezTo>
                  <a:cubicBezTo>
                    <a:pt x="0" y="12"/>
                    <a:pt x="0" y="12"/>
                    <a:pt x="0" y="12"/>
                  </a:cubicBezTo>
                  <a:cubicBezTo>
                    <a:pt x="0" y="12"/>
                    <a:pt x="0" y="12"/>
                    <a:pt x="0" y="12"/>
                  </a:cubicBezTo>
                  <a:cubicBezTo>
                    <a:pt x="0" y="13"/>
                    <a:pt x="1" y="13"/>
                    <a:pt x="1" y="13"/>
                  </a:cubicBezTo>
                  <a:cubicBezTo>
                    <a:pt x="0" y="15"/>
                    <a:pt x="0" y="15"/>
                    <a:pt x="0" y="15"/>
                  </a:cubicBezTo>
                  <a:cubicBezTo>
                    <a:pt x="0" y="15"/>
                    <a:pt x="0" y="15"/>
                    <a:pt x="0" y="16"/>
                  </a:cubicBezTo>
                  <a:cubicBezTo>
                    <a:pt x="0" y="16"/>
                    <a:pt x="0" y="16"/>
                    <a:pt x="0" y="16"/>
                  </a:cubicBezTo>
                  <a:cubicBezTo>
                    <a:pt x="0" y="16"/>
                    <a:pt x="0" y="16"/>
                    <a:pt x="0" y="16"/>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 name="Freeform 123"/>
            <p:cNvSpPr>
              <a:spLocks/>
            </p:cNvSpPr>
            <p:nvPr/>
          </p:nvSpPr>
          <p:spPr bwMode="auto">
            <a:xfrm>
              <a:off x="3488260" y="5005094"/>
              <a:ext cx="408693" cy="600465"/>
            </a:xfrm>
            <a:custGeom>
              <a:avLst/>
              <a:gdLst>
                <a:gd name="T0" fmla="*/ 56 w 141"/>
                <a:gd name="T1" fmla="*/ 208 h 220"/>
                <a:gd name="T2" fmla="*/ 56 w 141"/>
                <a:gd name="T3" fmla="*/ 198 h 220"/>
                <a:gd name="T4" fmla="*/ 61 w 141"/>
                <a:gd name="T5" fmla="*/ 191 h 220"/>
                <a:gd name="T6" fmla="*/ 73 w 141"/>
                <a:gd name="T7" fmla="*/ 182 h 220"/>
                <a:gd name="T8" fmla="*/ 80 w 141"/>
                <a:gd name="T9" fmla="*/ 180 h 220"/>
                <a:gd name="T10" fmla="*/ 74 w 141"/>
                <a:gd name="T11" fmla="*/ 170 h 220"/>
                <a:gd name="T12" fmla="*/ 71 w 141"/>
                <a:gd name="T13" fmla="*/ 163 h 220"/>
                <a:gd name="T14" fmla="*/ 76 w 141"/>
                <a:gd name="T15" fmla="*/ 154 h 220"/>
                <a:gd name="T16" fmla="*/ 90 w 141"/>
                <a:gd name="T17" fmla="*/ 141 h 220"/>
                <a:gd name="T18" fmla="*/ 86 w 141"/>
                <a:gd name="T19" fmla="*/ 139 h 220"/>
                <a:gd name="T20" fmla="*/ 82 w 141"/>
                <a:gd name="T21" fmla="*/ 128 h 220"/>
                <a:gd name="T22" fmla="*/ 80 w 141"/>
                <a:gd name="T23" fmla="*/ 118 h 220"/>
                <a:gd name="T24" fmla="*/ 77 w 141"/>
                <a:gd name="T25" fmla="*/ 109 h 220"/>
                <a:gd name="T26" fmla="*/ 88 w 141"/>
                <a:gd name="T27" fmla="*/ 109 h 220"/>
                <a:gd name="T28" fmla="*/ 97 w 141"/>
                <a:gd name="T29" fmla="*/ 109 h 220"/>
                <a:gd name="T30" fmla="*/ 103 w 141"/>
                <a:gd name="T31" fmla="*/ 100 h 220"/>
                <a:gd name="T32" fmla="*/ 100 w 141"/>
                <a:gd name="T33" fmla="*/ 92 h 220"/>
                <a:gd name="T34" fmla="*/ 108 w 141"/>
                <a:gd name="T35" fmla="*/ 85 h 220"/>
                <a:gd name="T36" fmla="*/ 110 w 141"/>
                <a:gd name="T37" fmla="*/ 73 h 220"/>
                <a:gd name="T38" fmla="*/ 112 w 141"/>
                <a:gd name="T39" fmla="*/ 65 h 220"/>
                <a:gd name="T40" fmla="*/ 111 w 141"/>
                <a:gd name="T41" fmla="*/ 55 h 220"/>
                <a:gd name="T42" fmla="*/ 122 w 141"/>
                <a:gd name="T43" fmla="*/ 49 h 220"/>
                <a:gd name="T44" fmla="*/ 130 w 141"/>
                <a:gd name="T45" fmla="*/ 46 h 220"/>
                <a:gd name="T46" fmla="*/ 139 w 141"/>
                <a:gd name="T47" fmla="*/ 39 h 220"/>
                <a:gd name="T48" fmla="*/ 135 w 141"/>
                <a:gd name="T49" fmla="*/ 34 h 220"/>
                <a:gd name="T50" fmla="*/ 132 w 141"/>
                <a:gd name="T51" fmla="*/ 25 h 220"/>
                <a:gd name="T52" fmla="*/ 129 w 141"/>
                <a:gd name="T53" fmla="*/ 20 h 220"/>
                <a:gd name="T54" fmla="*/ 120 w 141"/>
                <a:gd name="T55" fmla="*/ 17 h 220"/>
                <a:gd name="T56" fmla="*/ 111 w 141"/>
                <a:gd name="T57" fmla="*/ 20 h 220"/>
                <a:gd name="T58" fmla="*/ 101 w 141"/>
                <a:gd name="T59" fmla="*/ 19 h 220"/>
                <a:gd name="T60" fmla="*/ 95 w 141"/>
                <a:gd name="T61" fmla="*/ 14 h 220"/>
                <a:gd name="T62" fmla="*/ 90 w 141"/>
                <a:gd name="T63" fmla="*/ 13 h 220"/>
                <a:gd name="T64" fmla="*/ 82 w 141"/>
                <a:gd name="T65" fmla="*/ 14 h 220"/>
                <a:gd name="T66" fmla="*/ 79 w 141"/>
                <a:gd name="T67" fmla="*/ 9 h 220"/>
                <a:gd name="T68" fmla="*/ 83 w 141"/>
                <a:gd name="T69" fmla="*/ 1 h 220"/>
                <a:gd name="T70" fmla="*/ 76 w 141"/>
                <a:gd name="T71" fmla="*/ 1 h 220"/>
                <a:gd name="T72" fmla="*/ 70 w 141"/>
                <a:gd name="T73" fmla="*/ 1 h 220"/>
                <a:gd name="T74" fmla="*/ 65 w 141"/>
                <a:gd name="T75" fmla="*/ 3 h 220"/>
                <a:gd name="T76" fmla="*/ 59 w 141"/>
                <a:gd name="T77" fmla="*/ 5 h 220"/>
                <a:gd name="T78" fmla="*/ 59 w 141"/>
                <a:gd name="T79" fmla="*/ 16 h 220"/>
                <a:gd name="T80" fmla="*/ 57 w 141"/>
                <a:gd name="T81" fmla="*/ 27 h 220"/>
                <a:gd name="T82" fmla="*/ 53 w 141"/>
                <a:gd name="T83" fmla="*/ 51 h 220"/>
                <a:gd name="T84" fmla="*/ 34 w 141"/>
                <a:gd name="T85" fmla="*/ 89 h 220"/>
                <a:gd name="T86" fmla="*/ 25 w 141"/>
                <a:gd name="T87" fmla="*/ 102 h 220"/>
                <a:gd name="T88" fmla="*/ 16 w 141"/>
                <a:gd name="T89" fmla="*/ 106 h 220"/>
                <a:gd name="T90" fmla="*/ 12 w 141"/>
                <a:gd name="T91" fmla="*/ 116 h 220"/>
                <a:gd name="T92" fmla="*/ 7 w 141"/>
                <a:gd name="T93" fmla="*/ 127 h 220"/>
                <a:gd name="T94" fmla="*/ 7 w 141"/>
                <a:gd name="T95" fmla="*/ 136 h 220"/>
                <a:gd name="T96" fmla="*/ 11 w 141"/>
                <a:gd name="T97" fmla="*/ 139 h 220"/>
                <a:gd name="T98" fmla="*/ 12 w 141"/>
                <a:gd name="T99" fmla="*/ 148 h 220"/>
                <a:gd name="T100" fmla="*/ 22 w 141"/>
                <a:gd name="T101" fmla="*/ 150 h 220"/>
                <a:gd name="T102" fmla="*/ 20 w 141"/>
                <a:gd name="T103" fmla="*/ 165 h 220"/>
                <a:gd name="T104" fmla="*/ 15 w 141"/>
                <a:gd name="T105" fmla="*/ 184 h 220"/>
                <a:gd name="T106" fmla="*/ 9 w 141"/>
                <a:gd name="T107" fmla="*/ 199 h 220"/>
                <a:gd name="T108" fmla="*/ 0 w 141"/>
                <a:gd name="T109" fmla="*/ 210 h 220"/>
                <a:gd name="T110" fmla="*/ 13 w 141"/>
                <a:gd name="T111" fmla="*/ 210 h 220"/>
                <a:gd name="T112" fmla="*/ 25 w 141"/>
                <a:gd name="T113" fmla="*/ 213 h 220"/>
                <a:gd name="T114" fmla="*/ 36 w 141"/>
                <a:gd name="T115" fmla="*/ 220 h 220"/>
                <a:gd name="T116" fmla="*/ 55 w 141"/>
                <a:gd name="T117" fmla="*/ 21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1" h="220">
                  <a:moveTo>
                    <a:pt x="55" y="215"/>
                  </a:moveTo>
                  <a:cubicBezTo>
                    <a:pt x="55" y="213"/>
                    <a:pt x="55" y="213"/>
                    <a:pt x="55" y="213"/>
                  </a:cubicBezTo>
                  <a:cubicBezTo>
                    <a:pt x="55" y="212"/>
                    <a:pt x="55" y="212"/>
                    <a:pt x="55" y="212"/>
                  </a:cubicBezTo>
                  <a:cubicBezTo>
                    <a:pt x="56" y="209"/>
                    <a:pt x="56" y="209"/>
                    <a:pt x="56" y="209"/>
                  </a:cubicBezTo>
                  <a:cubicBezTo>
                    <a:pt x="56" y="208"/>
                    <a:pt x="56" y="208"/>
                    <a:pt x="56" y="208"/>
                  </a:cubicBezTo>
                  <a:cubicBezTo>
                    <a:pt x="56" y="208"/>
                    <a:pt x="56" y="208"/>
                    <a:pt x="56" y="208"/>
                  </a:cubicBezTo>
                  <a:cubicBezTo>
                    <a:pt x="56" y="205"/>
                    <a:pt x="56" y="205"/>
                    <a:pt x="56" y="205"/>
                  </a:cubicBezTo>
                  <a:cubicBezTo>
                    <a:pt x="56" y="204"/>
                    <a:pt x="56" y="204"/>
                    <a:pt x="56" y="204"/>
                  </a:cubicBezTo>
                  <a:cubicBezTo>
                    <a:pt x="56" y="204"/>
                    <a:pt x="56" y="204"/>
                    <a:pt x="56" y="204"/>
                  </a:cubicBezTo>
                  <a:cubicBezTo>
                    <a:pt x="56" y="204"/>
                    <a:pt x="56" y="202"/>
                    <a:pt x="55" y="202"/>
                  </a:cubicBezTo>
                  <a:cubicBezTo>
                    <a:pt x="55" y="201"/>
                    <a:pt x="55" y="200"/>
                    <a:pt x="56" y="199"/>
                  </a:cubicBezTo>
                  <a:cubicBezTo>
                    <a:pt x="56" y="198"/>
                    <a:pt x="56" y="198"/>
                    <a:pt x="56" y="198"/>
                  </a:cubicBezTo>
                  <a:cubicBezTo>
                    <a:pt x="56" y="198"/>
                    <a:pt x="56" y="198"/>
                    <a:pt x="56" y="198"/>
                  </a:cubicBezTo>
                  <a:cubicBezTo>
                    <a:pt x="56" y="198"/>
                    <a:pt x="57" y="198"/>
                    <a:pt x="57" y="197"/>
                  </a:cubicBezTo>
                  <a:cubicBezTo>
                    <a:pt x="57" y="197"/>
                    <a:pt x="58" y="197"/>
                    <a:pt x="58" y="197"/>
                  </a:cubicBezTo>
                  <a:cubicBezTo>
                    <a:pt x="58" y="197"/>
                    <a:pt x="58" y="196"/>
                    <a:pt x="59" y="196"/>
                  </a:cubicBezTo>
                  <a:cubicBezTo>
                    <a:pt x="59" y="195"/>
                    <a:pt x="60" y="194"/>
                    <a:pt x="60" y="194"/>
                  </a:cubicBezTo>
                  <a:cubicBezTo>
                    <a:pt x="60" y="193"/>
                    <a:pt x="60" y="192"/>
                    <a:pt x="61" y="191"/>
                  </a:cubicBezTo>
                  <a:cubicBezTo>
                    <a:pt x="61" y="191"/>
                    <a:pt x="61" y="191"/>
                    <a:pt x="61" y="191"/>
                  </a:cubicBezTo>
                  <a:cubicBezTo>
                    <a:pt x="67" y="188"/>
                    <a:pt x="67" y="188"/>
                    <a:pt x="67" y="188"/>
                  </a:cubicBezTo>
                  <a:cubicBezTo>
                    <a:pt x="67" y="187"/>
                    <a:pt x="67" y="187"/>
                    <a:pt x="67" y="187"/>
                  </a:cubicBezTo>
                  <a:cubicBezTo>
                    <a:pt x="69" y="182"/>
                    <a:pt x="69" y="182"/>
                    <a:pt x="69" y="182"/>
                  </a:cubicBezTo>
                  <a:cubicBezTo>
                    <a:pt x="70" y="182"/>
                    <a:pt x="70" y="182"/>
                    <a:pt x="70" y="182"/>
                  </a:cubicBezTo>
                  <a:cubicBezTo>
                    <a:pt x="71" y="182"/>
                    <a:pt x="73" y="182"/>
                    <a:pt x="73" y="182"/>
                  </a:cubicBezTo>
                  <a:cubicBezTo>
                    <a:pt x="73" y="182"/>
                    <a:pt x="74" y="182"/>
                    <a:pt x="74" y="182"/>
                  </a:cubicBezTo>
                  <a:cubicBezTo>
                    <a:pt x="74" y="182"/>
                    <a:pt x="74" y="182"/>
                    <a:pt x="74" y="182"/>
                  </a:cubicBezTo>
                  <a:cubicBezTo>
                    <a:pt x="77" y="180"/>
                    <a:pt x="77" y="180"/>
                    <a:pt x="77" y="180"/>
                  </a:cubicBezTo>
                  <a:cubicBezTo>
                    <a:pt x="79" y="181"/>
                    <a:pt x="79" y="181"/>
                    <a:pt x="79" y="181"/>
                  </a:cubicBezTo>
                  <a:cubicBezTo>
                    <a:pt x="79" y="180"/>
                    <a:pt x="79" y="180"/>
                    <a:pt x="79" y="180"/>
                  </a:cubicBezTo>
                  <a:cubicBezTo>
                    <a:pt x="80" y="180"/>
                    <a:pt x="80" y="180"/>
                    <a:pt x="80" y="180"/>
                  </a:cubicBezTo>
                  <a:cubicBezTo>
                    <a:pt x="80" y="180"/>
                    <a:pt x="79" y="180"/>
                    <a:pt x="79" y="180"/>
                  </a:cubicBezTo>
                  <a:cubicBezTo>
                    <a:pt x="78" y="179"/>
                    <a:pt x="76" y="179"/>
                    <a:pt x="76" y="176"/>
                  </a:cubicBezTo>
                  <a:cubicBezTo>
                    <a:pt x="76" y="176"/>
                    <a:pt x="76" y="176"/>
                    <a:pt x="76" y="176"/>
                  </a:cubicBezTo>
                  <a:cubicBezTo>
                    <a:pt x="75" y="175"/>
                    <a:pt x="75" y="173"/>
                    <a:pt x="74" y="172"/>
                  </a:cubicBezTo>
                  <a:cubicBezTo>
                    <a:pt x="74" y="172"/>
                    <a:pt x="74" y="171"/>
                    <a:pt x="75" y="171"/>
                  </a:cubicBezTo>
                  <a:cubicBezTo>
                    <a:pt x="75" y="171"/>
                    <a:pt x="74" y="170"/>
                    <a:pt x="74" y="170"/>
                  </a:cubicBezTo>
                  <a:cubicBezTo>
                    <a:pt x="74" y="170"/>
                    <a:pt x="74" y="170"/>
                    <a:pt x="74" y="170"/>
                  </a:cubicBezTo>
                  <a:cubicBezTo>
                    <a:pt x="73" y="169"/>
                    <a:pt x="73" y="168"/>
                    <a:pt x="73" y="168"/>
                  </a:cubicBezTo>
                  <a:cubicBezTo>
                    <a:pt x="73" y="167"/>
                    <a:pt x="73" y="167"/>
                    <a:pt x="72" y="166"/>
                  </a:cubicBezTo>
                  <a:cubicBezTo>
                    <a:pt x="72" y="165"/>
                    <a:pt x="72" y="165"/>
                    <a:pt x="72" y="165"/>
                  </a:cubicBezTo>
                  <a:cubicBezTo>
                    <a:pt x="71" y="164"/>
                    <a:pt x="71" y="164"/>
                    <a:pt x="71" y="164"/>
                  </a:cubicBezTo>
                  <a:cubicBezTo>
                    <a:pt x="71" y="163"/>
                    <a:pt x="71" y="163"/>
                    <a:pt x="71" y="163"/>
                  </a:cubicBezTo>
                  <a:cubicBezTo>
                    <a:pt x="70" y="163"/>
                    <a:pt x="70" y="163"/>
                    <a:pt x="70" y="163"/>
                  </a:cubicBezTo>
                  <a:cubicBezTo>
                    <a:pt x="72" y="161"/>
                    <a:pt x="72" y="161"/>
                    <a:pt x="72" y="161"/>
                  </a:cubicBezTo>
                  <a:cubicBezTo>
                    <a:pt x="74" y="158"/>
                    <a:pt x="74" y="158"/>
                    <a:pt x="74" y="158"/>
                  </a:cubicBezTo>
                  <a:cubicBezTo>
                    <a:pt x="74" y="157"/>
                    <a:pt x="74" y="157"/>
                    <a:pt x="74" y="157"/>
                  </a:cubicBezTo>
                  <a:cubicBezTo>
                    <a:pt x="74" y="157"/>
                    <a:pt x="75" y="157"/>
                    <a:pt x="75" y="157"/>
                  </a:cubicBezTo>
                  <a:cubicBezTo>
                    <a:pt x="75" y="156"/>
                    <a:pt x="76" y="154"/>
                    <a:pt x="76" y="154"/>
                  </a:cubicBezTo>
                  <a:cubicBezTo>
                    <a:pt x="77" y="149"/>
                    <a:pt x="77" y="149"/>
                    <a:pt x="77" y="149"/>
                  </a:cubicBezTo>
                  <a:cubicBezTo>
                    <a:pt x="80" y="149"/>
                    <a:pt x="80" y="149"/>
                    <a:pt x="80" y="149"/>
                  </a:cubicBezTo>
                  <a:cubicBezTo>
                    <a:pt x="86" y="146"/>
                    <a:pt x="86" y="146"/>
                    <a:pt x="86" y="146"/>
                  </a:cubicBezTo>
                  <a:cubicBezTo>
                    <a:pt x="86" y="145"/>
                    <a:pt x="86" y="145"/>
                    <a:pt x="86" y="145"/>
                  </a:cubicBezTo>
                  <a:cubicBezTo>
                    <a:pt x="89" y="142"/>
                    <a:pt x="89" y="142"/>
                    <a:pt x="89" y="142"/>
                  </a:cubicBezTo>
                  <a:cubicBezTo>
                    <a:pt x="90" y="141"/>
                    <a:pt x="90" y="141"/>
                    <a:pt x="90" y="141"/>
                  </a:cubicBezTo>
                  <a:cubicBezTo>
                    <a:pt x="90" y="141"/>
                    <a:pt x="90" y="141"/>
                    <a:pt x="90" y="141"/>
                  </a:cubicBezTo>
                  <a:cubicBezTo>
                    <a:pt x="90" y="140"/>
                    <a:pt x="90" y="140"/>
                    <a:pt x="90" y="140"/>
                  </a:cubicBezTo>
                  <a:cubicBezTo>
                    <a:pt x="90" y="140"/>
                    <a:pt x="89" y="140"/>
                    <a:pt x="89" y="139"/>
                  </a:cubicBezTo>
                  <a:cubicBezTo>
                    <a:pt x="89" y="140"/>
                    <a:pt x="89" y="140"/>
                    <a:pt x="89" y="140"/>
                  </a:cubicBezTo>
                  <a:cubicBezTo>
                    <a:pt x="88" y="140"/>
                    <a:pt x="88" y="140"/>
                    <a:pt x="88" y="140"/>
                  </a:cubicBezTo>
                  <a:cubicBezTo>
                    <a:pt x="88" y="140"/>
                    <a:pt x="86" y="139"/>
                    <a:pt x="86" y="139"/>
                  </a:cubicBezTo>
                  <a:cubicBezTo>
                    <a:pt x="85" y="139"/>
                    <a:pt x="85" y="139"/>
                    <a:pt x="85" y="139"/>
                  </a:cubicBezTo>
                  <a:cubicBezTo>
                    <a:pt x="85" y="138"/>
                    <a:pt x="85" y="138"/>
                    <a:pt x="85" y="138"/>
                  </a:cubicBezTo>
                  <a:cubicBezTo>
                    <a:pt x="84" y="137"/>
                    <a:pt x="84" y="136"/>
                    <a:pt x="85" y="135"/>
                  </a:cubicBezTo>
                  <a:cubicBezTo>
                    <a:pt x="83" y="134"/>
                    <a:pt x="83" y="134"/>
                    <a:pt x="83" y="134"/>
                  </a:cubicBezTo>
                  <a:cubicBezTo>
                    <a:pt x="82" y="131"/>
                    <a:pt x="82" y="131"/>
                    <a:pt x="82" y="131"/>
                  </a:cubicBezTo>
                  <a:cubicBezTo>
                    <a:pt x="82" y="128"/>
                    <a:pt x="82" y="128"/>
                    <a:pt x="82" y="128"/>
                  </a:cubicBezTo>
                  <a:cubicBezTo>
                    <a:pt x="82" y="127"/>
                    <a:pt x="82" y="127"/>
                    <a:pt x="82" y="127"/>
                  </a:cubicBezTo>
                  <a:cubicBezTo>
                    <a:pt x="81" y="123"/>
                    <a:pt x="81" y="123"/>
                    <a:pt x="81" y="123"/>
                  </a:cubicBezTo>
                  <a:cubicBezTo>
                    <a:pt x="82" y="121"/>
                    <a:pt x="82" y="121"/>
                    <a:pt x="82" y="121"/>
                  </a:cubicBezTo>
                  <a:cubicBezTo>
                    <a:pt x="82" y="121"/>
                    <a:pt x="82" y="121"/>
                    <a:pt x="82" y="121"/>
                  </a:cubicBezTo>
                  <a:cubicBezTo>
                    <a:pt x="81" y="121"/>
                    <a:pt x="81" y="120"/>
                    <a:pt x="80" y="118"/>
                  </a:cubicBezTo>
                  <a:cubicBezTo>
                    <a:pt x="80" y="118"/>
                    <a:pt x="80" y="118"/>
                    <a:pt x="80" y="118"/>
                  </a:cubicBezTo>
                  <a:cubicBezTo>
                    <a:pt x="80" y="118"/>
                    <a:pt x="80" y="118"/>
                    <a:pt x="80" y="118"/>
                  </a:cubicBezTo>
                  <a:cubicBezTo>
                    <a:pt x="80" y="117"/>
                    <a:pt x="80" y="117"/>
                    <a:pt x="79" y="117"/>
                  </a:cubicBezTo>
                  <a:cubicBezTo>
                    <a:pt x="79" y="116"/>
                    <a:pt x="79" y="116"/>
                    <a:pt x="78" y="114"/>
                  </a:cubicBezTo>
                  <a:cubicBezTo>
                    <a:pt x="78" y="114"/>
                    <a:pt x="78" y="113"/>
                    <a:pt x="78" y="113"/>
                  </a:cubicBezTo>
                  <a:cubicBezTo>
                    <a:pt x="78" y="112"/>
                    <a:pt x="77" y="112"/>
                    <a:pt x="77" y="111"/>
                  </a:cubicBezTo>
                  <a:cubicBezTo>
                    <a:pt x="77" y="109"/>
                    <a:pt x="77" y="109"/>
                    <a:pt x="77" y="109"/>
                  </a:cubicBezTo>
                  <a:cubicBezTo>
                    <a:pt x="81" y="108"/>
                    <a:pt x="81" y="108"/>
                    <a:pt x="81" y="108"/>
                  </a:cubicBezTo>
                  <a:cubicBezTo>
                    <a:pt x="84" y="109"/>
                    <a:pt x="84" y="109"/>
                    <a:pt x="84" y="109"/>
                  </a:cubicBezTo>
                  <a:cubicBezTo>
                    <a:pt x="85" y="109"/>
                    <a:pt x="85" y="109"/>
                    <a:pt x="85" y="109"/>
                  </a:cubicBezTo>
                  <a:cubicBezTo>
                    <a:pt x="85" y="109"/>
                    <a:pt x="85" y="109"/>
                    <a:pt x="85" y="109"/>
                  </a:cubicBezTo>
                  <a:cubicBezTo>
                    <a:pt x="86" y="110"/>
                    <a:pt x="86" y="110"/>
                    <a:pt x="86" y="110"/>
                  </a:cubicBezTo>
                  <a:cubicBezTo>
                    <a:pt x="88" y="109"/>
                    <a:pt x="88" y="109"/>
                    <a:pt x="88" y="109"/>
                  </a:cubicBezTo>
                  <a:cubicBezTo>
                    <a:pt x="91" y="110"/>
                    <a:pt x="91" y="110"/>
                    <a:pt x="91" y="110"/>
                  </a:cubicBezTo>
                  <a:cubicBezTo>
                    <a:pt x="92" y="110"/>
                    <a:pt x="92" y="110"/>
                    <a:pt x="93" y="111"/>
                  </a:cubicBezTo>
                  <a:cubicBezTo>
                    <a:pt x="93" y="111"/>
                    <a:pt x="94" y="111"/>
                    <a:pt x="94" y="111"/>
                  </a:cubicBezTo>
                  <a:cubicBezTo>
                    <a:pt x="94" y="111"/>
                    <a:pt x="95" y="111"/>
                    <a:pt x="95" y="111"/>
                  </a:cubicBezTo>
                  <a:cubicBezTo>
                    <a:pt x="96" y="109"/>
                    <a:pt x="96" y="109"/>
                    <a:pt x="96" y="109"/>
                  </a:cubicBezTo>
                  <a:cubicBezTo>
                    <a:pt x="97" y="109"/>
                    <a:pt x="97" y="109"/>
                    <a:pt x="97" y="109"/>
                  </a:cubicBezTo>
                  <a:cubicBezTo>
                    <a:pt x="97" y="107"/>
                    <a:pt x="97" y="107"/>
                    <a:pt x="97" y="107"/>
                  </a:cubicBezTo>
                  <a:cubicBezTo>
                    <a:pt x="97" y="107"/>
                    <a:pt x="98" y="106"/>
                    <a:pt x="98" y="106"/>
                  </a:cubicBezTo>
                  <a:cubicBezTo>
                    <a:pt x="98" y="105"/>
                    <a:pt x="98" y="105"/>
                    <a:pt x="98" y="105"/>
                  </a:cubicBezTo>
                  <a:cubicBezTo>
                    <a:pt x="99" y="105"/>
                    <a:pt x="99" y="105"/>
                    <a:pt x="99" y="105"/>
                  </a:cubicBezTo>
                  <a:cubicBezTo>
                    <a:pt x="101" y="102"/>
                    <a:pt x="101" y="102"/>
                    <a:pt x="101" y="102"/>
                  </a:cubicBezTo>
                  <a:cubicBezTo>
                    <a:pt x="102" y="101"/>
                    <a:pt x="102" y="100"/>
                    <a:pt x="103" y="100"/>
                  </a:cubicBezTo>
                  <a:cubicBezTo>
                    <a:pt x="103" y="100"/>
                    <a:pt x="103" y="100"/>
                    <a:pt x="103" y="100"/>
                  </a:cubicBezTo>
                  <a:cubicBezTo>
                    <a:pt x="102" y="99"/>
                    <a:pt x="102" y="99"/>
                    <a:pt x="102" y="99"/>
                  </a:cubicBezTo>
                  <a:cubicBezTo>
                    <a:pt x="102" y="96"/>
                    <a:pt x="102" y="96"/>
                    <a:pt x="102" y="96"/>
                  </a:cubicBezTo>
                  <a:cubicBezTo>
                    <a:pt x="101" y="96"/>
                    <a:pt x="101" y="96"/>
                    <a:pt x="101" y="96"/>
                  </a:cubicBezTo>
                  <a:cubicBezTo>
                    <a:pt x="101" y="96"/>
                    <a:pt x="101" y="96"/>
                    <a:pt x="101" y="95"/>
                  </a:cubicBezTo>
                  <a:cubicBezTo>
                    <a:pt x="100" y="95"/>
                    <a:pt x="100" y="93"/>
                    <a:pt x="100" y="92"/>
                  </a:cubicBezTo>
                  <a:cubicBezTo>
                    <a:pt x="99" y="91"/>
                    <a:pt x="99" y="91"/>
                    <a:pt x="99" y="91"/>
                  </a:cubicBezTo>
                  <a:cubicBezTo>
                    <a:pt x="101" y="88"/>
                    <a:pt x="101" y="88"/>
                    <a:pt x="101" y="88"/>
                  </a:cubicBezTo>
                  <a:cubicBezTo>
                    <a:pt x="103" y="88"/>
                    <a:pt x="103" y="88"/>
                    <a:pt x="103" y="88"/>
                  </a:cubicBezTo>
                  <a:cubicBezTo>
                    <a:pt x="104" y="87"/>
                    <a:pt x="104" y="87"/>
                    <a:pt x="104" y="87"/>
                  </a:cubicBezTo>
                  <a:cubicBezTo>
                    <a:pt x="107" y="86"/>
                    <a:pt x="107" y="86"/>
                    <a:pt x="107" y="86"/>
                  </a:cubicBezTo>
                  <a:cubicBezTo>
                    <a:pt x="108" y="85"/>
                    <a:pt x="108" y="85"/>
                    <a:pt x="108" y="85"/>
                  </a:cubicBezTo>
                  <a:cubicBezTo>
                    <a:pt x="109" y="85"/>
                    <a:pt x="109" y="85"/>
                    <a:pt x="109" y="85"/>
                  </a:cubicBezTo>
                  <a:cubicBezTo>
                    <a:pt x="108" y="83"/>
                    <a:pt x="108" y="83"/>
                    <a:pt x="108" y="83"/>
                  </a:cubicBezTo>
                  <a:cubicBezTo>
                    <a:pt x="108" y="79"/>
                    <a:pt x="108" y="79"/>
                    <a:pt x="108" y="79"/>
                  </a:cubicBezTo>
                  <a:cubicBezTo>
                    <a:pt x="110" y="77"/>
                    <a:pt x="110" y="77"/>
                    <a:pt x="110" y="77"/>
                  </a:cubicBezTo>
                  <a:cubicBezTo>
                    <a:pt x="109" y="77"/>
                    <a:pt x="109" y="77"/>
                    <a:pt x="109" y="77"/>
                  </a:cubicBezTo>
                  <a:cubicBezTo>
                    <a:pt x="110" y="73"/>
                    <a:pt x="110" y="73"/>
                    <a:pt x="110" y="73"/>
                  </a:cubicBezTo>
                  <a:cubicBezTo>
                    <a:pt x="112" y="72"/>
                    <a:pt x="112" y="72"/>
                    <a:pt x="112" y="72"/>
                  </a:cubicBezTo>
                  <a:cubicBezTo>
                    <a:pt x="112" y="71"/>
                    <a:pt x="112" y="71"/>
                    <a:pt x="112" y="71"/>
                  </a:cubicBezTo>
                  <a:cubicBezTo>
                    <a:pt x="112" y="70"/>
                    <a:pt x="112" y="70"/>
                    <a:pt x="112" y="69"/>
                  </a:cubicBezTo>
                  <a:cubicBezTo>
                    <a:pt x="112" y="67"/>
                    <a:pt x="112" y="67"/>
                    <a:pt x="112" y="67"/>
                  </a:cubicBezTo>
                  <a:cubicBezTo>
                    <a:pt x="112" y="65"/>
                    <a:pt x="112" y="65"/>
                    <a:pt x="112" y="65"/>
                  </a:cubicBezTo>
                  <a:cubicBezTo>
                    <a:pt x="112" y="65"/>
                    <a:pt x="112" y="65"/>
                    <a:pt x="112" y="65"/>
                  </a:cubicBezTo>
                  <a:cubicBezTo>
                    <a:pt x="113" y="64"/>
                    <a:pt x="113" y="64"/>
                    <a:pt x="113" y="64"/>
                  </a:cubicBezTo>
                  <a:cubicBezTo>
                    <a:pt x="113" y="64"/>
                    <a:pt x="113" y="64"/>
                    <a:pt x="113" y="64"/>
                  </a:cubicBezTo>
                  <a:cubicBezTo>
                    <a:pt x="112" y="63"/>
                    <a:pt x="112" y="63"/>
                    <a:pt x="112" y="63"/>
                  </a:cubicBezTo>
                  <a:cubicBezTo>
                    <a:pt x="112" y="63"/>
                    <a:pt x="112" y="61"/>
                    <a:pt x="112" y="60"/>
                  </a:cubicBezTo>
                  <a:cubicBezTo>
                    <a:pt x="112" y="60"/>
                    <a:pt x="112" y="60"/>
                    <a:pt x="112" y="60"/>
                  </a:cubicBezTo>
                  <a:cubicBezTo>
                    <a:pt x="111" y="55"/>
                    <a:pt x="111" y="55"/>
                    <a:pt x="111" y="55"/>
                  </a:cubicBezTo>
                  <a:cubicBezTo>
                    <a:pt x="114" y="53"/>
                    <a:pt x="114" y="53"/>
                    <a:pt x="114" y="53"/>
                  </a:cubicBezTo>
                  <a:cubicBezTo>
                    <a:pt x="114" y="53"/>
                    <a:pt x="116" y="54"/>
                    <a:pt x="116" y="54"/>
                  </a:cubicBezTo>
                  <a:cubicBezTo>
                    <a:pt x="116" y="54"/>
                    <a:pt x="116" y="53"/>
                    <a:pt x="117" y="53"/>
                  </a:cubicBezTo>
                  <a:cubicBezTo>
                    <a:pt x="117" y="53"/>
                    <a:pt x="118" y="53"/>
                    <a:pt x="118" y="53"/>
                  </a:cubicBezTo>
                  <a:cubicBezTo>
                    <a:pt x="119" y="51"/>
                    <a:pt x="119" y="51"/>
                    <a:pt x="119" y="51"/>
                  </a:cubicBezTo>
                  <a:cubicBezTo>
                    <a:pt x="122" y="49"/>
                    <a:pt x="122" y="49"/>
                    <a:pt x="122" y="49"/>
                  </a:cubicBezTo>
                  <a:cubicBezTo>
                    <a:pt x="122" y="48"/>
                    <a:pt x="122" y="48"/>
                    <a:pt x="122" y="48"/>
                  </a:cubicBezTo>
                  <a:cubicBezTo>
                    <a:pt x="127" y="47"/>
                    <a:pt x="127" y="47"/>
                    <a:pt x="127" y="47"/>
                  </a:cubicBezTo>
                  <a:cubicBezTo>
                    <a:pt x="127" y="47"/>
                    <a:pt x="127" y="47"/>
                    <a:pt x="127" y="47"/>
                  </a:cubicBezTo>
                  <a:cubicBezTo>
                    <a:pt x="128" y="46"/>
                    <a:pt x="128" y="46"/>
                    <a:pt x="128" y="46"/>
                  </a:cubicBezTo>
                  <a:cubicBezTo>
                    <a:pt x="129" y="46"/>
                    <a:pt x="129" y="46"/>
                    <a:pt x="129" y="46"/>
                  </a:cubicBezTo>
                  <a:cubicBezTo>
                    <a:pt x="130" y="46"/>
                    <a:pt x="130" y="46"/>
                    <a:pt x="130" y="46"/>
                  </a:cubicBezTo>
                  <a:cubicBezTo>
                    <a:pt x="132" y="45"/>
                    <a:pt x="132" y="45"/>
                    <a:pt x="132" y="45"/>
                  </a:cubicBezTo>
                  <a:cubicBezTo>
                    <a:pt x="134" y="42"/>
                    <a:pt x="134" y="42"/>
                    <a:pt x="134" y="42"/>
                  </a:cubicBezTo>
                  <a:cubicBezTo>
                    <a:pt x="136" y="42"/>
                    <a:pt x="136" y="42"/>
                    <a:pt x="136" y="42"/>
                  </a:cubicBezTo>
                  <a:cubicBezTo>
                    <a:pt x="136" y="42"/>
                    <a:pt x="136" y="42"/>
                    <a:pt x="136" y="42"/>
                  </a:cubicBezTo>
                  <a:cubicBezTo>
                    <a:pt x="136" y="42"/>
                    <a:pt x="137" y="40"/>
                    <a:pt x="137" y="40"/>
                  </a:cubicBezTo>
                  <a:cubicBezTo>
                    <a:pt x="139" y="39"/>
                    <a:pt x="139" y="39"/>
                    <a:pt x="139" y="39"/>
                  </a:cubicBezTo>
                  <a:cubicBezTo>
                    <a:pt x="141" y="37"/>
                    <a:pt x="141" y="37"/>
                    <a:pt x="141" y="37"/>
                  </a:cubicBezTo>
                  <a:cubicBezTo>
                    <a:pt x="140" y="36"/>
                    <a:pt x="140" y="36"/>
                    <a:pt x="140" y="36"/>
                  </a:cubicBezTo>
                  <a:cubicBezTo>
                    <a:pt x="139" y="36"/>
                    <a:pt x="138" y="35"/>
                    <a:pt x="138" y="34"/>
                  </a:cubicBezTo>
                  <a:cubicBezTo>
                    <a:pt x="138" y="34"/>
                    <a:pt x="137" y="34"/>
                    <a:pt x="137" y="33"/>
                  </a:cubicBezTo>
                  <a:cubicBezTo>
                    <a:pt x="136" y="33"/>
                    <a:pt x="136" y="33"/>
                    <a:pt x="136" y="33"/>
                  </a:cubicBezTo>
                  <a:cubicBezTo>
                    <a:pt x="136" y="33"/>
                    <a:pt x="135" y="33"/>
                    <a:pt x="135" y="34"/>
                  </a:cubicBezTo>
                  <a:cubicBezTo>
                    <a:pt x="134" y="34"/>
                    <a:pt x="134" y="34"/>
                    <a:pt x="134" y="34"/>
                  </a:cubicBezTo>
                  <a:cubicBezTo>
                    <a:pt x="131" y="32"/>
                    <a:pt x="131" y="32"/>
                    <a:pt x="131" y="32"/>
                  </a:cubicBezTo>
                  <a:cubicBezTo>
                    <a:pt x="131" y="31"/>
                    <a:pt x="131" y="31"/>
                    <a:pt x="131" y="31"/>
                  </a:cubicBezTo>
                  <a:cubicBezTo>
                    <a:pt x="130" y="30"/>
                    <a:pt x="130" y="29"/>
                    <a:pt x="131" y="28"/>
                  </a:cubicBezTo>
                  <a:cubicBezTo>
                    <a:pt x="130" y="27"/>
                    <a:pt x="130" y="27"/>
                    <a:pt x="130" y="27"/>
                  </a:cubicBezTo>
                  <a:cubicBezTo>
                    <a:pt x="132" y="25"/>
                    <a:pt x="132" y="25"/>
                    <a:pt x="132" y="25"/>
                  </a:cubicBezTo>
                  <a:cubicBezTo>
                    <a:pt x="132" y="25"/>
                    <a:pt x="133" y="24"/>
                    <a:pt x="133" y="24"/>
                  </a:cubicBezTo>
                  <a:cubicBezTo>
                    <a:pt x="133" y="23"/>
                    <a:pt x="133" y="23"/>
                    <a:pt x="133" y="23"/>
                  </a:cubicBezTo>
                  <a:cubicBezTo>
                    <a:pt x="133" y="23"/>
                    <a:pt x="133" y="23"/>
                    <a:pt x="133" y="23"/>
                  </a:cubicBezTo>
                  <a:cubicBezTo>
                    <a:pt x="132" y="22"/>
                    <a:pt x="132" y="22"/>
                    <a:pt x="132" y="22"/>
                  </a:cubicBezTo>
                  <a:cubicBezTo>
                    <a:pt x="132" y="22"/>
                    <a:pt x="132" y="21"/>
                    <a:pt x="132" y="21"/>
                  </a:cubicBezTo>
                  <a:cubicBezTo>
                    <a:pt x="131" y="20"/>
                    <a:pt x="130" y="20"/>
                    <a:pt x="129" y="20"/>
                  </a:cubicBezTo>
                  <a:cubicBezTo>
                    <a:pt x="129" y="20"/>
                    <a:pt x="128" y="20"/>
                    <a:pt x="128" y="19"/>
                  </a:cubicBezTo>
                  <a:cubicBezTo>
                    <a:pt x="128" y="19"/>
                    <a:pt x="128" y="19"/>
                    <a:pt x="128" y="19"/>
                  </a:cubicBezTo>
                  <a:cubicBezTo>
                    <a:pt x="124" y="19"/>
                    <a:pt x="124" y="19"/>
                    <a:pt x="124" y="19"/>
                  </a:cubicBezTo>
                  <a:cubicBezTo>
                    <a:pt x="123" y="19"/>
                    <a:pt x="123" y="18"/>
                    <a:pt x="122" y="18"/>
                  </a:cubicBezTo>
                  <a:cubicBezTo>
                    <a:pt x="121" y="18"/>
                    <a:pt x="121" y="17"/>
                    <a:pt x="121" y="17"/>
                  </a:cubicBezTo>
                  <a:cubicBezTo>
                    <a:pt x="120" y="17"/>
                    <a:pt x="120" y="17"/>
                    <a:pt x="120" y="17"/>
                  </a:cubicBezTo>
                  <a:cubicBezTo>
                    <a:pt x="119" y="17"/>
                    <a:pt x="119" y="17"/>
                    <a:pt x="119" y="17"/>
                  </a:cubicBezTo>
                  <a:cubicBezTo>
                    <a:pt x="119" y="17"/>
                    <a:pt x="119" y="17"/>
                    <a:pt x="119" y="17"/>
                  </a:cubicBezTo>
                  <a:cubicBezTo>
                    <a:pt x="118" y="16"/>
                    <a:pt x="117" y="16"/>
                    <a:pt x="117" y="15"/>
                  </a:cubicBezTo>
                  <a:cubicBezTo>
                    <a:pt x="116" y="17"/>
                    <a:pt x="116" y="17"/>
                    <a:pt x="116" y="17"/>
                  </a:cubicBezTo>
                  <a:cubicBezTo>
                    <a:pt x="114" y="20"/>
                    <a:pt x="114" y="20"/>
                    <a:pt x="114" y="20"/>
                  </a:cubicBezTo>
                  <a:cubicBezTo>
                    <a:pt x="114" y="20"/>
                    <a:pt x="112" y="20"/>
                    <a:pt x="111" y="20"/>
                  </a:cubicBezTo>
                  <a:cubicBezTo>
                    <a:pt x="109" y="20"/>
                    <a:pt x="109" y="20"/>
                    <a:pt x="109" y="20"/>
                  </a:cubicBezTo>
                  <a:cubicBezTo>
                    <a:pt x="109" y="20"/>
                    <a:pt x="109" y="20"/>
                    <a:pt x="109" y="20"/>
                  </a:cubicBezTo>
                  <a:cubicBezTo>
                    <a:pt x="109" y="20"/>
                    <a:pt x="108" y="20"/>
                    <a:pt x="108" y="20"/>
                  </a:cubicBezTo>
                  <a:cubicBezTo>
                    <a:pt x="107" y="20"/>
                    <a:pt x="106" y="20"/>
                    <a:pt x="106" y="20"/>
                  </a:cubicBezTo>
                  <a:cubicBezTo>
                    <a:pt x="105" y="20"/>
                    <a:pt x="104" y="19"/>
                    <a:pt x="103" y="18"/>
                  </a:cubicBezTo>
                  <a:cubicBezTo>
                    <a:pt x="103" y="18"/>
                    <a:pt x="102" y="19"/>
                    <a:pt x="101" y="19"/>
                  </a:cubicBezTo>
                  <a:cubicBezTo>
                    <a:pt x="100" y="19"/>
                    <a:pt x="100" y="19"/>
                    <a:pt x="100" y="19"/>
                  </a:cubicBezTo>
                  <a:cubicBezTo>
                    <a:pt x="100" y="19"/>
                    <a:pt x="100" y="19"/>
                    <a:pt x="100" y="19"/>
                  </a:cubicBezTo>
                  <a:cubicBezTo>
                    <a:pt x="99" y="18"/>
                    <a:pt x="98" y="17"/>
                    <a:pt x="98" y="15"/>
                  </a:cubicBezTo>
                  <a:cubicBezTo>
                    <a:pt x="98" y="14"/>
                    <a:pt x="97" y="14"/>
                    <a:pt x="97" y="14"/>
                  </a:cubicBezTo>
                  <a:cubicBezTo>
                    <a:pt x="97" y="14"/>
                    <a:pt x="96" y="14"/>
                    <a:pt x="96" y="14"/>
                  </a:cubicBezTo>
                  <a:cubicBezTo>
                    <a:pt x="95" y="14"/>
                    <a:pt x="95" y="14"/>
                    <a:pt x="95" y="14"/>
                  </a:cubicBezTo>
                  <a:cubicBezTo>
                    <a:pt x="95" y="14"/>
                    <a:pt x="94" y="14"/>
                    <a:pt x="94" y="14"/>
                  </a:cubicBezTo>
                  <a:cubicBezTo>
                    <a:pt x="94" y="14"/>
                    <a:pt x="94" y="14"/>
                    <a:pt x="94" y="14"/>
                  </a:cubicBezTo>
                  <a:cubicBezTo>
                    <a:pt x="93" y="15"/>
                    <a:pt x="92" y="15"/>
                    <a:pt x="92" y="15"/>
                  </a:cubicBezTo>
                  <a:cubicBezTo>
                    <a:pt x="91" y="15"/>
                    <a:pt x="91" y="15"/>
                    <a:pt x="91" y="15"/>
                  </a:cubicBezTo>
                  <a:cubicBezTo>
                    <a:pt x="91" y="15"/>
                    <a:pt x="91" y="15"/>
                    <a:pt x="91" y="15"/>
                  </a:cubicBezTo>
                  <a:cubicBezTo>
                    <a:pt x="90" y="14"/>
                    <a:pt x="90" y="14"/>
                    <a:pt x="90" y="13"/>
                  </a:cubicBezTo>
                  <a:cubicBezTo>
                    <a:pt x="89" y="14"/>
                    <a:pt x="89" y="14"/>
                    <a:pt x="89" y="14"/>
                  </a:cubicBezTo>
                  <a:cubicBezTo>
                    <a:pt x="88" y="14"/>
                    <a:pt x="88" y="14"/>
                    <a:pt x="88" y="14"/>
                  </a:cubicBezTo>
                  <a:cubicBezTo>
                    <a:pt x="88" y="14"/>
                    <a:pt x="88" y="14"/>
                    <a:pt x="88" y="14"/>
                  </a:cubicBezTo>
                  <a:cubicBezTo>
                    <a:pt x="87" y="14"/>
                    <a:pt x="87" y="14"/>
                    <a:pt x="86" y="15"/>
                  </a:cubicBezTo>
                  <a:cubicBezTo>
                    <a:pt x="85" y="15"/>
                    <a:pt x="84" y="15"/>
                    <a:pt x="84" y="15"/>
                  </a:cubicBezTo>
                  <a:cubicBezTo>
                    <a:pt x="83" y="15"/>
                    <a:pt x="82" y="14"/>
                    <a:pt x="82" y="14"/>
                  </a:cubicBezTo>
                  <a:cubicBezTo>
                    <a:pt x="80" y="13"/>
                    <a:pt x="80" y="12"/>
                    <a:pt x="80" y="11"/>
                  </a:cubicBezTo>
                  <a:cubicBezTo>
                    <a:pt x="80" y="11"/>
                    <a:pt x="80" y="11"/>
                    <a:pt x="80" y="11"/>
                  </a:cubicBezTo>
                  <a:cubicBezTo>
                    <a:pt x="80" y="10"/>
                    <a:pt x="80" y="10"/>
                    <a:pt x="80" y="10"/>
                  </a:cubicBezTo>
                  <a:cubicBezTo>
                    <a:pt x="80" y="10"/>
                    <a:pt x="80" y="10"/>
                    <a:pt x="80" y="10"/>
                  </a:cubicBezTo>
                  <a:cubicBezTo>
                    <a:pt x="80" y="10"/>
                    <a:pt x="80" y="10"/>
                    <a:pt x="80" y="10"/>
                  </a:cubicBezTo>
                  <a:cubicBezTo>
                    <a:pt x="79" y="9"/>
                    <a:pt x="79" y="9"/>
                    <a:pt x="79" y="9"/>
                  </a:cubicBezTo>
                  <a:cubicBezTo>
                    <a:pt x="79" y="8"/>
                    <a:pt x="79" y="7"/>
                    <a:pt x="80" y="6"/>
                  </a:cubicBezTo>
                  <a:cubicBezTo>
                    <a:pt x="80" y="5"/>
                    <a:pt x="81" y="5"/>
                    <a:pt x="81" y="5"/>
                  </a:cubicBezTo>
                  <a:cubicBezTo>
                    <a:pt x="81" y="5"/>
                    <a:pt x="81" y="4"/>
                    <a:pt x="81" y="4"/>
                  </a:cubicBezTo>
                  <a:cubicBezTo>
                    <a:pt x="82" y="4"/>
                    <a:pt x="83" y="3"/>
                    <a:pt x="84" y="3"/>
                  </a:cubicBezTo>
                  <a:cubicBezTo>
                    <a:pt x="84" y="3"/>
                    <a:pt x="84" y="3"/>
                    <a:pt x="84" y="3"/>
                  </a:cubicBezTo>
                  <a:cubicBezTo>
                    <a:pt x="83" y="2"/>
                    <a:pt x="83" y="2"/>
                    <a:pt x="83" y="1"/>
                  </a:cubicBezTo>
                  <a:cubicBezTo>
                    <a:pt x="82" y="0"/>
                    <a:pt x="82" y="0"/>
                    <a:pt x="82" y="0"/>
                  </a:cubicBezTo>
                  <a:cubicBezTo>
                    <a:pt x="81" y="0"/>
                    <a:pt x="81" y="0"/>
                    <a:pt x="81" y="0"/>
                  </a:cubicBezTo>
                  <a:cubicBezTo>
                    <a:pt x="81" y="0"/>
                    <a:pt x="80" y="1"/>
                    <a:pt x="79" y="1"/>
                  </a:cubicBezTo>
                  <a:cubicBezTo>
                    <a:pt x="79" y="1"/>
                    <a:pt x="79" y="1"/>
                    <a:pt x="79" y="1"/>
                  </a:cubicBezTo>
                  <a:cubicBezTo>
                    <a:pt x="79" y="1"/>
                    <a:pt x="79" y="1"/>
                    <a:pt x="79" y="1"/>
                  </a:cubicBezTo>
                  <a:cubicBezTo>
                    <a:pt x="77" y="1"/>
                    <a:pt x="77" y="1"/>
                    <a:pt x="76" y="1"/>
                  </a:cubicBezTo>
                  <a:cubicBezTo>
                    <a:pt x="76" y="1"/>
                    <a:pt x="75" y="1"/>
                    <a:pt x="75" y="0"/>
                  </a:cubicBezTo>
                  <a:cubicBezTo>
                    <a:pt x="74" y="0"/>
                    <a:pt x="74" y="0"/>
                    <a:pt x="74" y="0"/>
                  </a:cubicBezTo>
                  <a:cubicBezTo>
                    <a:pt x="74" y="0"/>
                    <a:pt x="73" y="1"/>
                    <a:pt x="73" y="1"/>
                  </a:cubicBezTo>
                  <a:cubicBezTo>
                    <a:pt x="72" y="1"/>
                    <a:pt x="72" y="1"/>
                    <a:pt x="72" y="1"/>
                  </a:cubicBezTo>
                  <a:cubicBezTo>
                    <a:pt x="71" y="1"/>
                    <a:pt x="71" y="1"/>
                    <a:pt x="71" y="1"/>
                  </a:cubicBezTo>
                  <a:cubicBezTo>
                    <a:pt x="70" y="1"/>
                    <a:pt x="70" y="1"/>
                    <a:pt x="70" y="1"/>
                  </a:cubicBezTo>
                  <a:cubicBezTo>
                    <a:pt x="70" y="1"/>
                    <a:pt x="70" y="1"/>
                    <a:pt x="70" y="1"/>
                  </a:cubicBezTo>
                  <a:cubicBezTo>
                    <a:pt x="69" y="1"/>
                    <a:pt x="69" y="1"/>
                    <a:pt x="69" y="1"/>
                  </a:cubicBezTo>
                  <a:cubicBezTo>
                    <a:pt x="69" y="2"/>
                    <a:pt x="69" y="2"/>
                    <a:pt x="69" y="2"/>
                  </a:cubicBezTo>
                  <a:cubicBezTo>
                    <a:pt x="68" y="2"/>
                    <a:pt x="67" y="3"/>
                    <a:pt x="66" y="3"/>
                  </a:cubicBezTo>
                  <a:cubicBezTo>
                    <a:pt x="66" y="3"/>
                    <a:pt x="66" y="3"/>
                    <a:pt x="66" y="3"/>
                  </a:cubicBezTo>
                  <a:cubicBezTo>
                    <a:pt x="65" y="3"/>
                    <a:pt x="65" y="3"/>
                    <a:pt x="65" y="3"/>
                  </a:cubicBezTo>
                  <a:cubicBezTo>
                    <a:pt x="65" y="4"/>
                    <a:pt x="64" y="4"/>
                    <a:pt x="64" y="4"/>
                  </a:cubicBezTo>
                  <a:cubicBezTo>
                    <a:pt x="64" y="4"/>
                    <a:pt x="64" y="4"/>
                    <a:pt x="64" y="4"/>
                  </a:cubicBezTo>
                  <a:cubicBezTo>
                    <a:pt x="64" y="4"/>
                    <a:pt x="63" y="5"/>
                    <a:pt x="62" y="5"/>
                  </a:cubicBezTo>
                  <a:cubicBezTo>
                    <a:pt x="60" y="7"/>
                    <a:pt x="60" y="7"/>
                    <a:pt x="60" y="7"/>
                  </a:cubicBezTo>
                  <a:cubicBezTo>
                    <a:pt x="59" y="5"/>
                    <a:pt x="59" y="5"/>
                    <a:pt x="59" y="5"/>
                  </a:cubicBezTo>
                  <a:cubicBezTo>
                    <a:pt x="59" y="5"/>
                    <a:pt x="59" y="5"/>
                    <a:pt x="59" y="5"/>
                  </a:cubicBezTo>
                  <a:cubicBezTo>
                    <a:pt x="59" y="7"/>
                    <a:pt x="59" y="7"/>
                    <a:pt x="59" y="7"/>
                  </a:cubicBezTo>
                  <a:cubicBezTo>
                    <a:pt x="59" y="9"/>
                    <a:pt x="59" y="9"/>
                    <a:pt x="59" y="9"/>
                  </a:cubicBezTo>
                  <a:cubicBezTo>
                    <a:pt x="59" y="11"/>
                    <a:pt x="59" y="11"/>
                    <a:pt x="59" y="11"/>
                  </a:cubicBezTo>
                  <a:cubicBezTo>
                    <a:pt x="59" y="12"/>
                    <a:pt x="59" y="12"/>
                    <a:pt x="59" y="12"/>
                  </a:cubicBezTo>
                  <a:cubicBezTo>
                    <a:pt x="59" y="14"/>
                    <a:pt x="59" y="14"/>
                    <a:pt x="59" y="14"/>
                  </a:cubicBezTo>
                  <a:cubicBezTo>
                    <a:pt x="59" y="16"/>
                    <a:pt x="59" y="16"/>
                    <a:pt x="59" y="16"/>
                  </a:cubicBezTo>
                  <a:cubicBezTo>
                    <a:pt x="59" y="18"/>
                    <a:pt x="59" y="18"/>
                    <a:pt x="59" y="18"/>
                  </a:cubicBezTo>
                  <a:cubicBezTo>
                    <a:pt x="59" y="19"/>
                    <a:pt x="59" y="19"/>
                    <a:pt x="59" y="19"/>
                  </a:cubicBezTo>
                  <a:cubicBezTo>
                    <a:pt x="59" y="21"/>
                    <a:pt x="59" y="21"/>
                    <a:pt x="59" y="21"/>
                  </a:cubicBezTo>
                  <a:cubicBezTo>
                    <a:pt x="57" y="23"/>
                    <a:pt x="57" y="23"/>
                    <a:pt x="57" y="23"/>
                  </a:cubicBezTo>
                  <a:cubicBezTo>
                    <a:pt x="57" y="25"/>
                    <a:pt x="57" y="25"/>
                    <a:pt x="57" y="25"/>
                  </a:cubicBezTo>
                  <a:cubicBezTo>
                    <a:pt x="57" y="27"/>
                    <a:pt x="57" y="27"/>
                    <a:pt x="57" y="27"/>
                  </a:cubicBezTo>
                  <a:cubicBezTo>
                    <a:pt x="58" y="28"/>
                    <a:pt x="58" y="28"/>
                    <a:pt x="58" y="28"/>
                  </a:cubicBezTo>
                  <a:cubicBezTo>
                    <a:pt x="57" y="31"/>
                    <a:pt x="57" y="31"/>
                    <a:pt x="57" y="31"/>
                  </a:cubicBezTo>
                  <a:cubicBezTo>
                    <a:pt x="58" y="36"/>
                    <a:pt x="58" y="36"/>
                    <a:pt x="58" y="36"/>
                  </a:cubicBezTo>
                  <a:cubicBezTo>
                    <a:pt x="58" y="41"/>
                    <a:pt x="58" y="41"/>
                    <a:pt x="58" y="41"/>
                  </a:cubicBezTo>
                  <a:cubicBezTo>
                    <a:pt x="56" y="46"/>
                    <a:pt x="56" y="46"/>
                    <a:pt x="56" y="46"/>
                  </a:cubicBezTo>
                  <a:cubicBezTo>
                    <a:pt x="53" y="51"/>
                    <a:pt x="53" y="51"/>
                    <a:pt x="53" y="51"/>
                  </a:cubicBezTo>
                  <a:cubicBezTo>
                    <a:pt x="51" y="57"/>
                    <a:pt x="51" y="57"/>
                    <a:pt x="51" y="57"/>
                  </a:cubicBezTo>
                  <a:cubicBezTo>
                    <a:pt x="46" y="66"/>
                    <a:pt x="46" y="66"/>
                    <a:pt x="46" y="66"/>
                  </a:cubicBezTo>
                  <a:cubicBezTo>
                    <a:pt x="42" y="72"/>
                    <a:pt x="42" y="72"/>
                    <a:pt x="42" y="72"/>
                  </a:cubicBezTo>
                  <a:cubicBezTo>
                    <a:pt x="40" y="76"/>
                    <a:pt x="40" y="76"/>
                    <a:pt x="40" y="76"/>
                  </a:cubicBezTo>
                  <a:cubicBezTo>
                    <a:pt x="41" y="77"/>
                    <a:pt x="41" y="77"/>
                    <a:pt x="41" y="77"/>
                  </a:cubicBezTo>
                  <a:cubicBezTo>
                    <a:pt x="34" y="89"/>
                    <a:pt x="34" y="89"/>
                    <a:pt x="34" y="89"/>
                  </a:cubicBezTo>
                  <a:cubicBezTo>
                    <a:pt x="30" y="94"/>
                    <a:pt x="30" y="94"/>
                    <a:pt x="30" y="94"/>
                  </a:cubicBezTo>
                  <a:cubicBezTo>
                    <a:pt x="30" y="94"/>
                    <a:pt x="28" y="97"/>
                    <a:pt x="28" y="97"/>
                  </a:cubicBezTo>
                  <a:cubicBezTo>
                    <a:pt x="28" y="98"/>
                    <a:pt x="27" y="99"/>
                    <a:pt x="27" y="99"/>
                  </a:cubicBezTo>
                  <a:cubicBezTo>
                    <a:pt x="27" y="100"/>
                    <a:pt x="26" y="100"/>
                    <a:pt x="26" y="100"/>
                  </a:cubicBezTo>
                  <a:cubicBezTo>
                    <a:pt x="25" y="101"/>
                    <a:pt x="25" y="101"/>
                    <a:pt x="25" y="101"/>
                  </a:cubicBezTo>
                  <a:cubicBezTo>
                    <a:pt x="25" y="101"/>
                    <a:pt x="25" y="101"/>
                    <a:pt x="25" y="102"/>
                  </a:cubicBezTo>
                  <a:cubicBezTo>
                    <a:pt x="24" y="103"/>
                    <a:pt x="24" y="103"/>
                    <a:pt x="24" y="103"/>
                  </a:cubicBezTo>
                  <a:cubicBezTo>
                    <a:pt x="24" y="103"/>
                    <a:pt x="22" y="104"/>
                    <a:pt x="22" y="104"/>
                  </a:cubicBezTo>
                  <a:cubicBezTo>
                    <a:pt x="22" y="104"/>
                    <a:pt x="21" y="104"/>
                    <a:pt x="21" y="104"/>
                  </a:cubicBezTo>
                  <a:cubicBezTo>
                    <a:pt x="20" y="104"/>
                    <a:pt x="19" y="105"/>
                    <a:pt x="19" y="106"/>
                  </a:cubicBezTo>
                  <a:cubicBezTo>
                    <a:pt x="18" y="106"/>
                    <a:pt x="17" y="106"/>
                    <a:pt x="17" y="106"/>
                  </a:cubicBezTo>
                  <a:cubicBezTo>
                    <a:pt x="16" y="106"/>
                    <a:pt x="16" y="106"/>
                    <a:pt x="16" y="106"/>
                  </a:cubicBezTo>
                  <a:cubicBezTo>
                    <a:pt x="14" y="107"/>
                    <a:pt x="14" y="107"/>
                    <a:pt x="14" y="107"/>
                  </a:cubicBezTo>
                  <a:cubicBezTo>
                    <a:pt x="15" y="108"/>
                    <a:pt x="15" y="108"/>
                    <a:pt x="15" y="108"/>
                  </a:cubicBezTo>
                  <a:cubicBezTo>
                    <a:pt x="15" y="109"/>
                    <a:pt x="15" y="109"/>
                    <a:pt x="15" y="109"/>
                  </a:cubicBezTo>
                  <a:cubicBezTo>
                    <a:pt x="15" y="109"/>
                    <a:pt x="15" y="112"/>
                    <a:pt x="15" y="112"/>
                  </a:cubicBezTo>
                  <a:cubicBezTo>
                    <a:pt x="15" y="112"/>
                    <a:pt x="14" y="114"/>
                    <a:pt x="14" y="114"/>
                  </a:cubicBezTo>
                  <a:cubicBezTo>
                    <a:pt x="14" y="114"/>
                    <a:pt x="12" y="116"/>
                    <a:pt x="12" y="116"/>
                  </a:cubicBezTo>
                  <a:cubicBezTo>
                    <a:pt x="12" y="116"/>
                    <a:pt x="11" y="118"/>
                    <a:pt x="11" y="118"/>
                  </a:cubicBezTo>
                  <a:cubicBezTo>
                    <a:pt x="11" y="118"/>
                    <a:pt x="10" y="119"/>
                    <a:pt x="10" y="119"/>
                  </a:cubicBezTo>
                  <a:cubicBezTo>
                    <a:pt x="10" y="120"/>
                    <a:pt x="9" y="121"/>
                    <a:pt x="9" y="121"/>
                  </a:cubicBezTo>
                  <a:cubicBezTo>
                    <a:pt x="9" y="122"/>
                    <a:pt x="9" y="123"/>
                    <a:pt x="9" y="123"/>
                  </a:cubicBezTo>
                  <a:cubicBezTo>
                    <a:pt x="8" y="126"/>
                    <a:pt x="8" y="126"/>
                    <a:pt x="8" y="126"/>
                  </a:cubicBezTo>
                  <a:cubicBezTo>
                    <a:pt x="8" y="126"/>
                    <a:pt x="8" y="126"/>
                    <a:pt x="7" y="127"/>
                  </a:cubicBezTo>
                  <a:cubicBezTo>
                    <a:pt x="6" y="127"/>
                    <a:pt x="6" y="128"/>
                    <a:pt x="5" y="129"/>
                  </a:cubicBezTo>
                  <a:cubicBezTo>
                    <a:pt x="5" y="129"/>
                    <a:pt x="5" y="130"/>
                    <a:pt x="4" y="131"/>
                  </a:cubicBezTo>
                  <a:cubicBezTo>
                    <a:pt x="4" y="132"/>
                    <a:pt x="4" y="132"/>
                    <a:pt x="4" y="132"/>
                  </a:cubicBezTo>
                  <a:cubicBezTo>
                    <a:pt x="4" y="133"/>
                    <a:pt x="4" y="134"/>
                    <a:pt x="4" y="134"/>
                  </a:cubicBezTo>
                  <a:cubicBezTo>
                    <a:pt x="4" y="134"/>
                    <a:pt x="6" y="135"/>
                    <a:pt x="6" y="135"/>
                  </a:cubicBezTo>
                  <a:cubicBezTo>
                    <a:pt x="7" y="136"/>
                    <a:pt x="7" y="136"/>
                    <a:pt x="7" y="136"/>
                  </a:cubicBezTo>
                  <a:cubicBezTo>
                    <a:pt x="8" y="137"/>
                    <a:pt x="8" y="137"/>
                    <a:pt x="8" y="137"/>
                  </a:cubicBezTo>
                  <a:cubicBezTo>
                    <a:pt x="8" y="137"/>
                    <a:pt x="9" y="136"/>
                    <a:pt x="9" y="136"/>
                  </a:cubicBezTo>
                  <a:cubicBezTo>
                    <a:pt x="10" y="136"/>
                    <a:pt x="11" y="136"/>
                    <a:pt x="11" y="136"/>
                  </a:cubicBezTo>
                  <a:cubicBezTo>
                    <a:pt x="12" y="137"/>
                    <a:pt x="12" y="137"/>
                    <a:pt x="12" y="137"/>
                  </a:cubicBezTo>
                  <a:cubicBezTo>
                    <a:pt x="12" y="137"/>
                    <a:pt x="11" y="137"/>
                    <a:pt x="11" y="138"/>
                  </a:cubicBezTo>
                  <a:cubicBezTo>
                    <a:pt x="10" y="138"/>
                    <a:pt x="11" y="139"/>
                    <a:pt x="11" y="139"/>
                  </a:cubicBezTo>
                  <a:cubicBezTo>
                    <a:pt x="11" y="139"/>
                    <a:pt x="12" y="142"/>
                    <a:pt x="12" y="142"/>
                  </a:cubicBezTo>
                  <a:cubicBezTo>
                    <a:pt x="12" y="142"/>
                    <a:pt x="12" y="144"/>
                    <a:pt x="12" y="145"/>
                  </a:cubicBezTo>
                  <a:cubicBezTo>
                    <a:pt x="12" y="145"/>
                    <a:pt x="12" y="145"/>
                    <a:pt x="12" y="145"/>
                  </a:cubicBezTo>
                  <a:cubicBezTo>
                    <a:pt x="12" y="145"/>
                    <a:pt x="10" y="148"/>
                    <a:pt x="9" y="148"/>
                  </a:cubicBezTo>
                  <a:cubicBezTo>
                    <a:pt x="9" y="149"/>
                    <a:pt x="10" y="149"/>
                    <a:pt x="10" y="149"/>
                  </a:cubicBezTo>
                  <a:cubicBezTo>
                    <a:pt x="11" y="149"/>
                    <a:pt x="12" y="148"/>
                    <a:pt x="12" y="148"/>
                  </a:cubicBezTo>
                  <a:cubicBezTo>
                    <a:pt x="14" y="149"/>
                    <a:pt x="14" y="149"/>
                    <a:pt x="14" y="149"/>
                  </a:cubicBezTo>
                  <a:cubicBezTo>
                    <a:pt x="16" y="148"/>
                    <a:pt x="16" y="148"/>
                    <a:pt x="16" y="148"/>
                  </a:cubicBezTo>
                  <a:cubicBezTo>
                    <a:pt x="16" y="148"/>
                    <a:pt x="19" y="148"/>
                    <a:pt x="19" y="148"/>
                  </a:cubicBezTo>
                  <a:cubicBezTo>
                    <a:pt x="20" y="148"/>
                    <a:pt x="20" y="148"/>
                    <a:pt x="20" y="148"/>
                  </a:cubicBezTo>
                  <a:cubicBezTo>
                    <a:pt x="22" y="147"/>
                    <a:pt x="22" y="147"/>
                    <a:pt x="22" y="147"/>
                  </a:cubicBezTo>
                  <a:cubicBezTo>
                    <a:pt x="22" y="150"/>
                    <a:pt x="22" y="150"/>
                    <a:pt x="22" y="150"/>
                  </a:cubicBezTo>
                  <a:cubicBezTo>
                    <a:pt x="22" y="150"/>
                    <a:pt x="23" y="151"/>
                    <a:pt x="23" y="151"/>
                  </a:cubicBezTo>
                  <a:cubicBezTo>
                    <a:pt x="23" y="151"/>
                    <a:pt x="23" y="152"/>
                    <a:pt x="23" y="152"/>
                  </a:cubicBezTo>
                  <a:cubicBezTo>
                    <a:pt x="23" y="152"/>
                    <a:pt x="23" y="154"/>
                    <a:pt x="23" y="155"/>
                  </a:cubicBezTo>
                  <a:cubicBezTo>
                    <a:pt x="23" y="155"/>
                    <a:pt x="23" y="157"/>
                    <a:pt x="23" y="157"/>
                  </a:cubicBezTo>
                  <a:cubicBezTo>
                    <a:pt x="22" y="161"/>
                    <a:pt x="22" y="161"/>
                    <a:pt x="22" y="161"/>
                  </a:cubicBezTo>
                  <a:cubicBezTo>
                    <a:pt x="20" y="165"/>
                    <a:pt x="20" y="165"/>
                    <a:pt x="20" y="165"/>
                  </a:cubicBezTo>
                  <a:cubicBezTo>
                    <a:pt x="18" y="169"/>
                    <a:pt x="18" y="169"/>
                    <a:pt x="18" y="169"/>
                  </a:cubicBezTo>
                  <a:cubicBezTo>
                    <a:pt x="16" y="172"/>
                    <a:pt x="16" y="172"/>
                    <a:pt x="16" y="172"/>
                  </a:cubicBezTo>
                  <a:cubicBezTo>
                    <a:pt x="18" y="175"/>
                    <a:pt x="18" y="175"/>
                    <a:pt x="18" y="175"/>
                  </a:cubicBezTo>
                  <a:cubicBezTo>
                    <a:pt x="18" y="175"/>
                    <a:pt x="18" y="177"/>
                    <a:pt x="17" y="178"/>
                  </a:cubicBezTo>
                  <a:cubicBezTo>
                    <a:pt x="17" y="178"/>
                    <a:pt x="16" y="180"/>
                    <a:pt x="16" y="180"/>
                  </a:cubicBezTo>
                  <a:cubicBezTo>
                    <a:pt x="16" y="180"/>
                    <a:pt x="15" y="183"/>
                    <a:pt x="15" y="184"/>
                  </a:cubicBezTo>
                  <a:cubicBezTo>
                    <a:pt x="15" y="185"/>
                    <a:pt x="14" y="187"/>
                    <a:pt x="14" y="187"/>
                  </a:cubicBezTo>
                  <a:cubicBezTo>
                    <a:pt x="14" y="187"/>
                    <a:pt x="14" y="190"/>
                    <a:pt x="14" y="190"/>
                  </a:cubicBezTo>
                  <a:cubicBezTo>
                    <a:pt x="14" y="191"/>
                    <a:pt x="13" y="192"/>
                    <a:pt x="13" y="192"/>
                  </a:cubicBezTo>
                  <a:cubicBezTo>
                    <a:pt x="13" y="193"/>
                    <a:pt x="12" y="194"/>
                    <a:pt x="12" y="195"/>
                  </a:cubicBezTo>
                  <a:cubicBezTo>
                    <a:pt x="12" y="196"/>
                    <a:pt x="11" y="196"/>
                    <a:pt x="11" y="196"/>
                  </a:cubicBezTo>
                  <a:cubicBezTo>
                    <a:pt x="9" y="199"/>
                    <a:pt x="9" y="199"/>
                    <a:pt x="9" y="199"/>
                  </a:cubicBezTo>
                  <a:cubicBezTo>
                    <a:pt x="9" y="202"/>
                    <a:pt x="9" y="202"/>
                    <a:pt x="9" y="202"/>
                  </a:cubicBezTo>
                  <a:cubicBezTo>
                    <a:pt x="6" y="203"/>
                    <a:pt x="6" y="203"/>
                    <a:pt x="6" y="203"/>
                  </a:cubicBezTo>
                  <a:cubicBezTo>
                    <a:pt x="6" y="206"/>
                    <a:pt x="6" y="206"/>
                    <a:pt x="6" y="206"/>
                  </a:cubicBezTo>
                  <a:cubicBezTo>
                    <a:pt x="4" y="207"/>
                    <a:pt x="4" y="207"/>
                    <a:pt x="4" y="207"/>
                  </a:cubicBezTo>
                  <a:cubicBezTo>
                    <a:pt x="2" y="209"/>
                    <a:pt x="2" y="209"/>
                    <a:pt x="2" y="209"/>
                  </a:cubicBezTo>
                  <a:cubicBezTo>
                    <a:pt x="0" y="210"/>
                    <a:pt x="0" y="210"/>
                    <a:pt x="0" y="210"/>
                  </a:cubicBezTo>
                  <a:cubicBezTo>
                    <a:pt x="3" y="211"/>
                    <a:pt x="3" y="211"/>
                    <a:pt x="3" y="211"/>
                  </a:cubicBezTo>
                  <a:cubicBezTo>
                    <a:pt x="4" y="210"/>
                    <a:pt x="4" y="210"/>
                    <a:pt x="4" y="210"/>
                  </a:cubicBezTo>
                  <a:cubicBezTo>
                    <a:pt x="8" y="210"/>
                    <a:pt x="8" y="210"/>
                    <a:pt x="8" y="210"/>
                  </a:cubicBezTo>
                  <a:cubicBezTo>
                    <a:pt x="9" y="210"/>
                    <a:pt x="9" y="210"/>
                    <a:pt x="9" y="210"/>
                  </a:cubicBezTo>
                  <a:cubicBezTo>
                    <a:pt x="11" y="210"/>
                    <a:pt x="11" y="210"/>
                    <a:pt x="11" y="210"/>
                  </a:cubicBezTo>
                  <a:cubicBezTo>
                    <a:pt x="13" y="210"/>
                    <a:pt x="13" y="210"/>
                    <a:pt x="13" y="210"/>
                  </a:cubicBezTo>
                  <a:cubicBezTo>
                    <a:pt x="14" y="210"/>
                    <a:pt x="14" y="210"/>
                    <a:pt x="14" y="210"/>
                  </a:cubicBezTo>
                  <a:cubicBezTo>
                    <a:pt x="15" y="209"/>
                    <a:pt x="15" y="209"/>
                    <a:pt x="15" y="209"/>
                  </a:cubicBezTo>
                  <a:cubicBezTo>
                    <a:pt x="18" y="211"/>
                    <a:pt x="18" y="211"/>
                    <a:pt x="18" y="211"/>
                  </a:cubicBezTo>
                  <a:cubicBezTo>
                    <a:pt x="21" y="213"/>
                    <a:pt x="21" y="213"/>
                    <a:pt x="21" y="213"/>
                  </a:cubicBezTo>
                  <a:cubicBezTo>
                    <a:pt x="23" y="212"/>
                    <a:pt x="23" y="212"/>
                    <a:pt x="23" y="212"/>
                  </a:cubicBezTo>
                  <a:cubicBezTo>
                    <a:pt x="25" y="213"/>
                    <a:pt x="25" y="213"/>
                    <a:pt x="25" y="213"/>
                  </a:cubicBezTo>
                  <a:cubicBezTo>
                    <a:pt x="26" y="214"/>
                    <a:pt x="26" y="214"/>
                    <a:pt x="26" y="214"/>
                  </a:cubicBezTo>
                  <a:cubicBezTo>
                    <a:pt x="28" y="214"/>
                    <a:pt x="28" y="214"/>
                    <a:pt x="28" y="214"/>
                  </a:cubicBezTo>
                  <a:cubicBezTo>
                    <a:pt x="30" y="215"/>
                    <a:pt x="30" y="215"/>
                    <a:pt x="30" y="215"/>
                  </a:cubicBezTo>
                  <a:cubicBezTo>
                    <a:pt x="32" y="217"/>
                    <a:pt x="32" y="217"/>
                    <a:pt x="32" y="217"/>
                  </a:cubicBezTo>
                  <a:cubicBezTo>
                    <a:pt x="35" y="219"/>
                    <a:pt x="35" y="219"/>
                    <a:pt x="35" y="219"/>
                  </a:cubicBezTo>
                  <a:cubicBezTo>
                    <a:pt x="36" y="220"/>
                    <a:pt x="36" y="220"/>
                    <a:pt x="36" y="220"/>
                  </a:cubicBezTo>
                  <a:cubicBezTo>
                    <a:pt x="39" y="220"/>
                    <a:pt x="39" y="220"/>
                    <a:pt x="39" y="220"/>
                  </a:cubicBezTo>
                  <a:cubicBezTo>
                    <a:pt x="42" y="220"/>
                    <a:pt x="42" y="220"/>
                    <a:pt x="42" y="220"/>
                  </a:cubicBezTo>
                  <a:cubicBezTo>
                    <a:pt x="47" y="219"/>
                    <a:pt x="47" y="219"/>
                    <a:pt x="47" y="219"/>
                  </a:cubicBezTo>
                  <a:cubicBezTo>
                    <a:pt x="51" y="218"/>
                    <a:pt x="51" y="218"/>
                    <a:pt x="51" y="218"/>
                  </a:cubicBezTo>
                  <a:cubicBezTo>
                    <a:pt x="53" y="217"/>
                    <a:pt x="53" y="217"/>
                    <a:pt x="53" y="217"/>
                  </a:cubicBezTo>
                  <a:cubicBezTo>
                    <a:pt x="55" y="217"/>
                    <a:pt x="55" y="217"/>
                    <a:pt x="55" y="217"/>
                  </a:cubicBezTo>
                  <a:cubicBezTo>
                    <a:pt x="56" y="217"/>
                    <a:pt x="56" y="217"/>
                    <a:pt x="56" y="217"/>
                  </a:cubicBezTo>
                  <a:lnTo>
                    <a:pt x="55" y="215"/>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7" name="Freeform 124"/>
            <p:cNvSpPr>
              <a:spLocks/>
            </p:cNvSpPr>
            <p:nvPr/>
          </p:nvSpPr>
          <p:spPr bwMode="auto">
            <a:xfrm>
              <a:off x="5103536" y="4514918"/>
              <a:ext cx="381255" cy="227387"/>
            </a:xfrm>
            <a:custGeom>
              <a:avLst/>
              <a:gdLst>
                <a:gd name="T0" fmla="*/ 23 w 132"/>
                <a:gd name="T1" fmla="*/ 68 h 83"/>
                <a:gd name="T2" fmla="*/ 24 w 132"/>
                <a:gd name="T3" fmla="*/ 76 h 83"/>
                <a:gd name="T4" fmla="*/ 29 w 132"/>
                <a:gd name="T5" fmla="*/ 83 h 83"/>
                <a:gd name="T6" fmla="*/ 37 w 132"/>
                <a:gd name="T7" fmla="*/ 82 h 83"/>
                <a:gd name="T8" fmla="*/ 44 w 132"/>
                <a:gd name="T9" fmla="*/ 79 h 83"/>
                <a:gd name="T10" fmla="*/ 49 w 132"/>
                <a:gd name="T11" fmla="*/ 80 h 83"/>
                <a:gd name="T12" fmla="*/ 54 w 132"/>
                <a:gd name="T13" fmla="*/ 79 h 83"/>
                <a:gd name="T14" fmla="*/ 57 w 132"/>
                <a:gd name="T15" fmla="*/ 72 h 83"/>
                <a:gd name="T16" fmla="*/ 60 w 132"/>
                <a:gd name="T17" fmla="*/ 64 h 83"/>
                <a:gd name="T18" fmla="*/ 69 w 132"/>
                <a:gd name="T19" fmla="*/ 57 h 83"/>
                <a:gd name="T20" fmla="*/ 71 w 132"/>
                <a:gd name="T21" fmla="*/ 67 h 83"/>
                <a:gd name="T22" fmla="*/ 75 w 132"/>
                <a:gd name="T23" fmla="*/ 72 h 83"/>
                <a:gd name="T24" fmla="*/ 84 w 132"/>
                <a:gd name="T25" fmla="*/ 74 h 83"/>
                <a:gd name="T26" fmla="*/ 86 w 132"/>
                <a:gd name="T27" fmla="*/ 79 h 83"/>
                <a:gd name="T28" fmla="*/ 88 w 132"/>
                <a:gd name="T29" fmla="*/ 72 h 83"/>
                <a:gd name="T30" fmla="*/ 91 w 132"/>
                <a:gd name="T31" fmla="*/ 70 h 83"/>
                <a:gd name="T32" fmla="*/ 93 w 132"/>
                <a:gd name="T33" fmla="*/ 64 h 83"/>
                <a:gd name="T34" fmla="*/ 94 w 132"/>
                <a:gd name="T35" fmla="*/ 56 h 83"/>
                <a:gd name="T36" fmla="*/ 100 w 132"/>
                <a:gd name="T37" fmla="*/ 55 h 83"/>
                <a:gd name="T38" fmla="*/ 104 w 132"/>
                <a:gd name="T39" fmla="*/ 63 h 83"/>
                <a:gd name="T40" fmla="*/ 110 w 132"/>
                <a:gd name="T41" fmla="*/ 62 h 83"/>
                <a:gd name="T42" fmla="*/ 117 w 132"/>
                <a:gd name="T43" fmla="*/ 59 h 83"/>
                <a:gd name="T44" fmla="*/ 118 w 132"/>
                <a:gd name="T45" fmla="*/ 53 h 83"/>
                <a:gd name="T46" fmla="*/ 124 w 132"/>
                <a:gd name="T47" fmla="*/ 49 h 83"/>
                <a:gd name="T48" fmla="*/ 128 w 132"/>
                <a:gd name="T49" fmla="*/ 47 h 83"/>
                <a:gd name="T50" fmla="*/ 130 w 132"/>
                <a:gd name="T51" fmla="*/ 40 h 83"/>
                <a:gd name="T52" fmla="*/ 130 w 132"/>
                <a:gd name="T53" fmla="*/ 37 h 83"/>
                <a:gd name="T54" fmla="*/ 125 w 132"/>
                <a:gd name="T55" fmla="*/ 38 h 83"/>
                <a:gd name="T56" fmla="*/ 118 w 132"/>
                <a:gd name="T57" fmla="*/ 40 h 83"/>
                <a:gd name="T58" fmla="*/ 112 w 132"/>
                <a:gd name="T59" fmla="*/ 34 h 83"/>
                <a:gd name="T60" fmla="*/ 101 w 132"/>
                <a:gd name="T61" fmla="*/ 33 h 83"/>
                <a:gd name="T62" fmla="*/ 101 w 132"/>
                <a:gd name="T63" fmla="*/ 31 h 83"/>
                <a:gd name="T64" fmla="*/ 101 w 132"/>
                <a:gd name="T65" fmla="*/ 28 h 83"/>
                <a:gd name="T66" fmla="*/ 104 w 132"/>
                <a:gd name="T67" fmla="*/ 20 h 83"/>
                <a:gd name="T68" fmla="*/ 104 w 132"/>
                <a:gd name="T69" fmla="*/ 14 h 83"/>
                <a:gd name="T70" fmla="*/ 96 w 132"/>
                <a:gd name="T71" fmla="*/ 8 h 83"/>
                <a:gd name="T72" fmla="*/ 88 w 132"/>
                <a:gd name="T73" fmla="*/ 6 h 83"/>
                <a:gd name="T74" fmla="*/ 80 w 132"/>
                <a:gd name="T75" fmla="*/ 4 h 83"/>
                <a:gd name="T76" fmla="*/ 78 w 132"/>
                <a:gd name="T77" fmla="*/ 5 h 83"/>
                <a:gd name="T78" fmla="*/ 76 w 132"/>
                <a:gd name="T79" fmla="*/ 1 h 83"/>
                <a:gd name="T80" fmla="*/ 70 w 132"/>
                <a:gd name="T81" fmla="*/ 2 h 83"/>
                <a:gd name="T82" fmla="*/ 73 w 132"/>
                <a:gd name="T83" fmla="*/ 7 h 83"/>
                <a:gd name="T84" fmla="*/ 70 w 132"/>
                <a:gd name="T85" fmla="*/ 10 h 83"/>
                <a:gd name="T86" fmla="*/ 60 w 132"/>
                <a:gd name="T87" fmla="*/ 11 h 83"/>
                <a:gd name="T88" fmla="*/ 48 w 132"/>
                <a:gd name="T89" fmla="*/ 11 h 83"/>
                <a:gd name="T90" fmla="*/ 44 w 132"/>
                <a:gd name="T91" fmla="*/ 12 h 83"/>
                <a:gd name="T92" fmla="*/ 40 w 132"/>
                <a:gd name="T93" fmla="*/ 18 h 83"/>
                <a:gd name="T94" fmla="*/ 34 w 132"/>
                <a:gd name="T95" fmla="*/ 20 h 83"/>
                <a:gd name="T96" fmla="*/ 29 w 132"/>
                <a:gd name="T97" fmla="*/ 17 h 83"/>
                <a:gd name="T98" fmla="*/ 27 w 132"/>
                <a:gd name="T99" fmla="*/ 25 h 83"/>
                <a:gd name="T100" fmla="*/ 19 w 132"/>
                <a:gd name="T101" fmla="*/ 33 h 83"/>
                <a:gd name="T102" fmla="*/ 13 w 132"/>
                <a:gd name="T103" fmla="*/ 39 h 83"/>
                <a:gd name="T104" fmla="*/ 12 w 132"/>
                <a:gd name="T105" fmla="*/ 46 h 83"/>
                <a:gd name="T106" fmla="*/ 2 w 132"/>
                <a:gd name="T107" fmla="*/ 54 h 83"/>
                <a:gd name="T108" fmla="*/ 2 w 132"/>
                <a:gd name="T109" fmla="*/ 61 h 83"/>
                <a:gd name="T110" fmla="*/ 17 w 132"/>
                <a:gd name="T111" fmla="*/ 5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 h="83">
                  <a:moveTo>
                    <a:pt x="17" y="57"/>
                  </a:moveTo>
                  <a:cubicBezTo>
                    <a:pt x="22" y="60"/>
                    <a:pt x="22" y="60"/>
                    <a:pt x="22" y="60"/>
                  </a:cubicBezTo>
                  <a:cubicBezTo>
                    <a:pt x="22" y="63"/>
                    <a:pt x="22" y="63"/>
                    <a:pt x="22" y="63"/>
                  </a:cubicBezTo>
                  <a:cubicBezTo>
                    <a:pt x="22" y="63"/>
                    <a:pt x="22" y="64"/>
                    <a:pt x="22" y="64"/>
                  </a:cubicBezTo>
                  <a:cubicBezTo>
                    <a:pt x="23" y="65"/>
                    <a:pt x="23" y="67"/>
                    <a:pt x="23" y="67"/>
                  </a:cubicBezTo>
                  <a:cubicBezTo>
                    <a:pt x="23" y="68"/>
                    <a:pt x="23" y="68"/>
                    <a:pt x="23" y="68"/>
                  </a:cubicBezTo>
                  <a:cubicBezTo>
                    <a:pt x="23" y="69"/>
                    <a:pt x="23" y="70"/>
                    <a:pt x="23" y="70"/>
                  </a:cubicBezTo>
                  <a:cubicBezTo>
                    <a:pt x="23" y="70"/>
                    <a:pt x="22" y="71"/>
                    <a:pt x="22" y="72"/>
                  </a:cubicBezTo>
                  <a:cubicBezTo>
                    <a:pt x="22" y="72"/>
                    <a:pt x="23" y="72"/>
                    <a:pt x="23" y="72"/>
                  </a:cubicBezTo>
                  <a:cubicBezTo>
                    <a:pt x="24" y="72"/>
                    <a:pt x="24" y="72"/>
                    <a:pt x="24" y="72"/>
                  </a:cubicBezTo>
                  <a:cubicBezTo>
                    <a:pt x="24" y="73"/>
                    <a:pt x="24" y="75"/>
                    <a:pt x="24" y="76"/>
                  </a:cubicBezTo>
                  <a:cubicBezTo>
                    <a:pt x="24" y="76"/>
                    <a:pt x="24" y="76"/>
                    <a:pt x="24" y="76"/>
                  </a:cubicBezTo>
                  <a:cubicBezTo>
                    <a:pt x="24" y="76"/>
                    <a:pt x="25" y="77"/>
                    <a:pt x="25" y="77"/>
                  </a:cubicBezTo>
                  <a:cubicBezTo>
                    <a:pt x="26" y="78"/>
                    <a:pt x="26" y="78"/>
                    <a:pt x="27" y="79"/>
                  </a:cubicBezTo>
                  <a:cubicBezTo>
                    <a:pt x="28" y="80"/>
                    <a:pt x="29" y="81"/>
                    <a:pt x="29" y="82"/>
                  </a:cubicBezTo>
                  <a:cubicBezTo>
                    <a:pt x="29" y="82"/>
                    <a:pt x="29" y="82"/>
                    <a:pt x="29" y="82"/>
                  </a:cubicBezTo>
                  <a:cubicBezTo>
                    <a:pt x="28" y="83"/>
                    <a:pt x="28" y="83"/>
                    <a:pt x="28" y="83"/>
                  </a:cubicBezTo>
                  <a:cubicBezTo>
                    <a:pt x="29" y="83"/>
                    <a:pt x="29" y="83"/>
                    <a:pt x="29" y="83"/>
                  </a:cubicBezTo>
                  <a:cubicBezTo>
                    <a:pt x="29" y="83"/>
                    <a:pt x="29" y="83"/>
                    <a:pt x="29" y="83"/>
                  </a:cubicBezTo>
                  <a:cubicBezTo>
                    <a:pt x="30" y="83"/>
                    <a:pt x="30" y="83"/>
                    <a:pt x="31" y="82"/>
                  </a:cubicBezTo>
                  <a:cubicBezTo>
                    <a:pt x="31" y="82"/>
                    <a:pt x="32" y="81"/>
                    <a:pt x="33" y="81"/>
                  </a:cubicBezTo>
                  <a:cubicBezTo>
                    <a:pt x="34" y="81"/>
                    <a:pt x="34" y="81"/>
                    <a:pt x="35" y="82"/>
                  </a:cubicBezTo>
                  <a:cubicBezTo>
                    <a:pt x="35" y="82"/>
                    <a:pt x="35" y="82"/>
                    <a:pt x="36" y="82"/>
                  </a:cubicBezTo>
                  <a:cubicBezTo>
                    <a:pt x="36" y="82"/>
                    <a:pt x="36" y="82"/>
                    <a:pt x="37" y="82"/>
                  </a:cubicBezTo>
                  <a:cubicBezTo>
                    <a:pt x="37" y="81"/>
                    <a:pt x="38" y="80"/>
                    <a:pt x="39" y="80"/>
                  </a:cubicBezTo>
                  <a:cubicBezTo>
                    <a:pt x="39" y="80"/>
                    <a:pt x="39" y="79"/>
                    <a:pt x="39" y="79"/>
                  </a:cubicBezTo>
                  <a:cubicBezTo>
                    <a:pt x="40" y="79"/>
                    <a:pt x="40" y="79"/>
                    <a:pt x="40" y="79"/>
                  </a:cubicBezTo>
                  <a:cubicBezTo>
                    <a:pt x="41" y="79"/>
                    <a:pt x="41" y="79"/>
                    <a:pt x="41" y="79"/>
                  </a:cubicBezTo>
                  <a:cubicBezTo>
                    <a:pt x="41" y="79"/>
                    <a:pt x="41" y="79"/>
                    <a:pt x="41" y="79"/>
                  </a:cubicBezTo>
                  <a:cubicBezTo>
                    <a:pt x="42" y="79"/>
                    <a:pt x="43" y="79"/>
                    <a:pt x="44" y="79"/>
                  </a:cubicBezTo>
                  <a:cubicBezTo>
                    <a:pt x="45" y="79"/>
                    <a:pt x="45" y="79"/>
                    <a:pt x="45" y="79"/>
                  </a:cubicBezTo>
                  <a:cubicBezTo>
                    <a:pt x="46" y="79"/>
                    <a:pt x="47" y="80"/>
                    <a:pt x="47" y="80"/>
                  </a:cubicBezTo>
                  <a:cubicBezTo>
                    <a:pt x="47" y="81"/>
                    <a:pt x="48" y="81"/>
                    <a:pt x="48" y="81"/>
                  </a:cubicBezTo>
                  <a:cubicBezTo>
                    <a:pt x="48" y="81"/>
                    <a:pt x="48" y="81"/>
                    <a:pt x="48" y="81"/>
                  </a:cubicBezTo>
                  <a:cubicBezTo>
                    <a:pt x="48" y="81"/>
                    <a:pt x="48" y="81"/>
                    <a:pt x="49" y="81"/>
                  </a:cubicBezTo>
                  <a:cubicBezTo>
                    <a:pt x="49" y="81"/>
                    <a:pt x="49" y="81"/>
                    <a:pt x="49" y="80"/>
                  </a:cubicBezTo>
                  <a:cubicBezTo>
                    <a:pt x="50" y="79"/>
                    <a:pt x="51" y="79"/>
                    <a:pt x="52" y="79"/>
                  </a:cubicBezTo>
                  <a:cubicBezTo>
                    <a:pt x="52" y="79"/>
                    <a:pt x="52" y="79"/>
                    <a:pt x="52" y="79"/>
                  </a:cubicBezTo>
                  <a:cubicBezTo>
                    <a:pt x="53" y="79"/>
                    <a:pt x="53" y="79"/>
                    <a:pt x="53" y="79"/>
                  </a:cubicBezTo>
                  <a:cubicBezTo>
                    <a:pt x="53" y="79"/>
                    <a:pt x="53" y="79"/>
                    <a:pt x="53" y="79"/>
                  </a:cubicBezTo>
                  <a:cubicBezTo>
                    <a:pt x="53" y="79"/>
                    <a:pt x="53" y="79"/>
                    <a:pt x="53" y="79"/>
                  </a:cubicBezTo>
                  <a:cubicBezTo>
                    <a:pt x="54" y="79"/>
                    <a:pt x="54" y="79"/>
                    <a:pt x="54" y="79"/>
                  </a:cubicBezTo>
                  <a:cubicBezTo>
                    <a:pt x="54" y="78"/>
                    <a:pt x="54" y="78"/>
                    <a:pt x="54" y="78"/>
                  </a:cubicBezTo>
                  <a:cubicBezTo>
                    <a:pt x="54" y="78"/>
                    <a:pt x="54" y="77"/>
                    <a:pt x="54" y="77"/>
                  </a:cubicBezTo>
                  <a:cubicBezTo>
                    <a:pt x="54" y="76"/>
                    <a:pt x="54" y="76"/>
                    <a:pt x="54" y="76"/>
                  </a:cubicBezTo>
                  <a:cubicBezTo>
                    <a:pt x="56" y="74"/>
                    <a:pt x="56" y="74"/>
                    <a:pt x="56" y="74"/>
                  </a:cubicBezTo>
                  <a:cubicBezTo>
                    <a:pt x="56" y="74"/>
                    <a:pt x="57" y="73"/>
                    <a:pt x="57" y="73"/>
                  </a:cubicBezTo>
                  <a:cubicBezTo>
                    <a:pt x="57" y="73"/>
                    <a:pt x="57" y="72"/>
                    <a:pt x="57" y="72"/>
                  </a:cubicBezTo>
                  <a:cubicBezTo>
                    <a:pt x="57" y="71"/>
                    <a:pt x="57" y="71"/>
                    <a:pt x="57" y="71"/>
                  </a:cubicBezTo>
                  <a:cubicBezTo>
                    <a:pt x="57" y="70"/>
                    <a:pt x="57" y="70"/>
                    <a:pt x="57" y="70"/>
                  </a:cubicBezTo>
                  <a:cubicBezTo>
                    <a:pt x="55" y="68"/>
                    <a:pt x="55" y="68"/>
                    <a:pt x="55" y="68"/>
                  </a:cubicBezTo>
                  <a:cubicBezTo>
                    <a:pt x="58" y="65"/>
                    <a:pt x="58" y="65"/>
                    <a:pt x="58" y="65"/>
                  </a:cubicBezTo>
                  <a:cubicBezTo>
                    <a:pt x="58" y="65"/>
                    <a:pt x="58" y="65"/>
                    <a:pt x="58" y="65"/>
                  </a:cubicBezTo>
                  <a:cubicBezTo>
                    <a:pt x="58" y="65"/>
                    <a:pt x="58" y="65"/>
                    <a:pt x="60" y="64"/>
                  </a:cubicBezTo>
                  <a:cubicBezTo>
                    <a:pt x="61" y="64"/>
                    <a:pt x="62" y="63"/>
                    <a:pt x="62" y="63"/>
                  </a:cubicBezTo>
                  <a:cubicBezTo>
                    <a:pt x="62" y="62"/>
                    <a:pt x="62" y="62"/>
                    <a:pt x="62" y="62"/>
                  </a:cubicBezTo>
                  <a:cubicBezTo>
                    <a:pt x="62" y="62"/>
                    <a:pt x="62" y="62"/>
                    <a:pt x="62" y="62"/>
                  </a:cubicBezTo>
                  <a:cubicBezTo>
                    <a:pt x="62" y="61"/>
                    <a:pt x="63" y="60"/>
                    <a:pt x="64" y="59"/>
                  </a:cubicBezTo>
                  <a:cubicBezTo>
                    <a:pt x="65" y="59"/>
                    <a:pt x="68" y="58"/>
                    <a:pt x="68" y="58"/>
                  </a:cubicBezTo>
                  <a:cubicBezTo>
                    <a:pt x="69" y="57"/>
                    <a:pt x="69" y="57"/>
                    <a:pt x="69" y="57"/>
                  </a:cubicBezTo>
                  <a:cubicBezTo>
                    <a:pt x="70" y="58"/>
                    <a:pt x="70" y="58"/>
                    <a:pt x="70" y="58"/>
                  </a:cubicBezTo>
                  <a:cubicBezTo>
                    <a:pt x="71" y="59"/>
                    <a:pt x="71" y="60"/>
                    <a:pt x="71" y="62"/>
                  </a:cubicBezTo>
                  <a:cubicBezTo>
                    <a:pt x="71" y="62"/>
                    <a:pt x="71" y="62"/>
                    <a:pt x="71" y="63"/>
                  </a:cubicBezTo>
                  <a:cubicBezTo>
                    <a:pt x="71" y="63"/>
                    <a:pt x="71" y="65"/>
                    <a:pt x="71" y="65"/>
                  </a:cubicBezTo>
                  <a:cubicBezTo>
                    <a:pt x="71" y="65"/>
                    <a:pt x="71" y="65"/>
                    <a:pt x="71" y="66"/>
                  </a:cubicBezTo>
                  <a:cubicBezTo>
                    <a:pt x="71" y="66"/>
                    <a:pt x="71" y="67"/>
                    <a:pt x="71" y="67"/>
                  </a:cubicBezTo>
                  <a:cubicBezTo>
                    <a:pt x="71" y="67"/>
                    <a:pt x="71" y="67"/>
                    <a:pt x="71" y="67"/>
                  </a:cubicBezTo>
                  <a:cubicBezTo>
                    <a:pt x="72" y="68"/>
                    <a:pt x="72" y="68"/>
                    <a:pt x="72" y="69"/>
                  </a:cubicBezTo>
                  <a:cubicBezTo>
                    <a:pt x="72" y="69"/>
                    <a:pt x="73" y="69"/>
                    <a:pt x="73" y="69"/>
                  </a:cubicBezTo>
                  <a:cubicBezTo>
                    <a:pt x="73" y="69"/>
                    <a:pt x="73" y="69"/>
                    <a:pt x="73" y="69"/>
                  </a:cubicBezTo>
                  <a:cubicBezTo>
                    <a:pt x="74" y="71"/>
                    <a:pt x="75" y="71"/>
                    <a:pt x="75" y="72"/>
                  </a:cubicBezTo>
                  <a:cubicBezTo>
                    <a:pt x="75" y="72"/>
                    <a:pt x="75" y="72"/>
                    <a:pt x="75" y="72"/>
                  </a:cubicBezTo>
                  <a:cubicBezTo>
                    <a:pt x="75" y="72"/>
                    <a:pt x="76" y="72"/>
                    <a:pt x="76" y="72"/>
                  </a:cubicBezTo>
                  <a:cubicBezTo>
                    <a:pt x="77" y="72"/>
                    <a:pt x="78" y="72"/>
                    <a:pt x="79" y="73"/>
                  </a:cubicBezTo>
                  <a:cubicBezTo>
                    <a:pt x="79" y="73"/>
                    <a:pt x="79" y="73"/>
                    <a:pt x="79" y="73"/>
                  </a:cubicBezTo>
                  <a:cubicBezTo>
                    <a:pt x="79" y="73"/>
                    <a:pt x="79" y="73"/>
                    <a:pt x="80" y="73"/>
                  </a:cubicBezTo>
                  <a:cubicBezTo>
                    <a:pt x="80" y="73"/>
                    <a:pt x="80" y="73"/>
                    <a:pt x="80" y="73"/>
                  </a:cubicBezTo>
                  <a:cubicBezTo>
                    <a:pt x="84" y="74"/>
                    <a:pt x="84" y="74"/>
                    <a:pt x="84" y="74"/>
                  </a:cubicBezTo>
                  <a:cubicBezTo>
                    <a:pt x="84" y="75"/>
                    <a:pt x="84" y="75"/>
                    <a:pt x="84" y="75"/>
                  </a:cubicBezTo>
                  <a:cubicBezTo>
                    <a:pt x="85" y="76"/>
                    <a:pt x="85" y="77"/>
                    <a:pt x="85" y="78"/>
                  </a:cubicBezTo>
                  <a:cubicBezTo>
                    <a:pt x="84" y="78"/>
                    <a:pt x="84" y="78"/>
                    <a:pt x="84" y="79"/>
                  </a:cubicBezTo>
                  <a:cubicBezTo>
                    <a:pt x="84" y="80"/>
                    <a:pt x="84" y="80"/>
                    <a:pt x="84" y="80"/>
                  </a:cubicBezTo>
                  <a:cubicBezTo>
                    <a:pt x="84" y="80"/>
                    <a:pt x="85" y="80"/>
                    <a:pt x="85" y="80"/>
                  </a:cubicBezTo>
                  <a:cubicBezTo>
                    <a:pt x="85" y="80"/>
                    <a:pt x="85" y="80"/>
                    <a:pt x="86" y="79"/>
                  </a:cubicBezTo>
                  <a:cubicBezTo>
                    <a:pt x="86" y="79"/>
                    <a:pt x="86" y="79"/>
                    <a:pt x="86" y="79"/>
                  </a:cubicBezTo>
                  <a:cubicBezTo>
                    <a:pt x="86" y="79"/>
                    <a:pt x="86" y="79"/>
                    <a:pt x="86" y="78"/>
                  </a:cubicBezTo>
                  <a:cubicBezTo>
                    <a:pt x="85" y="77"/>
                    <a:pt x="85" y="77"/>
                    <a:pt x="85" y="77"/>
                  </a:cubicBezTo>
                  <a:cubicBezTo>
                    <a:pt x="87" y="76"/>
                    <a:pt x="87" y="76"/>
                    <a:pt x="87" y="76"/>
                  </a:cubicBezTo>
                  <a:cubicBezTo>
                    <a:pt x="87" y="74"/>
                    <a:pt x="87" y="73"/>
                    <a:pt x="88" y="72"/>
                  </a:cubicBezTo>
                  <a:cubicBezTo>
                    <a:pt x="88" y="72"/>
                    <a:pt x="88" y="72"/>
                    <a:pt x="88" y="72"/>
                  </a:cubicBezTo>
                  <a:cubicBezTo>
                    <a:pt x="89" y="72"/>
                    <a:pt x="89" y="72"/>
                    <a:pt x="89" y="72"/>
                  </a:cubicBezTo>
                  <a:cubicBezTo>
                    <a:pt x="89" y="72"/>
                    <a:pt x="89" y="72"/>
                    <a:pt x="89" y="72"/>
                  </a:cubicBezTo>
                  <a:cubicBezTo>
                    <a:pt x="89" y="72"/>
                    <a:pt x="89" y="72"/>
                    <a:pt x="89" y="71"/>
                  </a:cubicBezTo>
                  <a:cubicBezTo>
                    <a:pt x="90" y="70"/>
                    <a:pt x="90" y="70"/>
                    <a:pt x="90" y="70"/>
                  </a:cubicBezTo>
                  <a:cubicBezTo>
                    <a:pt x="90" y="70"/>
                    <a:pt x="91" y="70"/>
                    <a:pt x="91" y="70"/>
                  </a:cubicBezTo>
                  <a:cubicBezTo>
                    <a:pt x="91" y="70"/>
                    <a:pt x="91" y="70"/>
                    <a:pt x="91" y="70"/>
                  </a:cubicBezTo>
                  <a:cubicBezTo>
                    <a:pt x="91" y="69"/>
                    <a:pt x="92" y="69"/>
                    <a:pt x="92" y="69"/>
                  </a:cubicBezTo>
                  <a:cubicBezTo>
                    <a:pt x="92" y="68"/>
                    <a:pt x="92" y="68"/>
                    <a:pt x="92" y="68"/>
                  </a:cubicBezTo>
                  <a:cubicBezTo>
                    <a:pt x="92" y="68"/>
                    <a:pt x="92" y="67"/>
                    <a:pt x="93" y="66"/>
                  </a:cubicBezTo>
                  <a:cubicBezTo>
                    <a:pt x="93" y="65"/>
                    <a:pt x="93" y="65"/>
                    <a:pt x="93" y="65"/>
                  </a:cubicBezTo>
                  <a:cubicBezTo>
                    <a:pt x="93" y="65"/>
                    <a:pt x="93" y="65"/>
                    <a:pt x="93" y="64"/>
                  </a:cubicBezTo>
                  <a:cubicBezTo>
                    <a:pt x="93" y="64"/>
                    <a:pt x="93" y="64"/>
                    <a:pt x="93" y="64"/>
                  </a:cubicBezTo>
                  <a:cubicBezTo>
                    <a:pt x="93" y="63"/>
                    <a:pt x="93" y="63"/>
                    <a:pt x="93" y="63"/>
                  </a:cubicBezTo>
                  <a:cubicBezTo>
                    <a:pt x="93" y="63"/>
                    <a:pt x="93" y="63"/>
                    <a:pt x="93" y="63"/>
                  </a:cubicBezTo>
                  <a:cubicBezTo>
                    <a:pt x="93" y="62"/>
                    <a:pt x="93" y="62"/>
                    <a:pt x="93" y="62"/>
                  </a:cubicBezTo>
                  <a:cubicBezTo>
                    <a:pt x="92" y="61"/>
                    <a:pt x="92" y="61"/>
                    <a:pt x="92" y="61"/>
                  </a:cubicBezTo>
                  <a:cubicBezTo>
                    <a:pt x="92" y="59"/>
                    <a:pt x="92" y="59"/>
                    <a:pt x="92" y="59"/>
                  </a:cubicBezTo>
                  <a:cubicBezTo>
                    <a:pt x="94" y="56"/>
                    <a:pt x="94" y="56"/>
                    <a:pt x="94" y="56"/>
                  </a:cubicBezTo>
                  <a:cubicBezTo>
                    <a:pt x="94" y="56"/>
                    <a:pt x="94" y="56"/>
                    <a:pt x="94" y="56"/>
                  </a:cubicBezTo>
                  <a:cubicBezTo>
                    <a:pt x="95" y="55"/>
                    <a:pt x="96" y="55"/>
                    <a:pt x="97" y="55"/>
                  </a:cubicBezTo>
                  <a:cubicBezTo>
                    <a:pt x="97" y="55"/>
                    <a:pt x="98" y="55"/>
                    <a:pt x="99" y="56"/>
                  </a:cubicBezTo>
                  <a:cubicBezTo>
                    <a:pt x="99" y="56"/>
                    <a:pt x="99" y="56"/>
                    <a:pt x="99" y="56"/>
                  </a:cubicBezTo>
                  <a:cubicBezTo>
                    <a:pt x="99" y="55"/>
                    <a:pt x="99" y="55"/>
                    <a:pt x="99" y="55"/>
                  </a:cubicBezTo>
                  <a:cubicBezTo>
                    <a:pt x="100" y="55"/>
                    <a:pt x="100" y="55"/>
                    <a:pt x="100" y="55"/>
                  </a:cubicBezTo>
                  <a:cubicBezTo>
                    <a:pt x="102" y="55"/>
                    <a:pt x="103" y="56"/>
                    <a:pt x="103" y="57"/>
                  </a:cubicBezTo>
                  <a:cubicBezTo>
                    <a:pt x="104" y="58"/>
                    <a:pt x="104" y="58"/>
                    <a:pt x="104" y="58"/>
                  </a:cubicBezTo>
                  <a:cubicBezTo>
                    <a:pt x="103" y="60"/>
                    <a:pt x="103" y="60"/>
                    <a:pt x="103" y="60"/>
                  </a:cubicBezTo>
                  <a:cubicBezTo>
                    <a:pt x="103" y="60"/>
                    <a:pt x="104" y="61"/>
                    <a:pt x="104" y="61"/>
                  </a:cubicBezTo>
                  <a:cubicBezTo>
                    <a:pt x="104" y="62"/>
                    <a:pt x="104" y="62"/>
                    <a:pt x="104" y="63"/>
                  </a:cubicBezTo>
                  <a:cubicBezTo>
                    <a:pt x="104" y="63"/>
                    <a:pt x="104" y="63"/>
                    <a:pt x="104" y="63"/>
                  </a:cubicBezTo>
                  <a:cubicBezTo>
                    <a:pt x="104" y="63"/>
                    <a:pt x="104" y="63"/>
                    <a:pt x="104" y="63"/>
                  </a:cubicBezTo>
                  <a:cubicBezTo>
                    <a:pt x="104" y="64"/>
                    <a:pt x="105" y="64"/>
                    <a:pt x="105" y="64"/>
                  </a:cubicBezTo>
                  <a:cubicBezTo>
                    <a:pt x="106" y="64"/>
                    <a:pt x="106" y="64"/>
                    <a:pt x="106" y="64"/>
                  </a:cubicBezTo>
                  <a:cubicBezTo>
                    <a:pt x="106" y="64"/>
                    <a:pt x="106" y="63"/>
                    <a:pt x="107" y="63"/>
                  </a:cubicBezTo>
                  <a:cubicBezTo>
                    <a:pt x="107" y="62"/>
                    <a:pt x="107" y="62"/>
                    <a:pt x="107" y="62"/>
                  </a:cubicBezTo>
                  <a:cubicBezTo>
                    <a:pt x="110" y="62"/>
                    <a:pt x="110" y="62"/>
                    <a:pt x="110" y="62"/>
                  </a:cubicBezTo>
                  <a:cubicBezTo>
                    <a:pt x="110" y="62"/>
                    <a:pt x="110" y="62"/>
                    <a:pt x="110" y="62"/>
                  </a:cubicBezTo>
                  <a:cubicBezTo>
                    <a:pt x="110" y="62"/>
                    <a:pt x="110" y="62"/>
                    <a:pt x="110" y="62"/>
                  </a:cubicBezTo>
                  <a:cubicBezTo>
                    <a:pt x="112" y="61"/>
                    <a:pt x="112" y="61"/>
                    <a:pt x="112" y="61"/>
                  </a:cubicBezTo>
                  <a:cubicBezTo>
                    <a:pt x="113" y="60"/>
                    <a:pt x="114" y="60"/>
                    <a:pt x="114" y="60"/>
                  </a:cubicBezTo>
                  <a:cubicBezTo>
                    <a:pt x="117" y="60"/>
                    <a:pt x="117" y="60"/>
                    <a:pt x="117" y="60"/>
                  </a:cubicBezTo>
                  <a:cubicBezTo>
                    <a:pt x="117" y="60"/>
                    <a:pt x="117" y="60"/>
                    <a:pt x="117" y="59"/>
                  </a:cubicBezTo>
                  <a:cubicBezTo>
                    <a:pt x="117" y="59"/>
                    <a:pt x="117" y="59"/>
                    <a:pt x="117" y="59"/>
                  </a:cubicBezTo>
                  <a:cubicBezTo>
                    <a:pt x="116" y="58"/>
                    <a:pt x="116" y="58"/>
                    <a:pt x="116" y="58"/>
                  </a:cubicBezTo>
                  <a:cubicBezTo>
                    <a:pt x="117" y="56"/>
                    <a:pt x="117" y="56"/>
                    <a:pt x="117" y="56"/>
                  </a:cubicBezTo>
                  <a:cubicBezTo>
                    <a:pt x="117" y="55"/>
                    <a:pt x="117" y="55"/>
                    <a:pt x="117" y="55"/>
                  </a:cubicBezTo>
                  <a:cubicBezTo>
                    <a:pt x="117" y="55"/>
                    <a:pt x="117" y="55"/>
                    <a:pt x="117" y="55"/>
                  </a:cubicBezTo>
                  <a:cubicBezTo>
                    <a:pt x="117" y="55"/>
                    <a:pt x="117" y="54"/>
                    <a:pt x="118" y="53"/>
                  </a:cubicBezTo>
                  <a:cubicBezTo>
                    <a:pt x="118" y="52"/>
                    <a:pt x="118" y="52"/>
                    <a:pt x="119" y="52"/>
                  </a:cubicBezTo>
                  <a:cubicBezTo>
                    <a:pt x="119" y="51"/>
                    <a:pt x="120" y="50"/>
                    <a:pt x="121" y="50"/>
                  </a:cubicBezTo>
                  <a:cubicBezTo>
                    <a:pt x="121" y="50"/>
                    <a:pt x="121" y="50"/>
                    <a:pt x="121" y="50"/>
                  </a:cubicBezTo>
                  <a:cubicBezTo>
                    <a:pt x="121" y="50"/>
                    <a:pt x="122" y="50"/>
                    <a:pt x="122" y="50"/>
                  </a:cubicBezTo>
                  <a:cubicBezTo>
                    <a:pt x="123" y="49"/>
                    <a:pt x="123" y="49"/>
                    <a:pt x="123" y="49"/>
                  </a:cubicBezTo>
                  <a:cubicBezTo>
                    <a:pt x="123" y="49"/>
                    <a:pt x="124" y="49"/>
                    <a:pt x="124" y="49"/>
                  </a:cubicBezTo>
                  <a:cubicBezTo>
                    <a:pt x="125" y="49"/>
                    <a:pt x="126" y="50"/>
                    <a:pt x="126" y="50"/>
                  </a:cubicBezTo>
                  <a:cubicBezTo>
                    <a:pt x="127" y="50"/>
                    <a:pt x="127" y="50"/>
                    <a:pt x="127" y="50"/>
                  </a:cubicBezTo>
                  <a:cubicBezTo>
                    <a:pt x="126" y="50"/>
                    <a:pt x="126" y="49"/>
                    <a:pt x="126" y="49"/>
                  </a:cubicBezTo>
                  <a:cubicBezTo>
                    <a:pt x="126" y="48"/>
                    <a:pt x="126" y="48"/>
                    <a:pt x="126" y="48"/>
                  </a:cubicBezTo>
                  <a:cubicBezTo>
                    <a:pt x="127" y="47"/>
                    <a:pt x="127" y="47"/>
                    <a:pt x="127" y="47"/>
                  </a:cubicBezTo>
                  <a:cubicBezTo>
                    <a:pt x="127" y="47"/>
                    <a:pt x="127" y="47"/>
                    <a:pt x="128" y="47"/>
                  </a:cubicBezTo>
                  <a:cubicBezTo>
                    <a:pt x="127" y="46"/>
                    <a:pt x="127" y="46"/>
                    <a:pt x="127" y="46"/>
                  </a:cubicBezTo>
                  <a:cubicBezTo>
                    <a:pt x="128" y="44"/>
                    <a:pt x="128" y="44"/>
                    <a:pt x="128" y="44"/>
                  </a:cubicBezTo>
                  <a:cubicBezTo>
                    <a:pt x="127" y="44"/>
                    <a:pt x="127" y="44"/>
                    <a:pt x="127" y="44"/>
                  </a:cubicBezTo>
                  <a:cubicBezTo>
                    <a:pt x="128" y="43"/>
                    <a:pt x="128" y="43"/>
                    <a:pt x="128" y="43"/>
                  </a:cubicBezTo>
                  <a:cubicBezTo>
                    <a:pt x="128" y="42"/>
                    <a:pt x="128" y="42"/>
                    <a:pt x="128" y="42"/>
                  </a:cubicBezTo>
                  <a:cubicBezTo>
                    <a:pt x="129" y="41"/>
                    <a:pt x="129" y="40"/>
                    <a:pt x="130" y="40"/>
                  </a:cubicBezTo>
                  <a:cubicBezTo>
                    <a:pt x="130" y="40"/>
                    <a:pt x="130" y="40"/>
                    <a:pt x="130" y="40"/>
                  </a:cubicBezTo>
                  <a:cubicBezTo>
                    <a:pt x="131" y="40"/>
                    <a:pt x="131" y="40"/>
                    <a:pt x="131" y="40"/>
                  </a:cubicBezTo>
                  <a:cubicBezTo>
                    <a:pt x="131" y="40"/>
                    <a:pt x="131" y="40"/>
                    <a:pt x="131" y="40"/>
                  </a:cubicBezTo>
                  <a:cubicBezTo>
                    <a:pt x="131" y="40"/>
                    <a:pt x="131" y="39"/>
                    <a:pt x="131" y="39"/>
                  </a:cubicBezTo>
                  <a:cubicBezTo>
                    <a:pt x="131" y="39"/>
                    <a:pt x="131" y="38"/>
                    <a:pt x="131" y="38"/>
                  </a:cubicBezTo>
                  <a:cubicBezTo>
                    <a:pt x="132" y="38"/>
                    <a:pt x="130" y="37"/>
                    <a:pt x="130" y="37"/>
                  </a:cubicBezTo>
                  <a:cubicBezTo>
                    <a:pt x="130" y="36"/>
                    <a:pt x="130" y="36"/>
                    <a:pt x="130" y="36"/>
                  </a:cubicBezTo>
                  <a:cubicBezTo>
                    <a:pt x="130" y="36"/>
                    <a:pt x="129" y="35"/>
                    <a:pt x="129" y="35"/>
                  </a:cubicBezTo>
                  <a:cubicBezTo>
                    <a:pt x="128" y="35"/>
                    <a:pt x="127" y="35"/>
                    <a:pt x="127" y="35"/>
                  </a:cubicBezTo>
                  <a:cubicBezTo>
                    <a:pt x="127" y="35"/>
                    <a:pt x="127" y="37"/>
                    <a:pt x="127" y="37"/>
                  </a:cubicBezTo>
                  <a:cubicBezTo>
                    <a:pt x="127" y="37"/>
                    <a:pt x="126" y="38"/>
                    <a:pt x="126" y="38"/>
                  </a:cubicBezTo>
                  <a:cubicBezTo>
                    <a:pt x="125" y="38"/>
                    <a:pt x="125" y="38"/>
                    <a:pt x="125" y="38"/>
                  </a:cubicBezTo>
                  <a:cubicBezTo>
                    <a:pt x="125" y="38"/>
                    <a:pt x="125" y="38"/>
                    <a:pt x="125" y="38"/>
                  </a:cubicBezTo>
                  <a:cubicBezTo>
                    <a:pt x="124" y="39"/>
                    <a:pt x="124" y="39"/>
                    <a:pt x="124" y="39"/>
                  </a:cubicBezTo>
                  <a:cubicBezTo>
                    <a:pt x="123" y="40"/>
                    <a:pt x="123" y="40"/>
                    <a:pt x="123" y="40"/>
                  </a:cubicBezTo>
                  <a:cubicBezTo>
                    <a:pt x="123" y="40"/>
                    <a:pt x="122" y="41"/>
                    <a:pt x="121" y="41"/>
                  </a:cubicBezTo>
                  <a:cubicBezTo>
                    <a:pt x="120" y="41"/>
                    <a:pt x="119" y="41"/>
                    <a:pt x="119" y="41"/>
                  </a:cubicBezTo>
                  <a:cubicBezTo>
                    <a:pt x="118" y="40"/>
                    <a:pt x="118" y="40"/>
                    <a:pt x="118" y="40"/>
                  </a:cubicBezTo>
                  <a:cubicBezTo>
                    <a:pt x="116" y="39"/>
                    <a:pt x="116" y="39"/>
                    <a:pt x="116" y="39"/>
                  </a:cubicBezTo>
                  <a:cubicBezTo>
                    <a:pt x="116" y="39"/>
                    <a:pt x="116" y="39"/>
                    <a:pt x="116" y="39"/>
                  </a:cubicBezTo>
                  <a:cubicBezTo>
                    <a:pt x="114" y="38"/>
                    <a:pt x="114" y="38"/>
                    <a:pt x="114" y="38"/>
                  </a:cubicBezTo>
                  <a:cubicBezTo>
                    <a:pt x="113" y="38"/>
                    <a:pt x="113" y="38"/>
                    <a:pt x="113" y="38"/>
                  </a:cubicBezTo>
                  <a:cubicBezTo>
                    <a:pt x="113" y="36"/>
                    <a:pt x="113" y="36"/>
                    <a:pt x="113" y="36"/>
                  </a:cubicBezTo>
                  <a:cubicBezTo>
                    <a:pt x="112" y="34"/>
                    <a:pt x="112" y="34"/>
                    <a:pt x="112" y="34"/>
                  </a:cubicBezTo>
                  <a:cubicBezTo>
                    <a:pt x="109" y="33"/>
                    <a:pt x="109" y="33"/>
                    <a:pt x="109" y="33"/>
                  </a:cubicBezTo>
                  <a:cubicBezTo>
                    <a:pt x="106" y="32"/>
                    <a:pt x="106" y="32"/>
                    <a:pt x="106" y="32"/>
                  </a:cubicBezTo>
                  <a:cubicBezTo>
                    <a:pt x="104" y="33"/>
                    <a:pt x="104" y="33"/>
                    <a:pt x="104" y="33"/>
                  </a:cubicBezTo>
                  <a:cubicBezTo>
                    <a:pt x="104" y="33"/>
                    <a:pt x="102" y="33"/>
                    <a:pt x="101" y="33"/>
                  </a:cubicBezTo>
                  <a:cubicBezTo>
                    <a:pt x="101" y="33"/>
                    <a:pt x="101" y="33"/>
                    <a:pt x="101" y="32"/>
                  </a:cubicBezTo>
                  <a:cubicBezTo>
                    <a:pt x="101" y="33"/>
                    <a:pt x="101" y="33"/>
                    <a:pt x="101" y="33"/>
                  </a:cubicBezTo>
                  <a:cubicBezTo>
                    <a:pt x="101" y="33"/>
                    <a:pt x="101" y="33"/>
                    <a:pt x="101" y="32"/>
                  </a:cubicBezTo>
                  <a:cubicBezTo>
                    <a:pt x="101" y="32"/>
                    <a:pt x="101" y="32"/>
                    <a:pt x="101" y="32"/>
                  </a:cubicBezTo>
                  <a:cubicBezTo>
                    <a:pt x="101" y="32"/>
                    <a:pt x="101" y="32"/>
                    <a:pt x="101" y="32"/>
                  </a:cubicBezTo>
                  <a:cubicBezTo>
                    <a:pt x="101" y="32"/>
                    <a:pt x="101" y="32"/>
                    <a:pt x="101" y="32"/>
                  </a:cubicBezTo>
                  <a:cubicBezTo>
                    <a:pt x="100" y="32"/>
                    <a:pt x="100" y="32"/>
                    <a:pt x="100" y="32"/>
                  </a:cubicBezTo>
                  <a:cubicBezTo>
                    <a:pt x="101" y="31"/>
                    <a:pt x="101" y="31"/>
                    <a:pt x="101" y="31"/>
                  </a:cubicBezTo>
                  <a:cubicBezTo>
                    <a:pt x="101" y="31"/>
                    <a:pt x="101" y="31"/>
                    <a:pt x="101" y="31"/>
                  </a:cubicBezTo>
                  <a:cubicBezTo>
                    <a:pt x="101" y="31"/>
                    <a:pt x="101" y="31"/>
                    <a:pt x="101" y="30"/>
                  </a:cubicBezTo>
                  <a:cubicBezTo>
                    <a:pt x="101" y="30"/>
                    <a:pt x="101" y="30"/>
                    <a:pt x="101" y="29"/>
                  </a:cubicBezTo>
                  <a:cubicBezTo>
                    <a:pt x="101" y="29"/>
                    <a:pt x="101" y="29"/>
                    <a:pt x="101" y="29"/>
                  </a:cubicBezTo>
                  <a:cubicBezTo>
                    <a:pt x="101" y="29"/>
                    <a:pt x="101" y="28"/>
                    <a:pt x="101" y="28"/>
                  </a:cubicBezTo>
                  <a:cubicBezTo>
                    <a:pt x="101" y="28"/>
                    <a:pt x="101" y="28"/>
                    <a:pt x="101" y="28"/>
                  </a:cubicBezTo>
                  <a:cubicBezTo>
                    <a:pt x="101" y="28"/>
                    <a:pt x="101" y="28"/>
                    <a:pt x="101" y="28"/>
                  </a:cubicBezTo>
                  <a:cubicBezTo>
                    <a:pt x="101" y="27"/>
                    <a:pt x="101" y="27"/>
                    <a:pt x="101" y="27"/>
                  </a:cubicBezTo>
                  <a:cubicBezTo>
                    <a:pt x="101" y="25"/>
                    <a:pt x="101" y="25"/>
                    <a:pt x="101" y="25"/>
                  </a:cubicBezTo>
                  <a:cubicBezTo>
                    <a:pt x="103" y="23"/>
                    <a:pt x="103" y="23"/>
                    <a:pt x="103" y="23"/>
                  </a:cubicBezTo>
                  <a:cubicBezTo>
                    <a:pt x="103" y="23"/>
                    <a:pt x="103" y="22"/>
                    <a:pt x="104" y="21"/>
                  </a:cubicBezTo>
                  <a:cubicBezTo>
                    <a:pt x="104" y="21"/>
                    <a:pt x="104" y="20"/>
                    <a:pt x="104" y="20"/>
                  </a:cubicBezTo>
                  <a:cubicBezTo>
                    <a:pt x="106" y="19"/>
                    <a:pt x="106" y="19"/>
                    <a:pt x="106" y="19"/>
                  </a:cubicBezTo>
                  <a:cubicBezTo>
                    <a:pt x="106" y="19"/>
                    <a:pt x="106" y="18"/>
                    <a:pt x="106" y="18"/>
                  </a:cubicBezTo>
                  <a:cubicBezTo>
                    <a:pt x="106" y="18"/>
                    <a:pt x="105" y="17"/>
                    <a:pt x="105" y="17"/>
                  </a:cubicBezTo>
                  <a:cubicBezTo>
                    <a:pt x="105" y="16"/>
                    <a:pt x="106" y="15"/>
                    <a:pt x="106" y="15"/>
                  </a:cubicBezTo>
                  <a:cubicBezTo>
                    <a:pt x="106" y="15"/>
                    <a:pt x="105" y="14"/>
                    <a:pt x="105" y="14"/>
                  </a:cubicBezTo>
                  <a:cubicBezTo>
                    <a:pt x="105" y="14"/>
                    <a:pt x="104" y="14"/>
                    <a:pt x="104" y="14"/>
                  </a:cubicBezTo>
                  <a:cubicBezTo>
                    <a:pt x="104" y="13"/>
                    <a:pt x="103" y="12"/>
                    <a:pt x="103" y="12"/>
                  </a:cubicBezTo>
                  <a:cubicBezTo>
                    <a:pt x="103" y="12"/>
                    <a:pt x="103" y="11"/>
                    <a:pt x="103" y="11"/>
                  </a:cubicBezTo>
                  <a:cubicBezTo>
                    <a:pt x="102" y="11"/>
                    <a:pt x="102" y="11"/>
                    <a:pt x="101" y="10"/>
                  </a:cubicBezTo>
                  <a:cubicBezTo>
                    <a:pt x="100" y="10"/>
                    <a:pt x="99" y="9"/>
                    <a:pt x="99" y="9"/>
                  </a:cubicBezTo>
                  <a:cubicBezTo>
                    <a:pt x="99" y="9"/>
                    <a:pt x="97" y="8"/>
                    <a:pt x="97" y="8"/>
                  </a:cubicBezTo>
                  <a:cubicBezTo>
                    <a:pt x="97" y="8"/>
                    <a:pt x="96" y="8"/>
                    <a:pt x="96" y="8"/>
                  </a:cubicBezTo>
                  <a:cubicBezTo>
                    <a:pt x="96" y="8"/>
                    <a:pt x="95" y="7"/>
                    <a:pt x="95" y="7"/>
                  </a:cubicBezTo>
                  <a:cubicBezTo>
                    <a:pt x="94" y="7"/>
                    <a:pt x="94" y="7"/>
                    <a:pt x="94" y="7"/>
                  </a:cubicBezTo>
                  <a:cubicBezTo>
                    <a:pt x="94" y="7"/>
                    <a:pt x="94" y="7"/>
                    <a:pt x="94" y="7"/>
                  </a:cubicBezTo>
                  <a:cubicBezTo>
                    <a:pt x="94" y="7"/>
                    <a:pt x="94" y="7"/>
                    <a:pt x="93" y="6"/>
                  </a:cubicBezTo>
                  <a:cubicBezTo>
                    <a:pt x="91" y="6"/>
                    <a:pt x="92" y="6"/>
                    <a:pt x="91" y="6"/>
                  </a:cubicBezTo>
                  <a:cubicBezTo>
                    <a:pt x="89" y="6"/>
                    <a:pt x="88" y="6"/>
                    <a:pt x="88" y="6"/>
                  </a:cubicBezTo>
                  <a:cubicBezTo>
                    <a:pt x="88" y="6"/>
                    <a:pt x="88" y="6"/>
                    <a:pt x="86" y="6"/>
                  </a:cubicBezTo>
                  <a:cubicBezTo>
                    <a:pt x="85" y="6"/>
                    <a:pt x="84" y="7"/>
                    <a:pt x="83" y="7"/>
                  </a:cubicBezTo>
                  <a:cubicBezTo>
                    <a:pt x="83" y="7"/>
                    <a:pt x="82" y="6"/>
                    <a:pt x="82" y="6"/>
                  </a:cubicBezTo>
                  <a:cubicBezTo>
                    <a:pt x="82" y="6"/>
                    <a:pt x="82" y="6"/>
                    <a:pt x="82" y="5"/>
                  </a:cubicBezTo>
                  <a:cubicBezTo>
                    <a:pt x="82" y="5"/>
                    <a:pt x="81" y="4"/>
                    <a:pt x="81" y="4"/>
                  </a:cubicBezTo>
                  <a:cubicBezTo>
                    <a:pt x="81" y="4"/>
                    <a:pt x="80" y="4"/>
                    <a:pt x="80" y="4"/>
                  </a:cubicBezTo>
                  <a:cubicBezTo>
                    <a:pt x="80" y="4"/>
                    <a:pt x="79" y="4"/>
                    <a:pt x="80" y="4"/>
                  </a:cubicBezTo>
                  <a:cubicBezTo>
                    <a:pt x="80" y="5"/>
                    <a:pt x="81" y="6"/>
                    <a:pt x="80" y="5"/>
                  </a:cubicBezTo>
                  <a:cubicBezTo>
                    <a:pt x="79" y="5"/>
                    <a:pt x="78" y="5"/>
                    <a:pt x="78" y="5"/>
                  </a:cubicBezTo>
                  <a:cubicBezTo>
                    <a:pt x="76" y="6"/>
                    <a:pt x="76" y="6"/>
                    <a:pt x="76" y="6"/>
                  </a:cubicBezTo>
                  <a:cubicBezTo>
                    <a:pt x="76" y="4"/>
                    <a:pt x="76" y="4"/>
                    <a:pt x="76" y="4"/>
                  </a:cubicBezTo>
                  <a:cubicBezTo>
                    <a:pt x="76" y="4"/>
                    <a:pt x="78" y="5"/>
                    <a:pt x="78" y="5"/>
                  </a:cubicBezTo>
                  <a:cubicBezTo>
                    <a:pt x="78" y="4"/>
                    <a:pt x="78" y="4"/>
                    <a:pt x="78" y="4"/>
                  </a:cubicBezTo>
                  <a:cubicBezTo>
                    <a:pt x="78" y="4"/>
                    <a:pt x="77" y="3"/>
                    <a:pt x="78" y="3"/>
                  </a:cubicBezTo>
                  <a:cubicBezTo>
                    <a:pt x="78" y="3"/>
                    <a:pt x="79" y="3"/>
                    <a:pt x="78" y="2"/>
                  </a:cubicBezTo>
                  <a:cubicBezTo>
                    <a:pt x="78" y="2"/>
                    <a:pt x="77" y="2"/>
                    <a:pt x="77" y="2"/>
                  </a:cubicBezTo>
                  <a:cubicBezTo>
                    <a:pt x="77" y="1"/>
                    <a:pt x="77" y="1"/>
                    <a:pt x="77" y="1"/>
                  </a:cubicBezTo>
                  <a:cubicBezTo>
                    <a:pt x="77" y="1"/>
                    <a:pt x="76" y="0"/>
                    <a:pt x="76" y="1"/>
                  </a:cubicBezTo>
                  <a:cubicBezTo>
                    <a:pt x="76" y="1"/>
                    <a:pt x="76" y="2"/>
                    <a:pt x="75" y="2"/>
                  </a:cubicBezTo>
                  <a:cubicBezTo>
                    <a:pt x="75" y="2"/>
                    <a:pt x="75" y="2"/>
                    <a:pt x="75" y="1"/>
                  </a:cubicBezTo>
                  <a:cubicBezTo>
                    <a:pt x="75" y="1"/>
                    <a:pt x="75" y="1"/>
                    <a:pt x="75" y="0"/>
                  </a:cubicBezTo>
                  <a:cubicBezTo>
                    <a:pt x="74" y="0"/>
                    <a:pt x="73" y="0"/>
                    <a:pt x="73" y="0"/>
                  </a:cubicBezTo>
                  <a:cubicBezTo>
                    <a:pt x="73" y="0"/>
                    <a:pt x="74" y="2"/>
                    <a:pt x="73" y="2"/>
                  </a:cubicBezTo>
                  <a:cubicBezTo>
                    <a:pt x="72" y="2"/>
                    <a:pt x="71" y="2"/>
                    <a:pt x="70" y="2"/>
                  </a:cubicBezTo>
                  <a:cubicBezTo>
                    <a:pt x="69" y="3"/>
                    <a:pt x="69" y="4"/>
                    <a:pt x="69" y="4"/>
                  </a:cubicBezTo>
                  <a:cubicBezTo>
                    <a:pt x="69" y="4"/>
                    <a:pt x="68" y="5"/>
                    <a:pt x="68" y="5"/>
                  </a:cubicBezTo>
                  <a:cubicBezTo>
                    <a:pt x="68" y="6"/>
                    <a:pt x="68" y="6"/>
                    <a:pt x="69" y="6"/>
                  </a:cubicBezTo>
                  <a:cubicBezTo>
                    <a:pt x="70" y="6"/>
                    <a:pt x="70" y="7"/>
                    <a:pt x="71" y="7"/>
                  </a:cubicBezTo>
                  <a:cubicBezTo>
                    <a:pt x="72" y="7"/>
                    <a:pt x="72" y="6"/>
                    <a:pt x="72" y="6"/>
                  </a:cubicBezTo>
                  <a:cubicBezTo>
                    <a:pt x="72" y="6"/>
                    <a:pt x="72" y="6"/>
                    <a:pt x="73" y="7"/>
                  </a:cubicBezTo>
                  <a:cubicBezTo>
                    <a:pt x="74" y="7"/>
                    <a:pt x="74" y="6"/>
                    <a:pt x="74" y="7"/>
                  </a:cubicBezTo>
                  <a:cubicBezTo>
                    <a:pt x="74" y="8"/>
                    <a:pt x="75" y="9"/>
                    <a:pt x="74" y="9"/>
                  </a:cubicBezTo>
                  <a:cubicBezTo>
                    <a:pt x="74" y="9"/>
                    <a:pt x="73" y="9"/>
                    <a:pt x="73" y="9"/>
                  </a:cubicBezTo>
                  <a:cubicBezTo>
                    <a:pt x="73" y="9"/>
                    <a:pt x="73" y="8"/>
                    <a:pt x="72" y="8"/>
                  </a:cubicBezTo>
                  <a:cubicBezTo>
                    <a:pt x="71" y="8"/>
                    <a:pt x="71" y="8"/>
                    <a:pt x="71" y="8"/>
                  </a:cubicBezTo>
                  <a:cubicBezTo>
                    <a:pt x="70" y="10"/>
                    <a:pt x="70" y="10"/>
                    <a:pt x="70" y="10"/>
                  </a:cubicBezTo>
                  <a:cubicBezTo>
                    <a:pt x="70" y="10"/>
                    <a:pt x="70" y="10"/>
                    <a:pt x="69" y="10"/>
                  </a:cubicBezTo>
                  <a:cubicBezTo>
                    <a:pt x="68" y="10"/>
                    <a:pt x="69" y="10"/>
                    <a:pt x="68" y="10"/>
                  </a:cubicBezTo>
                  <a:cubicBezTo>
                    <a:pt x="66" y="10"/>
                    <a:pt x="66" y="9"/>
                    <a:pt x="65" y="9"/>
                  </a:cubicBezTo>
                  <a:cubicBezTo>
                    <a:pt x="65" y="9"/>
                    <a:pt x="65" y="9"/>
                    <a:pt x="65" y="9"/>
                  </a:cubicBezTo>
                  <a:cubicBezTo>
                    <a:pt x="64" y="9"/>
                    <a:pt x="63" y="8"/>
                    <a:pt x="62" y="9"/>
                  </a:cubicBezTo>
                  <a:cubicBezTo>
                    <a:pt x="61" y="10"/>
                    <a:pt x="60" y="11"/>
                    <a:pt x="60" y="11"/>
                  </a:cubicBezTo>
                  <a:cubicBezTo>
                    <a:pt x="58" y="11"/>
                    <a:pt x="58" y="11"/>
                    <a:pt x="58" y="11"/>
                  </a:cubicBezTo>
                  <a:cubicBezTo>
                    <a:pt x="58" y="11"/>
                    <a:pt x="58" y="11"/>
                    <a:pt x="57" y="11"/>
                  </a:cubicBezTo>
                  <a:cubicBezTo>
                    <a:pt x="56" y="11"/>
                    <a:pt x="55" y="11"/>
                    <a:pt x="55" y="11"/>
                  </a:cubicBezTo>
                  <a:cubicBezTo>
                    <a:pt x="54" y="12"/>
                    <a:pt x="53" y="10"/>
                    <a:pt x="53" y="10"/>
                  </a:cubicBezTo>
                  <a:cubicBezTo>
                    <a:pt x="53" y="10"/>
                    <a:pt x="54" y="8"/>
                    <a:pt x="52" y="9"/>
                  </a:cubicBezTo>
                  <a:cubicBezTo>
                    <a:pt x="49" y="11"/>
                    <a:pt x="49" y="11"/>
                    <a:pt x="48" y="11"/>
                  </a:cubicBezTo>
                  <a:cubicBezTo>
                    <a:pt x="48" y="11"/>
                    <a:pt x="48" y="11"/>
                    <a:pt x="48" y="11"/>
                  </a:cubicBezTo>
                  <a:cubicBezTo>
                    <a:pt x="48" y="11"/>
                    <a:pt x="48" y="11"/>
                    <a:pt x="48" y="11"/>
                  </a:cubicBezTo>
                  <a:cubicBezTo>
                    <a:pt x="47" y="12"/>
                    <a:pt x="47" y="12"/>
                    <a:pt x="47" y="12"/>
                  </a:cubicBezTo>
                  <a:cubicBezTo>
                    <a:pt x="47" y="12"/>
                    <a:pt x="47" y="12"/>
                    <a:pt x="46" y="12"/>
                  </a:cubicBezTo>
                  <a:cubicBezTo>
                    <a:pt x="46" y="12"/>
                    <a:pt x="46" y="12"/>
                    <a:pt x="46" y="12"/>
                  </a:cubicBezTo>
                  <a:cubicBezTo>
                    <a:pt x="44" y="12"/>
                    <a:pt x="44" y="12"/>
                    <a:pt x="44" y="12"/>
                  </a:cubicBezTo>
                  <a:cubicBezTo>
                    <a:pt x="44" y="12"/>
                    <a:pt x="44" y="12"/>
                    <a:pt x="44" y="12"/>
                  </a:cubicBezTo>
                  <a:cubicBezTo>
                    <a:pt x="44" y="13"/>
                    <a:pt x="44" y="13"/>
                    <a:pt x="44" y="13"/>
                  </a:cubicBezTo>
                  <a:cubicBezTo>
                    <a:pt x="44" y="13"/>
                    <a:pt x="43" y="15"/>
                    <a:pt x="43" y="15"/>
                  </a:cubicBezTo>
                  <a:cubicBezTo>
                    <a:pt x="42" y="15"/>
                    <a:pt x="42" y="16"/>
                    <a:pt x="42" y="16"/>
                  </a:cubicBezTo>
                  <a:cubicBezTo>
                    <a:pt x="41" y="16"/>
                    <a:pt x="41" y="16"/>
                    <a:pt x="41" y="16"/>
                  </a:cubicBezTo>
                  <a:cubicBezTo>
                    <a:pt x="41" y="17"/>
                    <a:pt x="40" y="18"/>
                    <a:pt x="40" y="18"/>
                  </a:cubicBezTo>
                  <a:cubicBezTo>
                    <a:pt x="40" y="18"/>
                    <a:pt x="38" y="19"/>
                    <a:pt x="37" y="19"/>
                  </a:cubicBezTo>
                  <a:cubicBezTo>
                    <a:pt x="37" y="19"/>
                    <a:pt x="37" y="19"/>
                    <a:pt x="37" y="19"/>
                  </a:cubicBezTo>
                  <a:cubicBezTo>
                    <a:pt x="36" y="19"/>
                    <a:pt x="36" y="19"/>
                    <a:pt x="36" y="19"/>
                  </a:cubicBezTo>
                  <a:cubicBezTo>
                    <a:pt x="35" y="19"/>
                    <a:pt x="35" y="19"/>
                    <a:pt x="35" y="19"/>
                  </a:cubicBezTo>
                  <a:cubicBezTo>
                    <a:pt x="35" y="19"/>
                    <a:pt x="35" y="19"/>
                    <a:pt x="35" y="19"/>
                  </a:cubicBezTo>
                  <a:cubicBezTo>
                    <a:pt x="34" y="20"/>
                    <a:pt x="34" y="20"/>
                    <a:pt x="34" y="20"/>
                  </a:cubicBezTo>
                  <a:cubicBezTo>
                    <a:pt x="33" y="19"/>
                    <a:pt x="33" y="19"/>
                    <a:pt x="33" y="19"/>
                  </a:cubicBezTo>
                  <a:cubicBezTo>
                    <a:pt x="31" y="19"/>
                    <a:pt x="31" y="18"/>
                    <a:pt x="30" y="18"/>
                  </a:cubicBezTo>
                  <a:cubicBezTo>
                    <a:pt x="30" y="17"/>
                    <a:pt x="30" y="17"/>
                    <a:pt x="29" y="16"/>
                  </a:cubicBezTo>
                  <a:cubicBezTo>
                    <a:pt x="29" y="16"/>
                    <a:pt x="29" y="16"/>
                    <a:pt x="29" y="16"/>
                  </a:cubicBezTo>
                  <a:cubicBezTo>
                    <a:pt x="29" y="17"/>
                    <a:pt x="29" y="17"/>
                    <a:pt x="29" y="17"/>
                  </a:cubicBezTo>
                  <a:cubicBezTo>
                    <a:pt x="29" y="17"/>
                    <a:pt x="29" y="17"/>
                    <a:pt x="29" y="17"/>
                  </a:cubicBezTo>
                  <a:cubicBezTo>
                    <a:pt x="29" y="18"/>
                    <a:pt x="29" y="18"/>
                    <a:pt x="29" y="18"/>
                  </a:cubicBezTo>
                  <a:cubicBezTo>
                    <a:pt x="30" y="20"/>
                    <a:pt x="30" y="20"/>
                    <a:pt x="30" y="20"/>
                  </a:cubicBezTo>
                  <a:cubicBezTo>
                    <a:pt x="30" y="23"/>
                    <a:pt x="30" y="23"/>
                    <a:pt x="30" y="23"/>
                  </a:cubicBezTo>
                  <a:cubicBezTo>
                    <a:pt x="29" y="23"/>
                    <a:pt x="29" y="23"/>
                    <a:pt x="29" y="23"/>
                  </a:cubicBezTo>
                  <a:cubicBezTo>
                    <a:pt x="29" y="23"/>
                    <a:pt x="28" y="24"/>
                    <a:pt x="28" y="24"/>
                  </a:cubicBezTo>
                  <a:cubicBezTo>
                    <a:pt x="28" y="24"/>
                    <a:pt x="27" y="25"/>
                    <a:pt x="27" y="25"/>
                  </a:cubicBezTo>
                  <a:cubicBezTo>
                    <a:pt x="27" y="26"/>
                    <a:pt x="26" y="27"/>
                    <a:pt x="25" y="28"/>
                  </a:cubicBezTo>
                  <a:cubicBezTo>
                    <a:pt x="25" y="29"/>
                    <a:pt x="25" y="29"/>
                    <a:pt x="25" y="29"/>
                  </a:cubicBezTo>
                  <a:cubicBezTo>
                    <a:pt x="23" y="30"/>
                    <a:pt x="23" y="30"/>
                    <a:pt x="23" y="30"/>
                  </a:cubicBezTo>
                  <a:cubicBezTo>
                    <a:pt x="21" y="32"/>
                    <a:pt x="21" y="32"/>
                    <a:pt x="21" y="32"/>
                  </a:cubicBezTo>
                  <a:cubicBezTo>
                    <a:pt x="21" y="33"/>
                    <a:pt x="21" y="33"/>
                    <a:pt x="21" y="33"/>
                  </a:cubicBezTo>
                  <a:cubicBezTo>
                    <a:pt x="19" y="33"/>
                    <a:pt x="19" y="33"/>
                    <a:pt x="19" y="33"/>
                  </a:cubicBezTo>
                  <a:cubicBezTo>
                    <a:pt x="19" y="36"/>
                    <a:pt x="19" y="36"/>
                    <a:pt x="19" y="36"/>
                  </a:cubicBezTo>
                  <a:cubicBezTo>
                    <a:pt x="17" y="36"/>
                    <a:pt x="17" y="36"/>
                    <a:pt x="17" y="36"/>
                  </a:cubicBezTo>
                  <a:cubicBezTo>
                    <a:pt x="17" y="38"/>
                    <a:pt x="17" y="38"/>
                    <a:pt x="17" y="38"/>
                  </a:cubicBezTo>
                  <a:cubicBezTo>
                    <a:pt x="15" y="39"/>
                    <a:pt x="15" y="39"/>
                    <a:pt x="15" y="39"/>
                  </a:cubicBezTo>
                  <a:cubicBezTo>
                    <a:pt x="14" y="39"/>
                    <a:pt x="14" y="39"/>
                    <a:pt x="13" y="39"/>
                  </a:cubicBezTo>
                  <a:cubicBezTo>
                    <a:pt x="13" y="39"/>
                    <a:pt x="13" y="39"/>
                    <a:pt x="13" y="39"/>
                  </a:cubicBezTo>
                  <a:cubicBezTo>
                    <a:pt x="12" y="39"/>
                    <a:pt x="12" y="39"/>
                    <a:pt x="12" y="39"/>
                  </a:cubicBezTo>
                  <a:cubicBezTo>
                    <a:pt x="12" y="40"/>
                    <a:pt x="12" y="40"/>
                    <a:pt x="12" y="40"/>
                  </a:cubicBezTo>
                  <a:cubicBezTo>
                    <a:pt x="12" y="43"/>
                    <a:pt x="12" y="43"/>
                    <a:pt x="12" y="43"/>
                  </a:cubicBezTo>
                  <a:cubicBezTo>
                    <a:pt x="12" y="43"/>
                    <a:pt x="12" y="43"/>
                    <a:pt x="12" y="43"/>
                  </a:cubicBezTo>
                  <a:cubicBezTo>
                    <a:pt x="12" y="44"/>
                    <a:pt x="11" y="44"/>
                    <a:pt x="11" y="44"/>
                  </a:cubicBezTo>
                  <a:cubicBezTo>
                    <a:pt x="12" y="45"/>
                    <a:pt x="12" y="46"/>
                    <a:pt x="12" y="46"/>
                  </a:cubicBezTo>
                  <a:cubicBezTo>
                    <a:pt x="11" y="48"/>
                    <a:pt x="11" y="48"/>
                    <a:pt x="10" y="49"/>
                  </a:cubicBezTo>
                  <a:cubicBezTo>
                    <a:pt x="9" y="50"/>
                    <a:pt x="9" y="50"/>
                    <a:pt x="9" y="50"/>
                  </a:cubicBezTo>
                  <a:cubicBezTo>
                    <a:pt x="9" y="50"/>
                    <a:pt x="8" y="50"/>
                    <a:pt x="7" y="50"/>
                  </a:cubicBezTo>
                  <a:cubicBezTo>
                    <a:pt x="7" y="50"/>
                    <a:pt x="6" y="51"/>
                    <a:pt x="6" y="51"/>
                  </a:cubicBezTo>
                  <a:cubicBezTo>
                    <a:pt x="4" y="52"/>
                    <a:pt x="4" y="52"/>
                    <a:pt x="4" y="52"/>
                  </a:cubicBezTo>
                  <a:cubicBezTo>
                    <a:pt x="2" y="54"/>
                    <a:pt x="2" y="54"/>
                    <a:pt x="2" y="54"/>
                  </a:cubicBezTo>
                  <a:cubicBezTo>
                    <a:pt x="2" y="54"/>
                    <a:pt x="2" y="54"/>
                    <a:pt x="2" y="54"/>
                  </a:cubicBezTo>
                  <a:cubicBezTo>
                    <a:pt x="2" y="54"/>
                    <a:pt x="2" y="56"/>
                    <a:pt x="1" y="57"/>
                  </a:cubicBezTo>
                  <a:cubicBezTo>
                    <a:pt x="1" y="58"/>
                    <a:pt x="1" y="59"/>
                    <a:pt x="0" y="59"/>
                  </a:cubicBezTo>
                  <a:cubicBezTo>
                    <a:pt x="1" y="60"/>
                    <a:pt x="1" y="60"/>
                    <a:pt x="1" y="60"/>
                  </a:cubicBezTo>
                  <a:cubicBezTo>
                    <a:pt x="0" y="60"/>
                    <a:pt x="0" y="60"/>
                    <a:pt x="0" y="60"/>
                  </a:cubicBezTo>
                  <a:cubicBezTo>
                    <a:pt x="2" y="61"/>
                    <a:pt x="2" y="61"/>
                    <a:pt x="2" y="61"/>
                  </a:cubicBezTo>
                  <a:cubicBezTo>
                    <a:pt x="2" y="61"/>
                    <a:pt x="2" y="61"/>
                    <a:pt x="2" y="61"/>
                  </a:cubicBezTo>
                  <a:cubicBezTo>
                    <a:pt x="3" y="60"/>
                    <a:pt x="3" y="60"/>
                    <a:pt x="3" y="60"/>
                  </a:cubicBezTo>
                  <a:cubicBezTo>
                    <a:pt x="7" y="59"/>
                    <a:pt x="7" y="59"/>
                    <a:pt x="7" y="59"/>
                  </a:cubicBezTo>
                  <a:cubicBezTo>
                    <a:pt x="10" y="58"/>
                    <a:pt x="10" y="58"/>
                    <a:pt x="10" y="58"/>
                  </a:cubicBezTo>
                  <a:cubicBezTo>
                    <a:pt x="11" y="57"/>
                    <a:pt x="13" y="57"/>
                    <a:pt x="13" y="57"/>
                  </a:cubicBezTo>
                  <a:lnTo>
                    <a:pt x="17" y="57"/>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8" name="Freeform 125"/>
            <p:cNvSpPr>
              <a:spLocks/>
            </p:cNvSpPr>
            <p:nvPr/>
          </p:nvSpPr>
          <p:spPr bwMode="auto">
            <a:xfrm>
              <a:off x="5397421" y="4606146"/>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 name="Freeform 126"/>
            <p:cNvSpPr>
              <a:spLocks/>
            </p:cNvSpPr>
            <p:nvPr/>
          </p:nvSpPr>
          <p:spPr bwMode="auto">
            <a:xfrm>
              <a:off x="5394533" y="4603423"/>
              <a:ext cx="2888" cy="2723"/>
            </a:xfrm>
            <a:custGeom>
              <a:avLst/>
              <a:gdLst>
                <a:gd name="T0" fmla="*/ 0 w 1"/>
                <a:gd name="T1" fmla="*/ 1 h 1"/>
                <a:gd name="T2" fmla="*/ 1 w 1"/>
                <a:gd name="T3" fmla="*/ 1 h 1"/>
                <a:gd name="T4" fmla="*/ 1 w 1"/>
                <a:gd name="T5" fmla="*/ 0 h 1"/>
                <a:gd name="T6" fmla="*/ 1 w 1"/>
                <a:gd name="T7" fmla="*/ 0 h 1"/>
                <a:gd name="T8" fmla="*/ 1 w 1"/>
                <a:gd name="T9" fmla="*/ 0 h 1"/>
                <a:gd name="T10" fmla="*/ 1 w 1"/>
                <a:gd name="T11" fmla="*/ 0 h 1"/>
                <a:gd name="T12" fmla="*/ 1 w 1"/>
                <a:gd name="T13" fmla="*/ 0 h 1"/>
                <a:gd name="T14" fmla="*/ 0 w 1"/>
                <a:gd name="T15" fmla="*/ 1 h 1"/>
                <a:gd name="T16" fmla="*/ 1 w 1"/>
                <a:gd name="T17" fmla="*/ 1 h 1"/>
                <a:gd name="T18" fmla="*/ 0 w 1"/>
                <a:gd name="T1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
                  <a:moveTo>
                    <a:pt x="0" y="1"/>
                  </a:moveTo>
                  <a:cubicBezTo>
                    <a:pt x="1" y="1"/>
                    <a:pt x="1" y="1"/>
                    <a:pt x="1" y="1"/>
                  </a:cubicBezTo>
                  <a:cubicBezTo>
                    <a:pt x="1" y="1"/>
                    <a:pt x="1" y="1"/>
                    <a:pt x="1" y="0"/>
                  </a:cubicBezTo>
                  <a:cubicBezTo>
                    <a:pt x="1" y="0"/>
                    <a:pt x="1" y="0"/>
                    <a:pt x="1" y="0"/>
                  </a:cubicBezTo>
                  <a:cubicBezTo>
                    <a:pt x="1" y="0"/>
                    <a:pt x="1" y="0"/>
                    <a:pt x="1" y="0"/>
                  </a:cubicBezTo>
                  <a:cubicBezTo>
                    <a:pt x="1" y="0"/>
                    <a:pt x="1" y="0"/>
                    <a:pt x="1" y="0"/>
                  </a:cubicBezTo>
                  <a:cubicBezTo>
                    <a:pt x="1" y="0"/>
                    <a:pt x="1" y="0"/>
                    <a:pt x="1" y="0"/>
                  </a:cubicBezTo>
                  <a:cubicBezTo>
                    <a:pt x="0" y="1"/>
                    <a:pt x="0" y="1"/>
                    <a:pt x="0" y="1"/>
                  </a:cubicBezTo>
                  <a:cubicBezTo>
                    <a:pt x="1" y="1"/>
                    <a:pt x="1" y="1"/>
                    <a:pt x="1" y="1"/>
                  </a:cubicBezTo>
                  <a:cubicBezTo>
                    <a:pt x="1" y="1"/>
                    <a:pt x="0" y="1"/>
                    <a:pt x="0" y="1"/>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0" name="Rectangle 127"/>
            <p:cNvSpPr>
              <a:spLocks noChangeArrowheads="1"/>
            </p:cNvSpPr>
            <p:nvPr/>
          </p:nvSpPr>
          <p:spPr bwMode="auto">
            <a:xfrm>
              <a:off x="5406086" y="4555767"/>
              <a:ext cx="1444" cy="1362"/>
            </a:xfrm>
            <a:prstGeom prst="rect">
              <a:avLst/>
            </a:prstGeom>
            <a:grpFill/>
            <a:ln w="9525">
              <a:solidFill>
                <a:schemeClr val="bg1"/>
              </a:solidFill>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 name="Freeform 128"/>
            <p:cNvSpPr>
              <a:spLocks/>
            </p:cNvSpPr>
            <p:nvPr/>
          </p:nvSpPr>
          <p:spPr bwMode="auto">
            <a:xfrm>
              <a:off x="5748349" y="4603423"/>
              <a:ext cx="264279" cy="190624"/>
            </a:xfrm>
            <a:custGeom>
              <a:avLst/>
              <a:gdLst>
                <a:gd name="T0" fmla="*/ 85 w 91"/>
                <a:gd name="T1" fmla="*/ 6 h 70"/>
                <a:gd name="T2" fmla="*/ 84 w 91"/>
                <a:gd name="T3" fmla="*/ 3 h 70"/>
                <a:gd name="T4" fmla="*/ 83 w 91"/>
                <a:gd name="T5" fmla="*/ 2 h 70"/>
                <a:gd name="T6" fmla="*/ 81 w 91"/>
                <a:gd name="T7" fmla="*/ 0 h 70"/>
                <a:gd name="T8" fmla="*/ 75 w 91"/>
                <a:gd name="T9" fmla="*/ 6 h 70"/>
                <a:gd name="T10" fmla="*/ 66 w 91"/>
                <a:gd name="T11" fmla="*/ 11 h 70"/>
                <a:gd name="T12" fmla="*/ 53 w 91"/>
                <a:gd name="T13" fmla="*/ 14 h 70"/>
                <a:gd name="T14" fmla="*/ 40 w 91"/>
                <a:gd name="T15" fmla="*/ 21 h 70"/>
                <a:gd name="T16" fmla="*/ 32 w 91"/>
                <a:gd name="T17" fmla="*/ 27 h 70"/>
                <a:gd name="T18" fmla="*/ 14 w 91"/>
                <a:gd name="T19" fmla="*/ 25 h 70"/>
                <a:gd name="T20" fmla="*/ 5 w 91"/>
                <a:gd name="T21" fmla="*/ 28 h 70"/>
                <a:gd name="T22" fmla="*/ 3 w 91"/>
                <a:gd name="T23" fmla="*/ 30 h 70"/>
                <a:gd name="T24" fmla="*/ 0 w 91"/>
                <a:gd name="T25" fmla="*/ 32 h 70"/>
                <a:gd name="T26" fmla="*/ 3 w 91"/>
                <a:gd name="T27" fmla="*/ 35 h 70"/>
                <a:gd name="T28" fmla="*/ 8 w 91"/>
                <a:gd name="T29" fmla="*/ 37 h 70"/>
                <a:gd name="T30" fmla="*/ 4 w 91"/>
                <a:gd name="T31" fmla="*/ 44 h 70"/>
                <a:gd name="T32" fmla="*/ 7 w 91"/>
                <a:gd name="T33" fmla="*/ 45 h 70"/>
                <a:gd name="T34" fmla="*/ 7 w 91"/>
                <a:gd name="T35" fmla="*/ 51 h 70"/>
                <a:gd name="T36" fmla="*/ 7 w 91"/>
                <a:gd name="T37" fmla="*/ 56 h 70"/>
                <a:gd name="T38" fmla="*/ 14 w 91"/>
                <a:gd name="T39" fmla="*/ 62 h 70"/>
                <a:gd name="T40" fmla="*/ 11 w 91"/>
                <a:gd name="T41" fmla="*/ 63 h 70"/>
                <a:gd name="T42" fmla="*/ 11 w 91"/>
                <a:gd name="T43" fmla="*/ 65 h 70"/>
                <a:gd name="T44" fmla="*/ 7 w 91"/>
                <a:gd name="T45" fmla="*/ 66 h 70"/>
                <a:gd name="T46" fmla="*/ 6 w 91"/>
                <a:gd name="T47" fmla="*/ 68 h 70"/>
                <a:gd name="T48" fmla="*/ 10 w 91"/>
                <a:gd name="T49" fmla="*/ 69 h 70"/>
                <a:gd name="T50" fmla="*/ 15 w 91"/>
                <a:gd name="T51" fmla="*/ 70 h 70"/>
                <a:gd name="T52" fmla="*/ 17 w 91"/>
                <a:gd name="T53" fmla="*/ 69 h 70"/>
                <a:gd name="T54" fmla="*/ 18 w 91"/>
                <a:gd name="T55" fmla="*/ 67 h 70"/>
                <a:gd name="T56" fmla="*/ 20 w 91"/>
                <a:gd name="T57" fmla="*/ 66 h 70"/>
                <a:gd name="T58" fmla="*/ 24 w 91"/>
                <a:gd name="T59" fmla="*/ 67 h 70"/>
                <a:gd name="T60" fmla="*/ 30 w 91"/>
                <a:gd name="T61" fmla="*/ 66 h 70"/>
                <a:gd name="T62" fmla="*/ 34 w 91"/>
                <a:gd name="T63" fmla="*/ 63 h 70"/>
                <a:gd name="T64" fmla="*/ 35 w 91"/>
                <a:gd name="T65" fmla="*/ 59 h 70"/>
                <a:gd name="T66" fmla="*/ 37 w 91"/>
                <a:gd name="T67" fmla="*/ 59 h 70"/>
                <a:gd name="T68" fmla="*/ 39 w 91"/>
                <a:gd name="T69" fmla="*/ 62 h 70"/>
                <a:gd name="T70" fmla="*/ 42 w 91"/>
                <a:gd name="T71" fmla="*/ 65 h 70"/>
                <a:gd name="T72" fmla="*/ 47 w 91"/>
                <a:gd name="T73" fmla="*/ 64 h 70"/>
                <a:gd name="T74" fmla="*/ 50 w 91"/>
                <a:gd name="T75" fmla="*/ 64 h 70"/>
                <a:gd name="T76" fmla="*/ 54 w 91"/>
                <a:gd name="T77" fmla="*/ 66 h 70"/>
                <a:gd name="T78" fmla="*/ 57 w 91"/>
                <a:gd name="T79" fmla="*/ 65 h 70"/>
                <a:gd name="T80" fmla="*/ 61 w 91"/>
                <a:gd name="T81" fmla="*/ 63 h 70"/>
                <a:gd name="T82" fmla="*/ 58 w 91"/>
                <a:gd name="T83" fmla="*/ 59 h 70"/>
                <a:gd name="T84" fmla="*/ 60 w 91"/>
                <a:gd name="T85" fmla="*/ 57 h 70"/>
                <a:gd name="T86" fmla="*/ 59 w 91"/>
                <a:gd name="T87" fmla="*/ 53 h 70"/>
                <a:gd name="T88" fmla="*/ 57 w 91"/>
                <a:gd name="T89" fmla="*/ 53 h 70"/>
                <a:gd name="T90" fmla="*/ 62 w 91"/>
                <a:gd name="T91" fmla="*/ 50 h 70"/>
                <a:gd name="T92" fmla="*/ 65 w 91"/>
                <a:gd name="T93" fmla="*/ 48 h 70"/>
                <a:gd name="T94" fmla="*/ 69 w 91"/>
                <a:gd name="T95" fmla="*/ 47 h 70"/>
                <a:gd name="T96" fmla="*/ 69 w 91"/>
                <a:gd name="T97" fmla="*/ 43 h 70"/>
                <a:gd name="T98" fmla="*/ 69 w 91"/>
                <a:gd name="T99" fmla="*/ 38 h 70"/>
                <a:gd name="T100" fmla="*/ 65 w 91"/>
                <a:gd name="T101" fmla="*/ 35 h 70"/>
                <a:gd name="T102" fmla="*/ 66 w 91"/>
                <a:gd name="T103" fmla="*/ 30 h 70"/>
                <a:gd name="T104" fmla="*/ 70 w 91"/>
                <a:gd name="T105" fmla="*/ 29 h 70"/>
                <a:gd name="T106" fmla="*/ 75 w 91"/>
                <a:gd name="T107" fmla="*/ 26 h 70"/>
                <a:gd name="T108" fmla="*/ 79 w 91"/>
                <a:gd name="T109" fmla="*/ 24 h 70"/>
                <a:gd name="T110" fmla="*/ 80 w 91"/>
                <a:gd name="T111" fmla="*/ 21 h 70"/>
                <a:gd name="T112" fmla="*/ 84 w 91"/>
                <a:gd name="T113" fmla="*/ 18 h 70"/>
                <a:gd name="T114" fmla="*/ 85 w 91"/>
                <a:gd name="T115" fmla="*/ 16 h 70"/>
                <a:gd name="T116" fmla="*/ 91 w 91"/>
                <a:gd name="T117" fmla="*/ 1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1" h="70">
                  <a:moveTo>
                    <a:pt x="86" y="7"/>
                  </a:moveTo>
                  <a:cubicBezTo>
                    <a:pt x="85" y="6"/>
                    <a:pt x="85" y="6"/>
                    <a:pt x="85" y="6"/>
                  </a:cubicBezTo>
                  <a:cubicBezTo>
                    <a:pt x="85" y="6"/>
                    <a:pt x="85" y="6"/>
                    <a:pt x="85" y="6"/>
                  </a:cubicBezTo>
                  <a:cubicBezTo>
                    <a:pt x="85" y="6"/>
                    <a:pt x="85" y="5"/>
                    <a:pt x="85" y="5"/>
                  </a:cubicBezTo>
                  <a:cubicBezTo>
                    <a:pt x="84" y="4"/>
                    <a:pt x="84" y="4"/>
                    <a:pt x="84" y="4"/>
                  </a:cubicBezTo>
                  <a:cubicBezTo>
                    <a:pt x="84" y="3"/>
                    <a:pt x="84" y="3"/>
                    <a:pt x="84" y="3"/>
                  </a:cubicBezTo>
                  <a:cubicBezTo>
                    <a:pt x="84" y="3"/>
                    <a:pt x="84" y="3"/>
                    <a:pt x="84" y="3"/>
                  </a:cubicBezTo>
                  <a:cubicBezTo>
                    <a:pt x="83" y="3"/>
                    <a:pt x="83" y="2"/>
                    <a:pt x="83" y="2"/>
                  </a:cubicBezTo>
                  <a:cubicBezTo>
                    <a:pt x="83" y="2"/>
                    <a:pt x="83" y="2"/>
                    <a:pt x="83" y="2"/>
                  </a:cubicBezTo>
                  <a:cubicBezTo>
                    <a:pt x="83" y="1"/>
                    <a:pt x="83" y="1"/>
                    <a:pt x="83" y="1"/>
                  </a:cubicBezTo>
                  <a:cubicBezTo>
                    <a:pt x="81" y="0"/>
                    <a:pt x="81" y="0"/>
                    <a:pt x="81" y="0"/>
                  </a:cubicBezTo>
                  <a:cubicBezTo>
                    <a:pt x="81" y="0"/>
                    <a:pt x="81" y="0"/>
                    <a:pt x="81" y="0"/>
                  </a:cubicBezTo>
                  <a:cubicBezTo>
                    <a:pt x="80" y="2"/>
                    <a:pt x="80" y="2"/>
                    <a:pt x="80" y="2"/>
                  </a:cubicBezTo>
                  <a:cubicBezTo>
                    <a:pt x="76" y="4"/>
                    <a:pt x="76" y="4"/>
                    <a:pt x="76" y="4"/>
                  </a:cubicBezTo>
                  <a:cubicBezTo>
                    <a:pt x="75" y="6"/>
                    <a:pt x="75" y="6"/>
                    <a:pt x="75" y="6"/>
                  </a:cubicBezTo>
                  <a:cubicBezTo>
                    <a:pt x="77" y="14"/>
                    <a:pt x="77" y="14"/>
                    <a:pt x="77" y="14"/>
                  </a:cubicBezTo>
                  <a:cubicBezTo>
                    <a:pt x="69" y="10"/>
                    <a:pt x="69" y="10"/>
                    <a:pt x="69" y="10"/>
                  </a:cubicBezTo>
                  <a:cubicBezTo>
                    <a:pt x="66" y="11"/>
                    <a:pt x="66" y="11"/>
                    <a:pt x="66" y="11"/>
                  </a:cubicBezTo>
                  <a:cubicBezTo>
                    <a:pt x="63" y="12"/>
                    <a:pt x="63" y="12"/>
                    <a:pt x="63" y="12"/>
                  </a:cubicBezTo>
                  <a:cubicBezTo>
                    <a:pt x="59" y="16"/>
                    <a:pt x="59" y="16"/>
                    <a:pt x="59" y="16"/>
                  </a:cubicBezTo>
                  <a:cubicBezTo>
                    <a:pt x="53" y="14"/>
                    <a:pt x="53" y="14"/>
                    <a:pt x="53" y="14"/>
                  </a:cubicBezTo>
                  <a:cubicBezTo>
                    <a:pt x="44" y="15"/>
                    <a:pt x="44" y="15"/>
                    <a:pt x="44" y="15"/>
                  </a:cubicBezTo>
                  <a:cubicBezTo>
                    <a:pt x="42" y="16"/>
                    <a:pt x="42" y="16"/>
                    <a:pt x="42" y="16"/>
                  </a:cubicBezTo>
                  <a:cubicBezTo>
                    <a:pt x="40" y="21"/>
                    <a:pt x="40" y="21"/>
                    <a:pt x="40" y="21"/>
                  </a:cubicBezTo>
                  <a:cubicBezTo>
                    <a:pt x="37" y="22"/>
                    <a:pt x="37" y="22"/>
                    <a:pt x="37" y="22"/>
                  </a:cubicBezTo>
                  <a:cubicBezTo>
                    <a:pt x="35" y="25"/>
                    <a:pt x="35" y="25"/>
                    <a:pt x="35" y="25"/>
                  </a:cubicBezTo>
                  <a:cubicBezTo>
                    <a:pt x="32" y="27"/>
                    <a:pt x="32" y="27"/>
                    <a:pt x="32" y="27"/>
                  </a:cubicBezTo>
                  <a:cubicBezTo>
                    <a:pt x="31" y="27"/>
                    <a:pt x="31" y="27"/>
                    <a:pt x="31" y="27"/>
                  </a:cubicBezTo>
                  <a:cubicBezTo>
                    <a:pt x="22" y="26"/>
                    <a:pt x="22" y="26"/>
                    <a:pt x="22" y="26"/>
                  </a:cubicBezTo>
                  <a:cubicBezTo>
                    <a:pt x="14" y="25"/>
                    <a:pt x="14" y="25"/>
                    <a:pt x="14" y="25"/>
                  </a:cubicBezTo>
                  <a:cubicBezTo>
                    <a:pt x="8" y="24"/>
                    <a:pt x="8" y="24"/>
                    <a:pt x="8" y="24"/>
                  </a:cubicBezTo>
                  <a:cubicBezTo>
                    <a:pt x="8" y="26"/>
                    <a:pt x="7" y="27"/>
                    <a:pt x="7" y="27"/>
                  </a:cubicBezTo>
                  <a:cubicBezTo>
                    <a:pt x="7" y="28"/>
                    <a:pt x="6" y="28"/>
                    <a:pt x="5" y="28"/>
                  </a:cubicBezTo>
                  <a:cubicBezTo>
                    <a:pt x="4" y="28"/>
                    <a:pt x="4" y="28"/>
                    <a:pt x="4" y="28"/>
                  </a:cubicBezTo>
                  <a:cubicBezTo>
                    <a:pt x="4" y="28"/>
                    <a:pt x="4" y="28"/>
                    <a:pt x="4" y="28"/>
                  </a:cubicBezTo>
                  <a:cubicBezTo>
                    <a:pt x="3" y="30"/>
                    <a:pt x="3" y="30"/>
                    <a:pt x="3" y="30"/>
                  </a:cubicBezTo>
                  <a:cubicBezTo>
                    <a:pt x="3" y="30"/>
                    <a:pt x="3" y="30"/>
                    <a:pt x="3" y="30"/>
                  </a:cubicBezTo>
                  <a:cubicBezTo>
                    <a:pt x="3" y="30"/>
                    <a:pt x="2" y="31"/>
                    <a:pt x="1" y="32"/>
                  </a:cubicBezTo>
                  <a:cubicBezTo>
                    <a:pt x="0" y="32"/>
                    <a:pt x="0" y="32"/>
                    <a:pt x="0" y="32"/>
                  </a:cubicBezTo>
                  <a:cubicBezTo>
                    <a:pt x="0" y="34"/>
                    <a:pt x="0" y="34"/>
                    <a:pt x="0" y="34"/>
                  </a:cubicBezTo>
                  <a:cubicBezTo>
                    <a:pt x="1" y="34"/>
                    <a:pt x="1" y="34"/>
                    <a:pt x="1" y="34"/>
                  </a:cubicBezTo>
                  <a:cubicBezTo>
                    <a:pt x="3" y="35"/>
                    <a:pt x="3" y="35"/>
                    <a:pt x="3" y="35"/>
                  </a:cubicBezTo>
                  <a:cubicBezTo>
                    <a:pt x="4" y="35"/>
                    <a:pt x="4" y="35"/>
                    <a:pt x="4" y="35"/>
                  </a:cubicBezTo>
                  <a:cubicBezTo>
                    <a:pt x="5" y="35"/>
                    <a:pt x="5" y="35"/>
                    <a:pt x="5" y="35"/>
                  </a:cubicBezTo>
                  <a:cubicBezTo>
                    <a:pt x="8" y="37"/>
                    <a:pt x="8" y="37"/>
                    <a:pt x="8" y="37"/>
                  </a:cubicBezTo>
                  <a:cubicBezTo>
                    <a:pt x="7" y="40"/>
                    <a:pt x="7" y="40"/>
                    <a:pt x="7" y="40"/>
                  </a:cubicBezTo>
                  <a:cubicBezTo>
                    <a:pt x="7" y="41"/>
                    <a:pt x="7" y="41"/>
                    <a:pt x="7" y="41"/>
                  </a:cubicBezTo>
                  <a:cubicBezTo>
                    <a:pt x="7" y="41"/>
                    <a:pt x="4" y="43"/>
                    <a:pt x="4" y="44"/>
                  </a:cubicBezTo>
                  <a:cubicBezTo>
                    <a:pt x="4" y="44"/>
                    <a:pt x="4" y="44"/>
                    <a:pt x="4" y="44"/>
                  </a:cubicBezTo>
                  <a:cubicBezTo>
                    <a:pt x="4" y="44"/>
                    <a:pt x="4" y="44"/>
                    <a:pt x="5" y="44"/>
                  </a:cubicBezTo>
                  <a:cubicBezTo>
                    <a:pt x="5" y="44"/>
                    <a:pt x="6" y="44"/>
                    <a:pt x="7" y="45"/>
                  </a:cubicBezTo>
                  <a:cubicBezTo>
                    <a:pt x="7" y="45"/>
                    <a:pt x="8" y="46"/>
                    <a:pt x="8" y="46"/>
                  </a:cubicBezTo>
                  <a:cubicBezTo>
                    <a:pt x="8" y="47"/>
                    <a:pt x="8" y="48"/>
                    <a:pt x="8" y="49"/>
                  </a:cubicBezTo>
                  <a:cubicBezTo>
                    <a:pt x="8" y="50"/>
                    <a:pt x="8" y="50"/>
                    <a:pt x="7" y="51"/>
                  </a:cubicBezTo>
                  <a:cubicBezTo>
                    <a:pt x="7" y="52"/>
                    <a:pt x="7" y="52"/>
                    <a:pt x="7" y="52"/>
                  </a:cubicBezTo>
                  <a:cubicBezTo>
                    <a:pt x="7" y="52"/>
                    <a:pt x="10" y="54"/>
                    <a:pt x="10" y="54"/>
                  </a:cubicBezTo>
                  <a:cubicBezTo>
                    <a:pt x="7" y="56"/>
                    <a:pt x="7" y="56"/>
                    <a:pt x="7" y="56"/>
                  </a:cubicBezTo>
                  <a:cubicBezTo>
                    <a:pt x="7" y="56"/>
                    <a:pt x="7" y="56"/>
                    <a:pt x="7" y="56"/>
                  </a:cubicBezTo>
                  <a:cubicBezTo>
                    <a:pt x="7" y="59"/>
                    <a:pt x="9" y="59"/>
                    <a:pt x="11" y="61"/>
                  </a:cubicBezTo>
                  <a:cubicBezTo>
                    <a:pt x="12" y="62"/>
                    <a:pt x="15" y="62"/>
                    <a:pt x="14" y="62"/>
                  </a:cubicBezTo>
                  <a:cubicBezTo>
                    <a:pt x="14" y="63"/>
                    <a:pt x="14" y="63"/>
                    <a:pt x="13" y="63"/>
                  </a:cubicBezTo>
                  <a:cubicBezTo>
                    <a:pt x="13" y="63"/>
                    <a:pt x="13" y="63"/>
                    <a:pt x="12" y="63"/>
                  </a:cubicBezTo>
                  <a:cubicBezTo>
                    <a:pt x="12" y="63"/>
                    <a:pt x="11" y="63"/>
                    <a:pt x="11" y="63"/>
                  </a:cubicBezTo>
                  <a:cubicBezTo>
                    <a:pt x="10" y="63"/>
                    <a:pt x="10" y="64"/>
                    <a:pt x="10" y="64"/>
                  </a:cubicBezTo>
                  <a:cubicBezTo>
                    <a:pt x="10" y="64"/>
                    <a:pt x="10" y="64"/>
                    <a:pt x="10" y="64"/>
                  </a:cubicBezTo>
                  <a:cubicBezTo>
                    <a:pt x="11" y="64"/>
                    <a:pt x="10" y="64"/>
                    <a:pt x="11" y="65"/>
                  </a:cubicBezTo>
                  <a:cubicBezTo>
                    <a:pt x="11" y="66"/>
                    <a:pt x="10" y="65"/>
                    <a:pt x="10" y="65"/>
                  </a:cubicBezTo>
                  <a:cubicBezTo>
                    <a:pt x="9" y="65"/>
                    <a:pt x="9" y="65"/>
                    <a:pt x="9" y="66"/>
                  </a:cubicBezTo>
                  <a:cubicBezTo>
                    <a:pt x="9" y="66"/>
                    <a:pt x="8" y="66"/>
                    <a:pt x="7" y="66"/>
                  </a:cubicBezTo>
                  <a:cubicBezTo>
                    <a:pt x="7" y="66"/>
                    <a:pt x="6" y="66"/>
                    <a:pt x="5" y="66"/>
                  </a:cubicBezTo>
                  <a:cubicBezTo>
                    <a:pt x="5" y="66"/>
                    <a:pt x="6" y="67"/>
                    <a:pt x="6" y="67"/>
                  </a:cubicBezTo>
                  <a:cubicBezTo>
                    <a:pt x="6" y="67"/>
                    <a:pt x="6" y="68"/>
                    <a:pt x="6" y="68"/>
                  </a:cubicBezTo>
                  <a:cubicBezTo>
                    <a:pt x="6" y="69"/>
                    <a:pt x="7" y="69"/>
                    <a:pt x="7" y="69"/>
                  </a:cubicBezTo>
                  <a:cubicBezTo>
                    <a:pt x="7" y="69"/>
                    <a:pt x="8" y="69"/>
                    <a:pt x="9" y="69"/>
                  </a:cubicBezTo>
                  <a:cubicBezTo>
                    <a:pt x="9" y="69"/>
                    <a:pt x="10" y="69"/>
                    <a:pt x="10" y="69"/>
                  </a:cubicBezTo>
                  <a:cubicBezTo>
                    <a:pt x="10" y="69"/>
                    <a:pt x="12" y="69"/>
                    <a:pt x="12" y="69"/>
                  </a:cubicBezTo>
                  <a:cubicBezTo>
                    <a:pt x="13" y="69"/>
                    <a:pt x="14" y="70"/>
                    <a:pt x="14" y="70"/>
                  </a:cubicBezTo>
                  <a:cubicBezTo>
                    <a:pt x="14" y="70"/>
                    <a:pt x="15" y="70"/>
                    <a:pt x="15" y="70"/>
                  </a:cubicBezTo>
                  <a:cubicBezTo>
                    <a:pt x="16" y="70"/>
                    <a:pt x="16" y="70"/>
                    <a:pt x="16" y="70"/>
                  </a:cubicBezTo>
                  <a:cubicBezTo>
                    <a:pt x="16" y="70"/>
                    <a:pt x="16" y="69"/>
                    <a:pt x="16" y="69"/>
                  </a:cubicBezTo>
                  <a:cubicBezTo>
                    <a:pt x="16" y="69"/>
                    <a:pt x="17" y="69"/>
                    <a:pt x="17" y="69"/>
                  </a:cubicBezTo>
                  <a:cubicBezTo>
                    <a:pt x="18" y="69"/>
                    <a:pt x="18" y="68"/>
                    <a:pt x="18" y="68"/>
                  </a:cubicBezTo>
                  <a:cubicBezTo>
                    <a:pt x="19" y="68"/>
                    <a:pt x="19" y="68"/>
                    <a:pt x="19" y="67"/>
                  </a:cubicBezTo>
                  <a:cubicBezTo>
                    <a:pt x="19" y="67"/>
                    <a:pt x="18" y="67"/>
                    <a:pt x="18" y="67"/>
                  </a:cubicBezTo>
                  <a:cubicBezTo>
                    <a:pt x="18" y="66"/>
                    <a:pt x="18" y="66"/>
                    <a:pt x="18" y="66"/>
                  </a:cubicBezTo>
                  <a:cubicBezTo>
                    <a:pt x="18" y="66"/>
                    <a:pt x="19" y="66"/>
                    <a:pt x="19" y="66"/>
                  </a:cubicBezTo>
                  <a:cubicBezTo>
                    <a:pt x="19" y="66"/>
                    <a:pt x="20" y="66"/>
                    <a:pt x="20" y="66"/>
                  </a:cubicBezTo>
                  <a:cubicBezTo>
                    <a:pt x="21" y="66"/>
                    <a:pt x="21" y="67"/>
                    <a:pt x="22" y="67"/>
                  </a:cubicBezTo>
                  <a:cubicBezTo>
                    <a:pt x="22" y="67"/>
                    <a:pt x="23" y="67"/>
                    <a:pt x="23" y="67"/>
                  </a:cubicBezTo>
                  <a:cubicBezTo>
                    <a:pt x="23" y="67"/>
                    <a:pt x="24" y="67"/>
                    <a:pt x="24" y="67"/>
                  </a:cubicBezTo>
                  <a:cubicBezTo>
                    <a:pt x="26" y="66"/>
                    <a:pt x="26" y="66"/>
                    <a:pt x="26" y="66"/>
                  </a:cubicBezTo>
                  <a:cubicBezTo>
                    <a:pt x="28" y="66"/>
                    <a:pt x="28" y="66"/>
                    <a:pt x="28" y="66"/>
                  </a:cubicBezTo>
                  <a:cubicBezTo>
                    <a:pt x="30" y="66"/>
                    <a:pt x="30" y="66"/>
                    <a:pt x="30" y="66"/>
                  </a:cubicBezTo>
                  <a:cubicBezTo>
                    <a:pt x="30" y="66"/>
                    <a:pt x="31" y="65"/>
                    <a:pt x="32" y="65"/>
                  </a:cubicBezTo>
                  <a:cubicBezTo>
                    <a:pt x="32" y="64"/>
                    <a:pt x="32" y="64"/>
                    <a:pt x="33" y="64"/>
                  </a:cubicBezTo>
                  <a:cubicBezTo>
                    <a:pt x="33" y="64"/>
                    <a:pt x="34" y="63"/>
                    <a:pt x="34" y="63"/>
                  </a:cubicBezTo>
                  <a:cubicBezTo>
                    <a:pt x="34" y="62"/>
                    <a:pt x="34" y="62"/>
                    <a:pt x="33" y="62"/>
                  </a:cubicBezTo>
                  <a:cubicBezTo>
                    <a:pt x="33" y="61"/>
                    <a:pt x="34" y="61"/>
                    <a:pt x="34" y="60"/>
                  </a:cubicBezTo>
                  <a:cubicBezTo>
                    <a:pt x="34" y="60"/>
                    <a:pt x="35" y="59"/>
                    <a:pt x="35" y="59"/>
                  </a:cubicBezTo>
                  <a:cubicBezTo>
                    <a:pt x="35" y="59"/>
                    <a:pt x="35" y="58"/>
                    <a:pt x="36" y="58"/>
                  </a:cubicBezTo>
                  <a:cubicBezTo>
                    <a:pt x="36" y="57"/>
                    <a:pt x="36" y="57"/>
                    <a:pt x="36" y="57"/>
                  </a:cubicBezTo>
                  <a:cubicBezTo>
                    <a:pt x="37" y="59"/>
                    <a:pt x="37" y="59"/>
                    <a:pt x="37" y="59"/>
                  </a:cubicBezTo>
                  <a:cubicBezTo>
                    <a:pt x="37" y="59"/>
                    <a:pt x="38" y="60"/>
                    <a:pt x="38" y="60"/>
                  </a:cubicBezTo>
                  <a:cubicBezTo>
                    <a:pt x="38" y="61"/>
                    <a:pt x="39" y="61"/>
                    <a:pt x="39" y="61"/>
                  </a:cubicBezTo>
                  <a:cubicBezTo>
                    <a:pt x="40" y="61"/>
                    <a:pt x="39" y="61"/>
                    <a:pt x="39" y="62"/>
                  </a:cubicBezTo>
                  <a:cubicBezTo>
                    <a:pt x="39" y="63"/>
                    <a:pt x="39" y="63"/>
                    <a:pt x="40" y="63"/>
                  </a:cubicBezTo>
                  <a:cubicBezTo>
                    <a:pt x="40" y="63"/>
                    <a:pt x="40" y="63"/>
                    <a:pt x="41" y="63"/>
                  </a:cubicBezTo>
                  <a:cubicBezTo>
                    <a:pt x="41" y="63"/>
                    <a:pt x="42" y="64"/>
                    <a:pt x="42" y="65"/>
                  </a:cubicBezTo>
                  <a:cubicBezTo>
                    <a:pt x="43" y="65"/>
                    <a:pt x="44" y="66"/>
                    <a:pt x="45" y="66"/>
                  </a:cubicBezTo>
                  <a:cubicBezTo>
                    <a:pt x="46" y="66"/>
                    <a:pt x="45" y="66"/>
                    <a:pt x="46" y="65"/>
                  </a:cubicBezTo>
                  <a:cubicBezTo>
                    <a:pt x="47" y="65"/>
                    <a:pt x="47" y="64"/>
                    <a:pt x="47" y="64"/>
                  </a:cubicBezTo>
                  <a:cubicBezTo>
                    <a:pt x="47" y="63"/>
                    <a:pt x="47" y="63"/>
                    <a:pt x="47" y="63"/>
                  </a:cubicBezTo>
                  <a:cubicBezTo>
                    <a:pt x="48" y="64"/>
                    <a:pt x="48" y="64"/>
                    <a:pt x="48" y="64"/>
                  </a:cubicBezTo>
                  <a:cubicBezTo>
                    <a:pt x="50" y="64"/>
                    <a:pt x="50" y="64"/>
                    <a:pt x="50" y="64"/>
                  </a:cubicBezTo>
                  <a:cubicBezTo>
                    <a:pt x="50" y="64"/>
                    <a:pt x="51" y="64"/>
                    <a:pt x="51" y="64"/>
                  </a:cubicBezTo>
                  <a:cubicBezTo>
                    <a:pt x="51" y="64"/>
                    <a:pt x="52" y="65"/>
                    <a:pt x="52" y="65"/>
                  </a:cubicBezTo>
                  <a:cubicBezTo>
                    <a:pt x="52" y="65"/>
                    <a:pt x="53" y="65"/>
                    <a:pt x="54" y="66"/>
                  </a:cubicBezTo>
                  <a:cubicBezTo>
                    <a:pt x="56" y="66"/>
                    <a:pt x="55" y="66"/>
                    <a:pt x="55" y="66"/>
                  </a:cubicBezTo>
                  <a:cubicBezTo>
                    <a:pt x="55" y="66"/>
                    <a:pt x="56" y="66"/>
                    <a:pt x="56" y="66"/>
                  </a:cubicBezTo>
                  <a:cubicBezTo>
                    <a:pt x="56" y="66"/>
                    <a:pt x="57" y="65"/>
                    <a:pt x="57" y="65"/>
                  </a:cubicBezTo>
                  <a:cubicBezTo>
                    <a:pt x="57" y="64"/>
                    <a:pt x="59" y="65"/>
                    <a:pt x="59" y="65"/>
                  </a:cubicBezTo>
                  <a:cubicBezTo>
                    <a:pt x="59" y="65"/>
                    <a:pt x="61" y="64"/>
                    <a:pt x="61" y="64"/>
                  </a:cubicBezTo>
                  <a:cubicBezTo>
                    <a:pt x="61" y="64"/>
                    <a:pt x="61" y="63"/>
                    <a:pt x="61" y="63"/>
                  </a:cubicBezTo>
                  <a:cubicBezTo>
                    <a:pt x="60" y="62"/>
                    <a:pt x="60" y="62"/>
                    <a:pt x="60" y="62"/>
                  </a:cubicBezTo>
                  <a:cubicBezTo>
                    <a:pt x="60" y="62"/>
                    <a:pt x="58" y="61"/>
                    <a:pt x="58" y="61"/>
                  </a:cubicBezTo>
                  <a:cubicBezTo>
                    <a:pt x="58" y="60"/>
                    <a:pt x="58" y="59"/>
                    <a:pt x="58" y="59"/>
                  </a:cubicBezTo>
                  <a:cubicBezTo>
                    <a:pt x="58" y="59"/>
                    <a:pt x="58" y="58"/>
                    <a:pt x="58" y="58"/>
                  </a:cubicBezTo>
                  <a:cubicBezTo>
                    <a:pt x="58" y="58"/>
                    <a:pt x="58" y="58"/>
                    <a:pt x="59" y="57"/>
                  </a:cubicBezTo>
                  <a:cubicBezTo>
                    <a:pt x="59" y="57"/>
                    <a:pt x="59" y="57"/>
                    <a:pt x="60" y="57"/>
                  </a:cubicBezTo>
                  <a:cubicBezTo>
                    <a:pt x="60" y="56"/>
                    <a:pt x="61" y="56"/>
                    <a:pt x="61" y="56"/>
                  </a:cubicBezTo>
                  <a:cubicBezTo>
                    <a:pt x="60" y="54"/>
                    <a:pt x="60" y="54"/>
                    <a:pt x="60" y="54"/>
                  </a:cubicBezTo>
                  <a:cubicBezTo>
                    <a:pt x="60" y="54"/>
                    <a:pt x="59" y="54"/>
                    <a:pt x="59" y="53"/>
                  </a:cubicBezTo>
                  <a:cubicBezTo>
                    <a:pt x="59" y="53"/>
                    <a:pt x="59" y="54"/>
                    <a:pt x="59" y="54"/>
                  </a:cubicBezTo>
                  <a:cubicBezTo>
                    <a:pt x="59" y="54"/>
                    <a:pt x="58" y="54"/>
                    <a:pt x="58" y="54"/>
                  </a:cubicBezTo>
                  <a:cubicBezTo>
                    <a:pt x="57" y="53"/>
                    <a:pt x="57" y="53"/>
                    <a:pt x="57" y="53"/>
                  </a:cubicBezTo>
                  <a:cubicBezTo>
                    <a:pt x="58" y="52"/>
                    <a:pt x="58" y="52"/>
                    <a:pt x="58" y="52"/>
                  </a:cubicBezTo>
                  <a:cubicBezTo>
                    <a:pt x="60" y="51"/>
                    <a:pt x="60" y="51"/>
                    <a:pt x="60" y="51"/>
                  </a:cubicBezTo>
                  <a:cubicBezTo>
                    <a:pt x="62" y="50"/>
                    <a:pt x="62" y="50"/>
                    <a:pt x="62" y="50"/>
                  </a:cubicBezTo>
                  <a:cubicBezTo>
                    <a:pt x="62" y="48"/>
                    <a:pt x="62" y="48"/>
                    <a:pt x="62" y="48"/>
                  </a:cubicBezTo>
                  <a:cubicBezTo>
                    <a:pt x="63" y="49"/>
                    <a:pt x="63" y="49"/>
                    <a:pt x="63" y="49"/>
                  </a:cubicBezTo>
                  <a:cubicBezTo>
                    <a:pt x="65" y="48"/>
                    <a:pt x="65" y="48"/>
                    <a:pt x="65" y="48"/>
                  </a:cubicBezTo>
                  <a:cubicBezTo>
                    <a:pt x="65" y="48"/>
                    <a:pt x="66" y="48"/>
                    <a:pt x="66" y="48"/>
                  </a:cubicBezTo>
                  <a:cubicBezTo>
                    <a:pt x="66" y="48"/>
                    <a:pt x="67" y="48"/>
                    <a:pt x="68" y="48"/>
                  </a:cubicBezTo>
                  <a:cubicBezTo>
                    <a:pt x="68" y="48"/>
                    <a:pt x="69" y="47"/>
                    <a:pt x="69" y="47"/>
                  </a:cubicBezTo>
                  <a:cubicBezTo>
                    <a:pt x="70" y="46"/>
                    <a:pt x="69" y="46"/>
                    <a:pt x="69" y="46"/>
                  </a:cubicBezTo>
                  <a:cubicBezTo>
                    <a:pt x="68" y="44"/>
                    <a:pt x="68" y="44"/>
                    <a:pt x="68" y="44"/>
                  </a:cubicBezTo>
                  <a:cubicBezTo>
                    <a:pt x="69" y="43"/>
                    <a:pt x="69" y="43"/>
                    <a:pt x="69" y="43"/>
                  </a:cubicBezTo>
                  <a:cubicBezTo>
                    <a:pt x="68" y="41"/>
                    <a:pt x="68" y="41"/>
                    <a:pt x="68" y="41"/>
                  </a:cubicBezTo>
                  <a:cubicBezTo>
                    <a:pt x="68" y="41"/>
                    <a:pt x="69" y="39"/>
                    <a:pt x="69" y="39"/>
                  </a:cubicBezTo>
                  <a:cubicBezTo>
                    <a:pt x="69" y="39"/>
                    <a:pt x="69" y="38"/>
                    <a:pt x="69" y="38"/>
                  </a:cubicBezTo>
                  <a:cubicBezTo>
                    <a:pt x="68" y="37"/>
                    <a:pt x="68" y="37"/>
                    <a:pt x="68" y="37"/>
                  </a:cubicBezTo>
                  <a:cubicBezTo>
                    <a:pt x="68" y="37"/>
                    <a:pt x="67" y="37"/>
                    <a:pt x="67" y="36"/>
                  </a:cubicBezTo>
                  <a:cubicBezTo>
                    <a:pt x="67" y="36"/>
                    <a:pt x="65" y="35"/>
                    <a:pt x="65" y="35"/>
                  </a:cubicBezTo>
                  <a:cubicBezTo>
                    <a:pt x="65" y="35"/>
                    <a:pt x="65" y="33"/>
                    <a:pt x="65" y="33"/>
                  </a:cubicBezTo>
                  <a:cubicBezTo>
                    <a:pt x="65" y="33"/>
                    <a:pt x="66" y="32"/>
                    <a:pt x="66" y="32"/>
                  </a:cubicBezTo>
                  <a:cubicBezTo>
                    <a:pt x="66" y="30"/>
                    <a:pt x="66" y="30"/>
                    <a:pt x="66" y="30"/>
                  </a:cubicBezTo>
                  <a:cubicBezTo>
                    <a:pt x="66" y="30"/>
                    <a:pt x="68" y="30"/>
                    <a:pt x="68" y="30"/>
                  </a:cubicBezTo>
                  <a:cubicBezTo>
                    <a:pt x="68" y="30"/>
                    <a:pt x="70" y="30"/>
                    <a:pt x="70" y="30"/>
                  </a:cubicBezTo>
                  <a:cubicBezTo>
                    <a:pt x="70" y="29"/>
                    <a:pt x="70" y="29"/>
                    <a:pt x="70" y="29"/>
                  </a:cubicBezTo>
                  <a:cubicBezTo>
                    <a:pt x="72" y="27"/>
                    <a:pt x="72" y="27"/>
                    <a:pt x="72" y="27"/>
                  </a:cubicBezTo>
                  <a:cubicBezTo>
                    <a:pt x="74" y="27"/>
                    <a:pt x="74" y="27"/>
                    <a:pt x="74" y="27"/>
                  </a:cubicBezTo>
                  <a:cubicBezTo>
                    <a:pt x="75" y="26"/>
                    <a:pt x="75" y="26"/>
                    <a:pt x="75" y="26"/>
                  </a:cubicBezTo>
                  <a:cubicBezTo>
                    <a:pt x="76" y="26"/>
                    <a:pt x="76" y="26"/>
                    <a:pt x="76" y="26"/>
                  </a:cubicBezTo>
                  <a:cubicBezTo>
                    <a:pt x="78" y="25"/>
                    <a:pt x="78" y="25"/>
                    <a:pt x="78" y="25"/>
                  </a:cubicBezTo>
                  <a:cubicBezTo>
                    <a:pt x="79" y="24"/>
                    <a:pt x="79" y="24"/>
                    <a:pt x="79" y="24"/>
                  </a:cubicBezTo>
                  <a:cubicBezTo>
                    <a:pt x="79" y="24"/>
                    <a:pt x="79" y="22"/>
                    <a:pt x="79" y="22"/>
                  </a:cubicBezTo>
                  <a:cubicBezTo>
                    <a:pt x="79" y="22"/>
                    <a:pt x="79" y="22"/>
                    <a:pt x="79" y="22"/>
                  </a:cubicBezTo>
                  <a:cubicBezTo>
                    <a:pt x="80" y="21"/>
                    <a:pt x="80" y="21"/>
                    <a:pt x="80" y="21"/>
                  </a:cubicBezTo>
                  <a:cubicBezTo>
                    <a:pt x="81" y="20"/>
                    <a:pt x="81" y="20"/>
                    <a:pt x="81" y="20"/>
                  </a:cubicBezTo>
                  <a:cubicBezTo>
                    <a:pt x="82" y="21"/>
                    <a:pt x="82" y="21"/>
                    <a:pt x="82" y="21"/>
                  </a:cubicBezTo>
                  <a:cubicBezTo>
                    <a:pt x="86" y="22"/>
                    <a:pt x="86" y="22"/>
                    <a:pt x="84" y="18"/>
                  </a:cubicBezTo>
                  <a:cubicBezTo>
                    <a:pt x="84" y="17"/>
                    <a:pt x="84" y="17"/>
                    <a:pt x="84" y="17"/>
                  </a:cubicBezTo>
                  <a:cubicBezTo>
                    <a:pt x="85" y="17"/>
                    <a:pt x="85" y="17"/>
                    <a:pt x="85" y="17"/>
                  </a:cubicBezTo>
                  <a:cubicBezTo>
                    <a:pt x="85" y="17"/>
                    <a:pt x="85" y="16"/>
                    <a:pt x="85" y="16"/>
                  </a:cubicBezTo>
                  <a:cubicBezTo>
                    <a:pt x="86" y="15"/>
                    <a:pt x="87" y="15"/>
                    <a:pt x="87" y="15"/>
                  </a:cubicBezTo>
                  <a:cubicBezTo>
                    <a:pt x="87" y="15"/>
                    <a:pt x="89" y="15"/>
                    <a:pt x="89" y="15"/>
                  </a:cubicBezTo>
                  <a:cubicBezTo>
                    <a:pt x="89" y="15"/>
                    <a:pt x="90" y="15"/>
                    <a:pt x="91" y="15"/>
                  </a:cubicBezTo>
                  <a:cubicBezTo>
                    <a:pt x="86" y="9"/>
                    <a:pt x="86" y="9"/>
                    <a:pt x="86" y="9"/>
                  </a:cubicBezTo>
                  <a:lnTo>
                    <a:pt x="86" y="7"/>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2" name="Freeform 129"/>
            <p:cNvSpPr>
              <a:spLocks/>
            </p:cNvSpPr>
            <p:nvPr/>
          </p:nvSpPr>
          <p:spPr bwMode="auto">
            <a:xfrm>
              <a:off x="5397004" y="4352222"/>
              <a:ext cx="641201" cy="311806"/>
            </a:xfrm>
            <a:custGeom>
              <a:avLst/>
              <a:gdLst>
                <a:gd name="T0" fmla="*/ 219 w 221"/>
                <a:gd name="T1" fmla="*/ 34 h 114"/>
                <a:gd name="T2" fmla="*/ 214 w 221"/>
                <a:gd name="T3" fmla="*/ 29 h 114"/>
                <a:gd name="T4" fmla="*/ 211 w 221"/>
                <a:gd name="T5" fmla="*/ 22 h 114"/>
                <a:gd name="T6" fmla="*/ 213 w 221"/>
                <a:gd name="T7" fmla="*/ 14 h 114"/>
                <a:gd name="T8" fmla="*/ 201 w 221"/>
                <a:gd name="T9" fmla="*/ 6 h 114"/>
                <a:gd name="T10" fmla="*/ 178 w 221"/>
                <a:gd name="T11" fmla="*/ 5 h 114"/>
                <a:gd name="T12" fmla="*/ 162 w 221"/>
                <a:gd name="T13" fmla="*/ 3 h 114"/>
                <a:gd name="T14" fmla="*/ 153 w 221"/>
                <a:gd name="T15" fmla="*/ 11 h 114"/>
                <a:gd name="T16" fmla="*/ 140 w 221"/>
                <a:gd name="T17" fmla="*/ 18 h 114"/>
                <a:gd name="T18" fmla="*/ 125 w 221"/>
                <a:gd name="T19" fmla="*/ 16 h 114"/>
                <a:gd name="T20" fmla="*/ 123 w 221"/>
                <a:gd name="T21" fmla="*/ 23 h 114"/>
                <a:gd name="T22" fmla="*/ 115 w 221"/>
                <a:gd name="T23" fmla="*/ 25 h 114"/>
                <a:gd name="T24" fmla="*/ 108 w 221"/>
                <a:gd name="T25" fmla="*/ 36 h 114"/>
                <a:gd name="T26" fmla="*/ 102 w 221"/>
                <a:gd name="T27" fmla="*/ 39 h 114"/>
                <a:gd name="T28" fmla="*/ 94 w 221"/>
                <a:gd name="T29" fmla="*/ 44 h 114"/>
                <a:gd name="T30" fmla="*/ 99 w 221"/>
                <a:gd name="T31" fmla="*/ 59 h 114"/>
                <a:gd name="T32" fmla="*/ 105 w 221"/>
                <a:gd name="T33" fmla="*/ 61 h 114"/>
                <a:gd name="T34" fmla="*/ 102 w 221"/>
                <a:gd name="T35" fmla="*/ 74 h 114"/>
                <a:gd name="T36" fmla="*/ 93 w 221"/>
                <a:gd name="T37" fmla="*/ 65 h 114"/>
                <a:gd name="T38" fmla="*/ 87 w 221"/>
                <a:gd name="T39" fmla="*/ 67 h 114"/>
                <a:gd name="T40" fmla="*/ 79 w 221"/>
                <a:gd name="T41" fmla="*/ 64 h 114"/>
                <a:gd name="T42" fmla="*/ 76 w 221"/>
                <a:gd name="T43" fmla="*/ 69 h 114"/>
                <a:gd name="T44" fmla="*/ 65 w 221"/>
                <a:gd name="T45" fmla="*/ 71 h 114"/>
                <a:gd name="T46" fmla="*/ 55 w 221"/>
                <a:gd name="T47" fmla="*/ 74 h 114"/>
                <a:gd name="T48" fmla="*/ 47 w 221"/>
                <a:gd name="T49" fmla="*/ 77 h 114"/>
                <a:gd name="T50" fmla="*/ 41 w 221"/>
                <a:gd name="T51" fmla="*/ 79 h 114"/>
                <a:gd name="T52" fmla="*/ 34 w 221"/>
                <a:gd name="T53" fmla="*/ 73 h 114"/>
                <a:gd name="T54" fmla="*/ 27 w 221"/>
                <a:gd name="T55" fmla="*/ 73 h 114"/>
                <a:gd name="T56" fmla="*/ 27 w 221"/>
                <a:gd name="T57" fmla="*/ 77 h 114"/>
                <a:gd name="T58" fmla="*/ 24 w 221"/>
                <a:gd name="T59" fmla="*/ 83 h 114"/>
                <a:gd name="T60" fmla="*/ 15 w 221"/>
                <a:gd name="T61" fmla="*/ 81 h 114"/>
                <a:gd name="T62" fmla="*/ 9 w 221"/>
                <a:gd name="T63" fmla="*/ 73 h 114"/>
                <a:gd name="T64" fmla="*/ 5 w 221"/>
                <a:gd name="T65" fmla="*/ 75 h 114"/>
                <a:gd name="T66" fmla="*/ 2 w 221"/>
                <a:gd name="T67" fmla="*/ 82 h 114"/>
                <a:gd name="T68" fmla="*/ 0 w 221"/>
                <a:gd name="T69" fmla="*/ 87 h 114"/>
                <a:gd name="T70" fmla="*/ 1 w 221"/>
                <a:gd name="T71" fmla="*/ 90 h 114"/>
                <a:gd name="T72" fmla="*/ 12 w 221"/>
                <a:gd name="T73" fmla="*/ 96 h 114"/>
                <a:gd name="T74" fmla="*/ 17 w 221"/>
                <a:gd name="T75" fmla="*/ 98 h 114"/>
                <a:gd name="T76" fmla="*/ 22 w 221"/>
                <a:gd name="T77" fmla="*/ 95 h 114"/>
                <a:gd name="T78" fmla="*/ 23 w 221"/>
                <a:gd name="T79" fmla="*/ 93 h 114"/>
                <a:gd name="T80" fmla="*/ 29 w 221"/>
                <a:gd name="T81" fmla="*/ 94 h 114"/>
                <a:gd name="T82" fmla="*/ 32 w 221"/>
                <a:gd name="T83" fmla="*/ 100 h 114"/>
                <a:gd name="T84" fmla="*/ 43 w 221"/>
                <a:gd name="T85" fmla="*/ 96 h 114"/>
                <a:gd name="T86" fmla="*/ 65 w 221"/>
                <a:gd name="T87" fmla="*/ 90 h 114"/>
                <a:gd name="T88" fmla="*/ 80 w 221"/>
                <a:gd name="T89" fmla="*/ 93 h 114"/>
                <a:gd name="T90" fmla="*/ 86 w 221"/>
                <a:gd name="T91" fmla="*/ 104 h 114"/>
                <a:gd name="T92" fmla="*/ 121 w 221"/>
                <a:gd name="T93" fmla="*/ 109 h 114"/>
                <a:gd name="T94" fmla="*/ 149 w 221"/>
                <a:gd name="T95" fmla="*/ 114 h 114"/>
                <a:gd name="T96" fmla="*/ 158 w 221"/>
                <a:gd name="T97" fmla="*/ 108 h 114"/>
                <a:gd name="T98" fmla="*/ 177 w 221"/>
                <a:gd name="T99" fmla="*/ 103 h 114"/>
                <a:gd name="T100" fmla="*/ 192 w 221"/>
                <a:gd name="T101" fmla="*/ 96 h 114"/>
                <a:gd name="T102" fmla="*/ 204 w 221"/>
                <a:gd name="T103" fmla="*/ 80 h 114"/>
                <a:gd name="T104" fmla="*/ 206 w 221"/>
                <a:gd name="T105" fmla="*/ 66 h 114"/>
                <a:gd name="T106" fmla="*/ 204 w 221"/>
                <a:gd name="T107" fmla="*/ 53 h 114"/>
                <a:gd name="T108" fmla="*/ 219 w 221"/>
                <a:gd name="T109" fmla="*/ 5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1" h="114">
                  <a:moveTo>
                    <a:pt x="219" y="49"/>
                  </a:moveTo>
                  <a:cubicBezTo>
                    <a:pt x="219" y="47"/>
                    <a:pt x="219" y="45"/>
                    <a:pt x="219" y="45"/>
                  </a:cubicBezTo>
                  <a:cubicBezTo>
                    <a:pt x="219" y="41"/>
                    <a:pt x="219" y="41"/>
                    <a:pt x="219" y="41"/>
                  </a:cubicBezTo>
                  <a:cubicBezTo>
                    <a:pt x="219" y="41"/>
                    <a:pt x="219" y="35"/>
                    <a:pt x="219" y="35"/>
                  </a:cubicBezTo>
                  <a:cubicBezTo>
                    <a:pt x="219" y="35"/>
                    <a:pt x="219" y="35"/>
                    <a:pt x="219" y="34"/>
                  </a:cubicBezTo>
                  <a:cubicBezTo>
                    <a:pt x="218" y="34"/>
                    <a:pt x="217" y="34"/>
                    <a:pt x="217" y="34"/>
                  </a:cubicBezTo>
                  <a:cubicBezTo>
                    <a:pt x="217" y="34"/>
                    <a:pt x="215" y="33"/>
                    <a:pt x="215" y="33"/>
                  </a:cubicBezTo>
                  <a:cubicBezTo>
                    <a:pt x="215" y="33"/>
                    <a:pt x="215" y="32"/>
                    <a:pt x="215" y="31"/>
                  </a:cubicBezTo>
                  <a:cubicBezTo>
                    <a:pt x="214" y="30"/>
                    <a:pt x="214" y="29"/>
                    <a:pt x="214" y="29"/>
                  </a:cubicBezTo>
                  <a:cubicBezTo>
                    <a:pt x="214" y="29"/>
                    <a:pt x="214" y="29"/>
                    <a:pt x="214" y="29"/>
                  </a:cubicBezTo>
                  <a:cubicBezTo>
                    <a:pt x="213" y="29"/>
                    <a:pt x="212" y="28"/>
                    <a:pt x="212" y="28"/>
                  </a:cubicBezTo>
                  <a:cubicBezTo>
                    <a:pt x="212" y="28"/>
                    <a:pt x="213" y="26"/>
                    <a:pt x="212" y="26"/>
                  </a:cubicBezTo>
                  <a:cubicBezTo>
                    <a:pt x="212" y="26"/>
                    <a:pt x="211" y="26"/>
                    <a:pt x="211" y="26"/>
                  </a:cubicBezTo>
                  <a:cubicBezTo>
                    <a:pt x="211" y="26"/>
                    <a:pt x="211" y="23"/>
                    <a:pt x="211" y="23"/>
                  </a:cubicBezTo>
                  <a:cubicBezTo>
                    <a:pt x="211" y="22"/>
                    <a:pt x="211" y="22"/>
                    <a:pt x="211" y="22"/>
                  </a:cubicBezTo>
                  <a:cubicBezTo>
                    <a:pt x="212" y="20"/>
                    <a:pt x="212" y="20"/>
                    <a:pt x="212" y="20"/>
                  </a:cubicBezTo>
                  <a:cubicBezTo>
                    <a:pt x="212" y="20"/>
                    <a:pt x="212" y="19"/>
                    <a:pt x="212" y="19"/>
                  </a:cubicBezTo>
                  <a:cubicBezTo>
                    <a:pt x="212" y="18"/>
                    <a:pt x="213" y="17"/>
                    <a:pt x="213" y="17"/>
                  </a:cubicBezTo>
                  <a:cubicBezTo>
                    <a:pt x="212" y="16"/>
                    <a:pt x="212" y="16"/>
                    <a:pt x="212" y="16"/>
                  </a:cubicBezTo>
                  <a:cubicBezTo>
                    <a:pt x="213" y="14"/>
                    <a:pt x="213" y="14"/>
                    <a:pt x="213" y="14"/>
                  </a:cubicBezTo>
                  <a:cubicBezTo>
                    <a:pt x="213" y="14"/>
                    <a:pt x="213" y="14"/>
                    <a:pt x="213" y="14"/>
                  </a:cubicBezTo>
                  <a:cubicBezTo>
                    <a:pt x="212" y="13"/>
                    <a:pt x="212" y="13"/>
                    <a:pt x="212" y="13"/>
                  </a:cubicBezTo>
                  <a:cubicBezTo>
                    <a:pt x="210" y="8"/>
                    <a:pt x="210" y="8"/>
                    <a:pt x="210" y="8"/>
                  </a:cubicBezTo>
                  <a:cubicBezTo>
                    <a:pt x="210" y="8"/>
                    <a:pt x="207" y="9"/>
                    <a:pt x="205" y="9"/>
                  </a:cubicBezTo>
                  <a:cubicBezTo>
                    <a:pt x="203" y="8"/>
                    <a:pt x="201" y="6"/>
                    <a:pt x="201" y="6"/>
                  </a:cubicBezTo>
                  <a:cubicBezTo>
                    <a:pt x="200" y="6"/>
                    <a:pt x="197" y="6"/>
                    <a:pt x="197" y="6"/>
                  </a:cubicBezTo>
                  <a:cubicBezTo>
                    <a:pt x="196" y="9"/>
                    <a:pt x="196" y="9"/>
                    <a:pt x="196" y="9"/>
                  </a:cubicBezTo>
                  <a:cubicBezTo>
                    <a:pt x="187" y="9"/>
                    <a:pt x="187" y="9"/>
                    <a:pt x="187" y="9"/>
                  </a:cubicBezTo>
                  <a:cubicBezTo>
                    <a:pt x="184" y="7"/>
                    <a:pt x="184" y="7"/>
                    <a:pt x="184" y="7"/>
                  </a:cubicBezTo>
                  <a:cubicBezTo>
                    <a:pt x="178" y="5"/>
                    <a:pt x="178" y="5"/>
                    <a:pt x="178" y="5"/>
                  </a:cubicBezTo>
                  <a:cubicBezTo>
                    <a:pt x="177" y="4"/>
                    <a:pt x="177" y="4"/>
                    <a:pt x="177" y="4"/>
                  </a:cubicBezTo>
                  <a:cubicBezTo>
                    <a:pt x="177" y="4"/>
                    <a:pt x="174" y="4"/>
                    <a:pt x="173" y="4"/>
                  </a:cubicBezTo>
                  <a:cubicBezTo>
                    <a:pt x="172" y="4"/>
                    <a:pt x="169" y="4"/>
                    <a:pt x="169" y="4"/>
                  </a:cubicBezTo>
                  <a:cubicBezTo>
                    <a:pt x="169" y="4"/>
                    <a:pt x="166" y="2"/>
                    <a:pt x="165" y="2"/>
                  </a:cubicBezTo>
                  <a:cubicBezTo>
                    <a:pt x="164" y="2"/>
                    <a:pt x="162" y="3"/>
                    <a:pt x="162" y="3"/>
                  </a:cubicBezTo>
                  <a:cubicBezTo>
                    <a:pt x="159" y="2"/>
                    <a:pt x="159" y="2"/>
                    <a:pt x="159" y="2"/>
                  </a:cubicBezTo>
                  <a:cubicBezTo>
                    <a:pt x="159" y="2"/>
                    <a:pt x="156" y="0"/>
                    <a:pt x="155" y="1"/>
                  </a:cubicBezTo>
                  <a:cubicBezTo>
                    <a:pt x="153" y="1"/>
                    <a:pt x="154" y="3"/>
                    <a:pt x="154" y="3"/>
                  </a:cubicBezTo>
                  <a:cubicBezTo>
                    <a:pt x="154" y="3"/>
                    <a:pt x="154" y="7"/>
                    <a:pt x="154" y="8"/>
                  </a:cubicBezTo>
                  <a:cubicBezTo>
                    <a:pt x="154" y="9"/>
                    <a:pt x="153" y="11"/>
                    <a:pt x="153" y="11"/>
                  </a:cubicBezTo>
                  <a:cubicBezTo>
                    <a:pt x="150" y="12"/>
                    <a:pt x="150" y="12"/>
                    <a:pt x="150" y="12"/>
                  </a:cubicBezTo>
                  <a:cubicBezTo>
                    <a:pt x="150" y="12"/>
                    <a:pt x="149" y="15"/>
                    <a:pt x="148" y="15"/>
                  </a:cubicBezTo>
                  <a:cubicBezTo>
                    <a:pt x="147" y="15"/>
                    <a:pt x="147" y="19"/>
                    <a:pt x="147" y="19"/>
                  </a:cubicBezTo>
                  <a:cubicBezTo>
                    <a:pt x="144" y="20"/>
                    <a:pt x="144" y="20"/>
                    <a:pt x="144" y="20"/>
                  </a:cubicBezTo>
                  <a:cubicBezTo>
                    <a:pt x="140" y="18"/>
                    <a:pt x="140" y="18"/>
                    <a:pt x="140" y="18"/>
                  </a:cubicBezTo>
                  <a:cubicBezTo>
                    <a:pt x="138" y="19"/>
                    <a:pt x="138" y="19"/>
                    <a:pt x="138" y="19"/>
                  </a:cubicBezTo>
                  <a:cubicBezTo>
                    <a:pt x="138" y="21"/>
                    <a:pt x="138" y="21"/>
                    <a:pt x="138" y="21"/>
                  </a:cubicBezTo>
                  <a:cubicBezTo>
                    <a:pt x="138" y="21"/>
                    <a:pt x="133" y="21"/>
                    <a:pt x="133" y="21"/>
                  </a:cubicBezTo>
                  <a:cubicBezTo>
                    <a:pt x="133" y="21"/>
                    <a:pt x="129" y="19"/>
                    <a:pt x="129" y="19"/>
                  </a:cubicBezTo>
                  <a:cubicBezTo>
                    <a:pt x="129" y="19"/>
                    <a:pt x="126" y="17"/>
                    <a:pt x="125" y="16"/>
                  </a:cubicBezTo>
                  <a:cubicBezTo>
                    <a:pt x="125" y="16"/>
                    <a:pt x="123" y="15"/>
                    <a:pt x="122" y="14"/>
                  </a:cubicBezTo>
                  <a:cubicBezTo>
                    <a:pt x="122" y="15"/>
                    <a:pt x="122" y="15"/>
                    <a:pt x="122" y="15"/>
                  </a:cubicBezTo>
                  <a:cubicBezTo>
                    <a:pt x="123" y="19"/>
                    <a:pt x="123" y="19"/>
                    <a:pt x="123" y="19"/>
                  </a:cubicBezTo>
                  <a:cubicBezTo>
                    <a:pt x="123" y="22"/>
                    <a:pt x="123" y="22"/>
                    <a:pt x="123" y="22"/>
                  </a:cubicBezTo>
                  <a:cubicBezTo>
                    <a:pt x="123" y="23"/>
                    <a:pt x="123" y="23"/>
                    <a:pt x="123" y="23"/>
                  </a:cubicBezTo>
                  <a:cubicBezTo>
                    <a:pt x="122" y="24"/>
                    <a:pt x="121" y="25"/>
                    <a:pt x="121" y="25"/>
                  </a:cubicBezTo>
                  <a:cubicBezTo>
                    <a:pt x="120" y="25"/>
                    <a:pt x="119" y="26"/>
                    <a:pt x="118" y="26"/>
                  </a:cubicBezTo>
                  <a:cubicBezTo>
                    <a:pt x="117" y="27"/>
                    <a:pt x="117" y="27"/>
                    <a:pt x="117" y="27"/>
                  </a:cubicBezTo>
                  <a:cubicBezTo>
                    <a:pt x="116" y="26"/>
                    <a:pt x="116" y="26"/>
                    <a:pt x="116" y="26"/>
                  </a:cubicBezTo>
                  <a:cubicBezTo>
                    <a:pt x="116" y="26"/>
                    <a:pt x="115" y="25"/>
                    <a:pt x="115" y="25"/>
                  </a:cubicBezTo>
                  <a:cubicBezTo>
                    <a:pt x="113" y="25"/>
                    <a:pt x="113" y="25"/>
                    <a:pt x="113" y="25"/>
                  </a:cubicBezTo>
                  <a:cubicBezTo>
                    <a:pt x="113" y="25"/>
                    <a:pt x="113" y="26"/>
                    <a:pt x="113" y="26"/>
                  </a:cubicBezTo>
                  <a:cubicBezTo>
                    <a:pt x="112" y="27"/>
                    <a:pt x="112" y="27"/>
                    <a:pt x="112" y="27"/>
                  </a:cubicBezTo>
                  <a:cubicBezTo>
                    <a:pt x="113" y="32"/>
                    <a:pt x="113" y="32"/>
                    <a:pt x="113" y="32"/>
                  </a:cubicBezTo>
                  <a:cubicBezTo>
                    <a:pt x="108" y="36"/>
                    <a:pt x="108" y="36"/>
                    <a:pt x="108" y="36"/>
                  </a:cubicBezTo>
                  <a:cubicBezTo>
                    <a:pt x="108" y="36"/>
                    <a:pt x="108" y="37"/>
                    <a:pt x="107" y="37"/>
                  </a:cubicBezTo>
                  <a:cubicBezTo>
                    <a:pt x="107" y="37"/>
                    <a:pt x="107" y="37"/>
                    <a:pt x="107" y="37"/>
                  </a:cubicBezTo>
                  <a:cubicBezTo>
                    <a:pt x="106" y="37"/>
                    <a:pt x="106" y="37"/>
                    <a:pt x="106" y="37"/>
                  </a:cubicBezTo>
                  <a:cubicBezTo>
                    <a:pt x="106" y="37"/>
                    <a:pt x="105" y="37"/>
                    <a:pt x="105" y="37"/>
                  </a:cubicBezTo>
                  <a:cubicBezTo>
                    <a:pt x="105" y="37"/>
                    <a:pt x="103" y="38"/>
                    <a:pt x="102" y="39"/>
                  </a:cubicBezTo>
                  <a:cubicBezTo>
                    <a:pt x="100" y="41"/>
                    <a:pt x="100" y="41"/>
                    <a:pt x="100" y="41"/>
                  </a:cubicBezTo>
                  <a:cubicBezTo>
                    <a:pt x="99" y="41"/>
                    <a:pt x="99" y="41"/>
                    <a:pt x="99" y="41"/>
                  </a:cubicBezTo>
                  <a:cubicBezTo>
                    <a:pt x="99" y="41"/>
                    <a:pt x="99" y="41"/>
                    <a:pt x="99" y="41"/>
                  </a:cubicBezTo>
                  <a:cubicBezTo>
                    <a:pt x="99" y="41"/>
                    <a:pt x="98" y="42"/>
                    <a:pt x="95" y="44"/>
                  </a:cubicBezTo>
                  <a:cubicBezTo>
                    <a:pt x="94" y="44"/>
                    <a:pt x="94" y="44"/>
                    <a:pt x="94" y="44"/>
                  </a:cubicBezTo>
                  <a:cubicBezTo>
                    <a:pt x="95" y="46"/>
                    <a:pt x="95" y="46"/>
                    <a:pt x="95" y="46"/>
                  </a:cubicBezTo>
                  <a:cubicBezTo>
                    <a:pt x="98" y="49"/>
                    <a:pt x="98" y="49"/>
                    <a:pt x="98" y="49"/>
                  </a:cubicBezTo>
                  <a:cubicBezTo>
                    <a:pt x="100" y="53"/>
                    <a:pt x="100" y="53"/>
                    <a:pt x="100" y="53"/>
                  </a:cubicBezTo>
                  <a:cubicBezTo>
                    <a:pt x="101" y="57"/>
                    <a:pt x="101" y="57"/>
                    <a:pt x="101" y="57"/>
                  </a:cubicBezTo>
                  <a:cubicBezTo>
                    <a:pt x="101" y="57"/>
                    <a:pt x="99" y="58"/>
                    <a:pt x="99" y="59"/>
                  </a:cubicBezTo>
                  <a:cubicBezTo>
                    <a:pt x="100" y="59"/>
                    <a:pt x="100" y="59"/>
                    <a:pt x="101" y="59"/>
                  </a:cubicBezTo>
                  <a:cubicBezTo>
                    <a:pt x="102" y="59"/>
                    <a:pt x="102" y="59"/>
                    <a:pt x="102" y="59"/>
                  </a:cubicBezTo>
                  <a:cubicBezTo>
                    <a:pt x="102" y="59"/>
                    <a:pt x="102" y="59"/>
                    <a:pt x="102" y="59"/>
                  </a:cubicBezTo>
                  <a:cubicBezTo>
                    <a:pt x="104" y="60"/>
                    <a:pt x="104" y="61"/>
                    <a:pt x="104" y="61"/>
                  </a:cubicBezTo>
                  <a:cubicBezTo>
                    <a:pt x="105" y="61"/>
                    <a:pt x="105" y="61"/>
                    <a:pt x="105" y="61"/>
                  </a:cubicBezTo>
                  <a:cubicBezTo>
                    <a:pt x="104" y="65"/>
                    <a:pt x="104" y="65"/>
                    <a:pt x="104" y="65"/>
                  </a:cubicBezTo>
                  <a:cubicBezTo>
                    <a:pt x="104" y="65"/>
                    <a:pt x="104" y="67"/>
                    <a:pt x="104" y="69"/>
                  </a:cubicBezTo>
                  <a:cubicBezTo>
                    <a:pt x="105" y="71"/>
                    <a:pt x="104" y="72"/>
                    <a:pt x="104" y="73"/>
                  </a:cubicBezTo>
                  <a:cubicBezTo>
                    <a:pt x="103" y="74"/>
                    <a:pt x="103" y="74"/>
                    <a:pt x="103" y="74"/>
                  </a:cubicBezTo>
                  <a:cubicBezTo>
                    <a:pt x="102" y="74"/>
                    <a:pt x="102" y="74"/>
                    <a:pt x="102" y="74"/>
                  </a:cubicBezTo>
                  <a:cubicBezTo>
                    <a:pt x="101" y="74"/>
                    <a:pt x="101" y="74"/>
                    <a:pt x="100" y="73"/>
                  </a:cubicBezTo>
                  <a:cubicBezTo>
                    <a:pt x="96" y="72"/>
                    <a:pt x="96" y="72"/>
                    <a:pt x="96" y="72"/>
                  </a:cubicBezTo>
                  <a:cubicBezTo>
                    <a:pt x="95" y="71"/>
                    <a:pt x="94" y="70"/>
                    <a:pt x="94" y="70"/>
                  </a:cubicBezTo>
                  <a:cubicBezTo>
                    <a:pt x="93" y="69"/>
                    <a:pt x="92" y="67"/>
                    <a:pt x="93" y="65"/>
                  </a:cubicBezTo>
                  <a:cubicBezTo>
                    <a:pt x="93" y="65"/>
                    <a:pt x="93" y="65"/>
                    <a:pt x="93" y="65"/>
                  </a:cubicBezTo>
                  <a:cubicBezTo>
                    <a:pt x="93" y="65"/>
                    <a:pt x="92" y="65"/>
                    <a:pt x="92" y="65"/>
                  </a:cubicBezTo>
                  <a:cubicBezTo>
                    <a:pt x="92" y="65"/>
                    <a:pt x="92" y="65"/>
                    <a:pt x="92" y="65"/>
                  </a:cubicBezTo>
                  <a:cubicBezTo>
                    <a:pt x="91" y="65"/>
                    <a:pt x="91" y="65"/>
                    <a:pt x="90" y="65"/>
                  </a:cubicBezTo>
                  <a:cubicBezTo>
                    <a:pt x="90" y="65"/>
                    <a:pt x="89" y="66"/>
                    <a:pt x="89" y="66"/>
                  </a:cubicBezTo>
                  <a:cubicBezTo>
                    <a:pt x="89" y="67"/>
                    <a:pt x="88" y="67"/>
                    <a:pt x="87" y="67"/>
                  </a:cubicBezTo>
                  <a:cubicBezTo>
                    <a:pt x="86" y="67"/>
                    <a:pt x="86" y="67"/>
                    <a:pt x="85" y="67"/>
                  </a:cubicBezTo>
                  <a:cubicBezTo>
                    <a:pt x="84" y="66"/>
                    <a:pt x="83" y="66"/>
                    <a:pt x="83" y="65"/>
                  </a:cubicBezTo>
                  <a:cubicBezTo>
                    <a:pt x="83" y="65"/>
                    <a:pt x="82" y="65"/>
                    <a:pt x="82" y="65"/>
                  </a:cubicBezTo>
                  <a:cubicBezTo>
                    <a:pt x="81" y="64"/>
                    <a:pt x="80" y="64"/>
                    <a:pt x="80" y="64"/>
                  </a:cubicBezTo>
                  <a:cubicBezTo>
                    <a:pt x="80" y="64"/>
                    <a:pt x="79" y="64"/>
                    <a:pt x="79" y="64"/>
                  </a:cubicBezTo>
                  <a:cubicBezTo>
                    <a:pt x="79" y="64"/>
                    <a:pt x="79" y="65"/>
                    <a:pt x="79" y="65"/>
                  </a:cubicBezTo>
                  <a:cubicBezTo>
                    <a:pt x="79" y="65"/>
                    <a:pt x="80" y="67"/>
                    <a:pt x="79" y="68"/>
                  </a:cubicBezTo>
                  <a:cubicBezTo>
                    <a:pt x="78" y="68"/>
                    <a:pt x="78" y="68"/>
                    <a:pt x="78" y="68"/>
                  </a:cubicBezTo>
                  <a:cubicBezTo>
                    <a:pt x="78" y="69"/>
                    <a:pt x="78" y="69"/>
                    <a:pt x="78" y="69"/>
                  </a:cubicBezTo>
                  <a:cubicBezTo>
                    <a:pt x="77" y="69"/>
                    <a:pt x="77" y="69"/>
                    <a:pt x="76" y="69"/>
                  </a:cubicBezTo>
                  <a:cubicBezTo>
                    <a:pt x="76" y="69"/>
                    <a:pt x="76" y="69"/>
                    <a:pt x="76" y="69"/>
                  </a:cubicBezTo>
                  <a:cubicBezTo>
                    <a:pt x="75" y="69"/>
                    <a:pt x="75" y="69"/>
                    <a:pt x="75" y="69"/>
                  </a:cubicBezTo>
                  <a:cubicBezTo>
                    <a:pt x="72" y="69"/>
                    <a:pt x="72" y="69"/>
                    <a:pt x="72" y="69"/>
                  </a:cubicBezTo>
                  <a:cubicBezTo>
                    <a:pt x="72" y="69"/>
                    <a:pt x="70" y="69"/>
                    <a:pt x="70" y="69"/>
                  </a:cubicBezTo>
                  <a:cubicBezTo>
                    <a:pt x="69" y="71"/>
                    <a:pt x="67" y="71"/>
                    <a:pt x="65" y="71"/>
                  </a:cubicBezTo>
                  <a:cubicBezTo>
                    <a:pt x="62" y="71"/>
                    <a:pt x="62" y="71"/>
                    <a:pt x="62" y="71"/>
                  </a:cubicBezTo>
                  <a:cubicBezTo>
                    <a:pt x="62" y="71"/>
                    <a:pt x="61" y="72"/>
                    <a:pt x="61" y="72"/>
                  </a:cubicBezTo>
                  <a:cubicBezTo>
                    <a:pt x="60" y="73"/>
                    <a:pt x="58" y="73"/>
                    <a:pt x="56" y="73"/>
                  </a:cubicBezTo>
                  <a:cubicBezTo>
                    <a:pt x="56" y="73"/>
                    <a:pt x="56" y="73"/>
                    <a:pt x="56" y="73"/>
                  </a:cubicBezTo>
                  <a:cubicBezTo>
                    <a:pt x="55" y="74"/>
                    <a:pt x="55" y="74"/>
                    <a:pt x="55" y="74"/>
                  </a:cubicBezTo>
                  <a:cubicBezTo>
                    <a:pt x="54" y="75"/>
                    <a:pt x="54" y="75"/>
                    <a:pt x="53" y="76"/>
                  </a:cubicBezTo>
                  <a:cubicBezTo>
                    <a:pt x="52" y="77"/>
                    <a:pt x="51" y="78"/>
                    <a:pt x="50" y="78"/>
                  </a:cubicBezTo>
                  <a:cubicBezTo>
                    <a:pt x="50" y="78"/>
                    <a:pt x="49" y="78"/>
                    <a:pt x="49" y="78"/>
                  </a:cubicBezTo>
                  <a:cubicBezTo>
                    <a:pt x="49" y="78"/>
                    <a:pt x="48" y="78"/>
                    <a:pt x="47" y="78"/>
                  </a:cubicBezTo>
                  <a:cubicBezTo>
                    <a:pt x="47" y="78"/>
                    <a:pt x="47" y="77"/>
                    <a:pt x="47" y="77"/>
                  </a:cubicBezTo>
                  <a:cubicBezTo>
                    <a:pt x="47" y="78"/>
                    <a:pt x="47" y="78"/>
                    <a:pt x="47" y="78"/>
                  </a:cubicBezTo>
                  <a:cubicBezTo>
                    <a:pt x="46" y="78"/>
                    <a:pt x="46" y="78"/>
                    <a:pt x="46" y="78"/>
                  </a:cubicBezTo>
                  <a:cubicBezTo>
                    <a:pt x="45" y="79"/>
                    <a:pt x="44" y="80"/>
                    <a:pt x="43" y="80"/>
                  </a:cubicBezTo>
                  <a:cubicBezTo>
                    <a:pt x="43" y="80"/>
                    <a:pt x="42" y="79"/>
                    <a:pt x="42" y="79"/>
                  </a:cubicBezTo>
                  <a:cubicBezTo>
                    <a:pt x="41" y="79"/>
                    <a:pt x="41" y="79"/>
                    <a:pt x="41" y="79"/>
                  </a:cubicBezTo>
                  <a:cubicBezTo>
                    <a:pt x="41" y="79"/>
                    <a:pt x="41" y="79"/>
                    <a:pt x="41" y="79"/>
                  </a:cubicBezTo>
                  <a:cubicBezTo>
                    <a:pt x="39" y="79"/>
                    <a:pt x="38" y="77"/>
                    <a:pt x="38" y="75"/>
                  </a:cubicBezTo>
                  <a:cubicBezTo>
                    <a:pt x="38" y="74"/>
                    <a:pt x="38" y="74"/>
                    <a:pt x="38" y="74"/>
                  </a:cubicBezTo>
                  <a:cubicBezTo>
                    <a:pt x="38" y="74"/>
                    <a:pt x="38" y="74"/>
                    <a:pt x="38" y="74"/>
                  </a:cubicBezTo>
                  <a:cubicBezTo>
                    <a:pt x="36" y="74"/>
                    <a:pt x="35" y="73"/>
                    <a:pt x="34" y="73"/>
                  </a:cubicBezTo>
                  <a:cubicBezTo>
                    <a:pt x="34" y="73"/>
                    <a:pt x="33" y="73"/>
                    <a:pt x="33" y="73"/>
                  </a:cubicBezTo>
                  <a:cubicBezTo>
                    <a:pt x="30" y="73"/>
                    <a:pt x="30" y="73"/>
                    <a:pt x="30" y="73"/>
                  </a:cubicBezTo>
                  <a:cubicBezTo>
                    <a:pt x="29" y="73"/>
                    <a:pt x="29" y="73"/>
                    <a:pt x="28" y="73"/>
                  </a:cubicBezTo>
                  <a:cubicBezTo>
                    <a:pt x="28" y="73"/>
                    <a:pt x="27" y="73"/>
                    <a:pt x="27" y="73"/>
                  </a:cubicBezTo>
                  <a:cubicBezTo>
                    <a:pt x="27" y="73"/>
                    <a:pt x="27" y="73"/>
                    <a:pt x="27" y="73"/>
                  </a:cubicBezTo>
                  <a:cubicBezTo>
                    <a:pt x="27" y="73"/>
                    <a:pt x="27" y="73"/>
                    <a:pt x="27" y="73"/>
                  </a:cubicBezTo>
                  <a:cubicBezTo>
                    <a:pt x="27" y="74"/>
                    <a:pt x="27" y="74"/>
                    <a:pt x="28" y="75"/>
                  </a:cubicBezTo>
                  <a:cubicBezTo>
                    <a:pt x="28" y="75"/>
                    <a:pt x="28" y="75"/>
                    <a:pt x="28" y="75"/>
                  </a:cubicBezTo>
                  <a:cubicBezTo>
                    <a:pt x="28" y="75"/>
                    <a:pt x="28" y="75"/>
                    <a:pt x="28" y="75"/>
                  </a:cubicBezTo>
                  <a:cubicBezTo>
                    <a:pt x="28" y="76"/>
                    <a:pt x="27" y="76"/>
                    <a:pt x="27" y="77"/>
                  </a:cubicBezTo>
                  <a:cubicBezTo>
                    <a:pt x="27" y="77"/>
                    <a:pt x="27" y="77"/>
                    <a:pt x="27" y="77"/>
                  </a:cubicBezTo>
                  <a:cubicBezTo>
                    <a:pt x="27" y="78"/>
                    <a:pt x="27" y="79"/>
                    <a:pt x="26" y="80"/>
                  </a:cubicBezTo>
                  <a:cubicBezTo>
                    <a:pt x="26" y="80"/>
                    <a:pt x="26" y="80"/>
                    <a:pt x="26" y="80"/>
                  </a:cubicBezTo>
                  <a:cubicBezTo>
                    <a:pt x="25" y="81"/>
                    <a:pt x="25" y="81"/>
                    <a:pt x="25" y="82"/>
                  </a:cubicBezTo>
                  <a:cubicBezTo>
                    <a:pt x="24" y="83"/>
                    <a:pt x="24" y="83"/>
                    <a:pt x="24" y="83"/>
                  </a:cubicBezTo>
                  <a:cubicBezTo>
                    <a:pt x="24" y="84"/>
                    <a:pt x="23" y="86"/>
                    <a:pt x="21" y="86"/>
                  </a:cubicBezTo>
                  <a:cubicBezTo>
                    <a:pt x="20" y="86"/>
                    <a:pt x="19" y="85"/>
                    <a:pt x="19" y="85"/>
                  </a:cubicBezTo>
                  <a:cubicBezTo>
                    <a:pt x="18" y="85"/>
                    <a:pt x="18" y="85"/>
                    <a:pt x="18" y="85"/>
                  </a:cubicBezTo>
                  <a:cubicBezTo>
                    <a:pt x="17" y="84"/>
                    <a:pt x="16" y="84"/>
                    <a:pt x="15" y="83"/>
                  </a:cubicBezTo>
                  <a:cubicBezTo>
                    <a:pt x="15" y="82"/>
                    <a:pt x="15" y="82"/>
                    <a:pt x="15" y="81"/>
                  </a:cubicBezTo>
                  <a:cubicBezTo>
                    <a:pt x="15" y="81"/>
                    <a:pt x="14" y="81"/>
                    <a:pt x="13" y="80"/>
                  </a:cubicBezTo>
                  <a:cubicBezTo>
                    <a:pt x="12" y="79"/>
                    <a:pt x="12" y="77"/>
                    <a:pt x="13" y="76"/>
                  </a:cubicBezTo>
                  <a:cubicBezTo>
                    <a:pt x="13" y="75"/>
                    <a:pt x="12" y="75"/>
                    <a:pt x="12" y="75"/>
                  </a:cubicBezTo>
                  <a:cubicBezTo>
                    <a:pt x="11" y="75"/>
                    <a:pt x="10" y="74"/>
                    <a:pt x="10" y="74"/>
                  </a:cubicBezTo>
                  <a:cubicBezTo>
                    <a:pt x="9" y="74"/>
                    <a:pt x="9" y="73"/>
                    <a:pt x="9" y="73"/>
                  </a:cubicBezTo>
                  <a:cubicBezTo>
                    <a:pt x="8" y="72"/>
                    <a:pt x="7" y="72"/>
                    <a:pt x="7" y="71"/>
                  </a:cubicBezTo>
                  <a:cubicBezTo>
                    <a:pt x="6" y="72"/>
                    <a:pt x="6" y="72"/>
                    <a:pt x="6" y="72"/>
                  </a:cubicBezTo>
                  <a:cubicBezTo>
                    <a:pt x="6" y="72"/>
                    <a:pt x="6" y="72"/>
                    <a:pt x="5" y="73"/>
                  </a:cubicBezTo>
                  <a:cubicBezTo>
                    <a:pt x="5" y="73"/>
                    <a:pt x="5" y="73"/>
                    <a:pt x="5" y="73"/>
                  </a:cubicBezTo>
                  <a:cubicBezTo>
                    <a:pt x="5" y="74"/>
                    <a:pt x="5" y="75"/>
                    <a:pt x="5" y="75"/>
                  </a:cubicBezTo>
                  <a:cubicBezTo>
                    <a:pt x="5" y="76"/>
                    <a:pt x="5" y="76"/>
                    <a:pt x="5" y="76"/>
                  </a:cubicBezTo>
                  <a:cubicBezTo>
                    <a:pt x="5" y="77"/>
                    <a:pt x="5" y="78"/>
                    <a:pt x="4" y="79"/>
                  </a:cubicBezTo>
                  <a:cubicBezTo>
                    <a:pt x="4" y="80"/>
                    <a:pt x="4" y="80"/>
                    <a:pt x="4" y="80"/>
                  </a:cubicBezTo>
                  <a:cubicBezTo>
                    <a:pt x="3" y="80"/>
                    <a:pt x="3" y="80"/>
                    <a:pt x="3" y="80"/>
                  </a:cubicBezTo>
                  <a:cubicBezTo>
                    <a:pt x="3" y="81"/>
                    <a:pt x="3" y="81"/>
                    <a:pt x="2" y="82"/>
                  </a:cubicBezTo>
                  <a:cubicBezTo>
                    <a:pt x="2" y="82"/>
                    <a:pt x="2" y="83"/>
                    <a:pt x="2" y="83"/>
                  </a:cubicBezTo>
                  <a:cubicBezTo>
                    <a:pt x="2" y="83"/>
                    <a:pt x="2" y="83"/>
                    <a:pt x="2" y="83"/>
                  </a:cubicBezTo>
                  <a:cubicBezTo>
                    <a:pt x="0" y="85"/>
                    <a:pt x="0" y="85"/>
                    <a:pt x="0" y="85"/>
                  </a:cubicBezTo>
                  <a:cubicBezTo>
                    <a:pt x="0" y="86"/>
                    <a:pt x="0" y="86"/>
                    <a:pt x="0" y="86"/>
                  </a:cubicBezTo>
                  <a:cubicBezTo>
                    <a:pt x="0" y="87"/>
                    <a:pt x="0" y="87"/>
                    <a:pt x="0" y="87"/>
                  </a:cubicBezTo>
                  <a:cubicBezTo>
                    <a:pt x="0" y="88"/>
                    <a:pt x="0" y="88"/>
                    <a:pt x="0" y="88"/>
                  </a:cubicBezTo>
                  <a:cubicBezTo>
                    <a:pt x="0" y="88"/>
                    <a:pt x="0" y="88"/>
                    <a:pt x="0" y="88"/>
                  </a:cubicBezTo>
                  <a:cubicBezTo>
                    <a:pt x="0" y="88"/>
                    <a:pt x="0" y="89"/>
                    <a:pt x="0" y="89"/>
                  </a:cubicBezTo>
                  <a:cubicBezTo>
                    <a:pt x="1" y="90"/>
                    <a:pt x="1" y="90"/>
                    <a:pt x="1" y="90"/>
                  </a:cubicBezTo>
                  <a:cubicBezTo>
                    <a:pt x="1" y="90"/>
                    <a:pt x="1" y="90"/>
                    <a:pt x="1" y="90"/>
                  </a:cubicBezTo>
                  <a:cubicBezTo>
                    <a:pt x="3" y="89"/>
                    <a:pt x="3" y="89"/>
                    <a:pt x="3" y="89"/>
                  </a:cubicBezTo>
                  <a:cubicBezTo>
                    <a:pt x="7" y="90"/>
                    <a:pt x="7" y="90"/>
                    <a:pt x="7" y="90"/>
                  </a:cubicBezTo>
                  <a:cubicBezTo>
                    <a:pt x="10" y="91"/>
                    <a:pt x="10" y="91"/>
                    <a:pt x="10" y="91"/>
                  </a:cubicBezTo>
                  <a:cubicBezTo>
                    <a:pt x="12" y="94"/>
                    <a:pt x="12" y="94"/>
                    <a:pt x="12" y="94"/>
                  </a:cubicBezTo>
                  <a:cubicBezTo>
                    <a:pt x="12" y="96"/>
                    <a:pt x="12" y="96"/>
                    <a:pt x="12" y="96"/>
                  </a:cubicBezTo>
                  <a:cubicBezTo>
                    <a:pt x="13" y="96"/>
                    <a:pt x="13" y="96"/>
                    <a:pt x="13" y="96"/>
                  </a:cubicBezTo>
                  <a:cubicBezTo>
                    <a:pt x="14" y="96"/>
                    <a:pt x="14" y="96"/>
                    <a:pt x="14" y="96"/>
                  </a:cubicBezTo>
                  <a:cubicBezTo>
                    <a:pt x="16" y="97"/>
                    <a:pt x="16" y="97"/>
                    <a:pt x="16" y="97"/>
                  </a:cubicBezTo>
                  <a:cubicBezTo>
                    <a:pt x="17" y="98"/>
                    <a:pt x="17" y="98"/>
                    <a:pt x="17" y="98"/>
                  </a:cubicBezTo>
                  <a:cubicBezTo>
                    <a:pt x="17" y="98"/>
                    <a:pt x="17" y="98"/>
                    <a:pt x="17" y="98"/>
                  </a:cubicBezTo>
                  <a:cubicBezTo>
                    <a:pt x="18" y="98"/>
                    <a:pt x="18" y="98"/>
                    <a:pt x="18" y="98"/>
                  </a:cubicBezTo>
                  <a:cubicBezTo>
                    <a:pt x="18" y="98"/>
                    <a:pt x="19" y="98"/>
                    <a:pt x="19" y="98"/>
                  </a:cubicBezTo>
                  <a:cubicBezTo>
                    <a:pt x="19" y="97"/>
                    <a:pt x="19" y="97"/>
                    <a:pt x="19" y="97"/>
                  </a:cubicBezTo>
                  <a:cubicBezTo>
                    <a:pt x="20" y="95"/>
                    <a:pt x="20" y="95"/>
                    <a:pt x="20" y="95"/>
                  </a:cubicBezTo>
                  <a:cubicBezTo>
                    <a:pt x="22" y="95"/>
                    <a:pt x="22" y="95"/>
                    <a:pt x="22" y="95"/>
                  </a:cubicBezTo>
                  <a:cubicBezTo>
                    <a:pt x="22" y="95"/>
                    <a:pt x="22" y="95"/>
                    <a:pt x="22" y="95"/>
                  </a:cubicBezTo>
                  <a:cubicBezTo>
                    <a:pt x="22" y="95"/>
                    <a:pt x="22" y="95"/>
                    <a:pt x="22" y="95"/>
                  </a:cubicBezTo>
                  <a:cubicBezTo>
                    <a:pt x="22" y="95"/>
                    <a:pt x="22" y="94"/>
                    <a:pt x="22" y="94"/>
                  </a:cubicBezTo>
                  <a:cubicBezTo>
                    <a:pt x="23" y="94"/>
                    <a:pt x="23" y="94"/>
                    <a:pt x="23" y="94"/>
                  </a:cubicBezTo>
                  <a:cubicBezTo>
                    <a:pt x="23" y="93"/>
                    <a:pt x="23" y="93"/>
                    <a:pt x="23" y="93"/>
                  </a:cubicBezTo>
                  <a:cubicBezTo>
                    <a:pt x="24" y="92"/>
                    <a:pt x="25" y="92"/>
                    <a:pt x="25" y="92"/>
                  </a:cubicBezTo>
                  <a:cubicBezTo>
                    <a:pt x="25" y="92"/>
                    <a:pt x="25" y="92"/>
                    <a:pt x="25" y="92"/>
                  </a:cubicBezTo>
                  <a:cubicBezTo>
                    <a:pt x="26" y="92"/>
                    <a:pt x="26" y="92"/>
                    <a:pt x="26" y="92"/>
                  </a:cubicBezTo>
                  <a:cubicBezTo>
                    <a:pt x="26" y="92"/>
                    <a:pt x="27" y="92"/>
                    <a:pt x="28" y="93"/>
                  </a:cubicBezTo>
                  <a:cubicBezTo>
                    <a:pt x="29" y="94"/>
                    <a:pt x="29" y="94"/>
                    <a:pt x="29" y="94"/>
                  </a:cubicBezTo>
                  <a:cubicBezTo>
                    <a:pt x="30" y="95"/>
                    <a:pt x="31" y="96"/>
                    <a:pt x="30" y="98"/>
                  </a:cubicBezTo>
                  <a:cubicBezTo>
                    <a:pt x="30" y="98"/>
                    <a:pt x="30" y="98"/>
                    <a:pt x="30" y="98"/>
                  </a:cubicBezTo>
                  <a:cubicBezTo>
                    <a:pt x="30" y="98"/>
                    <a:pt x="30" y="99"/>
                    <a:pt x="30" y="99"/>
                  </a:cubicBezTo>
                  <a:cubicBezTo>
                    <a:pt x="30" y="99"/>
                    <a:pt x="30" y="99"/>
                    <a:pt x="30" y="99"/>
                  </a:cubicBezTo>
                  <a:cubicBezTo>
                    <a:pt x="32" y="100"/>
                    <a:pt x="32" y="100"/>
                    <a:pt x="32" y="100"/>
                  </a:cubicBezTo>
                  <a:cubicBezTo>
                    <a:pt x="34" y="98"/>
                    <a:pt x="34" y="98"/>
                    <a:pt x="34" y="98"/>
                  </a:cubicBezTo>
                  <a:cubicBezTo>
                    <a:pt x="39" y="101"/>
                    <a:pt x="39" y="101"/>
                    <a:pt x="39" y="101"/>
                  </a:cubicBezTo>
                  <a:cubicBezTo>
                    <a:pt x="42" y="102"/>
                    <a:pt x="42" y="102"/>
                    <a:pt x="42" y="102"/>
                  </a:cubicBezTo>
                  <a:cubicBezTo>
                    <a:pt x="43" y="100"/>
                    <a:pt x="43" y="100"/>
                    <a:pt x="43" y="100"/>
                  </a:cubicBezTo>
                  <a:cubicBezTo>
                    <a:pt x="43" y="96"/>
                    <a:pt x="43" y="96"/>
                    <a:pt x="43" y="96"/>
                  </a:cubicBezTo>
                  <a:cubicBezTo>
                    <a:pt x="49" y="93"/>
                    <a:pt x="49" y="93"/>
                    <a:pt x="49" y="93"/>
                  </a:cubicBezTo>
                  <a:cubicBezTo>
                    <a:pt x="51" y="91"/>
                    <a:pt x="51" y="91"/>
                    <a:pt x="51" y="91"/>
                  </a:cubicBezTo>
                  <a:cubicBezTo>
                    <a:pt x="65" y="90"/>
                    <a:pt x="65" y="90"/>
                    <a:pt x="65" y="90"/>
                  </a:cubicBezTo>
                  <a:cubicBezTo>
                    <a:pt x="65" y="90"/>
                    <a:pt x="65" y="90"/>
                    <a:pt x="65" y="90"/>
                  </a:cubicBezTo>
                  <a:cubicBezTo>
                    <a:pt x="65" y="90"/>
                    <a:pt x="65" y="90"/>
                    <a:pt x="65" y="90"/>
                  </a:cubicBezTo>
                  <a:cubicBezTo>
                    <a:pt x="66" y="89"/>
                    <a:pt x="72" y="88"/>
                    <a:pt x="72" y="88"/>
                  </a:cubicBezTo>
                  <a:cubicBezTo>
                    <a:pt x="73" y="88"/>
                    <a:pt x="75" y="87"/>
                    <a:pt x="77" y="87"/>
                  </a:cubicBezTo>
                  <a:cubicBezTo>
                    <a:pt x="78" y="86"/>
                    <a:pt x="78" y="86"/>
                    <a:pt x="78" y="86"/>
                  </a:cubicBezTo>
                  <a:cubicBezTo>
                    <a:pt x="81" y="90"/>
                    <a:pt x="81" y="90"/>
                    <a:pt x="81" y="90"/>
                  </a:cubicBezTo>
                  <a:cubicBezTo>
                    <a:pt x="80" y="93"/>
                    <a:pt x="80" y="93"/>
                    <a:pt x="80" y="93"/>
                  </a:cubicBezTo>
                  <a:cubicBezTo>
                    <a:pt x="81" y="95"/>
                    <a:pt x="81" y="95"/>
                    <a:pt x="81" y="95"/>
                  </a:cubicBezTo>
                  <a:cubicBezTo>
                    <a:pt x="83" y="99"/>
                    <a:pt x="83" y="99"/>
                    <a:pt x="83" y="99"/>
                  </a:cubicBezTo>
                  <a:cubicBezTo>
                    <a:pt x="83" y="100"/>
                    <a:pt x="83" y="100"/>
                    <a:pt x="83" y="100"/>
                  </a:cubicBezTo>
                  <a:cubicBezTo>
                    <a:pt x="84" y="101"/>
                    <a:pt x="85" y="102"/>
                    <a:pt x="85" y="102"/>
                  </a:cubicBezTo>
                  <a:cubicBezTo>
                    <a:pt x="85" y="103"/>
                    <a:pt x="86" y="103"/>
                    <a:pt x="86" y="104"/>
                  </a:cubicBezTo>
                  <a:cubicBezTo>
                    <a:pt x="97" y="105"/>
                    <a:pt x="97" y="105"/>
                    <a:pt x="97" y="105"/>
                  </a:cubicBezTo>
                  <a:cubicBezTo>
                    <a:pt x="105" y="107"/>
                    <a:pt x="105" y="107"/>
                    <a:pt x="105" y="107"/>
                  </a:cubicBezTo>
                  <a:cubicBezTo>
                    <a:pt x="106" y="108"/>
                    <a:pt x="111" y="109"/>
                    <a:pt x="113" y="109"/>
                  </a:cubicBezTo>
                  <a:cubicBezTo>
                    <a:pt x="113" y="109"/>
                    <a:pt x="115" y="109"/>
                    <a:pt x="115" y="109"/>
                  </a:cubicBezTo>
                  <a:cubicBezTo>
                    <a:pt x="117" y="109"/>
                    <a:pt x="120" y="109"/>
                    <a:pt x="121" y="109"/>
                  </a:cubicBezTo>
                  <a:cubicBezTo>
                    <a:pt x="127" y="109"/>
                    <a:pt x="127" y="109"/>
                    <a:pt x="127" y="109"/>
                  </a:cubicBezTo>
                  <a:cubicBezTo>
                    <a:pt x="127" y="111"/>
                    <a:pt x="127" y="111"/>
                    <a:pt x="127" y="111"/>
                  </a:cubicBezTo>
                  <a:cubicBezTo>
                    <a:pt x="134" y="113"/>
                    <a:pt x="134" y="113"/>
                    <a:pt x="134" y="113"/>
                  </a:cubicBezTo>
                  <a:cubicBezTo>
                    <a:pt x="142" y="114"/>
                    <a:pt x="142" y="114"/>
                    <a:pt x="142" y="114"/>
                  </a:cubicBezTo>
                  <a:cubicBezTo>
                    <a:pt x="149" y="114"/>
                    <a:pt x="149" y="114"/>
                    <a:pt x="149" y="114"/>
                  </a:cubicBezTo>
                  <a:cubicBezTo>
                    <a:pt x="150" y="114"/>
                    <a:pt x="150" y="114"/>
                    <a:pt x="150" y="114"/>
                  </a:cubicBezTo>
                  <a:cubicBezTo>
                    <a:pt x="153" y="113"/>
                    <a:pt x="153" y="113"/>
                    <a:pt x="153" y="113"/>
                  </a:cubicBezTo>
                  <a:cubicBezTo>
                    <a:pt x="155" y="110"/>
                    <a:pt x="155" y="110"/>
                    <a:pt x="155" y="110"/>
                  </a:cubicBezTo>
                  <a:cubicBezTo>
                    <a:pt x="157" y="110"/>
                    <a:pt x="157" y="110"/>
                    <a:pt x="157" y="110"/>
                  </a:cubicBezTo>
                  <a:cubicBezTo>
                    <a:pt x="158" y="108"/>
                    <a:pt x="158" y="108"/>
                    <a:pt x="158" y="108"/>
                  </a:cubicBezTo>
                  <a:cubicBezTo>
                    <a:pt x="160" y="105"/>
                    <a:pt x="160" y="105"/>
                    <a:pt x="160" y="105"/>
                  </a:cubicBezTo>
                  <a:cubicBezTo>
                    <a:pt x="163" y="103"/>
                    <a:pt x="163" y="103"/>
                    <a:pt x="163" y="103"/>
                  </a:cubicBezTo>
                  <a:cubicBezTo>
                    <a:pt x="167" y="103"/>
                    <a:pt x="167" y="103"/>
                    <a:pt x="167" y="103"/>
                  </a:cubicBezTo>
                  <a:cubicBezTo>
                    <a:pt x="173" y="102"/>
                    <a:pt x="173" y="102"/>
                    <a:pt x="173" y="102"/>
                  </a:cubicBezTo>
                  <a:cubicBezTo>
                    <a:pt x="177" y="103"/>
                    <a:pt x="177" y="103"/>
                    <a:pt x="177" y="103"/>
                  </a:cubicBezTo>
                  <a:cubicBezTo>
                    <a:pt x="181" y="99"/>
                    <a:pt x="181" y="99"/>
                    <a:pt x="181" y="99"/>
                  </a:cubicBezTo>
                  <a:cubicBezTo>
                    <a:pt x="184" y="99"/>
                    <a:pt x="184" y="99"/>
                    <a:pt x="184" y="99"/>
                  </a:cubicBezTo>
                  <a:cubicBezTo>
                    <a:pt x="188" y="98"/>
                    <a:pt x="188" y="98"/>
                    <a:pt x="188" y="98"/>
                  </a:cubicBezTo>
                  <a:cubicBezTo>
                    <a:pt x="193" y="101"/>
                    <a:pt x="193" y="101"/>
                    <a:pt x="193" y="101"/>
                  </a:cubicBezTo>
                  <a:cubicBezTo>
                    <a:pt x="192" y="96"/>
                    <a:pt x="192" y="96"/>
                    <a:pt x="192" y="96"/>
                  </a:cubicBezTo>
                  <a:cubicBezTo>
                    <a:pt x="193" y="92"/>
                    <a:pt x="193" y="92"/>
                    <a:pt x="193" y="92"/>
                  </a:cubicBezTo>
                  <a:cubicBezTo>
                    <a:pt x="197" y="90"/>
                    <a:pt x="197" y="90"/>
                    <a:pt x="197" y="90"/>
                  </a:cubicBezTo>
                  <a:cubicBezTo>
                    <a:pt x="199" y="84"/>
                    <a:pt x="199" y="84"/>
                    <a:pt x="199" y="84"/>
                  </a:cubicBezTo>
                  <a:cubicBezTo>
                    <a:pt x="202" y="84"/>
                    <a:pt x="202" y="84"/>
                    <a:pt x="202" y="84"/>
                  </a:cubicBezTo>
                  <a:cubicBezTo>
                    <a:pt x="204" y="80"/>
                    <a:pt x="204" y="80"/>
                    <a:pt x="204" y="80"/>
                  </a:cubicBezTo>
                  <a:cubicBezTo>
                    <a:pt x="204" y="75"/>
                    <a:pt x="204" y="75"/>
                    <a:pt x="204" y="75"/>
                  </a:cubicBezTo>
                  <a:cubicBezTo>
                    <a:pt x="203" y="73"/>
                    <a:pt x="203" y="73"/>
                    <a:pt x="203" y="73"/>
                  </a:cubicBezTo>
                  <a:cubicBezTo>
                    <a:pt x="201" y="69"/>
                    <a:pt x="201" y="69"/>
                    <a:pt x="201" y="69"/>
                  </a:cubicBezTo>
                  <a:cubicBezTo>
                    <a:pt x="201" y="69"/>
                    <a:pt x="202" y="68"/>
                    <a:pt x="203" y="68"/>
                  </a:cubicBezTo>
                  <a:cubicBezTo>
                    <a:pt x="204" y="68"/>
                    <a:pt x="206" y="66"/>
                    <a:pt x="206" y="66"/>
                  </a:cubicBezTo>
                  <a:cubicBezTo>
                    <a:pt x="211" y="63"/>
                    <a:pt x="211" y="63"/>
                    <a:pt x="211" y="63"/>
                  </a:cubicBezTo>
                  <a:cubicBezTo>
                    <a:pt x="207" y="56"/>
                    <a:pt x="207" y="56"/>
                    <a:pt x="207" y="56"/>
                  </a:cubicBezTo>
                  <a:cubicBezTo>
                    <a:pt x="205" y="57"/>
                    <a:pt x="205" y="57"/>
                    <a:pt x="205" y="57"/>
                  </a:cubicBezTo>
                  <a:cubicBezTo>
                    <a:pt x="200" y="55"/>
                    <a:pt x="200" y="55"/>
                    <a:pt x="200" y="55"/>
                  </a:cubicBezTo>
                  <a:cubicBezTo>
                    <a:pt x="204" y="53"/>
                    <a:pt x="204" y="53"/>
                    <a:pt x="204" y="53"/>
                  </a:cubicBezTo>
                  <a:cubicBezTo>
                    <a:pt x="205" y="50"/>
                    <a:pt x="205" y="50"/>
                    <a:pt x="205" y="50"/>
                  </a:cubicBezTo>
                  <a:cubicBezTo>
                    <a:pt x="211" y="53"/>
                    <a:pt x="211" y="53"/>
                    <a:pt x="211" y="53"/>
                  </a:cubicBezTo>
                  <a:cubicBezTo>
                    <a:pt x="211" y="53"/>
                    <a:pt x="214" y="54"/>
                    <a:pt x="213" y="53"/>
                  </a:cubicBezTo>
                  <a:cubicBezTo>
                    <a:pt x="213" y="51"/>
                    <a:pt x="214" y="52"/>
                    <a:pt x="214" y="53"/>
                  </a:cubicBezTo>
                  <a:cubicBezTo>
                    <a:pt x="215" y="54"/>
                    <a:pt x="217" y="52"/>
                    <a:pt x="219" y="52"/>
                  </a:cubicBezTo>
                  <a:cubicBezTo>
                    <a:pt x="221" y="52"/>
                    <a:pt x="219" y="50"/>
                    <a:pt x="219" y="49"/>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 name="Freeform 130"/>
            <p:cNvSpPr>
              <a:spLocks/>
            </p:cNvSpPr>
            <p:nvPr/>
          </p:nvSpPr>
          <p:spPr bwMode="auto">
            <a:xfrm>
              <a:off x="5123033" y="3678897"/>
              <a:ext cx="714852" cy="908186"/>
            </a:xfrm>
            <a:custGeom>
              <a:avLst/>
              <a:gdLst>
                <a:gd name="T0" fmla="*/ 233 w 247"/>
                <a:gd name="T1" fmla="*/ 133 h 332"/>
                <a:gd name="T2" fmla="*/ 230 w 247"/>
                <a:gd name="T3" fmla="*/ 100 h 332"/>
                <a:gd name="T4" fmla="*/ 219 w 247"/>
                <a:gd name="T5" fmla="*/ 59 h 332"/>
                <a:gd name="T6" fmla="*/ 211 w 247"/>
                <a:gd name="T7" fmla="*/ 41 h 332"/>
                <a:gd name="T8" fmla="*/ 190 w 247"/>
                <a:gd name="T9" fmla="*/ 29 h 332"/>
                <a:gd name="T10" fmla="*/ 195 w 247"/>
                <a:gd name="T11" fmla="*/ 17 h 332"/>
                <a:gd name="T12" fmla="*/ 189 w 247"/>
                <a:gd name="T13" fmla="*/ 13 h 332"/>
                <a:gd name="T14" fmla="*/ 184 w 247"/>
                <a:gd name="T15" fmla="*/ 15 h 332"/>
                <a:gd name="T16" fmla="*/ 170 w 247"/>
                <a:gd name="T17" fmla="*/ 23 h 332"/>
                <a:gd name="T18" fmla="*/ 166 w 247"/>
                <a:gd name="T19" fmla="*/ 24 h 332"/>
                <a:gd name="T20" fmla="*/ 143 w 247"/>
                <a:gd name="T21" fmla="*/ 40 h 332"/>
                <a:gd name="T22" fmla="*/ 126 w 247"/>
                <a:gd name="T23" fmla="*/ 40 h 332"/>
                <a:gd name="T24" fmla="*/ 134 w 247"/>
                <a:gd name="T25" fmla="*/ 25 h 332"/>
                <a:gd name="T26" fmla="*/ 133 w 247"/>
                <a:gd name="T27" fmla="*/ 24 h 332"/>
                <a:gd name="T28" fmla="*/ 114 w 247"/>
                <a:gd name="T29" fmla="*/ 23 h 332"/>
                <a:gd name="T30" fmla="*/ 106 w 247"/>
                <a:gd name="T31" fmla="*/ 8 h 332"/>
                <a:gd name="T32" fmla="*/ 86 w 247"/>
                <a:gd name="T33" fmla="*/ 4 h 332"/>
                <a:gd name="T34" fmla="*/ 75 w 247"/>
                <a:gd name="T35" fmla="*/ 12 h 332"/>
                <a:gd name="T36" fmla="*/ 81 w 247"/>
                <a:gd name="T37" fmla="*/ 19 h 332"/>
                <a:gd name="T38" fmla="*/ 78 w 247"/>
                <a:gd name="T39" fmla="*/ 33 h 332"/>
                <a:gd name="T40" fmla="*/ 85 w 247"/>
                <a:gd name="T41" fmla="*/ 44 h 332"/>
                <a:gd name="T42" fmla="*/ 69 w 247"/>
                <a:gd name="T43" fmla="*/ 52 h 332"/>
                <a:gd name="T44" fmla="*/ 62 w 247"/>
                <a:gd name="T45" fmla="*/ 63 h 332"/>
                <a:gd name="T46" fmla="*/ 52 w 247"/>
                <a:gd name="T47" fmla="*/ 49 h 332"/>
                <a:gd name="T48" fmla="*/ 33 w 247"/>
                <a:gd name="T49" fmla="*/ 54 h 332"/>
                <a:gd name="T50" fmla="*/ 33 w 247"/>
                <a:gd name="T51" fmla="*/ 70 h 332"/>
                <a:gd name="T52" fmla="*/ 36 w 247"/>
                <a:gd name="T53" fmla="*/ 86 h 332"/>
                <a:gd name="T54" fmla="*/ 23 w 247"/>
                <a:gd name="T55" fmla="*/ 104 h 332"/>
                <a:gd name="T56" fmla="*/ 31 w 247"/>
                <a:gd name="T57" fmla="*/ 119 h 332"/>
                <a:gd name="T58" fmla="*/ 25 w 247"/>
                <a:gd name="T59" fmla="*/ 126 h 332"/>
                <a:gd name="T60" fmla="*/ 6 w 247"/>
                <a:gd name="T61" fmla="*/ 133 h 332"/>
                <a:gd name="T62" fmla="*/ 7 w 247"/>
                <a:gd name="T63" fmla="*/ 143 h 332"/>
                <a:gd name="T64" fmla="*/ 4 w 247"/>
                <a:gd name="T65" fmla="*/ 158 h 332"/>
                <a:gd name="T66" fmla="*/ 2 w 247"/>
                <a:gd name="T67" fmla="*/ 169 h 332"/>
                <a:gd name="T68" fmla="*/ 3 w 247"/>
                <a:gd name="T69" fmla="*/ 178 h 332"/>
                <a:gd name="T70" fmla="*/ 10 w 247"/>
                <a:gd name="T71" fmla="*/ 189 h 332"/>
                <a:gd name="T72" fmla="*/ 4 w 247"/>
                <a:gd name="T73" fmla="*/ 201 h 332"/>
                <a:gd name="T74" fmla="*/ 11 w 247"/>
                <a:gd name="T75" fmla="*/ 217 h 332"/>
                <a:gd name="T76" fmla="*/ 15 w 247"/>
                <a:gd name="T77" fmla="*/ 241 h 332"/>
                <a:gd name="T78" fmla="*/ 43 w 247"/>
                <a:gd name="T79" fmla="*/ 252 h 332"/>
                <a:gd name="T80" fmla="*/ 45 w 247"/>
                <a:gd name="T81" fmla="*/ 277 h 332"/>
                <a:gd name="T82" fmla="*/ 38 w 247"/>
                <a:gd name="T83" fmla="*/ 311 h 332"/>
                <a:gd name="T84" fmla="*/ 51 w 247"/>
                <a:gd name="T85" fmla="*/ 316 h 332"/>
                <a:gd name="T86" fmla="*/ 60 w 247"/>
                <a:gd name="T87" fmla="*/ 313 h 332"/>
                <a:gd name="T88" fmla="*/ 74 w 247"/>
                <a:gd name="T89" fmla="*/ 307 h 332"/>
                <a:gd name="T90" fmla="*/ 87 w 247"/>
                <a:gd name="T91" fmla="*/ 311 h 332"/>
                <a:gd name="T92" fmla="*/ 99 w 247"/>
                <a:gd name="T93" fmla="*/ 318 h 332"/>
                <a:gd name="T94" fmla="*/ 113 w 247"/>
                <a:gd name="T95" fmla="*/ 327 h 332"/>
                <a:gd name="T96" fmla="*/ 122 w 247"/>
                <a:gd name="T97" fmla="*/ 321 h 332"/>
                <a:gd name="T98" fmla="*/ 141 w 247"/>
                <a:gd name="T99" fmla="*/ 325 h 332"/>
                <a:gd name="T100" fmla="*/ 165 w 247"/>
                <a:gd name="T101" fmla="*/ 316 h 332"/>
                <a:gd name="T102" fmla="*/ 185 w 247"/>
                <a:gd name="T103" fmla="*/ 313 h 332"/>
                <a:gd name="T104" fmla="*/ 199 w 247"/>
                <a:gd name="T105" fmla="*/ 313 h 332"/>
                <a:gd name="T106" fmla="*/ 190 w 247"/>
                <a:gd name="T107" fmla="*/ 296 h 332"/>
                <a:gd name="T108" fmla="*/ 203 w 247"/>
                <a:gd name="T109" fmla="*/ 283 h 332"/>
                <a:gd name="T110" fmla="*/ 218 w 247"/>
                <a:gd name="T111" fmla="*/ 270 h 332"/>
                <a:gd name="T112" fmla="*/ 206 w 247"/>
                <a:gd name="T113" fmla="*/ 254 h 332"/>
                <a:gd name="T114" fmla="*/ 183 w 247"/>
                <a:gd name="T115" fmla="*/ 234 h 332"/>
                <a:gd name="T116" fmla="*/ 167 w 247"/>
                <a:gd name="T117" fmla="*/ 200 h 332"/>
                <a:gd name="T118" fmla="*/ 190 w 247"/>
                <a:gd name="T119" fmla="*/ 193 h 332"/>
                <a:gd name="T120" fmla="*/ 216 w 247"/>
                <a:gd name="T121" fmla="*/ 172 h 332"/>
                <a:gd name="T122" fmla="*/ 236 w 247"/>
                <a:gd name="T123" fmla="*/ 171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32">
                  <a:moveTo>
                    <a:pt x="247" y="154"/>
                  </a:moveTo>
                  <a:cubicBezTo>
                    <a:pt x="247" y="154"/>
                    <a:pt x="245" y="151"/>
                    <a:pt x="244" y="151"/>
                  </a:cubicBezTo>
                  <a:cubicBezTo>
                    <a:pt x="244" y="151"/>
                    <a:pt x="242" y="148"/>
                    <a:pt x="242" y="147"/>
                  </a:cubicBezTo>
                  <a:cubicBezTo>
                    <a:pt x="242" y="147"/>
                    <a:pt x="242" y="145"/>
                    <a:pt x="242" y="145"/>
                  </a:cubicBezTo>
                  <a:cubicBezTo>
                    <a:pt x="242" y="145"/>
                    <a:pt x="240" y="144"/>
                    <a:pt x="239" y="144"/>
                  </a:cubicBezTo>
                  <a:cubicBezTo>
                    <a:pt x="239" y="143"/>
                    <a:pt x="236" y="143"/>
                    <a:pt x="236" y="143"/>
                  </a:cubicBezTo>
                  <a:cubicBezTo>
                    <a:pt x="236" y="140"/>
                    <a:pt x="236" y="140"/>
                    <a:pt x="236" y="140"/>
                  </a:cubicBezTo>
                  <a:cubicBezTo>
                    <a:pt x="237" y="136"/>
                    <a:pt x="237" y="136"/>
                    <a:pt x="237" y="136"/>
                  </a:cubicBezTo>
                  <a:cubicBezTo>
                    <a:pt x="233" y="133"/>
                    <a:pt x="233" y="133"/>
                    <a:pt x="233" y="133"/>
                  </a:cubicBezTo>
                  <a:cubicBezTo>
                    <a:pt x="232" y="130"/>
                    <a:pt x="232" y="130"/>
                    <a:pt x="232" y="130"/>
                  </a:cubicBezTo>
                  <a:cubicBezTo>
                    <a:pt x="232" y="130"/>
                    <a:pt x="233" y="128"/>
                    <a:pt x="233" y="127"/>
                  </a:cubicBezTo>
                  <a:cubicBezTo>
                    <a:pt x="234" y="126"/>
                    <a:pt x="235" y="123"/>
                    <a:pt x="235" y="123"/>
                  </a:cubicBezTo>
                  <a:cubicBezTo>
                    <a:pt x="233" y="120"/>
                    <a:pt x="233" y="120"/>
                    <a:pt x="233" y="120"/>
                  </a:cubicBezTo>
                  <a:cubicBezTo>
                    <a:pt x="233" y="120"/>
                    <a:pt x="232" y="119"/>
                    <a:pt x="233" y="118"/>
                  </a:cubicBezTo>
                  <a:cubicBezTo>
                    <a:pt x="233" y="118"/>
                    <a:pt x="232" y="113"/>
                    <a:pt x="232" y="113"/>
                  </a:cubicBezTo>
                  <a:cubicBezTo>
                    <a:pt x="232" y="113"/>
                    <a:pt x="232" y="109"/>
                    <a:pt x="230" y="109"/>
                  </a:cubicBezTo>
                  <a:cubicBezTo>
                    <a:pt x="229" y="109"/>
                    <a:pt x="228" y="106"/>
                    <a:pt x="228" y="106"/>
                  </a:cubicBezTo>
                  <a:cubicBezTo>
                    <a:pt x="230" y="100"/>
                    <a:pt x="230" y="100"/>
                    <a:pt x="230" y="100"/>
                  </a:cubicBezTo>
                  <a:cubicBezTo>
                    <a:pt x="230" y="100"/>
                    <a:pt x="231" y="96"/>
                    <a:pt x="228" y="95"/>
                  </a:cubicBezTo>
                  <a:cubicBezTo>
                    <a:pt x="225" y="94"/>
                    <a:pt x="221" y="92"/>
                    <a:pt x="220" y="91"/>
                  </a:cubicBezTo>
                  <a:cubicBezTo>
                    <a:pt x="220" y="90"/>
                    <a:pt x="218" y="88"/>
                    <a:pt x="217" y="87"/>
                  </a:cubicBezTo>
                  <a:cubicBezTo>
                    <a:pt x="216" y="87"/>
                    <a:pt x="216" y="87"/>
                    <a:pt x="216" y="87"/>
                  </a:cubicBezTo>
                  <a:cubicBezTo>
                    <a:pt x="217" y="80"/>
                    <a:pt x="217" y="80"/>
                    <a:pt x="217" y="80"/>
                  </a:cubicBezTo>
                  <a:cubicBezTo>
                    <a:pt x="221" y="77"/>
                    <a:pt x="221" y="77"/>
                    <a:pt x="221" y="77"/>
                  </a:cubicBezTo>
                  <a:cubicBezTo>
                    <a:pt x="221" y="70"/>
                    <a:pt x="221" y="70"/>
                    <a:pt x="221" y="70"/>
                  </a:cubicBezTo>
                  <a:cubicBezTo>
                    <a:pt x="221" y="63"/>
                    <a:pt x="221" y="63"/>
                    <a:pt x="221" y="63"/>
                  </a:cubicBezTo>
                  <a:cubicBezTo>
                    <a:pt x="221" y="63"/>
                    <a:pt x="222" y="61"/>
                    <a:pt x="219" y="59"/>
                  </a:cubicBezTo>
                  <a:cubicBezTo>
                    <a:pt x="217" y="56"/>
                    <a:pt x="217" y="53"/>
                    <a:pt x="217" y="52"/>
                  </a:cubicBezTo>
                  <a:cubicBezTo>
                    <a:pt x="217" y="52"/>
                    <a:pt x="216" y="49"/>
                    <a:pt x="216" y="48"/>
                  </a:cubicBezTo>
                  <a:cubicBezTo>
                    <a:pt x="216" y="47"/>
                    <a:pt x="215" y="47"/>
                    <a:pt x="215" y="46"/>
                  </a:cubicBezTo>
                  <a:cubicBezTo>
                    <a:pt x="212" y="46"/>
                    <a:pt x="208" y="47"/>
                    <a:pt x="208" y="47"/>
                  </a:cubicBezTo>
                  <a:cubicBezTo>
                    <a:pt x="208" y="47"/>
                    <a:pt x="207" y="46"/>
                    <a:pt x="206" y="46"/>
                  </a:cubicBezTo>
                  <a:cubicBezTo>
                    <a:pt x="206" y="46"/>
                    <a:pt x="204" y="44"/>
                    <a:pt x="204" y="44"/>
                  </a:cubicBezTo>
                  <a:cubicBezTo>
                    <a:pt x="206" y="44"/>
                    <a:pt x="206" y="44"/>
                    <a:pt x="206" y="44"/>
                  </a:cubicBezTo>
                  <a:cubicBezTo>
                    <a:pt x="209" y="43"/>
                    <a:pt x="209" y="43"/>
                    <a:pt x="209" y="43"/>
                  </a:cubicBezTo>
                  <a:cubicBezTo>
                    <a:pt x="211" y="41"/>
                    <a:pt x="211" y="41"/>
                    <a:pt x="211" y="41"/>
                  </a:cubicBezTo>
                  <a:cubicBezTo>
                    <a:pt x="212" y="40"/>
                    <a:pt x="212" y="40"/>
                    <a:pt x="212" y="40"/>
                  </a:cubicBezTo>
                  <a:cubicBezTo>
                    <a:pt x="211" y="36"/>
                    <a:pt x="211" y="36"/>
                    <a:pt x="211" y="36"/>
                  </a:cubicBezTo>
                  <a:cubicBezTo>
                    <a:pt x="210" y="36"/>
                    <a:pt x="210" y="36"/>
                    <a:pt x="210" y="36"/>
                  </a:cubicBezTo>
                  <a:cubicBezTo>
                    <a:pt x="210" y="36"/>
                    <a:pt x="206" y="34"/>
                    <a:pt x="206" y="33"/>
                  </a:cubicBezTo>
                  <a:cubicBezTo>
                    <a:pt x="206" y="33"/>
                    <a:pt x="205" y="31"/>
                    <a:pt x="205" y="31"/>
                  </a:cubicBezTo>
                  <a:cubicBezTo>
                    <a:pt x="203" y="31"/>
                    <a:pt x="203" y="31"/>
                    <a:pt x="203" y="31"/>
                  </a:cubicBezTo>
                  <a:cubicBezTo>
                    <a:pt x="203" y="31"/>
                    <a:pt x="197" y="31"/>
                    <a:pt x="197" y="31"/>
                  </a:cubicBezTo>
                  <a:cubicBezTo>
                    <a:pt x="197" y="32"/>
                    <a:pt x="193" y="31"/>
                    <a:pt x="193" y="31"/>
                  </a:cubicBezTo>
                  <a:cubicBezTo>
                    <a:pt x="193" y="31"/>
                    <a:pt x="191" y="30"/>
                    <a:pt x="190" y="29"/>
                  </a:cubicBezTo>
                  <a:cubicBezTo>
                    <a:pt x="190" y="28"/>
                    <a:pt x="190" y="27"/>
                    <a:pt x="190" y="26"/>
                  </a:cubicBezTo>
                  <a:cubicBezTo>
                    <a:pt x="190" y="25"/>
                    <a:pt x="190" y="26"/>
                    <a:pt x="192" y="25"/>
                  </a:cubicBezTo>
                  <a:cubicBezTo>
                    <a:pt x="193" y="24"/>
                    <a:pt x="194" y="24"/>
                    <a:pt x="195" y="24"/>
                  </a:cubicBezTo>
                  <a:cubicBezTo>
                    <a:pt x="195" y="23"/>
                    <a:pt x="195" y="23"/>
                    <a:pt x="195" y="23"/>
                  </a:cubicBezTo>
                  <a:cubicBezTo>
                    <a:pt x="195" y="23"/>
                    <a:pt x="199" y="23"/>
                    <a:pt x="199" y="23"/>
                  </a:cubicBezTo>
                  <a:cubicBezTo>
                    <a:pt x="199" y="23"/>
                    <a:pt x="199" y="21"/>
                    <a:pt x="199" y="21"/>
                  </a:cubicBezTo>
                  <a:cubicBezTo>
                    <a:pt x="197" y="20"/>
                    <a:pt x="197" y="20"/>
                    <a:pt x="197" y="20"/>
                  </a:cubicBezTo>
                  <a:cubicBezTo>
                    <a:pt x="197" y="20"/>
                    <a:pt x="195" y="18"/>
                    <a:pt x="195" y="18"/>
                  </a:cubicBezTo>
                  <a:cubicBezTo>
                    <a:pt x="195" y="17"/>
                    <a:pt x="195" y="17"/>
                    <a:pt x="195" y="17"/>
                  </a:cubicBezTo>
                  <a:cubicBezTo>
                    <a:pt x="195" y="17"/>
                    <a:pt x="197" y="15"/>
                    <a:pt x="197" y="15"/>
                  </a:cubicBezTo>
                  <a:cubicBezTo>
                    <a:pt x="198" y="14"/>
                    <a:pt x="197" y="13"/>
                    <a:pt x="197" y="13"/>
                  </a:cubicBezTo>
                  <a:cubicBezTo>
                    <a:pt x="197" y="13"/>
                    <a:pt x="196" y="12"/>
                    <a:pt x="195" y="12"/>
                  </a:cubicBezTo>
                  <a:cubicBezTo>
                    <a:pt x="195" y="12"/>
                    <a:pt x="194" y="14"/>
                    <a:pt x="194" y="14"/>
                  </a:cubicBezTo>
                  <a:cubicBezTo>
                    <a:pt x="193" y="14"/>
                    <a:pt x="193" y="16"/>
                    <a:pt x="193" y="16"/>
                  </a:cubicBezTo>
                  <a:cubicBezTo>
                    <a:pt x="193" y="16"/>
                    <a:pt x="191" y="17"/>
                    <a:pt x="191" y="17"/>
                  </a:cubicBezTo>
                  <a:cubicBezTo>
                    <a:pt x="190" y="16"/>
                    <a:pt x="191" y="16"/>
                    <a:pt x="191" y="15"/>
                  </a:cubicBezTo>
                  <a:cubicBezTo>
                    <a:pt x="191" y="15"/>
                    <a:pt x="190" y="14"/>
                    <a:pt x="190" y="14"/>
                  </a:cubicBezTo>
                  <a:cubicBezTo>
                    <a:pt x="190" y="14"/>
                    <a:pt x="189" y="13"/>
                    <a:pt x="189" y="13"/>
                  </a:cubicBezTo>
                  <a:cubicBezTo>
                    <a:pt x="189" y="12"/>
                    <a:pt x="190" y="12"/>
                    <a:pt x="191" y="12"/>
                  </a:cubicBezTo>
                  <a:cubicBezTo>
                    <a:pt x="191" y="11"/>
                    <a:pt x="191" y="10"/>
                    <a:pt x="191" y="10"/>
                  </a:cubicBezTo>
                  <a:cubicBezTo>
                    <a:pt x="191" y="10"/>
                    <a:pt x="191" y="9"/>
                    <a:pt x="190" y="9"/>
                  </a:cubicBezTo>
                  <a:cubicBezTo>
                    <a:pt x="190" y="8"/>
                    <a:pt x="189" y="9"/>
                    <a:pt x="189" y="9"/>
                  </a:cubicBezTo>
                  <a:cubicBezTo>
                    <a:pt x="189" y="9"/>
                    <a:pt x="187" y="11"/>
                    <a:pt x="187" y="11"/>
                  </a:cubicBezTo>
                  <a:cubicBezTo>
                    <a:pt x="187" y="11"/>
                    <a:pt x="186" y="12"/>
                    <a:pt x="186" y="12"/>
                  </a:cubicBezTo>
                  <a:cubicBezTo>
                    <a:pt x="186" y="12"/>
                    <a:pt x="186" y="14"/>
                    <a:pt x="186" y="14"/>
                  </a:cubicBezTo>
                  <a:cubicBezTo>
                    <a:pt x="186" y="14"/>
                    <a:pt x="184" y="15"/>
                    <a:pt x="184" y="15"/>
                  </a:cubicBezTo>
                  <a:cubicBezTo>
                    <a:pt x="184" y="15"/>
                    <a:pt x="184" y="15"/>
                    <a:pt x="184" y="15"/>
                  </a:cubicBezTo>
                  <a:cubicBezTo>
                    <a:pt x="184" y="15"/>
                    <a:pt x="183" y="17"/>
                    <a:pt x="183" y="17"/>
                  </a:cubicBezTo>
                  <a:cubicBezTo>
                    <a:pt x="183" y="17"/>
                    <a:pt x="183" y="19"/>
                    <a:pt x="183" y="19"/>
                  </a:cubicBezTo>
                  <a:cubicBezTo>
                    <a:pt x="183" y="19"/>
                    <a:pt x="182" y="20"/>
                    <a:pt x="181" y="21"/>
                  </a:cubicBezTo>
                  <a:cubicBezTo>
                    <a:pt x="180" y="21"/>
                    <a:pt x="180" y="22"/>
                    <a:pt x="180" y="22"/>
                  </a:cubicBezTo>
                  <a:cubicBezTo>
                    <a:pt x="180" y="23"/>
                    <a:pt x="180" y="23"/>
                    <a:pt x="180" y="23"/>
                  </a:cubicBezTo>
                  <a:cubicBezTo>
                    <a:pt x="177" y="24"/>
                    <a:pt x="177" y="24"/>
                    <a:pt x="177" y="24"/>
                  </a:cubicBezTo>
                  <a:cubicBezTo>
                    <a:pt x="177" y="24"/>
                    <a:pt x="175" y="23"/>
                    <a:pt x="175" y="23"/>
                  </a:cubicBezTo>
                  <a:cubicBezTo>
                    <a:pt x="175" y="23"/>
                    <a:pt x="173" y="23"/>
                    <a:pt x="173" y="23"/>
                  </a:cubicBezTo>
                  <a:cubicBezTo>
                    <a:pt x="173" y="23"/>
                    <a:pt x="170" y="23"/>
                    <a:pt x="170" y="23"/>
                  </a:cubicBezTo>
                  <a:cubicBezTo>
                    <a:pt x="170" y="23"/>
                    <a:pt x="169" y="24"/>
                    <a:pt x="169" y="24"/>
                  </a:cubicBezTo>
                  <a:cubicBezTo>
                    <a:pt x="168" y="26"/>
                    <a:pt x="168" y="26"/>
                    <a:pt x="168" y="26"/>
                  </a:cubicBezTo>
                  <a:cubicBezTo>
                    <a:pt x="168" y="26"/>
                    <a:pt x="168" y="24"/>
                    <a:pt x="168" y="24"/>
                  </a:cubicBezTo>
                  <a:cubicBezTo>
                    <a:pt x="169" y="23"/>
                    <a:pt x="170" y="22"/>
                    <a:pt x="170" y="22"/>
                  </a:cubicBezTo>
                  <a:cubicBezTo>
                    <a:pt x="171" y="22"/>
                    <a:pt x="171" y="21"/>
                    <a:pt x="171" y="20"/>
                  </a:cubicBezTo>
                  <a:cubicBezTo>
                    <a:pt x="171" y="20"/>
                    <a:pt x="170" y="19"/>
                    <a:pt x="170" y="19"/>
                  </a:cubicBezTo>
                  <a:cubicBezTo>
                    <a:pt x="168" y="20"/>
                    <a:pt x="168" y="20"/>
                    <a:pt x="168" y="20"/>
                  </a:cubicBezTo>
                  <a:cubicBezTo>
                    <a:pt x="168" y="20"/>
                    <a:pt x="167" y="22"/>
                    <a:pt x="167" y="23"/>
                  </a:cubicBezTo>
                  <a:cubicBezTo>
                    <a:pt x="167" y="24"/>
                    <a:pt x="166" y="24"/>
                    <a:pt x="166" y="24"/>
                  </a:cubicBezTo>
                  <a:cubicBezTo>
                    <a:pt x="164" y="26"/>
                    <a:pt x="164" y="26"/>
                    <a:pt x="164" y="26"/>
                  </a:cubicBezTo>
                  <a:cubicBezTo>
                    <a:pt x="163" y="28"/>
                    <a:pt x="163" y="28"/>
                    <a:pt x="163" y="28"/>
                  </a:cubicBezTo>
                  <a:cubicBezTo>
                    <a:pt x="163" y="28"/>
                    <a:pt x="160" y="31"/>
                    <a:pt x="159" y="31"/>
                  </a:cubicBezTo>
                  <a:cubicBezTo>
                    <a:pt x="159" y="32"/>
                    <a:pt x="156" y="33"/>
                    <a:pt x="156" y="33"/>
                  </a:cubicBezTo>
                  <a:cubicBezTo>
                    <a:pt x="156" y="33"/>
                    <a:pt x="151" y="33"/>
                    <a:pt x="150" y="33"/>
                  </a:cubicBezTo>
                  <a:cubicBezTo>
                    <a:pt x="149" y="33"/>
                    <a:pt x="148" y="35"/>
                    <a:pt x="148" y="35"/>
                  </a:cubicBezTo>
                  <a:cubicBezTo>
                    <a:pt x="148" y="35"/>
                    <a:pt x="147" y="36"/>
                    <a:pt x="147" y="37"/>
                  </a:cubicBezTo>
                  <a:cubicBezTo>
                    <a:pt x="146" y="37"/>
                    <a:pt x="145" y="38"/>
                    <a:pt x="145" y="38"/>
                  </a:cubicBezTo>
                  <a:cubicBezTo>
                    <a:pt x="144" y="39"/>
                    <a:pt x="143" y="40"/>
                    <a:pt x="143" y="40"/>
                  </a:cubicBezTo>
                  <a:cubicBezTo>
                    <a:pt x="143" y="40"/>
                    <a:pt x="142" y="42"/>
                    <a:pt x="142" y="42"/>
                  </a:cubicBezTo>
                  <a:cubicBezTo>
                    <a:pt x="142" y="43"/>
                    <a:pt x="139" y="42"/>
                    <a:pt x="139" y="42"/>
                  </a:cubicBezTo>
                  <a:cubicBezTo>
                    <a:pt x="138" y="41"/>
                    <a:pt x="138" y="41"/>
                    <a:pt x="138" y="41"/>
                  </a:cubicBezTo>
                  <a:cubicBezTo>
                    <a:pt x="135" y="40"/>
                    <a:pt x="135" y="40"/>
                    <a:pt x="135" y="40"/>
                  </a:cubicBezTo>
                  <a:cubicBezTo>
                    <a:pt x="132" y="40"/>
                    <a:pt x="132" y="40"/>
                    <a:pt x="132" y="40"/>
                  </a:cubicBezTo>
                  <a:cubicBezTo>
                    <a:pt x="131" y="41"/>
                    <a:pt x="131" y="41"/>
                    <a:pt x="131" y="41"/>
                  </a:cubicBezTo>
                  <a:cubicBezTo>
                    <a:pt x="130" y="42"/>
                    <a:pt x="130" y="42"/>
                    <a:pt x="130" y="42"/>
                  </a:cubicBezTo>
                  <a:cubicBezTo>
                    <a:pt x="128" y="42"/>
                    <a:pt x="128" y="42"/>
                    <a:pt x="128" y="42"/>
                  </a:cubicBezTo>
                  <a:cubicBezTo>
                    <a:pt x="126" y="40"/>
                    <a:pt x="126" y="40"/>
                    <a:pt x="126" y="40"/>
                  </a:cubicBezTo>
                  <a:cubicBezTo>
                    <a:pt x="125" y="38"/>
                    <a:pt x="125" y="38"/>
                    <a:pt x="125" y="38"/>
                  </a:cubicBezTo>
                  <a:cubicBezTo>
                    <a:pt x="126" y="37"/>
                    <a:pt x="126" y="37"/>
                    <a:pt x="126" y="37"/>
                  </a:cubicBezTo>
                  <a:cubicBezTo>
                    <a:pt x="129" y="37"/>
                    <a:pt x="129" y="37"/>
                    <a:pt x="129" y="37"/>
                  </a:cubicBezTo>
                  <a:cubicBezTo>
                    <a:pt x="131" y="35"/>
                    <a:pt x="131" y="35"/>
                    <a:pt x="131" y="35"/>
                  </a:cubicBezTo>
                  <a:cubicBezTo>
                    <a:pt x="131" y="34"/>
                    <a:pt x="131" y="34"/>
                    <a:pt x="131" y="34"/>
                  </a:cubicBezTo>
                  <a:cubicBezTo>
                    <a:pt x="131" y="34"/>
                    <a:pt x="133" y="33"/>
                    <a:pt x="133" y="33"/>
                  </a:cubicBezTo>
                  <a:cubicBezTo>
                    <a:pt x="134" y="33"/>
                    <a:pt x="134" y="31"/>
                    <a:pt x="134" y="31"/>
                  </a:cubicBezTo>
                  <a:cubicBezTo>
                    <a:pt x="134" y="28"/>
                    <a:pt x="134" y="28"/>
                    <a:pt x="134" y="28"/>
                  </a:cubicBezTo>
                  <a:cubicBezTo>
                    <a:pt x="134" y="25"/>
                    <a:pt x="134" y="25"/>
                    <a:pt x="134" y="25"/>
                  </a:cubicBezTo>
                  <a:cubicBezTo>
                    <a:pt x="135" y="23"/>
                    <a:pt x="135" y="23"/>
                    <a:pt x="135" y="23"/>
                  </a:cubicBezTo>
                  <a:cubicBezTo>
                    <a:pt x="138" y="22"/>
                    <a:pt x="138" y="22"/>
                    <a:pt x="138" y="22"/>
                  </a:cubicBezTo>
                  <a:cubicBezTo>
                    <a:pt x="138" y="20"/>
                    <a:pt x="138" y="20"/>
                    <a:pt x="138" y="20"/>
                  </a:cubicBezTo>
                  <a:cubicBezTo>
                    <a:pt x="137" y="17"/>
                    <a:pt x="137" y="17"/>
                    <a:pt x="137" y="17"/>
                  </a:cubicBezTo>
                  <a:cubicBezTo>
                    <a:pt x="137" y="17"/>
                    <a:pt x="133" y="17"/>
                    <a:pt x="133" y="17"/>
                  </a:cubicBezTo>
                  <a:cubicBezTo>
                    <a:pt x="132" y="17"/>
                    <a:pt x="131" y="18"/>
                    <a:pt x="131" y="18"/>
                  </a:cubicBezTo>
                  <a:cubicBezTo>
                    <a:pt x="131" y="21"/>
                    <a:pt x="131" y="21"/>
                    <a:pt x="131" y="21"/>
                  </a:cubicBezTo>
                  <a:cubicBezTo>
                    <a:pt x="133" y="23"/>
                    <a:pt x="133" y="23"/>
                    <a:pt x="133" y="23"/>
                  </a:cubicBezTo>
                  <a:cubicBezTo>
                    <a:pt x="133" y="24"/>
                    <a:pt x="133" y="24"/>
                    <a:pt x="133" y="24"/>
                  </a:cubicBezTo>
                  <a:cubicBezTo>
                    <a:pt x="131" y="25"/>
                    <a:pt x="131" y="25"/>
                    <a:pt x="131" y="25"/>
                  </a:cubicBezTo>
                  <a:cubicBezTo>
                    <a:pt x="129" y="24"/>
                    <a:pt x="129" y="24"/>
                    <a:pt x="129" y="24"/>
                  </a:cubicBezTo>
                  <a:cubicBezTo>
                    <a:pt x="128" y="26"/>
                    <a:pt x="128" y="26"/>
                    <a:pt x="128" y="26"/>
                  </a:cubicBezTo>
                  <a:cubicBezTo>
                    <a:pt x="127" y="28"/>
                    <a:pt x="127" y="28"/>
                    <a:pt x="127" y="28"/>
                  </a:cubicBezTo>
                  <a:cubicBezTo>
                    <a:pt x="123" y="27"/>
                    <a:pt x="123" y="27"/>
                    <a:pt x="123" y="27"/>
                  </a:cubicBezTo>
                  <a:cubicBezTo>
                    <a:pt x="120" y="25"/>
                    <a:pt x="120" y="25"/>
                    <a:pt x="120" y="25"/>
                  </a:cubicBezTo>
                  <a:cubicBezTo>
                    <a:pt x="118" y="23"/>
                    <a:pt x="118" y="23"/>
                    <a:pt x="118" y="23"/>
                  </a:cubicBezTo>
                  <a:cubicBezTo>
                    <a:pt x="115" y="23"/>
                    <a:pt x="115" y="23"/>
                    <a:pt x="115" y="23"/>
                  </a:cubicBezTo>
                  <a:cubicBezTo>
                    <a:pt x="114" y="23"/>
                    <a:pt x="114" y="23"/>
                    <a:pt x="114" y="23"/>
                  </a:cubicBezTo>
                  <a:cubicBezTo>
                    <a:pt x="111" y="23"/>
                    <a:pt x="111" y="23"/>
                    <a:pt x="111" y="23"/>
                  </a:cubicBezTo>
                  <a:cubicBezTo>
                    <a:pt x="110" y="22"/>
                    <a:pt x="110" y="22"/>
                    <a:pt x="110" y="22"/>
                  </a:cubicBezTo>
                  <a:cubicBezTo>
                    <a:pt x="109" y="21"/>
                    <a:pt x="109" y="21"/>
                    <a:pt x="109" y="21"/>
                  </a:cubicBezTo>
                  <a:cubicBezTo>
                    <a:pt x="107" y="21"/>
                    <a:pt x="107" y="21"/>
                    <a:pt x="107" y="21"/>
                  </a:cubicBezTo>
                  <a:cubicBezTo>
                    <a:pt x="105" y="20"/>
                    <a:pt x="105" y="20"/>
                    <a:pt x="105" y="20"/>
                  </a:cubicBezTo>
                  <a:cubicBezTo>
                    <a:pt x="105" y="18"/>
                    <a:pt x="105" y="18"/>
                    <a:pt x="105" y="18"/>
                  </a:cubicBezTo>
                  <a:cubicBezTo>
                    <a:pt x="105" y="18"/>
                    <a:pt x="106" y="15"/>
                    <a:pt x="106" y="14"/>
                  </a:cubicBezTo>
                  <a:cubicBezTo>
                    <a:pt x="107" y="14"/>
                    <a:pt x="107" y="12"/>
                    <a:pt x="107" y="12"/>
                  </a:cubicBezTo>
                  <a:cubicBezTo>
                    <a:pt x="106" y="8"/>
                    <a:pt x="106" y="8"/>
                    <a:pt x="106" y="8"/>
                  </a:cubicBezTo>
                  <a:cubicBezTo>
                    <a:pt x="99" y="1"/>
                    <a:pt x="99" y="1"/>
                    <a:pt x="99" y="1"/>
                  </a:cubicBezTo>
                  <a:cubicBezTo>
                    <a:pt x="99" y="3"/>
                    <a:pt x="99" y="3"/>
                    <a:pt x="99" y="3"/>
                  </a:cubicBezTo>
                  <a:cubicBezTo>
                    <a:pt x="97" y="4"/>
                    <a:pt x="97" y="4"/>
                    <a:pt x="97" y="4"/>
                  </a:cubicBezTo>
                  <a:cubicBezTo>
                    <a:pt x="96" y="2"/>
                    <a:pt x="96" y="2"/>
                    <a:pt x="96" y="2"/>
                  </a:cubicBezTo>
                  <a:cubicBezTo>
                    <a:pt x="96" y="2"/>
                    <a:pt x="95" y="1"/>
                    <a:pt x="95" y="2"/>
                  </a:cubicBezTo>
                  <a:cubicBezTo>
                    <a:pt x="94" y="2"/>
                    <a:pt x="91" y="4"/>
                    <a:pt x="91" y="4"/>
                  </a:cubicBezTo>
                  <a:cubicBezTo>
                    <a:pt x="91" y="4"/>
                    <a:pt x="90" y="4"/>
                    <a:pt x="89" y="4"/>
                  </a:cubicBezTo>
                  <a:cubicBezTo>
                    <a:pt x="89" y="4"/>
                    <a:pt x="88" y="5"/>
                    <a:pt x="88" y="5"/>
                  </a:cubicBezTo>
                  <a:cubicBezTo>
                    <a:pt x="86" y="4"/>
                    <a:pt x="86" y="4"/>
                    <a:pt x="86" y="4"/>
                  </a:cubicBezTo>
                  <a:cubicBezTo>
                    <a:pt x="83" y="2"/>
                    <a:pt x="83" y="2"/>
                    <a:pt x="83" y="2"/>
                  </a:cubicBezTo>
                  <a:cubicBezTo>
                    <a:pt x="83" y="2"/>
                    <a:pt x="81" y="2"/>
                    <a:pt x="80" y="2"/>
                  </a:cubicBezTo>
                  <a:cubicBezTo>
                    <a:pt x="79" y="2"/>
                    <a:pt x="76" y="0"/>
                    <a:pt x="76" y="0"/>
                  </a:cubicBezTo>
                  <a:cubicBezTo>
                    <a:pt x="74" y="0"/>
                    <a:pt x="74" y="0"/>
                    <a:pt x="74" y="0"/>
                  </a:cubicBezTo>
                  <a:cubicBezTo>
                    <a:pt x="71" y="1"/>
                    <a:pt x="71" y="1"/>
                    <a:pt x="71" y="1"/>
                  </a:cubicBezTo>
                  <a:cubicBezTo>
                    <a:pt x="72" y="7"/>
                    <a:pt x="72" y="7"/>
                    <a:pt x="72" y="7"/>
                  </a:cubicBezTo>
                  <a:cubicBezTo>
                    <a:pt x="73" y="9"/>
                    <a:pt x="73" y="9"/>
                    <a:pt x="73" y="9"/>
                  </a:cubicBezTo>
                  <a:cubicBezTo>
                    <a:pt x="74" y="11"/>
                    <a:pt x="74" y="11"/>
                    <a:pt x="74" y="11"/>
                  </a:cubicBezTo>
                  <a:cubicBezTo>
                    <a:pt x="75" y="12"/>
                    <a:pt x="75" y="12"/>
                    <a:pt x="75" y="12"/>
                  </a:cubicBezTo>
                  <a:cubicBezTo>
                    <a:pt x="77" y="14"/>
                    <a:pt x="77" y="14"/>
                    <a:pt x="77" y="14"/>
                  </a:cubicBezTo>
                  <a:cubicBezTo>
                    <a:pt x="79" y="17"/>
                    <a:pt x="79" y="17"/>
                    <a:pt x="79" y="17"/>
                  </a:cubicBezTo>
                  <a:cubicBezTo>
                    <a:pt x="80" y="19"/>
                    <a:pt x="80" y="19"/>
                    <a:pt x="80" y="19"/>
                  </a:cubicBezTo>
                  <a:cubicBezTo>
                    <a:pt x="79" y="19"/>
                    <a:pt x="79" y="19"/>
                    <a:pt x="79" y="19"/>
                  </a:cubicBezTo>
                  <a:cubicBezTo>
                    <a:pt x="77" y="19"/>
                    <a:pt x="77" y="19"/>
                    <a:pt x="77" y="19"/>
                  </a:cubicBezTo>
                  <a:cubicBezTo>
                    <a:pt x="77" y="21"/>
                    <a:pt x="77" y="21"/>
                    <a:pt x="77" y="21"/>
                  </a:cubicBezTo>
                  <a:cubicBezTo>
                    <a:pt x="77" y="21"/>
                    <a:pt x="78" y="21"/>
                    <a:pt x="78" y="21"/>
                  </a:cubicBezTo>
                  <a:cubicBezTo>
                    <a:pt x="79" y="21"/>
                    <a:pt x="80" y="20"/>
                    <a:pt x="80" y="20"/>
                  </a:cubicBezTo>
                  <a:cubicBezTo>
                    <a:pt x="81" y="19"/>
                    <a:pt x="81" y="19"/>
                    <a:pt x="81" y="19"/>
                  </a:cubicBezTo>
                  <a:cubicBezTo>
                    <a:pt x="82" y="21"/>
                    <a:pt x="82" y="21"/>
                    <a:pt x="82" y="21"/>
                  </a:cubicBezTo>
                  <a:cubicBezTo>
                    <a:pt x="76" y="23"/>
                    <a:pt x="76" y="23"/>
                    <a:pt x="76" y="23"/>
                  </a:cubicBezTo>
                  <a:cubicBezTo>
                    <a:pt x="72" y="24"/>
                    <a:pt x="72" y="24"/>
                    <a:pt x="72" y="24"/>
                  </a:cubicBezTo>
                  <a:cubicBezTo>
                    <a:pt x="71" y="27"/>
                    <a:pt x="71" y="27"/>
                    <a:pt x="71" y="27"/>
                  </a:cubicBezTo>
                  <a:cubicBezTo>
                    <a:pt x="73" y="29"/>
                    <a:pt x="73" y="29"/>
                    <a:pt x="73" y="29"/>
                  </a:cubicBezTo>
                  <a:cubicBezTo>
                    <a:pt x="75" y="29"/>
                    <a:pt x="75" y="29"/>
                    <a:pt x="75" y="29"/>
                  </a:cubicBezTo>
                  <a:cubicBezTo>
                    <a:pt x="78" y="29"/>
                    <a:pt x="78" y="29"/>
                    <a:pt x="78" y="29"/>
                  </a:cubicBezTo>
                  <a:cubicBezTo>
                    <a:pt x="78" y="29"/>
                    <a:pt x="78" y="30"/>
                    <a:pt x="77" y="31"/>
                  </a:cubicBezTo>
                  <a:cubicBezTo>
                    <a:pt x="77" y="33"/>
                    <a:pt x="78" y="33"/>
                    <a:pt x="78" y="33"/>
                  </a:cubicBezTo>
                  <a:cubicBezTo>
                    <a:pt x="80" y="33"/>
                    <a:pt x="80" y="33"/>
                    <a:pt x="80" y="33"/>
                  </a:cubicBezTo>
                  <a:cubicBezTo>
                    <a:pt x="80" y="33"/>
                    <a:pt x="80" y="34"/>
                    <a:pt x="79" y="35"/>
                  </a:cubicBezTo>
                  <a:cubicBezTo>
                    <a:pt x="78" y="35"/>
                    <a:pt x="78" y="38"/>
                    <a:pt x="78" y="38"/>
                  </a:cubicBezTo>
                  <a:cubicBezTo>
                    <a:pt x="81" y="40"/>
                    <a:pt x="81" y="40"/>
                    <a:pt x="81" y="40"/>
                  </a:cubicBezTo>
                  <a:cubicBezTo>
                    <a:pt x="80" y="41"/>
                    <a:pt x="80" y="41"/>
                    <a:pt x="80" y="41"/>
                  </a:cubicBezTo>
                  <a:cubicBezTo>
                    <a:pt x="79" y="43"/>
                    <a:pt x="79" y="43"/>
                    <a:pt x="79" y="43"/>
                  </a:cubicBezTo>
                  <a:cubicBezTo>
                    <a:pt x="79" y="43"/>
                    <a:pt x="81" y="45"/>
                    <a:pt x="81" y="46"/>
                  </a:cubicBezTo>
                  <a:cubicBezTo>
                    <a:pt x="81" y="46"/>
                    <a:pt x="84" y="46"/>
                    <a:pt x="84" y="46"/>
                  </a:cubicBezTo>
                  <a:cubicBezTo>
                    <a:pt x="84" y="46"/>
                    <a:pt x="85" y="44"/>
                    <a:pt x="85" y="44"/>
                  </a:cubicBezTo>
                  <a:cubicBezTo>
                    <a:pt x="85" y="44"/>
                    <a:pt x="87" y="45"/>
                    <a:pt x="87" y="45"/>
                  </a:cubicBezTo>
                  <a:cubicBezTo>
                    <a:pt x="88" y="45"/>
                    <a:pt x="89" y="47"/>
                    <a:pt x="89" y="47"/>
                  </a:cubicBezTo>
                  <a:cubicBezTo>
                    <a:pt x="86" y="47"/>
                    <a:pt x="86" y="47"/>
                    <a:pt x="86" y="47"/>
                  </a:cubicBezTo>
                  <a:cubicBezTo>
                    <a:pt x="84" y="48"/>
                    <a:pt x="84" y="48"/>
                    <a:pt x="84" y="48"/>
                  </a:cubicBezTo>
                  <a:cubicBezTo>
                    <a:pt x="79" y="48"/>
                    <a:pt x="79" y="48"/>
                    <a:pt x="79" y="48"/>
                  </a:cubicBezTo>
                  <a:cubicBezTo>
                    <a:pt x="75" y="48"/>
                    <a:pt x="75" y="48"/>
                    <a:pt x="75" y="48"/>
                  </a:cubicBezTo>
                  <a:cubicBezTo>
                    <a:pt x="73" y="47"/>
                    <a:pt x="73" y="47"/>
                    <a:pt x="73" y="47"/>
                  </a:cubicBezTo>
                  <a:cubicBezTo>
                    <a:pt x="70" y="49"/>
                    <a:pt x="70" y="49"/>
                    <a:pt x="70" y="49"/>
                  </a:cubicBezTo>
                  <a:cubicBezTo>
                    <a:pt x="69" y="52"/>
                    <a:pt x="69" y="52"/>
                    <a:pt x="69" y="52"/>
                  </a:cubicBezTo>
                  <a:cubicBezTo>
                    <a:pt x="68" y="56"/>
                    <a:pt x="68" y="56"/>
                    <a:pt x="68" y="56"/>
                  </a:cubicBezTo>
                  <a:cubicBezTo>
                    <a:pt x="68" y="56"/>
                    <a:pt x="70" y="60"/>
                    <a:pt x="71" y="60"/>
                  </a:cubicBezTo>
                  <a:cubicBezTo>
                    <a:pt x="71" y="60"/>
                    <a:pt x="68" y="61"/>
                    <a:pt x="68" y="61"/>
                  </a:cubicBezTo>
                  <a:cubicBezTo>
                    <a:pt x="66" y="60"/>
                    <a:pt x="66" y="60"/>
                    <a:pt x="66" y="60"/>
                  </a:cubicBezTo>
                  <a:cubicBezTo>
                    <a:pt x="66" y="60"/>
                    <a:pt x="64" y="58"/>
                    <a:pt x="63" y="58"/>
                  </a:cubicBezTo>
                  <a:cubicBezTo>
                    <a:pt x="62" y="57"/>
                    <a:pt x="61" y="58"/>
                    <a:pt x="61" y="58"/>
                  </a:cubicBezTo>
                  <a:cubicBezTo>
                    <a:pt x="60" y="61"/>
                    <a:pt x="60" y="61"/>
                    <a:pt x="60" y="61"/>
                  </a:cubicBezTo>
                  <a:cubicBezTo>
                    <a:pt x="61" y="61"/>
                    <a:pt x="61" y="61"/>
                    <a:pt x="61" y="61"/>
                  </a:cubicBezTo>
                  <a:cubicBezTo>
                    <a:pt x="62" y="63"/>
                    <a:pt x="62" y="63"/>
                    <a:pt x="62" y="63"/>
                  </a:cubicBezTo>
                  <a:cubicBezTo>
                    <a:pt x="62" y="65"/>
                    <a:pt x="62" y="65"/>
                    <a:pt x="62" y="65"/>
                  </a:cubicBezTo>
                  <a:cubicBezTo>
                    <a:pt x="60" y="66"/>
                    <a:pt x="60" y="66"/>
                    <a:pt x="60" y="66"/>
                  </a:cubicBezTo>
                  <a:cubicBezTo>
                    <a:pt x="60" y="66"/>
                    <a:pt x="59" y="65"/>
                    <a:pt x="59" y="64"/>
                  </a:cubicBezTo>
                  <a:cubicBezTo>
                    <a:pt x="59" y="64"/>
                    <a:pt x="58" y="61"/>
                    <a:pt x="58" y="61"/>
                  </a:cubicBezTo>
                  <a:cubicBezTo>
                    <a:pt x="58" y="60"/>
                    <a:pt x="58" y="58"/>
                    <a:pt x="58" y="58"/>
                  </a:cubicBezTo>
                  <a:cubicBezTo>
                    <a:pt x="58" y="58"/>
                    <a:pt x="57" y="56"/>
                    <a:pt x="57" y="56"/>
                  </a:cubicBezTo>
                  <a:cubicBezTo>
                    <a:pt x="58" y="55"/>
                    <a:pt x="56" y="54"/>
                    <a:pt x="56" y="53"/>
                  </a:cubicBezTo>
                  <a:cubicBezTo>
                    <a:pt x="56" y="53"/>
                    <a:pt x="54" y="51"/>
                    <a:pt x="54" y="51"/>
                  </a:cubicBezTo>
                  <a:cubicBezTo>
                    <a:pt x="52" y="49"/>
                    <a:pt x="52" y="49"/>
                    <a:pt x="52" y="49"/>
                  </a:cubicBezTo>
                  <a:cubicBezTo>
                    <a:pt x="49" y="51"/>
                    <a:pt x="49" y="51"/>
                    <a:pt x="49" y="51"/>
                  </a:cubicBezTo>
                  <a:cubicBezTo>
                    <a:pt x="44" y="50"/>
                    <a:pt x="44" y="50"/>
                    <a:pt x="44" y="50"/>
                  </a:cubicBezTo>
                  <a:cubicBezTo>
                    <a:pt x="41" y="52"/>
                    <a:pt x="41" y="52"/>
                    <a:pt x="41" y="52"/>
                  </a:cubicBezTo>
                  <a:cubicBezTo>
                    <a:pt x="41" y="53"/>
                    <a:pt x="41" y="53"/>
                    <a:pt x="41" y="53"/>
                  </a:cubicBezTo>
                  <a:cubicBezTo>
                    <a:pt x="37" y="54"/>
                    <a:pt x="37" y="54"/>
                    <a:pt x="37" y="54"/>
                  </a:cubicBezTo>
                  <a:cubicBezTo>
                    <a:pt x="37" y="54"/>
                    <a:pt x="36" y="54"/>
                    <a:pt x="36" y="54"/>
                  </a:cubicBezTo>
                  <a:cubicBezTo>
                    <a:pt x="35" y="54"/>
                    <a:pt x="35" y="54"/>
                    <a:pt x="34" y="54"/>
                  </a:cubicBezTo>
                  <a:cubicBezTo>
                    <a:pt x="33" y="54"/>
                    <a:pt x="33" y="54"/>
                    <a:pt x="33" y="54"/>
                  </a:cubicBezTo>
                  <a:cubicBezTo>
                    <a:pt x="33" y="54"/>
                    <a:pt x="33" y="54"/>
                    <a:pt x="33" y="54"/>
                  </a:cubicBezTo>
                  <a:cubicBezTo>
                    <a:pt x="32" y="54"/>
                    <a:pt x="32" y="54"/>
                    <a:pt x="32" y="54"/>
                  </a:cubicBezTo>
                  <a:cubicBezTo>
                    <a:pt x="32" y="54"/>
                    <a:pt x="32" y="54"/>
                    <a:pt x="32" y="54"/>
                  </a:cubicBezTo>
                  <a:cubicBezTo>
                    <a:pt x="30" y="56"/>
                    <a:pt x="30" y="56"/>
                    <a:pt x="30" y="56"/>
                  </a:cubicBezTo>
                  <a:cubicBezTo>
                    <a:pt x="32" y="59"/>
                    <a:pt x="32" y="59"/>
                    <a:pt x="32" y="59"/>
                  </a:cubicBezTo>
                  <a:cubicBezTo>
                    <a:pt x="32" y="62"/>
                    <a:pt x="32" y="62"/>
                    <a:pt x="32" y="62"/>
                  </a:cubicBezTo>
                  <a:cubicBezTo>
                    <a:pt x="32" y="62"/>
                    <a:pt x="30" y="64"/>
                    <a:pt x="29" y="64"/>
                  </a:cubicBezTo>
                  <a:cubicBezTo>
                    <a:pt x="29" y="64"/>
                    <a:pt x="29" y="65"/>
                    <a:pt x="28" y="67"/>
                  </a:cubicBezTo>
                  <a:cubicBezTo>
                    <a:pt x="29" y="68"/>
                    <a:pt x="29" y="68"/>
                    <a:pt x="29" y="68"/>
                  </a:cubicBezTo>
                  <a:cubicBezTo>
                    <a:pt x="33" y="70"/>
                    <a:pt x="33" y="70"/>
                    <a:pt x="33" y="70"/>
                  </a:cubicBezTo>
                  <a:cubicBezTo>
                    <a:pt x="33" y="70"/>
                    <a:pt x="33" y="72"/>
                    <a:pt x="33" y="72"/>
                  </a:cubicBezTo>
                  <a:cubicBezTo>
                    <a:pt x="34" y="72"/>
                    <a:pt x="36" y="73"/>
                    <a:pt x="36" y="73"/>
                  </a:cubicBezTo>
                  <a:cubicBezTo>
                    <a:pt x="36" y="75"/>
                    <a:pt x="36" y="75"/>
                    <a:pt x="36" y="75"/>
                  </a:cubicBezTo>
                  <a:cubicBezTo>
                    <a:pt x="36" y="76"/>
                    <a:pt x="36" y="76"/>
                    <a:pt x="36" y="76"/>
                  </a:cubicBezTo>
                  <a:cubicBezTo>
                    <a:pt x="36" y="76"/>
                    <a:pt x="36" y="76"/>
                    <a:pt x="36" y="77"/>
                  </a:cubicBezTo>
                  <a:cubicBezTo>
                    <a:pt x="36" y="77"/>
                    <a:pt x="36" y="79"/>
                    <a:pt x="36" y="79"/>
                  </a:cubicBezTo>
                  <a:cubicBezTo>
                    <a:pt x="36" y="80"/>
                    <a:pt x="36" y="85"/>
                    <a:pt x="36" y="85"/>
                  </a:cubicBezTo>
                  <a:cubicBezTo>
                    <a:pt x="36" y="86"/>
                    <a:pt x="36" y="86"/>
                    <a:pt x="36" y="86"/>
                  </a:cubicBezTo>
                  <a:cubicBezTo>
                    <a:pt x="36" y="86"/>
                    <a:pt x="36" y="86"/>
                    <a:pt x="36" y="86"/>
                  </a:cubicBezTo>
                  <a:cubicBezTo>
                    <a:pt x="36" y="86"/>
                    <a:pt x="34" y="89"/>
                    <a:pt x="33" y="91"/>
                  </a:cubicBezTo>
                  <a:cubicBezTo>
                    <a:pt x="33" y="92"/>
                    <a:pt x="33" y="92"/>
                    <a:pt x="33" y="93"/>
                  </a:cubicBezTo>
                  <a:cubicBezTo>
                    <a:pt x="33" y="93"/>
                    <a:pt x="33" y="93"/>
                    <a:pt x="33" y="93"/>
                  </a:cubicBezTo>
                  <a:cubicBezTo>
                    <a:pt x="32" y="98"/>
                    <a:pt x="32" y="98"/>
                    <a:pt x="32" y="98"/>
                  </a:cubicBezTo>
                  <a:cubicBezTo>
                    <a:pt x="32" y="99"/>
                    <a:pt x="31" y="103"/>
                    <a:pt x="29" y="103"/>
                  </a:cubicBezTo>
                  <a:cubicBezTo>
                    <a:pt x="28" y="103"/>
                    <a:pt x="28" y="103"/>
                    <a:pt x="28" y="103"/>
                  </a:cubicBezTo>
                  <a:cubicBezTo>
                    <a:pt x="28" y="103"/>
                    <a:pt x="28" y="103"/>
                    <a:pt x="28" y="103"/>
                  </a:cubicBezTo>
                  <a:cubicBezTo>
                    <a:pt x="28" y="103"/>
                    <a:pt x="27" y="103"/>
                    <a:pt x="27" y="102"/>
                  </a:cubicBezTo>
                  <a:cubicBezTo>
                    <a:pt x="23" y="104"/>
                    <a:pt x="23" y="104"/>
                    <a:pt x="23" y="104"/>
                  </a:cubicBezTo>
                  <a:cubicBezTo>
                    <a:pt x="23" y="105"/>
                    <a:pt x="23" y="105"/>
                    <a:pt x="23" y="105"/>
                  </a:cubicBezTo>
                  <a:cubicBezTo>
                    <a:pt x="23" y="105"/>
                    <a:pt x="24" y="105"/>
                    <a:pt x="24" y="105"/>
                  </a:cubicBezTo>
                  <a:cubicBezTo>
                    <a:pt x="25" y="105"/>
                    <a:pt x="25" y="105"/>
                    <a:pt x="25" y="105"/>
                  </a:cubicBezTo>
                  <a:cubicBezTo>
                    <a:pt x="27" y="106"/>
                    <a:pt x="27" y="106"/>
                    <a:pt x="27" y="106"/>
                  </a:cubicBezTo>
                  <a:cubicBezTo>
                    <a:pt x="28" y="106"/>
                    <a:pt x="28" y="106"/>
                    <a:pt x="28" y="106"/>
                  </a:cubicBezTo>
                  <a:cubicBezTo>
                    <a:pt x="32" y="111"/>
                    <a:pt x="32" y="111"/>
                    <a:pt x="32" y="111"/>
                  </a:cubicBezTo>
                  <a:cubicBezTo>
                    <a:pt x="31" y="114"/>
                    <a:pt x="31" y="114"/>
                    <a:pt x="31" y="114"/>
                  </a:cubicBezTo>
                  <a:cubicBezTo>
                    <a:pt x="31" y="114"/>
                    <a:pt x="31" y="115"/>
                    <a:pt x="31" y="116"/>
                  </a:cubicBezTo>
                  <a:cubicBezTo>
                    <a:pt x="32" y="117"/>
                    <a:pt x="32" y="118"/>
                    <a:pt x="31" y="119"/>
                  </a:cubicBezTo>
                  <a:cubicBezTo>
                    <a:pt x="31" y="119"/>
                    <a:pt x="31" y="119"/>
                    <a:pt x="31" y="119"/>
                  </a:cubicBezTo>
                  <a:cubicBezTo>
                    <a:pt x="30" y="119"/>
                    <a:pt x="30" y="119"/>
                    <a:pt x="30" y="119"/>
                  </a:cubicBezTo>
                  <a:cubicBezTo>
                    <a:pt x="29" y="119"/>
                    <a:pt x="29" y="120"/>
                    <a:pt x="29" y="120"/>
                  </a:cubicBezTo>
                  <a:cubicBezTo>
                    <a:pt x="29" y="120"/>
                    <a:pt x="29" y="120"/>
                    <a:pt x="29" y="120"/>
                  </a:cubicBezTo>
                  <a:cubicBezTo>
                    <a:pt x="28" y="121"/>
                    <a:pt x="28" y="121"/>
                    <a:pt x="28" y="121"/>
                  </a:cubicBezTo>
                  <a:cubicBezTo>
                    <a:pt x="28" y="121"/>
                    <a:pt x="27" y="122"/>
                    <a:pt x="25" y="123"/>
                  </a:cubicBezTo>
                  <a:cubicBezTo>
                    <a:pt x="25" y="123"/>
                    <a:pt x="24" y="124"/>
                    <a:pt x="22" y="124"/>
                  </a:cubicBezTo>
                  <a:cubicBezTo>
                    <a:pt x="22" y="124"/>
                    <a:pt x="22" y="124"/>
                    <a:pt x="22" y="124"/>
                  </a:cubicBezTo>
                  <a:cubicBezTo>
                    <a:pt x="25" y="126"/>
                    <a:pt x="25" y="126"/>
                    <a:pt x="25" y="126"/>
                  </a:cubicBezTo>
                  <a:cubicBezTo>
                    <a:pt x="24" y="130"/>
                    <a:pt x="24" y="130"/>
                    <a:pt x="24" y="130"/>
                  </a:cubicBezTo>
                  <a:cubicBezTo>
                    <a:pt x="21" y="131"/>
                    <a:pt x="21" y="131"/>
                    <a:pt x="21" y="131"/>
                  </a:cubicBezTo>
                  <a:cubicBezTo>
                    <a:pt x="20" y="133"/>
                    <a:pt x="20" y="133"/>
                    <a:pt x="20" y="133"/>
                  </a:cubicBezTo>
                  <a:cubicBezTo>
                    <a:pt x="17" y="133"/>
                    <a:pt x="17" y="133"/>
                    <a:pt x="17" y="133"/>
                  </a:cubicBezTo>
                  <a:cubicBezTo>
                    <a:pt x="14" y="134"/>
                    <a:pt x="14" y="134"/>
                    <a:pt x="14" y="134"/>
                  </a:cubicBezTo>
                  <a:cubicBezTo>
                    <a:pt x="13" y="134"/>
                    <a:pt x="13" y="134"/>
                    <a:pt x="13" y="134"/>
                  </a:cubicBezTo>
                  <a:cubicBezTo>
                    <a:pt x="12" y="137"/>
                    <a:pt x="12" y="137"/>
                    <a:pt x="12" y="137"/>
                  </a:cubicBezTo>
                  <a:cubicBezTo>
                    <a:pt x="8" y="134"/>
                    <a:pt x="8" y="134"/>
                    <a:pt x="8" y="134"/>
                  </a:cubicBezTo>
                  <a:cubicBezTo>
                    <a:pt x="6" y="133"/>
                    <a:pt x="6" y="133"/>
                    <a:pt x="6" y="133"/>
                  </a:cubicBezTo>
                  <a:cubicBezTo>
                    <a:pt x="4" y="134"/>
                    <a:pt x="4" y="134"/>
                    <a:pt x="4" y="134"/>
                  </a:cubicBezTo>
                  <a:cubicBezTo>
                    <a:pt x="3" y="134"/>
                    <a:pt x="3" y="134"/>
                    <a:pt x="3" y="134"/>
                  </a:cubicBezTo>
                  <a:cubicBezTo>
                    <a:pt x="3" y="134"/>
                    <a:pt x="3" y="134"/>
                    <a:pt x="3" y="134"/>
                  </a:cubicBezTo>
                  <a:cubicBezTo>
                    <a:pt x="3" y="135"/>
                    <a:pt x="4" y="135"/>
                    <a:pt x="4" y="135"/>
                  </a:cubicBezTo>
                  <a:cubicBezTo>
                    <a:pt x="5" y="136"/>
                    <a:pt x="5" y="136"/>
                    <a:pt x="5" y="136"/>
                  </a:cubicBezTo>
                  <a:cubicBezTo>
                    <a:pt x="4" y="138"/>
                    <a:pt x="4" y="138"/>
                    <a:pt x="4" y="138"/>
                  </a:cubicBezTo>
                  <a:cubicBezTo>
                    <a:pt x="6" y="140"/>
                    <a:pt x="6" y="140"/>
                    <a:pt x="6" y="140"/>
                  </a:cubicBezTo>
                  <a:cubicBezTo>
                    <a:pt x="6" y="141"/>
                    <a:pt x="6" y="141"/>
                    <a:pt x="6" y="141"/>
                  </a:cubicBezTo>
                  <a:cubicBezTo>
                    <a:pt x="7" y="143"/>
                    <a:pt x="7" y="143"/>
                    <a:pt x="7" y="143"/>
                  </a:cubicBezTo>
                  <a:cubicBezTo>
                    <a:pt x="7" y="145"/>
                    <a:pt x="7" y="145"/>
                    <a:pt x="7" y="145"/>
                  </a:cubicBezTo>
                  <a:cubicBezTo>
                    <a:pt x="9" y="148"/>
                    <a:pt x="9" y="148"/>
                    <a:pt x="9" y="148"/>
                  </a:cubicBezTo>
                  <a:cubicBezTo>
                    <a:pt x="8" y="151"/>
                    <a:pt x="8" y="151"/>
                    <a:pt x="8" y="151"/>
                  </a:cubicBezTo>
                  <a:cubicBezTo>
                    <a:pt x="8" y="152"/>
                    <a:pt x="8" y="153"/>
                    <a:pt x="8" y="154"/>
                  </a:cubicBezTo>
                  <a:cubicBezTo>
                    <a:pt x="8" y="154"/>
                    <a:pt x="8" y="154"/>
                    <a:pt x="8" y="154"/>
                  </a:cubicBezTo>
                  <a:cubicBezTo>
                    <a:pt x="7" y="154"/>
                    <a:pt x="7" y="154"/>
                    <a:pt x="7" y="154"/>
                  </a:cubicBezTo>
                  <a:cubicBezTo>
                    <a:pt x="7" y="155"/>
                    <a:pt x="6" y="156"/>
                    <a:pt x="6" y="156"/>
                  </a:cubicBezTo>
                  <a:cubicBezTo>
                    <a:pt x="4" y="158"/>
                    <a:pt x="4" y="158"/>
                    <a:pt x="4" y="158"/>
                  </a:cubicBezTo>
                  <a:cubicBezTo>
                    <a:pt x="4" y="158"/>
                    <a:pt x="4" y="158"/>
                    <a:pt x="4" y="158"/>
                  </a:cubicBezTo>
                  <a:cubicBezTo>
                    <a:pt x="6" y="159"/>
                    <a:pt x="8" y="160"/>
                    <a:pt x="7" y="162"/>
                  </a:cubicBezTo>
                  <a:cubicBezTo>
                    <a:pt x="7" y="163"/>
                    <a:pt x="7" y="163"/>
                    <a:pt x="7" y="163"/>
                  </a:cubicBezTo>
                  <a:cubicBezTo>
                    <a:pt x="7" y="163"/>
                    <a:pt x="7" y="163"/>
                    <a:pt x="7" y="163"/>
                  </a:cubicBezTo>
                  <a:cubicBezTo>
                    <a:pt x="5" y="164"/>
                    <a:pt x="4" y="164"/>
                    <a:pt x="2" y="164"/>
                  </a:cubicBezTo>
                  <a:cubicBezTo>
                    <a:pt x="1" y="164"/>
                    <a:pt x="1" y="164"/>
                    <a:pt x="1" y="164"/>
                  </a:cubicBezTo>
                  <a:cubicBezTo>
                    <a:pt x="1" y="165"/>
                    <a:pt x="1" y="165"/>
                    <a:pt x="1" y="165"/>
                  </a:cubicBezTo>
                  <a:cubicBezTo>
                    <a:pt x="0" y="166"/>
                    <a:pt x="0" y="166"/>
                    <a:pt x="0" y="166"/>
                  </a:cubicBezTo>
                  <a:cubicBezTo>
                    <a:pt x="0" y="166"/>
                    <a:pt x="2" y="167"/>
                    <a:pt x="2" y="167"/>
                  </a:cubicBezTo>
                  <a:cubicBezTo>
                    <a:pt x="2" y="167"/>
                    <a:pt x="2" y="169"/>
                    <a:pt x="2" y="169"/>
                  </a:cubicBezTo>
                  <a:cubicBezTo>
                    <a:pt x="3" y="169"/>
                    <a:pt x="3" y="170"/>
                    <a:pt x="3" y="170"/>
                  </a:cubicBezTo>
                  <a:cubicBezTo>
                    <a:pt x="4" y="170"/>
                    <a:pt x="4" y="170"/>
                    <a:pt x="4" y="170"/>
                  </a:cubicBezTo>
                  <a:cubicBezTo>
                    <a:pt x="4" y="171"/>
                    <a:pt x="4" y="171"/>
                    <a:pt x="4" y="171"/>
                  </a:cubicBezTo>
                  <a:cubicBezTo>
                    <a:pt x="4" y="171"/>
                    <a:pt x="4" y="173"/>
                    <a:pt x="3" y="174"/>
                  </a:cubicBezTo>
                  <a:cubicBezTo>
                    <a:pt x="3" y="175"/>
                    <a:pt x="3" y="176"/>
                    <a:pt x="1" y="177"/>
                  </a:cubicBezTo>
                  <a:cubicBezTo>
                    <a:pt x="1" y="177"/>
                    <a:pt x="1" y="177"/>
                    <a:pt x="1" y="177"/>
                  </a:cubicBezTo>
                  <a:cubicBezTo>
                    <a:pt x="1" y="177"/>
                    <a:pt x="1" y="177"/>
                    <a:pt x="1" y="177"/>
                  </a:cubicBezTo>
                  <a:cubicBezTo>
                    <a:pt x="2" y="177"/>
                    <a:pt x="2" y="178"/>
                    <a:pt x="3" y="178"/>
                  </a:cubicBezTo>
                  <a:cubicBezTo>
                    <a:pt x="3" y="178"/>
                    <a:pt x="3" y="178"/>
                    <a:pt x="3" y="178"/>
                  </a:cubicBezTo>
                  <a:cubicBezTo>
                    <a:pt x="4" y="180"/>
                    <a:pt x="4" y="180"/>
                    <a:pt x="4" y="180"/>
                  </a:cubicBezTo>
                  <a:cubicBezTo>
                    <a:pt x="4" y="180"/>
                    <a:pt x="4" y="180"/>
                    <a:pt x="4" y="180"/>
                  </a:cubicBezTo>
                  <a:cubicBezTo>
                    <a:pt x="4" y="180"/>
                    <a:pt x="6" y="181"/>
                    <a:pt x="6" y="181"/>
                  </a:cubicBezTo>
                  <a:cubicBezTo>
                    <a:pt x="7" y="182"/>
                    <a:pt x="7" y="182"/>
                    <a:pt x="7" y="182"/>
                  </a:cubicBezTo>
                  <a:cubicBezTo>
                    <a:pt x="7" y="183"/>
                    <a:pt x="7" y="183"/>
                    <a:pt x="7" y="183"/>
                  </a:cubicBezTo>
                  <a:cubicBezTo>
                    <a:pt x="7" y="183"/>
                    <a:pt x="7" y="185"/>
                    <a:pt x="6" y="186"/>
                  </a:cubicBezTo>
                  <a:cubicBezTo>
                    <a:pt x="7" y="187"/>
                    <a:pt x="7" y="187"/>
                    <a:pt x="7" y="187"/>
                  </a:cubicBezTo>
                  <a:cubicBezTo>
                    <a:pt x="7" y="187"/>
                    <a:pt x="8" y="187"/>
                    <a:pt x="10" y="188"/>
                  </a:cubicBezTo>
                  <a:cubicBezTo>
                    <a:pt x="10" y="189"/>
                    <a:pt x="10" y="189"/>
                    <a:pt x="10" y="189"/>
                  </a:cubicBezTo>
                  <a:cubicBezTo>
                    <a:pt x="10" y="189"/>
                    <a:pt x="10" y="189"/>
                    <a:pt x="10" y="189"/>
                  </a:cubicBezTo>
                  <a:cubicBezTo>
                    <a:pt x="10" y="189"/>
                    <a:pt x="11" y="191"/>
                    <a:pt x="11" y="192"/>
                  </a:cubicBezTo>
                  <a:cubicBezTo>
                    <a:pt x="11" y="193"/>
                    <a:pt x="10" y="194"/>
                    <a:pt x="10" y="195"/>
                  </a:cubicBezTo>
                  <a:cubicBezTo>
                    <a:pt x="10" y="196"/>
                    <a:pt x="10" y="196"/>
                    <a:pt x="10" y="196"/>
                  </a:cubicBezTo>
                  <a:cubicBezTo>
                    <a:pt x="10" y="197"/>
                    <a:pt x="10" y="198"/>
                    <a:pt x="8" y="199"/>
                  </a:cubicBezTo>
                  <a:cubicBezTo>
                    <a:pt x="8" y="199"/>
                    <a:pt x="7" y="200"/>
                    <a:pt x="7" y="200"/>
                  </a:cubicBezTo>
                  <a:cubicBezTo>
                    <a:pt x="7" y="201"/>
                    <a:pt x="6" y="201"/>
                    <a:pt x="5" y="201"/>
                  </a:cubicBezTo>
                  <a:cubicBezTo>
                    <a:pt x="5" y="201"/>
                    <a:pt x="5" y="201"/>
                    <a:pt x="5" y="201"/>
                  </a:cubicBezTo>
                  <a:cubicBezTo>
                    <a:pt x="5" y="201"/>
                    <a:pt x="5" y="201"/>
                    <a:pt x="4" y="201"/>
                  </a:cubicBezTo>
                  <a:cubicBezTo>
                    <a:pt x="4" y="203"/>
                    <a:pt x="4" y="203"/>
                    <a:pt x="4" y="203"/>
                  </a:cubicBezTo>
                  <a:cubicBezTo>
                    <a:pt x="3" y="204"/>
                    <a:pt x="3" y="204"/>
                    <a:pt x="3" y="204"/>
                  </a:cubicBezTo>
                  <a:cubicBezTo>
                    <a:pt x="3" y="204"/>
                    <a:pt x="3" y="204"/>
                    <a:pt x="3" y="204"/>
                  </a:cubicBezTo>
                  <a:cubicBezTo>
                    <a:pt x="2" y="207"/>
                    <a:pt x="2" y="207"/>
                    <a:pt x="2" y="207"/>
                  </a:cubicBezTo>
                  <a:cubicBezTo>
                    <a:pt x="3" y="210"/>
                    <a:pt x="3" y="210"/>
                    <a:pt x="3" y="210"/>
                  </a:cubicBezTo>
                  <a:cubicBezTo>
                    <a:pt x="5" y="215"/>
                    <a:pt x="5" y="215"/>
                    <a:pt x="5" y="215"/>
                  </a:cubicBezTo>
                  <a:cubicBezTo>
                    <a:pt x="5" y="215"/>
                    <a:pt x="6" y="215"/>
                    <a:pt x="6" y="216"/>
                  </a:cubicBezTo>
                  <a:cubicBezTo>
                    <a:pt x="7" y="216"/>
                    <a:pt x="7" y="216"/>
                    <a:pt x="8" y="217"/>
                  </a:cubicBezTo>
                  <a:cubicBezTo>
                    <a:pt x="8" y="217"/>
                    <a:pt x="9" y="217"/>
                    <a:pt x="11" y="217"/>
                  </a:cubicBezTo>
                  <a:cubicBezTo>
                    <a:pt x="12" y="218"/>
                    <a:pt x="12" y="218"/>
                    <a:pt x="12" y="218"/>
                  </a:cubicBezTo>
                  <a:cubicBezTo>
                    <a:pt x="13" y="222"/>
                    <a:pt x="13" y="222"/>
                    <a:pt x="13" y="222"/>
                  </a:cubicBezTo>
                  <a:cubicBezTo>
                    <a:pt x="12" y="226"/>
                    <a:pt x="12" y="226"/>
                    <a:pt x="12" y="226"/>
                  </a:cubicBezTo>
                  <a:cubicBezTo>
                    <a:pt x="10" y="228"/>
                    <a:pt x="10" y="228"/>
                    <a:pt x="10" y="228"/>
                  </a:cubicBezTo>
                  <a:cubicBezTo>
                    <a:pt x="8" y="230"/>
                    <a:pt x="8" y="230"/>
                    <a:pt x="8" y="230"/>
                  </a:cubicBezTo>
                  <a:cubicBezTo>
                    <a:pt x="9" y="232"/>
                    <a:pt x="9" y="232"/>
                    <a:pt x="9" y="232"/>
                  </a:cubicBezTo>
                  <a:cubicBezTo>
                    <a:pt x="9" y="232"/>
                    <a:pt x="9" y="232"/>
                    <a:pt x="9" y="232"/>
                  </a:cubicBezTo>
                  <a:cubicBezTo>
                    <a:pt x="14" y="237"/>
                    <a:pt x="14" y="237"/>
                    <a:pt x="14" y="237"/>
                  </a:cubicBezTo>
                  <a:cubicBezTo>
                    <a:pt x="15" y="241"/>
                    <a:pt x="15" y="241"/>
                    <a:pt x="15" y="241"/>
                  </a:cubicBezTo>
                  <a:cubicBezTo>
                    <a:pt x="17" y="244"/>
                    <a:pt x="17" y="244"/>
                    <a:pt x="17" y="244"/>
                  </a:cubicBezTo>
                  <a:cubicBezTo>
                    <a:pt x="18" y="245"/>
                    <a:pt x="18" y="245"/>
                    <a:pt x="18" y="245"/>
                  </a:cubicBezTo>
                  <a:cubicBezTo>
                    <a:pt x="21" y="243"/>
                    <a:pt x="21" y="243"/>
                    <a:pt x="21" y="243"/>
                  </a:cubicBezTo>
                  <a:cubicBezTo>
                    <a:pt x="27" y="247"/>
                    <a:pt x="27" y="247"/>
                    <a:pt x="27" y="247"/>
                  </a:cubicBezTo>
                  <a:cubicBezTo>
                    <a:pt x="30" y="248"/>
                    <a:pt x="30" y="248"/>
                    <a:pt x="30" y="248"/>
                  </a:cubicBezTo>
                  <a:cubicBezTo>
                    <a:pt x="32" y="247"/>
                    <a:pt x="32" y="247"/>
                    <a:pt x="32" y="247"/>
                  </a:cubicBezTo>
                  <a:cubicBezTo>
                    <a:pt x="37" y="245"/>
                    <a:pt x="37" y="245"/>
                    <a:pt x="37" y="245"/>
                  </a:cubicBezTo>
                  <a:cubicBezTo>
                    <a:pt x="40" y="250"/>
                    <a:pt x="40" y="250"/>
                    <a:pt x="40" y="250"/>
                  </a:cubicBezTo>
                  <a:cubicBezTo>
                    <a:pt x="43" y="252"/>
                    <a:pt x="43" y="252"/>
                    <a:pt x="43" y="252"/>
                  </a:cubicBezTo>
                  <a:cubicBezTo>
                    <a:pt x="49" y="252"/>
                    <a:pt x="49" y="252"/>
                    <a:pt x="49" y="252"/>
                  </a:cubicBezTo>
                  <a:cubicBezTo>
                    <a:pt x="62" y="256"/>
                    <a:pt x="62" y="256"/>
                    <a:pt x="62" y="256"/>
                  </a:cubicBezTo>
                  <a:cubicBezTo>
                    <a:pt x="54" y="265"/>
                    <a:pt x="54" y="265"/>
                    <a:pt x="54" y="265"/>
                  </a:cubicBezTo>
                  <a:cubicBezTo>
                    <a:pt x="54" y="265"/>
                    <a:pt x="48" y="273"/>
                    <a:pt x="45" y="275"/>
                  </a:cubicBezTo>
                  <a:cubicBezTo>
                    <a:pt x="44" y="275"/>
                    <a:pt x="44" y="275"/>
                    <a:pt x="44" y="275"/>
                  </a:cubicBezTo>
                  <a:cubicBezTo>
                    <a:pt x="44" y="275"/>
                    <a:pt x="44" y="275"/>
                    <a:pt x="44" y="275"/>
                  </a:cubicBezTo>
                  <a:cubicBezTo>
                    <a:pt x="44" y="275"/>
                    <a:pt x="44" y="275"/>
                    <a:pt x="44" y="276"/>
                  </a:cubicBezTo>
                  <a:cubicBezTo>
                    <a:pt x="45" y="276"/>
                    <a:pt x="45" y="276"/>
                    <a:pt x="45" y="276"/>
                  </a:cubicBezTo>
                  <a:cubicBezTo>
                    <a:pt x="45" y="277"/>
                    <a:pt x="45" y="277"/>
                    <a:pt x="45" y="277"/>
                  </a:cubicBezTo>
                  <a:cubicBezTo>
                    <a:pt x="45" y="286"/>
                    <a:pt x="45" y="286"/>
                    <a:pt x="45" y="286"/>
                  </a:cubicBezTo>
                  <a:cubicBezTo>
                    <a:pt x="44" y="286"/>
                    <a:pt x="44" y="286"/>
                    <a:pt x="44" y="286"/>
                  </a:cubicBezTo>
                  <a:cubicBezTo>
                    <a:pt x="44" y="286"/>
                    <a:pt x="42" y="291"/>
                    <a:pt x="40" y="294"/>
                  </a:cubicBezTo>
                  <a:cubicBezTo>
                    <a:pt x="40" y="294"/>
                    <a:pt x="40" y="294"/>
                    <a:pt x="39" y="294"/>
                  </a:cubicBezTo>
                  <a:cubicBezTo>
                    <a:pt x="40" y="294"/>
                    <a:pt x="40" y="294"/>
                    <a:pt x="40" y="294"/>
                  </a:cubicBezTo>
                  <a:cubicBezTo>
                    <a:pt x="41" y="295"/>
                    <a:pt x="41" y="301"/>
                    <a:pt x="41" y="301"/>
                  </a:cubicBezTo>
                  <a:cubicBezTo>
                    <a:pt x="41" y="303"/>
                    <a:pt x="40" y="308"/>
                    <a:pt x="40" y="309"/>
                  </a:cubicBezTo>
                  <a:cubicBezTo>
                    <a:pt x="40" y="309"/>
                    <a:pt x="40" y="309"/>
                    <a:pt x="40" y="309"/>
                  </a:cubicBezTo>
                  <a:cubicBezTo>
                    <a:pt x="38" y="311"/>
                    <a:pt x="38" y="311"/>
                    <a:pt x="38" y="311"/>
                  </a:cubicBezTo>
                  <a:cubicBezTo>
                    <a:pt x="39" y="312"/>
                    <a:pt x="41" y="313"/>
                    <a:pt x="42" y="315"/>
                  </a:cubicBezTo>
                  <a:cubicBezTo>
                    <a:pt x="42" y="315"/>
                    <a:pt x="42" y="315"/>
                    <a:pt x="42" y="315"/>
                  </a:cubicBezTo>
                  <a:cubicBezTo>
                    <a:pt x="42" y="316"/>
                    <a:pt x="42" y="316"/>
                    <a:pt x="42" y="316"/>
                  </a:cubicBezTo>
                  <a:cubicBezTo>
                    <a:pt x="43" y="315"/>
                    <a:pt x="43" y="315"/>
                    <a:pt x="44" y="315"/>
                  </a:cubicBezTo>
                  <a:cubicBezTo>
                    <a:pt x="45" y="314"/>
                    <a:pt x="46" y="313"/>
                    <a:pt x="47" y="313"/>
                  </a:cubicBezTo>
                  <a:cubicBezTo>
                    <a:pt x="48" y="313"/>
                    <a:pt x="48" y="313"/>
                    <a:pt x="48" y="313"/>
                  </a:cubicBezTo>
                  <a:cubicBezTo>
                    <a:pt x="48" y="314"/>
                    <a:pt x="48" y="314"/>
                    <a:pt x="48" y="314"/>
                  </a:cubicBezTo>
                  <a:cubicBezTo>
                    <a:pt x="49" y="314"/>
                    <a:pt x="49" y="315"/>
                    <a:pt x="50" y="316"/>
                  </a:cubicBezTo>
                  <a:cubicBezTo>
                    <a:pt x="51" y="316"/>
                    <a:pt x="51" y="316"/>
                    <a:pt x="51" y="316"/>
                  </a:cubicBezTo>
                  <a:cubicBezTo>
                    <a:pt x="52" y="316"/>
                    <a:pt x="52" y="316"/>
                    <a:pt x="52" y="316"/>
                  </a:cubicBezTo>
                  <a:cubicBezTo>
                    <a:pt x="53" y="316"/>
                    <a:pt x="53" y="316"/>
                    <a:pt x="53" y="316"/>
                  </a:cubicBezTo>
                  <a:cubicBezTo>
                    <a:pt x="54" y="315"/>
                    <a:pt x="54" y="315"/>
                    <a:pt x="55" y="314"/>
                  </a:cubicBezTo>
                  <a:cubicBezTo>
                    <a:pt x="55" y="314"/>
                    <a:pt x="56" y="313"/>
                    <a:pt x="57" y="313"/>
                  </a:cubicBezTo>
                  <a:cubicBezTo>
                    <a:pt x="58" y="313"/>
                    <a:pt x="59" y="314"/>
                    <a:pt x="59" y="314"/>
                  </a:cubicBezTo>
                  <a:cubicBezTo>
                    <a:pt x="60" y="314"/>
                    <a:pt x="60" y="314"/>
                    <a:pt x="60" y="314"/>
                  </a:cubicBezTo>
                  <a:cubicBezTo>
                    <a:pt x="60" y="314"/>
                    <a:pt x="60" y="314"/>
                    <a:pt x="60" y="314"/>
                  </a:cubicBezTo>
                  <a:cubicBezTo>
                    <a:pt x="61" y="315"/>
                    <a:pt x="61" y="315"/>
                    <a:pt x="61" y="315"/>
                  </a:cubicBezTo>
                  <a:cubicBezTo>
                    <a:pt x="61" y="314"/>
                    <a:pt x="60" y="314"/>
                    <a:pt x="60" y="313"/>
                  </a:cubicBezTo>
                  <a:cubicBezTo>
                    <a:pt x="60" y="312"/>
                    <a:pt x="59" y="311"/>
                    <a:pt x="61" y="310"/>
                  </a:cubicBezTo>
                  <a:cubicBezTo>
                    <a:pt x="61" y="310"/>
                    <a:pt x="61" y="310"/>
                    <a:pt x="61" y="310"/>
                  </a:cubicBezTo>
                  <a:cubicBezTo>
                    <a:pt x="61" y="309"/>
                    <a:pt x="62" y="308"/>
                    <a:pt x="63" y="307"/>
                  </a:cubicBezTo>
                  <a:cubicBezTo>
                    <a:pt x="63" y="307"/>
                    <a:pt x="64" y="307"/>
                    <a:pt x="64" y="307"/>
                  </a:cubicBezTo>
                  <a:cubicBezTo>
                    <a:pt x="64" y="306"/>
                    <a:pt x="64" y="306"/>
                    <a:pt x="64" y="306"/>
                  </a:cubicBezTo>
                  <a:cubicBezTo>
                    <a:pt x="70" y="305"/>
                    <a:pt x="70" y="305"/>
                    <a:pt x="70" y="305"/>
                  </a:cubicBezTo>
                  <a:cubicBezTo>
                    <a:pt x="70" y="306"/>
                    <a:pt x="70" y="306"/>
                    <a:pt x="70" y="306"/>
                  </a:cubicBezTo>
                  <a:cubicBezTo>
                    <a:pt x="71" y="306"/>
                    <a:pt x="72" y="306"/>
                    <a:pt x="73" y="307"/>
                  </a:cubicBezTo>
                  <a:cubicBezTo>
                    <a:pt x="73" y="307"/>
                    <a:pt x="74" y="307"/>
                    <a:pt x="74" y="307"/>
                  </a:cubicBezTo>
                  <a:cubicBezTo>
                    <a:pt x="74" y="307"/>
                    <a:pt x="74" y="308"/>
                    <a:pt x="74" y="308"/>
                  </a:cubicBezTo>
                  <a:cubicBezTo>
                    <a:pt x="74" y="308"/>
                    <a:pt x="74" y="308"/>
                    <a:pt x="74" y="308"/>
                  </a:cubicBezTo>
                  <a:cubicBezTo>
                    <a:pt x="75" y="308"/>
                    <a:pt x="75" y="309"/>
                    <a:pt x="76" y="309"/>
                  </a:cubicBezTo>
                  <a:cubicBezTo>
                    <a:pt x="76" y="309"/>
                    <a:pt x="77" y="310"/>
                    <a:pt x="78" y="311"/>
                  </a:cubicBezTo>
                  <a:cubicBezTo>
                    <a:pt x="79" y="311"/>
                    <a:pt x="79" y="311"/>
                    <a:pt x="80" y="310"/>
                  </a:cubicBezTo>
                  <a:cubicBezTo>
                    <a:pt x="81" y="310"/>
                    <a:pt x="81" y="310"/>
                    <a:pt x="81" y="310"/>
                  </a:cubicBezTo>
                  <a:cubicBezTo>
                    <a:pt x="82" y="310"/>
                    <a:pt x="83" y="310"/>
                    <a:pt x="83" y="311"/>
                  </a:cubicBezTo>
                  <a:cubicBezTo>
                    <a:pt x="84" y="311"/>
                    <a:pt x="84" y="311"/>
                    <a:pt x="85" y="311"/>
                  </a:cubicBezTo>
                  <a:cubicBezTo>
                    <a:pt x="87" y="311"/>
                    <a:pt x="87" y="311"/>
                    <a:pt x="87" y="311"/>
                  </a:cubicBezTo>
                  <a:cubicBezTo>
                    <a:pt x="87" y="311"/>
                    <a:pt x="88" y="311"/>
                    <a:pt x="88" y="311"/>
                  </a:cubicBezTo>
                  <a:cubicBezTo>
                    <a:pt x="89" y="311"/>
                    <a:pt x="89" y="312"/>
                    <a:pt x="90" y="312"/>
                  </a:cubicBezTo>
                  <a:cubicBezTo>
                    <a:pt x="91" y="313"/>
                    <a:pt x="91" y="313"/>
                    <a:pt x="91" y="313"/>
                  </a:cubicBezTo>
                  <a:cubicBezTo>
                    <a:pt x="91" y="313"/>
                    <a:pt x="92" y="313"/>
                    <a:pt x="92" y="313"/>
                  </a:cubicBezTo>
                  <a:cubicBezTo>
                    <a:pt x="93" y="314"/>
                    <a:pt x="93" y="314"/>
                    <a:pt x="94" y="314"/>
                  </a:cubicBezTo>
                  <a:cubicBezTo>
                    <a:pt x="94" y="314"/>
                    <a:pt x="94" y="314"/>
                    <a:pt x="95" y="315"/>
                  </a:cubicBezTo>
                  <a:cubicBezTo>
                    <a:pt x="96" y="315"/>
                    <a:pt x="96" y="315"/>
                    <a:pt x="96" y="315"/>
                  </a:cubicBezTo>
                  <a:cubicBezTo>
                    <a:pt x="97" y="316"/>
                    <a:pt x="97" y="316"/>
                    <a:pt x="98" y="316"/>
                  </a:cubicBezTo>
                  <a:cubicBezTo>
                    <a:pt x="99" y="317"/>
                    <a:pt x="99" y="318"/>
                    <a:pt x="99" y="318"/>
                  </a:cubicBezTo>
                  <a:cubicBezTo>
                    <a:pt x="99" y="319"/>
                    <a:pt x="100" y="319"/>
                    <a:pt x="100" y="319"/>
                  </a:cubicBezTo>
                  <a:cubicBezTo>
                    <a:pt x="100" y="319"/>
                    <a:pt x="100" y="319"/>
                    <a:pt x="100" y="319"/>
                  </a:cubicBezTo>
                  <a:cubicBezTo>
                    <a:pt x="101" y="318"/>
                    <a:pt x="102" y="318"/>
                    <a:pt x="102" y="318"/>
                  </a:cubicBezTo>
                  <a:cubicBezTo>
                    <a:pt x="102" y="318"/>
                    <a:pt x="104" y="316"/>
                    <a:pt x="105" y="317"/>
                  </a:cubicBezTo>
                  <a:cubicBezTo>
                    <a:pt x="106" y="318"/>
                    <a:pt x="108" y="320"/>
                    <a:pt x="108" y="320"/>
                  </a:cubicBezTo>
                  <a:cubicBezTo>
                    <a:pt x="108" y="320"/>
                    <a:pt x="109" y="321"/>
                    <a:pt x="110" y="321"/>
                  </a:cubicBezTo>
                  <a:cubicBezTo>
                    <a:pt x="110" y="321"/>
                    <a:pt x="111" y="322"/>
                    <a:pt x="112" y="322"/>
                  </a:cubicBezTo>
                  <a:cubicBezTo>
                    <a:pt x="112" y="323"/>
                    <a:pt x="112" y="322"/>
                    <a:pt x="112" y="324"/>
                  </a:cubicBezTo>
                  <a:cubicBezTo>
                    <a:pt x="112" y="325"/>
                    <a:pt x="111" y="327"/>
                    <a:pt x="113" y="327"/>
                  </a:cubicBezTo>
                  <a:cubicBezTo>
                    <a:pt x="114" y="326"/>
                    <a:pt x="114" y="326"/>
                    <a:pt x="115" y="326"/>
                  </a:cubicBezTo>
                  <a:cubicBezTo>
                    <a:pt x="115" y="327"/>
                    <a:pt x="116" y="326"/>
                    <a:pt x="115" y="328"/>
                  </a:cubicBezTo>
                  <a:cubicBezTo>
                    <a:pt x="115" y="330"/>
                    <a:pt x="114" y="330"/>
                    <a:pt x="115" y="330"/>
                  </a:cubicBezTo>
                  <a:cubicBezTo>
                    <a:pt x="117" y="331"/>
                    <a:pt x="118" y="332"/>
                    <a:pt x="119" y="331"/>
                  </a:cubicBezTo>
                  <a:cubicBezTo>
                    <a:pt x="119" y="329"/>
                    <a:pt x="119" y="331"/>
                    <a:pt x="120" y="329"/>
                  </a:cubicBezTo>
                  <a:cubicBezTo>
                    <a:pt x="121" y="327"/>
                    <a:pt x="120" y="327"/>
                    <a:pt x="121" y="327"/>
                  </a:cubicBezTo>
                  <a:cubicBezTo>
                    <a:pt x="122" y="326"/>
                    <a:pt x="121" y="326"/>
                    <a:pt x="122" y="325"/>
                  </a:cubicBezTo>
                  <a:cubicBezTo>
                    <a:pt x="122" y="323"/>
                    <a:pt x="123" y="324"/>
                    <a:pt x="122" y="323"/>
                  </a:cubicBezTo>
                  <a:cubicBezTo>
                    <a:pt x="122" y="323"/>
                    <a:pt x="122" y="322"/>
                    <a:pt x="122" y="321"/>
                  </a:cubicBezTo>
                  <a:cubicBezTo>
                    <a:pt x="121" y="320"/>
                    <a:pt x="120" y="320"/>
                    <a:pt x="122" y="320"/>
                  </a:cubicBezTo>
                  <a:cubicBezTo>
                    <a:pt x="124" y="319"/>
                    <a:pt x="124" y="319"/>
                    <a:pt x="124" y="319"/>
                  </a:cubicBezTo>
                  <a:cubicBezTo>
                    <a:pt x="125" y="318"/>
                    <a:pt x="127" y="318"/>
                    <a:pt x="127" y="318"/>
                  </a:cubicBezTo>
                  <a:cubicBezTo>
                    <a:pt x="127" y="318"/>
                    <a:pt x="129" y="318"/>
                    <a:pt x="130" y="318"/>
                  </a:cubicBezTo>
                  <a:cubicBezTo>
                    <a:pt x="130" y="318"/>
                    <a:pt x="133" y="318"/>
                    <a:pt x="133" y="319"/>
                  </a:cubicBezTo>
                  <a:cubicBezTo>
                    <a:pt x="133" y="320"/>
                    <a:pt x="135" y="320"/>
                    <a:pt x="135" y="320"/>
                  </a:cubicBezTo>
                  <a:cubicBezTo>
                    <a:pt x="135" y="320"/>
                    <a:pt x="137" y="320"/>
                    <a:pt x="137" y="322"/>
                  </a:cubicBezTo>
                  <a:cubicBezTo>
                    <a:pt x="138" y="323"/>
                    <a:pt x="138" y="325"/>
                    <a:pt x="138" y="325"/>
                  </a:cubicBezTo>
                  <a:cubicBezTo>
                    <a:pt x="139" y="325"/>
                    <a:pt x="140" y="326"/>
                    <a:pt x="141" y="325"/>
                  </a:cubicBezTo>
                  <a:cubicBezTo>
                    <a:pt x="142" y="324"/>
                    <a:pt x="142" y="324"/>
                    <a:pt x="143" y="324"/>
                  </a:cubicBezTo>
                  <a:cubicBezTo>
                    <a:pt x="144" y="323"/>
                    <a:pt x="142" y="323"/>
                    <a:pt x="145" y="323"/>
                  </a:cubicBezTo>
                  <a:cubicBezTo>
                    <a:pt x="148" y="324"/>
                    <a:pt x="147" y="324"/>
                    <a:pt x="148" y="323"/>
                  </a:cubicBezTo>
                  <a:cubicBezTo>
                    <a:pt x="150" y="321"/>
                    <a:pt x="150" y="321"/>
                    <a:pt x="151" y="320"/>
                  </a:cubicBezTo>
                  <a:cubicBezTo>
                    <a:pt x="152" y="320"/>
                    <a:pt x="152" y="319"/>
                    <a:pt x="152" y="319"/>
                  </a:cubicBezTo>
                  <a:cubicBezTo>
                    <a:pt x="153" y="319"/>
                    <a:pt x="155" y="319"/>
                    <a:pt x="156" y="319"/>
                  </a:cubicBezTo>
                  <a:cubicBezTo>
                    <a:pt x="157" y="318"/>
                    <a:pt x="157" y="316"/>
                    <a:pt x="158" y="316"/>
                  </a:cubicBezTo>
                  <a:cubicBezTo>
                    <a:pt x="158" y="316"/>
                    <a:pt x="161" y="316"/>
                    <a:pt x="162" y="316"/>
                  </a:cubicBezTo>
                  <a:cubicBezTo>
                    <a:pt x="163" y="316"/>
                    <a:pt x="165" y="316"/>
                    <a:pt x="165" y="316"/>
                  </a:cubicBezTo>
                  <a:cubicBezTo>
                    <a:pt x="165" y="315"/>
                    <a:pt x="165" y="314"/>
                    <a:pt x="167" y="314"/>
                  </a:cubicBezTo>
                  <a:cubicBezTo>
                    <a:pt x="168" y="314"/>
                    <a:pt x="169" y="314"/>
                    <a:pt x="170" y="314"/>
                  </a:cubicBezTo>
                  <a:cubicBezTo>
                    <a:pt x="172" y="314"/>
                    <a:pt x="172" y="314"/>
                    <a:pt x="172" y="314"/>
                  </a:cubicBezTo>
                  <a:cubicBezTo>
                    <a:pt x="173" y="314"/>
                    <a:pt x="174" y="316"/>
                    <a:pt x="174" y="313"/>
                  </a:cubicBezTo>
                  <a:cubicBezTo>
                    <a:pt x="173" y="311"/>
                    <a:pt x="173" y="311"/>
                    <a:pt x="174" y="310"/>
                  </a:cubicBezTo>
                  <a:cubicBezTo>
                    <a:pt x="175" y="310"/>
                    <a:pt x="177" y="310"/>
                    <a:pt x="177" y="310"/>
                  </a:cubicBezTo>
                  <a:cubicBezTo>
                    <a:pt x="177" y="310"/>
                    <a:pt x="181" y="311"/>
                    <a:pt x="181" y="311"/>
                  </a:cubicBezTo>
                  <a:cubicBezTo>
                    <a:pt x="181" y="311"/>
                    <a:pt x="182" y="312"/>
                    <a:pt x="183" y="312"/>
                  </a:cubicBezTo>
                  <a:cubicBezTo>
                    <a:pt x="183" y="312"/>
                    <a:pt x="184" y="313"/>
                    <a:pt x="185" y="313"/>
                  </a:cubicBezTo>
                  <a:cubicBezTo>
                    <a:pt x="185" y="312"/>
                    <a:pt x="186" y="311"/>
                    <a:pt x="186" y="311"/>
                  </a:cubicBezTo>
                  <a:cubicBezTo>
                    <a:pt x="187" y="311"/>
                    <a:pt x="190" y="310"/>
                    <a:pt x="190" y="311"/>
                  </a:cubicBezTo>
                  <a:cubicBezTo>
                    <a:pt x="190" y="311"/>
                    <a:pt x="193" y="312"/>
                    <a:pt x="193" y="312"/>
                  </a:cubicBezTo>
                  <a:cubicBezTo>
                    <a:pt x="192" y="312"/>
                    <a:pt x="192" y="313"/>
                    <a:pt x="192" y="314"/>
                  </a:cubicBezTo>
                  <a:cubicBezTo>
                    <a:pt x="192" y="315"/>
                    <a:pt x="192" y="316"/>
                    <a:pt x="192" y="316"/>
                  </a:cubicBezTo>
                  <a:cubicBezTo>
                    <a:pt x="193" y="317"/>
                    <a:pt x="194" y="318"/>
                    <a:pt x="194" y="318"/>
                  </a:cubicBezTo>
                  <a:cubicBezTo>
                    <a:pt x="195" y="318"/>
                    <a:pt x="198" y="319"/>
                    <a:pt x="198" y="319"/>
                  </a:cubicBezTo>
                  <a:cubicBezTo>
                    <a:pt x="198" y="319"/>
                    <a:pt x="199" y="321"/>
                    <a:pt x="199" y="317"/>
                  </a:cubicBezTo>
                  <a:cubicBezTo>
                    <a:pt x="199" y="314"/>
                    <a:pt x="199" y="313"/>
                    <a:pt x="199" y="313"/>
                  </a:cubicBezTo>
                  <a:cubicBezTo>
                    <a:pt x="199" y="310"/>
                    <a:pt x="199" y="310"/>
                    <a:pt x="199" y="310"/>
                  </a:cubicBezTo>
                  <a:cubicBezTo>
                    <a:pt x="199" y="310"/>
                    <a:pt x="199" y="309"/>
                    <a:pt x="199" y="309"/>
                  </a:cubicBezTo>
                  <a:cubicBezTo>
                    <a:pt x="198" y="309"/>
                    <a:pt x="198" y="309"/>
                    <a:pt x="198" y="309"/>
                  </a:cubicBezTo>
                  <a:cubicBezTo>
                    <a:pt x="197" y="309"/>
                    <a:pt x="194" y="309"/>
                    <a:pt x="194" y="308"/>
                  </a:cubicBezTo>
                  <a:cubicBezTo>
                    <a:pt x="193" y="308"/>
                    <a:pt x="193" y="307"/>
                    <a:pt x="193" y="306"/>
                  </a:cubicBezTo>
                  <a:cubicBezTo>
                    <a:pt x="193" y="306"/>
                    <a:pt x="195" y="304"/>
                    <a:pt x="195" y="304"/>
                  </a:cubicBezTo>
                  <a:cubicBezTo>
                    <a:pt x="195" y="302"/>
                    <a:pt x="195" y="302"/>
                    <a:pt x="195" y="302"/>
                  </a:cubicBezTo>
                  <a:cubicBezTo>
                    <a:pt x="193" y="298"/>
                    <a:pt x="193" y="298"/>
                    <a:pt x="193" y="298"/>
                  </a:cubicBezTo>
                  <a:cubicBezTo>
                    <a:pt x="190" y="296"/>
                    <a:pt x="190" y="296"/>
                    <a:pt x="190" y="296"/>
                  </a:cubicBezTo>
                  <a:cubicBezTo>
                    <a:pt x="189" y="292"/>
                    <a:pt x="189" y="292"/>
                    <a:pt x="189" y="292"/>
                  </a:cubicBezTo>
                  <a:cubicBezTo>
                    <a:pt x="189" y="292"/>
                    <a:pt x="189" y="292"/>
                    <a:pt x="189" y="292"/>
                  </a:cubicBezTo>
                  <a:cubicBezTo>
                    <a:pt x="189" y="291"/>
                    <a:pt x="189" y="291"/>
                    <a:pt x="189" y="291"/>
                  </a:cubicBezTo>
                  <a:cubicBezTo>
                    <a:pt x="191" y="290"/>
                    <a:pt x="191" y="290"/>
                    <a:pt x="191" y="290"/>
                  </a:cubicBezTo>
                  <a:cubicBezTo>
                    <a:pt x="193" y="289"/>
                    <a:pt x="195" y="287"/>
                    <a:pt x="195" y="287"/>
                  </a:cubicBezTo>
                  <a:cubicBezTo>
                    <a:pt x="195" y="287"/>
                    <a:pt x="195" y="287"/>
                    <a:pt x="196" y="286"/>
                  </a:cubicBezTo>
                  <a:cubicBezTo>
                    <a:pt x="197" y="285"/>
                    <a:pt x="197" y="285"/>
                    <a:pt x="197" y="285"/>
                  </a:cubicBezTo>
                  <a:cubicBezTo>
                    <a:pt x="197" y="285"/>
                    <a:pt x="201" y="283"/>
                    <a:pt x="202" y="283"/>
                  </a:cubicBezTo>
                  <a:cubicBezTo>
                    <a:pt x="202" y="283"/>
                    <a:pt x="202" y="283"/>
                    <a:pt x="203" y="283"/>
                  </a:cubicBezTo>
                  <a:cubicBezTo>
                    <a:pt x="203" y="283"/>
                    <a:pt x="203" y="283"/>
                    <a:pt x="203" y="283"/>
                  </a:cubicBezTo>
                  <a:cubicBezTo>
                    <a:pt x="207" y="279"/>
                    <a:pt x="207" y="279"/>
                    <a:pt x="207" y="279"/>
                  </a:cubicBezTo>
                  <a:cubicBezTo>
                    <a:pt x="207" y="275"/>
                    <a:pt x="207" y="275"/>
                    <a:pt x="207" y="275"/>
                  </a:cubicBezTo>
                  <a:cubicBezTo>
                    <a:pt x="208" y="273"/>
                    <a:pt x="208" y="273"/>
                    <a:pt x="208" y="273"/>
                  </a:cubicBezTo>
                  <a:cubicBezTo>
                    <a:pt x="208" y="272"/>
                    <a:pt x="208" y="271"/>
                    <a:pt x="208" y="271"/>
                  </a:cubicBezTo>
                  <a:cubicBezTo>
                    <a:pt x="213" y="270"/>
                    <a:pt x="213" y="270"/>
                    <a:pt x="213" y="270"/>
                  </a:cubicBezTo>
                  <a:cubicBezTo>
                    <a:pt x="213" y="270"/>
                    <a:pt x="213" y="271"/>
                    <a:pt x="214" y="272"/>
                  </a:cubicBezTo>
                  <a:cubicBezTo>
                    <a:pt x="215" y="272"/>
                    <a:pt x="216" y="271"/>
                    <a:pt x="216" y="271"/>
                  </a:cubicBezTo>
                  <a:cubicBezTo>
                    <a:pt x="217" y="271"/>
                    <a:pt x="218" y="270"/>
                    <a:pt x="218" y="270"/>
                  </a:cubicBezTo>
                  <a:cubicBezTo>
                    <a:pt x="218" y="267"/>
                    <a:pt x="218" y="267"/>
                    <a:pt x="218" y="267"/>
                  </a:cubicBezTo>
                  <a:cubicBezTo>
                    <a:pt x="217" y="263"/>
                    <a:pt x="217" y="263"/>
                    <a:pt x="217" y="263"/>
                  </a:cubicBezTo>
                  <a:cubicBezTo>
                    <a:pt x="217" y="261"/>
                    <a:pt x="217" y="261"/>
                    <a:pt x="217" y="261"/>
                  </a:cubicBezTo>
                  <a:cubicBezTo>
                    <a:pt x="217" y="261"/>
                    <a:pt x="217" y="261"/>
                    <a:pt x="217" y="261"/>
                  </a:cubicBezTo>
                  <a:cubicBezTo>
                    <a:pt x="217" y="261"/>
                    <a:pt x="217" y="260"/>
                    <a:pt x="217" y="260"/>
                  </a:cubicBezTo>
                  <a:cubicBezTo>
                    <a:pt x="215" y="258"/>
                    <a:pt x="216" y="259"/>
                    <a:pt x="215" y="258"/>
                  </a:cubicBezTo>
                  <a:cubicBezTo>
                    <a:pt x="213" y="257"/>
                    <a:pt x="212" y="257"/>
                    <a:pt x="211" y="256"/>
                  </a:cubicBezTo>
                  <a:cubicBezTo>
                    <a:pt x="211" y="255"/>
                    <a:pt x="212" y="254"/>
                    <a:pt x="210" y="254"/>
                  </a:cubicBezTo>
                  <a:cubicBezTo>
                    <a:pt x="208" y="254"/>
                    <a:pt x="207" y="255"/>
                    <a:pt x="206" y="254"/>
                  </a:cubicBezTo>
                  <a:cubicBezTo>
                    <a:pt x="205" y="253"/>
                    <a:pt x="205" y="253"/>
                    <a:pt x="204" y="252"/>
                  </a:cubicBezTo>
                  <a:cubicBezTo>
                    <a:pt x="204" y="250"/>
                    <a:pt x="204" y="248"/>
                    <a:pt x="203" y="248"/>
                  </a:cubicBezTo>
                  <a:cubicBezTo>
                    <a:pt x="201" y="248"/>
                    <a:pt x="200" y="248"/>
                    <a:pt x="200" y="248"/>
                  </a:cubicBezTo>
                  <a:cubicBezTo>
                    <a:pt x="200" y="248"/>
                    <a:pt x="199" y="248"/>
                    <a:pt x="199" y="246"/>
                  </a:cubicBezTo>
                  <a:cubicBezTo>
                    <a:pt x="198" y="244"/>
                    <a:pt x="200" y="245"/>
                    <a:pt x="197" y="243"/>
                  </a:cubicBezTo>
                  <a:cubicBezTo>
                    <a:pt x="195" y="240"/>
                    <a:pt x="196" y="241"/>
                    <a:pt x="194" y="239"/>
                  </a:cubicBezTo>
                  <a:cubicBezTo>
                    <a:pt x="192" y="238"/>
                    <a:pt x="187" y="239"/>
                    <a:pt x="187" y="239"/>
                  </a:cubicBezTo>
                  <a:cubicBezTo>
                    <a:pt x="187" y="239"/>
                    <a:pt x="187" y="238"/>
                    <a:pt x="186" y="237"/>
                  </a:cubicBezTo>
                  <a:cubicBezTo>
                    <a:pt x="184" y="235"/>
                    <a:pt x="185" y="236"/>
                    <a:pt x="183" y="234"/>
                  </a:cubicBezTo>
                  <a:cubicBezTo>
                    <a:pt x="181" y="232"/>
                    <a:pt x="182" y="233"/>
                    <a:pt x="181" y="231"/>
                  </a:cubicBezTo>
                  <a:cubicBezTo>
                    <a:pt x="181" y="228"/>
                    <a:pt x="181" y="227"/>
                    <a:pt x="180" y="226"/>
                  </a:cubicBezTo>
                  <a:cubicBezTo>
                    <a:pt x="178" y="224"/>
                    <a:pt x="177" y="223"/>
                    <a:pt x="177" y="223"/>
                  </a:cubicBezTo>
                  <a:cubicBezTo>
                    <a:pt x="177" y="223"/>
                    <a:pt x="176" y="220"/>
                    <a:pt x="177" y="219"/>
                  </a:cubicBezTo>
                  <a:cubicBezTo>
                    <a:pt x="179" y="217"/>
                    <a:pt x="179" y="216"/>
                    <a:pt x="179" y="216"/>
                  </a:cubicBezTo>
                  <a:cubicBezTo>
                    <a:pt x="179" y="215"/>
                    <a:pt x="180" y="213"/>
                    <a:pt x="178" y="211"/>
                  </a:cubicBezTo>
                  <a:cubicBezTo>
                    <a:pt x="175" y="210"/>
                    <a:pt x="175" y="209"/>
                    <a:pt x="173" y="208"/>
                  </a:cubicBezTo>
                  <a:cubicBezTo>
                    <a:pt x="171" y="207"/>
                    <a:pt x="170" y="207"/>
                    <a:pt x="169" y="206"/>
                  </a:cubicBezTo>
                  <a:cubicBezTo>
                    <a:pt x="169" y="205"/>
                    <a:pt x="167" y="200"/>
                    <a:pt x="167" y="200"/>
                  </a:cubicBezTo>
                  <a:cubicBezTo>
                    <a:pt x="166" y="198"/>
                    <a:pt x="166" y="198"/>
                    <a:pt x="166" y="198"/>
                  </a:cubicBezTo>
                  <a:cubicBezTo>
                    <a:pt x="170" y="198"/>
                    <a:pt x="170" y="198"/>
                    <a:pt x="170" y="198"/>
                  </a:cubicBezTo>
                  <a:cubicBezTo>
                    <a:pt x="171" y="200"/>
                    <a:pt x="171" y="200"/>
                    <a:pt x="171" y="200"/>
                  </a:cubicBezTo>
                  <a:cubicBezTo>
                    <a:pt x="172" y="203"/>
                    <a:pt x="172" y="203"/>
                    <a:pt x="172" y="203"/>
                  </a:cubicBezTo>
                  <a:cubicBezTo>
                    <a:pt x="174" y="198"/>
                    <a:pt x="174" y="198"/>
                    <a:pt x="174" y="198"/>
                  </a:cubicBezTo>
                  <a:cubicBezTo>
                    <a:pt x="178" y="195"/>
                    <a:pt x="178" y="195"/>
                    <a:pt x="178" y="195"/>
                  </a:cubicBezTo>
                  <a:cubicBezTo>
                    <a:pt x="178" y="195"/>
                    <a:pt x="177" y="195"/>
                    <a:pt x="180" y="194"/>
                  </a:cubicBezTo>
                  <a:cubicBezTo>
                    <a:pt x="182" y="194"/>
                    <a:pt x="184" y="193"/>
                    <a:pt x="185" y="193"/>
                  </a:cubicBezTo>
                  <a:cubicBezTo>
                    <a:pt x="186" y="193"/>
                    <a:pt x="188" y="194"/>
                    <a:pt x="190" y="193"/>
                  </a:cubicBezTo>
                  <a:cubicBezTo>
                    <a:pt x="191" y="193"/>
                    <a:pt x="192" y="193"/>
                    <a:pt x="192" y="191"/>
                  </a:cubicBezTo>
                  <a:cubicBezTo>
                    <a:pt x="192" y="190"/>
                    <a:pt x="191" y="189"/>
                    <a:pt x="194" y="188"/>
                  </a:cubicBezTo>
                  <a:cubicBezTo>
                    <a:pt x="197" y="187"/>
                    <a:pt x="197" y="186"/>
                    <a:pt x="197" y="186"/>
                  </a:cubicBezTo>
                  <a:cubicBezTo>
                    <a:pt x="200" y="184"/>
                    <a:pt x="200" y="184"/>
                    <a:pt x="200" y="184"/>
                  </a:cubicBezTo>
                  <a:cubicBezTo>
                    <a:pt x="202" y="184"/>
                    <a:pt x="206" y="180"/>
                    <a:pt x="206" y="180"/>
                  </a:cubicBezTo>
                  <a:cubicBezTo>
                    <a:pt x="211" y="178"/>
                    <a:pt x="211" y="178"/>
                    <a:pt x="211" y="178"/>
                  </a:cubicBezTo>
                  <a:cubicBezTo>
                    <a:pt x="213" y="177"/>
                    <a:pt x="213" y="177"/>
                    <a:pt x="213" y="177"/>
                  </a:cubicBezTo>
                  <a:cubicBezTo>
                    <a:pt x="214" y="173"/>
                    <a:pt x="214" y="173"/>
                    <a:pt x="214" y="173"/>
                  </a:cubicBezTo>
                  <a:cubicBezTo>
                    <a:pt x="214" y="173"/>
                    <a:pt x="213" y="172"/>
                    <a:pt x="216" y="172"/>
                  </a:cubicBezTo>
                  <a:cubicBezTo>
                    <a:pt x="218" y="172"/>
                    <a:pt x="226" y="170"/>
                    <a:pt x="226" y="170"/>
                  </a:cubicBezTo>
                  <a:cubicBezTo>
                    <a:pt x="227" y="168"/>
                    <a:pt x="227" y="168"/>
                    <a:pt x="227" y="168"/>
                  </a:cubicBezTo>
                  <a:cubicBezTo>
                    <a:pt x="224" y="166"/>
                    <a:pt x="224" y="166"/>
                    <a:pt x="224" y="166"/>
                  </a:cubicBezTo>
                  <a:cubicBezTo>
                    <a:pt x="224" y="166"/>
                    <a:pt x="225" y="163"/>
                    <a:pt x="225" y="163"/>
                  </a:cubicBezTo>
                  <a:cubicBezTo>
                    <a:pt x="226" y="163"/>
                    <a:pt x="229" y="162"/>
                    <a:pt x="230" y="162"/>
                  </a:cubicBezTo>
                  <a:cubicBezTo>
                    <a:pt x="232" y="163"/>
                    <a:pt x="234" y="164"/>
                    <a:pt x="234" y="165"/>
                  </a:cubicBezTo>
                  <a:cubicBezTo>
                    <a:pt x="234" y="166"/>
                    <a:pt x="235" y="165"/>
                    <a:pt x="235" y="166"/>
                  </a:cubicBezTo>
                  <a:cubicBezTo>
                    <a:pt x="234" y="168"/>
                    <a:pt x="235" y="169"/>
                    <a:pt x="235" y="169"/>
                  </a:cubicBezTo>
                  <a:cubicBezTo>
                    <a:pt x="235" y="169"/>
                    <a:pt x="235" y="170"/>
                    <a:pt x="236" y="171"/>
                  </a:cubicBezTo>
                  <a:cubicBezTo>
                    <a:pt x="237" y="171"/>
                    <a:pt x="238" y="171"/>
                    <a:pt x="238" y="171"/>
                  </a:cubicBezTo>
                  <a:cubicBezTo>
                    <a:pt x="238" y="171"/>
                    <a:pt x="239" y="171"/>
                    <a:pt x="239" y="171"/>
                  </a:cubicBezTo>
                  <a:cubicBezTo>
                    <a:pt x="241" y="168"/>
                    <a:pt x="241" y="168"/>
                    <a:pt x="241" y="168"/>
                  </a:cubicBezTo>
                  <a:cubicBezTo>
                    <a:pt x="242" y="167"/>
                    <a:pt x="243" y="165"/>
                    <a:pt x="243" y="165"/>
                  </a:cubicBezTo>
                  <a:cubicBezTo>
                    <a:pt x="243" y="165"/>
                    <a:pt x="244" y="164"/>
                    <a:pt x="244" y="164"/>
                  </a:cubicBezTo>
                  <a:cubicBezTo>
                    <a:pt x="244" y="164"/>
                    <a:pt x="244" y="162"/>
                    <a:pt x="244" y="161"/>
                  </a:cubicBezTo>
                  <a:cubicBezTo>
                    <a:pt x="244" y="161"/>
                    <a:pt x="242" y="160"/>
                    <a:pt x="244" y="158"/>
                  </a:cubicBezTo>
                  <a:cubicBezTo>
                    <a:pt x="247" y="156"/>
                    <a:pt x="247" y="154"/>
                    <a:pt x="247" y="154"/>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4" name="Freeform 131"/>
            <p:cNvSpPr>
              <a:spLocks/>
            </p:cNvSpPr>
            <p:nvPr/>
          </p:nvSpPr>
          <p:spPr bwMode="auto">
            <a:xfrm>
              <a:off x="4852978" y="4069676"/>
              <a:ext cx="293162" cy="232833"/>
            </a:xfrm>
            <a:custGeom>
              <a:avLst/>
              <a:gdLst>
                <a:gd name="T0" fmla="*/ 84 w 101"/>
                <a:gd name="T1" fmla="*/ 82 h 85"/>
                <a:gd name="T2" fmla="*/ 83 w 101"/>
                <a:gd name="T3" fmla="*/ 80 h 85"/>
                <a:gd name="T4" fmla="*/ 80 w 101"/>
                <a:gd name="T5" fmla="*/ 75 h 85"/>
                <a:gd name="T6" fmla="*/ 83 w 101"/>
                <a:gd name="T7" fmla="*/ 67 h 85"/>
                <a:gd name="T8" fmla="*/ 85 w 101"/>
                <a:gd name="T9" fmla="*/ 63 h 85"/>
                <a:gd name="T10" fmla="*/ 87 w 101"/>
                <a:gd name="T11" fmla="*/ 60 h 85"/>
                <a:gd name="T12" fmla="*/ 89 w 101"/>
                <a:gd name="T13" fmla="*/ 58 h 85"/>
                <a:gd name="T14" fmla="*/ 91 w 101"/>
                <a:gd name="T15" fmla="*/ 57 h 85"/>
                <a:gd name="T16" fmla="*/ 95 w 101"/>
                <a:gd name="T17" fmla="*/ 58 h 85"/>
                <a:gd name="T18" fmla="*/ 98 w 101"/>
                <a:gd name="T19" fmla="*/ 56 h 85"/>
                <a:gd name="T20" fmla="*/ 101 w 101"/>
                <a:gd name="T21" fmla="*/ 52 h 85"/>
                <a:gd name="T22" fmla="*/ 97 w 101"/>
                <a:gd name="T23" fmla="*/ 46 h 85"/>
                <a:gd name="T24" fmla="*/ 96 w 101"/>
                <a:gd name="T25" fmla="*/ 39 h 85"/>
                <a:gd name="T26" fmla="*/ 91 w 101"/>
                <a:gd name="T27" fmla="*/ 35 h 85"/>
                <a:gd name="T28" fmla="*/ 83 w 101"/>
                <a:gd name="T29" fmla="*/ 34 h 85"/>
                <a:gd name="T30" fmla="*/ 83 w 101"/>
                <a:gd name="T31" fmla="*/ 28 h 85"/>
                <a:gd name="T32" fmla="*/ 88 w 101"/>
                <a:gd name="T33" fmla="*/ 20 h 85"/>
                <a:gd name="T34" fmla="*/ 80 w 101"/>
                <a:gd name="T35" fmla="*/ 14 h 85"/>
                <a:gd name="T36" fmla="*/ 75 w 101"/>
                <a:gd name="T37" fmla="*/ 11 h 85"/>
                <a:gd name="T38" fmla="*/ 69 w 101"/>
                <a:gd name="T39" fmla="*/ 8 h 85"/>
                <a:gd name="T40" fmla="*/ 67 w 101"/>
                <a:gd name="T41" fmla="*/ 2 h 85"/>
                <a:gd name="T42" fmla="*/ 61 w 101"/>
                <a:gd name="T43" fmla="*/ 3 h 85"/>
                <a:gd name="T44" fmla="*/ 57 w 101"/>
                <a:gd name="T45" fmla="*/ 3 h 85"/>
                <a:gd name="T46" fmla="*/ 51 w 101"/>
                <a:gd name="T47" fmla="*/ 1 h 85"/>
                <a:gd name="T48" fmla="*/ 47 w 101"/>
                <a:gd name="T49" fmla="*/ 5 h 85"/>
                <a:gd name="T50" fmla="*/ 31 w 101"/>
                <a:gd name="T51" fmla="*/ 8 h 85"/>
                <a:gd name="T52" fmla="*/ 24 w 101"/>
                <a:gd name="T53" fmla="*/ 6 h 85"/>
                <a:gd name="T54" fmla="*/ 15 w 101"/>
                <a:gd name="T55" fmla="*/ 5 h 85"/>
                <a:gd name="T56" fmla="*/ 0 w 101"/>
                <a:gd name="T57" fmla="*/ 17 h 85"/>
                <a:gd name="T58" fmla="*/ 2 w 101"/>
                <a:gd name="T59" fmla="*/ 24 h 85"/>
                <a:gd name="T60" fmla="*/ 9 w 101"/>
                <a:gd name="T61" fmla="*/ 27 h 85"/>
                <a:gd name="T62" fmla="*/ 17 w 101"/>
                <a:gd name="T63" fmla="*/ 30 h 85"/>
                <a:gd name="T64" fmla="*/ 19 w 101"/>
                <a:gd name="T65" fmla="*/ 39 h 85"/>
                <a:gd name="T66" fmla="*/ 23 w 101"/>
                <a:gd name="T67" fmla="*/ 38 h 85"/>
                <a:gd name="T68" fmla="*/ 27 w 101"/>
                <a:gd name="T69" fmla="*/ 43 h 85"/>
                <a:gd name="T70" fmla="*/ 30 w 101"/>
                <a:gd name="T71" fmla="*/ 47 h 85"/>
                <a:gd name="T72" fmla="*/ 38 w 101"/>
                <a:gd name="T73" fmla="*/ 47 h 85"/>
                <a:gd name="T74" fmla="*/ 43 w 101"/>
                <a:gd name="T75" fmla="*/ 51 h 85"/>
                <a:gd name="T76" fmla="*/ 42 w 101"/>
                <a:gd name="T77" fmla="*/ 57 h 85"/>
                <a:gd name="T78" fmla="*/ 41 w 101"/>
                <a:gd name="T79" fmla="*/ 64 h 85"/>
                <a:gd name="T80" fmla="*/ 48 w 101"/>
                <a:gd name="T81" fmla="*/ 64 h 85"/>
                <a:gd name="T82" fmla="*/ 53 w 101"/>
                <a:gd name="T83" fmla="*/ 59 h 85"/>
                <a:gd name="T84" fmla="*/ 57 w 101"/>
                <a:gd name="T85" fmla="*/ 56 h 85"/>
                <a:gd name="T86" fmla="*/ 61 w 101"/>
                <a:gd name="T87" fmla="*/ 62 h 85"/>
                <a:gd name="T88" fmla="*/ 59 w 101"/>
                <a:gd name="T89" fmla="*/ 67 h 85"/>
                <a:gd name="T90" fmla="*/ 60 w 101"/>
                <a:gd name="T91" fmla="*/ 72 h 85"/>
                <a:gd name="T92" fmla="*/ 67 w 101"/>
                <a:gd name="T93" fmla="*/ 74 h 85"/>
                <a:gd name="T94" fmla="*/ 72 w 101"/>
                <a:gd name="T95" fmla="*/ 80 h 85"/>
                <a:gd name="T96" fmla="*/ 76 w 101"/>
                <a:gd name="T97" fmla="*/ 82 h 85"/>
                <a:gd name="T98" fmla="*/ 79 w 101"/>
                <a:gd name="T99" fmla="*/ 8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85">
                  <a:moveTo>
                    <a:pt x="80" y="84"/>
                  </a:moveTo>
                  <a:cubicBezTo>
                    <a:pt x="80" y="84"/>
                    <a:pt x="82" y="84"/>
                    <a:pt x="83" y="83"/>
                  </a:cubicBezTo>
                  <a:cubicBezTo>
                    <a:pt x="83" y="83"/>
                    <a:pt x="83" y="83"/>
                    <a:pt x="83" y="83"/>
                  </a:cubicBezTo>
                  <a:cubicBezTo>
                    <a:pt x="84" y="82"/>
                    <a:pt x="84" y="82"/>
                    <a:pt x="84" y="82"/>
                  </a:cubicBezTo>
                  <a:cubicBezTo>
                    <a:pt x="84" y="82"/>
                    <a:pt x="84" y="81"/>
                    <a:pt x="84" y="81"/>
                  </a:cubicBezTo>
                  <a:cubicBezTo>
                    <a:pt x="84" y="81"/>
                    <a:pt x="84" y="81"/>
                    <a:pt x="84" y="81"/>
                  </a:cubicBezTo>
                  <a:cubicBezTo>
                    <a:pt x="84" y="81"/>
                    <a:pt x="84" y="81"/>
                    <a:pt x="84" y="81"/>
                  </a:cubicBezTo>
                  <a:cubicBezTo>
                    <a:pt x="83" y="80"/>
                    <a:pt x="83" y="80"/>
                    <a:pt x="83" y="80"/>
                  </a:cubicBezTo>
                  <a:cubicBezTo>
                    <a:pt x="82" y="77"/>
                    <a:pt x="82" y="77"/>
                    <a:pt x="82" y="77"/>
                  </a:cubicBezTo>
                  <a:cubicBezTo>
                    <a:pt x="80" y="77"/>
                    <a:pt x="80" y="77"/>
                    <a:pt x="80" y="77"/>
                  </a:cubicBezTo>
                  <a:cubicBezTo>
                    <a:pt x="80" y="76"/>
                    <a:pt x="80" y="76"/>
                    <a:pt x="80" y="76"/>
                  </a:cubicBezTo>
                  <a:cubicBezTo>
                    <a:pt x="80" y="75"/>
                    <a:pt x="80" y="75"/>
                    <a:pt x="80" y="75"/>
                  </a:cubicBezTo>
                  <a:cubicBezTo>
                    <a:pt x="80" y="74"/>
                    <a:pt x="81" y="73"/>
                    <a:pt x="81" y="73"/>
                  </a:cubicBezTo>
                  <a:cubicBezTo>
                    <a:pt x="81" y="72"/>
                    <a:pt x="81" y="72"/>
                    <a:pt x="81" y="72"/>
                  </a:cubicBezTo>
                  <a:cubicBezTo>
                    <a:pt x="81" y="72"/>
                    <a:pt x="80" y="71"/>
                    <a:pt x="80" y="70"/>
                  </a:cubicBezTo>
                  <a:cubicBezTo>
                    <a:pt x="81" y="69"/>
                    <a:pt x="83" y="67"/>
                    <a:pt x="83" y="67"/>
                  </a:cubicBezTo>
                  <a:cubicBezTo>
                    <a:pt x="83" y="66"/>
                    <a:pt x="83" y="66"/>
                    <a:pt x="83" y="66"/>
                  </a:cubicBezTo>
                  <a:cubicBezTo>
                    <a:pt x="83" y="65"/>
                    <a:pt x="83" y="65"/>
                    <a:pt x="83" y="65"/>
                  </a:cubicBezTo>
                  <a:cubicBezTo>
                    <a:pt x="84" y="65"/>
                    <a:pt x="84" y="64"/>
                    <a:pt x="85" y="63"/>
                  </a:cubicBezTo>
                  <a:cubicBezTo>
                    <a:pt x="85" y="63"/>
                    <a:pt x="85" y="63"/>
                    <a:pt x="85" y="63"/>
                  </a:cubicBezTo>
                  <a:cubicBezTo>
                    <a:pt x="85" y="63"/>
                    <a:pt x="85" y="63"/>
                    <a:pt x="85" y="63"/>
                  </a:cubicBezTo>
                  <a:cubicBezTo>
                    <a:pt x="85" y="62"/>
                    <a:pt x="85" y="62"/>
                    <a:pt x="85" y="62"/>
                  </a:cubicBezTo>
                  <a:cubicBezTo>
                    <a:pt x="85" y="61"/>
                    <a:pt x="86" y="60"/>
                    <a:pt x="87" y="60"/>
                  </a:cubicBezTo>
                  <a:cubicBezTo>
                    <a:pt x="87" y="60"/>
                    <a:pt x="87" y="60"/>
                    <a:pt x="87" y="60"/>
                  </a:cubicBezTo>
                  <a:cubicBezTo>
                    <a:pt x="87" y="59"/>
                    <a:pt x="87" y="59"/>
                    <a:pt x="87" y="59"/>
                  </a:cubicBezTo>
                  <a:cubicBezTo>
                    <a:pt x="88" y="59"/>
                    <a:pt x="88" y="58"/>
                    <a:pt x="88" y="58"/>
                  </a:cubicBezTo>
                  <a:cubicBezTo>
                    <a:pt x="88" y="58"/>
                    <a:pt x="88" y="58"/>
                    <a:pt x="88" y="58"/>
                  </a:cubicBezTo>
                  <a:cubicBezTo>
                    <a:pt x="89" y="58"/>
                    <a:pt x="89" y="58"/>
                    <a:pt x="89" y="58"/>
                  </a:cubicBezTo>
                  <a:cubicBezTo>
                    <a:pt x="89" y="58"/>
                    <a:pt x="89" y="57"/>
                    <a:pt x="89" y="57"/>
                  </a:cubicBezTo>
                  <a:cubicBezTo>
                    <a:pt x="90" y="57"/>
                    <a:pt x="91" y="57"/>
                    <a:pt x="91" y="57"/>
                  </a:cubicBezTo>
                  <a:cubicBezTo>
                    <a:pt x="91" y="57"/>
                    <a:pt x="91" y="57"/>
                    <a:pt x="91" y="57"/>
                  </a:cubicBezTo>
                  <a:cubicBezTo>
                    <a:pt x="91" y="57"/>
                    <a:pt x="91" y="57"/>
                    <a:pt x="91" y="57"/>
                  </a:cubicBezTo>
                  <a:cubicBezTo>
                    <a:pt x="92" y="57"/>
                    <a:pt x="92" y="57"/>
                    <a:pt x="92" y="58"/>
                  </a:cubicBezTo>
                  <a:cubicBezTo>
                    <a:pt x="93" y="57"/>
                    <a:pt x="93" y="57"/>
                    <a:pt x="93" y="57"/>
                  </a:cubicBezTo>
                  <a:cubicBezTo>
                    <a:pt x="94" y="57"/>
                    <a:pt x="94" y="57"/>
                    <a:pt x="94" y="57"/>
                  </a:cubicBezTo>
                  <a:cubicBezTo>
                    <a:pt x="95" y="58"/>
                    <a:pt x="95" y="58"/>
                    <a:pt x="95" y="58"/>
                  </a:cubicBezTo>
                  <a:cubicBezTo>
                    <a:pt x="95" y="58"/>
                    <a:pt x="95" y="58"/>
                    <a:pt x="95" y="58"/>
                  </a:cubicBezTo>
                  <a:cubicBezTo>
                    <a:pt x="96" y="57"/>
                    <a:pt x="96" y="57"/>
                    <a:pt x="96" y="57"/>
                  </a:cubicBezTo>
                  <a:cubicBezTo>
                    <a:pt x="96" y="57"/>
                    <a:pt x="96" y="56"/>
                    <a:pt x="97" y="56"/>
                  </a:cubicBezTo>
                  <a:cubicBezTo>
                    <a:pt x="97" y="56"/>
                    <a:pt x="97" y="56"/>
                    <a:pt x="98" y="56"/>
                  </a:cubicBezTo>
                  <a:cubicBezTo>
                    <a:pt x="99" y="56"/>
                    <a:pt x="99" y="54"/>
                    <a:pt x="99" y="54"/>
                  </a:cubicBezTo>
                  <a:cubicBezTo>
                    <a:pt x="100" y="54"/>
                    <a:pt x="100" y="54"/>
                    <a:pt x="100" y="54"/>
                  </a:cubicBezTo>
                  <a:cubicBezTo>
                    <a:pt x="100" y="54"/>
                    <a:pt x="101" y="53"/>
                    <a:pt x="101" y="53"/>
                  </a:cubicBezTo>
                  <a:cubicBezTo>
                    <a:pt x="101" y="52"/>
                    <a:pt x="101" y="52"/>
                    <a:pt x="101" y="52"/>
                  </a:cubicBezTo>
                  <a:cubicBezTo>
                    <a:pt x="101" y="52"/>
                    <a:pt x="101" y="50"/>
                    <a:pt x="101" y="49"/>
                  </a:cubicBezTo>
                  <a:cubicBezTo>
                    <a:pt x="101" y="48"/>
                    <a:pt x="101" y="47"/>
                    <a:pt x="101" y="47"/>
                  </a:cubicBezTo>
                  <a:cubicBezTo>
                    <a:pt x="101" y="47"/>
                    <a:pt x="100" y="46"/>
                    <a:pt x="100" y="46"/>
                  </a:cubicBezTo>
                  <a:cubicBezTo>
                    <a:pt x="99" y="46"/>
                    <a:pt x="98" y="46"/>
                    <a:pt x="97" y="46"/>
                  </a:cubicBezTo>
                  <a:cubicBezTo>
                    <a:pt x="97" y="46"/>
                    <a:pt x="96" y="44"/>
                    <a:pt x="96" y="44"/>
                  </a:cubicBezTo>
                  <a:cubicBezTo>
                    <a:pt x="96" y="44"/>
                    <a:pt x="97" y="43"/>
                    <a:pt x="97" y="43"/>
                  </a:cubicBezTo>
                  <a:cubicBezTo>
                    <a:pt x="98" y="42"/>
                    <a:pt x="98" y="40"/>
                    <a:pt x="98" y="40"/>
                  </a:cubicBezTo>
                  <a:cubicBezTo>
                    <a:pt x="98" y="40"/>
                    <a:pt x="96" y="40"/>
                    <a:pt x="96" y="39"/>
                  </a:cubicBezTo>
                  <a:cubicBezTo>
                    <a:pt x="96" y="39"/>
                    <a:pt x="95" y="39"/>
                    <a:pt x="95" y="39"/>
                  </a:cubicBezTo>
                  <a:cubicBezTo>
                    <a:pt x="94" y="37"/>
                    <a:pt x="94" y="37"/>
                    <a:pt x="94" y="37"/>
                  </a:cubicBezTo>
                  <a:cubicBezTo>
                    <a:pt x="94" y="37"/>
                    <a:pt x="93" y="36"/>
                    <a:pt x="92" y="36"/>
                  </a:cubicBezTo>
                  <a:cubicBezTo>
                    <a:pt x="92" y="36"/>
                    <a:pt x="91" y="35"/>
                    <a:pt x="91" y="35"/>
                  </a:cubicBezTo>
                  <a:cubicBezTo>
                    <a:pt x="91" y="35"/>
                    <a:pt x="90" y="34"/>
                    <a:pt x="89" y="34"/>
                  </a:cubicBezTo>
                  <a:cubicBezTo>
                    <a:pt x="89" y="34"/>
                    <a:pt x="88" y="34"/>
                    <a:pt x="87" y="34"/>
                  </a:cubicBezTo>
                  <a:cubicBezTo>
                    <a:pt x="86" y="34"/>
                    <a:pt x="85" y="34"/>
                    <a:pt x="85" y="34"/>
                  </a:cubicBezTo>
                  <a:cubicBezTo>
                    <a:pt x="83" y="34"/>
                    <a:pt x="83" y="34"/>
                    <a:pt x="83" y="34"/>
                  </a:cubicBezTo>
                  <a:cubicBezTo>
                    <a:pt x="83" y="33"/>
                    <a:pt x="83" y="33"/>
                    <a:pt x="83" y="33"/>
                  </a:cubicBezTo>
                  <a:cubicBezTo>
                    <a:pt x="81" y="31"/>
                    <a:pt x="81" y="31"/>
                    <a:pt x="81" y="31"/>
                  </a:cubicBezTo>
                  <a:cubicBezTo>
                    <a:pt x="81" y="31"/>
                    <a:pt x="81" y="29"/>
                    <a:pt x="81" y="29"/>
                  </a:cubicBezTo>
                  <a:cubicBezTo>
                    <a:pt x="81" y="28"/>
                    <a:pt x="82" y="28"/>
                    <a:pt x="83" y="28"/>
                  </a:cubicBezTo>
                  <a:cubicBezTo>
                    <a:pt x="83" y="28"/>
                    <a:pt x="84" y="26"/>
                    <a:pt x="84" y="26"/>
                  </a:cubicBezTo>
                  <a:cubicBezTo>
                    <a:pt x="84" y="26"/>
                    <a:pt x="85" y="25"/>
                    <a:pt x="86" y="24"/>
                  </a:cubicBezTo>
                  <a:cubicBezTo>
                    <a:pt x="86" y="24"/>
                    <a:pt x="87" y="22"/>
                    <a:pt x="87" y="21"/>
                  </a:cubicBezTo>
                  <a:cubicBezTo>
                    <a:pt x="87" y="21"/>
                    <a:pt x="88" y="20"/>
                    <a:pt x="88" y="20"/>
                  </a:cubicBezTo>
                  <a:cubicBezTo>
                    <a:pt x="88" y="20"/>
                    <a:pt x="89" y="18"/>
                    <a:pt x="89" y="18"/>
                  </a:cubicBezTo>
                  <a:cubicBezTo>
                    <a:pt x="89" y="17"/>
                    <a:pt x="88" y="17"/>
                    <a:pt x="87" y="17"/>
                  </a:cubicBezTo>
                  <a:cubicBezTo>
                    <a:pt x="87" y="17"/>
                    <a:pt x="84" y="16"/>
                    <a:pt x="84" y="15"/>
                  </a:cubicBezTo>
                  <a:cubicBezTo>
                    <a:pt x="84" y="15"/>
                    <a:pt x="82" y="15"/>
                    <a:pt x="80" y="14"/>
                  </a:cubicBezTo>
                  <a:cubicBezTo>
                    <a:pt x="78" y="14"/>
                    <a:pt x="80" y="13"/>
                    <a:pt x="80" y="12"/>
                  </a:cubicBezTo>
                  <a:cubicBezTo>
                    <a:pt x="80" y="11"/>
                    <a:pt x="78" y="11"/>
                    <a:pt x="78" y="11"/>
                  </a:cubicBezTo>
                  <a:cubicBezTo>
                    <a:pt x="78" y="10"/>
                    <a:pt x="78" y="11"/>
                    <a:pt x="77" y="12"/>
                  </a:cubicBezTo>
                  <a:cubicBezTo>
                    <a:pt x="76" y="12"/>
                    <a:pt x="75" y="11"/>
                    <a:pt x="75" y="11"/>
                  </a:cubicBezTo>
                  <a:cubicBezTo>
                    <a:pt x="74" y="11"/>
                    <a:pt x="72" y="11"/>
                    <a:pt x="72" y="11"/>
                  </a:cubicBezTo>
                  <a:cubicBezTo>
                    <a:pt x="72" y="11"/>
                    <a:pt x="72" y="10"/>
                    <a:pt x="72" y="9"/>
                  </a:cubicBezTo>
                  <a:cubicBezTo>
                    <a:pt x="72" y="8"/>
                    <a:pt x="71" y="9"/>
                    <a:pt x="71" y="9"/>
                  </a:cubicBezTo>
                  <a:cubicBezTo>
                    <a:pt x="71" y="9"/>
                    <a:pt x="70" y="8"/>
                    <a:pt x="69" y="8"/>
                  </a:cubicBezTo>
                  <a:cubicBezTo>
                    <a:pt x="69" y="8"/>
                    <a:pt x="70" y="8"/>
                    <a:pt x="70" y="7"/>
                  </a:cubicBezTo>
                  <a:cubicBezTo>
                    <a:pt x="70" y="7"/>
                    <a:pt x="69" y="7"/>
                    <a:pt x="69" y="7"/>
                  </a:cubicBezTo>
                  <a:cubicBezTo>
                    <a:pt x="68" y="7"/>
                    <a:pt x="68" y="5"/>
                    <a:pt x="68" y="5"/>
                  </a:cubicBezTo>
                  <a:cubicBezTo>
                    <a:pt x="68" y="5"/>
                    <a:pt x="67" y="3"/>
                    <a:pt x="67" y="2"/>
                  </a:cubicBezTo>
                  <a:cubicBezTo>
                    <a:pt x="67" y="1"/>
                    <a:pt x="66" y="2"/>
                    <a:pt x="66" y="2"/>
                  </a:cubicBezTo>
                  <a:cubicBezTo>
                    <a:pt x="65" y="5"/>
                    <a:pt x="65" y="5"/>
                    <a:pt x="65" y="5"/>
                  </a:cubicBezTo>
                  <a:cubicBezTo>
                    <a:pt x="65" y="5"/>
                    <a:pt x="64" y="5"/>
                    <a:pt x="62" y="4"/>
                  </a:cubicBezTo>
                  <a:cubicBezTo>
                    <a:pt x="60" y="3"/>
                    <a:pt x="61" y="3"/>
                    <a:pt x="61" y="3"/>
                  </a:cubicBezTo>
                  <a:cubicBezTo>
                    <a:pt x="62" y="1"/>
                    <a:pt x="62" y="1"/>
                    <a:pt x="62" y="1"/>
                  </a:cubicBezTo>
                  <a:cubicBezTo>
                    <a:pt x="62" y="1"/>
                    <a:pt x="61" y="1"/>
                    <a:pt x="60" y="0"/>
                  </a:cubicBezTo>
                  <a:cubicBezTo>
                    <a:pt x="59" y="0"/>
                    <a:pt x="59" y="0"/>
                    <a:pt x="58" y="1"/>
                  </a:cubicBezTo>
                  <a:cubicBezTo>
                    <a:pt x="58" y="2"/>
                    <a:pt x="57" y="3"/>
                    <a:pt x="57" y="3"/>
                  </a:cubicBezTo>
                  <a:cubicBezTo>
                    <a:pt x="56" y="4"/>
                    <a:pt x="56" y="3"/>
                    <a:pt x="55" y="3"/>
                  </a:cubicBezTo>
                  <a:cubicBezTo>
                    <a:pt x="53" y="3"/>
                    <a:pt x="53" y="3"/>
                    <a:pt x="53" y="3"/>
                  </a:cubicBezTo>
                  <a:cubicBezTo>
                    <a:pt x="53" y="2"/>
                    <a:pt x="52" y="2"/>
                    <a:pt x="52" y="1"/>
                  </a:cubicBezTo>
                  <a:cubicBezTo>
                    <a:pt x="52" y="0"/>
                    <a:pt x="51" y="1"/>
                    <a:pt x="51" y="1"/>
                  </a:cubicBezTo>
                  <a:cubicBezTo>
                    <a:pt x="51" y="1"/>
                    <a:pt x="50" y="1"/>
                    <a:pt x="49" y="2"/>
                  </a:cubicBezTo>
                  <a:cubicBezTo>
                    <a:pt x="49" y="2"/>
                    <a:pt x="49" y="3"/>
                    <a:pt x="50" y="4"/>
                  </a:cubicBezTo>
                  <a:cubicBezTo>
                    <a:pt x="50" y="4"/>
                    <a:pt x="50" y="6"/>
                    <a:pt x="50" y="6"/>
                  </a:cubicBezTo>
                  <a:cubicBezTo>
                    <a:pt x="50" y="6"/>
                    <a:pt x="48" y="5"/>
                    <a:pt x="47" y="5"/>
                  </a:cubicBezTo>
                  <a:cubicBezTo>
                    <a:pt x="47" y="5"/>
                    <a:pt x="46" y="5"/>
                    <a:pt x="45" y="5"/>
                  </a:cubicBezTo>
                  <a:cubicBezTo>
                    <a:pt x="43" y="4"/>
                    <a:pt x="44" y="6"/>
                    <a:pt x="44" y="6"/>
                  </a:cubicBezTo>
                  <a:cubicBezTo>
                    <a:pt x="44" y="6"/>
                    <a:pt x="42" y="8"/>
                    <a:pt x="42" y="8"/>
                  </a:cubicBezTo>
                  <a:cubicBezTo>
                    <a:pt x="34" y="10"/>
                    <a:pt x="37" y="9"/>
                    <a:pt x="31" y="8"/>
                  </a:cubicBezTo>
                  <a:cubicBezTo>
                    <a:pt x="31" y="8"/>
                    <a:pt x="31" y="4"/>
                    <a:pt x="30" y="4"/>
                  </a:cubicBezTo>
                  <a:cubicBezTo>
                    <a:pt x="29" y="3"/>
                    <a:pt x="28" y="4"/>
                    <a:pt x="27" y="4"/>
                  </a:cubicBezTo>
                  <a:cubicBezTo>
                    <a:pt x="27" y="5"/>
                    <a:pt x="27" y="6"/>
                    <a:pt x="26" y="6"/>
                  </a:cubicBezTo>
                  <a:cubicBezTo>
                    <a:pt x="26" y="7"/>
                    <a:pt x="25" y="6"/>
                    <a:pt x="24" y="6"/>
                  </a:cubicBezTo>
                  <a:cubicBezTo>
                    <a:pt x="24" y="5"/>
                    <a:pt x="23" y="3"/>
                    <a:pt x="23" y="3"/>
                  </a:cubicBezTo>
                  <a:cubicBezTo>
                    <a:pt x="22" y="4"/>
                    <a:pt x="22" y="4"/>
                    <a:pt x="22" y="4"/>
                  </a:cubicBezTo>
                  <a:cubicBezTo>
                    <a:pt x="19" y="4"/>
                    <a:pt x="19" y="4"/>
                    <a:pt x="19" y="4"/>
                  </a:cubicBezTo>
                  <a:cubicBezTo>
                    <a:pt x="15" y="5"/>
                    <a:pt x="15" y="5"/>
                    <a:pt x="15" y="5"/>
                  </a:cubicBezTo>
                  <a:cubicBezTo>
                    <a:pt x="15" y="5"/>
                    <a:pt x="9" y="9"/>
                    <a:pt x="4" y="11"/>
                  </a:cubicBezTo>
                  <a:cubicBezTo>
                    <a:pt x="1" y="14"/>
                    <a:pt x="1" y="14"/>
                    <a:pt x="1" y="14"/>
                  </a:cubicBezTo>
                  <a:cubicBezTo>
                    <a:pt x="1" y="15"/>
                    <a:pt x="1" y="15"/>
                    <a:pt x="0" y="15"/>
                  </a:cubicBezTo>
                  <a:cubicBezTo>
                    <a:pt x="0" y="17"/>
                    <a:pt x="0" y="17"/>
                    <a:pt x="0" y="17"/>
                  </a:cubicBezTo>
                  <a:cubicBezTo>
                    <a:pt x="0" y="17"/>
                    <a:pt x="0" y="17"/>
                    <a:pt x="1" y="17"/>
                  </a:cubicBezTo>
                  <a:cubicBezTo>
                    <a:pt x="2" y="18"/>
                    <a:pt x="2" y="19"/>
                    <a:pt x="2" y="21"/>
                  </a:cubicBezTo>
                  <a:cubicBezTo>
                    <a:pt x="2" y="23"/>
                    <a:pt x="2" y="23"/>
                    <a:pt x="2" y="23"/>
                  </a:cubicBezTo>
                  <a:cubicBezTo>
                    <a:pt x="2" y="23"/>
                    <a:pt x="2" y="24"/>
                    <a:pt x="2" y="24"/>
                  </a:cubicBezTo>
                  <a:cubicBezTo>
                    <a:pt x="3" y="25"/>
                    <a:pt x="4" y="26"/>
                    <a:pt x="5" y="27"/>
                  </a:cubicBezTo>
                  <a:cubicBezTo>
                    <a:pt x="5" y="28"/>
                    <a:pt x="5" y="28"/>
                    <a:pt x="5" y="29"/>
                  </a:cubicBezTo>
                  <a:cubicBezTo>
                    <a:pt x="6" y="28"/>
                    <a:pt x="6" y="27"/>
                    <a:pt x="8" y="27"/>
                  </a:cubicBezTo>
                  <a:cubicBezTo>
                    <a:pt x="8" y="27"/>
                    <a:pt x="9" y="27"/>
                    <a:pt x="9" y="27"/>
                  </a:cubicBezTo>
                  <a:cubicBezTo>
                    <a:pt x="9" y="27"/>
                    <a:pt x="10" y="27"/>
                    <a:pt x="11" y="26"/>
                  </a:cubicBezTo>
                  <a:cubicBezTo>
                    <a:pt x="12" y="25"/>
                    <a:pt x="12" y="25"/>
                    <a:pt x="12" y="25"/>
                  </a:cubicBezTo>
                  <a:cubicBezTo>
                    <a:pt x="15" y="28"/>
                    <a:pt x="15" y="28"/>
                    <a:pt x="15" y="28"/>
                  </a:cubicBezTo>
                  <a:cubicBezTo>
                    <a:pt x="16" y="29"/>
                    <a:pt x="16" y="29"/>
                    <a:pt x="17" y="30"/>
                  </a:cubicBezTo>
                  <a:cubicBezTo>
                    <a:pt x="18" y="31"/>
                    <a:pt x="18" y="33"/>
                    <a:pt x="17" y="34"/>
                  </a:cubicBezTo>
                  <a:cubicBezTo>
                    <a:pt x="18" y="34"/>
                    <a:pt x="18" y="35"/>
                    <a:pt x="18" y="35"/>
                  </a:cubicBezTo>
                  <a:cubicBezTo>
                    <a:pt x="18" y="35"/>
                    <a:pt x="18" y="36"/>
                    <a:pt x="18" y="36"/>
                  </a:cubicBezTo>
                  <a:cubicBezTo>
                    <a:pt x="19" y="36"/>
                    <a:pt x="19" y="37"/>
                    <a:pt x="19" y="39"/>
                  </a:cubicBezTo>
                  <a:cubicBezTo>
                    <a:pt x="19" y="39"/>
                    <a:pt x="19" y="39"/>
                    <a:pt x="19" y="39"/>
                  </a:cubicBezTo>
                  <a:cubicBezTo>
                    <a:pt x="20" y="39"/>
                    <a:pt x="20" y="39"/>
                    <a:pt x="20" y="39"/>
                  </a:cubicBezTo>
                  <a:cubicBezTo>
                    <a:pt x="20" y="39"/>
                    <a:pt x="21" y="38"/>
                    <a:pt x="21" y="38"/>
                  </a:cubicBezTo>
                  <a:cubicBezTo>
                    <a:pt x="23" y="38"/>
                    <a:pt x="23" y="38"/>
                    <a:pt x="23" y="38"/>
                  </a:cubicBezTo>
                  <a:cubicBezTo>
                    <a:pt x="24" y="40"/>
                    <a:pt x="24" y="40"/>
                    <a:pt x="24" y="40"/>
                  </a:cubicBezTo>
                  <a:cubicBezTo>
                    <a:pt x="25" y="39"/>
                    <a:pt x="25" y="39"/>
                    <a:pt x="25" y="39"/>
                  </a:cubicBezTo>
                  <a:cubicBezTo>
                    <a:pt x="26" y="40"/>
                    <a:pt x="26" y="40"/>
                    <a:pt x="26" y="40"/>
                  </a:cubicBezTo>
                  <a:cubicBezTo>
                    <a:pt x="26" y="40"/>
                    <a:pt x="27" y="42"/>
                    <a:pt x="27" y="43"/>
                  </a:cubicBezTo>
                  <a:cubicBezTo>
                    <a:pt x="28" y="43"/>
                    <a:pt x="28" y="44"/>
                    <a:pt x="28" y="44"/>
                  </a:cubicBezTo>
                  <a:cubicBezTo>
                    <a:pt x="29" y="45"/>
                    <a:pt x="29" y="45"/>
                    <a:pt x="29" y="45"/>
                  </a:cubicBezTo>
                  <a:cubicBezTo>
                    <a:pt x="29" y="47"/>
                    <a:pt x="29" y="47"/>
                    <a:pt x="29" y="47"/>
                  </a:cubicBezTo>
                  <a:cubicBezTo>
                    <a:pt x="29" y="47"/>
                    <a:pt x="29" y="47"/>
                    <a:pt x="30" y="47"/>
                  </a:cubicBezTo>
                  <a:cubicBezTo>
                    <a:pt x="31" y="47"/>
                    <a:pt x="32" y="47"/>
                    <a:pt x="32" y="47"/>
                  </a:cubicBezTo>
                  <a:cubicBezTo>
                    <a:pt x="33" y="47"/>
                    <a:pt x="33" y="47"/>
                    <a:pt x="34" y="47"/>
                  </a:cubicBezTo>
                  <a:cubicBezTo>
                    <a:pt x="34" y="47"/>
                    <a:pt x="35" y="47"/>
                    <a:pt x="35" y="47"/>
                  </a:cubicBezTo>
                  <a:cubicBezTo>
                    <a:pt x="36" y="47"/>
                    <a:pt x="38" y="47"/>
                    <a:pt x="38" y="47"/>
                  </a:cubicBezTo>
                  <a:cubicBezTo>
                    <a:pt x="38" y="47"/>
                    <a:pt x="38" y="47"/>
                    <a:pt x="38" y="47"/>
                  </a:cubicBezTo>
                  <a:cubicBezTo>
                    <a:pt x="39" y="48"/>
                    <a:pt x="39" y="48"/>
                    <a:pt x="39" y="48"/>
                  </a:cubicBezTo>
                  <a:cubicBezTo>
                    <a:pt x="39" y="48"/>
                    <a:pt x="40" y="49"/>
                    <a:pt x="40" y="50"/>
                  </a:cubicBezTo>
                  <a:cubicBezTo>
                    <a:pt x="40" y="51"/>
                    <a:pt x="43" y="51"/>
                    <a:pt x="43" y="51"/>
                  </a:cubicBezTo>
                  <a:cubicBezTo>
                    <a:pt x="43" y="52"/>
                    <a:pt x="43" y="52"/>
                    <a:pt x="43" y="52"/>
                  </a:cubicBezTo>
                  <a:cubicBezTo>
                    <a:pt x="43" y="54"/>
                    <a:pt x="43" y="56"/>
                    <a:pt x="42" y="56"/>
                  </a:cubicBezTo>
                  <a:cubicBezTo>
                    <a:pt x="42" y="57"/>
                    <a:pt x="42" y="57"/>
                    <a:pt x="42" y="57"/>
                  </a:cubicBezTo>
                  <a:cubicBezTo>
                    <a:pt x="42" y="57"/>
                    <a:pt x="42" y="57"/>
                    <a:pt x="42" y="57"/>
                  </a:cubicBezTo>
                  <a:cubicBezTo>
                    <a:pt x="43" y="61"/>
                    <a:pt x="43" y="61"/>
                    <a:pt x="43" y="61"/>
                  </a:cubicBezTo>
                  <a:cubicBezTo>
                    <a:pt x="43" y="62"/>
                    <a:pt x="43" y="62"/>
                    <a:pt x="43" y="62"/>
                  </a:cubicBezTo>
                  <a:cubicBezTo>
                    <a:pt x="43" y="62"/>
                    <a:pt x="42" y="63"/>
                    <a:pt x="41" y="63"/>
                  </a:cubicBezTo>
                  <a:cubicBezTo>
                    <a:pt x="41" y="64"/>
                    <a:pt x="41" y="64"/>
                    <a:pt x="41" y="64"/>
                  </a:cubicBezTo>
                  <a:cubicBezTo>
                    <a:pt x="42" y="64"/>
                    <a:pt x="42" y="64"/>
                    <a:pt x="42" y="64"/>
                  </a:cubicBezTo>
                  <a:cubicBezTo>
                    <a:pt x="45" y="65"/>
                    <a:pt x="45" y="65"/>
                    <a:pt x="45" y="65"/>
                  </a:cubicBezTo>
                  <a:cubicBezTo>
                    <a:pt x="45" y="65"/>
                    <a:pt x="47" y="65"/>
                    <a:pt x="47" y="65"/>
                  </a:cubicBezTo>
                  <a:cubicBezTo>
                    <a:pt x="47" y="64"/>
                    <a:pt x="48" y="64"/>
                    <a:pt x="48" y="64"/>
                  </a:cubicBezTo>
                  <a:cubicBezTo>
                    <a:pt x="48" y="64"/>
                    <a:pt x="50" y="63"/>
                    <a:pt x="51" y="63"/>
                  </a:cubicBezTo>
                  <a:cubicBezTo>
                    <a:pt x="51" y="63"/>
                    <a:pt x="51" y="63"/>
                    <a:pt x="51" y="63"/>
                  </a:cubicBezTo>
                  <a:cubicBezTo>
                    <a:pt x="52" y="62"/>
                    <a:pt x="52" y="62"/>
                    <a:pt x="52" y="62"/>
                  </a:cubicBezTo>
                  <a:cubicBezTo>
                    <a:pt x="53" y="59"/>
                    <a:pt x="53" y="59"/>
                    <a:pt x="53" y="59"/>
                  </a:cubicBezTo>
                  <a:cubicBezTo>
                    <a:pt x="53" y="59"/>
                    <a:pt x="53" y="59"/>
                    <a:pt x="53" y="59"/>
                  </a:cubicBezTo>
                  <a:cubicBezTo>
                    <a:pt x="54" y="58"/>
                    <a:pt x="54" y="58"/>
                    <a:pt x="54" y="58"/>
                  </a:cubicBezTo>
                  <a:cubicBezTo>
                    <a:pt x="54" y="58"/>
                    <a:pt x="54" y="58"/>
                    <a:pt x="54" y="58"/>
                  </a:cubicBezTo>
                  <a:cubicBezTo>
                    <a:pt x="55" y="57"/>
                    <a:pt x="56" y="56"/>
                    <a:pt x="57" y="56"/>
                  </a:cubicBezTo>
                  <a:cubicBezTo>
                    <a:pt x="58" y="56"/>
                    <a:pt x="58" y="56"/>
                    <a:pt x="58" y="56"/>
                  </a:cubicBezTo>
                  <a:cubicBezTo>
                    <a:pt x="61" y="58"/>
                    <a:pt x="61" y="58"/>
                    <a:pt x="61" y="58"/>
                  </a:cubicBezTo>
                  <a:cubicBezTo>
                    <a:pt x="61" y="59"/>
                    <a:pt x="61" y="59"/>
                    <a:pt x="61" y="59"/>
                  </a:cubicBezTo>
                  <a:cubicBezTo>
                    <a:pt x="62" y="59"/>
                    <a:pt x="61" y="60"/>
                    <a:pt x="61" y="62"/>
                  </a:cubicBezTo>
                  <a:cubicBezTo>
                    <a:pt x="60" y="63"/>
                    <a:pt x="60" y="63"/>
                    <a:pt x="60" y="63"/>
                  </a:cubicBezTo>
                  <a:cubicBezTo>
                    <a:pt x="60" y="64"/>
                    <a:pt x="60" y="64"/>
                    <a:pt x="60" y="64"/>
                  </a:cubicBezTo>
                  <a:cubicBezTo>
                    <a:pt x="60" y="65"/>
                    <a:pt x="60" y="65"/>
                    <a:pt x="60" y="66"/>
                  </a:cubicBezTo>
                  <a:cubicBezTo>
                    <a:pt x="59" y="66"/>
                    <a:pt x="59" y="67"/>
                    <a:pt x="59" y="67"/>
                  </a:cubicBezTo>
                  <a:cubicBezTo>
                    <a:pt x="60" y="68"/>
                    <a:pt x="60" y="68"/>
                    <a:pt x="60" y="68"/>
                  </a:cubicBezTo>
                  <a:cubicBezTo>
                    <a:pt x="60" y="71"/>
                    <a:pt x="60" y="71"/>
                    <a:pt x="60" y="71"/>
                  </a:cubicBezTo>
                  <a:cubicBezTo>
                    <a:pt x="60" y="71"/>
                    <a:pt x="60" y="72"/>
                    <a:pt x="60" y="72"/>
                  </a:cubicBezTo>
                  <a:cubicBezTo>
                    <a:pt x="60" y="72"/>
                    <a:pt x="60" y="72"/>
                    <a:pt x="60" y="72"/>
                  </a:cubicBezTo>
                  <a:cubicBezTo>
                    <a:pt x="61" y="72"/>
                    <a:pt x="62" y="72"/>
                    <a:pt x="62" y="73"/>
                  </a:cubicBezTo>
                  <a:cubicBezTo>
                    <a:pt x="63" y="73"/>
                    <a:pt x="63" y="73"/>
                    <a:pt x="64" y="73"/>
                  </a:cubicBezTo>
                  <a:cubicBezTo>
                    <a:pt x="64" y="73"/>
                    <a:pt x="64" y="73"/>
                    <a:pt x="64" y="73"/>
                  </a:cubicBezTo>
                  <a:cubicBezTo>
                    <a:pt x="65" y="73"/>
                    <a:pt x="66" y="74"/>
                    <a:pt x="67" y="74"/>
                  </a:cubicBezTo>
                  <a:cubicBezTo>
                    <a:pt x="67" y="75"/>
                    <a:pt x="68" y="76"/>
                    <a:pt x="68" y="76"/>
                  </a:cubicBezTo>
                  <a:cubicBezTo>
                    <a:pt x="69" y="77"/>
                    <a:pt x="69" y="77"/>
                    <a:pt x="69" y="77"/>
                  </a:cubicBezTo>
                  <a:cubicBezTo>
                    <a:pt x="69" y="77"/>
                    <a:pt x="69" y="77"/>
                    <a:pt x="69" y="77"/>
                  </a:cubicBezTo>
                  <a:cubicBezTo>
                    <a:pt x="71" y="77"/>
                    <a:pt x="72" y="79"/>
                    <a:pt x="72" y="80"/>
                  </a:cubicBezTo>
                  <a:cubicBezTo>
                    <a:pt x="73" y="80"/>
                    <a:pt x="73" y="80"/>
                    <a:pt x="73" y="80"/>
                  </a:cubicBezTo>
                  <a:cubicBezTo>
                    <a:pt x="73" y="81"/>
                    <a:pt x="73" y="81"/>
                    <a:pt x="73" y="81"/>
                  </a:cubicBezTo>
                  <a:cubicBezTo>
                    <a:pt x="73" y="81"/>
                    <a:pt x="73" y="81"/>
                    <a:pt x="73" y="81"/>
                  </a:cubicBezTo>
                  <a:cubicBezTo>
                    <a:pt x="76" y="82"/>
                    <a:pt x="76" y="82"/>
                    <a:pt x="76" y="82"/>
                  </a:cubicBezTo>
                  <a:cubicBezTo>
                    <a:pt x="76" y="85"/>
                    <a:pt x="76" y="85"/>
                    <a:pt x="76" y="85"/>
                  </a:cubicBezTo>
                  <a:cubicBezTo>
                    <a:pt x="76" y="85"/>
                    <a:pt x="76" y="85"/>
                    <a:pt x="76" y="85"/>
                  </a:cubicBezTo>
                  <a:cubicBezTo>
                    <a:pt x="77" y="85"/>
                    <a:pt x="77" y="85"/>
                    <a:pt x="77" y="85"/>
                  </a:cubicBezTo>
                  <a:cubicBezTo>
                    <a:pt x="79" y="84"/>
                    <a:pt x="79" y="84"/>
                    <a:pt x="79" y="84"/>
                  </a:cubicBezTo>
                  <a:cubicBezTo>
                    <a:pt x="80" y="84"/>
                    <a:pt x="80" y="84"/>
                    <a:pt x="80" y="84"/>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5" name="Freeform 132"/>
            <p:cNvSpPr>
              <a:spLocks/>
            </p:cNvSpPr>
            <p:nvPr/>
          </p:nvSpPr>
          <p:spPr bwMode="auto">
            <a:xfrm>
              <a:off x="6136824" y="3569969"/>
              <a:ext cx="219510" cy="108928"/>
            </a:xfrm>
            <a:custGeom>
              <a:avLst/>
              <a:gdLst>
                <a:gd name="T0" fmla="*/ 7 w 76"/>
                <a:gd name="T1" fmla="*/ 30 h 40"/>
                <a:gd name="T2" fmla="*/ 11 w 76"/>
                <a:gd name="T3" fmla="*/ 32 h 40"/>
                <a:gd name="T4" fmla="*/ 4 w 76"/>
                <a:gd name="T5" fmla="*/ 39 h 40"/>
                <a:gd name="T6" fmla="*/ 3 w 76"/>
                <a:gd name="T7" fmla="*/ 40 h 40"/>
                <a:gd name="T8" fmla="*/ 13 w 76"/>
                <a:gd name="T9" fmla="*/ 39 h 40"/>
                <a:gd name="T10" fmla="*/ 14 w 76"/>
                <a:gd name="T11" fmla="*/ 39 h 40"/>
                <a:gd name="T12" fmla="*/ 19 w 76"/>
                <a:gd name="T13" fmla="*/ 39 h 40"/>
                <a:gd name="T14" fmla="*/ 29 w 76"/>
                <a:gd name="T15" fmla="*/ 38 h 40"/>
                <a:gd name="T16" fmla="*/ 37 w 76"/>
                <a:gd name="T17" fmla="*/ 37 h 40"/>
                <a:gd name="T18" fmla="*/ 49 w 76"/>
                <a:gd name="T19" fmla="*/ 36 h 40"/>
                <a:gd name="T20" fmla="*/ 65 w 76"/>
                <a:gd name="T21" fmla="*/ 34 h 40"/>
                <a:gd name="T22" fmla="*/ 66 w 76"/>
                <a:gd name="T23" fmla="*/ 34 h 40"/>
                <a:gd name="T24" fmla="*/ 71 w 76"/>
                <a:gd name="T25" fmla="*/ 30 h 40"/>
                <a:gd name="T26" fmla="*/ 76 w 76"/>
                <a:gd name="T27" fmla="*/ 30 h 40"/>
                <a:gd name="T28" fmla="*/ 74 w 76"/>
                <a:gd name="T29" fmla="*/ 28 h 40"/>
                <a:gd name="T30" fmla="*/ 74 w 76"/>
                <a:gd name="T31" fmla="*/ 20 h 40"/>
                <a:gd name="T32" fmla="*/ 74 w 76"/>
                <a:gd name="T33" fmla="*/ 17 h 40"/>
                <a:gd name="T34" fmla="*/ 76 w 76"/>
                <a:gd name="T35" fmla="*/ 12 h 40"/>
                <a:gd name="T36" fmla="*/ 73 w 76"/>
                <a:gd name="T37" fmla="*/ 9 h 40"/>
                <a:gd name="T38" fmla="*/ 70 w 76"/>
                <a:gd name="T39" fmla="*/ 6 h 40"/>
                <a:gd name="T40" fmla="*/ 68 w 76"/>
                <a:gd name="T41" fmla="*/ 6 h 40"/>
                <a:gd name="T42" fmla="*/ 66 w 76"/>
                <a:gd name="T43" fmla="*/ 3 h 40"/>
                <a:gd name="T44" fmla="*/ 61 w 76"/>
                <a:gd name="T45" fmla="*/ 4 h 40"/>
                <a:gd name="T46" fmla="*/ 57 w 76"/>
                <a:gd name="T47" fmla="*/ 5 h 40"/>
                <a:gd name="T48" fmla="*/ 55 w 76"/>
                <a:gd name="T49" fmla="*/ 7 h 40"/>
                <a:gd name="T50" fmla="*/ 46 w 76"/>
                <a:gd name="T51" fmla="*/ 6 h 40"/>
                <a:gd name="T52" fmla="*/ 42 w 76"/>
                <a:gd name="T53" fmla="*/ 3 h 40"/>
                <a:gd name="T54" fmla="*/ 39 w 76"/>
                <a:gd name="T55" fmla="*/ 3 h 40"/>
                <a:gd name="T56" fmla="*/ 36 w 76"/>
                <a:gd name="T57" fmla="*/ 0 h 40"/>
                <a:gd name="T58" fmla="*/ 32 w 76"/>
                <a:gd name="T59" fmla="*/ 1 h 40"/>
                <a:gd name="T60" fmla="*/ 31 w 76"/>
                <a:gd name="T61" fmla="*/ 6 h 40"/>
                <a:gd name="T62" fmla="*/ 21 w 76"/>
                <a:gd name="T63" fmla="*/ 19 h 40"/>
                <a:gd name="T64" fmla="*/ 8 w 76"/>
                <a:gd name="T65" fmla="*/ 17 h 40"/>
                <a:gd name="T66" fmla="*/ 3 w 76"/>
                <a:gd name="T67" fmla="*/ 28 h 40"/>
                <a:gd name="T68" fmla="*/ 7 w 76"/>
                <a:gd name="T69"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6" h="40">
                  <a:moveTo>
                    <a:pt x="7" y="30"/>
                  </a:moveTo>
                  <a:cubicBezTo>
                    <a:pt x="11" y="32"/>
                    <a:pt x="11" y="32"/>
                    <a:pt x="11" y="32"/>
                  </a:cubicBezTo>
                  <a:cubicBezTo>
                    <a:pt x="14" y="31"/>
                    <a:pt x="4" y="39"/>
                    <a:pt x="4" y="39"/>
                  </a:cubicBezTo>
                  <a:cubicBezTo>
                    <a:pt x="4" y="39"/>
                    <a:pt x="4" y="40"/>
                    <a:pt x="3" y="40"/>
                  </a:cubicBezTo>
                  <a:cubicBezTo>
                    <a:pt x="4" y="40"/>
                    <a:pt x="7" y="40"/>
                    <a:pt x="13" y="39"/>
                  </a:cubicBezTo>
                  <a:cubicBezTo>
                    <a:pt x="14" y="39"/>
                    <a:pt x="14" y="39"/>
                    <a:pt x="14" y="39"/>
                  </a:cubicBezTo>
                  <a:cubicBezTo>
                    <a:pt x="15" y="39"/>
                    <a:pt x="18" y="39"/>
                    <a:pt x="19" y="39"/>
                  </a:cubicBezTo>
                  <a:cubicBezTo>
                    <a:pt x="21" y="39"/>
                    <a:pt x="28" y="38"/>
                    <a:pt x="29" y="38"/>
                  </a:cubicBezTo>
                  <a:cubicBezTo>
                    <a:pt x="37" y="37"/>
                    <a:pt x="37" y="37"/>
                    <a:pt x="37" y="37"/>
                  </a:cubicBezTo>
                  <a:cubicBezTo>
                    <a:pt x="38" y="37"/>
                    <a:pt x="48" y="36"/>
                    <a:pt x="49" y="36"/>
                  </a:cubicBezTo>
                  <a:cubicBezTo>
                    <a:pt x="50" y="36"/>
                    <a:pt x="53" y="36"/>
                    <a:pt x="65" y="34"/>
                  </a:cubicBezTo>
                  <a:cubicBezTo>
                    <a:pt x="66" y="34"/>
                    <a:pt x="66" y="34"/>
                    <a:pt x="66" y="34"/>
                  </a:cubicBezTo>
                  <a:cubicBezTo>
                    <a:pt x="71" y="30"/>
                    <a:pt x="71" y="30"/>
                    <a:pt x="71" y="30"/>
                  </a:cubicBezTo>
                  <a:cubicBezTo>
                    <a:pt x="76" y="30"/>
                    <a:pt x="76" y="30"/>
                    <a:pt x="76" y="30"/>
                  </a:cubicBezTo>
                  <a:cubicBezTo>
                    <a:pt x="74" y="28"/>
                    <a:pt x="74" y="28"/>
                    <a:pt x="74" y="28"/>
                  </a:cubicBezTo>
                  <a:cubicBezTo>
                    <a:pt x="74" y="20"/>
                    <a:pt x="74" y="20"/>
                    <a:pt x="74" y="20"/>
                  </a:cubicBezTo>
                  <a:cubicBezTo>
                    <a:pt x="74" y="17"/>
                    <a:pt x="74" y="17"/>
                    <a:pt x="74" y="17"/>
                  </a:cubicBezTo>
                  <a:cubicBezTo>
                    <a:pt x="76" y="12"/>
                    <a:pt x="76" y="12"/>
                    <a:pt x="76" y="12"/>
                  </a:cubicBezTo>
                  <a:cubicBezTo>
                    <a:pt x="76" y="12"/>
                    <a:pt x="74" y="11"/>
                    <a:pt x="73" y="9"/>
                  </a:cubicBezTo>
                  <a:cubicBezTo>
                    <a:pt x="72" y="8"/>
                    <a:pt x="70" y="6"/>
                    <a:pt x="70" y="6"/>
                  </a:cubicBezTo>
                  <a:cubicBezTo>
                    <a:pt x="68" y="6"/>
                    <a:pt x="68" y="6"/>
                    <a:pt x="68" y="6"/>
                  </a:cubicBezTo>
                  <a:cubicBezTo>
                    <a:pt x="66" y="3"/>
                    <a:pt x="66" y="3"/>
                    <a:pt x="66" y="3"/>
                  </a:cubicBezTo>
                  <a:cubicBezTo>
                    <a:pt x="61" y="4"/>
                    <a:pt x="61" y="4"/>
                    <a:pt x="61" y="4"/>
                  </a:cubicBezTo>
                  <a:cubicBezTo>
                    <a:pt x="57" y="5"/>
                    <a:pt x="57" y="5"/>
                    <a:pt x="57" y="5"/>
                  </a:cubicBezTo>
                  <a:cubicBezTo>
                    <a:pt x="55" y="7"/>
                    <a:pt x="55" y="7"/>
                    <a:pt x="55" y="7"/>
                  </a:cubicBezTo>
                  <a:cubicBezTo>
                    <a:pt x="46" y="6"/>
                    <a:pt x="46" y="6"/>
                    <a:pt x="46" y="6"/>
                  </a:cubicBezTo>
                  <a:cubicBezTo>
                    <a:pt x="42" y="3"/>
                    <a:pt x="42" y="3"/>
                    <a:pt x="42" y="3"/>
                  </a:cubicBezTo>
                  <a:cubicBezTo>
                    <a:pt x="39" y="3"/>
                    <a:pt x="39" y="3"/>
                    <a:pt x="39" y="3"/>
                  </a:cubicBezTo>
                  <a:cubicBezTo>
                    <a:pt x="36" y="0"/>
                    <a:pt x="36" y="0"/>
                    <a:pt x="36" y="0"/>
                  </a:cubicBezTo>
                  <a:cubicBezTo>
                    <a:pt x="35" y="2"/>
                    <a:pt x="33" y="0"/>
                    <a:pt x="32" y="1"/>
                  </a:cubicBezTo>
                  <a:cubicBezTo>
                    <a:pt x="31" y="1"/>
                    <a:pt x="31" y="4"/>
                    <a:pt x="31" y="6"/>
                  </a:cubicBezTo>
                  <a:cubicBezTo>
                    <a:pt x="32" y="15"/>
                    <a:pt x="34" y="20"/>
                    <a:pt x="21" y="19"/>
                  </a:cubicBezTo>
                  <a:cubicBezTo>
                    <a:pt x="16" y="19"/>
                    <a:pt x="10" y="18"/>
                    <a:pt x="8" y="17"/>
                  </a:cubicBezTo>
                  <a:cubicBezTo>
                    <a:pt x="4" y="17"/>
                    <a:pt x="0" y="21"/>
                    <a:pt x="3" y="28"/>
                  </a:cubicBezTo>
                  <a:lnTo>
                    <a:pt x="7" y="30"/>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6" name="Freeform 133"/>
            <p:cNvSpPr>
              <a:spLocks/>
            </p:cNvSpPr>
            <p:nvPr/>
          </p:nvSpPr>
          <p:spPr bwMode="auto">
            <a:xfrm>
              <a:off x="6021292" y="4250769"/>
              <a:ext cx="446241" cy="231472"/>
            </a:xfrm>
            <a:custGeom>
              <a:avLst/>
              <a:gdLst>
                <a:gd name="T0" fmla="*/ 152 w 154"/>
                <a:gd name="T1" fmla="*/ 9 h 85"/>
                <a:gd name="T2" fmla="*/ 147 w 154"/>
                <a:gd name="T3" fmla="*/ 9 h 85"/>
                <a:gd name="T4" fmla="*/ 137 w 154"/>
                <a:gd name="T5" fmla="*/ 6 h 85"/>
                <a:gd name="T6" fmla="*/ 136 w 154"/>
                <a:gd name="T7" fmla="*/ 3 h 85"/>
                <a:gd name="T8" fmla="*/ 135 w 154"/>
                <a:gd name="T9" fmla="*/ 3 h 85"/>
                <a:gd name="T10" fmla="*/ 133 w 154"/>
                <a:gd name="T11" fmla="*/ 1 h 85"/>
                <a:gd name="T12" fmla="*/ 127 w 154"/>
                <a:gd name="T13" fmla="*/ 0 h 85"/>
                <a:gd name="T14" fmla="*/ 123 w 154"/>
                <a:gd name="T15" fmla="*/ 0 h 85"/>
                <a:gd name="T16" fmla="*/ 118 w 154"/>
                <a:gd name="T17" fmla="*/ 1 h 85"/>
                <a:gd name="T18" fmla="*/ 116 w 154"/>
                <a:gd name="T19" fmla="*/ 3 h 85"/>
                <a:gd name="T20" fmla="*/ 110 w 154"/>
                <a:gd name="T21" fmla="*/ 7 h 85"/>
                <a:gd name="T22" fmla="*/ 107 w 154"/>
                <a:gd name="T23" fmla="*/ 9 h 85"/>
                <a:gd name="T24" fmla="*/ 103 w 154"/>
                <a:gd name="T25" fmla="*/ 8 h 85"/>
                <a:gd name="T26" fmla="*/ 99 w 154"/>
                <a:gd name="T27" fmla="*/ 6 h 85"/>
                <a:gd name="T28" fmla="*/ 97 w 154"/>
                <a:gd name="T29" fmla="*/ 7 h 85"/>
                <a:gd name="T30" fmla="*/ 92 w 154"/>
                <a:gd name="T31" fmla="*/ 8 h 85"/>
                <a:gd name="T32" fmla="*/ 89 w 154"/>
                <a:gd name="T33" fmla="*/ 11 h 85"/>
                <a:gd name="T34" fmla="*/ 85 w 154"/>
                <a:gd name="T35" fmla="*/ 18 h 85"/>
                <a:gd name="T36" fmla="*/ 83 w 154"/>
                <a:gd name="T37" fmla="*/ 18 h 85"/>
                <a:gd name="T38" fmla="*/ 76 w 154"/>
                <a:gd name="T39" fmla="*/ 19 h 85"/>
                <a:gd name="T40" fmla="*/ 74 w 154"/>
                <a:gd name="T41" fmla="*/ 14 h 85"/>
                <a:gd name="T42" fmla="*/ 72 w 154"/>
                <a:gd name="T43" fmla="*/ 11 h 85"/>
                <a:gd name="T44" fmla="*/ 62 w 154"/>
                <a:gd name="T45" fmla="*/ 6 h 85"/>
                <a:gd name="T46" fmla="*/ 61 w 154"/>
                <a:gd name="T47" fmla="*/ 11 h 85"/>
                <a:gd name="T48" fmla="*/ 56 w 154"/>
                <a:gd name="T49" fmla="*/ 13 h 85"/>
                <a:gd name="T50" fmla="*/ 49 w 154"/>
                <a:gd name="T51" fmla="*/ 10 h 85"/>
                <a:gd name="T52" fmla="*/ 43 w 154"/>
                <a:gd name="T53" fmla="*/ 11 h 85"/>
                <a:gd name="T54" fmla="*/ 38 w 154"/>
                <a:gd name="T55" fmla="*/ 16 h 85"/>
                <a:gd name="T56" fmla="*/ 32 w 154"/>
                <a:gd name="T57" fmla="*/ 25 h 85"/>
                <a:gd name="T58" fmla="*/ 26 w 154"/>
                <a:gd name="T59" fmla="*/ 38 h 85"/>
                <a:gd name="T60" fmla="*/ 20 w 154"/>
                <a:gd name="T61" fmla="*/ 43 h 85"/>
                <a:gd name="T62" fmla="*/ 16 w 154"/>
                <a:gd name="T63" fmla="*/ 45 h 85"/>
                <a:gd name="T64" fmla="*/ 13 w 154"/>
                <a:gd name="T65" fmla="*/ 44 h 85"/>
                <a:gd name="T66" fmla="*/ 11 w 154"/>
                <a:gd name="T67" fmla="*/ 45 h 85"/>
                <a:gd name="T68" fmla="*/ 6 w 154"/>
                <a:gd name="T69" fmla="*/ 44 h 85"/>
                <a:gd name="T70" fmla="*/ 5 w 154"/>
                <a:gd name="T71" fmla="*/ 45 h 85"/>
                <a:gd name="T72" fmla="*/ 2 w 154"/>
                <a:gd name="T73" fmla="*/ 52 h 85"/>
                <a:gd name="T74" fmla="*/ 2 w 154"/>
                <a:gd name="T75" fmla="*/ 58 h 85"/>
                <a:gd name="T76" fmla="*/ 0 w 154"/>
                <a:gd name="T77" fmla="*/ 62 h 85"/>
                <a:gd name="T78" fmla="*/ 2 w 154"/>
                <a:gd name="T79" fmla="*/ 67 h 85"/>
                <a:gd name="T80" fmla="*/ 5 w 154"/>
                <a:gd name="T81" fmla="*/ 71 h 85"/>
                <a:gd name="T82" fmla="*/ 8 w 154"/>
                <a:gd name="T83" fmla="*/ 80 h 85"/>
                <a:gd name="T84" fmla="*/ 15 w 154"/>
                <a:gd name="T85" fmla="*/ 76 h 85"/>
                <a:gd name="T86" fmla="*/ 28 w 154"/>
                <a:gd name="T87" fmla="*/ 85 h 85"/>
                <a:gd name="T88" fmla="*/ 61 w 154"/>
                <a:gd name="T89" fmla="*/ 78 h 85"/>
                <a:gd name="T90" fmla="*/ 67 w 154"/>
                <a:gd name="T91" fmla="*/ 66 h 85"/>
                <a:gd name="T92" fmla="*/ 83 w 154"/>
                <a:gd name="T93" fmla="*/ 59 h 85"/>
                <a:gd name="T94" fmla="*/ 95 w 154"/>
                <a:gd name="T95" fmla="*/ 55 h 85"/>
                <a:gd name="T96" fmla="*/ 104 w 154"/>
                <a:gd name="T97" fmla="*/ 41 h 85"/>
                <a:gd name="T98" fmla="*/ 129 w 154"/>
                <a:gd name="T99" fmla="*/ 36 h 85"/>
                <a:gd name="T100" fmla="*/ 148 w 154"/>
                <a:gd name="T101" fmla="*/ 42 h 85"/>
                <a:gd name="T102" fmla="*/ 149 w 154"/>
                <a:gd name="T103" fmla="*/ 36 h 85"/>
                <a:gd name="T104" fmla="*/ 148 w 154"/>
                <a:gd name="T105" fmla="*/ 30 h 85"/>
                <a:gd name="T106" fmla="*/ 151 w 154"/>
                <a:gd name="T107" fmla="*/ 25 h 85"/>
                <a:gd name="T108" fmla="*/ 152 w 154"/>
                <a:gd name="T109" fmla="*/ 20 h 85"/>
                <a:gd name="T110" fmla="*/ 153 w 154"/>
                <a:gd name="T111" fmla="*/ 1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4" h="85">
                  <a:moveTo>
                    <a:pt x="154" y="11"/>
                  </a:moveTo>
                  <a:cubicBezTo>
                    <a:pt x="153" y="11"/>
                    <a:pt x="153" y="11"/>
                    <a:pt x="153" y="11"/>
                  </a:cubicBezTo>
                  <a:cubicBezTo>
                    <a:pt x="152" y="9"/>
                    <a:pt x="152" y="9"/>
                    <a:pt x="152" y="9"/>
                  </a:cubicBezTo>
                  <a:cubicBezTo>
                    <a:pt x="152" y="9"/>
                    <a:pt x="152" y="9"/>
                    <a:pt x="152" y="9"/>
                  </a:cubicBezTo>
                  <a:cubicBezTo>
                    <a:pt x="152" y="9"/>
                    <a:pt x="151" y="9"/>
                    <a:pt x="151" y="10"/>
                  </a:cubicBezTo>
                  <a:cubicBezTo>
                    <a:pt x="151" y="10"/>
                    <a:pt x="151" y="10"/>
                    <a:pt x="151" y="10"/>
                  </a:cubicBezTo>
                  <a:cubicBezTo>
                    <a:pt x="150" y="10"/>
                    <a:pt x="149" y="9"/>
                    <a:pt x="148" y="8"/>
                  </a:cubicBezTo>
                  <a:cubicBezTo>
                    <a:pt x="147" y="9"/>
                    <a:pt x="147" y="9"/>
                    <a:pt x="147" y="9"/>
                  </a:cubicBezTo>
                  <a:cubicBezTo>
                    <a:pt x="144" y="8"/>
                    <a:pt x="144" y="8"/>
                    <a:pt x="144" y="8"/>
                  </a:cubicBezTo>
                  <a:cubicBezTo>
                    <a:pt x="144" y="8"/>
                    <a:pt x="143" y="8"/>
                    <a:pt x="143" y="8"/>
                  </a:cubicBezTo>
                  <a:cubicBezTo>
                    <a:pt x="143" y="7"/>
                    <a:pt x="142" y="7"/>
                    <a:pt x="141" y="7"/>
                  </a:cubicBezTo>
                  <a:cubicBezTo>
                    <a:pt x="138" y="7"/>
                    <a:pt x="138" y="7"/>
                    <a:pt x="137" y="6"/>
                  </a:cubicBezTo>
                  <a:cubicBezTo>
                    <a:pt x="137" y="6"/>
                    <a:pt x="136" y="5"/>
                    <a:pt x="136" y="4"/>
                  </a:cubicBezTo>
                  <a:cubicBezTo>
                    <a:pt x="136" y="3"/>
                    <a:pt x="136" y="3"/>
                    <a:pt x="136" y="3"/>
                  </a:cubicBezTo>
                  <a:cubicBezTo>
                    <a:pt x="136" y="3"/>
                    <a:pt x="136" y="3"/>
                    <a:pt x="136" y="3"/>
                  </a:cubicBezTo>
                  <a:cubicBezTo>
                    <a:pt x="136" y="3"/>
                    <a:pt x="136" y="3"/>
                    <a:pt x="136" y="3"/>
                  </a:cubicBezTo>
                  <a:cubicBezTo>
                    <a:pt x="136" y="3"/>
                    <a:pt x="136" y="3"/>
                    <a:pt x="136" y="3"/>
                  </a:cubicBezTo>
                  <a:cubicBezTo>
                    <a:pt x="136" y="3"/>
                    <a:pt x="136" y="3"/>
                    <a:pt x="136" y="3"/>
                  </a:cubicBezTo>
                  <a:cubicBezTo>
                    <a:pt x="137" y="2"/>
                    <a:pt x="137" y="2"/>
                    <a:pt x="137" y="2"/>
                  </a:cubicBezTo>
                  <a:cubicBezTo>
                    <a:pt x="135" y="3"/>
                    <a:pt x="135" y="3"/>
                    <a:pt x="135" y="3"/>
                  </a:cubicBezTo>
                  <a:cubicBezTo>
                    <a:pt x="135" y="2"/>
                    <a:pt x="135" y="2"/>
                    <a:pt x="135" y="2"/>
                  </a:cubicBezTo>
                  <a:cubicBezTo>
                    <a:pt x="135" y="2"/>
                    <a:pt x="135" y="2"/>
                    <a:pt x="135" y="2"/>
                  </a:cubicBezTo>
                  <a:cubicBezTo>
                    <a:pt x="134" y="2"/>
                    <a:pt x="133" y="2"/>
                    <a:pt x="133" y="1"/>
                  </a:cubicBezTo>
                  <a:cubicBezTo>
                    <a:pt x="133" y="1"/>
                    <a:pt x="133" y="1"/>
                    <a:pt x="133" y="1"/>
                  </a:cubicBezTo>
                  <a:cubicBezTo>
                    <a:pt x="132" y="1"/>
                    <a:pt x="132" y="1"/>
                    <a:pt x="132" y="1"/>
                  </a:cubicBezTo>
                  <a:cubicBezTo>
                    <a:pt x="132" y="2"/>
                    <a:pt x="131" y="2"/>
                    <a:pt x="130" y="2"/>
                  </a:cubicBezTo>
                  <a:cubicBezTo>
                    <a:pt x="130" y="2"/>
                    <a:pt x="129" y="2"/>
                    <a:pt x="128" y="1"/>
                  </a:cubicBezTo>
                  <a:cubicBezTo>
                    <a:pt x="128" y="1"/>
                    <a:pt x="127" y="0"/>
                    <a:pt x="127" y="0"/>
                  </a:cubicBezTo>
                  <a:cubicBezTo>
                    <a:pt x="127" y="0"/>
                    <a:pt x="127" y="0"/>
                    <a:pt x="127" y="0"/>
                  </a:cubicBezTo>
                  <a:cubicBezTo>
                    <a:pt x="127" y="0"/>
                    <a:pt x="127" y="0"/>
                    <a:pt x="127" y="0"/>
                  </a:cubicBezTo>
                  <a:cubicBezTo>
                    <a:pt x="126" y="0"/>
                    <a:pt x="126" y="0"/>
                    <a:pt x="125" y="0"/>
                  </a:cubicBezTo>
                  <a:cubicBezTo>
                    <a:pt x="125" y="0"/>
                    <a:pt x="124" y="0"/>
                    <a:pt x="123" y="0"/>
                  </a:cubicBezTo>
                  <a:cubicBezTo>
                    <a:pt x="123" y="1"/>
                    <a:pt x="122" y="2"/>
                    <a:pt x="121" y="2"/>
                  </a:cubicBezTo>
                  <a:cubicBezTo>
                    <a:pt x="121" y="2"/>
                    <a:pt x="120" y="1"/>
                    <a:pt x="120" y="1"/>
                  </a:cubicBezTo>
                  <a:cubicBezTo>
                    <a:pt x="119" y="1"/>
                    <a:pt x="119" y="1"/>
                    <a:pt x="119" y="1"/>
                  </a:cubicBezTo>
                  <a:cubicBezTo>
                    <a:pt x="118" y="1"/>
                    <a:pt x="118" y="1"/>
                    <a:pt x="118" y="1"/>
                  </a:cubicBezTo>
                  <a:cubicBezTo>
                    <a:pt x="118" y="1"/>
                    <a:pt x="118" y="1"/>
                    <a:pt x="118" y="1"/>
                  </a:cubicBezTo>
                  <a:cubicBezTo>
                    <a:pt x="118" y="1"/>
                    <a:pt x="118" y="1"/>
                    <a:pt x="118" y="1"/>
                  </a:cubicBezTo>
                  <a:cubicBezTo>
                    <a:pt x="117" y="1"/>
                    <a:pt x="117" y="1"/>
                    <a:pt x="117" y="1"/>
                  </a:cubicBezTo>
                  <a:cubicBezTo>
                    <a:pt x="116" y="3"/>
                    <a:pt x="116" y="3"/>
                    <a:pt x="116" y="3"/>
                  </a:cubicBezTo>
                  <a:cubicBezTo>
                    <a:pt x="114" y="3"/>
                    <a:pt x="114" y="3"/>
                    <a:pt x="114" y="3"/>
                  </a:cubicBezTo>
                  <a:cubicBezTo>
                    <a:pt x="114" y="3"/>
                    <a:pt x="114" y="3"/>
                    <a:pt x="114" y="3"/>
                  </a:cubicBezTo>
                  <a:cubicBezTo>
                    <a:pt x="113" y="5"/>
                    <a:pt x="112" y="5"/>
                    <a:pt x="111" y="6"/>
                  </a:cubicBezTo>
                  <a:cubicBezTo>
                    <a:pt x="111" y="6"/>
                    <a:pt x="110" y="6"/>
                    <a:pt x="110" y="7"/>
                  </a:cubicBezTo>
                  <a:cubicBezTo>
                    <a:pt x="110" y="7"/>
                    <a:pt x="110" y="8"/>
                    <a:pt x="110" y="8"/>
                  </a:cubicBezTo>
                  <a:cubicBezTo>
                    <a:pt x="109" y="9"/>
                    <a:pt x="109" y="9"/>
                    <a:pt x="109" y="9"/>
                  </a:cubicBezTo>
                  <a:cubicBezTo>
                    <a:pt x="109" y="9"/>
                    <a:pt x="109" y="9"/>
                    <a:pt x="109" y="9"/>
                  </a:cubicBezTo>
                  <a:cubicBezTo>
                    <a:pt x="108" y="9"/>
                    <a:pt x="108" y="9"/>
                    <a:pt x="107" y="9"/>
                  </a:cubicBezTo>
                  <a:cubicBezTo>
                    <a:pt x="107" y="9"/>
                    <a:pt x="106" y="9"/>
                    <a:pt x="106" y="9"/>
                  </a:cubicBezTo>
                  <a:cubicBezTo>
                    <a:pt x="106" y="9"/>
                    <a:pt x="106" y="9"/>
                    <a:pt x="106" y="9"/>
                  </a:cubicBezTo>
                  <a:cubicBezTo>
                    <a:pt x="106" y="9"/>
                    <a:pt x="105" y="9"/>
                    <a:pt x="104" y="8"/>
                  </a:cubicBezTo>
                  <a:cubicBezTo>
                    <a:pt x="103" y="8"/>
                    <a:pt x="103" y="8"/>
                    <a:pt x="103" y="8"/>
                  </a:cubicBezTo>
                  <a:cubicBezTo>
                    <a:pt x="102" y="8"/>
                    <a:pt x="102" y="8"/>
                    <a:pt x="102" y="8"/>
                  </a:cubicBezTo>
                  <a:cubicBezTo>
                    <a:pt x="102" y="7"/>
                    <a:pt x="102" y="7"/>
                    <a:pt x="101" y="6"/>
                  </a:cubicBezTo>
                  <a:cubicBezTo>
                    <a:pt x="101" y="6"/>
                    <a:pt x="100" y="6"/>
                    <a:pt x="100" y="6"/>
                  </a:cubicBezTo>
                  <a:cubicBezTo>
                    <a:pt x="100" y="6"/>
                    <a:pt x="99" y="6"/>
                    <a:pt x="99" y="6"/>
                  </a:cubicBezTo>
                  <a:cubicBezTo>
                    <a:pt x="99" y="6"/>
                    <a:pt x="99" y="6"/>
                    <a:pt x="99" y="6"/>
                  </a:cubicBezTo>
                  <a:cubicBezTo>
                    <a:pt x="98" y="6"/>
                    <a:pt x="98" y="6"/>
                    <a:pt x="98" y="7"/>
                  </a:cubicBezTo>
                  <a:cubicBezTo>
                    <a:pt x="97" y="7"/>
                    <a:pt x="97" y="7"/>
                    <a:pt x="97" y="7"/>
                  </a:cubicBezTo>
                  <a:cubicBezTo>
                    <a:pt x="97" y="7"/>
                    <a:pt x="97" y="7"/>
                    <a:pt x="97" y="7"/>
                  </a:cubicBezTo>
                  <a:cubicBezTo>
                    <a:pt x="97" y="7"/>
                    <a:pt x="97" y="7"/>
                    <a:pt x="97" y="7"/>
                  </a:cubicBezTo>
                  <a:cubicBezTo>
                    <a:pt x="96" y="7"/>
                    <a:pt x="96" y="7"/>
                    <a:pt x="96" y="7"/>
                  </a:cubicBezTo>
                  <a:cubicBezTo>
                    <a:pt x="95" y="7"/>
                    <a:pt x="95" y="7"/>
                    <a:pt x="94" y="7"/>
                  </a:cubicBezTo>
                  <a:cubicBezTo>
                    <a:pt x="94" y="8"/>
                    <a:pt x="93" y="8"/>
                    <a:pt x="92" y="8"/>
                  </a:cubicBezTo>
                  <a:cubicBezTo>
                    <a:pt x="92" y="8"/>
                    <a:pt x="92" y="8"/>
                    <a:pt x="92" y="8"/>
                  </a:cubicBezTo>
                  <a:cubicBezTo>
                    <a:pt x="91" y="9"/>
                    <a:pt x="91" y="9"/>
                    <a:pt x="90" y="10"/>
                  </a:cubicBezTo>
                  <a:cubicBezTo>
                    <a:pt x="90" y="10"/>
                    <a:pt x="89" y="10"/>
                    <a:pt x="89" y="10"/>
                  </a:cubicBezTo>
                  <a:cubicBezTo>
                    <a:pt x="89" y="10"/>
                    <a:pt x="89" y="11"/>
                    <a:pt x="89" y="11"/>
                  </a:cubicBezTo>
                  <a:cubicBezTo>
                    <a:pt x="88" y="11"/>
                    <a:pt x="88" y="11"/>
                    <a:pt x="87" y="12"/>
                  </a:cubicBezTo>
                  <a:cubicBezTo>
                    <a:pt x="87" y="12"/>
                    <a:pt x="87" y="13"/>
                    <a:pt x="87" y="13"/>
                  </a:cubicBezTo>
                  <a:cubicBezTo>
                    <a:pt x="87" y="14"/>
                    <a:pt x="87" y="14"/>
                    <a:pt x="87" y="14"/>
                  </a:cubicBezTo>
                  <a:cubicBezTo>
                    <a:pt x="87" y="16"/>
                    <a:pt x="86" y="17"/>
                    <a:pt x="85" y="18"/>
                  </a:cubicBezTo>
                  <a:cubicBezTo>
                    <a:pt x="85" y="18"/>
                    <a:pt x="85" y="18"/>
                    <a:pt x="85" y="18"/>
                  </a:cubicBezTo>
                  <a:cubicBezTo>
                    <a:pt x="85" y="18"/>
                    <a:pt x="85" y="18"/>
                    <a:pt x="85" y="18"/>
                  </a:cubicBezTo>
                  <a:cubicBezTo>
                    <a:pt x="84" y="18"/>
                    <a:pt x="84" y="18"/>
                    <a:pt x="84" y="18"/>
                  </a:cubicBezTo>
                  <a:cubicBezTo>
                    <a:pt x="83" y="18"/>
                    <a:pt x="83" y="18"/>
                    <a:pt x="83" y="18"/>
                  </a:cubicBezTo>
                  <a:cubicBezTo>
                    <a:pt x="82" y="17"/>
                    <a:pt x="82" y="17"/>
                    <a:pt x="81" y="17"/>
                  </a:cubicBezTo>
                  <a:cubicBezTo>
                    <a:pt x="81" y="18"/>
                    <a:pt x="80" y="18"/>
                    <a:pt x="78" y="19"/>
                  </a:cubicBezTo>
                  <a:cubicBezTo>
                    <a:pt x="77" y="19"/>
                    <a:pt x="77" y="19"/>
                    <a:pt x="77" y="19"/>
                  </a:cubicBezTo>
                  <a:cubicBezTo>
                    <a:pt x="76" y="19"/>
                    <a:pt x="76" y="19"/>
                    <a:pt x="76" y="19"/>
                  </a:cubicBezTo>
                  <a:cubicBezTo>
                    <a:pt x="76" y="19"/>
                    <a:pt x="76" y="19"/>
                    <a:pt x="76" y="19"/>
                  </a:cubicBezTo>
                  <a:cubicBezTo>
                    <a:pt x="76" y="19"/>
                    <a:pt x="76" y="19"/>
                    <a:pt x="76" y="19"/>
                  </a:cubicBezTo>
                  <a:cubicBezTo>
                    <a:pt x="73" y="18"/>
                    <a:pt x="73" y="18"/>
                    <a:pt x="73" y="18"/>
                  </a:cubicBezTo>
                  <a:cubicBezTo>
                    <a:pt x="74" y="14"/>
                    <a:pt x="74" y="14"/>
                    <a:pt x="74" y="14"/>
                  </a:cubicBezTo>
                  <a:cubicBezTo>
                    <a:pt x="74" y="13"/>
                    <a:pt x="74" y="13"/>
                    <a:pt x="74" y="13"/>
                  </a:cubicBezTo>
                  <a:cubicBezTo>
                    <a:pt x="74" y="12"/>
                    <a:pt x="74" y="12"/>
                    <a:pt x="74" y="12"/>
                  </a:cubicBezTo>
                  <a:cubicBezTo>
                    <a:pt x="73" y="11"/>
                    <a:pt x="73" y="11"/>
                    <a:pt x="73" y="11"/>
                  </a:cubicBezTo>
                  <a:cubicBezTo>
                    <a:pt x="72" y="11"/>
                    <a:pt x="72" y="11"/>
                    <a:pt x="72" y="11"/>
                  </a:cubicBezTo>
                  <a:cubicBezTo>
                    <a:pt x="66" y="7"/>
                    <a:pt x="66" y="7"/>
                    <a:pt x="66" y="7"/>
                  </a:cubicBezTo>
                  <a:cubicBezTo>
                    <a:pt x="64" y="3"/>
                    <a:pt x="64" y="3"/>
                    <a:pt x="64" y="3"/>
                  </a:cubicBezTo>
                  <a:cubicBezTo>
                    <a:pt x="64" y="4"/>
                    <a:pt x="64" y="4"/>
                    <a:pt x="64" y="4"/>
                  </a:cubicBezTo>
                  <a:cubicBezTo>
                    <a:pt x="64" y="5"/>
                    <a:pt x="63" y="6"/>
                    <a:pt x="62" y="6"/>
                  </a:cubicBezTo>
                  <a:cubicBezTo>
                    <a:pt x="61" y="7"/>
                    <a:pt x="61" y="7"/>
                    <a:pt x="61" y="7"/>
                  </a:cubicBezTo>
                  <a:cubicBezTo>
                    <a:pt x="61" y="7"/>
                    <a:pt x="61" y="8"/>
                    <a:pt x="61" y="8"/>
                  </a:cubicBezTo>
                  <a:cubicBezTo>
                    <a:pt x="61" y="9"/>
                    <a:pt x="61" y="10"/>
                    <a:pt x="61" y="10"/>
                  </a:cubicBezTo>
                  <a:cubicBezTo>
                    <a:pt x="61" y="11"/>
                    <a:pt x="61" y="11"/>
                    <a:pt x="61" y="11"/>
                  </a:cubicBezTo>
                  <a:cubicBezTo>
                    <a:pt x="61" y="12"/>
                    <a:pt x="61" y="12"/>
                    <a:pt x="61" y="12"/>
                  </a:cubicBezTo>
                  <a:cubicBezTo>
                    <a:pt x="60" y="12"/>
                    <a:pt x="60" y="13"/>
                    <a:pt x="59" y="13"/>
                  </a:cubicBezTo>
                  <a:cubicBezTo>
                    <a:pt x="58" y="13"/>
                    <a:pt x="58" y="13"/>
                    <a:pt x="57" y="12"/>
                  </a:cubicBezTo>
                  <a:cubicBezTo>
                    <a:pt x="57" y="12"/>
                    <a:pt x="57" y="12"/>
                    <a:pt x="56" y="13"/>
                  </a:cubicBezTo>
                  <a:cubicBezTo>
                    <a:pt x="55" y="14"/>
                    <a:pt x="53" y="14"/>
                    <a:pt x="52" y="14"/>
                  </a:cubicBezTo>
                  <a:cubicBezTo>
                    <a:pt x="51" y="14"/>
                    <a:pt x="51" y="14"/>
                    <a:pt x="51" y="14"/>
                  </a:cubicBezTo>
                  <a:cubicBezTo>
                    <a:pt x="51" y="14"/>
                    <a:pt x="51" y="14"/>
                    <a:pt x="51" y="14"/>
                  </a:cubicBezTo>
                  <a:cubicBezTo>
                    <a:pt x="50" y="13"/>
                    <a:pt x="49" y="11"/>
                    <a:pt x="49" y="10"/>
                  </a:cubicBezTo>
                  <a:cubicBezTo>
                    <a:pt x="49" y="10"/>
                    <a:pt x="49" y="10"/>
                    <a:pt x="49" y="10"/>
                  </a:cubicBezTo>
                  <a:cubicBezTo>
                    <a:pt x="48" y="10"/>
                    <a:pt x="47" y="10"/>
                    <a:pt x="47" y="10"/>
                  </a:cubicBezTo>
                  <a:cubicBezTo>
                    <a:pt x="46" y="10"/>
                    <a:pt x="45" y="11"/>
                    <a:pt x="44" y="11"/>
                  </a:cubicBezTo>
                  <a:cubicBezTo>
                    <a:pt x="44" y="11"/>
                    <a:pt x="43" y="11"/>
                    <a:pt x="43" y="11"/>
                  </a:cubicBezTo>
                  <a:cubicBezTo>
                    <a:pt x="41" y="11"/>
                    <a:pt x="41" y="11"/>
                    <a:pt x="41" y="11"/>
                  </a:cubicBezTo>
                  <a:cubicBezTo>
                    <a:pt x="41" y="13"/>
                    <a:pt x="41" y="13"/>
                    <a:pt x="41" y="13"/>
                  </a:cubicBezTo>
                  <a:cubicBezTo>
                    <a:pt x="39" y="14"/>
                    <a:pt x="39" y="14"/>
                    <a:pt x="39" y="14"/>
                  </a:cubicBezTo>
                  <a:cubicBezTo>
                    <a:pt x="38" y="16"/>
                    <a:pt x="38" y="16"/>
                    <a:pt x="38" y="16"/>
                  </a:cubicBezTo>
                  <a:cubicBezTo>
                    <a:pt x="37" y="19"/>
                    <a:pt x="37" y="19"/>
                    <a:pt x="37" y="19"/>
                  </a:cubicBezTo>
                  <a:cubicBezTo>
                    <a:pt x="34" y="21"/>
                    <a:pt x="34" y="21"/>
                    <a:pt x="34" y="21"/>
                  </a:cubicBezTo>
                  <a:cubicBezTo>
                    <a:pt x="33" y="22"/>
                    <a:pt x="32" y="23"/>
                    <a:pt x="32" y="23"/>
                  </a:cubicBezTo>
                  <a:cubicBezTo>
                    <a:pt x="32" y="24"/>
                    <a:pt x="32" y="24"/>
                    <a:pt x="32" y="25"/>
                  </a:cubicBezTo>
                  <a:cubicBezTo>
                    <a:pt x="32" y="27"/>
                    <a:pt x="32" y="27"/>
                    <a:pt x="32" y="27"/>
                  </a:cubicBezTo>
                  <a:cubicBezTo>
                    <a:pt x="31" y="32"/>
                    <a:pt x="31" y="32"/>
                    <a:pt x="31" y="32"/>
                  </a:cubicBezTo>
                  <a:cubicBezTo>
                    <a:pt x="27" y="34"/>
                    <a:pt x="27" y="34"/>
                    <a:pt x="27" y="34"/>
                  </a:cubicBezTo>
                  <a:cubicBezTo>
                    <a:pt x="26" y="38"/>
                    <a:pt x="26" y="38"/>
                    <a:pt x="26" y="38"/>
                  </a:cubicBezTo>
                  <a:cubicBezTo>
                    <a:pt x="25" y="39"/>
                    <a:pt x="25" y="39"/>
                    <a:pt x="25" y="39"/>
                  </a:cubicBezTo>
                  <a:cubicBezTo>
                    <a:pt x="25" y="39"/>
                    <a:pt x="24" y="39"/>
                    <a:pt x="24" y="39"/>
                  </a:cubicBezTo>
                  <a:cubicBezTo>
                    <a:pt x="24" y="40"/>
                    <a:pt x="24" y="40"/>
                    <a:pt x="24" y="40"/>
                  </a:cubicBezTo>
                  <a:cubicBezTo>
                    <a:pt x="20" y="43"/>
                    <a:pt x="20" y="43"/>
                    <a:pt x="20" y="43"/>
                  </a:cubicBezTo>
                  <a:cubicBezTo>
                    <a:pt x="19" y="43"/>
                    <a:pt x="19" y="43"/>
                    <a:pt x="19" y="43"/>
                  </a:cubicBezTo>
                  <a:cubicBezTo>
                    <a:pt x="19" y="43"/>
                    <a:pt x="19" y="43"/>
                    <a:pt x="18" y="43"/>
                  </a:cubicBezTo>
                  <a:cubicBezTo>
                    <a:pt x="18" y="43"/>
                    <a:pt x="18" y="43"/>
                    <a:pt x="18" y="43"/>
                  </a:cubicBezTo>
                  <a:cubicBezTo>
                    <a:pt x="18" y="44"/>
                    <a:pt x="17" y="45"/>
                    <a:pt x="16" y="45"/>
                  </a:cubicBezTo>
                  <a:cubicBezTo>
                    <a:pt x="16" y="45"/>
                    <a:pt x="16" y="45"/>
                    <a:pt x="16" y="45"/>
                  </a:cubicBezTo>
                  <a:cubicBezTo>
                    <a:pt x="16" y="45"/>
                    <a:pt x="16" y="45"/>
                    <a:pt x="16" y="45"/>
                  </a:cubicBezTo>
                  <a:cubicBezTo>
                    <a:pt x="15" y="45"/>
                    <a:pt x="15" y="45"/>
                    <a:pt x="15" y="45"/>
                  </a:cubicBezTo>
                  <a:cubicBezTo>
                    <a:pt x="14" y="45"/>
                    <a:pt x="14" y="45"/>
                    <a:pt x="13" y="44"/>
                  </a:cubicBezTo>
                  <a:cubicBezTo>
                    <a:pt x="13" y="44"/>
                    <a:pt x="13" y="44"/>
                    <a:pt x="13" y="44"/>
                  </a:cubicBezTo>
                  <a:cubicBezTo>
                    <a:pt x="13" y="44"/>
                    <a:pt x="13" y="44"/>
                    <a:pt x="13" y="44"/>
                  </a:cubicBezTo>
                  <a:cubicBezTo>
                    <a:pt x="13" y="44"/>
                    <a:pt x="11" y="45"/>
                    <a:pt x="11" y="45"/>
                  </a:cubicBezTo>
                  <a:cubicBezTo>
                    <a:pt x="11" y="45"/>
                    <a:pt x="11" y="45"/>
                    <a:pt x="11" y="45"/>
                  </a:cubicBezTo>
                  <a:cubicBezTo>
                    <a:pt x="11" y="45"/>
                    <a:pt x="11" y="45"/>
                    <a:pt x="11" y="45"/>
                  </a:cubicBezTo>
                  <a:cubicBezTo>
                    <a:pt x="10" y="45"/>
                    <a:pt x="9" y="45"/>
                    <a:pt x="9" y="44"/>
                  </a:cubicBezTo>
                  <a:cubicBezTo>
                    <a:pt x="7" y="44"/>
                    <a:pt x="7" y="44"/>
                    <a:pt x="7" y="44"/>
                  </a:cubicBezTo>
                  <a:cubicBezTo>
                    <a:pt x="7" y="44"/>
                    <a:pt x="6" y="44"/>
                    <a:pt x="6" y="44"/>
                  </a:cubicBezTo>
                  <a:cubicBezTo>
                    <a:pt x="6" y="44"/>
                    <a:pt x="6" y="44"/>
                    <a:pt x="6" y="44"/>
                  </a:cubicBezTo>
                  <a:cubicBezTo>
                    <a:pt x="6" y="44"/>
                    <a:pt x="6" y="44"/>
                    <a:pt x="6" y="44"/>
                  </a:cubicBezTo>
                  <a:cubicBezTo>
                    <a:pt x="5" y="44"/>
                    <a:pt x="5" y="44"/>
                    <a:pt x="5" y="44"/>
                  </a:cubicBezTo>
                  <a:cubicBezTo>
                    <a:pt x="5" y="45"/>
                    <a:pt x="5" y="45"/>
                    <a:pt x="5" y="45"/>
                  </a:cubicBezTo>
                  <a:cubicBezTo>
                    <a:pt x="5" y="46"/>
                    <a:pt x="4" y="47"/>
                    <a:pt x="4" y="47"/>
                  </a:cubicBezTo>
                  <a:cubicBezTo>
                    <a:pt x="3" y="47"/>
                    <a:pt x="3" y="48"/>
                    <a:pt x="3" y="48"/>
                  </a:cubicBezTo>
                  <a:cubicBezTo>
                    <a:pt x="3" y="50"/>
                    <a:pt x="3" y="50"/>
                    <a:pt x="2" y="51"/>
                  </a:cubicBezTo>
                  <a:cubicBezTo>
                    <a:pt x="2" y="52"/>
                    <a:pt x="2" y="52"/>
                    <a:pt x="2" y="52"/>
                  </a:cubicBezTo>
                  <a:cubicBezTo>
                    <a:pt x="2" y="54"/>
                    <a:pt x="2" y="54"/>
                    <a:pt x="2" y="54"/>
                  </a:cubicBezTo>
                  <a:cubicBezTo>
                    <a:pt x="2" y="55"/>
                    <a:pt x="2" y="55"/>
                    <a:pt x="2" y="55"/>
                  </a:cubicBezTo>
                  <a:cubicBezTo>
                    <a:pt x="2" y="56"/>
                    <a:pt x="2" y="56"/>
                    <a:pt x="2" y="56"/>
                  </a:cubicBezTo>
                  <a:cubicBezTo>
                    <a:pt x="2" y="58"/>
                    <a:pt x="2" y="58"/>
                    <a:pt x="2" y="58"/>
                  </a:cubicBezTo>
                  <a:cubicBezTo>
                    <a:pt x="2" y="58"/>
                    <a:pt x="2" y="58"/>
                    <a:pt x="2" y="58"/>
                  </a:cubicBezTo>
                  <a:cubicBezTo>
                    <a:pt x="2" y="58"/>
                    <a:pt x="1" y="59"/>
                    <a:pt x="1" y="60"/>
                  </a:cubicBezTo>
                  <a:cubicBezTo>
                    <a:pt x="0" y="61"/>
                    <a:pt x="0" y="61"/>
                    <a:pt x="0" y="61"/>
                  </a:cubicBezTo>
                  <a:cubicBezTo>
                    <a:pt x="0" y="62"/>
                    <a:pt x="0" y="62"/>
                    <a:pt x="0" y="62"/>
                  </a:cubicBezTo>
                  <a:cubicBezTo>
                    <a:pt x="0" y="62"/>
                    <a:pt x="0" y="62"/>
                    <a:pt x="0" y="62"/>
                  </a:cubicBezTo>
                  <a:cubicBezTo>
                    <a:pt x="0" y="62"/>
                    <a:pt x="0" y="63"/>
                    <a:pt x="0" y="63"/>
                  </a:cubicBezTo>
                  <a:cubicBezTo>
                    <a:pt x="1" y="64"/>
                    <a:pt x="2" y="64"/>
                    <a:pt x="2" y="66"/>
                  </a:cubicBezTo>
                  <a:cubicBezTo>
                    <a:pt x="2" y="66"/>
                    <a:pt x="2" y="66"/>
                    <a:pt x="2" y="67"/>
                  </a:cubicBezTo>
                  <a:cubicBezTo>
                    <a:pt x="2" y="67"/>
                    <a:pt x="3" y="67"/>
                    <a:pt x="3" y="67"/>
                  </a:cubicBezTo>
                  <a:cubicBezTo>
                    <a:pt x="3" y="68"/>
                    <a:pt x="4" y="69"/>
                    <a:pt x="4" y="70"/>
                  </a:cubicBezTo>
                  <a:cubicBezTo>
                    <a:pt x="4" y="70"/>
                    <a:pt x="4" y="70"/>
                    <a:pt x="4" y="71"/>
                  </a:cubicBezTo>
                  <a:cubicBezTo>
                    <a:pt x="4" y="71"/>
                    <a:pt x="4" y="71"/>
                    <a:pt x="5" y="71"/>
                  </a:cubicBezTo>
                  <a:cubicBezTo>
                    <a:pt x="6" y="71"/>
                    <a:pt x="6" y="71"/>
                    <a:pt x="6" y="71"/>
                  </a:cubicBezTo>
                  <a:cubicBezTo>
                    <a:pt x="7" y="71"/>
                    <a:pt x="8" y="73"/>
                    <a:pt x="8" y="74"/>
                  </a:cubicBezTo>
                  <a:cubicBezTo>
                    <a:pt x="8" y="74"/>
                    <a:pt x="8" y="78"/>
                    <a:pt x="8" y="80"/>
                  </a:cubicBezTo>
                  <a:cubicBezTo>
                    <a:pt x="8" y="80"/>
                    <a:pt x="8" y="80"/>
                    <a:pt x="8" y="80"/>
                  </a:cubicBezTo>
                  <a:cubicBezTo>
                    <a:pt x="9" y="79"/>
                    <a:pt x="9" y="79"/>
                    <a:pt x="9" y="79"/>
                  </a:cubicBezTo>
                  <a:cubicBezTo>
                    <a:pt x="9" y="76"/>
                    <a:pt x="9" y="76"/>
                    <a:pt x="9" y="76"/>
                  </a:cubicBezTo>
                  <a:cubicBezTo>
                    <a:pt x="9" y="76"/>
                    <a:pt x="9" y="76"/>
                    <a:pt x="9" y="76"/>
                  </a:cubicBezTo>
                  <a:cubicBezTo>
                    <a:pt x="15" y="76"/>
                    <a:pt x="15" y="76"/>
                    <a:pt x="15" y="76"/>
                  </a:cubicBezTo>
                  <a:cubicBezTo>
                    <a:pt x="15" y="76"/>
                    <a:pt x="15" y="76"/>
                    <a:pt x="15" y="76"/>
                  </a:cubicBezTo>
                  <a:cubicBezTo>
                    <a:pt x="20" y="80"/>
                    <a:pt x="20" y="80"/>
                    <a:pt x="20" y="80"/>
                  </a:cubicBezTo>
                  <a:cubicBezTo>
                    <a:pt x="25" y="83"/>
                    <a:pt x="25" y="83"/>
                    <a:pt x="25" y="83"/>
                  </a:cubicBezTo>
                  <a:cubicBezTo>
                    <a:pt x="28" y="85"/>
                    <a:pt x="28" y="85"/>
                    <a:pt x="28" y="85"/>
                  </a:cubicBezTo>
                  <a:cubicBezTo>
                    <a:pt x="36" y="84"/>
                    <a:pt x="36" y="84"/>
                    <a:pt x="36" y="84"/>
                  </a:cubicBezTo>
                  <a:cubicBezTo>
                    <a:pt x="49" y="83"/>
                    <a:pt x="49" y="83"/>
                    <a:pt x="49" y="83"/>
                  </a:cubicBezTo>
                  <a:cubicBezTo>
                    <a:pt x="49" y="83"/>
                    <a:pt x="56" y="82"/>
                    <a:pt x="57" y="81"/>
                  </a:cubicBezTo>
                  <a:cubicBezTo>
                    <a:pt x="58" y="80"/>
                    <a:pt x="63" y="79"/>
                    <a:pt x="61" y="78"/>
                  </a:cubicBezTo>
                  <a:cubicBezTo>
                    <a:pt x="60" y="77"/>
                    <a:pt x="56" y="75"/>
                    <a:pt x="56" y="75"/>
                  </a:cubicBezTo>
                  <a:cubicBezTo>
                    <a:pt x="56" y="73"/>
                    <a:pt x="56" y="73"/>
                    <a:pt x="56" y="73"/>
                  </a:cubicBezTo>
                  <a:cubicBezTo>
                    <a:pt x="60" y="69"/>
                    <a:pt x="60" y="69"/>
                    <a:pt x="60" y="69"/>
                  </a:cubicBezTo>
                  <a:cubicBezTo>
                    <a:pt x="67" y="66"/>
                    <a:pt x="67" y="66"/>
                    <a:pt x="67" y="66"/>
                  </a:cubicBezTo>
                  <a:cubicBezTo>
                    <a:pt x="73" y="66"/>
                    <a:pt x="73" y="66"/>
                    <a:pt x="73" y="66"/>
                  </a:cubicBezTo>
                  <a:cubicBezTo>
                    <a:pt x="76" y="65"/>
                    <a:pt x="76" y="65"/>
                    <a:pt x="76" y="65"/>
                  </a:cubicBezTo>
                  <a:cubicBezTo>
                    <a:pt x="78" y="60"/>
                    <a:pt x="78" y="60"/>
                    <a:pt x="78" y="60"/>
                  </a:cubicBezTo>
                  <a:cubicBezTo>
                    <a:pt x="83" y="59"/>
                    <a:pt x="83" y="59"/>
                    <a:pt x="83" y="59"/>
                  </a:cubicBezTo>
                  <a:cubicBezTo>
                    <a:pt x="86" y="60"/>
                    <a:pt x="86" y="60"/>
                    <a:pt x="86" y="60"/>
                  </a:cubicBezTo>
                  <a:cubicBezTo>
                    <a:pt x="90" y="60"/>
                    <a:pt x="90" y="60"/>
                    <a:pt x="90" y="60"/>
                  </a:cubicBezTo>
                  <a:cubicBezTo>
                    <a:pt x="93" y="57"/>
                    <a:pt x="93" y="57"/>
                    <a:pt x="93" y="57"/>
                  </a:cubicBezTo>
                  <a:cubicBezTo>
                    <a:pt x="95" y="55"/>
                    <a:pt x="95" y="55"/>
                    <a:pt x="95" y="55"/>
                  </a:cubicBezTo>
                  <a:cubicBezTo>
                    <a:pt x="99" y="54"/>
                    <a:pt x="99" y="54"/>
                    <a:pt x="99" y="54"/>
                  </a:cubicBezTo>
                  <a:cubicBezTo>
                    <a:pt x="101" y="49"/>
                    <a:pt x="101" y="49"/>
                    <a:pt x="101" y="49"/>
                  </a:cubicBezTo>
                  <a:cubicBezTo>
                    <a:pt x="103" y="43"/>
                    <a:pt x="103" y="43"/>
                    <a:pt x="103" y="43"/>
                  </a:cubicBezTo>
                  <a:cubicBezTo>
                    <a:pt x="104" y="41"/>
                    <a:pt x="104" y="41"/>
                    <a:pt x="104" y="41"/>
                  </a:cubicBezTo>
                  <a:cubicBezTo>
                    <a:pt x="115" y="37"/>
                    <a:pt x="115" y="37"/>
                    <a:pt x="115" y="37"/>
                  </a:cubicBezTo>
                  <a:cubicBezTo>
                    <a:pt x="119" y="40"/>
                    <a:pt x="119" y="40"/>
                    <a:pt x="119" y="40"/>
                  </a:cubicBezTo>
                  <a:cubicBezTo>
                    <a:pt x="124" y="39"/>
                    <a:pt x="124" y="39"/>
                    <a:pt x="124" y="39"/>
                  </a:cubicBezTo>
                  <a:cubicBezTo>
                    <a:pt x="129" y="36"/>
                    <a:pt x="129" y="36"/>
                    <a:pt x="129" y="36"/>
                  </a:cubicBezTo>
                  <a:cubicBezTo>
                    <a:pt x="134" y="37"/>
                    <a:pt x="134" y="37"/>
                    <a:pt x="134" y="37"/>
                  </a:cubicBezTo>
                  <a:cubicBezTo>
                    <a:pt x="140" y="43"/>
                    <a:pt x="140" y="43"/>
                    <a:pt x="140" y="43"/>
                  </a:cubicBezTo>
                  <a:cubicBezTo>
                    <a:pt x="146" y="43"/>
                    <a:pt x="146" y="43"/>
                    <a:pt x="146" y="43"/>
                  </a:cubicBezTo>
                  <a:cubicBezTo>
                    <a:pt x="148" y="42"/>
                    <a:pt x="148" y="42"/>
                    <a:pt x="148" y="42"/>
                  </a:cubicBezTo>
                  <a:cubicBezTo>
                    <a:pt x="147" y="39"/>
                    <a:pt x="147" y="39"/>
                    <a:pt x="147" y="39"/>
                  </a:cubicBezTo>
                  <a:cubicBezTo>
                    <a:pt x="148" y="39"/>
                    <a:pt x="148" y="39"/>
                    <a:pt x="148" y="39"/>
                  </a:cubicBezTo>
                  <a:cubicBezTo>
                    <a:pt x="149" y="38"/>
                    <a:pt x="149" y="38"/>
                    <a:pt x="149" y="38"/>
                  </a:cubicBezTo>
                  <a:cubicBezTo>
                    <a:pt x="149" y="38"/>
                    <a:pt x="149" y="37"/>
                    <a:pt x="149" y="36"/>
                  </a:cubicBezTo>
                  <a:cubicBezTo>
                    <a:pt x="149" y="36"/>
                    <a:pt x="148" y="35"/>
                    <a:pt x="148" y="35"/>
                  </a:cubicBezTo>
                  <a:cubicBezTo>
                    <a:pt x="148" y="35"/>
                    <a:pt x="149" y="34"/>
                    <a:pt x="149" y="34"/>
                  </a:cubicBezTo>
                  <a:cubicBezTo>
                    <a:pt x="149" y="34"/>
                    <a:pt x="148" y="33"/>
                    <a:pt x="148" y="33"/>
                  </a:cubicBezTo>
                  <a:cubicBezTo>
                    <a:pt x="148" y="32"/>
                    <a:pt x="148" y="31"/>
                    <a:pt x="148" y="30"/>
                  </a:cubicBezTo>
                  <a:cubicBezTo>
                    <a:pt x="148" y="30"/>
                    <a:pt x="149" y="29"/>
                    <a:pt x="149" y="29"/>
                  </a:cubicBezTo>
                  <a:cubicBezTo>
                    <a:pt x="149" y="28"/>
                    <a:pt x="149" y="28"/>
                    <a:pt x="149" y="28"/>
                  </a:cubicBezTo>
                  <a:cubicBezTo>
                    <a:pt x="149" y="28"/>
                    <a:pt x="150" y="26"/>
                    <a:pt x="150" y="26"/>
                  </a:cubicBezTo>
                  <a:cubicBezTo>
                    <a:pt x="150" y="26"/>
                    <a:pt x="151" y="26"/>
                    <a:pt x="151" y="25"/>
                  </a:cubicBezTo>
                  <a:cubicBezTo>
                    <a:pt x="152" y="25"/>
                    <a:pt x="151" y="24"/>
                    <a:pt x="151" y="24"/>
                  </a:cubicBezTo>
                  <a:cubicBezTo>
                    <a:pt x="151" y="22"/>
                    <a:pt x="151" y="22"/>
                    <a:pt x="151" y="22"/>
                  </a:cubicBezTo>
                  <a:cubicBezTo>
                    <a:pt x="152" y="21"/>
                    <a:pt x="152" y="21"/>
                    <a:pt x="152" y="21"/>
                  </a:cubicBezTo>
                  <a:cubicBezTo>
                    <a:pt x="152" y="20"/>
                    <a:pt x="152" y="20"/>
                    <a:pt x="152" y="20"/>
                  </a:cubicBezTo>
                  <a:cubicBezTo>
                    <a:pt x="152" y="20"/>
                    <a:pt x="152" y="19"/>
                    <a:pt x="152" y="19"/>
                  </a:cubicBezTo>
                  <a:cubicBezTo>
                    <a:pt x="151" y="18"/>
                    <a:pt x="152" y="17"/>
                    <a:pt x="152" y="17"/>
                  </a:cubicBezTo>
                  <a:cubicBezTo>
                    <a:pt x="152" y="16"/>
                    <a:pt x="152" y="16"/>
                    <a:pt x="152" y="16"/>
                  </a:cubicBezTo>
                  <a:cubicBezTo>
                    <a:pt x="152" y="16"/>
                    <a:pt x="152" y="14"/>
                    <a:pt x="153" y="14"/>
                  </a:cubicBezTo>
                  <a:cubicBezTo>
                    <a:pt x="153" y="14"/>
                    <a:pt x="153" y="14"/>
                    <a:pt x="153" y="14"/>
                  </a:cubicBezTo>
                  <a:cubicBezTo>
                    <a:pt x="153" y="14"/>
                    <a:pt x="153" y="12"/>
                    <a:pt x="153" y="11"/>
                  </a:cubicBezTo>
                  <a:cubicBezTo>
                    <a:pt x="153" y="11"/>
                    <a:pt x="154" y="11"/>
                    <a:pt x="154" y="11"/>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7" name="Freeform 134"/>
            <p:cNvSpPr>
              <a:spLocks/>
            </p:cNvSpPr>
            <p:nvPr/>
          </p:nvSpPr>
          <p:spPr bwMode="auto">
            <a:xfrm>
              <a:off x="5986633" y="4356973"/>
              <a:ext cx="547331" cy="363547"/>
            </a:xfrm>
            <a:custGeom>
              <a:avLst/>
              <a:gdLst>
                <a:gd name="T0" fmla="*/ 184 w 189"/>
                <a:gd name="T1" fmla="*/ 10 h 133"/>
                <a:gd name="T2" fmla="*/ 175 w 189"/>
                <a:gd name="T3" fmla="*/ 5 h 133"/>
                <a:gd name="T4" fmla="*/ 166 w 189"/>
                <a:gd name="T5" fmla="*/ 0 h 133"/>
                <a:gd name="T6" fmla="*/ 163 w 189"/>
                <a:gd name="T7" fmla="*/ 4 h 133"/>
                <a:gd name="T8" fmla="*/ 145 w 189"/>
                <a:gd name="T9" fmla="*/ 0 h 133"/>
                <a:gd name="T10" fmla="*/ 131 w 189"/>
                <a:gd name="T11" fmla="*/ 3 h 133"/>
                <a:gd name="T12" fmla="*/ 117 w 189"/>
                <a:gd name="T13" fmla="*/ 5 h 133"/>
                <a:gd name="T14" fmla="*/ 108 w 189"/>
                <a:gd name="T15" fmla="*/ 18 h 133"/>
                <a:gd name="T16" fmla="*/ 95 w 189"/>
                <a:gd name="T17" fmla="*/ 22 h 133"/>
                <a:gd name="T18" fmla="*/ 86 w 189"/>
                <a:gd name="T19" fmla="*/ 29 h 133"/>
                <a:gd name="T20" fmla="*/ 71 w 189"/>
                <a:gd name="T21" fmla="*/ 35 h 133"/>
                <a:gd name="T22" fmla="*/ 76 w 189"/>
                <a:gd name="T23" fmla="*/ 40 h 133"/>
                <a:gd name="T24" fmla="*/ 61 w 189"/>
                <a:gd name="T25" fmla="*/ 46 h 133"/>
                <a:gd name="T26" fmla="*/ 40 w 189"/>
                <a:gd name="T27" fmla="*/ 48 h 133"/>
                <a:gd name="T28" fmla="*/ 30 w 189"/>
                <a:gd name="T29" fmla="*/ 43 h 133"/>
                <a:gd name="T30" fmla="*/ 23 w 189"/>
                <a:gd name="T31" fmla="*/ 41 h 133"/>
                <a:gd name="T32" fmla="*/ 21 w 189"/>
                <a:gd name="T33" fmla="*/ 45 h 133"/>
                <a:gd name="T34" fmla="*/ 21 w 189"/>
                <a:gd name="T35" fmla="*/ 49 h 133"/>
                <a:gd name="T36" fmla="*/ 17 w 189"/>
                <a:gd name="T37" fmla="*/ 55 h 133"/>
                <a:gd name="T38" fmla="*/ 12 w 189"/>
                <a:gd name="T39" fmla="*/ 56 h 133"/>
                <a:gd name="T40" fmla="*/ 13 w 189"/>
                <a:gd name="T41" fmla="*/ 64 h 133"/>
                <a:gd name="T42" fmla="*/ 5 w 189"/>
                <a:gd name="T43" fmla="*/ 73 h 133"/>
                <a:gd name="T44" fmla="*/ 3 w 189"/>
                <a:gd name="T45" fmla="*/ 86 h 133"/>
                <a:gd name="T46" fmla="*/ 3 w 189"/>
                <a:gd name="T47" fmla="*/ 89 h 133"/>
                <a:gd name="T48" fmla="*/ 4 w 189"/>
                <a:gd name="T49" fmla="*/ 93 h 133"/>
                <a:gd name="T50" fmla="*/ 12 w 189"/>
                <a:gd name="T51" fmla="*/ 105 h 133"/>
                <a:gd name="T52" fmla="*/ 14 w 189"/>
                <a:gd name="T53" fmla="*/ 109 h 133"/>
                <a:gd name="T54" fmla="*/ 22 w 189"/>
                <a:gd name="T55" fmla="*/ 117 h 133"/>
                <a:gd name="T56" fmla="*/ 37 w 189"/>
                <a:gd name="T57" fmla="*/ 127 h 133"/>
                <a:gd name="T58" fmla="*/ 45 w 189"/>
                <a:gd name="T59" fmla="*/ 130 h 133"/>
                <a:gd name="T60" fmla="*/ 55 w 189"/>
                <a:gd name="T61" fmla="*/ 133 h 133"/>
                <a:gd name="T62" fmla="*/ 68 w 189"/>
                <a:gd name="T63" fmla="*/ 131 h 133"/>
                <a:gd name="T64" fmla="*/ 78 w 189"/>
                <a:gd name="T65" fmla="*/ 128 h 133"/>
                <a:gd name="T66" fmla="*/ 85 w 189"/>
                <a:gd name="T67" fmla="*/ 123 h 133"/>
                <a:gd name="T68" fmla="*/ 92 w 189"/>
                <a:gd name="T69" fmla="*/ 119 h 133"/>
                <a:gd name="T70" fmla="*/ 97 w 189"/>
                <a:gd name="T71" fmla="*/ 115 h 133"/>
                <a:gd name="T72" fmla="*/ 106 w 189"/>
                <a:gd name="T73" fmla="*/ 109 h 133"/>
                <a:gd name="T74" fmla="*/ 116 w 189"/>
                <a:gd name="T75" fmla="*/ 108 h 133"/>
                <a:gd name="T76" fmla="*/ 125 w 189"/>
                <a:gd name="T77" fmla="*/ 108 h 133"/>
                <a:gd name="T78" fmla="*/ 138 w 189"/>
                <a:gd name="T79" fmla="*/ 107 h 133"/>
                <a:gd name="T80" fmla="*/ 144 w 189"/>
                <a:gd name="T81" fmla="*/ 104 h 133"/>
                <a:gd name="T82" fmla="*/ 152 w 189"/>
                <a:gd name="T83" fmla="*/ 92 h 133"/>
                <a:gd name="T84" fmla="*/ 155 w 189"/>
                <a:gd name="T85" fmla="*/ 85 h 133"/>
                <a:gd name="T86" fmla="*/ 158 w 189"/>
                <a:gd name="T87" fmla="*/ 75 h 133"/>
                <a:gd name="T88" fmla="*/ 161 w 189"/>
                <a:gd name="T89" fmla="*/ 63 h 133"/>
                <a:gd name="T90" fmla="*/ 165 w 189"/>
                <a:gd name="T91" fmla="*/ 47 h 133"/>
                <a:gd name="T92" fmla="*/ 168 w 189"/>
                <a:gd name="T93" fmla="*/ 38 h 133"/>
                <a:gd name="T94" fmla="*/ 173 w 189"/>
                <a:gd name="T95" fmla="*/ 29 h 133"/>
                <a:gd name="T96" fmla="*/ 182 w 189"/>
                <a:gd name="T97" fmla="*/ 25 h 133"/>
                <a:gd name="T98" fmla="*/ 189 w 189"/>
                <a:gd name="T99" fmla="*/ 1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9" h="133">
                  <a:moveTo>
                    <a:pt x="187" y="15"/>
                  </a:moveTo>
                  <a:cubicBezTo>
                    <a:pt x="188" y="13"/>
                    <a:pt x="188" y="13"/>
                    <a:pt x="188" y="13"/>
                  </a:cubicBezTo>
                  <a:cubicBezTo>
                    <a:pt x="184" y="10"/>
                    <a:pt x="184" y="10"/>
                    <a:pt x="184" y="10"/>
                  </a:cubicBezTo>
                  <a:cubicBezTo>
                    <a:pt x="180" y="11"/>
                    <a:pt x="180" y="11"/>
                    <a:pt x="180" y="11"/>
                  </a:cubicBezTo>
                  <a:cubicBezTo>
                    <a:pt x="178" y="8"/>
                    <a:pt x="178" y="8"/>
                    <a:pt x="178" y="8"/>
                  </a:cubicBezTo>
                  <a:cubicBezTo>
                    <a:pt x="175" y="5"/>
                    <a:pt x="175" y="5"/>
                    <a:pt x="175" y="5"/>
                  </a:cubicBezTo>
                  <a:cubicBezTo>
                    <a:pt x="171" y="5"/>
                    <a:pt x="171" y="5"/>
                    <a:pt x="171" y="5"/>
                  </a:cubicBezTo>
                  <a:cubicBezTo>
                    <a:pt x="169" y="3"/>
                    <a:pt x="169" y="3"/>
                    <a:pt x="169" y="3"/>
                  </a:cubicBezTo>
                  <a:cubicBezTo>
                    <a:pt x="166" y="0"/>
                    <a:pt x="166" y="0"/>
                    <a:pt x="166" y="0"/>
                  </a:cubicBezTo>
                  <a:cubicBezTo>
                    <a:pt x="162" y="2"/>
                    <a:pt x="162" y="2"/>
                    <a:pt x="162" y="2"/>
                  </a:cubicBezTo>
                  <a:cubicBezTo>
                    <a:pt x="162" y="2"/>
                    <a:pt x="162" y="2"/>
                    <a:pt x="162" y="2"/>
                  </a:cubicBezTo>
                  <a:cubicBezTo>
                    <a:pt x="163" y="4"/>
                    <a:pt x="163" y="4"/>
                    <a:pt x="163" y="4"/>
                  </a:cubicBezTo>
                  <a:cubicBezTo>
                    <a:pt x="159" y="6"/>
                    <a:pt x="159" y="6"/>
                    <a:pt x="159" y="6"/>
                  </a:cubicBezTo>
                  <a:cubicBezTo>
                    <a:pt x="152" y="7"/>
                    <a:pt x="152" y="7"/>
                    <a:pt x="152" y="7"/>
                  </a:cubicBezTo>
                  <a:cubicBezTo>
                    <a:pt x="145" y="0"/>
                    <a:pt x="145" y="0"/>
                    <a:pt x="145" y="0"/>
                  </a:cubicBezTo>
                  <a:cubicBezTo>
                    <a:pt x="141" y="0"/>
                    <a:pt x="141" y="0"/>
                    <a:pt x="141" y="0"/>
                  </a:cubicBezTo>
                  <a:cubicBezTo>
                    <a:pt x="137" y="2"/>
                    <a:pt x="137" y="2"/>
                    <a:pt x="137" y="2"/>
                  </a:cubicBezTo>
                  <a:cubicBezTo>
                    <a:pt x="131" y="3"/>
                    <a:pt x="131" y="3"/>
                    <a:pt x="131" y="3"/>
                  </a:cubicBezTo>
                  <a:cubicBezTo>
                    <a:pt x="126" y="1"/>
                    <a:pt x="126" y="1"/>
                    <a:pt x="126" y="1"/>
                  </a:cubicBezTo>
                  <a:cubicBezTo>
                    <a:pt x="118" y="4"/>
                    <a:pt x="118" y="4"/>
                    <a:pt x="118" y="4"/>
                  </a:cubicBezTo>
                  <a:cubicBezTo>
                    <a:pt x="117" y="5"/>
                    <a:pt x="117" y="5"/>
                    <a:pt x="117" y="5"/>
                  </a:cubicBezTo>
                  <a:cubicBezTo>
                    <a:pt x="115" y="11"/>
                    <a:pt x="115" y="11"/>
                    <a:pt x="115" y="11"/>
                  </a:cubicBezTo>
                  <a:cubicBezTo>
                    <a:pt x="112" y="16"/>
                    <a:pt x="112" y="16"/>
                    <a:pt x="112" y="16"/>
                  </a:cubicBezTo>
                  <a:cubicBezTo>
                    <a:pt x="108" y="18"/>
                    <a:pt x="108" y="18"/>
                    <a:pt x="108" y="18"/>
                  </a:cubicBezTo>
                  <a:cubicBezTo>
                    <a:pt x="107" y="19"/>
                    <a:pt x="107" y="19"/>
                    <a:pt x="107" y="19"/>
                  </a:cubicBezTo>
                  <a:cubicBezTo>
                    <a:pt x="104" y="23"/>
                    <a:pt x="104" y="23"/>
                    <a:pt x="104" y="23"/>
                  </a:cubicBezTo>
                  <a:cubicBezTo>
                    <a:pt x="95" y="22"/>
                    <a:pt x="95" y="22"/>
                    <a:pt x="95" y="22"/>
                  </a:cubicBezTo>
                  <a:cubicBezTo>
                    <a:pt x="92" y="23"/>
                    <a:pt x="92" y="23"/>
                    <a:pt x="92" y="23"/>
                  </a:cubicBezTo>
                  <a:cubicBezTo>
                    <a:pt x="90" y="27"/>
                    <a:pt x="90" y="27"/>
                    <a:pt x="90" y="27"/>
                  </a:cubicBezTo>
                  <a:cubicBezTo>
                    <a:pt x="86" y="29"/>
                    <a:pt x="86" y="29"/>
                    <a:pt x="86" y="29"/>
                  </a:cubicBezTo>
                  <a:cubicBezTo>
                    <a:pt x="80" y="30"/>
                    <a:pt x="80" y="30"/>
                    <a:pt x="80" y="30"/>
                  </a:cubicBezTo>
                  <a:cubicBezTo>
                    <a:pt x="74" y="32"/>
                    <a:pt x="74" y="32"/>
                    <a:pt x="74" y="32"/>
                  </a:cubicBezTo>
                  <a:cubicBezTo>
                    <a:pt x="71" y="35"/>
                    <a:pt x="71" y="35"/>
                    <a:pt x="71" y="35"/>
                  </a:cubicBezTo>
                  <a:cubicBezTo>
                    <a:pt x="72" y="35"/>
                    <a:pt x="73" y="36"/>
                    <a:pt x="74" y="37"/>
                  </a:cubicBezTo>
                  <a:cubicBezTo>
                    <a:pt x="75" y="37"/>
                    <a:pt x="75" y="37"/>
                    <a:pt x="75" y="37"/>
                  </a:cubicBezTo>
                  <a:cubicBezTo>
                    <a:pt x="75" y="37"/>
                    <a:pt x="76" y="39"/>
                    <a:pt x="76" y="40"/>
                  </a:cubicBezTo>
                  <a:cubicBezTo>
                    <a:pt x="76" y="42"/>
                    <a:pt x="74" y="43"/>
                    <a:pt x="72" y="43"/>
                  </a:cubicBezTo>
                  <a:cubicBezTo>
                    <a:pt x="71" y="43"/>
                    <a:pt x="71" y="44"/>
                    <a:pt x="71" y="44"/>
                  </a:cubicBezTo>
                  <a:cubicBezTo>
                    <a:pt x="70" y="44"/>
                    <a:pt x="69" y="45"/>
                    <a:pt x="61" y="46"/>
                  </a:cubicBezTo>
                  <a:cubicBezTo>
                    <a:pt x="48" y="47"/>
                    <a:pt x="48" y="47"/>
                    <a:pt x="48" y="47"/>
                  </a:cubicBezTo>
                  <a:cubicBezTo>
                    <a:pt x="40" y="48"/>
                    <a:pt x="40" y="48"/>
                    <a:pt x="40" y="48"/>
                  </a:cubicBezTo>
                  <a:cubicBezTo>
                    <a:pt x="40" y="48"/>
                    <a:pt x="40" y="48"/>
                    <a:pt x="40" y="48"/>
                  </a:cubicBezTo>
                  <a:cubicBezTo>
                    <a:pt x="40" y="48"/>
                    <a:pt x="40" y="48"/>
                    <a:pt x="40" y="48"/>
                  </a:cubicBezTo>
                  <a:cubicBezTo>
                    <a:pt x="36" y="46"/>
                    <a:pt x="36" y="46"/>
                    <a:pt x="36" y="46"/>
                  </a:cubicBezTo>
                  <a:cubicBezTo>
                    <a:pt x="30" y="43"/>
                    <a:pt x="30" y="43"/>
                    <a:pt x="30" y="43"/>
                  </a:cubicBezTo>
                  <a:cubicBezTo>
                    <a:pt x="26" y="39"/>
                    <a:pt x="26" y="39"/>
                    <a:pt x="26" y="39"/>
                  </a:cubicBezTo>
                  <a:cubicBezTo>
                    <a:pt x="23" y="39"/>
                    <a:pt x="23" y="39"/>
                    <a:pt x="23" y="39"/>
                  </a:cubicBezTo>
                  <a:cubicBezTo>
                    <a:pt x="23" y="41"/>
                    <a:pt x="23" y="41"/>
                    <a:pt x="23" y="41"/>
                  </a:cubicBezTo>
                  <a:cubicBezTo>
                    <a:pt x="21" y="44"/>
                    <a:pt x="21" y="44"/>
                    <a:pt x="21" y="44"/>
                  </a:cubicBezTo>
                  <a:cubicBezTo>
                    <a:pt x="21" y="45"/>
                    <a:pt x="21" y="45"/>
                    <a:pt x="21" y="45"/>
                  </a:cubicBezTo>
                  <a:cubicBezTo>
                    <a:pt x="21" y="45"/>
                    <a:pt x="21" y="45"/>
                    <a:pt x="21" y="45"/>
                  </a:cubicBezTo>
                  <a:cubicBezTo>
                    <a:pt x="21" y="46"/>
                    <a:pt x="21" y="46"/>
                    <a:pt x="21" y="46"/>
                  </a:cubicBezTo>
                  <a:cubicBezTo>
                    <a:pt x="20" y="47"/>
                    <a:pt x="20" y="48"/>
                    <a:pt x="20" y="48"/>
                  </a:cubicBezTo>
                  <a:cubicBezTo>
                    <a:pt x="20" y="48"/>
                    <a:pt x="20" y="49"/>
                    <a:pt x="21" y="49"/>
                  </a:cubicBezTo>
                  <a:cubicBezTo>
                    <a:pt x="21" y="50"/>
                    <a:pt x="21" y="51"/>
                    <a:pt x="21" y="53"/>
                  </a:cubicBezTo>
                  <a:cubicBezTo>
                    <a:pt x="20" y="53"/>
                    <a:pt x="20" y="54"/>
                    <a:pt x="18" y="54"/>
                  </a:cubicBezTo>
                  <a:cubicBezTo>
                    <a:pt x="18" y="54"/>
                    <a:pt x="18" y="55"/>
                    <a:pt x="17" y="55"/>
                  </a:cubicBezTo>
                  <a:cubicBezTo>
                    <a:pt x="16" y="55"/>
                    <a:pt x="15" y="56"/>
                    <a:pt x="14" y="56"/>
                  </a:cubicBezTo>
                  <a:cubicBezTo>
                    <a:pt x="14" y="56"/>
                    <a:pt x="14" y="55"/>
                    <a:pt x="13" y="55"/>
                  </a:cubicBezTo>
                  <a:cubicBezTo>
                    <a:pt x="13" y="56"/>
                    <a:pt x="12" y="56"/>
                    <a:pt x="12" y="56"/>
                  </a:cubicBezTo>
                  <a:cubicBezTo>
                    <a:pt x="11" y="56"/>
                    <a:pt x="9" y="55"/>
                    <a:pt x="9" y="55"/>
                  </a:cubicBezTo>
                  <a:cubicBezTo>
                    <a:pt x="7" y="54"/>
                    <a:pt x="7" y="54"/>
                    <a:pt x="7" y="54"/>
                  </a:cubicBezTo>
                  <a:cubicBezTo>
                    <a:pt x="13" y="64"/>
                    <a:pt x="13" y="64"/>
                    <a:pt x="13" y="64"/>
                  </a:cubicBezTo>
                  <a:cubicBezTo>
                    <a:pt x="6" y="68"/>
                    <a:pt x="6" y="68"/>
                    <a:pt x="6" y="68"/>
                  </a:cubicBezTo>
                  <a:cubicBezTo>
                    <a:pt x="5" y="68"/>
                    <a:pt x="4" y="69"/>
                    <a:pt x="3" y="70"/>
                  </a:cubicBezTo>
                  <a:cubicBezTo>
                    <a:pt x="5" y="73"/>
                    <a:pt x="5" y="73"/>
                    <a:pt x="5" y="73"/>
                  </a:cubicBezTo>
                  <a:cubicBezTo>
                    <a:pt x="5" y="75"/>
                    <a:pt x="5" y="75"/>
                    <a:pt x="5" y="75"/>
                  </a:cubicBezTo>
                  <a:cubicBezTo>
                    <a:pt x="6" y="80"/>
                    <a:pt x="6" y="80"/>
                    <a:pt x="6" y="80"/>
                  </a:cubicBezTo>
                  <a:cubicBezTo>
                    <a:pt x="3" y="86"/>
                    <a:pt x="3" y="86"/>
                    <a:pt x="3" y="86"/>
                  </a:cubicBezTo>
                  <a:cubicBezTo>
                    <a:pt x="0" y="86"/>
                    <a:pt x="0" y="86"/>
                    <a:pt x="0" y="86"/>
                  </a:cubicBezTo>
                  <a:cubicBezTo>
                    <a:pt x="0" y="87"/>
                    <a:pt x="0" y="87"/>
                    <a:pt x="0" y="87"/>
                  </a:cubicBezTo>
                  <a:cubicBezTo>
                    <a:pt x="3" y="89"/>
                    <a:pt x="3" y="89"/>
                    <a:pt x="3" y="89"/>
                  </a:cubicBezTo>
                  <a:cubicBezTo>
                    <a:pt x="4" y="92"/>
                    <a:pt x="4" y="92"/>
                    <a:pt x="4" y="92"/>
                  </a:cubicBezTo>
                  <a:cubicBezTo>
                    <a:pt x="4" y="92"/>
                    <a:pt x="4" y="92"/>
                    <a:pt x="4" y="92"/>
                  </a:cubicBezTo>
                  <a:cubicBezTo>
                    <a:pt x="4" y="93"/>
                    <a:pt x="4" y="93"/>
                    <a:pt x="4" y="93"/>
                  </a:cubicBezTo>
                  <a:cubicBezTo>
                    <a:pt x="7" y="96"/>
                    <a:pt x="7" y="96"/>
                    <a:pt x="7" y="96"/>
                  </a:cubicBezTo>
                  <a:cubicBezTo>
                    <a:pt x="6" y="98"/>
                    <a:pt x="6" y="98"/>
                    <a:pt x="6" y="98"/>
                  </a:cubicBezTo>
                  <a:cubicBezTo>
                    <a:pt x="12" y="105"/>
                    <a:pt x="12" y="105"/>
                    <a:pt x="12" y="105"/>
                  </a:cubicBezTo>
                  <a:cubicBezTo>
                    <a:pt x="10" y="106"/>
                    <a:pt x="10" y="106"/>
                    <a:pt x="10" y="106"/>
                  </a:cubicBezTo>
                  <a:cubicBezTo>
                    <a:pt x="11" y="107"/>
                    <a:pt x="11" y="107"/>
                    <a:pt x="11" y="107"/>
                  </a:cubicBezTo>
                  <a:cubicBezTo>
                    <a:pt x="14" y="109"/>
                    <a:pt x="14" y="109"/>
                    <a:pt x="14" y="109"/>
                  </a:cubicBezTo>
                  <a:cubicBezTo>
                    <a:pt x="17" y="112"/>
                    <a:pt x="17" y="112"/>
                    <a:pt x="17" y="112"/>
                  </a:cubicBezTo>
                  <a:cubicBezTo>
                    <a:pt x="19" y="114"/>
                    <a:pt x="19" y="114"/>
                    <a:pt x="19" y="114"/>
                  </a:cubicBezTo>
                  <a:cubicBezTo>
                    <a:pt x="22" y="117"/>
                    <a:pt x="22" y="117"/>
                    <a:pt x="22" y="117"/>
                  </a:cubicBezTo>
                  <a:cubicBezTo>
                    <a:pt x="29" y="119"/>
                    <a:pt x="29" y="119"/>
                    <a:pt x="29" y="119"/>
                  </a:cubicBezTo>
                  <a:cubicBezTo>
                    <a:pt x="33" y="124"/>
                    <a:pt x="33" y="124"/>
                    <a:pt x="33" y="124"/>
                  </a:cubicBezTo>
                  <a:cubicBezTo>
                    <a:pt x="37" y="127"/>
                    <a:pt x="37" y="127"/>
                    <a:pt x="37" y="127"/>
                  </a:cubicBezTo>
                  <a:cubicBezTo>
                    <a:pt x="40" y="127"/>
                    <a:pt x="40" y="127"/>
                    <a:pt x="40" y="127"/>
                  </a:cubicBezTo>
                  <a:cubicBezTo>
                    <a:pt x="41" y="129"/>
                    <a:pt x="41" y="129"/>
                    <a:pt x="41" y="129"/>
                  </a:cubicBezTo>
                  <a:cubicBezTo>
                    <a:pt x="45" y="130"/>
                    <a:pt x="45" y="130"/>
                    <a:pt x="45" y="130"/>
                  </a:cubicBezTo>
                  <a:cubicBezTo>
                    <a:pt x="48" y="132"/>
                    <a:pt x="48" y="132"/>
                    <a:pt x="48" y="132"/>
                  </a:cubicBezTo>
                  <a:cubicBezTo>
                    <a:pt x="53" y="133"/>
                    <a:pt x="53" y="133"/>
                    <a:pt x="53" y="133"/>
                  </a:cubicBezTo>
                  <a:cubicBezTo>
                    <a:pt x="55" y="133"/>
                    <a:pt x="55" y="133"/>
                    <a:pt x="55" y="133"/>
                  </a:cubicBezTo>
                  <a:cubicBezTo>
                    <a:pt x="55" y="133"/>
                    <a:pt x="59" y="133"/>
                    <a:pt x="60" y="133"/>
                  </a:cubicBezTo>
                  <a:cubicBezTo>
                    <a:pt x="61" y="133"/>
                    <a:pt x="62" y="132"/>
                    <a:pt x="62" y="132"/>
                  </a:cubicBezTo>
                  <a:cubicBezTo>
                    <a:pt x="68" y="131"/>
                    <a:pt x="68" y="131"/>
                    <a:pt x="68" y="131"/>
                  </a:cubicBezTo>
                  <a:cubicBezTo>
                    <a:pt x="72" y="131"/>
                    <a:pt x="72" y="131"/>
                    <a:pt x="72" y="131"/>
                  </a:cubicBezTo>
                  <a:cubicBezTo>
                    <a:pt x="72" y="131"/>
                    <a:pt x="76" y="131"/>
                    <a:pt x="76" y="130"/>
                  </a:cubicBezTo>
                  <a:cubicBezTo>
                    <a:pt x="76" y="130"/>
                    <a:pt x="78" y="128"/>
                    <a:pt x="78" y="128"/>
                  </a:cubicBezTo>
                  <a:cubicBezTo>
                    <a:pt x="80" y="125"/>
                    <a:pt x="80" y="125"/>
                    <a:pt x="80" y="125"/>
                  </a:cubicBezTo>
                  <a:cubicBezTo>
                    <a:pt x="82" y="125"/>
                    <a:pt x="82" y="125"/>
                    <a:pt x="82" y="125"/>
                  </a:cubicBezTo>
                  <a:cubicBezTo>
                    <a:pt x="85" y="123"/>
                    <a:pt x="85" y="123"/>
                    <a:pt x="85" y="123"/>
                  </a:cubicBezTo>
                  <a:cubicBezTo>
                    <a:pt x="88" y="119"/>
                    <a:pt x="88" y="119"/>
                    <a:pt x="88" y="119"/>
                  </a:cubicBezTo>
                  <a:cubicBezTo>
                    <a:pt x="89" y="120"/>
                    <a:pt x="89" y="120"/>
                    <a:pt x="89" y="120"/>
                  </a:cubicBezTo>
                  <a:cubicBezTo>
                    <a:pt x="89" y="120"/>
                    <a:pt x="91" y="119"/>
                    <a:pt x="92" y="119"/>
                  </a:cubicBezTo>
                  <a:cubicBezTo>
                    <a:pt x="94" y="119"/>
                    <a:pt x="94" y="119"/>
                    <a:pt x="94" y="119"/>
                  </a:cubicBezTo>
                  <a:cubicBezTo>
                    <a:pt x="96" y="117"/>
                    <a:pt x="96" y="117"/>
                    <a:pt x="96" y="117"/>
                  </a:cubicBezTo>
                  <a:cubicBezTo>
                    <a:pt x="97" y="115"/>
                    <a:pt x="97" y="115"/>
                    <a:pt x="97" y="115"/>
                  </a:cubicBezTo>
                  <a:cubicBezTo>
                    <a:pt x="97" y="115"/>
                    <a:pt x="99" y="113"/>
                    <a:pt x="101" y="113"/>
                  </a:cubicBezTo>
                  <a:cubicBezTo>
                    <a:pt x="102" y="112"/>
                    <a:pt x="101" y="111"/>
                    <a:pt x="101" y="111"/>
                  </a:cubicBezTo>
                  <a:cubicBezTo>
                    <a:pt x="101" y="111"/>
                    <a:pt x="105" y="109"/>
                    <a:pt x="106" y="109"/>
                  </a:cubicBezTo>
                  <a:cubicBezTo>
                    <a:pt x="107" y="109"/>
                    <a:pt x="107" y="110"/>
                    <a:pt x="107" y="110"/>
                  </a:cubicBezTo>
                  <a:cubicBezTo>
                    <a:pt x="111" y="109"/>
                    <a:pt x="111" y="109"/>
                    <a:pt x="111" y="109"/>
                  </a:cubicBezTo>
                  <a:cubicBezTo>
                    <a:pt x="111" y="109"/>
                    <a:pt x="116" y="108"/>
                    <a:pt x="116" y="108"/>
                  </a:cubicBezTo>
                  <a:cubicBezTo>
                    <a:pt x="117" y="108"/>
                    <a:pt x="119" y="108"/>
                    <a:pt x="119" y="108"/>
                  </a:cubicBezTo>
                  <a:cubicBezTo>
                    <a:pt x="119" y="108"/>
                    <a:pt x="123" y="108"/>
                    <a:pt x="124" y="108"/>
                  </a:cubicBezTo>
                  <a:cubicBezTo>
                    <a:pt x="125" y="108"/>
                    <a:pt x="125" y="108"/>
                    <a:pt x="125" y="108"/>
                  </a:cubicBezTo>
                  <a:cubicBezTo>
                    <a:pt x="131" y="109"/>
                    <a:pt x="131" y="109"/>
                    <a:pt x="131" y="109"/>
                  </a:cubicBezTo>
                  <a:cubicBezTo>
                    <a:pt x="132" y="109"/>
                    <a:pt x="132" y="109"/>
                    <a:pt x="132" y="109"/>
                  </a:cubicBezTo>
                  <a:cubicBezTo>
                    <a:pt x="132" y="109"/>
                    <a:pt x="136" y="108"/>
                    <a:pt x="138" y="107"/>
                  </a:cubicBezTo>
                  <a:cubicBezTo>
                    <a:pt x="139" y="106"/>
                    <a:pt x="138" y="105"/>
                    <a:pt x="138" y="105"/>
                  </a:cubicBezTo>
                  <a:cubicBezTo>
                    <a:pt x="140" y="103"/>
                    <a:pt x="140" y="103"/>
                    <a:pt x="140" y="103"/>
                  </a:cubicBezTo>
                  <a:cubicBezTo>
                    <a:pt x="144" y="104"/>
                    <a:pt x="144" y="104"/>
                    <a:pt x="144" y="104"/>
                  </a:cubicBezTo>
                  <a:cubicBezTo>
                    <a:pt x="150" y="98"/>
                    <a:pt x="150" y="98"/>
                    <a:pt x="150" y="98"/>
                  </a:cubicBezTo>
                  <a:cubicBezTo>
                    <a:pt x="152" y="94"/>
                    <a:pt x="152" y="94"/>
                    <a:pt x="152" y="94"/>
                  </a:cubicBezTo>
                  <a:cubicBezTo>
                    <a:pt x="152" y="92"/>
                    <a:pt x="152" y="92"/>
                    <a:pt x="152" y="92"/>
                  </a:cubicBezTo>
                  <a:cubicBezTo>
                    <a:pt x="153" y="91"/>
                    <a:pt x="153" y="91"/>
                    <a:pt x="153" y="91"/>
                  </a:cubicBezTo>
                  <a:cubicBezTo>
                    <a:pt x="155" y="88"/>
                    <a:pt x="155" y="88"/>
                    <a:pt x="155" y="88"/>
                  </a:cubicBezTo>
                  <a:cubicBezTo>
                    <a:pt x="155" y="85"/>
                    <a:pt x="155" y="85"/>
                    <a:pt x="155" y="85"/>
                  </a:cubicBezTo>
                  <a:cubicBezTo>
                    <a:pt x="156" y="82"/>
                    <a:pt x="156" y="82"/>
                    <a:pt x="156" y="82"/>
                  </a:cubicBezTo>
                  <a:cubicBezTo>
                    <a:pt x="155" y="79"/>
                    <a:pt x="155" y="79"/>
                    <a:pt x="155" y="79"/>
                  </a:cubicBezTo>
                  <a:cubicBezTo>
                    <a:pt x="158" y="75"/>
                    <a:pt x="158" y="75"/>
                    <a:pt x="158" y="75"/>
                  </a:cubicBezTo>
                  <a:cubicBezTo>
                    <a:pt x="157" y="69"/>
                    <a:pt x="157" y="69"/>
                    <a:pt x="157" y="69"/>
                  </a:cubicBezTo>
                  <a:cubicBezTo>
                    <a:pt x="157" y="69"/>
                    <a:pt x="159" y="67"/>
                    <a:pt x="160" y="67"/>
                  </a:cubicBezTo>
                  <a:cubicBezTo>
                    <a:pt x="162" y="67"/>
                    <a:pt x="161" y="63"/>
                    <a:pt x="161" y="63"/>
                  </a:cubicBezTo>
                  <a:cubicBezTo>
                    <a:pt x="161" y="57"/>
                    <a:pt x="161" y="57"/>
                    <a:pt x="161" y="57"/>
                  </a:cubicBezTo>
                  <a:cubicBezTo>
                    <a:pt x="164" y="54"/>
                    <a:pt x="164" y="54"/>
                    <a:pt x="164" y="54"/>
                  </a:cubicBezTo>
                  <a:cubicBezTo>
                    <a:pt x="165" y="47"/>
                    <a:pt x="165" y="47"/>
                    <a:pt x="165" y="47"/>
                  </a:cubicBezTo>
                  <a:cubicBezTo>
                    <a:pt x="165" y="47"/>
                    <a:pt x="166" y="47"/>
                    <a:pt x="167" y="46"/>
                  </a:cubicBezTo>
                  <a:cubicBezTo>
                    <a:pt x="169" y="46"/>
                    <a:pt x="167" y="42"/>
                    <a:pt x="167" y="42"/>
                  </a:cubicBezTo>
                  <a:cubicBezTo>
                    <a:pt x="168" y="38"/>
                    <a:pt x="168" y="38"/>
                    <a:pt x="168" y="38"/>
                  </a:cubicBezTo>
                  <a:cubicBezTo>
                    <a:pt x="171" y="36"/>
                    <a:pt x="171" y="36"/>
                    <a:pt x="171" y="36"/>
                  </a:cubicBezTo>
                  <a:cubicBezTo>
                    <a:pt x="172" y="31"/>
                    <a:pt x="172" y="31"/>
                    <a:pt x="172" y="31"/>
                  </a:cubicBezTo>
                  <a:cubicBezTo>
                    <a:pt x="173" y="29"/>
                    <a:pt x="173" y="29"/>
                    <a:pt x="173" y="29"/>
                  </a:cubicBezTo>
                  <a:cubicBezTo>
                    <a:pt x="176" y="29"/>
                    <a:pt x="176" y="29"/>
                    <a:pt x="176" y="29"/>
                  </a:cubicBezTo>
                  <a:cubicBezTo>
                    <a:pt x="179" y="28"/>
                    <a:pt x="179" y="28"/>
                    <a:pt x="179" y="28"/>
                  </a:cubicBezTo>
                  <a:cubicBezTo>
                    <a:pt x="182" y="25"/>
                    <a:pt x="182" y="25"/>
                    <a:pt x="182" y="25"/>
                  </a:cubicBezTo>
                  <a:cubicBezTo>
                    <a:pt x="182" y="25"/>
                    <a:pt x="183" y="24"/>
                    <a:pt x="184" y="24"/>
                  </a:cubicBezTo>
                  <a:cubicBezTo>
                    <a:pt x="185" y="24"/>
                    <a:pt x="186" y="22"/>
                    <a:pt x="186" y="22"/>
                  </a:cubicBezTo>
                  <a:cubicBezTo>
                    <a:pt x="189" y="19"/>
                    <a:pt x="189" y="19"/>
                    <a:pt x="189" y="19"/>
                  </a:cubicBezTo>
                  <a:lnTo>
                    <a:pt x="187" y="15"/>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8" name="Freeform 135"/>
            <p:cNvSpPr>
              <a:spLocks/>
            </p:cNvSpPr>
            <p:nvPr/>
          </p:nvSpPr>
          <p:spPr bwMode="auto">
            <a:xfrm>
              <a:off x="6481975" y="4772261"/>
              <a:ext cx="2888" cy="2723"/>
            </a:xfrm>
            <a:custGeom>
              <a:avLst/>
              <a:gdLst>
                <a:gd name="T0" fmla="*/ 1 w 1"/>
                <a:gd name="T1" fmla="*/ 1 h 1"/>
                <a:gd name="T2" fmla="*/ 1 w 1"/>
                <a:gd name="T3" fmla="*/ 1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cubicBezTo>
                    <a:pt x="1" y="1"/>
                    <a:pt x="1" y="1"/>
                    <a:pt x="1" y="1"/>
                  </a:cubicBezTo>
                  <a:cubicBezTo>
                    <a:pt x="0" y="0"/>
                    <a:pt x="0" y="0"/>
                    <a:pt x="0" y="0"/>
                  </a:cubicBezTo>
                  <a:lnTo>
                    <a:pt x="1" y="1"/>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9" name="Freeform 136"/>
            <p:cNvSpPr>
              <a:spLocks/>
            </p:cNvSpPr>
            <p:nvPr/>
          </p:nvSpPr>
          <p:spPr bwMode="auto">
            <a:xfrm>
              <a:off x="6887780" y="433791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0" name="Rectangle 137"/>
            <p:cNvSpPr>
              <a:spLocks noChangeArrowheads="1"/>
            </p:cNvSpPr>
            <p:nvPr/>
          </p:nvSpPr>
          <p:spPr bwMode="auto">
            <a:xfrm>
              <a:off x="6910886" y="4365143"/>
              <a:ext cx="1444" cy="1362"/>
            </a:xfrm>
            <a:prstGeom prst="rect">
              <a:avLst/>
            </a:prstGeom>
            <a:grpFill/>
            <a:ln w="9525">
              <a:solidFill>
                <a:schemeClr val="bg1"/>
              </a:solidFill>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1" name="Freeform 138"/>
            <p:cNvSpPr>
              <a:spLocks/>
            </p:cNvSpPr>
            <p:nvPr/>
          </p:nvSpPr>
          <p:spPr bwMode="auto">
            <a:xfrm>
              <a:off x="6594618" y="4826725"/>
              <a:ext cx="2888" cy="2723"/>
            </a:xfrm>
            <a:custGeom>
              <a:avLst/>
              <a:gdLst>
                <a:gd name="T0" fmla="*/ 0 w 2"/>
                <a:gd name="T1" fmla="*/ 0 h 2"/>
                <a:gd name="T2" fmla="*/ 2 w 2"/>
                <a:gd name="T3" fmla="*/ 0 h 2"/>
                <a:gd name="T4" fmla="*/ 0 w 2"/>
                <a:gd name="T5" fmla="*/ 2 h 2"/>
                <a:gd name="T6" fmla="*/ 0 w 2"/>
                <a:gd name="T7" fmla="*/ 0 h 2"/>
              </a:gdLst>
              <a:ahLst/>
              <a:cxnLst>
                <a:cxn ang="0">
                  <a:pos x="T0" y="T1"/>
                </a:cxn>
                <a:cxn ang="0">
                  <a:pos x="T2" y="T3"/>
                </a:cxn>
                <a:cxn ang="0">
                  <a:pos x="T4" y="T5"/>
                </a:cxn>
                <a:cxn ang="0">
                  <a:pos x="T6" y="T7"/>
                </a:cxn>
              </a:cxnLst>
              <a:rect l="0" t="0" r="r" b="b"/>
              <a:pathLst>
                <a:path w="2" h="2">
                  <a:moveTo>
                    <a:pt x="0" y="0"/>
                  </a:moveTo>
                  <a:lnTo>
                    <a:pt x="2" y="0"/>
                  </a:lnTo>
                  <a:lnTo>
                    <a:pt x="0" y="2"/>
                  </a:lnTo>
                  <a:lnTo>
                    <a:pt x="0" y="0"/>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2" name="Freeform 139"/>
            <p:cNvSpPr>
              <a:spLocks/>
            </p:cNvSpPr>
            <p:nvPr/>
          </p:nvSpPr>
          <p:spPr bwMode="auto">
            <a:xfrm>
              <a:off x="6856009" y="430795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3" name="Freeform 140"/>
            <p:cNvSpPr>
              <a:spLocks/>
            </p:cNvSpPr>
            <p:nvPr/>
          </p:nvSpPr>
          <p:spPr bwMode="auto">
            <a:xfrm>
              <a:off x="6879115" y="432701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4" name="Rectangle 141"/>
            <p:cNvSpPr>
              <a:spLocks noChangeArrowheads="1"/>
            </p:cNvSpPr>
            <p:nvPr/>
          </p:nvSpPr>
          <p:spPr bwMode="auto">
            <a:xfrm>
              <a:off x="6882003" y="4329741"/>
              <a:ext cx="1444" cy="1362"/>
            </a:xfrm>
            <a:prstGeom prst="rect">
              <a:avLst/>
            </a:prstGeom>
            <a:grpFill/>
            <a:ln w="9525">
              <a:solidFill>
                <a:schemeClr val="bg1"/>
              </a:solidFill>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5" name="Rectangle 142"/>
            <p:cNvSpPr>
              <a:spLocks noChangeArrowheads="1"/>
            </p:cNvSpPr>
            <p:nvPr/>
          </p:nvSpPr>
          <p:spPr bwMode="auto">
            <a:xfrm>
              <a:off x="7014865" y="4474071"/>
              <a:ext cx="1444" cy="2723"/>
            </a:xfrm>
            <a:prstGeom prst="rect">
              <a:avLst/>
            </a:prstGeom>
            <a:grpFill/>
            <a:ln w="9525">
              <a:solidFill>
                <a:schemeClr val="bg1"/>
              </a:solidFill>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6" name="Freeform 143"/>
            <p:cNvSpPr>
              <a:spLocks/>
            </p:cNvSpPr>
            <p:nvPr/>
          </p:nvSpPr>
          <p:spPr bwMode="auto">
            <a:xfrm>
              <a:off x="6261021" y="477770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7" name="Rectangle 144"/>
            <p:cNvSpPr>
              <a:spLocks noChangeArrowheads="1"/>
            </p:cNvSpPr>
            <p:nvPr/>
          </p:nvSpPr>
          <p:spPr bwMode="auto">
            <a:xfrm>
              <a:off x="6571512" y="4810386"/>
              <a:ext cx="1444" cy="1362"/>
            </a:xfrm>
            <a:prstGeom prst="rect">
              <a:avLst/>
            </a:prstGeom>
            <a:grpFill/>
            <a:ln w="9525">
              <a:solidFill>
                <a:schemeClr val="bg1"/>
              </a:solidFill>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8" name="Freeform 145"/>
            <p:cNvSpPr>
              <a:spLocks/>
            </p:cNvSpPr>
            <p:nvPr/>
          </p:nvSpPr>
          <p:spPr bwMode="auto">
            <a:xfrm>
              <a:off x="6597507" y="4826725"/>
              <a:ext cx="0" cy="2723"/>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 name="Freeform 146"/>
            <p:cNvSpPr>
              <a:spLocks/>
            </p:cNvSpPr>
            <p:nvPr/>
          </p:nvSpPr>
          <p:spPr bwMode="auto">
            <a:xfrm>
              <a:off x="6347669" y="500781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0" name="Freeform 147"/>
            <p:cNvSpPr>
              <a:spLocks/>
            </p:cNvSpPr>
            <p:nvPr/>
          </p:nvSpPr>
          <p:spPr bwMode="auto">
            <a:xfrm>
              <a:off x="6295680" y="496969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 name="Freeform 148"/>
            <p:cNvSpPr>
              <a:spLocks/>
            </p:cNvSpPr>
            <p:nvPr/>
          </p:nvSpPr>
          <p:spPr bwMode="auto">
            <a:xfrm>
              <a:off x="6266797" y="480766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 name="Freeform 149"/>
            <p:cNvSpPr>
              <a:spLocks/>
            </p:cNvSpPr>
            <p:nvPr/>
          </p:nvSpPr>
          <p:spPr bwMode="auto">
            <a:xfrm>
              <a:off x="6275462" y="485395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 name="Freeform 150"/>
            <p:cNvSpPr>
              <a:spLocks/>
            </p:cNvSpPr>
            <p:nvPr/>
          </p:nvSpPr>
          <p:spPr bwMode="auto">
            <a:xfrm>
              <a:off x="6295680" y="4969693"/>
              <a:ext cx="2888" cy="0"/>
            </a:xfrm>
            <a:custGeom>
              <a:avLst/>
              <a:gdLst>
                <a:gd name="T0" fmla="*/ 2 w 2"/>
                <a:gd name="T1" fmla="*/ 2 w 2"/>
                <a:gd name="T2" fmla="*/ 0 w 2"/>
                <a:gd name="T3" fmla="*/ 2 w 2"/>
              </a:gdLst>
              <a:ahLst/>
              <a:cxnLst>
                <a:cxn ang="0">
                  <a:pos x="T0" y="0"/>
                </a:cxn>
                <a:cxn ang="0">
                  <a:pos x="T1" y="0"/>
                </a:cxn>
                <a:cxn ang="0">
                  <a:pos x="T2" y="0"/>
                </a:cxn>
                <a:cxn ang="0">
                  <a:pos x="T3" y="0"/>
                </a:cxn>
              </a:cxnLst>
              <a:rect l="0" t="0" r="r" b="b"/>
              <a:pathLst>
                <a:path w="2">
                  <a:moveTo>
                    <a:pt x="2" y="0"/>
                  </a:moveTo>
                  <a:lnTo>
                    <a:pt x="2" y="0"/>
                  </a:lnTo>
                  <a:lnTo>
                    <a:pt x="0" y="0"/>
                  </a:lnTo>
                  <a:lnTo>
                    <a:pt x="2" y="0"/>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 name="Freeform 151"/>
            <p:cNvSpPr>
              <a:spLocks/>
            </p:cNvSpPr>
            <p:nvPr/>
          </p:nvSpPr>
          <p:spPr bwMode="auto">
            <a:xfrm>
              <a:off x="5966415" y="4796770"/>
              <a:ext cx="358148" cy="298190"/>
            </a:xfrm>
            <a:custGeom>
              <a:avLst/>
              <a:gdLst>
                <a:gd name="T0" fmla="*/ 122 w 124"/>
                <a:gd name="T1" fmla="*/ 43 h 109"/>
                <a:gd name="T2" fmla="*/ 120 w 124"/>
                <a:gd name="T3" fmla="*/ 38 h 109"/>
                <a:gd name="T4" fmla="*/ 114 w 124"/>
                <a:gd name="T5" fmla="*/ 33 h 109"/>
                <a:gd name="T6" fmla="*/ 107 w 124"/>
                <a:gd name="T7" fmla="*/ 29 h 109"/>
                <a:gd name="T8" fmla="*/ 107 w 124"/>
                <a:gd name="T9" fmla="*/ 19 h 109"/>
                <a:gd name="T10" fmla="*/ 111 w 124"/>
                <a:gd name="T11" fmla="*/ 8 h 109"/>
                <a:gd name="T12" fmla="*/ 106 w 124"/>
                <a:gd name="T13" fmla="*/ 6 h 109"/>
                <a:gd name="T14" fmla="*/ 103 w 124"/>
                <a:gd name="T15" fmla="*/ 9 h 109"/>
                <a:gd name="T16" fmla="*/ 92 w 124"/>
                <a:gd name="T17" fmla="*/ 9 h 109"/>
                <a:gd name="T18" fmla="*/ 90 w 124"/>
                <a:gd name="T19" fmla="*/ 4 h 109"/>
                <a:gd name="T20" fmla="*/ 83 w 124"/>
                <a:gd name="T21" fmla="*/ 2 h 109"/>
                <a:gd name="T22" fmla="*/ 79 w 124"/>
                <a:gd name="T23" fmla="*/ 2 h 109"/>
                <a:gd name="T24" fmla="*/ 75 w 124"/>
                <a:gd name="T25" fmla="*/ 1 h 109"/>
                <a:gd name="T26" fmla="*/ 72 w 124"/>
                <a:gd name="T27" fmla="*/ 1 h 109"/>
                <a:gd name="T28" fmla="*/ 70 w 124"/>
                <a:gd name="T29" fmla="*/ 2 h 109"/>
                <a:gd name="T30" fmla="*/ 65 w 124"/>
                <a:gd name="T31" fmla="*/ 3 h 109"/>
                <a:gd name="T32" fmla="*/ 63 w 124"/>
                <a:gd name="T33" fmla="*/ 4 h 109"/>
                <a:gd name="T34" fmla="*/ 60 w 124"/>
                <a:gd name="T35" fmla="*/ 4 h 109"/>
                <a:gd name="T36" fmla="*/ 46 w 124"/>
                <a:gd name="T37" fmla="*/ 2 h 109"/>
                <a:gd name="T38" fmla="*/ 37 w 124"/>
                <a:gd name="T39" fmla="*/ 2 h 109"/>
                <a:gd name="T40" fmla="*/ 32 w 124"/>
                <a:gd name="T41" fmla="*/ 0 h 109"/>
                <a:gd name="T42" fmla="*/ 25 w 124"/>
                <a:gd name="T43" fmla="*/ 2 h 109"/>
                <a:gd name="T44" fmla="*/ 21 w 124"/>
                <a:gd name="T45" fmla="*/ 5 h 109"/>
                <a:gd name="T46" fmla="*/ 18 w 124"/>
                <a:gd name="T47" fmla="*/ 11 h 109"/>
                <a:gd name="T48" fmla="*/ 10 w 124"/>
                <a:gd name="T49" fmla="*/ 11 h 109"/>
                <a:gd name="T50" fmla="*/ 1 w 124"/>
                <a:gd name="T51" fmla="*/ 6 h 109"/>
                <a:gd name="T52" fmla="*/ 1 w 124"/>
                <a:gd name="T53" fmla="*/ 13 h 109"/>
                <a:gd name="T54" fmla="*/ 1 w 124"/>
                <a:gd name="T55" fmla="*/ 21 h 109"/>
                <a:gd name="T56" fmla="*/ 5 w 124"/>
                <a:gd name="T57" fmla="*/ 22 h 109"/>
                <a:gd name="T58" fmla="*/ 10 w 124"/>
                <a:gd name="T59" fmla="*/ 27 h 109"/>
                <a:gd name="T60" fmla="*/ 14 w 124"/>
                <a:gd name="T61" fmla="*/ 34 h 109"/>
                <a:gd name="T62" fmla="*/ 17 w 124"/>
                <a:gd name="T63" fmla="*/ 38 h 109"/>
                <a:gd name="T64" fmla="*/ 21 w 124"/>
                <a:gd name="T65" fmla="*/ 46 h 109"/>
                <a:gd name="T66" fmla="*/ 27 w 124"/>
                <a:gd name="T67" fmla="*/ 52 h 109"/>
                <a:gd name="T68" fmla="*/ 34 w 124"/>
                <a:gd name="T69" fmla="*/ 58 h 109"/>
                <a:gd name="T70" fmla="*/ 41 w 124"/>
                <a:gd name="T71" fmla="*/ 63 h 109"/>
                <a:gd name="T72" fmla="*/ 47 w 124"/>
                <a:gd name="T73" fmla="*/ 69 h 109"/>
                <a:gd name="T74" fmla="*/ 53 w 124"/>
                <a:gd name="T75" fmla="*/ 73 h 109"/>
                <a:gd name="T76" fmla="*/ 63 w 124"/>
                <a:gd name="T77" fmla="*/ 84 h 109"/>
                <a:gd name="T78" fmla="*/ 67 w 124"/>
                <a:gd name="T79" fmla="*/ 90 h 109"/>
                <a:gd name="T80" fmla="*/ 71 w 124"/>
                <a:gd name="T81" fmla="*/ 92 h 109"/>
                <a:gd name="T82" fmla="*/ 79 w 124"/>
                <a:gd name="T83" fmla="*/ 99 h 109"/>
                <a:gd name="T84" fmla="*/ 92 w 124"/>
                <a:gd name="T85" fmla="*/ 106 h 109"/>
                <a:gd name="T86" fmla="*/ 97 w 124"/>
                <a:gd name="T87" fmla="*/ 109 h 109"/>
                <a:gd name="T88" fmla="*/ 100 w 124"/>
                <a:gd name="T89" fmla="*/ 105 h 109"/>
                <a:gd name="T90" fmla="*/ 99 w 124"/>
                <a:gd name="T91" fmla="*/ 101 h 109"/>
                <a:gd name="T92" fmla="*/ 97 w 124"/>
                <a:gd name="T93" fmla="*/ 95 h 109"/>
                <a:gd name="T94" fmla="*/ 97 w 124"/>
                <a:gd name="T95" fmla="*/ 88 h 109"/>
                <a:gd name="T96" fmla="*/ 100 w 124"/>
                <a:gd name="T97" fmla="*/ 81 h 109"/>
                <a:gd name="T98" fmla="*/ 104 w 124"/>
                <a:gd name="T99" fmla="*/ 73 h 109"/>
                <a:gd name="T100" fmla="*/ 109 w 124"/>
                <a:gd name="T101" fmla="*/ 75 h 109"/>
                <a:gd name="T102" fmla="*/ 111 w 124"/>
                <a:gd name="T103" fmla="*/ 72 h 109"/>
                <a:gd name="T104" fmla="*/ 108 w 124"/>
                <a:gd name="T105" fmla="*/ 68 h 109"/>
                <a:gd name="T106" fmla="*/ 106 w 124"/>
                <a:gd name="T107" fmla="*/ 66 h 109"/>
                <a:gd name="T108" fmla="*/ 110 w 124"/>
                <a:gd name="T109" fmla="*/ 65 h 109"/>
                <a:gd name="T110" fmla="*/ 114 w 124"/>
                <a:gd name="T111" fmla="*/ 63 h 109"/>
                <a:gd name="T112" fmla="*/ 122 w 124"/>
                <a:gd name="T113" fmla="*/ 61 h 109"/>
                <a:gd name="T114" fmla="*/ 119 w 124"/>
                <a:gd name="T115" fmla="*/ 51 h 109"/>
                <a:gd name="T116" fmla="*/ 113 w 124"/>
                <a:gd name="T117" fmla="*/ 4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4" h="109">
                  <a:moveTo>
                    <a:pt x="114" y="44"/>
                  </a:moveTo>
                  <a:cubicBezTo>
                    <a:pt x="115" y="44"/>
                    <a:pt x="116" y="44"/>
                    <a:pt x="117" y="44"/>
                  </a:cubicBezTo>
                  <a:cubicBezTo>
                    <a:pt x="118" y="44"/>
                    <a:pt x="119" y="44"/>
                    <a:pt x="119" y="44"/>
                  </a:cubicBezTo>
                  <a:cubicBezTo>
                    <a:pt x="120" y="44"/>
                    <a:pt x="122" y="43"/>
                    <a:pt x="122" y="43"/>
                  </a:cubicBezTo>
                  <a:cubicBezTo>
                    <a:pt x="122" y="43"/>
                    <a:pt x="123" y="42"/>
                    <a:pt x="123" y="42"/>
                  </a:cubicBezTo>
                  <a:cubicBezTo>
                    <a:pt x="123" y="42"/>
                    <a:pt x="124" y="41"/>
                    <a:pt x="124" y="40"/>
                  </a:cubicBezTo>
                  <a:cubicBezTo>
                    <a:pt x="123" y="40"/>
                    <a:pt x="122" y="39"/>
                    <a:pt x="122" y="39"/>
                  </a:cubicBezTo>
                  <a:cubicBezTo>
                    <a:pt x="121" y="39"/>
                    <a:pt x="120" y="38"/>
                    <a:pt x="120" y="38"/>
                  </a:cubicBezTo>
                  <a:cubicBezTo>
                    <a:pt x="120" y="37"/>
                    <a:pt x="119" y="36"/>
                    <a:pt x="118" y="36"/>
                  </a:cubicBezTo>
                  <a:cubicBezTo>
                    <a:pt x="118" y="36"/>
                    <a:pt x="118" y="37"/>
                    <a:pt x="117" y="36"/>
                  </a:cubicBezTo>
                  <a:cubicBezTo>
                    <a:pt x="116" y="36"/>
                    <a:pt x="115" y="35"/>
                    <a:pt x="115" y="35"/>
                  </a:cubicBezTo>
                  <a:cubicBezTo>
                    <a:pt x="115" y="34"/>
                    <a:pt x="115" y="34"/>
                    <a:pt x="114" y="33"/>
                  </a:cubicBezTo>
                  <a:cubicBezTo>
                    <a:pt x="113" y="33"/>
                    <a:pt x="112" y="32"/>
                    <a:pt x="111" y="32"/>
                  </a:cubicBezTo>
                  <a:cubicBezTo>
                    <a:pt x="110" y="32"/>
                    <a:pt x="111" y="32"/>
                    <a:pt x="109" y="32"/>
                  </a:cubicBezTo>
                  <a:cubicBezTo>
                    <a:pt x="107" y="32"/>
                    <a:pt x="106" y="31"/>
                    <a:pt x="106" y="30"/>
                  </a:cubicBezTo>
                  <a:cubicBezTo>
                    <a:pt x="106" y="29"/>
                    <a:pt x="106" y="30"/>
                    <a:pt x="107" y="29"/>
                  </a:cubicBezTo>
                  <a:cubicBezTo>
                    <a:pt x="107" y="28"/>
                    <a:pt x="107" y="26"/>
                    <a:pt x="107" y="25"/>
                  </a:cubicBezTo>
                  <a:cubicBezTo>
                    <a:pt x="106" y="25"/>
                    <a:pt x="106" y="25"/>
                    <a:pt x="105" y="23"/>
                  </a:cubicBezTo>
                  <a:cubicBezTo>
                    <a:pt x="105" y="21"/>
                    <a:pt x="107" y="22"/>
                    <a:pt x="107" y="22"/>
                  </a:cubicBezTo>
                  <a:cubicBezTo>
                    <a:pt x="107" y="22"/>
                    <a:pt x="107" y="20"/>
                    <a:pt x="107" y="19"/>
                  </a:cubicBezTo>
                  <a:cubicBezTo>
                    <a:pt x="107" y="19"/>
                    <a:pt x="108" y="17"/>
                    <a:pt x="108" y="17"/>
                  </a:cubicBezTo>
                  <a:cubicBezTo>
                    <a:pt x="110" y="14"/>
                    <a:pt x="110" y="14"/>
                    <a:pt x="110" y="14"/>
                  </a:cubicBezTo>
                  <a:cubicBezTo>
                    <a:pt x="111" y="11"/>
                    <a:pt x="111" y="11"/>
                    <a:pt x="111" y="11"/>
                  </a:cubicBezTo>
                  <a:cubicBezTo>
                    <a:pt x="111" y="8"/>
                    <a:pt x="111" y="8"/>
                    <a:pt x="111" y="8"/>
                  </a:cubicBezTo>
                  <a:cubicBezTo>
                    <a:pt x="111" y="5"/>
                    <a:pt x="111" y="5"/>
                    <a:pt x="111" y="5"/>
                  </a:cubicBezTo>
                  <a:cubicBezTo>
                    <a:pt x="108" y="5"/>
                    <a:pt x="108" y="5"/>
                    <a:pt x="108" y="5"/>
                  </a:cubicBezTo>
                  <a:cubicBezTo>
                    <a:pt x="106" y="4"/>
                    <a:pt x="106" y="4"/>
                    <a:pt x="106" y="4"/>
                  </a:cubicBezTo>
                  <a:cubicBezTo>
                    <a:pt x="106" y="5"/>
                    <a:pt x="106" y="5"/>
                    <a:pt x="106" y="6"/>
                  </a:cubicBezTo>
                  <a:cubicBezTo>
                    <a:pt x="106" y="6"/>
                    <a:pt x="106" y="8"/>
                    <a:pt x="105" y="8"/>
                  </a:cubicBezTo>
                  <a:cubicBezTo>
                    <a:pt x="105" y="9"/>
                    <a:pt x="105" y="9"/>
                    <a:pt x="105" y="9"/>
                  </a:cubicBezTo>
                  <a:cubicBezTo>
                    <a:pt x="104" y="9"/>
                    <a:pt x="104" y="9"/>
                    <a:pt x="104" y="9"/>
                  </a:cubicBezTo>
                  <a:cubicBezTo>
                    <a:pt x="104" y="9"/>
                    <a:pt x="104" y="9"/>
                    <a:pt x="103" y="9"/>
                  </a:cubicBezTo>
                  <a:cubicBezTo>
                    <a:pt x="103" y="10"/>
                    <a:pt x="103" y="10"/>
                    <a:pt x="103" y="10"/>
                  </a:cubicBezTo>
                  <a:cubicBezTo>
                    <a:pt x="101" y="12"/>
                    <a:pt x="101" y="12"/>
                    <a:pt x="101" y="12"/>
                  </a:cubicBezTo>
                  <a:cubicBezTo>
                    <a:pt x="100" y="12"/>
                    <a:pt x="100" y="12"/>
                    <a:pt x="100" y="12"/>
                  </a:cubicBezTo>
                  <a:cubicBezTo>
                    <a:pt x="99" y="12"/>
                    <a:pt x="97" y="11"/>
                    <a:pt x="92" y="9"/>
                  </a:cubicBezTo>
                  <a:cubicBezTo>
                    <a:pt x="92" y="9"/>
                    <a:pt x="92" y="9"/>
                    <a:pt x="92" y="9"/>
                  </a:cubicBezTo>
                  <a:cubicBezTo>
                    <a:pt x="92" y="9"/>
                    <a:pt x="92" y="9"/>
                    <a:pt x="92" y="9"/>
                  </a:cubicBezTo>
                  <a:cubicBezTo>
                    <a:pt x="92" y="9"/>
                    <a:pt x="90" y="8"/>
                    <a:pt x="90" y="6"/>
                  </a:cubicBezTo>
                  <a:cubicBezTo>
                    <a:pt x="90" y="6"/>
                    <a:pt x="90" y="5"/>
                    <a:pt x="90" y="4"/>
                  </a:cubicBezTo>
                  <a:cubicBezTo>
                    <a:pt x="87" y="2"/>
                    <a:pt x="87" y="2"/>
                    <a:pt x="87" y="2"/>
                  </a:cubicBezTo>
                  <a:cubicBezTo>
                    <a:pt x="87" y="2"/>
                    <a:pt x="87" y="2"/>
                    <a:pt x="87" y="2"/>
                  </a:cubicBezTo>
                  <a:cubicBezTo>
                    <a:pt x="87" y="2"/>
                    <a:pt x="87" y="1"/>
                    <a:pt x="86" y="1"/>
                  </a:cubicBezTo>
                  <a:cubicBezTo>
                    <a:pt x="83" y="2"/>
                    <a:pt x="83" y="2"/>
                    <a:pt x="83" y="2"/>
                  </a:cubicBezTo>
                  <a:cubicBezTo>
                    <a:pt x="83" y="2"/>
                    <a:pt x="83" y="2"/>
                    <a:pt x="83" y="2"/>
                  </a:cubicBezTo>
                  <a:cubicBezTo>
                    <a:pt x="83" y="2"/>
                    <a:pt x="83" y="2"/>
                    <a:pt x="83" y="2"/>
                  </a:cubicBezTo>
                  <a:cubicBezTo>
                    <a:pt x="80" y="2"/>
                    <a:pt x="80" y="2"/>
                    <a:pt x="80" y="2"/>
                  </a:cubicBezTo>
                  <a:cubicBezTo>
                    <a:pt x="79" y="2"/>
                    <a:pt x="79" y="2"/>
                    <a:pt x="79" y="2"/>
                  </a:cubicBezTo>
                  <a:cubicBezTo>
                    <a:pt x="78" y="1"/>
                    <a:pt x="77" y="1"/>
                    <a:pt x="77" y="0"/>
                  </a:cubicBezTo>
                  <a:cubicBezTo>
                    <a:pt x="76" y="0"/>
                    <a:pt x="76" y="0"/>
                    <a:pt x="76" y="0"/>
                  </a:cubicBezTo>
                  <a:cubicBezTo>
                    <a:pt x="76" y="0"/>
                    <a:pt x="76" y="0"/>
                    <a:pt x="75" y="1"/>
                  </a:cubicBezTo>
                  <a:cubicBezTo>
                    <a:pt x="75" y="1"/>
                    <a:pt x="75" y="1"/>
                    <a:pt x="75" y="1"/>
                  </a:cubicBezTo>
                  <a:cubicBezTo>
                    <a:pt x="74" y="1"/>
                    <a:pt x="74" y="1"/>
                    <a:pt x="74" y="1"/>
                  </a:cubicBezTo>
                  <a:cubicBezTo>
                    <a:pt x="73" y="1"/>
                    <a:pt x="73" y="1"/>
                    <a:pt x="73" y="1"/>
                  </a:cubicBezTo>
                  <a:cubicBezTo>
                    <a:pt x="73" y="1"/>
                    <a:pt x="73" y="1"/>
                    <a:pt x="73" y="1"/>
                  </a:cubicBezTo>
                  <a:cubicBezTo>
                    <a:pt x="73" y="1"/>
                    <a:pt x="73" y="1"/>
                    <a:pt x="72" y="1"/>
                  </a:cubicBezTo>
                  <a:cubicBezTo>
                    <a:pt x="71" y="1"/>
                    <a:pt x="71" y="1"/>
                    <a:pt x="71" y="1"/>
                  </a:cubicBezTo>
                  <a:cubicBezTo>
                    <a:pt x="70" y="2"/>
                    <a:pt x="70" y="2"/>
                    <a:pt x="70" y="2"/>
                  </a:cubicBezTo>
                  <a:cubicBezTo>
                    <a:pt x="70" y="2"/>
                    <a:pt x="70" y="2"/>
                    <a:pt x="70" y="2"/>
                  </a:cubicBezTo>
                  <a:cubicBezTo>
                    <a:pt x="70" y="2"/>
                    <a:pt x="70" y="2"/>
                    <a:pt x="70" y="2"/>
                  </a:cubicBezTo>
                  <a:cubicBezTo>
                    <a:pt x="69" y="3"/>
                    <a:pt x="69" y="3"/>
                    <a:pt x="69" y="3"/>
                  </a:cubicBezTo>
                  <a:cubicBezTo>
                    <a:pt x="68" y="3"/>
                    <a:pt x="68" y="3"/>
                    <a:pt x="68" y="3"/>
                  </a:cubicBezTo>
                  <a:cubicBezTo>
                    <a:pt x="67" y="3"/>
                    <a:pt x="67" y="3"/>
                    <a:pt x="67" y="3"/>
                  </a:cubicBezTo>
                  <a:cubicBezTo>
                    <a:pt x="65" y="3"/>
                    <a:pt x="65" y="3"/>
                    <a:pt x="65" y="3"/>
                  </a:cubicBezTo>
                  <a:cubicBezTo>
                    <a:pt x="65" y="3"/>
                    <a:pt x="65" y="3"/>
                    <a:pt x="65" y="3"/>
                  </a:cubicBezTo>
                  <a:cubicBezTo>
                    <a:pt x="64" y="3"/>
                    <a:pt x="64" y="3"/>
                    <a:pt x="64" y="3"/>
                  </a:cubicBezTo>
                  <a:cubicBezTo>
                    <a:pt x="64" y="3"/>
                    <a:pt x="63" y="3"/>
                    <a:pt x="63" y="3"/>
                  </a:cubicBezTo>
                  <a:cubicBezTo>
                    <a:pt x="63" y="4"/>
                    <a:pt x="63" y="4"/>
                    <a:pt x="63" y="4"/>
                  </a:cubicBezTo>
                  <a:cubicBezTo>
                    <a:pt x="62" y="5"/>
                    <a:pt x="62" y="5"/>
                    <a:pt x="62" y="5"/>
                  </a:cubicBezTo>
                  <a:cubicBezTo>
                    <a:pt x="61" y="5"/>
                    <a:pt x="61" y="5"/>
                    <a:pt x="61" y="5"/>
                  </a:cubicBezTo>
                  <a:cubicBezTo>
                    <a:pt x="60" y="5"/>
                    <a:pt x="60" y="5"/>
                    <a:pt x="60" y="5"/>
                  </a:cubicBezTo>
                  <a:cubicBezTo>
                    <a:pt x="60" y="4"/>
                    <a:pt x="60" y="4"/>
                    <a:pt x="60" y="4"/>
                  </a:cubicBezTo>
                  <a:cubicBezTo>
                    <a:pt x="58" y="4"/>
                    <a:pt x="58" y="4"/>
                    <a:pt x="58" y="4"/>
                  </a:cubicBezTo>
                  <a:cubicBezTo>
                    <a:pt x="53" y="3"/>
                    <a:pt x="53" y="3"/>
                    <a:pt x="53" y="3"/>
                  </a:cubicBezTo>
                  <a:cubicBezTo>
                    <a:pt x="50" y="3"/>
                    <a:pt x="50" y="3"/>
                    <a:pt x="50" y="3"/>
                  </a:cubicBezTo>
                  <a:cubicBezTo>
                    <a:pt x="46" y="2"/>
                    <a:pt x="46" y="2"/>
                    <a:pt x="46" y="2"/>
                  </a:cubicBezTo>
                  <a:cubicBezTo>
                    <a:pt x="44" y="2"/>
                    <a:pt x="44" y="2"/>
                    <a:pt x="44" y="2"/>
                  </a:cubicBezTo>
                  <a:cubicBezTo>
                    <a:pt x="44" y="2"/>
                    <a:pt x="44" y="2"/>
                    <a:pt x="44" y="2"/>
                  </a:cubicBezTo>
                  <a:cubicBezTo>
                    <a:pt x="41" y="3"/>
                    <a:pt x="41" y="3"/>
                    <a:pt x="41" y="3"/>
                  </a:cubicBezTo>
                  <a:cubicBezTo>
                    <a:pt x="37" y="2"/>
                    <a:pt x="37" y="2"/>
                    <a:pt x="37" y="2"/>
                  </a:cubicBezTo>
                  <a:cubicBezTo>
                    <a:pt x="35" y="0"/>
                    <a:pt x="35" y="0"/>
                    <a:pt x="35" y="0"/>
                  </a:cubicBezTo>
                  <a:cubicBezTo>
                    <a:pt x="33" y="0"/>
                    <a:pt x="33" y="0"/>
                    <a:pt x="33" y="0"/>
                  </a:cubicBezTo>
                  <a:cubicBezTo>
                    <a:pt x="33" y="0"/>
                    <a:pt x="33" y="0"/>
                    <a:pt x="33" y="0"/>
                  </a:cubicBezTo>
                  <a:cubicBezTo>
                    <a:pt x="32" y="0"/>
                    <a:pt x="32" y="0"/>
                    <a:pt x="32" y="0"/>
                  </a:cubicBezTo>
                  <a:cubicBezTo>
                    <a:pt x="31" y="2"/>
                    <a:pt x="31" y="2"/>
                    <a:pt x="31" y="2"/>
                  </a:cubicBezTo>
                  <a:cubicBezTo>
                    <a:pt x="31" y="2"/>
                    <a:pt x="31" y="2"/>
                    <a:pt x="31" y="2"/>
                  </a:cubicBezTo>
                  <a:cubicBezTo>
                    <a:pt x="30" y="3"/>
                    <a:pt x="30" y="3"/>
                    <a:pt x="29" y="3"/>
                  </a:cubicBezTo>
                  <a:cubicBezTo>
                    <a:pt x="28" y="3"/>
                    <a:pt x="26" y="2"/>
                    <a:pt x="25" y="2"/>
                  </a:cubicBezTo>
                  <a:cubicBezTo>
                    <a:pt x="23" y="3"/>
                    <a:pt x="23" y="3"/>
                    <a:pt x="23" y="3"/>
                  </a:cubicBezTo>
                  <a:cubicBezTo>
                    <a:pt x="21" y="3"/>
                    <a:pt x="21" y="3"/>
                    <a:pt x="21" y="3"/>
                  </a:cubicBezTo>
                  <a:cubicBezTo>
                    <a:pt x="21" y="4"/>
                    <a:pt x="21" y="4"/>
                    <a:pt x="21" y="4"/>
                  </a:cubicBezTo>
                  <a:cubicBezTo>
                    <a:pt x="21" y="5"/>
                    <a:pt x="21" y="5"/>
                    <a:pt x="21" y="5"/>
                  </a:cubicBezTo>
                  <a:cubicBezTo>
                    <a:pt x="19" y="7"/>
                    <a:pt x="19" y="7"/>
                    <a:pt x="19" y="7"/>
                  </a:cubicBezTo>
                  <a:cubicBezTo>
                    <a:pt x="18" y="8"/>
                    <a:pt x="18" y="8"/>
                    <a:pt x="18" y="8"/>
                  </a:cubicBezTo>
                  <a:cubicBezTo>
                    <a:pt x="18" y="8"/>
                    <a:pt x="18" y="9"/>
                    <a:pt x="18" y="10"/>
                  </a:cubicBezTo>
                  <a:cubicBezTo>
                    <a:pt x="18" y="11"/>
                    <a:pt x="18" y="11"/>
                    <a:pt x="18" y="11"/>
                  </a:cubicBezTo>
                  <a:cubicBezTo>
                    <a:pt x="15" y="12"/>
                    <a:pt x="15" y="12"/>
                    <a:pt x="15" y="12"/>
                  </a:cubicBezTo>
                  <a:cubicBezTo>
                    <a:pt x="15" y="13"/>
                    <a:pt x="15" y="13"/>
                    <a:pt x="15" y="13"/>
                  </a:cubicBezTo>
                  <a:cubicBezTo>
                    <a:pt x="14" y="13"/>
                    <a:pt x="14" y="13"/>
                    <a:pt x="14" y="13"/>
                  </a:cubicBezTo>
                  <a:cubicBezTo>
                    <a:pt x="10" y="11"/>
                    <a:pt x="10" y="11"/>
                    <a:pt x="10" y="11"/>
                  </a:cubicBezTo>
                  <a:cubicBezTo>
                    <a:pt x="5" y="4"/>
                    <a:pt x="5" y="4"/>
                    <a:pt x="5" y="4"/>
                  </a:cubicBezTo>
                  <a:cubicBezTo>
                    <a:pt x="4" y="4"/>
                    <a:pt x="4" y="4"/>
                    <a:pt x="4" y="4"/>
                  </a:cubicBezTo>
                  <a:cubicBezTo>
                    <a:pt x="3" y="5"/>
                    <a:pt x="1" y="5"/>
                    <a:pt x="1" y="6"/>
                  </a:cubicBezTo>
                  <a:cubicBezTo>
                    <a:pt x="1" y="6"/>
                    <a:pt x="1" y="6"/>
                    <a:pt x="1" y="6"/>
                  </a:cubicBezTo>
                  <a:cubicBezTo>
                    <a:pt x="1" y="6"/>
                    <a:pt x="1" y="7"/>
                    <a:pt x="1" y="9"/>
                  </a:cubicBezTo>
                  <a:cubicBezTo>
                    <a:pt x="1" y="9"/>
                    <a:pt x="1" y="9"/>
                    <a:pt x="1" y="9"/>
                  </a:cubicBezTo>
                  <a:cubicBezTo>
                    <a:pt x="0" y="11"/>
                    <a:pt x="0" y="11"/>
                    <a:pt x="0" y="11"/>
                  </a:cubicBezTo>
                  <a:cubicBezTo>
                    <a:pt x="1" y="13"/>
                    <a:pt x="1" y="13"/>
                    <a:pt x="1" y="13"/>
                  </a:cubicBezTo>
                  <a:cubicBezTo>
                    <a:pt x="1" y="15"/>
                    <a:pt x="1" y="15"/>
                    <a:pt x="1" y="15"/>
                  </a:cubicBezTo>
                  <a:cubicBezTo>
                    <a:pt x="1" y="16"/>
                    <a:pt x="1" y="16"/>
                    <a:pt x="1" y="16"/>
                  </a:cubicBezTo>
                  <a:cubicBezTo>
                    <a:pt x="1" y="16"/>
                    <a:pt x="2" y="17"/>
                    <a:pt x="2" y="18"/>
                  </a:cubicBezTo>
                  <a:cubicBezTo>
                    <a:pt x="2" y="18"/>
                    <a:pt x="2" y="20"/>
                    <a:pt x="1" y="21"/>
                  </a:cubicBezTo>
                  <a:cubicBezTo>
                    <a:pt x="1" y="21"/>
                    <a:pt x="1" y="22"/>
                    <a:pt x="1" y="22"/>
                  </a:cubicBezTo>
                  <a:cubicBezTo>
                    <a:pt x="1" y="22"/>
                    <a:pt x="1" y="22"/>
                    <a:pt x="1" y="22"/>
                  </a:cubicBezTo>
                  <a:cubicBezTo>
                    <a:pt x="1" y="22"/>
                    <a:pt x="1" y="22"/>
                    <a:pt x="1" y="22"/>
                  </a:cubicBezTo>
                  <a:cubicBezTo>
                    <a:pt x="5" y="22"/>
                    <a:pt x="5" y="22"/>
                    <a:pt x="5" y="22"/>
                  </a:cubicBezTo>
                  <a:cubicBezTo>
                    <a:pt x="5" y="22"/>
                    <a:pt x="5" y="22"/>
                    <a:pt x="5" y="22"/>
                  </a:cubicBezTo>
                  <a:cubicBezTo>
                    <a:pt x="6" y="23"/>
                    <a:pt x="7" y="24"/>
                    <a:pt x="8" y="25"/>
                  </a:cubicBezTo>
                  <a:cubicBezTo>
                    <a:pt x="10" y="26"/>
                    <a:pt x="10" y="26"/>
                    <a:pt x="10" y="26"/>
                  </a:cubicBezTo>
                  <a:cubicBezTo>
                    <a:pt x="10" y="27"/>
                    <a:pt x="10" y="27"/>
                    <a:pt x="10" y="27"/>
                  </a:cubicBezTo>
                  <a:cubicBezTo>
                    <a:pt x="10" y="28"/>
                    <a:pt x="10" y="29"/>
                    <a:pt x="10" y="29"/>
                  </a:cubicBezTo>
                  <a:cubicBezTo>
                    <a:pt x="12" y="29"/>
                    <a:pt x="12" y="29"/>
                    <a:pt x="12" y="29"/>
                  </a:cubicBezTo>
                  <a:cubicBezTo>
                    <a:pt x="13" y="30"/>
                    <a:pt x="13" y="30"/>
                    <a:pt x="13" y="30"/>
                  </a:cubicBezTo>
                  <a:cubicBezTo>
                    <a:pt x="14" y="31"/>
                    <a:pt x="15" y="33"/>
                    <a:pt x="14" y="34"/>
                  </a:cubicBezTo>
                  <a:cubicBezTo>
                    <a:pt x="14" y="34"/>
                    <a:pt x="15" y="34"/>
                    <a:pt x="15" y="35"/>
                  </a:cubicBezTo>
                  <a:cubicBezTo>
                    <a:pt x="15" y="35"/>
                    <a:pt x="15" y="36"/>
                    <a:pt x="15" y="36"/>
                  </a:cubicBezTo>
                  <a:cubicBezTo>
                    <a:pt x="15" y="37"/>
                    <a:pt x="15" y="37"/>
                    <a:pt x="15" y="37"/>
                  </a:cubicBezTo>
                  <a:cubicBezTo>
                    <a:pt x="16" y="37"/>
                    <a:pt x="16" y="38"/>
                    <a:pt x="17" y="38"/>
                  </a:cubicBezTo>
                  <a:cubicBezTo>
                    <a:pt x="18" y="39"/>
                    <a:pt x="18" y="39"/>
                    <a:pt x="18" y="39"/>
                  </a:cubicBezTo>
                  <a:cubicBezTo>
                    <a:pt x="17" y="42"/>
                    <a:pt x="17" y="42"/>
                    <a:pt x="17" y="42"/>
                  </a:cubicBezTo>
                  <a:cubicBezTo>
                    <a:pt x="18" y="43"/>
                    <a:pt x="18" y="43"/>
                    <a:pt x="18" y="43"/>
                  </a:cubicBezTo>
                  <a:cubicBezTo>
                    <a:pt x="21" y="46"/>
                    <a:pt x="21" y="46"/>
                    <a:pt x="21" y="46"/>
                  </a:cubicBezTo>
                  <a:cubicBezTo>
                    <a:pt x="23" y="49"/>
                    <a:pt x="23" y="49"/>
                    <a:pt x="23" y="49"/>
                  </a:cubicBezTo>
                  <a:cubicBezTo>
                    <a:pt x="24" y="49"/>
                    <a:pt x="24" y="49"/>
                    <a:pt x="24" y="49"/>
                  </a:cubicBezTo>
                  <a:cubicBezTo>
                    <a:pt x="25" y="51"/>
                    <a:pt x="25" y="51"/>
                    <a:pt x="25" y="51"/>
                  </a:cubicBezTo>
                  <a:cubicBezTo>
                    <a:pt x="27" y="52"/>
                    <a:pt x="27" y="52"/>
                    <a:pt x="27" y="52"/>
                  </a:cubicBezTo>
                  <a:cubicBezTo>
                    <a:pt x="29" y="55"/>
                    <a:pt x="29" y="55"/>
                    <a:pt x="29" y="55"/>
                  </a:cubicBezTo>
                  <a:cubicBezTo>
                    <a:pt x="31" y="56"/>
                    <a:pt x="31" y="56"/>
                    <a:pt x="31" y="56"/>
                  </a:cubicBezTo>
                  <a:cubicBezTo>
                    <a:pt x="31" y="58"/>
                    <a:pt x="31" y="58"/>
                    <a:pt x="31" y="58"/>
                  </a:cubicBezTo>
                  <a:cubicBezTo>
                    <a:pt x="34" y="58"/>
                    <a:pt x="34" y="58"/>
                    <a:pt x="34" y="58"/>
                  </a:cubicBezTo>
                  <a:cubicBezTo>
                    <a:pt x="34" y="60"/>
                    <a:pt x="34" y="60"/>
                    <a:pt x="34" y="60"/>
                  </a:cubicBezTo>
                  <a:cubicBezTo>
                    <a:pt x="35" y="60"/>
                    <a:pt x="35" y="60"/>
                    <a:pt x="35" y="60"/>
                  </a:cubicBezTo>
                  <a:cubicBezTo>
                    <a:pt x="37" y="62"/>
                    <a:pt x="37" y="62"/>
                    <a:pt x="37" y="62"/>
                  </a:cubicBezTo>
                  <a:cubicBezTo>
                    <a:pt x="41" y="63"/>
                    <a:pt x="41" y="63"/>
                    <a:pt x="41" y="63"/>
                  </a:cubicBezTo>
                  <a:cubicBezTo>
                    <a:pt x="42" y="64"/>
                    <a:pt x="42" y="64"/>
                    <a:pt x="42" y="64"/>
                  </a:cubicBezTo>
                  <a:cubicBezTo>
                    <a:pt x="44" y="67"/>
                    <a:pt x="44" y="67"/>
                    <a:pt x="44" y="67"/>
                  </a:cubicBezTo>
                  <a:cubicBezTo>
                    <a:pt x="45" y="67"/>
                    <a:pt x="45" y="67"/>
                    <a:pt x="45" y="67"/>
                  </a:cubicBezTo>
                  <a:cubicBezTo>
                    <a:pt x="47" y="69"/>
                    <a:pt x="47" y="69"/>
                    <a:pt x="47" y="69"/>
                  </a:cubicBezTo>
                  <a:cubicBezTo>
                    <a:pt x="47" y="69"/>
                    <a:pt x="47" y="70"/>
                    <a:pt x="48" y="70"/>
                  </a:cubicBezTo>
                  <a:cubicBezTo>
                    <a:pt x="48" y="71"/>
                    <a:pt x="50" y="71"/>
                    <a:pt x="52" y="72"/>
                  </a:cubicBezTo>
                  <a:cubicBezTo>
                    <a:pt x="53" y="72"/>
                    <a:pt x="53" y="72"/>
                    <a:pt x="53" y="72"/>
                  </a:cubicBezTo>
                  <a:cubicBezTo>
                    <a:pt x="53" y="73"/>
                    <a:pt x="53" y="73"/>
                    <a:pt x="53" y="73"/>
                  </a:cubicBezTo>
                  <a:cubicBezTo>
                    <a:pt x="54" y="76"/>
                    <a:pt x="54" y="76"/>
                    <a:pt x="54" y="76"/>
                  </a:cubicBezTo>
                  <a:cubicBezTo>
                    <a:pt x="55" y="78"/>
                    <a:pt x="55" y="78"/>
                    <a:pt x="55" y="78"/>
                  </a:cubicBezTo>
                  <a:cubicBezTo>
                    <a:pt x="55" y="78"/>
                    <a:pt x="55" y="78"/>
                    <a:pt x="55" y="78"/>
                  </a:cubicBezTo>
                  <a:cubicBezTo>
                    <a:pt x="63" y="84"/>
                    <a:pt x="63" y="84"/>
                    <a:pt x="63" y="84"/>
                  </a:cubicBezTo>
                  <a:cubicBezTo>
                    <a:pt x="64" y="86"/>
                    <a:pt x="64" y="86"/>
                    <a:pt x="64" y="86"/>
                  </a:cubicBezTo>
                  <a:cubicBezTo>
                    <a:pt x="68" y="87"/>
                    <a:pt x="68" y="87"/>
                    <a:pt x="68" y="87"/>
                  </a:cubicBezTo>
                  <a:cubicBezTo>
                    <a:pt x="67" y="89"/>
                    <a:pt x="67" y="89"/>
                    <a:pt x="67" y="89"/>
                  </a:cubicBezTo>
                  <a:cubicBezTo>
                    <a:pt x="67" y="89"/>
                    <a:pt x="67" y="89"/>
                    <a:pt x="67" y="90"/>
                  </a:cubicBezTo>
                  <a:cubicBezTo>
                    <a:pt x="67" y="90"/>
                    <a:pt x="67" y="90"/>
                    <a:pt x="67" y="90"/>
                  </a:cubicBezTo>
                  <a:cubicBezTo>
                    <a:pt x="68" y="90"/>
                    <a:pt x="68" y="90"/>
                    <a:pt x="68" y="90"/>
                  </a:cubicBezTo>
                  <a:cubicBezTo>
                    <a:pt x="71" y="90"/>
                    <a:pt x="71" y="90"/>
                    <a:pt x="71" y="90"/>
                  </a:cubicBezTo>
                  <a:cubicBezTo>
                    <a:pt x="71" y="92"/>
                    <a:pt x="71" y="92"/>
                    <a:pt x="71" y="92"/>
                  </a:cubicBezTo>
                  <a:cubicBezTo>
                    <a:pt x="71" y="92"/>
                    <a:pt x="71" y="93"/>
                    <a:pt x="71" y="94"/>
                  </a:cubicBezTo>
                  <a:cubicBezTo>
                    <a:pt x="73" y="94"/>
                    <a:pt x="73" y="94"/>
                    <a:pt x="73" y="94"/>
                  </a:cubicBezTo>
                  <a:cubicBezTo>
                    <a:pt x="78" y="97"/>
                    <a:pt x="78" y="97"/>
                    <a:pt x="78" y="97"/>
                  </a:cubicBezTo>
                  <a:cubicBezTo>
                    <a:pt x="79" y="99"/>
                    <a:pt x="79" y="99"/>
                    <a:pt x="79" y="99"/>
                  </a:cubicBezTo>
                  <a:cubicBezTo>
                    <a:pt x="80" y="100"/>
                    <a:pt x="80" y="100"/>
                    <a:pt x="80" y="100"/>
                  </a:cubicBezTo>
                  <a:cubicBezTo>
                    <a:pt x="84" y="102"/>
                    <a:pt x="84" y="102"/>
                    <a:pt x="84" y="102"/>
                  </a:cubicBezTo>
                  <a:cubicBezTo>
                    <a:pt x="89" y="104"/>
                    <a:pt x="89" y="104"/>
                    <a:pt x="89" y="104"/>
                  </a:cubicBezTo>
                  <a:cubicBezTo>
                    <a:pt x="90" y="105"/>
                    <a:pt x="92" y="106"/>
                    <a:pt x="92" y="106"/>
                  </a:cubicBezTo>
                  <a:cubicBezTo>
                    <a:pt x="93" y="106"/>
                    <a:pt x="93" y="107"/>
                    <a:pt x="94" y="108"/>
                  </a:cubicBezTo>
                  <a:cubicBezTo>
                    <a:pt x="94" y="108"/>
                    <a:pt x="94" y="108"/>
                    <a:pt x="94" y="108"/>
                  </a:cubicBezTo>
                  <a:cubicBezTo>
                    <a:pt x="97" y="108"/>
                    <a:pt x="97" y="108"/>
                    <a:pt x="97" y="108"/>
                  </a:cubicBezTo>
                  <a:cubicBezTo>
                    <a:pt x="97" y="109"/>
                    <a:pt x="97" y="109"/>
                    <a:pt x="97" y="109"/>
                  </a:cubicBezTo>
                  <a:cubicBezTo>
                    <a:pt x="98" y="107"/>
                    <a:pt x="98" y="107"/>
                    <a:pt x="98" y="107"/>
                  </a:cubicBezTo>
                  <a:cubicBezTo>
                    <a:pt x="99" y="108"/>
                    <a:pt x="99" y="108"/>
                    <a:pt x="99" y="108"/>
                  </a:cubicBezTo>
                  <a:cubicBezTo>
                    <a:pt x="99" y="106"/>
                    <a:pt x="99" y="106"/>
                    <a:pt x="99" y="106"/>
                  </a:cubicBezTo>
                  <a:cubicBezTo>
                    <a:pt x="100" y="105"/>
                    <a:pt x="100" y="105"/>
                    <a:pt x="100" y="105"/>
                  </a:cubicBezTo>
                  <a:cubicBezTo>
                    <a:pt x="100" y="103"/>
                    <a:pt x="100" y="103"/>
                    <a:pt x="100" y="103"/>
                  </a:cubicBezTo>
                  <a:cubicBezTo>
                    <a:pt x="100" y="102"/>
                    <a:pt x="100" y="102"/>
                    <a:pt x="100" y="102"/>
                  </a:cubicBezTo>
                  <a:cubicBezTo>
                    <a:pt x="100" y="101"/>
                    <a:pt x="100" y="101"/>
                    <a:pt x="100" y="101"/>
                  </a:cubicBezTo>
                  <a:cubicBezTo>
                    <a:pt x="99" y="101"/>
                    <a:pt x="99" y="101"/>
                    <a:pt x="99" y="101"/>
                  </a:cubicBezTo>
                  <a:cubicBezTo>
                    <a:pt x="98" y="101"/>
                    <a:pt x="98" y="101"/>
                    <a:pt x="98" y="101"/>
                  </a:cubicBezTo>
                  <a:cubicBezTo>
                    <a:pt x="96" y="97"/>
                    <a:pt x="96" y="97"/>
                    <a:pt x="96" y="97"/>
                  </a:cubicBezTo>
                  <a:cubicBezTo>
                    <a:pt x="96" y="96"/>
                    <a:pt x="96" y="96"/>
                    <a:pt x="96" y="96"/>
                  </a:cubicBezTo>
                  <a:cubicBezTo>
                    <a:pt x="97" y="95"/>
                    <a:pt x="97" y="95"/>
                    <a:pt x="97" y="95"/>
                  </a:cubicBezTo>
                  <a:cubicBezTo>
                    <a:pt x="95" y="93"/>
                    <a:pt x="95" y="93"/>
                    <a:pt x="95" y="93"/>
                  </a:cubicBezTo>
                  <a:cubicBezTo>
                    <a:pt x="94" y="92"/>
                    <a:pt x="94" y="92"/>
                    <a:pt x="94" y="92"/>
                  </a:cubicBezTo>
                  <a:cubicBezTo>
                    <a:pt x="94" y="89"/>
                    <a:pt x="94" y="89"/>
                    <a:pt x="94" y="89"/>
                  </a:cubicBezTo>
                  <a:cubicBezTo>
                    <a:pt x="97" y="88"/>
                    <a:pt x="97" y="88"/>
                    <a:pt x="97" y="88"/>
                  </a:cubicBezTo>
                  <a:cubicBezTo>
                    <a:pt x="101" y="88"/>
                    <a:pt x="101" y="88"/>
                    <a:pt x="101" y="88"/>
                  </a:cubicBezTo>
                  <a:cubicBezTo>
                    <a:pt x="100" y="85"/>
                    <a:pt x="100" y="85"/>
                    <a:pt x="100" y="85"/>
                  </a:cubicBezTo>
                  <a:cubicBezTo>
                    <a:pt x="99" y="84"/>
                    <a:pt x="99" y="84"/>
                    <a:pt x="99" y="84"/>
                  </a:cubicBezTo>
                  <a:cubicBezTo>
                    <a:pt x="100" y="81"/>
                    <a:pt x="100" y="81"/>
                    <a:pt x="100" y="81"/>
                  </a:cubicBezTo>
                  <a:cubicBezTo>
                    <a:pt x="101" y="79"/>
                    <a:pt x="101" y="79"/>
                    <a:pt x="101" y="79"/>
                  </a:cubicBezTo>
                  <a:cubicBezTo>
                    <a:pt x="100" y="78"/>
                    <a:pt x="100" y="78"/>
                    <a:pt x="100" y="78"/>
                  </a:cubicBezTo>
                  <a:cubicBezTo>
                    <a:pt x="104" y="74"/>
                    <a:pt x="104" y="74"/>
                    <a:pt x="104" y="74"/>
                  </a:cubicBezTo>
                  <a:cubicBezTo>
                    <a:pt x="104" y="73"/>
                    <a:pt x="104" y="73"/>
                    <a:pt x="104" y="73"/>
                  </a:cubicBezTo>
                  <a:cubicBezTo>
                    <a:pt x="106" y="72"/>
                    <a:pt x="106" y="72"/>
                    <a:pt x="106" y="72"/>
                  </a:cubicBezTo>
                  <a:cubicBezTo>
                    <a:pt x="107" y="73"/>
                    <a:pt x="107" y="73"/>
                    <a:pt x="107" y="73"/>
                  </a:cubicBezTo>
                  <a:cubicBezTo>
                    <a:pt x="108" y="74"/>
                    <a:pt x="108" y="74"/>
                    <a:pt x="108" y="74"/>
                  </a:cubicBezTo>
                  <a:cubicBezTo>
                    <a:pt x="109" y="75"/>
                    <a:pt x="109" y="75"/>
                    <a:pt x="109" y="75"/>
                  </a:cubicBezTo>
                  <a:cubicBezTo>
                    <a:pt x="110" y="76"/>
                    <a:pt x="110" y="76"/>
                    <a:pt x="110" y="76"/>
                  </a:cubicBezTo>
                  <a:cubicBezTo>
                    <a:pt x="111" y="74"/>
                    <a:pt x="111" y="74"/>
                    <a:pt x="111" y="74"/>
                  </a:cubicBezTo>
                  <a:cubicBezTo>
                    <a:pt x="112" y="73"/>
                    <a:pt x="112" y="73"/>
                    <a:pt x="112" y="73"/>
                  </a:cubicBezTo>
                  <a:cubicBezTo>
                    <a:pt x="111" y="72"/>
                    <a:pt x="111" y="72"/>
                    <a:pt x="111" y="72"/>
                  </a:cubicBezTo>
                  <a:cubicBezTo>
                    <a:pt x="110" y="71"/>
                    <a:pt x="110" y="71"/>
                    <a:pt x="110" y="71"/>
                  </a:cubicBezTo>
                  <a:cubicBezTo>
                    <a:pt x="110" y="70"/>
                    <a:pt x="110" y="70"/>
                    <a:pt x="110" y="70"/>
                  </a:cubicBezTo>
                  <a:cubicBezTo>
                    <a:pt x="109" y="69"/>
                    <a:pt x="109" y="69"/>
                    <a:pt x="109" y="69"/>
                  </a:cubicBezTo>
                  <a:cubicBezTo>
                    <a:pt x="109" y="69"/>
                    <a:pt x="108" y="68"/>
                    <a:pt x="108" y="68"/>
                  </a:cubicBezTo>
                  <a:cubicBezTo>
                    <a:pt x="108" y="68"/>
                    <a:pt x="107" y="68"/>
                    <a:pt x="107" y="68"/>
                  </a:cubicBezTo>
                  <a:cubicBezTo>
                    <a:pt x="107" y="67"/>
                    <a:pt x="107" y="67"/>
                    <a:pt x="107" y="67"/>
                  </a:cubicBezTo>
                  <a:cubicBezTo>
                    <a:pt x="107" y="67"/>
                    <a:pt x="106" y="67"/>
                    <a:pt x="106" y="67"/>
                  </a:cubicBezTo>
                  <a:cubicBezTo>
                    <a:pt x="106" y="67"/>
                    <a:pt x="106" y="66"/>
                    <a:pt x="106" y="66"/>
                  </a:cubicBezTo>
                  <a:cubicBezTo>
                    <a:pt x="107" y="65"/>
                    <a:pt x="107" y="65"/>
                    <a:pt x="107" y="65"/>
                  </a:cubicBezTo>
                  <a:cubicBezTo>
                    <a:pt x="108" y="64"/>
                    <a:pt x="108" y="64"/>
                    <a:pt x="108" y="64"/>
                  </a:cubicBezTo>
                  <a:cubicBezTo>
                    <a:pt x="109" y="64"/>
                    <a:pt x="109" y="64"/>
                    <a:pt x="109" y="64"/>
                  </a:cubicBezTo>
                  <a:cubicBezTo>
                    <a:pt x="110" y="65"/>
                    <a:pt x="110" y="65"/>
                    <a:pt x="110" y="65"/>
                  </a:cubicBezTo>
                  <a:cubicBezTo>
                    <a:pt x="110" y="65"/>
                    <a:pt x="110" y="65"/>
                    <a:pt x="110" y="65"/>
                  </a:cubicBezTo>
                  <a:cubicBezTo>
                    <a:pt x="110" y="65"/>
                    <a:pt x="111" y="64"/>
                    <a:pt x="111" y="64"/>
                  </a:cubicBezTo>
                  <a:cubicBezTo>
                    <a:pt x="111" y="64"/>
                    <a:pt x="113" y="63"/>
                    <a:pt x="113" y="63"/>
                  </a:cubicBezTo>
                  <a:cubicBezTo>
                    <a:pt x="114" y="63"/>
                    <a:pt x="114" y="63"/>
                    <a:pt x="114" y="63"/>
                  </a:cubicBezTo>
                  <a:cubicBezTo>
                    <a:pt x="115" y="63"/>
                    <a:pt x="116" y="62"/>
                    <a:pt x="116" y="62"/>
                  </a:cubicBezTo>
                  <a:cubicBezTo>
                    <a:pt x="118" y="60"/>
                    <a:pt x="118" y="60"/>
                    <a:pt x="118" y="60"/>
                  </a:cubicBezTo>
                  <a:cubicBezTo>
                    <a:pt x="118" y="60"/>
                    <a:pt x="118" y="60"/>
                    <a:pt x="119" y="60"/>
                  </a:cubicBezTo>
                  <a:cubicBezTo>
                    <a:pt x="120" y="61"/>
                    <a:pt x="121" y="61"/>
                    <a:pt x="122" y="61"/>
                  </a:cubicBezTo>
                  <a:cubicBezTo>
                    <a:pt x="123" y="61"/>
                    <a:pt x="123" y="62"/>
                    <a:pt x="123" y="60"/>
                  </a:cubicBezTo>
                  <a:cubicBezTo>
                    <a:pt x="124" y="57"/>
                    <a:pt x="123" y="56"/>
                    <a:pt x="123" y="56"/>
                  </a:cubicBezTo>
                  <a:cubicBezTo>
                    <a:pt x="120" y="53"/>
                    <a:pt x="120" y="53"/>
                    <a:pt x="120" y="53"/>
                  </a:cubicBezTo>
                  <a:cubicBezTo>
                    <a:pt x="120" y="53"/>
                    <a:pt x="120" y="52"/>
                    <a:pt x="119" y="51"/>
                  </a:cubicBezTo>
                  <a:cubicBezTo>
                    <a:pt x="118" y="50"/>
                    <a:pt x="117" y="49"/>
                    <a:pt x="117" y="49"/>
                  </a:cubicBezTo>
                  <a:cubicBezTo>
                    <a:pt x="117" y="49"/>
                    <a:pt x="114" y="47"/>
                    <a:pt x="114" y="47"/>
                  </a:cubicBezTo>
                  <a:cubicBezTo>
                    <a:pt x="114" y="47"/>
                    <a:pt x="113" y="46"/>
                    <a:pt x="113" y="46"/>
                  </a:cubicBezTo>
                  <a:cubicBezTo>
                    <a:pt x="113" y="45"/>
                    <a:pt x="113" y="44"/>
                    <a:pt x="113" y="44"/>
                  </a:cubicBezTo>
                  <a:cubicBezTo>
                    <a:pt x="114" y="44"/>
                    <a:pt x="114" y="43"/>
                    <a:pt x="114" y="44"/>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5" name="Freeform 152"/>
            <p:cNvSpPr>
              <a:spLocks/>
            </p:cNvSpPr>
            <p:nvPr/>
          </p:nvSpPr>
          <p:spPr bwMode="auto">
            <a:xfrm>
              <a:off x="6246579" y="4977862"/>
              <a:ext cx="177630" cy="187901"/>
            </a:xfrm>
            <a:custGeom>
              <a:avLst/>
              <a:gdLst>
                <a:gd name="T0" fmla="*/ 52 w 61"/>
                <a:gd name="T1" fmla="*/ 16 h 69"/>
                <a:gd name="T2" fmla="*/ 44 w 61"/>
                <a:gd name="T3" fmla="*/ 13 h 69"/>
                <a:gd name="T4" fmla="*/ 42 w 61"/>
                <a:gd name="T5" fmla="*/ 12 h 69"/>
                <a:gd name="T6" fmla="*/ 36 w 61"/>
                <a:gd name="T7" fmla="*/ 10 h 69"/>
                <a:gd name="T8" fmla="*/ 32 w 61"/>
                <a:gd name="T9" fmla="*/ 10 h 69"/>
                <a:gd name="T10" fmla="*/ 29 w 61"/>
                <a:gd name="T11" fmla="*/ 8 h 69"/>
                <a:gd name="T12" fmla="*/ 25 w 61"/>
                <a:gd name="T13" fmla="*/ 5 h 69"/>
                <a:gd name="T14" fmla="*/ 22 w 61"/>
                <a:gd name="T15" fmla="*/ 3 h 69"/>
                <a:gd name="T16" fmla="*/ 17 w 61"/>
                <a:gd name="T17" fmla="*/ 0 h 69"/>
                <a:gd name="T18" fmla="*/ 17 w 61"/>
                <a:gd name="T19" fmla="*/ 0 h 69"/>
                <a:gd name="T20" fmla="*/ 15 w 61"/>
                <a:gd name="T21" fmla="*/ 1 h 69"/>
                <a:gd name="T22" fmla="*/ 15 w 61"/>
                <a:gd name="T23" fmla="*/ 4 h 69"/>
                <a:gd name="T24" fmla="*/ 14 w 61"/>
                <a:gd name="T25" fmla="*/ 12 h 69"/>
                <a:gd name="T26" fmla="*/ 6 w 61"/>
                <a:gd name="T27" fmla="*/ 12 h 69"/>
                <a:gd name="T28" fmla="*/ 5 w 61"/>
                <a:gd name="T29" fmla="*/ 17 h 69"/>
                <a:gd name="T30" fmla="*/ 0 w 61"/>
                <a:gd name="T31" fmla="*/ 25 h 69"/>
                <a:gd name="T32" fmla="*/ 1 w 61"/>
                <a:gd name="T33" fmla="*/ 31 h 69"/>
                <a:gd name="T34" fmla="*/ 5 w 61"/>
                <a:gd name="T35" fmla="*/ 36 h 69"/>
                <a:gd name="T36" fmla="*/ 4 w 61"/>
                <a:gd name="T37" fmla="*/ 41 h 69"/>
                <a:gd name="T38" fmla="*/ 2 w 61"/>
                <a:gd name="T39" fmla="*/ 44 h 69"/>
                <a:gd name="T40" fmla="*/ 0 w 61"/>
                <a:gd name="T41" fmla="*/ 45 h 69"/>
                <a:gd name="T42" fmla="*/ 7 w 61"/>
                <a:gd name="T43" fmla="*/ 47 h 69"/>
                <a:gd name="T44" fmla="*/ 7 w 61"/>
                <a:gd name="T45" fmla="*/ 44 h 69"/>
                <a:gd name="T46" fmla="*/ 11 w 61"/>
                <a:gd name="T47" fmla="*/ 44 h 69"/>
                <a:gd name="T48" fmla="*/ 9 w 61"/>
                <a:gd name="T49" fmla="*/ 46 h 69"/>
                <a:gd name="T50" fmla="*/ 8 w 61"/>
                <a:gd name="T51" fmla="*/ 49 h 69"/>
                <a:gd name="T52" fmla="*/ 4 w 61"/>
                <a:gd name="T53" fmla="*/ 48 h 69"/>
                <a:gd name="T54" fmla="*/ 7 w 61"/>
                <a:gd name="T55" fmla="*/ 49 h 69"/>
                <a:gd name="T56" fmla="*/ 10 w 61"/>
                <a:gd name="T57" fmla="*/ 51 h 69"/>
                <a:gd name="T58" fmla="*/ 15 w 61"/>
                <a:gd name="T59" fmla="*/ 52 h 69"/>
                <a:gd name="T60" fmla="*/ 20 w 61"/>
                <a:gd name="T61" fmla="*/ 57 h 69"/>
                <a:gd name="T62" fmla="*/ 23 w 61"/>
                <a:gd name="T63" fmla="*/ 59 h 69"/>
                <a:gd name="T64" fmla="*/ 25 w 61"/>
                <a:gd name="T65" fmla="*/ 61 h 69"/>
                <a:gd name="T66" fmla="*/ 26 w 61"/>
                <a:gd name="T67" fmla="*/ 64 h 69"/>
                <a:gd name="T68" fmla="*/ 29 w 61"/>
                <a:gd name="T69" fmla="*/ 66 h 69"/>
                <a:gd name="T70" fmla="*/ 31 w 61"/>
                <a:gd name="T71" fmla="*/ 67 h 69"/>
                <a:gd name="T72" fmla="*/ 34 w 61"/>
                <a:gd name="T73" fmla="*/ 68 h 69"/>
                <a:gd name="T74" fmla="*/ 32 w 61"/>
                <a:gd name="T75" fmla="*/ 65 h 69"/>
                <a:gd name="T76" fmla="*/ 33 w 61"/>
                <a:gd name="T77" fmla="*/ 62 h 69"/>
                <a:gd name="T78" fmla="*/ 33 w 61"/>
                <a:gd name="T79" fmla="*/ 58 h 69"/>
                <a:gd name="T80" fmla="*/ 30 w 61"/>
                <a:gd name="T81" fmla="*/ 55 h 69"/>
                <a:gd name="T82" fmla="*/ 31 w 61"/>
                <a:gd name="T83" fmla="*/ 51 h 69"/>
                <a:gd name="T84" fmla="*/ 32 w 61"/>
                <a:gd name="T85" fmla="*/ 47 h 69"/>
                <a:gd name="T86" fmla="*/ 33 w 61"/>
                <a:gd name="T87" fmla="*/ 44 h 69"/>
                <a:gd name="T88" fmla="*/ 36 w 61"/>
                <a:gd name="T89" fmla="*/ 40 h 69"/>
                <a:gd name="T90" fmla="*/ 37 w 61"/>
                <a:gd name="T91" fmla="*/ 36 h 69"/>
                <a:gd name="T92" fmla="*/ 42 w 61"/>
                <a:gd name="T93" fmla="*/ 33 h 69"/>
                <a:gd name="T94" fmla="*/ 43 w 61"/>
                <a:gd name="T95" fmla="*/ 36 h 69"/>
                <a:gd name="T96" fmla="*/ 44 w 61"/>
                <a:gd name="T97" fmla="*/ 39 h 69"/>
                <a:gd name="T98" fmla="*/ 47 w 61"/>
                <a:gd name="T99" fmla="*/ 40 h 69"/>
                <a:gd name="T100" fmla="*/ 52 w 61"/>
                <a:gd name="T101" fmla="*/ 36 h 69"/>
                <a:gd name="T102" fmla="*/ 52 w 61"/>
                <a:gd name="T103" fmla="*/ 31 h 69"/>
                <a:gd name="T104" fmla="*/ 51 w 61"/>
                <a:gd name="T105" fmla="*/ 30 h 69"/>
                <a:gd name="T106" fmla="*/ 55 w 61"/>
                <a:gd name="T107" fmla="*/ 24 h 69"/>
                <a:gd name="T108" fmla="*/ 61 w 61"/>
                <a:gd name="T109" fmla="*/ 2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 h="69">
                  <a:moveTo>
                    <a:pt x="56" y="18"/>
                  </a:moveTo>
                  <a:cubicBezTo>
                    <a:pt x="56" y="18"/>
                    <a:pt x="56" y="18"/>
                    <a:pt x="55" y="17"/>
                  </a:cubicBezTo>
                  <a:cubicBezTo>
                    <a:pt x="54" y="17"/>
                    <a:pt x="52" y="16"/>
                    <a:pt x="52" y="16"/>
                  </a:cubicBezTo>
                  <a:cubicBezTo>
                    <a:pt x="50" y="16"/>
                    <a:pt x="50" y="16"/>
                    <a:pt x="50" y="16"/>
                  </a:cubicBezTo>
                  <a:cubicBezTo>
                    <a:pt x="50" y="16"/>
                    <a:pt x="47" y="14"/>
                    <a:pt x="47" y="14"/>
                  </a:cubicBezTo>
                  <a:cubicBezTo>
                    <a:pt x="47" y="14"/>
                    <a:pt x="44" y="13"/>
                    <a:pt x="44" y="13"/>
                  </a:cubicBezTo>
                  <a:cubicBezTo>
                    <a:pt x="44" y="11"/>
                    <a:pt x="44" y="11"/>
                    <a:pt x="44" y="11"/>
                  </a:cubicBezTo>
                  <a:cubicBezTo>
                    <a:pt x="44" y="11"/>
                    <a:pt x="43" y="11"/>
                    <a:pt x="43" y="11"/>
                  </a:cubicBezTo>
                  <a:cubicBezTo>
                    <a:pt x="43" y="11"/>
                    <a:pt x="42" y="12"/>
                    <a:pt x="42" y="12"/>
                  </a:cubicBezTo>
                  <a:cubicBezTo>
                    <a:pt x="39" y="13"/>
                    <a:pt x="39" y="13"/>
                    <a:pt x="39" y="13"/>
                  </a:cubicBezTo>
                  <a:cubicBezTo>
                    <a:pt x="39" y="13"/>
                    <a:pt x="38" y="13"/>
                    <a:pt x="38" y="12"/>
                  </a:cubicBezTo>
                  <a:cubicBezTo>
                    <a:pt x="37" y="12"/>
                    <a:pt x="36" y="10"/>
                    <a:pt x="36" y="10"/>
                  </a:cubicBezTo>
                  <a:cubicBezTo>
                    <a:pt x="36" y="10"/>
                    <a:pt x="36" y="10"/>
                    <a:pt x="35" y="10"/>
                  </a:cubicBezTo>
                  <a:cubicBezTo>
                    <a:pt x="35" y="11"/>
                    <a:pt x="36" y="11"/>
                    <a:pt x="34" y="11"/>
                  </a:cubicBezTo>
                  <a:cubicBezTo>
                    <a:pt x="32" y="10"/>
                    <a:pt x="32" y="10"/>
                    <a:pt x="32" y="10"/>
                  </a:cubicBezTo>
                  <a:cubicBezTo>
                    <a:pt x="30" y="9"/>
                    <a:pt x="30" y="9"/>
                    <a:pt x="30" y="9"/>
                  </a:cubicBezTo>
                  <a:cubicBezTo>
                    <a:pt x="30" y="8"/>
                    <a:pt x="30" y="8"/>
                    <a:pt x="30" y="8"/>
                  </a:cubicBezTo>
                  <a:cubicBezTo>
                    <a:pt x="29" y="8"/>
                    <a:pt x="29" y="8"/>
                    <a:pt x="29" y="8"/>
                  </a:cubicBezTo>
                  <a:cubicBezTo>
                    <a:pt x="29" y="8"/>
                    <a:pt x="28" y="7"/>
                    <a:pt x="28" y="7"/>
                  </a:cubicBezTo>
                  <a:cubicBezTo>
                    <a:pt x="28" y="7"/>
                    <a:pt x="28" y="5"/>
                    <a:pt x="28" y="5"/>
                  </a:cubicBezTo>
                  <a:cubicBezTo>
                    <a:pt x="28" y="5"/>
                    <a:pt x="25" y="5"/>
                    <a:pt x="25" y="5"/>
                  </a:cubicBezTo>
                  <a:cubicBezTo>
                    <a:pt x="24" y="3"/>
                    <a:pt x="24" y="3"/>
                    <a:pt x="24" y="3"/>
                  </a:cubicBezTo>
                  <a:cubicBezTo>
                    <a:pt x="24" y="3"/>
                    <a:pt x="24" y="3"/>
                    <a:pt x="24" y="3"/>
                  </a:cubicBezTo>
                  <a:cubicBezTo>
                    <a:pt x="23" y="3"/>
                    <a:pt x="22" y="3"/>
                    <a:pt x="22" y="3"/>
                  </a:cubicBezTo>
                  <a:cubicBezTo>
                    <a:pt x="21" y="1"/>
                    <a:pt x="21" y="1"/>
                    <a:pt x="21" y="1"/>
                  </a:cubicBezTo>
                  <a:cubicBezTo>
                    <a:pt x="19" y="1"/>
                    <a:pt x="19" y="1"/>
                    <a:pt x="19" y="1"/>
                  </a:cubicBezTo>
                  <a:cubicBezTo>
                    <a:pt x="17" y="0"/>
                    <a:pt x="17" y="0"/>
                    <a:pt x="17" y="0"/>
                  </a:cubicBezTo>
                  <a:cubicBezTo>
                    <a:pt x="17" y="0"/>
                    <a:pt x="17" y="0"/>
                    <a:pt x="17" y="0"/>
                  </a:cubicBezTo>
                  <a:cubicBezTo>
                    <a:pt x="17" y="0"/>
                    <a:pt x="17" y="0"/>
                    <a:pt x="17" y="0"/>
                  </a:cubicBezTo>
                  <a:cubicBezTo>
                    <a:pt x="17" y="0"/>
                    <a:pt x="17" y="0"/>
                    <a:pt x="17" y="0"/>
                  </a:cubicBezTo>
                  <a:cubicBezTo>
                    <a:pt x="16" y="0"/>
                    <a:pt x="16" y="0"/>
                    <a:pt x="16" y="0"/>
                  </a:cubicBezTo>
                  <a:cubicBezTo>
                    <a:pt x="16" y="0"/>
                    <a:pt x="16" y="0"/>
                    <a:pt x="16" y="0"/>
                  </a:cubicBezTo>
                  <a:cubicBezTo>
                    <a:pt x="16" y="0"/>
                    <a:pt x="15" y="0"/>
                    <a:pt x="15" y="1"/>
                  </a:cubicBezTo>
                  <a:cubicBezTo>
                    <a:pt x="14" y="1"/>
                    <a:pt x="14" y="1"/>
                    <a:pt x="14" y="1"/>
                  </a:cubicBezTo>
                  <a:cubicBezTo>
                    <a:pt x="15" y="3"/>
                    <a:pt x="15" y="3"/>
                    <a:pt x="15" y="3"/>
                  </a:cubicBezTo>
                  <a:cubicBezTo>
                    <a:pt x="15" y="4"/>
                    <a:pt x="15" y="4"/>
                    <a:pt x="15" y="4"/>
                  </a:cubicBezTo>
                  <a:cubicBezTo>
                    <a:pt x="16" y="4"/>
                    <a:pt x="16" y="4"/>
                    <a:pt x="16" y="4"/>
                  </a:cubicBezTo>
                  <a:cubicBezTo>
                    <a:pt x="17" y="8"/>
                    <a:pt x="17" y="8"/>
                    <a:pt x="17" y="8"/>
                  </a:cubicBezTo>
                  <a:cubicBezTo>
                    <a:pt x="14" y="12"/>
                    <a:pt x="14" y="12"/>
                    <a:pt x="14" y="12"/>
                  </a:cubicBezTo>
                  <a:cubicBezTo>
                    <a:pt x="10" y="12"/>
                    <a:pt x="10" y="12"/>
                    <a:pt x="10" y="12"/>
                  </a:cubicBezTo>
                  <a:cubicBezTo>
                    <a:pt x="9" y="10"/>
                    <a:pt x="9" y="10"/>
                    <a:pt x="9" y="10"/>
                  </a:cubicBezTo>
                  <a:cubicBezTo>
                    <a:pt x="6" y="12"/>
                    <a:pt x="6" y="12"/>
                    <a:pt x="6" y="12"/>
                  </a:cubicBezTo>
                  <a:cubicBezTo>
                    <a:pt x="7" y="13"/>
                    <a:pt x="7" y="13"/>
                    <a:pt x="7" y="13"/>
                  </a:cubicBezTo>
                  <a:cubicBezTo>
                    <a:pt x="5" y="16"/>
                    <a:pt x="5" y="16"/>
                    <a:pt x="5" y="16"/>
                  </a:cubicBezTo>
                  <a:cubicBezTo>
                    <a:pt x="5" y="17"/>
                    <a:pt x="5" y="17"/>
                    <a:pt x="5" y="17"/>
                  </a:cubicBezTo>
                  <a:cubicBezTo>
                    <a:pt x="5" y="19"/>
                    <a:pt x="5" y="19"/>
                    <a:pt x="5" y="19"/>
                  </a:cubicBezTo>
                  <a:cubicBezTo>
                    <a:pt x="6" y="23"/>
                    <a:pt x="6" y="23"/>
                    <a:pt x="6" y="23"/>
                  </a:cubicBezTo>
                  <a:cubicBezTo>
                    <a:pt x="0" y="25"/>
                    <a:pt x="0" y="25"/>
                    <a:pt x="0" y="25"/>
                  </a:cubicBezTo>
                  <a:cubicBezTo>
                    <a:pt x="0" y="25"/>
                    <a:pt x="0" y="25"/>
                    <a:pt x="0" y="25"/>
                  </a:cubicBezTo>
                  <a:cubicBezTo>
                    <a:pt x="2" y="29"/>
                    <a:pt x="2" y="29"/>
                    <a:pt x="2" y="29"/>
                  </a:cubicBezTo>
                  <a:cubicBezTo>
                    <a:pt x="1" y="31"/>
                    <a:pt x="1" y="31"/>
                    <a:pt x="1" y="31"/>
                  </a:cubicBezTo>
                  <a:cubicBezTo>
                    <a:pt x="3" y="33"/>
                    <a:pt x="3" y="33"/>
                    <a:pt x="3" y="33"/>
                  </a:cubicBezTo>
                  <a:cubicBezTo>
                    <a:pt x="5" y="33"/>
                    <a:pt x="5" y="33"/>
                    <a:pt x="5" y="33"/>
                  </a:cubicBezTo>
                  <a:cubicBezTo>
                    <a:pt x="5" y="36"/>
                    <a:pt x="5" y="36"/>
                    <a:pt x="5" y="36"/>
                  </a:cubicBezTo>
                  <a:cubicBezTo>
                    <a:pt x="6" y="37"/>
                    <a:pt x="6" y="37"/>
                    <a:pt x="6" y="37"/>
                  </a:cubicBezTo>
                  <a:cubicBezTo>
                    <a:pt x="5" y="40"/>
                    <a:pt x="5" y="40"/>
                    <a:pt x="5" y="40"/>
                  </a:cubicBezTo>
                  <a:cubicBezTo>
                    <a:pt x="4" y="41"/>
                    <a:pt x="4" y="41"/>
                    <a:pt x="4" y="41"/>
                  </a:cubicBezTo>
                  <a:cubicBezTo>
                    <a:pt x="5" y="44"/>
                    <a:pt x="5" y="44"/>
                    <a:pt x="5" y="44"/>
                  </a:cubicBezTo>
                  <a:cubicBezTo>
                    <a:pt x="2" y="44"/>
                    <a:pt x="2" y="44"/>
                    <a:pt x="2" y="44"/>
                  </a:cubicBezTo>
                  <a:cubicBezTo>
                    <a:pt x="2" y="44"/>
                    <a:pt x="2" y="44"/>
                    <a:pt x="2" y="44"/>
                  </a:cubicBezTo>
                  <a:cubicBezTo>
                    <a:pt x="1" y="45"/>
                    <a:pt x="1" y="45"/>
                    <a:pt x="1" y="45"/>
                  </a:cubicBezTo>
                  <a:cubicBezTo>
                    <a:pt x="1" y="45"/>
                    <a:pt x="1" y="45"/>
                    <a:pt x="1" y="45"/>
                  </a:cubicBezTo>
                  <a:cubicBezTo>
                    <a:pt x="0" y="45"/>
                    <a:pt x="0" y="45"/>
                    <a:pt x="0" y="45"/>
                  </a:cubicBezTo>
                  <a:cubicBezTo>
                    <a:pt x="1" y="46"/>
                    <a:pt x="1" y="46"/>
                    <a:pt x="1" y="46"/>
                  </a:cubicBezTo>
                  <a:cubicBezTo>
                    <a:pt x="5" y="47"/>
                    <a:pt x="5" y="47"/>
                    <a:pt x="5" y="47"/>
                  </a:cubicBezTo>
                  <a:cubicBezTo>
                    <a:pt x="7" y="47"/>
                    <a:pt x="7" y="47"/>
                    <a:pt x="7" y="47"/>
                  </a:cubicBezTo>
                  <a:cubicBezTo>
                    <a:pt x="7" y="46"/>
                    <a:pt x="7" y="46"/>
                    <a:pt x="7" y="46"/>
                  </a:cubicBezTo>
                  <a:cubicBezTo>
                    <a:pt x="7" y="45"/>
                    <a:pt x="7" y="45"/>
                    <a:pt x="7" y="45"/>
                  </a:cubicBezTo>
                  <a:cubicBezTo>
                    <a:pt x="7" y="45"/>
                    <a:pt x="7" y="44"/>
                    <a:pt x="7" y="44"/>
                  </a:cubicBezTo>
                  <a:cubicBezTo>
                    <a:pt x="7" y="43"/>
                    <a:pt x="8" y="43"/>
                    <a:pt x="8" y="43"/>
                  </a:cubicBezTo>
                  <a:cubicBezTo>
                    <a:pt x="8" y="44"/>
                    <a:pt x="8" y="44"/>
                    <a:pt x="8" y="44"/>
                  </a:cubicBezTo>
                  <a:cubicBezTo>
                    <a:pt x="11" y="44"/>
                    <a:pt x="11" y="44"/>
                    <a:pt x="11" y="44"/>
                  </a:cubicBezTo>
                  <a:cubicBezTo>
                    <a:pt x="10" y="46"/>
                    <a:pt x="10" y="46"/>
                    <a:pt x="10" y="46"/>
                  </a:cubicBezTo>
                  <a:cubicBezTo>
                    <a:pt x="10" y="46"/>
                    <a:pt x="10" y="46"/>
                    <a:pt x="10" y="46"/>
                  </a:cubicBezTo>
                  <a:cubicBezTo>
                    <a:pt x="9" y="46"/>
                    <a:pt x="9" y="46"/>
                    <a:pt x="9" y="46"/>
                  </a:cubicBezTo>
                  <a:cubicBezTo>
                    <a:pt x="9" y="46"/>
                    <a:pt x="9" y="46"/>
                    <a:pt x="9" y="46"/>
                  </a:cubicBezTo>
                  <a:cubicBezTo>
                    <a:pt x="9" y="47"/>
                    <a:pt x="9" y="49"/>
                    <a:pt x="9" y="49"/>
                  </a:cubicBezTo>
                  <a:cubicBezTo>
                    <a:pt x="9" y="49"/>
                    <a:pt x="9" y="49"/>
                    <a:pt x="8" y="49"/>
                  </a:cubicBezTo>
                  <a:cubicBezTo>
                    <a:pt x="8" y="48"/>
                    <a:pt x="7" y="48"/>
                    <a:pt x="7" y="48"/>
                  </a:cubicBezTo>
                  <a:cubicBezTo>
                    <a:pt x="5" y="47"/>
                    <a:pt x="5" y="47"/>
                    <a:pt x="5" y="47"/>
                  </a:cubicBezTo>
                  <a:cubicBezTo>
                    <a:pt x="4" y="48"/>
                    <a:pt x="4" y="48"/>
                    <a:pt x="4" y="48"/>
                  </a:cubicBezTo>
                  <a:cubicBezTo>
                    <a:pt x="4" y="48"/>
                    <a:pt x="4" y="49"/>
                    <a:pt x="4" y="49"/>
                  </a:cubicBezTo>
                  <a:cubicBezTo>
                    <a:pt x="5" y="49"/>
                    <a:pt x="5" y="50"/>
                    <a:pt x="6" y="50"/>
                  </a:cubicBezTo>
                  <a:cubicBezTo>
                    <a:pt x="6" y="50"/>
                    <a:pt x="7" y="49"/>
                    <a:pt x="7" y="49"/>
                  </a:cubicBezTo>
                  <a:cubicBezTo>
                    <a:pt x="7" y="49"/>
                    <a:pt x="8" y="49"/>
                    <a:pt x="8" y="50"/>
                  </a:cubicBezTo>
                  <a:cubicBezTo>
                    <a:pt x="8" y="50"/>
                    <a:pt x="9" y="50"/>
                    <a:pt x="9" y="50"/>
                  </a:cubicBezTo>
                  <a:cubicBezTo>
                    <a:pt x="10" y="51"/>
                    <a:pt x="10" y="51"/>
                    <a:pt x="10" y="51"/>
                  </a:cubicBezTo>
                  <a:cubicBezTo>
                    <a:pt x="11" y="52"/>
                    <a:pt x="11" y="52"/>
                    <a:pt x="11" y="52"/>
                  </a:cubicBezTo>
                  <a:cubicBezTo>
                    <a:pt x="14" y="52"/>
                    <a:pt x="14" y="52"/>
                    <a:pt x="14" y="52"/>
                  </a:cubicBezTo>
                  <a:cubicBezTo>
                    <a:pt x="15" y="52"/>
                    <a:pt x="15" y="52"/>
                    <a:pt x="15" y="52"/>
                  </a:cubicBezTo>
                  <a:cubicBezTo>
                    <a:pt x="17" y="55"/>
                    <a:pt x="17" y="55"/>
                    <a:pt x="17" y="55"/>
                  </a:cubicBezTo>
                  <a:cubicBezTo>
                    <a:pt x="17" y="55"/>
                    <a:pt x="19" y="56"/>
                    <a:pt x="19" y="56"/>
                  </a:cubicBezTo>
                  <a:cubicBezTo>
                    <a:pt x="19" y="56"/>
                    <a:pt x="20" y="57"/>
                    <a:pt x="20" y="57"/>
                  </a:cubicBezTo>
                  <a:cubicBezTo>
                    <a:pt x="21" y="57"/>
                    <a:pt x="21" y="57"/>
                    <a:pt x="21" y="57"/>
                  </a:cubicBezTo>
                  <a:cubicBezTo>
                    <a:pt x="22" y="58"/>
                    <a:pt x="22" y="58"/>
                    <a:pt x="22" y="58"/>
                  </a:cubicBezTo>
                  <a:cubicBezTo>
                    <a:pt x="22" y="58"/>
                    <a:pt x="23" y="58"/>
                    <a:pt x="23" y="59"/>
                  </a:cubicBezTo>
                  <a:cubicBezTo>
                    <a:pt x="23" y="59"/>
                    <a:pt x="22" y="59"/>
                    <a:pt x="22" y="59"/>
                  </a:cubicBezTo>
                  <a:cubicBezTo>
                    <a:pt x="23" y="61"/>
                    <a:pt x="23" y="61"/>
                    <a:pt x="23" y="61"/>
                  </a:cubicBezTo>
                  <a:cubicBezTo>
                    <a:pt x="25" y="61"/>
                    <a:pt x="25" y="61"/>
                    <a:pt x="25" y="61"/>
                  </a:cubicBezTo>
                  <a:cubicBezTo>
                    <a:pt x="25" y="61"/>
                    <a:pt x="25" y="61"/>
                    <a:pt x="25" y="61"/>
                  </a:cubicBezTo>
                  <a:cubicBezTo>
                    <a:pt x="25" y="62"/>
                    <a:pt x="25" y="63"/>
                    <a:pt x="25" y="63"/>
                  </a:cubicBezTo>
                  <a:cubicBezTo>
                    <a:pt x="26" y="64"/>
                    <a:pt x="26" y="64"/>
                    <a:pt x="26" y="64"/>
                  </a:cubicBezTo>
                  <a:cubicBezTo>
                    <a:pt x="26" y="64"/>
                    <a:pt x="26" y="64"/>
                    <a:pt x="27" y="65"/>
                  </a:cubicBezTo>
                  <a:cubicBezTo>
                    <a:pt x="27" y="65"/>
                    <a:pt x="26" y="65"/>
                    <a:pt x="27" y="65"/>
                  </a:cubicBezTo>
                  <a:cubicBezTo>
                    <a:pt x="27" y="66"/>
                    <a:pt x="29" y="66"/>
                    <a:pt x="29" y="66"/>
                  </a:cubicBezTo>
                  <a:cubicBezTo>
                    <a:pt x="30" y="66"/>
                    <a:pt x="30" y="66"/>
                    <a:pt x="30" y="66"/>
                  </a:cubicBezTo>
                  <a:cubicBezTo>
                    <a:pt x="31" y="67"/>
                    <a:pt x="31" y="67"/>
                    <a:pt x="31" y="67"/>
                  </a:cubicBezTo>
                  <a:cubicBezTo>
                    <a:pt x="31" y="67"/>
                    <a:pt x="31" y="67"/>
                    <a:pt x="31" y="67"/>
                  </a:cubicBezTo>
                  <a:cubicBezTo>
                    <a:pt x="31" y="67"/>
                    <a:pt x="35" y="69"/>
                    <a:pt x="35" y="69"/>
                  </a:cubicBezTo>
                  <a:cubicBezTo>
                    <a:pt x="35" y="69"/>
                    <a:pt x="35" y="68"/>
                    <a:pt x="34" y="68"/>
                  </a:cubicBezTo>
                  <a:cubicBezTo>
                    <a:pt x="34" y="68"/>
                    <a:pt x="34" y="68"/>
                    <a:pt x="34" y="68"/>
                  </a:cubicBezTo>
                  <a:cubicBezTo>
                    <a:pt x="34" y="68"/>
                    <a:pt x="33" y="68"/>
                    <a:pt x="33" y="67"/>
                  </a:cubicBezTo>
                  <a:cubicBezTo>
                    <a:pt x="33" y="67"/>
                    <a:pt x="33" y="66"/>
                    <a:pt x="33" y="66"/>
                  </a:cubicBezTo>
                  <a:cubicBezTo>
                    <a:pt x="33" y="66"/>
                    <a:pt x="32" y="65"/>
                    <a:pt x="32" y="65"/>
                  </a:cubicBezTo>
                  <a:cubicBezTo>
                    <a:pt x="33" y="64"/>
                    <a:pt x="33" y="64"/>
                    <a:pt x="33" y="64"/>
                  </a:cubicBezTo>
                  <a:cubicBezTo>
                    <a:pt x="33" y="64"/>
                    <a:pt x="33" y="63"/>
                    <a:pt x="33" y="63"/>
                  </a:cubicBezTo>
                  <a:cubicBezTo>
                    <a:pt x="33" y="62"/>
                    <a:pt x="33" y="62"/>
                    <a:pt x="33" y="62"/>
                  </a:cubicBezTo>
                  <a:cubicBezTo>
                    <a:pt x="33" y="62"/>
                    <a:pt x="32" y="60"/>
                    <a:pt x="32" y="60"/>
                  </a:cubicBezTo>
                  <a:cubicBezTo>
                    <a:pt x="33" y="59"/>
                    <a:pt x="33" y="59"/>
                    <a:pt x="33" y="59"/>
                  </a:cubicBezTo>
                  <a:cubicBezTo>
                    <a:pt x="33" y="59"/>
                    <a:pt x="33" y="58"/>
                    <a:pt x="33" y="58"/>
                  </a:cubicBezTo>
                  <a:cubicBezTo>
                    <a:pt x="33" y="58"/>
                    <a:pt x="33" y="57"/>
                    <a:pt x="33" y="57"/>
                  </a:cubicBezTo>
                  <a:cubicBezTo>
                    <a:pt x="32" y="56"/>
                    <a:pt x="32" y="56"/>
                    <a:pt x="32" y="56"/>
                  </a:cubicBezTo>
                  <a:cubicBezTo>
                    <a:pt x="30" y="55"/>
                    <a:pt x="30" y="55"/>
                    <a:pt x="30" y="55"/>
                  </a:cubicBezTo>
                  <a:cubicBezTo>
                    <a:pt x="29" y="54"/>
                    <a:pt x="29" y="54"/>
                    <a:pt x="29" y="54"/>
                  </a:cubicBezTo>
                  <a:cubicBezTo>
                    <a:pt x="29" y="53"/>
                    <a:pt x="29" y="53"/>
                    <a:pt x="29" y="53"/>
                  </a:cubicBezTo>
                  <a:cubicBezTo>
                    <a:pt x="31" y="51"/>
                    <a:pt x="31" y="51"/>
                    <a:pt x="31" y="51"/>
                  </a:cubicBezTo>
                  <a:cubicBezTo>
                    <a:pt x="31" y="49"/>
                    <a:pt x="31" y="49"/>
                    <a:pt x="31" y="49"/>
                  </a:cubicBezTo>
                  <a:cubicBezTo>
                    <a:pt x="31" y="49"/>
                    <a:pt x="32" y="49"/>
                    <a:pt x="32" y="48"/>
                  </a:cubicBezTo>
                  <a:cubicBezTo>
                    <a:pt x="32" y="48"/>
                    <a:pt x="32" y="47"/>
                    <a:pt x="32" y="47"/>
                  </a:cubicBezTo>
                  <a:cubicBezTo>
                    <a:pt x="32" y="45"/>
                    <a:pt x="32" y="45"/>
                    <a:pt x="32" y="45"/>
                  </a:cubicBezTo>
                  <a:cubicBezTo>
                    <a:pt x="33" y="45"/>
                    <a:pt x="33" y="45"/>
                    <a:pt x="33" y="45"/>
                  </a:cubicBezTo>
                  <a:cubicBezTo>
                    <a:pt x="33" y="44"/>
                    <a:pt x="33" y="44"/>
                    <a:pt x="33" y="44"/>
                  </a:cubicBezTo>
                  <a:cubicBezTo>
                    <a:pt x="33" y="44"/>
                    <a:pt x="34" y="43"/>
                    <a:pt x="34" y="43"/>
                  </a:cubicBezTo>
                  <a:cubicBezTo>
                    <a:pt x="35" y="43"/>
                    <a:pt x="35" y="42"/>
                    <a:pt x="35" y="42"/>
                  </a:cubicBezTo>
                  <a:cubicBezTo>
                    <a:pt x="36" y="40"/>
                    <a:pt x="36" y="40"/>
                    <a:pt x="36" y="40"/>
                  </a:cubicBezTo>
                  <a:cubicBezTo>
                    <a:pt x="37" y="38"/>
                    <a:pt x="37" y="38"/>
                    <a:pt x="37" y="38"/>
                  </a:cubicBezTo>
                  <a:cubicBezTo>
                    <a:pt x="38" y="37"/>
                    <a:pt x="38" y="37"/>
                    <a:pt x="38" y="37"/>
                  </a:cubicBezTo>
                  <a:cubicBezTo>
                    <a:pt x="37" y="36"/>
                    <a:pt x="37" y="36"/>
                    <a:pt x="37" y="36"/>
                  </a:cubicBezTo>
                  <a:cubicBezTo>
                    <a:pt x="37" y="36"/>
                    <a:pt x="40" y="33"/>
                    <a:pt x="40" y="33"/>
                  </a:cubicBezTo>
                  <a:cubicBezTo>
                    <a:pt x="40" y="33"/>
                    <a:pt x="41" y="33"/>
                    <a:pt x="41" y="33"/>
                  </a:cubicBezTo>
                  <a:cubicBezTo>
                    <a:pt x="42" y="33"/>
                    <a:pt x="42" y="33"/>
                    <a:pt x="42" y="33"/>
                  </a:cubicBezTo>
                  <a:cubicBezTo>
                    <a:pt x="43" y="35"/>
                    <a:pt x="43" y="35"/>
                    <a:pt x="43" y="35"/>
                  </a:cubicBezTo>
                  <a:cubicBezTo>
                    <a:pt x="43" y="35"/>
                    <a:pt x="43" y="35"/>
                    <a:pt x="43" y="35"/>
                  </a:cubicBezTo>
                  <a:cubicBezTo>
                    <a:pt x="43" y="35"/>
                    <a:pt x="43" y="36"/>
                    <a:pt x="43" y="36"/>
                  </a:cubicBezTo>
                  <a:cubicBezTo>
                    <a:pt x="43" y="37"/>
                    <a:pt x="43" y="37"/>
                    <a:pt x="43" y="37"/>
                  </a:cubicBezTo>
                  <a:cubicBezTo>
                    <a:pt x="43" y="37"/>
                    <a:pt x="43" y="38"/>
                    <a:pt x="43" y="39"/>
                  </a:cubicBezTo>
                  <a:cubicBezTo>
                    <a:pt x="44" y="39"/>
                    <a:pt x="44" y="39"/>
                    <a:pt x="44" y="39"/>
                  </a:cubicBezTo>
                  <a:cubicBezTo>
                    <a:pt x="44" y="39"/>
                    <a:pt x="44" y="40"/>
                    <a:pt x="45" y="40"/>
                  </a:cubicBezTo>
                  <a:cubicBezTo>
                    <a:pt x="45" y="40"/>
                    <a:pt x="45" y="40"/>
                    <a:pt x="45" y="40"/>
                  </a:cubicBezTo>
                  <a:cubicBezTo>
                    <a:pt x="47" y="40"/>
                    <a:pt x="47" y="40"/>
                    <a:pt x="47" y="40"/>
                  </a:cubicBezTo>
                  <a:cubicBezTo>
                    <a:pt x="48" y="38"/>
                    <a:pt x="48" y="38"/>
                    <a:pt x="48" y="38"/>
                  </a:cubicBezTo>
                  <a:cubicBezTo>
                    <a:pt x="48" y="38"/>
                    <a:pt x="50" y="38"/>
                    <a:pt x="51" y="38"/>
                  </a:cubicBezTo>
                  <a:cubicBezTo>
                    <a:pt x="51" y="37"/>
                    <a:pt x="52" y="36"/>
                    <a:pt x="52" y="36"/>
                  </a:cubicBezTo>
                  <a:cubicBezTo>
                    <a:pt x="52" y="36"/>
                    <a:pt x="52" y="36"/>
                    <a:pt x="52" y="36"/>
                  </a:cubicBezTo>
                  <a:cubicBezTo>
                    <a:pt x="53" y="36"/>
                    <a:pt x="53" y="36"/>
                    <a:pt x="53" y="36"/>
                  </a:cubicBezTo>
                  <a:cubicBezTo>
                    <a:pt x="51" y="34"/>
                    <a:pt x="53" y="33"/>
                    <a:pt x="52" y="31"/>
                  </a:cubicBezTo>
                  <a:cubicBezTo>
                    <a:pt x="52" y="31"/>
                    <a:pt x="52" y="31"/>
                    <a:pt x="51" y="30"/>
                  </a:cubicBezTo>
                  <a:cubicBezTo>
                    <a:pt x="51" y="30"/>
                    <a:pt x="51" y="30"/>
                    <a:pt x="51" y="30"/>
                  </a:cubicBezTo>
                  <a:cubicBezTo>
                    <a:pt x="51" y="30"/>
                    <a:pt x="51" y="30"/>
                    <a:pt x="51" y="30"/>
                  </a:cubicBezTo>
                  <a:cubicBezTo>
                    <a:pt x="50" y="29"/>
                    <a:pt x="48" y="28"/>
                    <a:pt x="48" y="28"/>
                  </a:cubicBezTo>
                  <a:cubicBezTo>
                    <a:pt x="49" y="26"/>
                    <a:pt x="52" y="27"/>
                    <a:pt x="54" y="26"/>
                  </a:cubicBezTo>
                  <a:cubicBezTo>
                    <a:pt x="55" y="26"/>
                    <a:pt x="55" y="25"/>
                    <a:pt x="55" y="24"/>
                  </a:cubicBezTo>
                  <a:cubicBezTo>
                    <a:pt x="56" y="24"/>
                    <a:pt x="58" y="24"/>
                    <a:pt x="58" y="23"/>
                  </a:cubicBezTo>
                  <a:cubicBezTo>
                    <a:pt x="58" y="22"/>
                    <a:pt x="59" y="21"/>
                    <a:pt x="61" y="22"/>
                  </a:cubicBezTo>
                  <a:cubicBezTo>
                    <a:pt x="61" y="22"/>
                    <a:pt x="61" y="22"/>
                    <a:pt x="61" y="22"/>
                  </a:cubicBezTo>
                  <a:cubicBezTo>
                    <a:pt x="59" y="21"/>
                    <a:pt x="57" y="19"/>
                    <a:pt x="56" y="18"/>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6" name="Freeform 153"/>
            <p:cNvSpPr>
              <a:spLocks/>
            </p:cNvSpPr>
            <p:nvPr/>
          </p:nvSpPr>
          <p:spPr bwMode="auto">
            <a:xfrm>
              <a:off x="6399659" y="4986032"/>
              <a:ext cx="151635" cy="163392"/>
            </a:xfrm>
            <a:custGeom>
              <a:avLst/>
              <a:gdLst>
                <a:gd name="T0" fmla="*/ 47 w 52"/>
                <a:gd name="T1" fmla="*/ 35 h 60"/>
                <a:gd name="T2" fmla="*/ 48 w 52"/>
                <a:gd name="T3" fmla="*/ 32 h 60"/>
                <a:gd name="T4" fmla="*/ 50 w 52"/>
                <a:gd name="T5" fmla="*/ 30 h 60"/>
                <a:gd name="T6" fmla="*/ 50 w 52"/>
                <a:gd name="T7" fmla="*/ 25 h 60"/>
                <a:gd name="T8" fmla="*/ 51 w 52"/>
                <a:gd name="T9" fmla="*/ 25 h 60"/>
                <a:gd name="T10" fmla="*/ 52 w 52"/>
                <a:gd name="T11" fmla="*/ 23 h 60"/>
                <a:gd name="T12" fmla="*/ 51 w 52"/>
                <a:gd name="T13" fmla="*/ 20 h 60"/>
                <a:gd name="T14" fmla="*/ 47 w 52"/>
                <a:gd name="T15" fmla="*/ 21 h 60"/>
                <a:gd name="T16" fmla="*/ 46 w 52"/>
                <a:gd name="T17" fmla="*/ 18 h 60"/>
                <a:gd name="T18" fmla="*/ 41 w 52"/>
                <a:gd name="T19" fmla="*/ 20 h 60"/>
                <a:gd name="T20" fmla="*/ 33 w 52"/>
                <a:gd name="T21" fmla="*/ 12 h 60"/>
                <a:gd name="T22" fmla="*/ 32 w 52"/>
                <a:gd name="T23" fmla="*/ 8 h 60"/>
                <a:gd name="T24" fmla="*/ 31 w 52"/>
                <a:gd name="T25" fmla="*/ 8 h 60"/>
                <a:gd name="T26" fmla="*/ 25 w 52"/>
                <a:gd name="T27" fmla="*/ 5 h 60"/>
                <a:gd name="T28" fmla="*/ 19 w 52"/>
                <a:gd name="T29" fmla="*/ 0 h 60"/>
                <a:gd name="T30" fmla="*/ 15 w 52"/>
                <a:gd name="T31" fmla="*/ 2 h 60"/>
                <a:gd name="T32" fmla="*/ 15 w 52"/>
                <a:gd name="T33" fmla="*/ 3 h 60"/>
                <a:gd name="T34" fmla="*/ 17 w 52"/>
                <a:gd name="T35" fmla="*/ 4 h 60"/>
                <a:gd name="T36" fmla="*/ 12 w 52"/>
                <a:gd name="T37" fmla="*/ 15 h 60"/>
                <a:gd name="T38" fmla="*/ 13 w 52"/>
                <a:gd name="T39" fmla="*/ 17 h 60"/>
                <a:gd name="T40" fmla="*/ 12 w 52"/>
                <a:gd name="T41" fmla="*/ 20 h 60"/>
                <a:gd name="T42" fmla="*/ 7 w 52"/>
                <a:gd name="T43" fmla="*/ 21 h 60"/>
                <a:gd name="T44" fmla="*/ 4 w 52"/>
                <a:gd name="T45" fmla="*/ 23 h 60"/>
                <a:gd name="T46" fmla="*/ 0 w 52"/>
                <a:gd name="T47" fmla="*/ 26 h 60"/>
                <a:gd name="T48" fmla="*/ 1 w 52"/>
                <a:gd name="T49" fmla="*/ 31 h 60"/>
                <a:gd name="T50" fmla="*/ 2 w 52"/>
                <a:gd name="T51" fmla="*/ 33 h 60"/>
                <a:gd name="T52" fmla="*/ 1 w 52"/>
                <a:gd name="T53" fmla="*/ 34 h 60"/>
                <a:gd name="T54" fmla="*/ 5 w 52"/>
                <a:gd name="T55" fmla="*/ 37 h 60"/>
                <a:gd name="T56" fmla="*/ 7 w 52"/>
                <a:gd name="T57" fmla="*/ 42 h 60"/>
                <a:gd name="T58" fmla="*/ 10 w 52"/>
                <a:gd name="T59" fmla="*/ 43 h 60"/>
                <a:gd name="T60" fmla="*/ 11 w 52"/>
                <a:gd name="T61" fmla="*/ 43 h 60"/>
                <a:gd name="T62" fmla="*/ 15 w 52"/>
                <a:gd name="T63" fmla="*/ 46 h 60"/>
                <a:gd name="T64" fmla="*/ 18 w 52"/>
                <a:gd name="T65" fmla="*/ 51 h 60"/>
                <a:gd name="T66" fmla="*/ 19 w 52"/>
                <a:gd name="T67" fmla="*/ 54 h 60"/>
                <a:gd name="T68" fmla="*/ 20 w 52"/>
                <a:gd name="T69" fmla="*/ 58 h 60"/>
                <a:gd name="T70" fmla="*/ 25 w 52"/>
                <a:gd name="T71" fmla="*/ 59 h 60"/>
                <a:gd name="T72" fmla="*/ 27 w 52"/>
                <a:gd name="T73" fmla="*/ 50 h 60"/>
                <a:gd name="T74" fmla="*/ 36 w 52"/>
                <a:gd name="T75" fmla="*/ 42 h 60"/>
                <a:gd name="T76" fmla="*/ 49 w 52"/>
                <a:gd name="T77" fmla="*/ 3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2" h="60">
                  <a:moveTo>
                    <a:pt x="48" y="36"/>
                  </a:moveTo>
                  <a:cubicBezTo>
                    <a:pt x="47" y="35"/>
                    <a:pt x="47" y="35"/>
                    <a:pt x="47" y="35"/>
                  </a:cubicBezTo>
                  <a:cubicBezTo>
                    <a:pt x="45" y="34"/>
                    <a:pt x="45" y="34"/>
                    <a:pt x="45" y="34"/>
                  </a:cubicBezTo>
                  <a:cubicBezTo>
                    <a:pt x="48" y="32"/>
                    <a:pt x="48" y="32"/>
                    <a:pt x="48" y="32"/>
                  </a:cubicBezTo>
                  <a:cubicBezTo>
                    <a:pt x="48" y="32"/>
                    <a:pt x="48" y="32"/>
                    <a:pt x="49" y="31"/>
                  </a:cubicBezTo>
                  <a:cubicBezTo>
                    <a:pt x="49" y="31"/>
                    <a:pt x="50" y="31"/>
                    <a:pt x="50" y="30"/>
                  </a:cubicBezTo>
                  <a:cubicBezTo>
                    <a:pt x="49" y="30"/>
                    <a:pt x="49" y="30"/>
                    <a:pt x="49" y="30"/>
                  </a:cubicBezTo>
                  <a:cubicBezTo>
                    <a:pt x="48" y="27"/>
                    <a:pt x="50" y="26"/>
                    <a:pt x="50" y="25"/>
                  </a:cubicBezTo>
                  <a:cubicBezTo>
                    <a:pt x="51" y="25"/>
                    <a:pt x="51" y="25"/>
                    <a:pt x="51" y="25"/>
                  </a:cubicBezTo>
                  <a:cubicBezTo>
                    <a:pt x="51" y="25"/>
                    <a:pt x="51" y="25"/>
                    <a:pt x="51" y="25"/>
                  </a:cubicBezTo>
                  <a:cubicBezTo>
                    <a:pt x="51" y="25"/>
                    <a:pt x="51" y="25"/>
                    <a:pt x="52" y="25"/>
                  </a:cubicBezTo>
                  <a:cubicBezTo>
                    <a:pt x="52" y="25"/>
                    <a:pt x="52" y="24"/>
                    <a:pt x="52" y="23"/>
                  </a:cubicBezTo>
                  <a:cubicBezTo>
                    <a:pt x="51" y="22"/>
                    <a:pt x="51" y="21"/>
                    <a:pt x="52" y="20"/>
                  </a:cubicBezTo>
                  <a:cubicBezTo>
                    <a:pt x="51" y="20"/>
                    <a:pt x="51" y="20"/>
                    <a:pt x="51" y="20"/>
                  </a:cubicBezTo>
                  <a:cubicBezTo>
                    <a:pt x="50" y="20"/>
                    <a:pt x="50" y="20"/>
                    <a:pt x="50" y="20"/>
                  </a:cubicBezTo>
                  <a:cubicBezTo>
                    <a:pt x="47" y="21"/>
                    <a:pt x="47" y="21"/>
                    <a:pt x="47" y="21"/>
                  </a:cubicBezTo>
                  <a:cubicBezTo>
                    <a:pt x="47" y="19"/>
                    <a:pt x="47" y="19"/>
                    <a:pt x="47" y="19"/>
                  </a:cubicBezTo>
                  <a:cubicBezTo>
                    <a:pt x="47" y="19"/>
                    <a:pt x="46" y="19"/>
                    <a:pt x="46" y="18"/>
                  </a:cubicBezTo>
                  <a:cubicBezTo>
                    <a:pt x="45" y="18"/>
                    <a:pt x="44" y="18"/>
                    <a:pt x="43" y="18"/>
                  </a:cubicBezTo>
                  <a:cubicBezTo>
                    <a:pt x="41" y="20"/>
                    <a:pt x="41" y="20"/>
                    <a:pt x="41" y="20"/>
                  </a:cubicBezTo>
                  <a:cubicBezTo>
                    <a:pt x="40" y="14"/>
                    <a:pt x="40" y="14"/>
                    <a:pt x="40" y="14"/>
                  </a:cubicBezTo>
                  <a:cubicBezTo>
                    <a:pt x="33" y="12"/>
                    <a:pt x="33" y="12"/>
                    <a:pt x="33" y="12"/>
                  </a:cubicBezTo>
                  <a:cubicBezTo>
                    <a:pt x="33" y="11"/>
                    <a:pt x="33" y="11"/>
                    <a:pt x="33" y="11"/>
                  </a:cubicBezTo>
                  <a:cubicBezTo>
                    <a:pt x="33" y="10"/>
                    <a:pt x="32" y="9"/>
                    <a:pt x="32" y="8"/>
                  </a:cubicBezTo>
                  <a:cubicBezTo>
                    <a:pt x="32" y="8"/>
                    <a:pt x="32" y="8"/>
                    <a:pt x="32" y="8"/>
                  </a:cubicBezTo>
                  <a:cubicBezTo>
                    <a:pt x="31" y="8"/>
                    <a:pt x="31" y="8"/>
                    <a:pt x="31" y="8"/>
                  </a:cubicBezTo>
                  <a:cubicBezTo>
                    <a:pt x="27" y="5"/>
                    <a:pt x="27" y="5"/>
                    <a:pt x="27" y="5"/>
                  </a:cubicBezTo>
                  <a:cubicBezTo>
                    <a:pt x="27" y="5"/>
                    <a:pt x="25" y="5"/>
                    <a:pt x="25" y="5"/>
                  </a:cubicBezTo>
                  <a:cubicBezTo>
                    <a:pt x="25" y="5"/>
                    <a:pt x="24" y="5"/>
                    <a:pt x="22" y="4"/>
                  </a:cubicBezTo>
                  <a:cubicBezTo>
                    <a:pt x="20" y="3"/>
                    <a:pt x="19" y="1"/>
                    <a:pt x="19" y="0"/>
                  </a:cubicBezTo>
                  <a:cubicBezTo>
                    <a:pt x="18" y="1"/>
                    <a:pt x="17" y="1"/>
                    <a:pt x="17" y="2"/>
                  </a:cubicBezTo>
                  <a:cubicBezTo>
                    <a:pt x="16" y="2"/>
                    <a:pt x="16" y="2"/>
                    <a:pt x="15" y="2"/>
                  </a:cubicBezTo>
                  <a:cubicBezTo>
                    <a:pt x="15" y="3"/>
                    <a:pt x="15" y="3"/>
                    <a:pt x="15" y="3"/>
                  </a:cubicBezTo>
                  <a:cubicBezTo>
                    <a:pt x="15" y="3"/>
                    <a:pt x="15" y="3"/>
                    <a:pt x="15" y="3"/>
                  </a:cubicBezTo>
                  <a:cubicBezTo>
                    <a:pt x="15" y="3"/>
                    <a:pt x="16" y="4"/>
                    <a:pt x="16" y="4"/>
                  </a:cubicBezTo>
                  <a:cubicBezTo>
                    <a:pt x="17" y="4"/>
                    <a:pt x="17" y="4"/>
                    <a:pt x="17" y="4"/>
                  </a:cubicBezTo>
                  <a:cubicBezTo>
                    <a:pt x="16" y="11"/>
                    <a:pt x="16" y="11"/>
                    <a:pt x="16" y="11"/>
                  </a:cubicBezTo>
                  <a:cubicBezTo>
                    <a:pt x="12" y="15"/>
                    <a:pt x="12" y="15"/>
                    <a:pt x="12" y="15"/>
                  </a:cubicBezTo>
                  <a:cubicBezTo>
                    <a:pt x="13" y="16"/>
                    <a:pt x="13" y="16"/>
                    <a:pt x="13" y="16"/>
                  </a:cubicBezTo>
                  <a:cubicBezTo>
                    <a:pt x="13" y="17"/>
                    <a:pt x="13" y="17"/>
                    <a:pt x="13" y="17"/>
                  </a:cubicBezTo>
                  <a:cubicBezTo>
                    <a:pt x="13" y="18"/>
                    <a:pt x="12" y="19"/>
                    <a:pt x="11" y="19"/>
                  </a:cubicBezTo>
                  <a:cubicBezTo>
                    <a:pt x="12" y="20"/>
                    <a:pt x="12" y="20"/>
                    <a:pt x="12" y="20"/>
                  </a:cubicBezTo>
                  <a:cubicBezTo>
                    <a:pt x="8" y="21"/>
                    <a:pt x="8" y="21"/>
                    <a:pt x="8" y="21"/>
                  </a:cubicBezTo>
                  <a:cubicBezTo>
                    <a:pt x="8" y="21"/>
                    <a:pt x="7" y="21"/>
                    <a:pt x="7" y="21"/>
                  </a:cubicBezTo>
                  <a:cubicBezTo>
                    <a:pt x="7" y="21"/>
                    <a:pt x="7" y="21"/>
                    <a:pt x="7" y="21"/>
                  </a:cubicBezTo>
                  <a:cubicBezTo>
                    <a:pt x="6" y="22"/>
                    <a:pt x="6" y="23"/>
                    <a:pt x="4" y="23"/>
                  </a:cubicBezTo>
                  <a:cubicBezTo>
                    <a:pt x="3" y="24"/>
                    <a:pt x="3" y="25"/>
                    <a:pt x="1" y="26"/>
                  </a:cubicBezTo>
                  <a:cubicBezTo>
                    <a:pt x="1" y="26"/>
                    <a:pt x="1" y="26"/>
                    <a:pt x="0" y="26"/>
                  </a:cubicBezTo>
                  <a:cubicBezTo>
                    <a:pt x="1" y="26"/>
                    <a:pt x="1" y="27"/>
                    <a:pt x="1" y="27"/>
                  </a:cubicBezTo>
                  <a:cubicBezTo>
                    <a:pt x="2" y="29"/>
                    <a:pt x="2" y="30"/>
                    <a:pt x="1" y="31"/>
                  </a:cubicBezTo>
                  <a:cubicBezTo>
                    <a:pt x="1" y="31"/>
                    <a:pt x="1" y="31"/>
                    <a:pt x="2" y="32"/>
                  </a:cubicBezTo>
                  <a:cubicBezTo>
                    <a:pt x="2" y="33"/>
                    <a:pt x="2" y="33"/>
                    <a:pt x="2" y="33"/>
                  </a:cubicBezTo>
                  <a:cubicBezTo>
                    <a:pt x="1" y="34"/>
                    <a:pt x="1" y="34"/>
                    <a:pt x="1" y="34"/>
                  </a:cubicBezTo>
                  <a:cubicBezTo>
                    <a:pt x="1" y="34"/>
                    <a:pt x="1" y="34"/>
                    <a:pt x="1" y="34"/>
                  </a:cubicBezTo>
                  <a:cubicBezTo>
                    <a:pt x="3" y="35"/>
                    <a:pt x="3" y="35"/>
                    <a:pt x="3" y="35"/>
                  </a:cubicBezTo>
                  <a:cubicBezTo>
                    <a:pt x="5" y="37"/>
                    <a:pt x="5" y="37"/>
                    <a:pt x="5" y="37"/>
                  </a:cubicBezTo>
                  <a:cubicBezTo>
                    <a:pt x="5" y="39"/>
                    <a:pt x="5" y="39"/>
                    <a:pt x="5" y="39"/>
                  </a:cubicBezTo>
                  <a:cubicBezTo>
                    <a:pt x="7" y="42"/>
                    <a:pt x="7" y="42"/>
                    <a:pt x="7" y="42"/>
                  </a:cubicBezTo>
                  <a:cubicBezTo>
                    <a:pt x="8" y="42"/>
                    <a:pt x="8" y="42"/>
                    <a:pt x="8" y="42"/>
                  </a:cubicBezTo>
                  <a:cubicBezTo>
                    <a:pt x="10" y="43"/>
                    <a:pt x="10" y="43"/>
                    <a:pt x="10" y="43"/>
                  </a:cubicBezTo>
                  <a:cubicBezTo>
                    <a:pt x="10" y="43"/>
                    <a:pt x="10" y="43"/>
                    <a:pt x="10" y="43"/>
                  </a:cubicBezTo>
                  <a:cubicBezTo>
                    <a:pt x="11" y="43"/>
                    <a:pt x="11" y="43"/>
                    <a:pt x="11" y="43"/>
                  </a:cubicBezTo>
                  <a:cubicBezTo>
                    <a:pt x="11" y="43"/>
                    <a:pt x="13" y="44"/>
                    <a:pt x="14" y="44"/>
                  </a:cubicBezTo>
                  <a:cubicBezTo>
                    <a:pt x="15" y="45"/>
                    <a:pt x="15" y="46"/>
                    <a:pt x="15" y="46"/>
                  </a:cubicBezTo>
                  <a:cubicBezTo>
                    <a:pt x="16" y="46"/>
                    <a:pt x="17" y="48"/>
                    <a:pt x="17" y="48"/>
                  </a:cubicBezTo>
                  <a:cubicBezTo>
                    <a:pt x="18" y="51"/>
                    <a:pt x="18" y="51"/>
                    <a:pt x="18" y="51"/>
                  </a:cubicBezTo>
                  <a:cubicBezTo>
                    <a:pt x="18" y="51"/>
                    <a:pt x="19" y="52"/>
                    <a:pt x="19" y="53"/>
                  </a:cubicBezTo>
                  <a:cubicBezTo>
                    <a:pt x="19" y="53"/>
                    <a:pt x="19" y="54"/>
                    <a:pt x="19" y="54"/>
                  </a:cubicBezTo>
                  <a:cubicBezTo>
                    <a:pt x="21" y="56"/>
                    <a:pt x="21" y="56"/>
                    <a:pt x="21" y="56"/>
                  </a:cubicBezTo>
                  <a:cubicBezTo>
                    <a:pt x="20" y="58"/>
                    <a:pt x="20" y="58"/>
                    <a:pt x="20" y="58"/>
                  </a:cubicBezTo>
                  <a:cubicBezTo>
                    <a:pt x="20" y="59"/>
                    <a:pt x="20" y="59"/>
                    <a:pt x="20" y="59"/>
                  </a:cubicBezTo>
                  <a:cubicBezTo>
                    <a:pt x="22" y="60"/>
                    <a:pt x="24" y="60"/>
                    <a:pt x="25" y="59"/>
                  </a:cubicBezTo>
                  <a:cubicBezTo>
                    <a:pt x="26" y="59"/>
                    <a:pt x="26" y="57"/>
                    <a:pt x="26" y="55"/>
                  </a:cubicBezTo>
                  <a:cubicBezTo>
                    <a:pt x="26" y="53"/>
                    <a:pt x="26" y="52"/>
                    <a:pt x="27" y="50"/>
                  </a:cubicBezTo>
                  <a:cubicBezTo>
                    <a:pt x="27" y="48"/>
                    <a:pt x="30" y="47"/>
                    <a:pt x="32" y="45"/>
                  </a:cubicBezTo>
                  <a:cubicBezTo>
                    <a:pt x="34" y="44"/>
                    <a:pt x="33" y="42"/>
                    <a:pt x="36" y="42"/>
                  </a:cubicBezTo>
                  <a:cubicBezTo>
                    <a:pt x="39" y="43"/>
                    <a:pt x="42" y="52"/>
                    <a:pt x="43" y="43"/>
                  </a:cubicBezTo>
                  <a:cubicBezTo>
                    <a:pt x="43" y="38"/>
                    <a:pt x="47" y="38"/>
                    <a:pt x="49" y="37"/>
                  </a:cubicBezTo>
                  <a:lnTo>
                    <a:pt x="48" y="36"/>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7" name="Rectangle 154"/>
            <p:cNvSpPr>
              <a:spLocks noChangeArrowheads="1"/>
            </p:cNvSpPr>
            <p:nvPr/>
          </p:nvSpPr>
          <p:spPr bwMode="auto">
            <a:xfrm>
              <a:off x="6678379" y="5173933"/>
              <a:ext cx="1444" cy="1362"/>
            </a:xfrm>
            <a:prstGeom prst="rect">
              <a:avLst/>
            </a:prstGeom>
            <a:grpFill/>
            <a:ln w="9525">
              <a:solidFill>
                <a:schemeClr val="bg1"/>
              </a:solidFill>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8" name="Freeform 155"/>
            <p:cNvSpPr>
              <a:spLocks/>
            </p:cNvSpPr>
            <p:nvPr/>
          </p:nvSpPr>
          <p:spPr bwMode="auto">
            <a:xfrm>
              <a:off x="6620613" y="4867573"/>
              <a:ext cx="2888"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cubicBezTo>
                    <a:pt x="0" y="0"/>
                    <a:pt x="0" y="0"/>
                    <a:pt x="0" y="0"/>
                  </a:cubicBezTo>
                  <a:cubicBezTo>
                    <a:pt x="0" y="0"/>
                    <a:pt x="1" y="0"/>
                    <a:pt x="1" y="0"/>
                  </a:cubicBezTo>
                  <a:cubicBezTo>
                    <a:pt x="1" y="0"/>
                    <a:pt x="1" y="0"/>
                    <a:pt x="0" y="0"/>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9" name="Freeform 156"/>
            <p:cNvSpPr>
              <a:spLocks/>
            </p:cNvSpPr>
            <p:nvPr/>
          </p:nvSpPr>
          <p:spPr bwMode="auto">
            <a:xfrm>
              <a:off x="6632166" y="507045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0" name="Freeform 157"/>
            <p:cNvSpPr>
              <a:spLocks/>
            </p:cNvSpPr>
            <p:nvPr/>
          </p:nvSpPr>
          <p:spPr bwMode="auto">
            <a:xfrm>
              <a:off x="6339004" y="5075897"/>
              <a:ext cx="189183" cy="341761"/>
            </a:xfrm>
            <a:custGeom>
              <a:avLst/>
              <a:gdLst>
                <a:gd name="T0" fmla="*/ 61 w 65"/>
                <a:gd name="T1" fmla="*/ 70 h 125"/>
                <a:gd name="T2" fmla="*/ 56 w 65"/>
                <a:gd name="T3" fmla="*/ 68 h 125"/>
                <a:gd name="T4" fmla="*/ 51 w 65"/>
                <a:gd name="T5" fmla="*/ 69 h 125"/>
                <a:gd name="T6" fmla="*/ 51 w 65"/>
                <a:gd name="T7" fmla="*/ 69 h 125"/>
                <a:gd name="T8" fmla="*/ 51 w 65"/>
                <a:gd name="T9" fmla="*/ 69 h 125"/>
                <a:gd name="T10" fmla="*/ 49 w 65"/>
                <a:gd name="T11" fmla="*/ 62 h 125"/>
                <a:gd name="T12" fmla="*/ 45 w 65"/>
                <a:gd name="T13" fmla="*/ 58 h 125"/>
                <a:gd name="T14" fmla="*/ 41 w 65"/>
                <a:gd name="T15" fmla="*/ 51 h 125"/>
                <a:gd name="T16" fmla="*/ 39 w 65"/>
                <a:gd name="T17" fmla="*/ 44 h 125"/>
                <a:gd name="T18" fmla="*/ 42 w 65"/>
                <a:gd name="T19" fmla="*/ 39 h 125"/>
                <a:gd name="T20" fmla="*/ 40 w 65"/>
                <a:gd name="T21" fmla="*/ 31 h 125"/>
                <a:gd name="T22" fmla="*/ 40 w 65"/>
                <a:gd name="T23" fmla="*/ 28 h 125"/>
                <a:gd name="T24" fmla="*/ 38 w 65"/>
                <a:gd name="T25" fmla="*/ 22 h 125"/>
                <a:gd name="T26" fmla="*/ 35 w 65"/>
                <a:gd name="T27" fmla="*/ 15 h 125"/>
                <a:gd name="T28" fmla="*/ 29 w 65"/>
                <a:gd name="T29" fmla="*/ 11 h 125"/>
                <a:gd name="T30" fmla="*/ 21 w 65"/>
                <a:gd name="T31" fmla="*/ 3 h 125"/>
                <a:gd name="T32" fmla="*/ 14 w 65"/>
                <a:gd name="T33" fmla="*/ 7 h 125"/>
                <a:gd name="T34" fmla="*/ 9 w 65"/>
                <a:gd name="T35" fmla="*/ 4 h 125"/>
                <a:gd name="T36" fmla="*/ 8 w 65"/>
                <a:gd name="T37" fmla="*/ 1 h 125"/>
                <a:gd name="T38" fmla="*/ 6 w 65"/>
                <a:gd name="T39" fmla="*/ 5 h 125"/>
                <a:gd name="T40" fmla="*/ 3 w 65"/>
                <a:gd name="T41" fmla="*/ 10 h 125"/>
                <a:gd name="T42" fmla="*/ 2 w 65"/>
                <a:gd name="T43" fmla="*/ 13 h 125"/>
                <a:gd name="T44" fmla="*/ 3 w 65"/>
                <a:gd name="T45" fmla="*/ 19 h 125"/>
                <a:gd name="T46" fmla="*/ 3 w 65"/>
                <a:gd name="T47" fmla="*/ 24 h 125"/>
                <a:gd name="T48" fmla="*/ 3 w 65"/>
                <a:gd name="T49" fmla="*/ 29 h 125"/>
                <a:gd name="T50" fmla="*/ 5 w 65"/>
                <a:gd name="T51" fmla="*/ 32 h 125"/>
                <a:gd name="T52" fmla="*/ 9 w 65"/>
                <a:gd name="T53" fmla="*/ 34 h 125"/>
                <a:gd name="T54" fmla="*/ 9 w 65"/>
                <a:gd name="T55" fmla="*/ 41 h 125"/>
                <a:gd name="T56" fmla="*/ 6 w 65"/>
                <a:gd name="T57" fmla="*/ 44 h 125"/>
                <a:gd name="T58" fmla="*/ 8 w 65"/>
                <a:gd name="T59" fmla="*/ 48 h 125"/>
                <a:gd name="T60" fmla="*/ 5 w 65"/>
                <a:gd name="T61" fmla="*/ 51 h 125"/>
                <a:gd name="T62" fmla="*/ 7 w 65"/>
                <a:gd name="T63" fmla="*/ 54 h 125"/>
                <a:gd name="T64" fmla="*/ 8 w 65"/>
                <a:gd name="T65" fmla="*/ 62 h 125"/>
                <a:gd name="T66" fmla="*/ 7 w 65"/>
                <a:gd name="T67" fmla="*/ 68 h 125"/>
                <a:gd name="T68" fmla="*/ 7 w 65"/>
                <a:gd name="T69" fmla="*/ 72 h 125"/>
                <a:gd name="T70" fmla="*/ 7 w 65"/>
                <a:gd name="T71" fmla="*/ 75 h 125"/>
                <a:gd name="T72" fmla="*/ 7 w 65"/>
                <a:gd name="T73" fmla="*/ 80 h 125"/>
                <a:gd name="T74" fmla="*/ 8 w 65"/>
                <a:gd name="T75" fmla="*/ 88 h 125"/>
                <a:gd name="T76" fmla="*/ 11 w 65"/>
                <a:gd name="T77" fmla="*/ 95 h 125"/>
                <a:gd name="T78" fmla="*/ 11 w 65"/>
                <a:gd name="T79" fmla="*/ 97 h 125"/>
                <a:gd name="T80" fmla="*/ 6 w 65"/>
                <a:gd name="T81" fmla="*/ 93 h 125"/>
                <a:gd name="T82" fmla="*/ 9 w 65"/>
                <a:gd name="T83" fmla="*/ 97 h 125"/>
                <a:gd name="T84" fmla="*/ 19 w 65"/>
                <a:gd name="T85" fmla="*/ 105 h 125"/>
                <a:gd name="T86" fmla="*/ 24 w 65"/>
                <a:gd name="T87" fmla="*/ 108 h 125"/>
                <a:gd name="T88" fmla="*/ 30 w 65"/>
                <a:gd name="T89" fmla="*/ 113 h 125"/>
                <a:gd name="T90" fmla="*/ 33 w 65"/>
                <a:gd name="T91" fmla="*/ 119 h 125"/>
                <a:gd name="T92" fmla="*/ 34 w 65"/>
                <a:gd name="T93" fmla="*/ 123 h 125"/>
                <a:gd name="T94" fmla="*/ 41 w 65"/>
                <a:gd name="T95" fmla="*/ 125 h 125"/>
                <a:gd name="T96" fmla="*/ 44 w 65"/>
                <a:gd name="T97" fmla="*/ 120 h 125"/>
                <a:gd name="T98" fmla="*/ 48 w 65"/>
                <a:gd name="T99" fmla="*/ 117 h 125"/>
                <a:gd name="T100" fmla="*/ 43 w 65"/>
                <a:gd name="T101" fmla="*/ 112 h 125"/>
                <a:gd name="T102" fmla="*/ 45 w 65"/>
                <a:gd name="T103" fmla="*/ 109 h 125"/>
                <a:gd name="T104" fmla="*/ 53 w 65"/>
                <a:gd name="T105" fmla="*/ 103 h 125"/>
                <a:gd name="T106" fmla="*/ 65 w 65"/>
                <a:gd name="T107" fmla="*/ 8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 h="125">
                  <a:moveTo>
                    <a:pt x="62" y="72"/>
                  </a:moveTo>
                  <a:cubicBezTo>
                    <a:pt x="62" y="70"/>
                    <a:pt x="62" y="70"/>
                    <a:pt x="62" y="70"/>
                  </a:cubicBezTo>
                  <a:cubicBezTo>
                    <a:pt x="62" y="70"/>
                    <a:pt x="62" y="70"/>
                    <a:pt x="61" y="70"/>
                  </a:cubicBezTo>
                  <a:cubicBezTo>
                    <a:pt x="61" y="70"/>
                    <a:pt x="61" y="70"/>
                    <a:pt x="61" y="70"/>
                  </a:cubicBezTo>
                  <a:cubicBezTo>
                    <a:pt x="60" y="69"/>
                    <a:pt x="60" y="69"/>
                    <a:pt x="60" y="69"/>
                  </a:cubicBezTo>
                  <a:cubicBezTo>
                    <a:pt x="58" y="68"/>
                    <a:pt x="58" y="68"/>
                    <a:pt x="58" y="68"/>
                  </a:cubicBezTo>
                  <a:cubicBezTo>
                    <a:pt x="58" y="68"/>
                    <a:pt x="58" y="68"/>
                    <a:pt x="57" y="68"/>
                  </a:cubicBezTo>
                  <a:cubicBezTo>
                    <a:pt x="57" y="68"/>
                    <a:pt x="56" y="67"/>
                    <a:pt x="56" y="68"/>
                  </a:cubicBezTo>
                  <a:cubicBezTo>
                    <a:pt x="56" y="68"/>
                    <a:pt x="56" y="68"/>
                    <a:pt x="56" y="68"/>
                  </a:cubicBezTo>
                  <a:cubicBezTo>
                    <a:pt x="55" y="67"/>
                    <a:pt x="54" y="67"/>
                    <a:pt x="54" y="68"/>
                  </a:cubicBezTo>
                  <a:cubicBezTo>
                    <a:pt x="53" y="68"/>
                    <a:pt x="52" y="69"/>
                    <a:pt x="52" y="69"/>
                  </a:cubicBezTo>
                  <a:cubicBezTo>
                    <a:pt x="52" y="69"/>
                    <a:pt x="52" y="69"/>
                    <a:pt x="51" y="69"/>
                  </a:cubicBezTo>
                  <a:cubicBezTo>
                    <a:pt x="51" y="69"/>
                    <a:pt x="51" y="69"/>
                    <a:pt x="51" y="69"/>
                  </a:cubicBezTo>
                  <a:cubicBezTo>
                    <a:pt x="51" y="69"/>
                    <a:pt x="51" y="69"/>
                    <a:pt x="51" y="69"/>
                  </a:cubicBezTo>
                  <a:cubicBezTo>
                    <a:pt x="51" y="69"/>
                    <a:pt x="51" y="69"/>
                    <a:pt x="51" y="69"/>
                  </a:cubicBezTo>
                  <a:cubicBezTo>
                    <a:pt x="51" y="69"/>
                    <a:pt x="51" y="69"/>
                    <a:pt x="51" y="69"/>
                  </a:cubicBezTo>
                  <a:cubicBezTo>
                    <a:pt x="51" y="69"/>
                    <a:pt x="51" y="69"/>
                    <a:pt x="51" y="69"/>
                  </a:cubicBezTo>
                  <a:cubicBezTo>
                    <a:pt x="51" y="69"/>
                    <a:pt x="51" y="69"/>
                    <a:pt x="51" y="69"/>
                  </a:cubicBezTo>
                  <a:cubicBezTo>
                    <a:pt x="51" y="69"/>
                    <a:pt x="51" y="69"/>
                    <a:pt x="51" y="69"/>
                  </a:cubicBezTo>
                  <a:cubicBezTo>
                    <a:pt x="51" y="69"/>
                    <a:pt x="51" y="69"/>
                    <a:pt x="51" y="69"/>
                  </a:cubicBezTo>
                  <a:cubicBezTo>
                    <a:pt x="51" y="69"/>
                    <a:pt x="51" y="69"/>
                    <a:pt x="51" y="69"/>
                  </a:cubicBezTo>
                  <a:cubicBezTo>
                    <a:pt x="51" y="68"/>
                    <a:pt x="51" y="67"/>
                    <a:pt x="51" y="66"/>
                  </a:cubicBezTo>
                  <a:cubicBezTo>
                    <a:pt x="51" y="66"/>
                    <a:pt x="50" y="64"/>
                    <a:pt x="50" y="63"/>
                  </a:cubicBezTo>
                  <a:cubicBezTo>
                    <a:pt x="49" y="63"/>
                    <a:pt x="49" y="62"/>
                    <a:pt x="49" y="62"/>
                  </a:cubicBezTo>
                  <a:cubicBezTo>
                    <a:pt x="49" y="62"/>
                    <a:pt x="48" y="62"/>
                    <a:pt x="47" y="62"/>
                  </a:cubicBezTo>
                  <a:cubicBezTo>
                    <a:pt x="47" y="62"/>
                    <a:pt x="46" y="62"/>
                    <a:pt x="46" y="62"/>
                  </a:cubicBezTo>
                  <a:cubicBezTo>
                    <a:pt x="46" y="62"/>
                    <a:pt x="45" y="60"/>
                    <a:pt x="46" y="60"/>
                  </a:cubicBezTo>
                  <a:cubicBezTo>
                    <a:pt x="46" y="60"/>
                    <a:pt x="45" y="58"/>
                    <a:pt x="45" y="58"/>
                  </a:cubicBezTo>
                  <a:cubicBezTo>
                    <a:pt x="44" y="58"/>
                    <a:pt x="43" y="55"/>
                    <a:pt x="43" y="55"/>
                  </a:cubicBezTo>
                  <a:cubicBezTo>
                    <a:pt x="43" y="55"/>
                    <a:pt x="42" y="56"/>
                    <a:pt x="42" y="55"/>
                  </a:cubicBezTo>
                  <a:cubicBezTo>
                    <a:pt x="42" y="54"/>
                    <a:pt x="42" y="53"/>
                    <a:pt x="42" y="53"/>
                  </a:cubicBezTo>
                  <a:cubicBezTo>
                    <a:pt x="41" y="51"/>
                    <a:pt x="41" y="51"/>
                    <a:pt x="41" y="51"/>
                  </a:cubicBezTo>
                  <a:cubicBezTo>
                    <a:pt x="41" y="51"/>
                    <a:pt x="42" y="50"/>
                    <a:pt x="42" y="50"/>
                  </a:cubicBezTo>
                  <a:cubicBezTo>
                    <a:pt x="42" y="50"/>
                    <a:pt x="43" y="49"/>
                    <a:pt x="43" y="48"/>
                  </a:cubicBezTo>
                  <a:cubicBezTo>
                    <a:pt x="43" y="48"/>
                    <a:pt x="41" y="46"/>
                    <a:pt x="41" y="46"/>
                  </a:cubicBezTo>
                  <a:cubicBezTo>
                    <a:pt x="41" y="46"/>
                    <a:pt x="39" y="45"/>
                    <a:pt x="39" y="44"/>
                  </a:cubicBezTo>
                  <a:cubicBezTo>
                    <a:pt x="38" y="43"/>
                    <a:pt x="38" y="42"/>
                    <a:pt x="38" y="42"/>
                  </a:cubicBezTo>
                  <a:cubicBezTo>
                    <a:pt x="38" y="42"/>
                    <a:pt x="39" y="42"/>
                    <a:pt x="40" y="42"/>
                  </a:cubicBezTo>
                  <a:cubicBezTo>
                    <a:pt x="40" y="41"/>
                    <a:pt x="41" y="41"/>
                    <a:pt x="41" y="40"/>
                  </a:cubicBezTo>
                  <a:cubicBezTo>
                    <a:pt x="41" y="40"/>
                    <a:pt x="42" y="40"/>
                    <a:pt x="42" y="39"/>
                  </a:cubicBezTo>
                  <a:cubicBezTo>
                    <a:pt x="41" y="39"/>
                    <a:pt x="40" y="38"/>
                    <a:pt x="40" y="38"/>
                  </a:cubicBezTo>
                  <a:cubicBezTo>
                    <a:pt x="41" y="35"/>
                    <a:pt x="41" y="35"/>
                    <a:pt x="41" y="35"/>
                  </a:cubicBezTo>
                  <a:cubicBezTo>
                    <a:pt x="41" y="34"/>
                    <a:pt x="41" y="34"/>
                    <a:pt x="41" y="34"/>
                  </a:cubicBezTo>
                  <a:cubicBezTo>
                    <a:pt x="40" y="31"/>
                    <a:pt x="40" y="31"/>
                    <a:pt x="40" y="31"/>
                  </a:cubicBezTo>
                  <a:cubicBezTo>
                    <a:pt x="41" y="30"/>
                    <a:pt x="41" y="30"/>
                    <a:pt x="41" y="30"/>
                  </a:cubicBezTo>
                  <a:cubicBezTo>
                    <a:pt x="41" y="30"/>
                    <a:pt x="41" y="29"/>
                    <a:pt x="41" y="29"/>
                  </a:cubicBezTo>
                  <a:cubicBezTo>
                    <a:pt x="41" y="29"/>
                    <a:pt x="41" y="29"/>
                    <a:pt x="41" y="28"/>
                  </a:cubicBezTo>
                  <a:cubicBezTo>
                    <a:pt x="41" y="28"/>
                    <a:pt x="40" y="28"/>
                    <a:pt x="40" y="28"/>
                  </a:cubicBezTo>
                  <a:cubicBezTo>
                    <a:pt x="39" y="28"/>
                    <a:pt x="39" y="28"/>
                    <a:pt x="39" y="28"/>
                  </a:cubicBezTo>
                  <a:cubicBezTo>
                    <a:pt x="39" y="25"/>
                    <a:pt x="39" y="25"/>
                    <a:pt x="39" y="25"/>
                  </a:cubicBezTo>
                  <a:cubicBezTo>
                    <a:pt x="40" y="23"/>
                    <a:pt x="40" y="23"/>
                    <a:pt x="40" y="23"/>
                  </a:cubicBezTo>
                  <a:cubicBezTo>
                    <a:pt x="38" y="22"/>
                    <a:pt x="38" y="22"/>
                    <a:pt x="38" y="22"/>
                  </a:cubicBezTo>
                  <a:cubicBezTo>
                    <a:pt x="38" y="21"/>
                    <a:pt x="38" y="21"/>
                    <a:pt x="38" y="21"/>
                  </a:cubicBezTo>
                  <a:cubicBezTo>
                    <a:pt x="37" y="20"/>
                    <a:pt x="37" y="19"/>
                    <a:pt x="37" y="18"/>
                  </a:cubicBezTo>
                  <a:cubicBezTo>
                    <a:pt x="36" y="17"/>
                    <a:pt x="36" y="17"/>
                    <a:pt x="36" y="17"/>
                  </a:cubicBezTo>
                  <a:cubicBezTo>
                    <a:pt x="36" y="16"/>
                    <a:pt x="35" y="15"/>
                    <a:pt x="35" y="15"/>
                  </a:cubicBezTo>
                  <a:cubicBezTo>
                    <a:pt x="34" y="14"/>
                    <a:pt x="34" y="14"/>
                    <a:pt x="34" y="13"/>
                  </a:cubicBezTo>
                  <a:cubicBezTo>
                    <a:pt x="33" y="13"/>
                    <a:pt x="32" y="13"/>
                    <a:pt x="32" y="12"/>
                  </a:cubicBezTo>
                  <a:cubicBezTo>
                    <a:pt x="30" y="12"/>
                    <a:pt x="30" y="12"/>
                    <a:pt x="30" y="12"/>
                  </a:cubicBezTo>
                  <a:cubicBezTo>
                    <a:pt x="29" y="11"/>
                    <a:pt x="29" y="11"/>
                    <a:pt x="29" y="11"/>
                  </a:cubicBezTo>
                  <a:cubicBezTo>
                    <a:pt x="27" y="12"/>
                    <a:pt x="27" y="12"/>
                    <a:pt x="27" y="12"/>
                  </a:cubicBezTo>
                  <a:cubicBezTo>
                    <a:pt x="24" y="7"/>
                    <a:pt x="24" y="7"/>
                    <a:pt x="24" y="7"/>
                  </a:cubicBezTo>
                  <a:cubicBezTo>
                    <a:pt x="24" y="5"/>
                    <a:pt x="24" y="5"/>
                    <a:pt x="24" y="5"/>
                  </a:cubicBezTo>
                  <a:cubicBezTo>
                    <a:pt x="21" y="3"/>
                    <a:pt x="21" y="3"/>
                    <a:pt x="21" y="3"/>
                  </a:cubicBezTo>
                  <a:cubicBezTo>
                    <a:pt x="20" y="3"/>
                    <a:pt x="20" y="3"/>
                    <a:pt x="20" y="4"/>
                  </a:cubicBezTo>
                  <a:cubicBezTo>
                    <a:pt x="19" y="4"/>
                    <a:pt x="19" y="4"/>
                    <a:pt x="17" y="4"/>
                  </a:cubicBezTo>
                  <a:cubicBezTo>
                    <a:pt x="16" y="6"/>
                    <a:pt x="16" y="6"/>
                    <a:pt x="16" y="6"/>
                  </a:cubicBezTo>
                  <a:cubicBezTo>
                    <a:pt x="14" y="7"/>
                    <a:pt x="14" y="7"/>
                    <a:pt x="14" y="7"/>
                  </a:cubicBezTo>
                  <a:cubicBezTo>
                    <a:pt x="13" y="7"/>
                    <a:pt x="13" y="7"/>
                    <a:pt x="13" y="7"/>
                  </a:cubicBezTo>
                  <a:cubicBezTo>
                    <a:pt x="13" y="7"/>
                    <a:pt x="12" y="7"/>
                    <a:pt x="11" y="6"/>
                  </a:cubicBezTo>
                  <a:cubicBezTo>
                    <a:pt x="11" y="6"/>
                    <a:pt x="11" y="6"/>
                    <a:pt x="10" y="5"/>
                  </a:cubicBezTo>
                  <a:cubicBezTo>
                    <a:pt x="9" y="4"/>
                    <a:pt x="9" y="4"/>
                    <a:pt x="9" y="4"/>
                  </a:cubicBezTo>
                  <a:cubicBezTo>
                    <a:pt x="9" y="4"/>
                    <a:pt x="9" y="3"/>
                    <a:pt x="9" y="3"/>
                  </a:cubicBezTo>
                  <a:cubicBezTo>
                    <a:pt x="8" y="3"/>
                    <a:pt x="8" y="3"/>
                    <a:pt x="8" y="3"/>
                  </a:cubicBezTo>
                  <a:cubicBezTo>
                    <a:pt x="8" y="2"/>
                    <a:pt x="8" y="2"/>
                    <a:pt x="8" y="2"/>
                  </a:cubicBezTo>
                  <a:cubicBezTo>
                    <a:pt x="8" y="1"/>
                    <a:pt x="8" y="1"/>
                    <a:pt x="8" y="1"/>
                  </a:cubicBezTo>
                  <a:cubicBezTo>
                    <a:pt x="8" y="1"/>
                    <a:pt x="8" y="0"/>
                    <a:pt x="8" y="0"/>
                  </a:cubicBezTo>
                  <a:cubicBezTo>
                    <a:pt x="8" y="0"/>
                    <a:pt x="8" y="0"/>
                    <a:pt x="8" y="0"/>
                  </a:cubicBezTo>
                  <a:cubicBezTo>
                    <a:pt x="8" y="1"/>
                    <a:pt x="8" y="1"/>
                    <a:pt x="8" y="1"/>
                  </a:cubicBezTo>
                  <a:cubicBezTo>
                    <a:pt x="6" y="5"/>
                    <a:pt x="6" y="5"/>
                    <a:pt x="6" y="5"/>
                  </a:cubicBezTo>
                  <a:cubicBezTo>
                    <a:pt x="5" y="7"/>
                    <a:pt x="5" y="7"/>
                    <a:pt x="5" y="7"/>
                  </a:cubicBezTo>
                  <a:cubicBezTo>
                    <a:pt x="5" y="8"/>
                    <a:pt x="4" y="8"/>
                    <a:pt x="4" y="8"/>
                  </a:cubicBezTo>
                  <a:cubicBezTo>
                    <a:pt x="4" y="9"/>
                    <a:pt x="3" y="10"/>
                    <a:pt x="3" y="10"/>
                  </a:cubicBezTo>
                  <a:cubicBezTo>
                    <a:pt x="3" y="10"/>
                    <a:pt x="3" y="10"/>
                    <a:pt x="3" y="10"/>
                  </a:cubicBezTo>
                  <a:cubicBezTo>
                    <a:pt x="2" y="10"/>
                    <a:pt x="2" y="10"/>
                    <a:pt x="2" y="10"/>
                  </a:cubicBezTo>
                  <a:cubicBezTo>
                    <a:pt x="3" y="11"/>
                    <a:pt x="3" y="11"/>
                    <a:pt x="3" y="11"/>
                  </a:cubicBezTo>
                  <a:cubicBezTo>
                    <a:pt x="3" y="12"/>
                    <a:pt x="3" y="12"/>
                    <a:pt x="3" y="12"/>
                  </a:cubicBezTo>
                  <a:cubicBezTo>
                    <a:pt x="3" y="12"/>
                    <a:pt x="2" y="13"/>
                    <a:pt x="2" y="13"/>
                  </a:cubicBezTo>
                  <a:cubicBezTo>
                    <a:pt x="2" y="13"/>
                    <a:pt x="2" y="13"/>
                    <a:pt x="1" y="14"/>
                  </a:cubicBezTo>
                  <a:cubicBezTo>
                    <a:pt x="1" y="16"/>
                    <a:pt x="1" y="16"/>
                    <a:pt x="1" y="16"/>
                  </a:cubicBezTo>
                  <a:cubicBezTo>
                    <a:pt x="0" y="18"/>
                    <a:pt x="0" y="18"/>
                    <a:pt x="0" y="18"/>
                  </a:cubicBezTo>
                  <a:cubicBezTo>
                    <a:pt x="3" y="19"/>
                    <a:pt x="3" y="19"/>
                    <a:pt x="3" y="19"/>
                  </a:cubicBezTo>
                  <a:cubicBezTo>
                    <a:pt x="3" y="19"/>
                    <a:pt x="3" y="19"/>
                    <a:pt x="3" y="19"/>
                  </a:cubicBezTo>
                  <a:cubicBezTo>
                    <a:pt x="4" y="20"/>
                    <a:pt x="4" y="22"/>
                    <a:pt x="4" y="22"/>
                  </a:cubicBezTo>
                  <a:cubicBezTo>
                    <a:pt x="4" y="23"/>
                    <a:pt x="3" y="23"/>
                    <a:pt x="3" y="24"/>
                  </a:cubicBezTo>
                  <a:cubicBezTo>
                    <a:pt x="3" y="24"/>
                    <a:pt x="3" y="24"/>
                    <a:pt x="3" y="24"/>
                  </a:cubicBezTo>
                  <a:cubicBezTo>
                    <a:pt x="3" y="25"/>
                    <a:pt x="3" y="25"/>
                    <a:pt x="3" y="25"/>
                  </a:cubicBezTo>
                  <a:cubicBezTo>
                    <a:pt x="3" y="25"/>
                    <a:pt x="4" y="26"/>
                    <a:pt x="3" y="27"/>
                  </a:cubicBezTo>
                  <a:cubicBezTo>
                    <a:pt x="3" y="27"/>
                    <a:pt x="3" y="29"/>
                    <a:pt x="3" y="29"/>
                  </a:cubicBezTo>
                  <a:cubicBezTo>
                    <a:pt x="3" y="29"/>
                    <a:pt x="3" y="29"/>
                    <a:pt x="3" y="29"/>
                  </a:cubicBezTo>
                  <a:cubicBezTo>
                    <a:pt x="3" y="29"/>
                    <a:pt x="3" y="29"/>
                    <a:pt x="3" y="30"/>
                  </a:cubicBezTo>
                  <a:cubicBezTo>
                    <a:pt x="3" y="30"/>
                    <a:pt x="3" y="30"/>
                    <a:pt x="3" y="30"/>
                  </a:cubicBezTo>
                  <a:cubicBezTo>
                    <a:pt x="4" y="31"/>
                    <a:pt x="4" y="31"/>
                    <a:pt x="4" y="31"/>
                  </a:cubicBezTo>
                  <a:cubicBezTo>
                    <a:pt x="5" y="32"/>
                    <a:pt x="5" y="32"/>
                    <a:pt x="5" y="32"/>
                  </a:cubicBezTo>
                  <a:cubicBezTo>
                    <a:pt x="5" y="32"/>
                    <a:pt x="5" y="32"/>
                    <a:pt x="5" y="32"/>
                  </a:cubicBezTo>
                  <a:cubicBezTo>
                    <a:pt x="7" y="32"/>
                    <a:pt x="7" y="32"/>
                    <a:pt x="7" y="32"/>
                  </a:cubicBezTo>
                  <a:cubicBezTo>
                    <a:pt x="8" y="33"/>
                    <a:pt x="8" y="33"/>
                    <a:pt x="8" y="33"/>
                  </a:cubicBezTo>
                  <a:cubicBezTo>
                    <a:pt x="9" y="34"/>
                    <a:pt x="9" y="34"/>
                    <a:pt x="9" y="34"/>
                  </a:cubicBezTo>
                  <a:cubicBezTo>
                    <a:pt x="9" y="36"/>
                    <a:pt x="9" y="36"/>
                    <a:pt x="9" y="36"/>
                  </a:cubicBezTo>
                  <a:cubicBezTo>
                    <a:pt x="9" y="38"/>
                    <a:pt x="9" y="38"/>
                    <a:pt x="9" y="38"/>
                  </a:cubicBezTo>
                  <a:cubicBezTo>
                    <a:pt x="8" y="40"/>
                    <a:pt x="8" y="40"/>
                    <a:pt x="8" y="40"/>
                  </a:cubicBezTo>
                  <a:cubicBezTo>
                    <a:pt x="9" y="41"/>
                    <a:pt x="9" y="41"/>
                    <a:pt x="9" y="41"/>
                  </a:cubicBezTo>
                  <a:cubicBezTo>
                    <a:pt x="10" y="41"/>
                    <a:pt x="10" y="41"/>
                    <a:pt x="10" y="41"/>
                  </a:cubicBezTo>
                  <a:cubicBezTo>
                    <a:pt x="10" y="41"/>
                    <a:pt x="10" y="43"/>
                    <a:pt x="9" y="43"/>
                  </a:cubicBezTo>
                  <a:cubicBezTo>
                    <a:pt x="9" y="43"/>
                    <a:pt x="8" y="43"/>
                    <a:pt x="7" y="44"/>
                  </a:cubicBezTo>
                  <a:cubicBezTo>
                    <a:pt x="6" y="44"/>
                    <a:pt x="6" y="44"/>
                    <a:pt x="6" y="44"/>
                  </a:cubicBezTo>
                  <a:cubicBezTo>
                    <a:pt x="6" y="45"/>
                    <a:pt x="6" y="45"/>
                    <a:pt x="6" y="45"/>
                  </a:cubicBezTo>
                  <a:cubicBezTo>
                    <a:pt x="7" y="46"/>
                    <a:pt x="7" y="46"/>
                    <a:pt x="7" y="46"/>
                  </a:cubicBezTo>
                  <a:cubicBezTo>
                    <a:pt x="7" y="46"/>
                    <a:pt x="8" y="45"/>
                    <a:pt x="8" y="46"/>
                  </a:cubicBezTo>
                  <a:cubicBezTo>
                    <a:pt x="8" y="46"/>
                    <a:pt x="8" y="48"/>
                    <a:pt x="8" y="48"/>
                  </a:cubicBezTo>
                  <a:cubicBezTo>
                    <a:pt x="8" y="48"/>
                    <a:pt x="8" y="49"/>
                    <a:pt x="8" y="49"/>
                  </a:cubicBezTo>
                  <a:cubicBezTo>
                    <a:pt x="7" y="49"/>
                    <a:pt x="6" y="50"/>
                    <a:pt x="6" y="50"/>
                  </a:cubicBezTo>
                  <a:cubicBezTo>
                    <a:pt x="6" y="51"/>
                    <a:pt x="6" y="51"/>
                    <a:pt x="6" y="51"/>
                  </a:cubicBezTo>
                  <a:cubicBezTo>
                    <a:pt x="5" y="51"/>
                    <a:pt x="5" y="51"/>
                    <a:pt x="5" y="51"/>
                  </a:cubicBezTo>
                  <a:cubicBezTo>
                    <a:pt x="4" y="52"/>
                    <a:pt x="4" y="52"/>
                    <a:pt x="4" y="52"/>
                  </a:cubicBezTo>
                  <a:cubicBezTo>
                    <a:pt x="5" y="54"/>
                    <a:pt x="5" y="54"/>
                    <a:pt x="5" y="54"/>
                  </a:cubicBezTo>
                  <a:cubicBezTo>
                    <a:pt x="6" y="54"/>
                    <a:pt x="6" y="54"/>
                    <a:pt x="6" y="54"/>
                  </a:cubicBezTo>
                  <a:cubicBezTo>
                    <a:pt x="6" y="54"/>
                    <a:pt x="6" y="54"/>
                    <a:pt x="7" y="54"/>
                  </a:cubicBezTo>
                  <a:cubicBezTo>
                    <a:pt x="7" y="54"/>
                    <a:pt x="9" y="56"/>
                    <a:pt x="9" y="56"/>
                  </a:cubicBezTo>
                  <a:cubicBezTo>
                    <a:pt x="9" y="57"/>
                    <a:pt x="9" y="57"/>
                    <a:pt x="9" y="57"/>
                  </a:cubicBezTo>
                  <a:cubicBezTo>
                    <a:pt x="9" y="57"/>
                    <a:pt x="8" y="58"/>
                    <a:pt x="8" y="58"/>
                  </a:cubicBezTo>
                  <a:cubicBezTo>
                    <a:pt x="8" y="59"/>
                    <a:pt x="8" y="62"/>
                    <a:pt x="8" y="62"/>
                  </a:cubicBezTo>
                  <a:cubicBezTo>
                    <a:pt x="7" y="63"/>
                    <a:pt x="7" y="63"/>
                    <a:pt x="7" y="63"/>
                  </a:cubicBezTo>
                  <a:cubicBezTo>
                    <a:pt x="7" y="63"/>
                    <a:pt x="8" y="66"/>
                    <a:pt x="8" y="66"/>
                  </a:cubicBezTo>
                  <a:cubicBezTo>
                    <a:pt x="8" y="67"/>
                    <a:pt x="8" y="67"/>
                    <a:pt x="8" y="67"/>
                  </a:cubicBezTo>
                  <a:cubicBezTo>
                    <a:pt x="7" y="68"/>
                    <a:pt x="7" y="68"/>
                    <a:pt x="7" y="68"/>
                  </a:cubicBezTo>
                  <a:cubicBezTo>
                    <a:pt x="10" y="69"/>
                    <a:pt x="10" y="69"/>
                    <a:pt x="10" y="69"/>
                  </a:cubicBezTo>
                  <a:cubicBezTo>
                    <a:pt x="10" y="70"/>
                    <a:pt x="10" y="70"/>
                    <a:pt x="10" y="70"/>
                  </a:cubicBezTo>
                  <a:cubicBezTo>
                    <a:pt x="8" y="71"/>
                    <a:pt x="8" y="71"/>
                    <a:pt x="8" y="71"/>
                  </a:cubicBezTo>
                  <a:cubicBezTo>
                    <a:pt x="8" y="71"/>
                    <a:pt x="7" y="71"/>
                    <a:pt x="7" y="72"/>
                  </a:cubicBezTo>
                  <a:cubicBezTo>
                    <a:pt x="7" y="72"/>
                    <a:pt x="7" y="73"/>
                    <a:pt x="7" y="73"/>
                  </a:cubicBezTo>
                  <a:cubicBezTo>
                    <a:pt x="9" y="73"/>
                    <a:pt x="9" y="73"/>
                    <a:pt x="9" y="73"/>
                  </a:cubicBezTo>
                  <a:cubicBezTo>
                    <a:pt x="8" y="74"/>
                    <a:pt x="8" y="74"/>
                    <a:pt x="8" y="74"/>
                  </a:cubicBezTo>
                  <a:cubicBezTo>
                    <a:pt x="7" y="75"/>
                    <a:pt x="7" y="75"/>
                    <a:pt x="7" y="75"/>
                  </a:cubicBezTo>
                  <a:cubicBezTo>
                    <a:pt x="7" y="75"/>
                    <a:pt x="7" y="76"/>
                    <a:pt x="7" y="76"/>
                  </a:cubicBezTo>
                  <a:cubicBezTo>
                    <a:pt x="7" y="76"/>
                    <a:pt x="7" y="77"/>
                    <a:pt x="7" y="77"/>
                  </a:cubicBezTo>
                  <a:cubicBezTo>
                    <a:pt x="7" y="77"/>
                    <a:pt x="6" y="78"/>
                    <a:pt x="6" y="78"/>
                  </a:cubicBezTo>
                  <a:cubicBezTo>
                    <a:pt x="7" y="80"/>
                    <a:pt x="7" y="80"/>
                    <a:pt x="7" y="80"/>
                  </a:cubicBezTo>
                  <a:cubicBezTo>
                    <a:pt x="6" y="83"/>
                    <a:pt x="6" y="83"/>
                    <a:pt x="6" y="83"/>
                  </a:cubicBezTo>
                  <a:cubicBezTo>
                    <a:pt x="5" y="84"/>
                    <a:pt x="5" y="84"/>
                    <a:pt x="5" y="84"/>
                  </a:cubicBezTo>
                  <a:cubicBezTo>
                    <a:pt x="7" y="86"/>
                    <a:pt x="7" y="86"/>
                    <a:pt x="7" y="86"/>
                  </a:cubicBezTo>
                  <a:cubicBezTo>
                    <a:pt x="8" y="88"/>
                    <a:pt x="8" y="88"/>
                    <a:pt x="8" y="88"/>
                  </a:cubicBezTo>
                  <a:cubicBezTo>
                    <a:pt x="10" y="90"/>
                    <a:pt x="10" y="90"/>
                    <a:pt x="10" y="90"/>
                  </a:cubicBezTo>
                  <a:cubicBezTo>
                    <a:pt x="11" y="91"/>
                    <a:pt x="11" y="91"/>
                    <a:pt x="11" y="91"/>
                  </a:cubicBezTo>
                  <a:cubicBezTo>
                    <a:pt x="12" y="92"/>
                    <a:pt x="12" y="92"/>
                    <a:pt x="12" y="92"/>
                  </a:cubicBezTo>
                  <a:cubicBezTo>
                    <a:pt x="11" y="95"/>
                    <a:pt x="11" y="95"/>
                    <a:pt x="11" y="95"/>
                  </a:cubicBezTo>
                  <a:cubicBezTo>
                    <a:pt x="12" y="96"/>
                    <a:pt x="12" y="96"/>
                    <a:pt x="12" y="96"/>
                  </a:cubicBezTo>
                  <a:cubicBezTo>
                    <a:pt x="12" y="97"/>
                    <a:pt x="12" y="97"/>
                    <a:pt x="12" y="97"/>
                  </a:cubicBezTo>
                  <a:cubicBezTo>
                    <a:pt x="12" y="97"/>
                    <a:pt x="12" y="97"/>
                    <a:pt x="12" y="98"/>
                  </a:cubicBezTo>
                  <a:cubicBezTo>
                    <a:pt x="11" y="98"/>
                    <a:pt x="11" y="98"/>
                    <a:pt x="11" y="97"/>
                  </a:cubicBezTo>
                  <a:cubicBezTo>
                    <a:pt x="10" y="97"/>
                    <a:pt x="9" y="96"/>
                    <a:pt x="9" y="95"/>
                  </a:cubicBezTo>
                  <a:cubicBezTo>
                    <a:pt x="9" y="95"/>
                    <a:pt x="8" y="94"/>
                    <a:pt x="8" y="94"/>
                  </a:cubicBezTo>
                  <a:cubicBezTo>
                    <a:pt x="8" y="94"/>
                    <a:pt x="7" y="93"/>
                    <a:pt x="7" y="93"/>
                  </a:cubicBezTo>
                  <a:cubicBezTo>
                    <a:pt x="6" y="93"/>
                    <a:pt x="6" y="93"/>
                    <a:pt x="6" y="93"/>
                  </a:cubicBezTo>
                  <a:cubicBezTo>
                    <a:pt x="6" y="93"/>
                    <a:pt x="6" y="94"/>
                    <a:pt x="6" y="94"/>
                  </a:cubicBezTo>
                  <a:cubicBezTo>
                    <a:pt x="6" y="94"/>
                    <a:pt x="6" y="95"/>
                    <a:pt x="7" y="95"/>
                  </a:cubicBezTo>
                  <a:cubicBezTo>
                    <a:pt x="7" y="96"/>
                    <a:pt x="8" y="96"/>
                    <a:pt x="8" y="96"/>
                  </a:cubicBezTo>
                  <a:cubicBezTo>
                    <a:pt x="8" y="97"/>
                    <a:pt x="9" y="97"/>
                    <a:pt x="9" y="97"/>
                  </a:cubicBezTo>
                  <a:cubicBezTo>
                    <a:pt x="9" y="98"/>
                    <a:pt x="9" y="100"/>
                    <a:pt x="9" y="100"/>
                  </a:cubicBezTo>
                  <a:cubicBezTo>
                    <a:pt x="11" y="101"/>
                    <a:pt x="11" y="101"/>
                    <a:pt x="11" y="101"/>
                  </a:cubicBezTo>
                  <a:cubicBezTo>
                    <a:pt x="12" y="102"/>
                    <a:pt x="12" y="102"/>
                    <a:pt x="12" y="102"/>
                  </a:cubicBezTo>
                  <a:cubicBezTo>
                    <a:pt x="19" y="105"/>
                    <a:pt x="19" y="105"/>
                    <a:pt x="19" y="105"/>
                  </a:cubicBezTo>
                  <a:cubicBezTo>
                    <a:pt x="21" y="106"/>
                    <a:pt x="21" y="106"/>
                    <a:pt x="21" y="106"/>
                  </a:cubicBezTo>
                  <a:cubicBezTo>
                    <a:pt x="22" y="106"/>
                    <a:pt x="22" y="106"/>
                    <a:pt x="22" y="106"/>
                  </a:cubicBezTo>
                  <a:cubicBezTo>
                    <a:pt x="23" y="108"/>
                    <a:pt x="23" y="108"/>
                    <a:pt x="23" y="108"/>
                  </a:cubicBezTo>
                  <a:cubicBezTo>
                    <a:pt x="24" y="108"/>
                    <a:pt x="24" y="108"/>
                    <a:pt x="24" y="108"/>
                  </a:cubicBezTo>
                  <a:cubicBezTo>
                    <a:pt x="24" y="108"/>
                    <a:pt x="24" y="108"/>
                    <a:pt x="25" y="108"/>
                  </a:cubicBezTo>
                  <a:cubicBezTo>
                    <a:pt x="25" y="108"/>
                    <a:pt x="27" y="108"/>
                    <a:pt x="27" y="108"/>
                  </a:cubicBezTo>
                  <a:cubicBezTo>
                    <a:pt x="27" y="108"/>
                    <a:pt x="27" y="108"/>
                    <a:pt x="27" y="109"/>
                  </a:cubicBezTo>
                  <a:cubicBezTo>
                    <a:pt x="27" y="110"/>
                    <a:pt x="30" y="113"/>
                    <a:pt x="30" y="113"/>
                  </a:cubicBezTo>
                  <a:cubicBezTo>
                    <a:pt x="30" y="113"/>
                    <a:pt x="30" y="114"/>
                    <a:pt x="31" y="115"/>
                  </a:cubicBezTo>
                  <a:cubicBezTo>
                    <a:pt x="31" y="115"/>
                    <a:pt x="33" y="116"/>
                    <a:pt x="33" y="116"/>
                  </a:cubicBezTo>
                  <a:cubicBezTo>
                    <a:pt x="33" y="116"/>
                    <a:pt x="33" y="117"/>
                    <a:pt x="33" y="118"/>
                  </a:cubicBezTo>
                  <a:cubicBezTo>
                    <a:pt x="33" y="118"/>
                    <a:pt x="32" y="119"/>
                    <a:pt x="33" y="119"/>
                  </a:cubicBezTo>
                  <a:cubicBezTo>
                    <a:pt x="33" y="120"/>
                    <a:pt x="33" y="120"/>
                    <a:pt x="33" y="120"/>
                  </a:cubicBezTo>
                  <a:cubicBezTo>
                    <a:pt x="33" y="120"/>
                    <a:pt x="33" y="120"/>
                    <a:pt x="33" y="120"/>
                  </a:cubicBezTo>
                  <a:cubicBezTo>
                    <a:pt x="34" y="121"/>
                    <a:pt x="34" y="121"/>
                    <a:pt x="34" y="121"/>
                  </a:cubicBezTo>
                  <a:cubicBezTo>
                    <a:pt x="34" y="123"/>
                    <a:pt x="34" y="123"/>
                    <a:pt x="34" y="123"/>
                  </a:cubicBezTo>
                  <a:cubicBezTo>
                    <a:pt x="35" y="124"/>
                    <a:pt x="35" y="124"/>
                    <a:pt x="35" y="124"/>
                  </a:cubicBezTo>
                  <a:cubicBezTo>
                    <a:pt x="37" y="124"/>
                    <a:pt x="37" y="124"/>
                    <a:pt x="37" y="124"/>
                  </a:cubicBezTo>
                  <a:cubicBezTo>
                    <a:pt x="39" y="125"/>
                    <a:pt x="39" y="125"/>
                    <a:pt x="39" y="125"/>
                  </a:cubicBezTo>
                  <a:cubicBezTo>
                    <a:pt x="41" y="125"/>
                    <a:pt x="41" y="125"/>
                    <a:pt x="41" y="125"/>
                  </a:cubicBezTo>
                  <a:cubicBezTo>
                    <a:pt x="43" y="123"/>
                    <a:pt x="43" y="123"/>
                    <a:pt x="43" y="123"/>
                  </a:cubicBezTo>
                  <a:cubicBezTo>
                    <a:pt x="43" y="123"/>
                    <a:pt x="44" y="122"/>
                    <a:pt x="44" y="122"/>
                  </a:cubicBezTo>
                  <a:cubicBezTo>
                    <a:pt x="44" y="122"/>
                    <a:pt x="44" y="121"/>
                    <a:pt x="44" y="121"/>
                  </a:cubicBezTo>
                  <a:cubicBezTo>
                    <a:pt x="44" y="120"/>
                    <a:pt x="44" y="120"/>
                    <a:pt x="44" y="120"/>
                  </a:cubicBezTo>
                  <a:cubicBezTo>
                    <a:pt x="44" y="120"/>
                    <a:pt x="43" y="118"/>
                    <a:pt x="44" y="118"/>
                  </a:cubicBezTo>
                  <a:cubicBezTo>
                    <a:pt x="45" y="118"/>
                    <a:pt x="45" y="118"/>
                    <a:pt x="45" y="118"/>
                  </a:cubicBezTo>
                  <a:cubicBezTo>
                    <a:pt x="46" y="118"/>
                    <a:pt x="45" y="118"/>
                    <a:pt x="46" y="118"/>
                  </a:cubicBezTo>
                  <a:cubicBezTo>
                    <a:pt x="47" y="118"/>
                    <a:pt x="47" y="117"/>
                    <a:pt x="48" y="117"/>
                  </a:cubicBezTo>
                  <a:cubicBezTo>
                    <a:pt x="48" y="116"/>
                    <a:pt x="48" y="116"/>
                    <a:pt x="48" y="116"/>
                  </a:cubicBezTo>
                  <a:cubicBezTo>
                    <a:pt x="48" y="116"/>
                    <a:pt x="48" y="116"/>
                    <a:pt x="48" y="116"/>
                  </a:cubicBezTo>
                  <a:cubicBezTo>
                    <a:pt x="47" y="115"/>
                    <a:pt x="44" y="114"/>
                    <a:pt x="44" y="114"/>
                  </a:cubicBezTo>
                  <a:cubicBezTo>
                    <a:pt x="44" y="113"/>
                    <a:pt x="43" y="113"/>
                    <a:pt x="43" y="112"/>
                  </a:cubicBezTo>
                  <a:cubicBezTo>
                    <a:pt x="43" y="112"/>
                    <a:pt x="43" y="111"/>
                    <a:pt x="43" y="111"/>
                  </a:cubicBezTo>
                  <a:cubicBezTo>
                    <a:pt x="43" y="110"/>
                    <a:pt x="43" y="110"/>
                    <a:pt x="43" y="110"/>
                  </a:cubicBezTo>
                  <a:cubicBezTo>
                    <a:pt x="43" y="110"/>
                    <a:pt x="44" y="110"/>
                    <a:pt x="44" y="109"/>
                  </a:cubicBezTo>
                  <a:cubicBezTo>
                    <a:pt x="44" y="109"/>
                    <a:pt x="45" y="109"/>
                    <a:pt x="45" y="109"/>
                  </a:cubicBezTo>
                  <a:cubicBezTo>
                    <a:pt x="46" y="107"/>
                    <a:pt x="46" y="107"/>
                    <a:pt x="46" y="107"/>
                  </a:cubicBezTo>
                  <a:cubicBezTo>
                    <a:pt x="46" y="107"/>
                    <a:pt x="46" y="106"/>
                    <a:pt x="47" y="106"/>
                  </a:cubicBezTo>
                  <a:cubicBezTo>
                    <a:pt x="47" y="106"/>
                    <a:pt x="47" y="106"/>
                    <a:pt x="48" y="106"/>
                  </a:cubicBezTo>
                  <a:cubicBezTo>
                    <a:pt x="53" y="103"/>
                    <a:pt x="53" y="103"/>
                    <a:pt x="53" y="103"/>
                  </a:cubicBezTo>
                  <a:cubicBezTo>
                    <a:pt x="57" y="96"/>
                    <a:pt x="57" y="96"/>
                    <a:pt x="57" y="96"/>
                  </a:cubicBezTo>
                  <a:cubicBezTo>
                    <a:pt x="58" y="89"/>
                    <a:pt x="58" y="89"/>
                    <a:pt x="58" y="89"/>
                  </a:cubicBezTo>
                  <a:cubicBezTo>
                    <a:pt x="61" y="82"/>
                    <a:pt x="61" y="82"/>
                    <a:pt x="61" y="82"/>
                  </a:cubicBezTo>
                  <a:cubicBezTo>
                    <a:pt x="61" y="82"/>
                    <a:pt x="64" y="79"/>
                    <a:pt x="65" y="80"/>
                  </a:cubicBezTo>
                  <a:cubicBezTo>
                    <a:pt x="65" y="81"/>
                    <a:pt x="64" y="74"/>
                    <a:pt x="64" y="74"/>
                  </a:cubicBezTo>
                  <a:lnTo>
                    <a:pt x="62" y="72"/>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1" name="Freeform 158"/>
            <p:cNvSpPr>
              <a:spLocks/>
            </p:cNvSpPr>
            <p:nvPr/>
          </p:nvSpPr>
          <p:spPr bwMode="auto">
            <a:xfrm>
              <a:off x="6458869" y="5067728"/>
              <a:ext cx="239728" cy="190624"/>
            </a:xfrm>
            <a:custGeom>
              <a:avLst/>
              <a:gdLst>
                <a:gd name="T0" fmla="*/ 83 w 83"/>
                <a:gd name="T1" fmla="*/ 37 h 70"/>
                <a:gd name="T2" fmla="*/ 81 w 83"/>
                <a:gd name="T3" fmla="*/ 25 h 70"/>
                <a:gd name="T4" fmla="*/ 79 w 83"/>
                <a:gd name="T5" fmla="*/ 19 h 70"/>
                <a:gd name="T6" fmla="*/ 74 w 83"/>
                <a:gd name="T7" fmla="*/ 12 h 70"/>
                <a:gd name="T8" fmla="*/ 67 w 83"/>
                <a:gd name="T9" fmla="*/ 8 h 70"/>
                <a:gd name="T10" fmla="*/ 59 w 83"/>
                <a:gd name="T11" fmla="*/ 2 h 70"/>
                <a:gd name="T12" fmla="*/ 57 w 83"/>
                <a:gd name="T13" fmla="*/ 0 h 70"/>
                <a:gd name="T14" fmla="*/ 54 w 83"/>
                <a:gd name="T15" fmla="*/ 0 h 70"/>
                <a:gd name="T16" fmla="*/ 52 w 83"/>
                <a:gd name="T17" fmla="*/ 0 h 70"/>
                <a:gd name="T18" fmla="*/ 49 w 83"/>
                <a:gd name="T19" fmla="*/ 1 h 70"/>
                <a:gd name="T20" fmla="*/ 47 w 83"/>
                <a:gd name="T21" fmla="*/ 3 h 70"/>
                <a:gd name="T22" fmla="*/ 43 w 83"/>
                <a:gd name="T23" fmla="*/ 3 h 70"/>
                <a:gd name="T24" fmla="*/ 40 w 83"/>
                <a:gd name="T25" fmla="*/ 5 h 70"/>
                <a:gd name="T26" fmla="*/ 36 w 83"/>
                <a:gd name="T27" fmla="*/ 7 h 70"/>
                <a:gd name="T28" fmla="*/ 36 w 83"/>
                <a:gd name="T29" fmla="*/ 8 h 70"/>
                <a:gd name="T30" fmla="*/ 34 w 83"/>
                <a:gd name="T31" fmla="*/ 7 h 70"/>
                <a:gd name="T32" fmla="*/ 34 w 83"/>
                <a:gd name="T33" fmla="*/ 7 h 70"/>
                <a:gd name="T34" fmla="*/ 34 w 83"/>
                <a:gd name="T35" fmla="*/ 8 h 70"/>
                <a:gd name="T36" fmla="*/ 33 w 83"/>
                <a:gd name="T37" fmla="*/ 8 h 70"/>
                <a:gd name="T38" fmla="*/ 31 w 83"/>
                <a:gd name="T39" fmla="*/ 9 h 70"/>
                <a:gd name="T40" fmla="*/ 25 w 83"/>
                <a:gd name="T41" fmla="*/ 13 h 70"/>
                <a:gd name="T42" fmla="*/ 18 w 83"/>
                <a:gd name="T43" fmla="*/ 16 h 70"/>
                <a:gd name="T44" fmla="*/ 15 w 83"/>
                <a:gd name="T45" fmla="*/ 15 h 70"/>
                <a:gd name="T46" fmla="*/ 15 w 83"/>
                <a:gd name="T47" fmla="*/ 15 h 70"/>
                <a:gd name="T48" fmla="*/ 11 w 83"/>
                <a:gd name="T49" fmla="*/ 19 h 70"/>
                <a:gd name="T50" fmla="*/ 8 w 83"/>
                <a:gd name="T51" fmla="*/ 24 h 70"/>
                <a:gd name="T52" fmla="*/ 3 w 83"/>
                <a:gd name="T53" fmla="*/ 32 h 70"/>
                <a:gd name="T54" fmla="*/ 2 w 83"/>
                <a:gd name="T55" fmla="*/ 34 h 70"/>
                <a:gd name="T56" fmla="*/ 2 w 83"/>
                <a:gd name="T57" fmla="*/ 38 h 70"/>
                <a:gd name="T58" fmla="*/ 2 w 83"/>
                <a:gd name="T59" fmla="*/ 41 h 70"/>
                <a:gd name="T60" fmla="*/ 1 w 83"/>
                <a:gd name="T61" fmla="*/ 46 h 70"/>
                <a:gd name="T62" fmla="*/ 1 w 83"/>
                <a:gd name="T63" fmla="*/ 47 h 70"/>
                <a:gd name="T64" fmla="*/ 4 w 83"/>
                <a:gd name="T65" fmla="*/ 53 h 70"/>
                <a:gd name="T66" fmla="*/ 3 w 83"/>
                <a:gd name="T67" fmla="*/ 55 h 70"/>
                <a:gd name="T68" fmla="*/ 4 w 83"/>
                <a:gd name="T69" fmla="*/ 57 h 70"/>
                <a:gd name="T70" fmla="*/ 7 w 83"/>
                <a:gd name="T71" fmla="*/ 62 h 70"/>
                <a:gd name="T72" fmla="*/ 9 w 83"/>
                <a:gd name="T73" fmla="*/ 63 h 70"/>
                <a:gd name="T74" fmla="*/ 11 w 83"/>
                <a:gd name="T75" fmla="*/ 65 h 70"/>
                <a:gd name="T76" fmla="*/ 14 w 83"/>
                <a:gd name="T77" fmla="*/ 68 h 70"/>
                <a:gd name="T78" fmla="*/ 16 w 83"/>
                <a:gd name="T79" fmla="*/ 68 h 70"/>
                <a:gd name="T80" fmla="*/ 17 w 83"/>
                <a:gd name="T81" fmla="*/ 68 h 70"/>
                <a:gd name="T82" fmla="*/ 21 w 83"/>
                <a:gd name="T83" fmla="*/ 70 h 70"/>
                <a:gd name="T84" fmla="*/ 26 w 83"/>
                <a:gd name="T85" fmla="*/ 69 h 70"/>
                <a:gd name="T86" fmla="*/ 30 w 83"/>
                <a:gd name="T87" fmla="*/ 68 h 70"/>
                <a:gd name="T88" fmla="*/ 35 w 83"/>
                <a:gd name="T89" fmla="*/ 66 h 70"/>
                <a:gd name="T90" fmla="*/ 45 w 83"/>
                <a:gd name="T91" fmla="*/ 63 h 70"/>
                <a:gd name="T92" fmla="*/ 50 w 83"/>
                <a:gd name="T93" fmla="*/ 54 h 70"/>
                <a:gd name="T94" fmla="*/ 56 w 83"/>
                <a:gd name="T95" fmla="*/ 52 h 70"/>
                <a:gd name="T96" fmla="*/ 62 w 83"/>
                <a:gd name="T97" fmla="*/ 51 h 70"/>
                <a:gd name="T98" fmla="*/ 77 w 83"/>
                <a:gd name="T99" fmla="*/ 46 h 70"/>
                <a:gd name="T100" fmla="*/ 83 w 83"/>
                <a:gd name="T101" fmla="*/ 3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 h="70">
                  <a:moveTo>
                    <a:pt x="83" y="37"/>
                  </a:moveTo>
                  <a:cubicBezTo>
                    <a:pt x="83" y="37"/>
                    <a:pt x="83" y="37"/>
                    <a:pt x="83" y="37"/>
                  </a:cubicBezTo>
                  <a:cubicBezTo>
                    <a:pt x="82" y="36"/>
                    <a:pt x="80" y="31"/>
                    <a:pt x="80" y="28"/>
                  </a:cubicBezTo>
                  <a:cubicBezTo>
                    <a:pt x="80" y="26"/>
                    <a:pt x="81" y="26"/>
                    <a:pt x="81" y="25"/>
                  </a:cubicBezTo>
                  <a:cubicBezTo>
                    <a:pt x="81" y="24"/>
                    <a:pt x="82" y="23"/>
                    <a:pt x="82" y="22"/>
                  </a:cubicBezTo>
                  <a:cubicBezTo>
                    <a:pt x="81" y="21"/>
                    <a:pt x="80" y="20"/>
                    <a:pt x="79" y="19"/>
                  </a:cubicBezTo>
                  <a:cubicBezTo>
                    <a:pt x="78" y="18"/>
                    <a:pt x="77" y="18"/>
                    <a:pt x="77" y="16"/>
                  </a:cubicBezTo>
                  <a:cubicBezTo>
                    <a:pt x="76" y="14"/>
                    <a:pt x="75" y="13"/>
                    <a:pt x="74" y="12"/>
                  </a:cubicBezTo>
                  <a:cubicBezTo>
                    <a:pt x="73" y="11"/>
                    <a:pt x="73" y="10"/>
                    <a:pt x="73" y="10"/>
                  </a:cubicBezTo>
                  <a:cubicBezTo>
                    <a:pt x="71" y="9"/>
                    <a:pt x="69" y="8"/>
                    <a:pt x="67" y="8"/>
                  </a:cubicBezTo>
                  <a:cubicBezTo>
                    <a:pt x="65" y="7"/>
                    <a:pt x="63" y="7"/>
                    <a:pt x="61" y="5"/>
                  </a:cubicBezTo>
                  <a:cubicBezTo>
                    <a:pt x="60" y="4"/>
                    <a:pt x="59" y="3"/>
                    <a:pt x="59" y="2"/>
                  </a:cubicBezTo>
                  <a:cubicBezTo>
                    <a:pt x="58" y="1"/>
                    <a:pt x="58" y="0"/>
                    <a:pt x="58" y="0"/>
                  </a:cubicBezTo>
                  <a:cubicBezTo>
                    <a:pt x="57" y="0"/>
                    <a:pt x="57" y="0"/>
                    <a:pt x="57" y="0"/>
                  </a:cubicBezTo>
                  <a:cubicBezTo>
                    <a:pt x="56" y="0"/>
                    <a:pt x="56" y="0"/>
                    <a:pt x="55" y="0"/>
                  </a:cubicBezTo>
                  <a:cubicBezTo>
                    <a:pt x="55" y="0"/>
                    <a:pt x="54" y="0"/>
                    <a:pt x="54" y="0"/>
                  </a:cubicBezTo>
                  <a:cubicBezTo>
                    <a:pt x="53" y="2"/>
                    <a:pt x="53" y="2"/>
                    <a:pt x="53" y="2"/>
                  </a:cubicBezTo>
                  <a:cubicBezTo>
                    <a:pt x="52" y="0"/>
                    <a:pt x="52" y="0"/>
                    <a:pt x="52" y="0"/>
                  </a:cubicBezTo>
                  <a:cubicBezTo>
                    <a:pt x="51" y="0"/>
                    <a:pt x="51" y="0"/>
                    <a:pt x="51" y="0"/>
                  </a:cubicBezTo>
                  <a:cubicBezTo>
                    <a:pt x="50" y="0"/>
                    <a:pt x="49" y="1"/>
                    <a:pt x="49" y="1"/>
                  </a:cubicBezTo>
                  <a:cubicBezTo>
                    <a:pt x="49" y="1"/>
                    <a:pt x="49" y="1"/>
                    <a:pt x="49" y="1"/>
                  </a:cubicBezTo>
                  <a:cubicBezTo>
                    <a:pt x="48" y="2"/>
                    <a:pt x="47" y="3"/>
                    <a:pt x="47" y="3"/>
                  </a:cubicBezTo>
                  <a:cubicBezTo>
                    <a:pt x="45" y="3"/>
                    <a:pt x="44" y="3"/>
                    <a:pt x="43" y="3"/>
                  </a:cubicBezTo>
                  <a:cubicBezTo>
                    <a:pt x="43" y="3"/>
                    <a:pt x="43" y="3"/>
                    <a:pt x="43" y="3"/>
                  </a:cubicBezTo>
                  <a:cubicBezTo>
                    <a:pt x="43" y="3"/>
                    <a:pt x="42" y="3"/>
                    <a:pt x="42" y="3"/>
                  </a:cubicBezTo>
                  <a:cubicBezTo>
                    <a:pt x="40" y="5"/>
                    <a:pt x="40" y="5"/>
                    <a:pt x="40" y="5"/>
                  </a:cubicBezTo>
                  <a:cubicBezTo>
                    <a:pt x="38" y="5"/>
                    <a:pt x="38" y="5"/>
                    <a:pt x="38" y="5"/>
                  </a:cubicBezTo>
                  <a:cubicBezTo>
                    <a:pt x="38" y="5"/>
                    <a:pt x="37" y="6"/>
                    <a:pt x="36" y="7"/>
                  </a:cubicBezTo>
                  <a:cubicBezTo>
                    <a:pt x="36" y="8"/>
                    <a:pt x="36" y="8"/>
                    <a:pt x="36" y="8"/>
                  </a:cubicBezTo>
                  <a:cubicBezTo>
                    <a:pt x="36" y="8"/>
                    <a:pt x="36" y="8"/>
                    <a:pt x="36" y="8"/>
                  </a:cubicBezTo>
                  <a:cubicBezTo>
                    <a:pt x="35" y="8"/>
                    <a:pt x="35" y="8"/>
                    <a:pt x="34" y="8"/>
                  </a:cubicBezTo>
                  <a:cubicBezTo>
                    <a:pt x="34" y="7"/>
                    <a:pt x="34" y="7"/>
                    <a:pt x="34" y="7"/>
                  </a:cubicBezTo>
                  <a:cubicBezTo>
                    <a:pt x="34" y="7"/>
                    <a:pt x="34" y="7"/>
                    <a:pt x="34" y="7"/>
                  </a:cubicBezTo>
                  <a:cubicBezTo>
                    <a:pt x="34" y="7"/>
                    <a:pt x="34" y="7"/>
                    <a:pt x="34" y="7"/>
                  </a:cubicBezTo>
                  <a:cubicBezTo>
                    <a:pt x="34" y="7"/>
                    <a:pt x="34" y="7"/>
                    <a:pt x="34" y="7"/>
                  </a:cubicBezTo>
                  <a:cubicBezTo>
                    <a:pt x="34" y="8"/>
                    <a:pt x="34" y="8"/>
                    <a:pt x="34" y="8"/>
                  </a:cubicBezTo>
                  <a:cubicBezTo>
                    <a:pt x="33" y="8"/>
                    <a:pt x="33" y="8"/>
                    <a:pt x="33" y="8"/>
                  </a:cubicBezTo>
                  <a:cubicBezTo>
                    <a:pt x="33" y="8"/>
                    <a:pt x="33" y="8"/>
                    <a:pt x="33" y="8"/>
                  </a:cubicBezTo>
                  <a:cubicBezTo>
                    <a:pt x="33" y="10"/>
                    <a:pt x="33" y="10"/>
                    <a:pt x="33" y="10"/>
                  </a:cubicBezTo>
                  <a:cubicBezTo>
                    <a:pt x="31" y="9"/>
                    <a:pt x="31" y="9"/>
                    <a:pt x="31" y="9"/>
                  </a:cubicBezTo>
                  <a:cubicBezTo>
                    <a:pt x="30" y="10"/>
                    <a:pt x="29" y="10"/>
                    <a:pt x="28" y="10"/>
                  </a:cubicBezTo>
                  <a:cubicBezTo>
                    <a:pt x="26" y="11"/>
                    <a:pt x="25" y="11"/>
                    <a:pt x="25" y="13"/>
                  </a:cubicBezTo>
                  <a:cubicBezTo>
                    <a:pt x="25" y="14"/>
                    <a:pt x="25" y="19"/>
                    <a:pt x="22" y="19"/>
                  </a:cubicBezTo>
                  <a:cubicBezTo>
                    <a:pt x="20" y="19"/>
                    <a:pt x="19" y="18"/>
                    <a:pt x="18" y="16"/>
                  </a:cubicBezTo>
                  <a:cubicBezTo>
                    <a:pt x="17" y="16"/>
                    <a:pt x="16" y="15"/>
                    <a:pt x="16" y="15"/>
                  </a:cubicBezTo>
                  <a:cubicBezTo>
                    <a:pt x="16" y="15"/>
                    <a:pt x="15" y="15"/>
                    <a:pt x="15" y="15"/>
                  </a:cubicBezTo>
                  <a:cubicBezTo>
                    <a:pt x="15" y="15"/>
                    <a:pt x="15" y="15"/>
                    <a:pt x="15" y="15"/>
                  </a:cubicBezTo>
                  <a:cubicBezTo>
                    <a:pt x="16" y="15"/>
                    <a:pt x="15" y="15"/>
                    <a:pt x="15" y="15"/>
                  </a:cubicBezTo>
                  <a:cubicBezTo>
                    <a:pt x="15" y="16"/>
                    <a:pt x="15" y="16"/>
                    <a:pt x="14" y="17"/>
                  </a:cubicBezTo>
                  <a:cubicBezTo>
                    <a:pt x="13" y="18"/>
                    <a:pt x="12" y="19"/>
                    <a:pt x="11" y="19"/>
                  </a:cubicBezTo>
                  <a:cubicBezTo>
                    <a:pt x="10" y="20"/>
                    <a:pt x="9" y="20"/>
                    <a:pt x="9" y="20"/>
                  </a:cubicBezTo>
                  <a:cubicBezTo>
                    <a:pt x="8" y="22"/>
                    <a:pt x="8" y="23"/>
                    <a:pt x="8" y="24"/>
                  </a:cubicBezTo>
                  <a:cubicBezTo>
                    <a:pt x="8" y="26"/>
                    <a:pt x="9" y="31"/>
                    <a:pt x="5" y="32"/>
                  </a:cubicBezTo>
                  <a:cubicBezTo>
                    <a:pt x="5" y="32"/>
                    <a:pt x="4" y="32"/>
                    <a:pt x="3" y="32"/>
                  </a:cubicBezTo>
                  <a:cubicBezTo>
                    <a:pt x="2" y="32"/>
                    <a:pt x="2" y="32"/>
                    <a:pt x="2" y="32"/>
                  </a:cubicBezTo>
                  <a:cubicBezTo>
                    <a:pt x="2" y="32"/>
                    <a:pt x="2" y="33"/>
                    <a:pt x="2" y="34"/>
                  </a:cubicBezTo>
                  <a:cubicBezTo>
                    <a:pt x="2" y="34"/>
                    <a:pt x="2" y="34"/>
                    <a:pt x="2" y="34"/>
                  </a:cubicBezTo>
                  <a:cubicBezTo>
                    <a:pt x="2" y="38"/>
                    <a:pt x="2" y="38"/>
                    <a:pt x="2" y="38"/>
                  </a:cubicBezTo>
                  <a:cubicBezTo>
                    <a:pt x="2" y="40"/>
                    <a:pt x="2" y="40"/>
                    <a:pt x="2" y="40"/>
                  </a:cubicBezTo>
                  <a:cubicBezTo>
                    <a:pt x="2" y="40"/>
                    <a:pt x="2" y="41"/>
                    <a:pt x="2" y="41"/>
                  </a:cubicBezTo>
                  <a:cubicBezTo>
                    <a:pt x="3" y="42"/>
                    <a:pt x="4" y="43"/>
                    <a:pt x="2" y="45"/>
                  </a:cubicBezTo>
                  <a:cubicBezTo>
                    <a:pt x="2" y="45"/>
                    <a:pt x="1" y="46"/>
                    <a:pt x="1" y="46"/>
                  </a:cubicBezTo>
                  <a:cubicBezTo>
                    <a:pt x="0" y="46"/>
                    <a:pt x="0" y="46"/>
                    <a:pt x="0" y="46"/>
                  </a:cubicBezTo>
                  <a:cubicBezTo>
                    <a:pt x="0" y="47"/>
                    <a:pt x="1" y="47"/>
                    <a:pt x="1" y="47"/>
                  </a:cubicBezTo>
                  <a:cubicBezTo>
                    <a:pt x="1" y="47"/>
                    <a:pt x="3" y="49"/>
                    <a:pt x="4" y="50"/>
                  </a:cubicBezTo>
                  <a:cubicBezTo>
                    <a:pt x="5" y="51"/>
                    <a:pt x="4" y="53"/>
                    <a:pt x="4" y="53"/>
                  </a:cubicBezTo>
                  <a:cubicBezTo>
                    <a:pt x="4" y="54"/>
                    <a:pt x="3" y="54"/>
                    <a:pt x="3" y="55"/>
                  </a:cubicBezTo>
                  <a:cubicBezTo>
                    <a:pt x="3" y="55"/>
                    <a:pt x="3" y="55"/>
                    <a:pt x="3" y="55"/>
                  </a:cubicBezTo>
                  <a:cubicBezTo>
                    <a:pt x="3" y="56"/>
                    <a:pt x="3" y="56"/>
                    <a:pt x="3" y="56"/>
                  </a:cubicBezTo>
                  <a:cubicBezTo>
                    <a:pt x="3" y="57"/>
                    <a:pt x="4" y="57"/>
                    <a:pt x="4" y="57"/>
                  </a:cubicBezTo>
                  <a:cubicBezTo>
                    <a:pt x="4" y="58"/>
                    <a:pt x="5" y="59"/>
                    <a:pt x="5" y="59"/>
                  </a:cubicBezTo>
                  <a:cubicBezTo>
                    <a:pt x="5" y="59"/>
                    <a:pt x="7" y="61"/>
                    <a:pt x="7" y="62"/>
                  </a:cubicBezTo>
                  <a:cubicBezTo>
                    <a:pt x="8" y="63"/>
                    <a:pt x="9" y="63"/>
                    <a:pt x="9" y="63"/>
                  </a:cubicBezTo>
                  <a:cubicBezTo>
                    <a:pt x="9" y="63"/>
                    <a:pt x="9" y="63"/>
                    <a:pt x="9" y="63"/>
                  </a:cubicBezTo>
                  <a:cubicBezTo>
                    <a:pt x="9" y="63"/>
                    <a:pt x="9" y="63"/>
                    <a:pt x="9" y="63"/>
                  </a:cubicBezTo>
                  <a:cubicBezTo>
                    <a:pt x="10" y="63"/>
                    <a:pt x="10" y="64"/>
                    <a:pt x="11" y="65"/>
                  </a:cubicBezTo>
                  <a:cubicBezTo>
                    <a:pt x="11" y="66"/>
                    <a:pt x="12" y="67"/>
                    <a:pt x="12" y="68"/>
                  </a:cubicBezTo>
                  <a:cubicBezTo>
                    <a:pt x="13" y="68"/>
                    <a:pt x="13" y="68"/>
                    <a:pt x="14" y="68"/>
                  </a:cubicBezTo>
                  <a:cubicBezTo>
                    <a:pt x="14" y="68"/>
                    <a:pt x="15" y="68"/>
                    <a:pt x="15" y="68"/>
                  </a:cubicBezTo>
                  <a:cubicBezTo>
                    <a:pt x="16" y="68"/>
                    <a:pt x="16" y="68"/>
                    <a:pt x="16" y="68"/>
                  </a:cubicBezTo>
                  <a:cubicBezTo>
                    <a:pt x="16" y="69"/>
                    <a:pt x="17" y="69"/>
                    <a:pt x="17" y="69"/>
                  </a:cubicBezTo>
                  <a:cubicBezTo>
                    <a:pt x="17" y="68"/>
                    <a:pt x="17" y="68"/>
                    <a:pt x="17" y="68"/>
                  </a:cubicBezTo>
                  <a:cubicBezTo>
                    <a:pt x="18" y="68"/>
                    <a:pt x="18" y="68"/>
                    <a:pt x="18" y="68"/>
                  </a:cubicBezTo>
                  <a:cubicBezTo>
                    <a:pt x="21" y="70"/>
                    <a:pt x="21" y="70"/>
                    <a:pt x="21" y="70"/>
                  </a:cubicBezTo>
                  <a:cubicBezTo>
                    <a:pt x="21" y="70"/>
                    <a:pt x="21" y="70"/>
                    <a:pt x="21" y="70"/>
                  </a:cubicBezTo>
                  <a:cubicBezTo>
                    <a:pt x="22" y="70"/>
                    <a:pt x="25" y="69"/>
                    <a:pt x="26" y="69"/>
                  </a:cubicBezTo>
                  <a:cubicBezTo>
                    <a:pt x="26" y="69"/>
                    <a:pt x="27" y="69"/>
                    <a:pt x="28" y="69"/>
                  </a:cubicBezTo>
                  <a:cubicBezTo>
                    <a:pt x="29" y="68"/>
                    <a:pt x="29" y="68"/>
                    <a:pt x="30" y="68"/>
                  </a:cubicBezTo>
                  <a:cubicBezTo>
                    <a:pt x="31" y="68"/>
                    <a:pt x="32" y="67"/>
                    <a:pt x="33" y="67"/>
                  </a:cubicBezTo>
                  <a:cubicBezTo>
                    <a:pt x="34" y="66"/>
                    <a:pt x="35" y="66"/>
                    <a:pt x="35" y="66"/>
                  </a:cubicBezTo>
                  <a:cubicBezTo>
                    <a:pt x="36" y="66"/>
                    <a:pt x="40" y="66"/>
                    <a:pt x="41" y="66"/>
                  </a:cubicBezTo>
                  <a:cubicBezTo>
                    <a:pt x="41" y="66"/>
                    <a:pt x="44" y="64"/>
                    <a:pt x="45" y="63"/>
                  </a:cubicBezTo>
                  <a:cubicBezTo>
                    <a:pt x="45" y="63"/>
                    <a:pt x="47" y="60"/>
                    <a:pt x="48" y="59"/>
                  </a:cubicBezTo>
                  <a:cubicBezTo>
                    <a:pt x="48" y="58"/>
                    <a:pt x="49" y="55"/>
                    <a:pt x="50" y="54"/>
                  </a:cubicBezTo>
                  <a:cubicBezTo>
                    <a:pt x="50" y="54"/>
                    <a:pt x="51" y="54"/>
                    <a:pt x="51" y="54"/>
                  </a:cubicBezTo>
                  <a:cubicBezTo>
                    <a:pt x="53" y="53"/>
                    <a:pt x="55" y="52"/>
                    <a:pt x="56" y="52"/>
                  </a:cubicBezTo>
                  <a:cubicBezTo>
                    <a:pt x="57" y="52"/>
                    <a:pt x="59" y="52"/>
                    <a:pt x="60" y="51"/>
                  </a:cubicBezTo>
                  <a:cubicBezTo>
                    <a:pt x="61" y="51"/>
                    <a:pt x="62" y="51"/>
                    <a:pt x="62" y="51"/>
                  </a:cubicBezTo>
                  <a:cubicBezTo>
                    <a:pt x="63" y="51"/>
                    <a:pt x="73" y="49"/>
                    <a:pt x="73" y="49"/>
                  </a:cubicBezTo>
                  <a:cubicBezTo>
                    <a:pt x="77" y="46"/>
                    <a:pt x="77" y="46"/>
                    <a:pt x="77" y="46"/>
                  </a:cubicBezTo>
                  <a:cubicBezTo>
                    <a:pt x="75" y="39"/>
                    <a:pt x="75" y="39"/>
                    <a:pt x="75" y="39"/>
                  </a:cubicBezTo>
                  <a:lnTo>
                    <a:pt x="83" y="37"/>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2" name="Freeform 159"/>
            <p:cNvSpPr>
              <a:spLocks/>
            </p:cNvSpPr>
            <p:nvPr/>
          </p:nvSpPr>
          <p:spPr bwMode="auto">
            <a:xfrm>
              <a:off x="6951322" y="5282861"/>
              <a:ext cx="20218" cy="29955"/>
            </a:xfrm>
            <a:custGeom>
              <a:avLst/>
              <a:gdLst>
                <a:gd name="T0" fmla="*/ 2 w 7"/>
                <a:gd name="T1" fmla="*/ 9 h 11"/>
                <a:gd name="T2" fmla="*/ 3 w 7"/>
                <a:gd name="T3" fmla="*/ 10 h 11"/>
                <a:gd name="T4" fmla="*/ 5 w 7"/>
                <a:gd name="T5" fmla="*/ 9 h 11"/>
                <a:gd name="T6" fmla="*/ 6 w 7"/>
                <a:gd name="T7" fmla="*/ 8 h 11"/>
                <a:gd name="T8" fmla="*/ 5 w 7"/>
                <a:gd name="T9" fmla="*/ 6 h 11"/>
                <a:gd name="T10" fmla="*/ 5 w 7"/>
                <a:gd name="T11" fmla="*/ 5 h 11"/>
                <a:gd name="T12" fmla="*/ 6 w 7"/>
                <a:gd name="T13" fmla="*/ 3 h 11"/>
                <a:gd name="T14" fmla="*/ 7 w 7"/>
                <a:gd name="T15" fmla="*/ 1 h 11"/>
                <a:gd name="T16" fmla="*/ 5 w 7"/>
                <a:gd name="T17" fmla="*/ 0 h 11"/>
                <a:gd name="T18" fmla="*/ 4 w 7"/>
                <a:gd name="T19" fmla="*/ 2 h 11"/>
                <a:gd name="T20" fmla="*/ 3 w 7"/>
                <a:gd name="T21" fmla="*/ 3 h 11"/>
                <a:gd name="T22" fmla="*/ 2 w 7"/>
                <a:gd name="T23" fmla="*/ 5 h 11"/>
                <a:gd name="T24" fmla="*/ 1 w 7"/>
                <a:gd name="T25" fmla="*/ 7 h 11"/>
                <a:gd name="T26" fmla="*/ 2 w 7"/>
                <a:gd name="T27"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1">
                  <a:moveTo>
                    <a:pt x="2" y="9"/>
                  </a:moveTo>
                  <a:cubicBezTo>
                    <a:pt x="3" y="10"/>
                    <a:pt x="2" y="9"/>
                    <a:pt x="3" y="10"/>
                  </a:cubicBezTo>
                  <a:cubicBezTo>
                    <a:pt x="3" y="11"/>
                    <a:pt x="4" y="10"/>
                    <a:pt x="5" y="9"/>
                  </a:cubicBezTo>
                  <a:cubicBezTo>
                    <a:pt x="7" y="8"/>
                    <a:pt x="6" y="9"/>
                    <a:pt x="6" y="8"/>
                  </a:cubicBezTo>
                  <a:cubicBezTo>
                    <a:pt x="6" y="8"/>
                    <a:pt x="5" y="6"/>
                    <a:pt x="5" y="6"/>
                  </a:cubicBezTo>
                  <a:cubicBezTo>
                    <a:pt x="5" y="6"/>
                    <a:pt x="4" y="5"/>
                    <a:pt x="5" y="5"/>
                  </a:cubicBezTo>
                  <a:cubicBezTo>
                    <a:pt x="5" y="5"/>
                    <a:pt x="5" y="4"/>
                    <a:pt x="6" y="3"/>
                  </a:cubicBezTo>
                  <a:cubicBezTo>
                    <a:pt x="7" y="2"/>
                    <a:pt x="7" y="1"/>
                    <a:pt x="7" y="1"/>
                  </a:cubicBezTo>
                  <a:cubicBezTo>
                    <a:pt x="7" y="0"/>
                    <a:pt x="5" y="0"/>
                    <a:pt x="5" y="0"/>
                  </a:cubicBezTo>
                  <a:cubicBezTo>
                    <a:pt x="5" y="0"/>
                    <a:pt x="4" y="1"/>
                    <a:pt x="4" y="2"/>
                  </a:cubicBezTo>
                  <a:cubicBezTo>
                    <a:pt x="4" y="2"/>
                    <a:pt x="3" y="3"/>
                    <a:pt x="3" y="3"/>
                  </a:cubicBezTo>
                  <a:cubicBezTo>
                    <a:pt x="3" y="4"/>
                    <a:pt x="2" y="5"/>
                    <a:pt x="2" y="5"/>
                  </a:cubicBezTo>
                  <a:cubicBezTo>
                    <a:pt x="2" y="5"/>
                    <a:pt x="2" y="6"/>
                    <a:pt x="1" y="7"/>
                  </a:cubicBezTo>
                  <a:cubicBezTo>
                    <a:pt x="0" y="8"/>
                    <a:pt x="1" y="8"/>
                    <a:pt x="2" y="9"/>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3" name="Freeform 160"/>
            <p:cNvSpPr>
              <a:spLocks/>
            </p:cNvSpPr>
            <p:nvPr/>
          </p:nvSpPr>
          <p:spPr bwMode="auto">
            <a:xfrm>
              <a:off x="6945546" y="5630068"/>
              <a:ext cx="14441" cy="16339"/>
            </a:xfrm>
            <a:custGeom>
              <a:avLst/>
              <a:gdLst>
                <a:gd name="T0" fmla="*/ 2 w 5"/>
                <a:gd name="T1" fmla="*/ 6 h 6"/>
                <a:gd name="T2" fmla="*/ 5 w 5"/>
                <a:gd name="T3" fmla="*/ 3 h 6"/>
                <a:gd name="T4" fmla="*/ 4 w 5"/>
                <a:gd name="T5" fmla="*/ 1 h 6"/>
                <a:gd name="T6" fmla="*/ 0 w 5"/>
                <a:gd name="T7" fmla="*/ 1 h 6"/>
                <a:gd name="T8" fmla="*/ 1 w 5"/>
                <a:gd name="T9" fmla="*/ 5 h 6"/>
                <a:gd name="T10" fmla="*/ 2 w 5"/>
                <a:gd name="T11" fmla="*/ 6 h 6"/>
              </a:gdLst>
              <a:ahLst/>
              <a:cxnLst>
                <a:cxn ang="0">
                  <a:pos x="T0" y="T1"/>
                </a:cxn>
                <a:cxn ang="0">
                  <a:pos x="T2" y="T3"/>
                </a:cxn>
                <a:cxn ang="0">
                  <a:pos x="T4" y="T5"/>
                </a:cxn>
                <a:cxn ang="0">
                  <a:pos x="T6" y="T7"/>
                </a:cxn>
                <a:cxn ang="0">
                  <a:pos x="T8" y="T9"/>
                </a:cxn>
                <a:cxn ang="0">
                  <a:pos x="T10" y="T11"/>
                </a:cxn>
              </a:cxnLst>
              <a:rect l="0" t="0" r="r" b="b"/>
              <a:pathLst>
                <a:path w="5" h="6">
                  <a:moveTo>
                    <a:pt x="2" y="6"/>
                  </a:moveTo>
                  <a:cubicBezTo>
                    <a:pt x="2" y="6"/>
                    <a:pt x="5" y="3"/>
                    <a:pt x="5" y="3"/>
                  </a:cubicBezTo>
                  <a:cubicBezTo>
                    <a:pt x="4" y="2"/>
                    <a:pt x="4" y="1"/>
                    <a:pt x="4" y="1"/>
                  </a:cubicBezTo>
                  <a:cubicBezTo>
                    <a:pt x="4" y="0"/>
                    <a:pt x="0" y="1"/>
                    <a:pt x="0" y="1"/>
                  </a:cubicBezTo>
                  <a:cubicBezTo>
                    <a:pt x="1" y="5"/>
                    <a:pt x="1" y="5"/>
                    <a:pt x="1" y="5"/>
                  </a:cubicBezTo>
                  <a:cubicBezTo>
                    <a:pt x="1" y="5"/>
                    <a:pt x="2" y="6"/>
                    <a:pt x="2" y="6"/>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 name="Freeform 161"/>
            <p:cNvSpPr>
              <a:spLocks/>
            </p:cNvSpPr>
            <p:nvPr/>
          </p:nvSpPr>
          <p:spPr bwMode="auto">
            <a:xfrm>
              <a:off x="6957099" y="5575604"/>
              <a:ext cx="11553" cy="8170"/>
            </a:xfrm>
            <a:custGeom>
              <a:avLst/>
              <a:gdLst>
                <a:gd name="T0" fmla="*/ 0 w 4"/>
                <a:gd name="T1" fmla="*/ 2 h 3"/>
                <a:gd name="T2" fmla="*/ 0 w 4"/>
                <a:gd name="T3" fmla="*/ 3 h 3"/>
                <a:gd name="T4" fmla="*/ 0 w 4"/>
                <a:gd name="T5" fmla="*/ 3 h 3"/>
                <a:gd name="T6" fmla="*/ 3 w 4"/>
                <a:gd name="T7" fmla="*/ 2 h 3"/>
                <a:gd name="T8" fmla="*/ 3 w 4"/>
                <a:gd name="T9" fmla="*/ 0 h 3"/>
                <a:gd name="T10" fmla="*/ 0 w 4"/>
                <a:gd name="T11" fmla="*/ 2 h 3"/>
              </a:gdLst>
              <a:ahLst/>
              <a:cxnLst>
                <a:cxn ang="0">
                  <a:pos x="T0" y="T1"/>
                </a:cxn>
                <a:cxn ang="0">
                  <a:pos x="T2" y="T3"/>
                </a:cxn>
                <a:cxn ang="0">
                  <a:pos x="T4" y="T5"/>
                </a:cxn>
                <a:cxn ang="0">
                  <a:pos x="T6" y="T7"/>
                </a:cxn>
                <a:cxn ang="0">
                  <a:pos x="T8" y="T9"/>
                </a:cxn>
                <a:cxn ang="0">
                  <a:pos x="T10" y="T11"/>
                </a:cxn>
              </a:cxnLst>
              <a:rect l="0" t="0" r="r" b="b"/>
              <a:pathLst>
                <a:path w="4" h="3">
                  <a:moveTo>
                    <a:pt x="0" y="2"/>
                  </a:moveTo>
                  <a:cubicBezTo>
                    <a:pt x="0" y="3"/>
                    <a:pt x="0" y="3"/>
                    <a:pt x="0" y="3"/>
                  </a:cubicBezTo>
                  <a:cubicBezTo>
                    <a:pt x="0" y="3"/>
                    <a:pt x="0" y="3"/>
                    <a:pt x="0" y="3"/>
                  </a:cubicBezTo>
                  <a:cubicBezTo>
                    <a:pt x="0" y="3"/>
                    <a:pt x="3" y="3"/>
                    <a:pt x="3" y="2"/>
                  </a:cubicBezTo>
                  <a:cubicBezTo>
                    <a:pt x="4" y="2"/>
                    <a:pt x="3" y="1"/>
                    <a:pt x="3" y="0"/>
                  </a:cubicBezTo>
                  <a:cubicBezTo>
                    <a:pt x="3" y="0"/>
                    <a:pt x="0" y="2"/>
                    <a:pt x="0" y="2"/>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5" name="Freeform 162"/>
            <p:cNvSpPr>
              <a:spLocks/>
            </p:cNvSpPr>
            <p:nvPr/>
          </p:nvSpPr>
          <p:spPr bwMode="auto">
            <a:xfrm>
              <a:off x="6954211" y="5220227"/>
              <a:ext cx="34660" cy="13616"/>
            </a:xfrm>
            <a:custGeom>
              <a:avLst/>
              <a:gdLst>
                <a:gd name="T0" fmla="*/ 9 w 12"/>
                <a:gd name="T1" fmla="*/ 1 h 5"/>
                <a:gd name="T2" fmla="*/ 5 w 12"/>
                <a:gd name="T3" fmla="*/ 0 h 5"/>
                <a:gd name="T4" fmla="*/ 1 w 12"/>
                <a:gd name="T5" fmla="*/ 2 h 5"/>
                <a:gd name="T6" fmla="*/ 2 w 12"/>
                <a:gd name="T7" fmla="*/ 4 h 5"/>
                <a:gd name="T8" fmla="*/ 5 w 12"/>
                <a:gd name="T9" fmla="*/ 5 h 5"/>
                <a:gd name="T10" fmla="*/ 10 w 12"/>
                <a:gd name="T11" fmla="*/ 3 h 5"/>
                <a:gd name="T12" fmla="*/ 9 w 12"/>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12" h="5">
                  <a:moveTo>
                    <a:pt x="9" y="1"/>
                  </a:moveTo>
                  <a:cubicBezTo>
                    <a:pt x="5" y="0"/>
                    <a:pt x="5" y="0"/>
                    <a:pt x="5" y="0"/>
                  </a:cubicBezTo>
                  <a:cubicBezTo>
                    <a:pt x="5" y="0"/>
                    <a:pt x="1" y="2"/>
                    <a:pt x="1" y="2"/>
                  </a:cubicBezTo>
                  <a:cubicBezTo>
                    <a:pt x="0" y="2"/>
                    <a:pt x="1" y="4"/>
                    <a:pt x="2" y="4"/>
                  </a:cubicBezTo>
                  <a:cubicBezTo>
                    <a:pt x="2" y="5"/>
                    <a:pt x="5" y="5"/>
                    <a:pt x="5" y="5"/>
                  </a:cubicBezTo>
                  <a:cubicBezTo>
                    <a:pt x="6" y="5"/>
                    <a:pt x="8" y="4"/>
                    <a:pt x="10" y="3"/>
                  </a:cubicBezTo>
                  <a:cubicBezTo>
                    <a:pt x="12" y="1"/>
                    <a:pt x="9" y="1"/>
                    <a:pt x="9" y="1"/>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6" name="Freeform 163"/>
            <p:cNvSpPr>
              <a:spLocks/>
            </p:cNvSpPr>
            <p:nvPr/>
          </p:nvSpPr>
          <p:spPr bwMode="auto">
            <a:xfrm>
              <a:off x="6948434" y="5534756"/>
              <a:ext cx="37548" cy="29955"/>
            </a:xfrm>
            <a:custGeom>
              <a:avLst/>
              <a:gdLst>
                <a:gd name="T0" fmla="*/ 12 w 13"/>
                <a:gd name="T1" fmla="*/ 11 h 11"/>
                <a:gd name="T2" fmla="*/ 12 w 13"/>
                <a:gd name="T3" fmla="*/ 10 h 11"/>
                <a:gd name="T4" fmla="*/ 13 w 13"/>
                <a:gd name="T5" fmla="*/ 7 h 11"/>
                <a:gd name="T6" fmla="*/ 12 w 13"/>
                <a:gd name="T7" fmla="*/ 5 h 11"/>
                <a:gd name="T8" fmla="*/ 11 w 13"/>
                <a:gd name="T9" fmla="*/ 3 h 11"/>
                <a:gd name="T10" fmla="*/ 10 w 13"/>
                <a:gd name="T11" fmla="*/ 3 h 11"/>
                <a:gd name="T12" fmla="*/ 7 w 13"/>
                <a:gd name="T13" fmla="*/ 3 h 11"/>
                <a:gd name="T14" fmla="*/ 5 w 13"/>
                <a:gd name="T15" fmla="*/ 1 h 11"/>
                <a:gd name="T16" fmla="*/ 3 w 13"/>
                <a:gd name="T17" fmla="*/ 0 h 11"/>
                <a:gd name="T18" fmla="*/ 0 w 13"/>
                <a:gd name="T19" fmla="*/ 3 h 11"/>
                <a:gd name="T20" fmla="*/ 4 w 13"/>
                <a:gd name="T21" fmla="*/ 6 h 11"/>
                <a:gd name="T22" fmla="*/ 8 w 13"/>
                <a:gd name="T23" fmla="*/ 8 h 11"/>
                <a:gd name="T24" fmla="*/ 12 w 13"/>
                <a:gd name="T25"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11">
                  <a:moveTo>
                    <a:pt x="12" y="11"/>
                  </a:moveTo>
                  <a:cubicBezTo>
                    <a:pt x="12" y="10"/>
                    <a:pt x="12" y="10"/>
                    <a:pt x="12" y="10"/>
                  </a:cubicBezTo>
                  <a:cubicBezTo>
                    <a:pt x="12" y="10"/>
                    <a:pt x="13" y="9"/>
                    <a:pt x="13" y="7"/>
                  </a:cubicBezTo>
                  <a:cubicBezTo>
                    <a:pt x="13" y="4"/>
                    <a:pt x="12" y="6"/>
                    <a:pt x="12" y="5"/>
                  </a:cubicBezTo>
                  <a:cubicBezTo>
                    <a:pt x="12" y="5"/>
                    <a:pt x="12" y="4"/>
                    <a:pt x="11" y="3"/>
                  </a:cubicBezTo>
                  <a:cubicBezTo>
                    <a:pt x="10" y="1"/>
                    <a:pt x="10" y="2"/>
                    <a:pt x="10" y="3"/>
                  </a:cubicBezTo>
                  <a:cubicBezTo>
                    <a:pt x="9" y="3"/>
                    <a:pt x="8" y="3"/>
                    <a:pt x="7" y="3"/>
                  </a:cubicBezTo>
                  <a:cubicBezTo>
                    <a:pt x="6" y="3"/>
                    <a:pt x="6" y="2"/>
                    <a:pt x="5" y="1"/>
                  </a:cubicBezTo>
                  <a:cubicBezTo>
                    <a:pt x="5" y="0"/>
                    <a:pt x="3" y="0"/>
                    <a:pt x="3" y="0"/>
                  </a:cubicBezTo>
                  <a:cubicBezTo>
                    <a:pt x="2" y="0"/>
                    <a:pt x="0" y="2"/>
                    <a:pt x="0" y="3"/>
                  </a:cubicBezTo>
                  <a:cubicBezTo>
                    <a:pt x="1" y="4"/>
                    <a:pt x="1" y="4"/>
                    <a:pt x="4" y="6"/>
                  </a:cubicBezTo>
                  <a:cubicBezTo>
                    <a:pt x="7" y="8"/>
                    <a:pt x="7" y="8"/>
                    <a:pt x="8" y="8"/>
                  </a:cubicBezTo>
                  <a:cubicBezTo>
                    <a:pt x="9" y="9"/>
                    <a:pt x="12" y="10"/>
                    <a:pt x="12" y="11"/>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7" name="Freeform 164"/>
            <p:cNvSpPr>
              <a:spLocks/>
            </p:cNvSpPr>
            <p:nvPr/>
          </p:nvSpPr>
          <p:spPr bwMode="auto">
            <a:xfrm>
              <a:off x="7006200" y="5687255"/>
              <a:ext cx="11553" cy="8170"/>
            </a:xfrm>
            <a:custGeom>
              <a:avLst/>
              <a:gdLst>
                <a:gd name="T0" fmla="*/ 1 w 4"/>
                <a:gd name="T1" fmla="*/ 2 h 3"/>
                <a:gd name="T2" fmla="*/ 3 w 4"/>
                <a:gd name="T3" fmla="*/ 3 h 3"/>
                <a:gd name="T4" fmla="*/ 4 w 4"/>
                <a:gd name="T5" fmla="*/ 2 h 3"/>
                <a:gd name="T6" fmla="*/ 2 w 4"/>
                <a:gd name="T7" fmla="*/ 1 h 3"/>
                <a:gd name="T8" fmla="*/ 0 w 4"/>
                <a:gd name="T9" fmla="*/ 0 h 3"/>
                <a:gd name="T10" fmla="*/ 0 w 4"/>
                <a:gd name="T11" fmla="*/ 2 h 3"/>
                <a:gd name="T12" fmla="*/ 1 w 4"/>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1" y="2"/>
                  </a:moveTo>
                  <a:cubicBezTo>
                    <a:pt x="1" y="2"/>
                    <a:pt x="3" y="3"/>
                    <a:pt x="3" y="3"/>
                  </a:cubicBezTo>
                  <a:cubicBezTo>
                    <a:pt x="4" y="3"/>
                    <a:pt x="4" y="2"/>
                    <a:pt x="4" y="2"/>
                  </a:cubicBezTo>
                  <a:cubicBezTo>
                    <a:pt x="3" y="1"/>
                    <a:pt x="2" y="1"/>
                    <a:pt x="2" y="1"/>
                  </a:cubicBezTo>
                  <a:cubicBezTo>
                    <a:pt x="0" y="0"/>
                    <a:pt x="0" y="0"/>
                    <a:pt x="0" y="0"/>
                  </a:cubicBezTo>
                  <a:cubicBezTo>
                    <a:pt x="0" y="0"/>
                    <a:pt x="0" y="1"/>
                    <a:pt x="0" y="2"/>
                  </a:cubicBezTo>
                  <a:cubicBezTo>
                    <a:pt x="0" y="3"/>
                    <a:pt x="1" y="2"/>
                    <a:pt x="1" y="2"/>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8" name="Freeform 165"/>
            <p:cNvSpPr>
              <a:spLocks/>
            </p:cNvSpPr>
            <p:nvPr/>
          </p:nvSpPr>
          <p:spPr bwMode="auto">
            <a:xfrm>
              <a:off x="6983094" y="5589220"/>
              <a:ext cx="11553" cy="21786"/>
            </a:xfrm>
            <a:custGeom>
              <a:avLst/>
              <a:gdLst>
                <a:gd name="T0" fmla="*/ 3 w 4"/>
                <a:gd name="T1" fmla="*/ 2 h 8"/>
                <a:gd name="T2" fmla="*/ 1 w 4"/>
                <a:gd name="T3" fmla="*/ 1 h 8"/>
                <a:gd name="T4" fmla="*/ 0 w 4"/>
                <a:gd name="T5" fmla="*/ 0 h 8"/>
                <a:gd name="T6" fmla="*/ 0 w 4"/>
                <a:gd name="T7" fmla="*/ 2 h 8"/>
                <a:gd name="T8" fmla="*/ 1 w 4"/>
                <a:gd name="T9" fmla="*/ 4 h 8"/>
                <a:gd name="T10" fmla="*/ 0 w 4"/>
                <a:gd name="T11" fmla="*/ 5 h 8"/>
                <a:gd name="T12" fmla="*/ 1 w 4"/>
                <a:gd name="T13" fmla="*/ 8 h 8"/>
                <a:gd name="T14" fmla="*/ 4 w 4"/>
                <a:gd name="T15" fmla="*/ 4 h 8"/>
                <a:gd name="T16" fmla="*/ 3 w 4"/>
                <a:gd name="T1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3" y="2"/>
                  </a:moveTo>
                  <a:cubicBezTo>
                    <a:pt x="3" y="1"/>
                    <a:pt x="1" y="1"/>
                    <a:pt x="1" y="1"/>
                  </a:cubicBezTo>
                  <a:cubicBezTo>
                    <a:pt x="0" y="0"/>
                    <a:pt x="0" y="0"/>
                    <a:pt x="0" y="0"/>
                  </a:cubicBezTo>
                  <a:cubicBezTo>
                    <a:pt x="0" y="2"/>
                    <a:pt x="0" y="2"/>
                    <a:pt x="0" y="2"/>
                  </a:cubicBezTo>
                  <a:cubicBezTo>
                    <a:pt x="0" y="2"/>
                    <a:pt x="1" y="3"/>
                    <a:pt x="1" y="4"/>
                  </a:cubicBezTo>
                  <a:cubicBezTo>
                    <a:pt x="1" y="4"/>
                    <a:pt x="0" y="5"/>
                    <a:pt x="0" y="5"/>
                  </a:cubicBezTo>
                  <a:cubicBezTo>
                    <a:pt x="1" y="8"/>
                    <a:pt x="1" y="8"/>
                    <a:pt x="1" y="8"/>
                  </a:cubicBezTo>
                  <a:cubicBezTo>
                    <a:pt x="4" y="4"/>
                    <a:pt x="4" y="4"/>
                    <a:pt x="4" y="4"/>
                  </a:cubicBezTo>
                  <a:cubicBezTo>
                    <a:pt x="4" y="4"/>
                    <a:pt x="3" y="3"/>
                    <a:pt x="3" y="2"/>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9" name="Freeform 166"/>
            <p:cNvSpPr>
              <a:spLocks/>
            </p:cNvSpPr>
            <p:nvPr/>
          </p:nvSpPr>
          <p:spPr bwMode="auto">
            <a:xfrm>
              <a:off x="7014865" y="5591943"/>
              <a:ext cx="8665" cy="8170"/>
            </a:xfrm>
            <a:custGeom>
              <a:avLst/>
              <a:gdLst>
                <a:gd name="T0" fmla="*/ 1 w 3"/>
                <a:gd name="T1" fmla="*/ 3 h 3"/>
                <a:gd name="T2" fmla="*/ 3 w 3"/>
                <a:gd name="T3" fmla="*/ 1 h 3"/>
                <a:gd name="T4" fmla="*/ 1 w 3"/>
                <a:gd name="T5" fmla="*/ 0 h 3"/>
                <a:gd name="T6" fmla="*/ 0 w 3"/>
                <a:gd name="T7" fmla="*/ 2 h 3"/>
                <a:gd name="T8" fmla="*/ 1 w 3"/>
                <a:gd name="T9" fmla="*/ 3 h 3"/>
              </a:gdLst>
              <a:ahLst/>
              <a:cxnLst>
                <a:cxn ang="0">
                  <a:pos x="T0" y="T1"/>
                </a:cxn>
                <a:cxn ang="0">
                  <a:pos x="T2" y="T3"/>
                </a:cxn>
                <a:cxn ang="0">
                  <a:pos x="T4" y="T5"/>
                </a:cxn>
                <a:cxn ang="0">
                  <a:pos x="T6" y="T7"/>
                </a:cxn>
                <a:cxn ang="0">
                  <a:pos x="T8" y="T9"/>
                </a:cxn>
              </a:cxnLst>
              <a:rect l="0" t="0" r="r" b="b"/>
              <a:pathLst>
                <a:path w="3" h="3">
                  <a:moveTo>
                    <a:pt x="1" y="3"/>
                  </a:moveTo>
                  <a:cubicBezTo>
                    <a:pt x="2" y="3"/>
                    <a:pt x="3" y="1"/>
                    <a:pt x="3" y="1"/>
                  </a:cubicBezTo>
                  <a:cubicBezTo>
                    <a:pt x="1" y="0"/>
                    <a:pt x="1" y="0"/>
                    <a:pt x="1" y="0"/>
                  </a:cubicBezTo>
                  <a:cubicBezTo>
                    <a:pt x="0" y="2"/>
                    <a:pt x="0" y="2"/>
                    <a:pt x="0" y="2"/>
                  </a:cubicBezTo>
                  <a:cubicBezTo>
                    <a:pt x="0" y="2"/>
                    <a:pt x="1" y="3"/>
                    <a:pt x="1" y="3"/>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0" name="Freeform 167"/>
            <p:cNvSpPr>
              <a:spLocks/>
            </p:cNvSpPr>
            <p:nvPr/>
          </p:nvSpPr>
          <p:spPr bwMode="auto">
            <a:xfrm>
              <a:off x="7014865" y="5447614"/>
              <a:ext cx="20218" cy="10893"/>
            </a:xfrm>
            <a:custGeom>
              <a:avLst/>
              <a:gdLst>
                <a:gd name="T0" fmla="*/ 5 w 7"/>
                <a:gd name="T1" fmla="*/ 0 h 4"/>
                <a:gd name="T2" fmla="*/ 2 w 7"/>
                <a:gd name="T3" fmla="*/ 0 h 4"/>
                <a:gd name="T4" fmla="*/ 0 w 7"/>
                <a:gd name="T5" fmla="*/ 2 h 4"/>
                <a:gd name="T6" fmla="*/ 1 w 7"/>
                <a:gd name="T7" fmla="*/ 4 h 4"/>
                <a:gd name="T8" fmla="*/ 5 w 7"/>
                <a:gd name="T9" fmla="*/ 2 h 4"/>
                <a:gd name="T10" fmla="*/ 5 w 7"/>
                <a:gd name="T11" fmla="*/ 0 h 4"/>
              </a:gdLst>
              <a:ahLst/>
              <a:cxnLst>
                <a:cxn ang="0">
                  <a:pos x="T0" y="T1"/>
                </a:cxn>
                <a:cxn ang="0">
                  <a:pos x="T2" y="T3"/>
                </a:cxn>
                <a:cxn ang="0">
                  <a:pos x="T4" y="T5"/>
                </a:cxn>
                <a:cxn ang="0">
                  <a:pos x="T6" y="T7"/>
                </a:cxn>
                <a:cxn ang="0">
                  <a:pos x="T8" y="T9"/>
                </a:cxn>
                <a:cxn ang="0">
                  <a:pos x="T10" y="T11"/>
                </a:cxn>
              </a:cxnLst>
              <a:rect l="0" t="0" r="r" b="b"/>
              <a:pathLst>
                <a:path w="7" h="4">
                  <a:moveTo>
                    <a:pt x="5" y="0"/>
                  </a:moveTo>
                  <a:cubicBezTo>
                    <a:pt x="2" y="0"/>
                    <a:pt x="2" y="0"/>
                    <a:pt x="2" y="0"/>
                  </a:cubicBezTo>
                  <a:cubicBezTo>
                    <a:pt x="2" y="0"/>
                    <a:pt x="0" y="2"/>
                    <a:pt x="0" y="2"/>
                  </a:cubicBezTo>
                  <a:cubicBezTo>
                    <a:pt x="1" y="4"/>
                    <a:pt x="1" y="4"/>
                    <a:pt x="1" y="4"/>
                  </a:cubicBezTo>
                  <a:cubicBezTo>
                    <a:pt x="1" y="4"/>
                    <a:pt x="3" y="3"/>
                    <a:pt x="5" y="2"/>
                  </a:cubicBezTo>
                  <a:cubicBezTo>
                    <a:pt x="7" y="2"/>
                    <a:pt x="5" y="0"/>
                    <a:pt x="5" y="0"/>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1" name="Freeform 168"/>
            <p:cNvSpPr>
              <a:spLocks/>
            </p:cNvSpPr>
            <p:nvPr/>
          </p:nvSpPr>
          <p:spPr bwMode="auto">
            <a:xfrm>
              <a:off x="6985982" y="5564711"/>
              <a:ext cx="31771" cy="16339"/>
            </a:xfrm>
            <a:custGeom>
              <a:avLst/>
              <a:gdLst>
                <a:gd name="T0" fmla="*/ 7 w 11"/>
                <a:gd name="T1" fmla="*/ 5 h 6"/>
                <a:gd name="T2" fmla="*/ 10 w 11"/>
                <a:gd name="T3" fmla="*/ 5 h 6"/>
                <a:gd name="T4" fmla="*/ 11 w 11"/>
                <a:gd name="T5" fmla="*/ 4 h 6"/>
                <a:gd name="T6" fmla="*/ 10 w 11"/>
                <a:gd name="T7" fmla="*/ 2 h 6"/>
                <a:gd name="T8" fmla="*/ 7 w 11"/>
                <a:gd name="T9" fmla="*/ 1 h 6"/>
                <a:gd name="T10" fmla="*/ 5 w 11"/>
                <a:gd name="T11" fmla="*/ 1 h 6"/>
                <a:gd name="T12" fmla="*/ 2 w 11"/>
                <a:gd name="T13" fmla="*/ 0 h 6"/>
                <a:gd name="T14" fmla="*/ 1 w 11"/>
                <a:gd name="T15" fmla="*/ 1 h 6"/>
                <a:gd name="T16" fmla="*/ 3 w 11"/>
                <a:gd name="T17" fmla="*/ 3 h 6"/>
                <a:gd name="T18" fmla="*/ 7 w 11"/>
                <a:gd name="T1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6">
                  <a:moveTo>
                    <a:pt x="7" y="5"/>
                  </a:moveTo>
                  <a:cubicBezTo>
                    <a:pt x="7" y="6"/>
                    <a:pt x="9" y="5"/>
                    <a:pt x="10" y="5"/>
                  </a:cubicBezTo>
                  <a:cubicBezTo>
                    <a:pt x="11" y="4"/>
                    <a:pt x="11" y="4"/>
                    <a:pt x="11" y="4"/>
                  </a:cubicBezTo>
                  <a:cubicBezTo>
                    <a:pt x="11" y="3"/>
                    <a:pt x="10" y="2"/>
                    <a:pt x="10" y="2"/>
                  </a:cubicBezTo>
                  <a:cubicBezTo>
                    <a:pt x="10" y="2"/>
                    <a:pt x="9" y="1"/>
                    <a:pt x="7" y="1"/>
                  </a:cubicBezTo>
                  <a:cubicBezTo>
                    <a:pt x="5" y="1"/>
                    <a:pt x="5" y="1"/>
                    <a:pt x="5" y="1"/>
                  </a:cubicBezTo>
                  <a:cubicBezTo>
                    <a:pt x="5" y="1"/>
                    <a:pt x="5" y="1"/>
                    <a:pt x="2" y="0"/>
                  </a:cubicBezTo>
                  <a:cubicBezTo>
                    <a:pt x="0" y="0"/>
                    <a:pt x="1" y="1"/>
                    <a:pt x="1" y="1"/>
                  </a:cubicBezTo>
                  <a:cubicBezTo>
                    <a:pt x="3" y="3"/>
                    <a:pt x="3" y="3"/>
                    <a:pt x="3" y="3"/>
                  </a:cubicBezTo>
                  <a:cubicBezTo>
                    <a:pt x="3" y="3"/>
                    <a:pt x="7" y="5"/>
                    <a:pt x="7" y="5"/>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2" name="Freeform 169"/>
            <p:cNvSpPr>
              <a:spLocks/>
            </p:cNvSpPr>
            <p:nvPr/>
          </p:nvSpPr>
          <p:spPr bwMode="auto">
            <a:xfrm>
              <a:off x="6899333" y="5420382"/>
              <a:ext cx="43324" cy="29955"/>
            </a:xfrm>
            <a:custGeom>
              <a:avLst/>
              <a:gdLst>
                <a:gd name="T0" fmla="*/ 4 w 15"/>
                <a:gd name="T1" fmla="*/ 2 h 11"/>
                <a:gd name="T2" fmla="*/ 2 w 15"/>
                <a:gd name="T3" fmla="*/ 1 h 11"/>
                <a:gd name="T4" fmla="*/ 0 w 15"/>
                <a:gd name="T5" fmla="*/ 2 h 11"/>
                <a:gd name="T6" fmla="*/ 3 w 15"/>
                <a:gd name="T7" fmla="*/ 5 h 11"/>
                <a:gd name="T8" fmla="*/ 9 w 15"/>
                <a:gd name="T9" fmla="*/ 9 h 11"/>
                <a:gd name="T10" fmla="*/ 4 w 15"/>
                <a:gd name="T11" fmla="*/ 2 h 11"/>
              </a:gdLst>
              <a:ahLst/>
              <a:cxnLst>
                <a:cxn ang="0">
                  <a:pos x="T0" y="T1"/>
                </a:cxn>
                <a:cxn ang="0">
                  <a:pos x="T2" y="T3"/>
                </a:cxn>
                <a:cxn ang="0">
                  <a:pos x="T4" y="T5"/>
                </a:cxn>
                <a:cxn ang="0">
                  <a:pos x="T6" y="T7"/>
                </a:cxn>
                <a:cxn ang="0">
                  <a:pos x="T8" y="T9"/>
                </a:cxn>
                <a:cxn ang="0">
                  <a:pos x="T10" y="T11"/>
                </a:cxn>
              </a:cxnLst>
              <a:rect l="0" t="0" r="r" b="b"/>
              <a:pathLst>
                <a:path w="15" h="11">
                  <a:moveTo>
                    <a:pt x="4" y="2"/>
                  </a:moveTo>
                  <a:cubicBezTo>
                    <a:pt x="4" y="2"/>
                    <a:pt x="2" y="0"/>
                    <a:pt x="2" y="1"/>
                  </a:cubicBezTo>
                  <a:cubicBezTo>
                    <a:pt x="0" y="2"/>
                    <a:pt x="0" y="2"/>
                    <a:pt x="0" y="2"/>
                  </a:cubicBezTo>
                  <a:cubicBezTo>
                    <a:pt x="0" y="2"/>
                    <a:pt x="2" y="4"/>
                    <a:pt x="3" y="5"/>
                  </a:cubicBezTo>
                  <a:cubicBezTo>
                    <a:pt x="4" y="6"/>
                    <a:pt x="7" y="9"/>
                    <a:pt x="9" y="9"/>
                  </a:cubicBezTo>
                  <a:cubicBezTo>
                    <a:pt x="15" y="11"/>
                    <a:pt x="5" y="3"/>
                    <a:pt x="4" y="2"/>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3" name="Freeform 170"/>
            <p:cNvSpPr>
              <a:spLocks/>
            </p:cNvSpPr>
            <p:nvPr/>
          </p:nvSpPr>
          <p:spPr bwMode="auto">
            <a:xfrm>
              <a:off x="7058189" y="5649131"/>
              <a:ext cx="11553" cy="10893"/>
            </a:xfrm>
            <a:custGeom>
              <a:avLst/>
              <a:gdLst>
                <a:gd name="T0" fmla="*/ 4 w 4"/>
                <a:gd name="T1" fmla="*/ 1 h 4"/>
                <a:gd name="T2" fmla="*/ 1 w 4"/>
                <a:gd name="T3" fmla="*/ 1 h 4"/>
                <a:gd name="T4" fmla="*/ 1 w 4"/>
                <a:gd name="T5" fmla="*/ 2 h 4"/>
                <a:gd name="T6" fmla="*/ 4 w 4"/>
                <a:gd name="T7" fmla="*/ 1 h 4"/>
              </a:gdLst>
              <a:ahLst/>
              <a:cxnLst>
                <a:cxn ang="0">
                  <a:pos x="T0" y="T1"/>
                </a:cxn>
                <a:cxn ang="0">
                  <a:pos x="T2" y="T3"/>
                </a:cxn>
                <a:cxn ang="0">
                  <a:pos x="T4" y="T5"/>
                </a:cxn>
                <a:cxn ang="0">
                  <a:pos x="T6" y="T7"/>
                </a:cxn>
              </a:cxnLst>
              <a:rect l="0" t="0" r="r" b="b"/>
              <a:pathLst>
                <a:path w="4" h="4">
                  <a:moveTo>
                    <a:pt x="4" y="1"/>
                  </a:moveTo>
                  <a:cubicBezTo>
                    <a:pt x="4" y="1"/>
                    <a:pt x="2" y="0"/>
                    <a:pt x="1" y="1"/>
                  </a:cubicBezTo>
                  <a:cubicBezTo>
                    <a:pt x="0" y="1"/>
                    <a:pt x="1" y="2"/>
                    <a:pt x="1" y="2"/>
                  </a:cubicBezTo>
                  <a:cubicBezTo>
                    <a:pt x="3" y="4"/>
                    <a:pt x="4" y="1"/>
                    <a:pt x="4" y="1"/>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 name="Freeform 171"/>
            <p:cNvSpPr>
              <a:spLocks/>
            </p:cNvSpPr>
            <p:nvPr/>
          </p:nvSpPr>
          <p:spPr bwMode="auto">
            <a:xfrm>
              <a:off x="7046636" y="5660023"/>
              <a:ext cx="14441" cy="21786"/>
            </a:xfrm>
            <a:custGeom>
              <a:avLst/>
              <a:gdLst>
                <a:gd name="T0" fmla="*/ 0 w 5"/>
                <a:gd name="T1" fmla="*/ 6 h 8"/>
                <a:gd name="T2" fmla="*/ 1 w 5"/>
                <a:gd name="T3" fmla="*/ 7 h 8"/>
                <a:gd name="T4" fmla="*/ 4 w 5"/>
                <a:gd name="T5" fmla="*/ 7 h 8"/>
                <a:gd name="T6" fmla="*/ 5 w 5"/>
                <a:gd name="T7" fmla="*/ 5 h 8"/>
                <a:gd name="T8" fmla="*/ 4 w 5"/>
                <a:gd name="T9" fmla="*/ 2 h 8"/>
                <a:gd name="T10" fmla="*/ 1 w 5"/>
                <a:gd name="T11" fmla="*/ 2 h 8"/>
                <a:gd name="T12" fmla="*/ 0 w 5"/>
                <a:gd name="T13" fmla="*/ 6 h 8"/>
              </a:gdLst>
              <a:ahLst/>
              <a:cxnLst>
                <a:cxn ang="0">
                  <a:pos x="T0" y="T1"/>
                </a:cxn>
                <a:cxn ang="0">
                  <a:pos x="T2" y="T3"/>
                </a:cxn>
                <a:cxn ang="0">
                  <a:pos x="T4" y="T5"/>
                </a:cxn>
                <a:cxn ang="0">
                  <a:pos x="T6" y="T7"/>
                </a:cxn>
                <a:cxn ang="0">
                  <a:pos x="T8" y="T9"/>
                </a:cxn>
                <a:cxn ang="0">
                  <a:pos x="T10" y="T11"/>
                </a:cxn>
                <a:cxn ang="0">
                  <a:pos x="T12" y="T13"/>
                </a:cxn>
              </a:cxnLst>
              <a:rect l="0" t="0" r="r" b="b"/>
              <a:pathLst>
                <a:path w="5" h="8">
                  <a:moveTo>
                    <a:pt x="0" y="6"/>
                  </a:moveTo>
                  <a:cubicBezTo>
                    <a:pt x="0" y="7"/>
                    <a:pt x="1" y="6"/>
                    <a:pt x="1" y="7"/>
                  </a:cubicBezTo>
                  <a:cubicBezTo>
                    <a:pt x="2" y="8"/>
                    <a:pt x="3" y="7"/>
                    <a:pt x="4" y="7"/>
                  </a:cubicBezTo>
                  <a:cubicBezTo>
                    <a:pt x="5" y="7"/>
                    <a:pt x="5" y="5"/>
                    <a:pt x="5" y="5"/>
                  </a:cubicBezTo>
                  <a:cubicBezTo>
                    <a:pt x="5" y="5"/>
                    <a:pt x="4" y="4"/>
                    <a:pt x="4" y="2"/>
                  </a:cubicBezTo>
                  <a:cubicBezTo>
                    <a:pt x="3" y="0"/>
                    <a:pt x="1" y="2"/>
                    <a:pt x="1" y="2"/>
                  </a:cubicBezTo>
                  <a:cubicBezTo>
                    <a:pt x="1" y="2"/>
                    <a:pt x="0" y="5"/>
                    <a:pt x="0" y="6"/>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5" name="Freeform 172"/>
            <p:cNvSpPr>
              <a:spLocks/>
            </p:cNvSpPr>
            <p:nvPr/>
          </p:nvSpPr>
          <p:spPr bwMode="auto">
            <a:xfrm>
              <a:off x="7049524" y="5611006"/>
              <a:ext cx="20218" cy="38125"/>
            </a:xfrm>
            <a:custGeom>
              <a:avLst/>
              <a:gdLst>
                <a:gd name="T0" fmla="*/ 0 w 7"/>
                <a:gd name="T1" fmla="*/ 11 h 14"/>
                <a:gd name="T2" fmla="*/ 3 w 7"/>
                <a:gd name="T3" fmla="*/ 13 h 14"/>
                <a:gd name="T4" fmla="*/ 5 w 7"/>
                <a:gd name="T5" fmla="*/ 12 h 14"/>
                <a:gd name="T6" fmla="*/ 6 w 7"/>
                <a:gd name="T7" fmla="*/ 10 h 14"/>
                <a:gd name="T8" fmla="*/ 7 w 7"/>
                <a:gd name="T9" fmla="*/ 7 h 14"/>
                <a:gd name="T10" fmla="*/ 6 w 7"/>
                <a:gd name="T11" fmla="*/ 5 h 14"/>
                <a:gd name="T12" fmla="*/ 7 w 7"/>
                <a:gd name="T13" fmla="*/ 2 h 14"/>
                <a:gd name="T14" fmla="*/ 5 w 7"/>
                <a:gd name="T15" fmla="*/ 0 h 14"/>
                <a:gd name="T16" fmla="*/ 3 w 7"/>
                <a:gd name="T17" fmla="*/ 1 h 14"/>
                <a:gd name="T18" fmla="*/ 1 w 7"/>
                <a:gd name="T19" fmla="*/ 3 h 14"/>
                <a:gd name="T20" fmla="*/ 0 w 7"/>
                <a:gd name="T21" fmla="*/ 7 h 14"/>
                <a:gd name="T22" fmla="*/ 0 w 7"/>
                <a:gd name="T23" fmla="*/ 9 h 14"/>
                <a:gd name="T24" fmla="*/ 0 w 7"/>
                <a:gd name="T25"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4">
                  <a:moveTo>
                    <a:pt x="0" y="11"/>
                  </a:moveTo>
                  <a:cubicBezTo>
                    <a:pt x="0" y="11"/>
                    <a:pt x="2" y="12"/>
                    <a:pt x="3" y="13"/>
                  </a:cubicBezTo>
                  <a:cubicBezTo>
                    <a:pt x="5" y="14"/>
                    <a:pt x="4" y="13"/>
                    <a:pt x="5" y="12"/>
                  </a:cubicBezTo>
                  <a:cubicBezTo>
                    <a:pt x="6" y="12"/>
                    <a:pt x="6" y="11"/>
                    <a:pt x="6" y="10"/>
                  </a:cubicBezTo>
                  <a:cubicBezTo>
                    <a:pt x="7" y="9"/>
                    <a:pt x="7" y="8"/>
                    <a:pt x="7" y="7"/>
                  </a:cubicBezTo>
                  <a:cubicBezTo>
                    <a:pt x="7" y="6"/>
                    <a:pt x="6" y="5"/>
                    <a:pt x="6" y="5"/>
                  </a:cubicBezTo>
                  <a:cubicBezTo>
                    <a:pt x="6" y="4"/>
                    <a:pt x="7" y="2"/>
                    <a:pt x="7" y="2"/>
                  </a:cubicBezTo>
                  <a:cubicBezTo>
                    <a:pt x="5" y="0"/>
                    <a:pt x="5" y="0"/>
                    <a:pt x="5" y="0"/>
                  </a:cubicBezTo>
                  <a:cubicBezTo>
                    <a:pt x="5" y="0"/>
                    <a:pt x="3" y="0"/>
                    <a:pt x="3" y="1"/>
                  </a:cubicBezTo>
                  <a:cubicBezTo>
                    <a:pt x="2" y="2"/>
                    <a:pt x="2" y="3"/>
                    <a:pt x="1" y="3"/>
                  </a:cubicBezTo>
                  <a:cubicBezTo>
                    <a:pt x="0" y="4"/>
                    <a:pt x="0" y="7"/>
                    <a:pt x="0" y="7"/>
                  </a:cubicBezTo>
                  <a:cubicBezTo>
                    <a:pt x="0" y="9"/>
                    <a:pt x="0" y="9"/>
                    <a:pt x="0" y="9"/>
                  </a:cubicBezTo>
                  <a:cubicBezTo>
                    <a:pt x="0" y="9"/>
                    <a:pt x="0" y="10"/>
                    <a:pt x="0" y="11"/>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6" name="Freeform 173"/>
            <p:cNvSpPr>
              <a:spLocks/>
            </p:cNvSpPr>
            <p:nvPr/>
          </p:nvSpPr>
          <p:spPr bwMode="auto">
            <a:xfrm>
              <a:off x="7040860" y="5436721"/>
              <a:ext cx="54878" cy="54464"/>
            </a:xfrm>
            <a:custGeom>
              <a:avLst/>
              <a:gdLst>
                <a:gd name="T0" fmla="*/ 17 w 19"/>
                <a:gd name="T1" fmla="*/ 2 h 20"/>
                <a:gd name="T2" fmla="*/ 15 w 19"/>
                <a:gd name="T3" fmla="*/ 1 h 20"/>
                <a:gd name="T4" fmla="*/ 12 w 19"/>
                <a:gd name="T5" fmla="*/ 2 h 20"/>
                <a:gd name="T6" fmla="*/ 9 w 19"/>
                <a:gd name="T7" fmla="*/ 1 h 20"/>
                <a:gd name="T8" fmla="*/ 5 w 19"/>
                <a:gd name="T9" fmla="*/ 0 h 20"/>
                <a:gd name="T10" fmla="*/ 3 w 19"/>
                <a:gd name="T11" fmla="*/ 3 h 20"/>
                <a:gd name="T12" fmla="*/ 1 w 19"/>
                <a:gd name="T13" fmla="*/ 5 h 20"/>
                <a:gd name="T14" fmla="*/ 4 w 19"/>
                <a:gd name="T15" fmla="*/ 7 h 20"/>
                <a:gd name="T16" fmla="*/ 7 w 19"/>
                <a:gd name="T17" fmla="*/ 8 h 20"/>
                <a:gd name="T18" fmla="*/ 10 w 19"/>
                <a:gd name="T19" fmla="*/ 10 h 20"/>
                <a:gd name="T20" fmla="*/ 9 w 19"/>
                <a:gd name="T21" fmla="*/ 13 h 20"/>
                <a:gd name="T22" fmla="*/ 6 w 19"/>
                <a:gd name="T23" fmla="*/ 16 h 20"/>
                <a:gd name="T24" fmla="*/ 8 w 19"/>
                <a:gd name="T25" fmla="*/ 18 h 20"/>
                <a:gd name="T26" fmla="*/ 11 w 19"/>
                <a:gd name="T27" fmla="*/ 19 h 20"/>
                <a:gd name="T28" fmla="*/ 13 w 19"/>
                <a:gd name="T29" fmla="*/ 18 h 20"/>
                <a:gd name="T30" fmla="*/ 14 w 19"/>
                <a:gd name="T31" fmla="*/ 15 h 20"/>
                <a:gd name="T32" fmla="*/ 15 w 19"/>
                <a:gd name="T33" fmla="*/ 14 h 20"/>
                <a:gd name="T34" fmla="*/ 16 w 19"/>
                <a:gd name="T35" fmla="*/ 12 h 20"/>
                <a:gd name="T36" fmla="*/ 15 w 19"/>
                <a:gd name="T37" fmla="*/ 10 h 20"/>
                <a:gd name="T38" fmla="*/ 14 w 19"/>
                <a:gd name="T39" fmla="*/ 9 h 20"/>
                <a:gd name="T40" fmla="*/ 14 w 19"/>
                <a:gd name="T41" fmla="*/ 7 h 20"/>
                <a:gd name="T42" fmla="*/ 12 w 19"/>
                <a:gd name="T43" fmla="*/ 6 h 20"/>
                <a:gd name="T44" fmla="*/ 17 w 19"/>
                <a:gd name="T45" fmla="*/ 3 h 20"/>
                <a:gd name="T46" fmla="*/ 17 w 19"/>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 h="20">
                  <a:moveTo>
                    <a:pt x="17" y="2"/>
                  </a:moveTo>
                  <a:cubicBezTo>
                    <a:pt x="17" y="1"/>
                    <a:pt x="16" y="1"/>
                    <a:pt x="15" y="1"/>
                  </a:cubicBezTo>
                  <a:cubicBezTo>
                    <a:pt x="14" y="1"/>
                    <a:pt x="13" y="1"/>
                    <a:pt x="12" y="2"/>
                  </a:cubicBezTo>
                  <a:cubicBezTo>
                    <a:pt x="10" y="2"/>
                    <a:pt x="10" y="1"/>
                    <a:pt x="9" y="1"/>
                  </a:cubicBezTo>
                  <a:cubicBezTo>
                    <a:pt x="9" y="1"/>
                    <a:pt x="5" y="0"/>
                    <a:pt x="5" y="0"/>
                  </a:cubicBezTo>
                  <a:cubicBezTo>
                    <a:pt x="5" y="0"/>
                    <a:pt x="4" y="2"/>
                    <a:pt x="3" y="3"/>
                  </a:cubicBezTo>
                  <a:cubicBezTo>
                    <a:pt x="2" y="3"/>
                    <a:pt x="2" y="4"/>
                    <a:pt x="1" y="5"/>
                  </a:cubicBezTo>
                  <a:cubicBezTo>
                    <a:pt x="0" y="5"/>
                    <a:pt x="3" y="7"/>
                    <a:pt x="4" y="7"/>
                  </a:cubicBezTo>
                  <a:cubicBezTo>
                    <a:pt x="4" y="8"/>
                    <a:pt x="6" y="8"/>
                    <a:pt x="7" y="8"/>
                  </a:cubicBezTo>
                  <a:cubicBezTo>
                    <a:pt x="7" y="8"/>
                    <a:pt x="10" y="10"/>
                    <a:pt x="10" y="10"/>
                  </a:cubicBezTo>
                  <a:cubicBezTo>
                    <a:pt x="11" y="11"/>
                    <a:pt x="10" y="12"/>
                    <a:pt x="9" y="13"/>
                  </a:cubicBezTo>
                  <a:cubicBezTo>
                    <a:pt x="8" y="15"/>
                    <a:pt x="7" y="15"/>
                    <a:pt x="6" y="16"/>
                  </a:cubicBezTo>
                  <a:cubicBezTo>
                    <a:pt x="5" y="16"/>
                    <a:pt x="8" y="17"/>
                    <a:pt x="8" y="18"/>
                  </a:cubicBezTo>
                  <a:cubicBezTo>
                    <a:pt x="9" y="19"/>
                    <a:pt x="10" y="20"/>
                    <a:pt x="11" y="19"/>
                  </a:cubicBezTo>
                  <a:cubicBezTo>
                    <a:pt x="11" y="19"/>
                    <a:pt x="13" y="18"/>
                    <a:pt x="13" y="18"/>
                  </a:cubicBezTo>
                  <a:cubicBezTo>
                    <a:pt x="13" y="18"/>
                    <a:pt x="14" y="16"/>
                    <a:pt x="14" y="15"/>
                  </a:cubicBezTo>
                  <a:cubicBezTo>
                    <a:pt x="14" y="15"/>
                    <a:pt x="15" y="14"/>
                    <a:pt x="15" y="14"/>
                  </a:cubicBezTo>
                  <a:cubicBezTo>
                    <a:pt x="16" y="12"/>
                    <a:pt x="16" y="12"/>
                    <a:pt x="16" y="12"/>
                  </a:cubicBezTo>
                  <a:cubicBezTo>
                    <a:pt x="15" y="10"/>
                    <a:pt x="15" y="10"/>
                    <a:pt x="15" y="10"/>
                  </a:cubicBezTo>
                  <a:cubicBezTo>
                    <a:pt x="14" y="9"/>
                    <a:pt x="14" y="9"/>
                    <a:pt x="14" y="9"/>
                  </a:cubicBezTo>
                  <a:cubicBezTo>
                    <a:pt x="14" y="7"/>
                    <a:pt x="14" y="7"/>
                    <a:pt x="14" y="7"/>
                  </a:cubicBezTo>
                  <a:cubicBezTo>
                    <a:pt x="12" y="6"/>
                    <a:pt x="12" y="6"/>
                    <a:pt x="12" y="6"/>
                  </a:cubicBezTo>
                  <a:cubicBezTo>
                    <a:pt x="12" y="6"/>
                    <a:pt x="15" y="4"/>
                    <a:pt x="17" y="3"/>
                  </a:cubicBezTo>
                  <a:cubicBezTo>
                    <a:pt x="19" y="2"/>
                    <a:pt x="17" y="2"/>
                    <a:pt x="17" y="2"/>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7" name="Freeform 174"/>
            <p:cNvSpPr>
              <a:spLocks/>
            </p:cNvSpPr>
            <p:nvPr/>
          </p:nvSpPr>
          <p:spPr bwMode="auto">
            <a:xfrm>
              <a:off x="7089960" y="5537480"/>
              <a:ext cx="37548" cy="27232"/>
            </a:xfrm>
            <a:custGeom>
              <a:avLst/>
              <a:gdLst>
                <a:gd name="T0" fmla="*/ 1 w 13"/>
                <a:gd name="T1" fmla="*/ 8 h 10"/>
                <a:gd name="T2" fmla="*/ 3 w 13"/>
                <a:gd name="T3" fmla="*/ 10 h 10"/>
                <a:gd name="T4" fmla="*/ 6 w 13"/>
                <a:gd name="T5" fmla="*/ 8 h 10"/>
                <a:gd name="T6" fmla="*/ 8 w 13"/>
                <a:gd name="T7" fmla="*/ 6 h 10"/>
                <a:gd name="T8" fmla="*/ 10 w 13"/>
                <a:gd name="T9" fmla="*/ 4 h 10"/>
                <a:gd name="T10" fmla="*/ 13 w 13"/>
                <a:gd name="T11" fmla="*/ 0 h 10"/>
                <a:gd name="T12" fmla="*/ 10 w 13"/>
                <a:gd name="T13" fmla="*/ 0 h 10"/>
                <a:gd name="T14" fmla="*/ 8 w 13"/>
                <a:gd name="T15" fmla="*/ 3 h 10"/>
                <a:gd name="T16" fmla="*/ 5 w 13"/>
                <a:gd name="T17" fmla="*/ 2 h 10"/>
                <a:gd name="T18" fmla="*/ 1 w 13"/>
                <a:gd name="T19"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0">
                  <a:moveTo>
                    <a:pt x="1" y="8"/>
                  </a:moveTo>
                  <a:cubicBezTo>
                    <a:pt x="0" y="9"/>
                    <a:pt x="3" y="10"/>
                    <a:pt x="3" y="10"/>
                  </a:cubicBezTo>
                  <a:cubicBezTo>
                    <a:pt x="3" y="10"/>
                    <a:pt x="6" y="8"/>
                    <a:pt x="6" y="8"/>
                  </a:cubicBezTo>
                  <a:cubicBezTo>
                    <a:pt x="7" y="8"/>
                    <a:pt x="7" y="7"/>
                    <a:pt x="8" y="6"/>
                  </a:cubicBezTo>
                  <a:cubicBezTo>
                    <a:pt x="8" y="5"/>
                    <a:pt x="9" y="5"/>
                    <a:pt x="10" y="4"/>
                  </a:cubicBezTo>
                  <a:cubicBezTo>
                    <a:pt x="12" y="4"/>
                    <a:pt x="13" y="0"/>
                    <a:pt x="13" y="0"/>
                  </a:cubicBezTo>
                  <a:cubicBezTo>
                    <a:pt x="13" y="0"/>
                    <a:pt x="10" y="0"/>
                    <a:pt x="10" y="0"/>
                  </a:cubicBezTo>
                  <a:cubicBezTo>
                    <a:pt x="10" y="1"/>
                    <a:pt x="9" y="3"/>
                    <a:pt x="8" y="3"/>
                  </a:cubicBezTo>
                  <a:cubicBezTo>
                    <a:pt x="8" y="3"/>
                    <a:pt x="6" y="2"/>
                    <a:pt x="5" y="2"/>
                  </a:cubicBezTo>
                  <a:cubicBezTo>
                    <a:pt x="5" y="2"/>
                    <a:pt x="1" y="6"/>
                    <a:pt x="1" y="8"/>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8" name="Freeform 175"/>
            <p:cNvSpPr>
              <a:spLocks/>
            </p:cNvSpPr>
            <p:nvPr/>
          </p:nvSpPr>
          <p:spPr bwMode="auto">
            <a:xfrm>
              <a:off x="6933993" y="5600113"/>
              <a:ext cx="11553" cy="24509"/>
            </a:xfrm>
            <a:custGeom>
              <a:avLst/>
              <a:gdLst>
                <a:gd name="T0" fmla="*/ 1 w 4"/>
                <a:gd name="T1" fmla="*/ 1 h 9"/>
                <a:gd name="T2" fmla="*/ 0 w 4"/>
                <a:gd name="T3" fmla="*/ 4 h 9"/>
                <a:gd name="T4" fmla="*/ 1 w 4"/>
                <a:gd name="T5" fmla="*/ 9 h 9"/>
                <a:gd name="T6" fmla="*/ 3 w 4"/>
                <a:gd name="T7" fmla="*/ 7 h 9"/>
                <a:gd name="T8" fmla="*/ 4 w 4"/>
                <a:gd name="T9" fmla="*/ 4 h 9"/>
                <a:gd name="T10" fmla="*/ 2 w 4"/>
                <a:gd name="T11" fmla="*/ 1 h 9"/>
                <a:gd name="T12" fmla="*/ 1 w 4"/>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4" h="9">
                  <a:moveTo>
                    <a:pt x="1" y="1"/>
                  </a:moveTo>
                  <a:cubicBezTo>
                    <a:pt x="0" y="4"/>
                    <a:pt x="0" y="4"/>
                    <a:pt x="0" y="4"/>
                  </a:cubicBezTo>
                  <a:cubicBezTo>
                    <a:pt x="0" y="4"/>
                    <a:pt x="1" y="8"/>
                    <a:pt x="1" y="9"/>
                  </a:cubicBezTo>
                  <a:cubicBezTo>
                    <a:pt x="1" y="9"/>
                    <a:pt x="3" y="7"/>
                    <a:pt x="3" y="7"/>
                  </a:cubicBezTo>
                  <a:cubicBezTo>
                    <a:pt x="4" y="4"/>
                    <a:pt x="4" y="4"/>
                    <a:pt x="4" y="4"/>
                  </a:cubicBezTo>
                  <a:cubicBezTo>
                    <a:pt x="4" y="4"/>
                    <a:pt x="3" y="2"/>
                    <a:pt x="2" y="1"/>
                  </a:cubicBezTo>
                  <a:cubicBezTo>
                    <a:pt x="2" y="0"/>
                    <a:pt x="1" y="1"/>
                    <a:pt x="1" y="1"/>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9" name="Freeform 176"/>
            <p:cNvSpPr>
              <a:spLocks/>
            </p:cNvSpPr>
            <p:nvPr/>
          </p:nvSpPr>
          <p:spPr bwMode="auto">
            <a:xfrm>
              <a:off x="7061078" y="5698148"/>
              <a:ext cx="20218" cy="17701"/>
            </a:xfrm>
            <a:custGeom>
              <a:avLst/>
              <a:gdLst>
                <a:gd name="T0" fmla="*/ 2 w 7"/>
                <a:gd name="T1" fmla="*/ 4 h 6"/>
                <a:gd name="T2" fmla="*/ 2 w 7"/>
                <a:gd name="T3" fmla="*/ 5 h 6"/>
                <a:gd name="T4" fmla="*/ 4 w 7"/>
                <a:gd name="T5" fmla="*/ 6 h 6"/>
                <a:gd name="T6" fmla="*/ 6 w 7"/>
                <a:gd name="T7" fmla="*/ 5 h 6"/>
                <a:gd name="T8" fmla="*/ 6 w 7"/>
                <a:gd name="T9" fmla="*/ 3 h 6"/>
                <a:gd name="T10" fmla="*/ 4 w 7"/>
                <a:gd name="T11" fmla="*/ 1 h 6"/>
                <a:gd name="T12" fmla="*/ 2 w 7"/>
                <a:gd name="T13" fmla="*/ 0 h 6"/>
                <a:gd name="T14" fmla="*/ 0 w 7"/>
                <a:gd name="T15" fmla="*/ 2 h 6"/>
                <a:gd name="T16" fmla="*/ 0 w 7"/>
                <a:gd name="T17" fmla="*/ 3 h 6"/>
                <a:gd name="T18" fmla="*/ 2 w 7"/>
                <a:gd name="T1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6">
                  <a:moveTo>
                    <a:pt x="2" y="4"/>
                  </a:moveTo>
                  <a:cubicBezTo>
                    <a:pt x="2" y="4"/>
                    <a:pt x="2" y="4"/>
                    <a:pt x="2" y="5"/>
                  </a:cubicBezTo>
                  <a:cubicBezTo>
                    <a:pt x="2" y="6"/>
                    <a:pt x="3" y="6"/>
                    <a:pt x="4" y="6"/>
                  </a:cubicBezTo>
                  <a:cubicBezTo>
                    <a:pt x="4" y="6"/>
                    <a:pt x="5" y="6"/>
                    <a:pt x="6" y="5"/>
                  </a:cubicBezTo>
                  <a:cubicBezTo>
                    <a:pt x="7" y="5"/>
                    <a:pt x="6" y="3"/>
                    <a:pt x="6" y="3"/>
                  </a:cubicBezTo>
                  <a:cubicBezTo>
                    <a:pt x="5" y="2"/>
                    <a:pt x="4" y="1"/>
                    <a:pt x="4" y="1"/>
                  </a:cubicBezTo>
                  <a:cubicBezTo>
                    <a:pt x="4" y="1"/>
                    <a:pt x="2" y="0"/>
                    <a:pt x="2" y="0"/>
                  </a:cubicBezTo>
                  <a:cubicBezTo>
                    <a:pt x="1" y="0"/>
                    <a:pt x="0" y="2"/>
                    <a:pt x="0" y="2"/>
                  </a:cubicBezTo>
                  <a:cubicBezTo>
                    <a:pt x="0" y="3"/>
                    <a:pt x="0" y="3"/>
                    <a:pt x="0" y="3"/>
                  </a:cubicBezTo>
                  <a:cubicBezTo>
                    <a:pt x="0" y="3"/>
                    <a:pt x="2" y="3"/>
                    <a:pt x="2" y="4"/>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0" name="Freeform 177"/>
            <p:cNvSpPr>
              <a:spLocks/>
            </p:cNvSpPr>
            <p:nvPr/>
          </p:nvSpPr>
          <p:spPr bwMode="auto">
            <a:xfrm>
              <a:off x="7014865" y="5621899"/>
              <a:ext cx="23106" cy="32678"/>
            </a:xfrm>
            <a:custGeom>
              <a:avLst/>
              <a:gdLst>
                <a:gd name="T0" fmla="*/ 2 w 8"/>
                <a:gd name="T1" fmla="*/ 12 h 12"/>
                <a:gd name="T2" fmla="*/ 2 w 8"/>
                <a:gd name="T3" fmla="*/ 10 h 12"/>
                <a:gd name="T4" fmla="*/ 4 w 8"/>
                <a:gd name="T5" fmla="*/ 9 h 12"/>
                <a:gd name="T6" fmla="*/ 6 w 8"/>
                <a:gd name="T7" fmla="*/ 7 h 12"/>
                <a:gd name="T8" fmla="*/ 8 w 8"/>
                <a:gd name="T9" fmla="*/ 5 h 12"/>
                <a:gd name="T10" fmla="*/ 8 w 8"/>
                <a:gd name="T11" fmla="*/ 3 h 12"/>
                <a:gd name="T12" fmla="*/ 8 w 8"/>
                <a:gd name="T13" fmla="*/ 2 h 12"/>
                <a:gd name="T14" fmla="*/ 6 w 8"/>
                <a:gd name="T15" fmla="*/ 1 h 12"/>
                <a:gd name="T16" fmla="*/ 5 w 8"/>
                <a:gd name="T17" fmla="*/ 1 h 12"/>
                <a:gd name="T18" fmla="*/ 4 w 8"/>
                <a:gd name="T19" fmla="*/ 3 h 12"/>
                <a:gd name="T20" fmla="*/ 2 w 8"/>
                <a:gd name="T21" fmla="*/ 7 h 12"/>
                <a:gd name="T22" fmla="*/ 2 w 8"/>
                <a:gd name="T23" fmla="*/ 7 h 12"/>
                <a:gd name="T24" fmla="*/ 0 w 8"/>
                <a:gd name="T25" fmla="*/ 9 h 12"/>
                <a:gd name="T26" fmla="*/ 1 w 8"/>
                <a:gd name="T27" fmla="*/ 11 h 12"/>
                <a:gd name="T28" fmla="*/ 2 w 8"/>
                <a:gd name="T2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2" y="12"/>
                  </a:moveTo>
                  <a:cubicBezTo>
                    <a:pt x="2" y="10"/>
                    <a:pt x="2" y="10"/>
                    <a:pt x="2" y="10"/>
                  </a:cubicBezTo>
                  <a:cubicBezTo>
                    <a:pt x="4" y="9"/>
                    <a:pt x="4" y="9"/>
                    <a:pt x="4" y="9"/>
                  </a:cubicBezTo>
                  <a:cubicBezTo>
                    <a:pt x="4" y="9"/>
                    <a:pt x="6" y="8"/>
                    <a:pt x="6" y="7"/>
                  </a:cubicBezTo>
                  <a:cubicBezTo>
                    <a:pt x="7" y="7"/>
                    <a:pt x="8" y="6"/>
                    <a:pt x="8" y="5"/>
                  </a:cubicBezTo>
                  <a:cubicBezTo>
                    <a:pt x="8" y="5"/>
                    <a:pt x="8" y="3"/>
                    <a:pt x="8" y="3"/>
                  </a:cubicBezTo>
                  <a:cubicBezTo>
                    <a:pt x="8" y="3"/>
                    <a:pt x="8" y="2"/>
                    <a:pt x="8" y="2"/>
                  </a:cubicBezTo>
                  <a:cubicBezTo>
                    <a:pt x="8" y="2"/>
                    <a:pt x="7" y="1"/>
                    <a:pt x="6" y="1"/>
                  </a:cubicBezTo>
                  <a:cubicBezTo>
                    <a:pt x="5" y="0"/>
                    <a:pt x="6" y="1"/>
                    <a:pt x="5" y="1"/>
                  </a:cubicBezTo>
                  <a:cubicBezTo>
                    <a:pt x="4" y="1"/>
                    <a:pt x="4" y="3"/>
                    <a:pt x="4" y="3"/>
                  </a:cubicBezTo>
                  <a:cubicBezTo>
                    <a:pt x="4" y="3"/>
                    <a:pt x="3" y="6"/>
                    <a:pt x="2" y="7"/>
                  </a:cubicBezTo>
                  <a:cubicBezTo>
                    <a:pt x="2" y="7"/>
                    <a:pt x="2" y="7"/>
                    <a:pt x="2" y="7"/>
                  </a:cubicBezTo>
                  <a:cubicBezTo>
                    <a:pt x="0" y="9"/>
                    <a:pt x="0" y="9"/>
                    <a:pt x="0" y="9"/>
                  </a:cubicBezTo>
                  <a:cubicBezTo>
                    <a:pt x="1" y="11"/>
                    <a:pt x="1" y="11"/>
                    <a:pt x="1" y="11"/>
                  </a:cubicBezTo>
                  <a:lnTo>
                    <a:pt x="2" y="12"/>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1" name="Freeform 178"/>
            <p:cNvSpPr>
              <a:spLocks/>
            </p:cNvSpPr>
            <p:nvPr/>
          </p:nvSpPr>
          <p:spPr bwMode="auto">
            <a:xfrm>
              <a:off x="6928216" y="5285584"/>
              <a:ext cx="28883" cy="27232"/>
            </a:xfrm>
            <a:custGeom>
              <a:avLst/>
              <a:gdLst>
                <a:gd name="T0" fmla="*/ 6 w 10"/>
                <a:gd name="T1" fmla="*/ 6 h 10"/>
                <a:gd name="T2" fmla="*/ 9 w 10"/>
                <a:gd name="T3" fmla="*/ 4 h 10"/>
                <a:gd name="T4" fmla="*/ 9 w 10"/>
                <a:gd name="T5" fmla="*/ 2 h 10"/>
                <a:gd name="T6" fmla="*/ 9 w 10"/>
                <a:gd name="T7" fmla="*/ 1 h 10"/>
                <a:gd name="T8" fmla="*/ 5 w 10"/>
                <a:gd name="T9" fmla="*/ 0 h 10"/>
                <a:gd name="T10" fmla="*/ 2 w 10"/>
                <a:gd name="T11" fmla="*/ 1 h 10"/>
                <a:gd name="T12" fmla="*/ 0 w 10"/>
                <a:gd name="T13" fmla="*/ 3 h 10"/>
                <a:gd name="T14" fmla="*/ 1 w 10"/>
                <a:gd name="T15" fmla="*/ 5 h 10"/>
                <a:gd name="T16" fmla="*/ 2 w 10"/>
                <a:gd name="T17" fmla="*/ 8 h 10"/>
                <a:gd name="T18" fmla="*/ 3 w 10"/>
                <a:gd name="T19" fmla="*/ 9 h 10"/>
                <a:gd name="T20" fmla="*/ 6 w 10"/>
                <a:gd name="T21" fmla="*/ 8 h 10"/>
                <a:gd name="T22" fmla="*/ 6 w 10"/>
                <a:gd name="T23"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0">
                  <a:moveTo>
                    <a:pt x="6" y="6"/>
                  </a:moveTo>
                  <a:cubicBezTo>
                    <a:pt x="6" y="6"/>
                    <a:pt x="8" y="5"/>
                    <a:pt x="9" y="4"/>
                  </a:cubicBezTo>
                  <a:cubicBezTo>
                    <a:pt x="10" y="3"/>
                    <a:pt x="9" y="2"/>
                    <a:pt x="9" y="2"/>
                  </a:cubicBezTo>
                  <a:cubicBezTo>
                    <a:pt x="9" y="1"/>
                    <a:pt x="9" y="1"/>
                    <a:pt x="9" y="1"/>
                  </a:cubicBezTo>
                  <a:cubicBezTo>
                    <a:pt x="9" y="1"/>
                    <a:pt x="7" y="0"/>
                    <a:pt x="5" y="0"/>
                  </a:cubicBezTo>
                  <a:cubicBezTo>
                    <a:pt x="3" y="0"/>
                    <a:pt x="4" y="0"/>
                    <a:pt x="2" y="1"/>
                  </a:cubicBezTo>
                  <a:cubicBezTo>
                    <a:pt x="1" y="1"/>
                    <a:pt x="1" y="2"/>
                    <a:pt x="0" y="3"/>
                  </a:cubicBezTo>
                  <a:cubicBezTo>
                    <a:pt x="0" y="4"/>
                    <a:pt x="0" y="4"/>
                    <a:pt x="1" y="5"/>
                  </a:cubicBezTo>
                  <a:cubicBezTo>
                    <a:pt x="2" y="6"/>
                    <a:pt x="2" y="6"/>
                    <a:pt x="2" y="8"/>
                  </a:cubicBezTo>
                  <a:cubicBezTo>
                    <a:pt x="2" y="10"/>
                    <a:pt x="3" y="9"/>
                    <a:pt x="3" y="9"/>
                  </a:cubicBezTo>
                  <a:cubicBezTo>
                    <a:pt x="4" y="9"/>
                    <a:pt x="5" y="9"/>
                    <a:pt x="6" y="8"/>
                  </a:cubicBezTo>
                  <a:cubicBezTo>
                    <a:pt x="8" y="7"/>
                    <a:pt x="6" y="6"/>
                    <a:pt x="6" y="6"/>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2" name="Freeform 179"/>
            <p:cNvSpPr>
              <a:spLocks/>
            </p:cNvSpPr>
            <p:nvPr/>
          </p:nvSpPr>
          <p:spPr bwMode="auto">
            <a:xfrm>
              <a:off x="6945546" y="5670916"/>
              <a:ext cx="34660" cy="29955"/>
            </a:xfrm>
            <a:custGeom>
              <a:avLst/>
              <a:gdLst>
                <a:gd name="T0" fmla="*/ 10 w 12"/>
                <a:gd name="T1" fmla="*/ 4 h 11"/>
                <a:gd name="T2" fmla="*/ 11 w 12"/>
                <a:gd name="T3" fmla="*/ 3 h 11"/>
                <a:gd name="T4" fmla="*/ 10 w 12"/>
                <a:gd name="T5" fmla="*/ 1 h 11"/>
                <a:gd name="T6" fmla="*/ 7 w 12"/>
                <a:gd name="T7" fmla="*/ 2 h 11"/>
                <a:gd name="T8" fmla="*/ 8 w 12"/>
                <a:gd name="T9" fmla="*/ 3 h 11"/>
                <a:gd name="T10" fmla="*/ 7 w 12"/>
                <a:gd name="T11" fmla="*/ 3 h 11"/>
                <a:gd name="T12" fmla="*/ 5 w 12"/>
                <a:gd name="T13" fmla="*/ 4 h 11"/>
                <a:gd name="T14" fmla="*/ 6 w 12"/>
                <a:gd name="T15" fmla="*/ 6 h 11"/>
                <a:gd name="T16" fmla="*/ 5 w 12"/>
                <a:gd name="T17" fmla="*/ 7 h 11"/>
                <a:gd name="T18" fmla="*/ 4 w 12"/>
                <a:gd name="T19" fmla="*/ 6 h 11"/>
                <a:gd name="T20" fmla="*/ 2 w 12"/>
                <a:gd name="T21" fmla="*/ 6 h 11"/>
                <a:gd name="T22" fmla="*/ 1 w 12"/>
                <a:gd name="T23" fmla="*/ 10 h 11"/>
                <a:gd name="T24" fmla="*/ 3 w 12"/>
                <a:gd name="T25" fmla="*/ 10 h 11"/>
                <a:gd name="T26" fmla="*/ 5 w 12"/>
                <a:gd name="T27" fmla="*/ 9 h 11"/>
                <a:gd name="T28" fmla="*/ 5 w 12"/>
                <a:gd name="T29" fmla="*/ 10 h 11"/>
                <a:gd name="T30" fmla="*/ 8 w 12"/>
                <a:gd name="T31" fmla="*/ 8 h 11"/>
                <a:gd name="T32" fmla="*/ 9 w 12"/>
                <a:gd name="T33" fmla="*/ 7 h 11"/>
                <a:gd name="T34" fmla="*/ 8 w 12"/>
                <a:gd name="T35" fmla="*/ 5 h 11"/>
                <a:gd name="T36" fmla="*/ 10 w 12"/>
                <a:gd name="T37"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 h="11">
                  <a:moveTo>
                    <a:pt x="10" y="4"/>
                  </a:moveTo>
                  <a:cubicBezTo>
                    <a:pt x="12" y="4"/>
                    <a:pt x="11" y="3"/>
                    <a:pt x="11" y="3"/>
                  </a:cubicBezTo>
                  <a:cubicBezTo>
                    <a:pt x="11" y="2"/>
                    <a:pt x="11" y="2"/>
                    <a:pt x="10" y="1"/>
                  </a:cubicBezTo>
                  <a:cubicBezTo>
                    <a:pt x="10" y="0"/>
                    <a:pt x="8" y="1"/>
                    <a:pt x="7" y="2"/>
                  </a:cubicBezTo>
                  <a:cubicBezTo>
                    <a:pt x="8" y="3"/>
                    <a:pt x="8" y="3"/>
                    <a:pt x="8" y="3"/>
                  </a:cubicBezTo>
                  <a:cubicBezTo>
                    <a:pt x="8" y="3"/>
                    <a:pt x="7" y="3"/>
                    <a:pt x="7" y="3"/>
                  </a:cubicBezTo>
                  <a:cubicBezTo>
                    <a:pt x="6" y="3"/>
                    <a:pt x="6" y="4"/>
                    <a:pt x="5" y="4"/>
                  </a:cubicBezTo>
                  <a:cubicBezTo>
                    <a:pt x="5" y="5"/>
                    <a:pt x="6" y="6"/>
                    <a:pt x="6" y="6"/>
                  </a:cubicBezTo>
                  <a:cubicBezTo>
                    <a:pt x="5" y="7"/>
                    <a:pt x="5" y="7"/>
                    <a:pt x="5" y="7"/>
                  </a:cubicBezTo>
                  <a:cubicBezTo>
                    <a:pt x="5" y="7"/>
                    <a:pt x="5" y="7"/>
                    <a:pt x="4" y="6"/>
                  </a:cubicBezTo>
                  <a:cubicBezTo>
                    <a:pt x="3" y="5"/>
                    <a:pt x="3" y="6"/>
                    <a:pt x="2" y="6"/>
                  </a:cubicBezTo>
                  <a:cubicBezTo>
                    <a:pt x="0" y="7"/>
                    <a:pt x="1" y="9"/>
                    <a:pt x="1" y="10"/>
                  </a:cubicBezTo>
                  <a:cubicBezTo>
                    <a:pt x="2" y="11"/>
                    <a:pt x="3" y="10"/>
                    <a:pt x="3" y="10"/>
                  </a:cubicBezTo>
                  <a:cubicBezTo>
                    <a:pt x="5" y="9"/>
                    <a:pt x="5" y="9"/>
                    <a:pt x="5" y="9"/>
                  </a:cubicBezTo>
                  <a:cubicBezTo>
                    <a:pt x="5" y="10"/>
                    <a:pt x="5" y="10"/>
                    <a:pt x="5" y="10"/>
                  </a:cubicBezTo>
                  <a:cubicBezTo>
                    <a:pt x="5" y="10"/>
                    <a:pt x="6" y="10"/>
                    <a:pt x="8" y="8"/>
                  </a:cubicBezTo>
                  <a:cubicBezTo>
                    <a:pt x="11" y="7"/>
                    <a:pt x="9" y="7"/>
                    <a:pt x="9" y="7"/>
                  </a:cubicBezTo>
                  <a:cubicBezTo>
                    <a:pt x="8" y="5"/>
                    <a:pt x="8" y="5"/>
                    <a:pt x="8" y="5"/>
                  </a:cubicBezTo>
                  <a:cubicBezTo>
                    <a:pt x="8" y="5"/>
                    <a:pt x="8" y="5"/>
                    <a:pt x="10" y="4"/>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3" name="Freeform 180"/>
            <p:cNvSpPr>
              <a:spLocks/>
            </p:cNvSpPr>
            <p:nvPr/>
          </p:nvSpPr>
          <p:spPr bwMode="auto">
            <a:xfrm>
              <a:off x="6936881" y="5346856"/>
              <a:ext cx="11553" cy="8170"/>
            </a:xfrm>
            <a:custGeom>
              <a:avLst/>
              <a:gdLst>
                <a:gd name="T0" fmla="*/ 3 w 4"/>
                <a:gd name="T1" fmla="*/ 0 h 3"/>
                <a:gd name="T2" fmla="*/ 1 w 4"/>
                <a:gd name="T3" fmla="*/ 1 h 3"/>
                <a:gd name="T4" fmla="*/ 0 w 4"/>
                <a:gd name="T5" fmla="*/ 2 h 3"/>
                <a:gd name="T6" fmla="*/ 1 w 4"/>
                <a:gd name="T7" fmla="*/ 3 h 3"/>
                <a:gd name="T8" fmla="*/ 3 w 4"/>
                <a:gd name="T9" fmla="*/ 1 h 3"/>
                <a:gd name="T10" fmla="*/ 3 w 4"/>
                <a:gd name="T11" fmla="*/ 0 h 3"/>
              </a:gdLst>
              <a:ahLst/>
              <a:cxnLst>
                <a:cxn ang="0">
                  <a:pos x="T0" y="T1"/>
                </a:cxn>
                <a:cxn ang="0">
                  <a:pos x="T2" y="T3"/>
                </a:cxn>
                <a:cxn ang="0">
                  <a:pos x="T4" y="T5"/>
                </a:cxn>
                <a:cxn ang="0">
                  <a:pos x="T6" y="T7"/>
                </a:cxn>
                <a:cxn ang="0">
                  <a:pos x="T8" y="T9"/>
                </a:cxn>
                <a:cxn ang="0">
                  <a:pos x="T10" y="T11"/>
                </a:cxn>
              </a:cxnLst>
              <a:rect l="0" t="0" r="r" b="b"/>
              <a:pathLst>
                <a:path w="4" h="3">
                  <a:moveTo>
                    <a:pt x="3" y="0"/>
                  </a:moveTo>
                  <a:cubicBezTo>
                    <a:pt x="1" y="1"/>
                    <a:pt x="1" y="1"/>
                    <a:pt x="1" y="1"/>
                  </a:cubicBezTo>
                  <a:cubicBezTo>
                    <a:pt x="1" y="1"/>
                    <a:pt x="0" y="2"/>
                    <a:pt x="0" y="2"/>
                  </a:cubicBezTo>
                  <a:cubicBezTo>
                    <a:pt x="1" y="3"/>
                    <a:pt x="1" y="3"/>
                    <a:pt x="1" y="3"/>
                  </a:cubicBezTo>
                  <a:cubicBezTo>
                    <a:pt x="1" y="3"/>
                    <a:pt x="2" y="2"/>
                    <a:pt x="3" y="1"/>
                  </a:cubicBezTo>
                  <a:cubicBezTo>
                    <a:pt x="4" y="0"/>
                    <a:pt x="3" y="0"/>
                    <a:pt x="3" y="0"/>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4" name="Freeform 181"/>
            <p:cNvSpPr>
              <a:spLocks/>
            </p:cNvSpPr>
            <p:nvPr/>
          </p:nvSpPr>
          <p:spPr bwMode="auto">
            <a:xfrm>
              <a:off x="6974429" y="5649131"/>
              <a:ext cx="14441" cy="19062"/>
            </a:xfrm>
            <a:custGeom>
              <a:avLst/>
              <a:gdLst>
                <a:gd name="T0" fmla="*/ 3 w 5"/>
                <a:gd name="T1" fmla="*/ 6 h 7"/>
                <a:gd name="T2" fmla="*/ 5 w 5"/>
                <a:gd name="T3" fmla="*/ 3 h 7"/>
                <a:gd name="T4" fmla="*/ 5 w 5"/>
                <a:gd name="T5" fmla="*/ 1 h 7"/>
                <a:gd name="T6" fmla="*/ 3 w 5"/>
                <a:gd name="T7" fmla="*/ 0 h 7"/>
                <a:gd name="T8" fmla="*/ 0 w 5"/>
                <a:gd name="T9" fmla="*/ 1 h 7"/>
                <a:gd name="T10" fmla="*/ 2 w 5"/>
                <a:gd name="T11" fmla="*/ 3 h 7"/>
                <a:gd name="T12" fmla="*/ 3 w 5"/>
                <a:gd name="T13" fmla="*/ 6 h 7"/>
              </a:gdLst>
              <a:ahLst/>
              <a:cxnLst>
                <a:cxn ang="0">
                  <a:pos x="T0" y="T1"/>
                </a:cxn>
                <a:cxn ang="0">
                  <a:pos x="T2" y="T3"/>
                </a:cxn>
                <a:cxn ang="0">
                  <a:pos x="T4" y="T5"/>
                </a:cxn>
                <a:cxn ang="0">
                  <a:pos x="T6" y="T7"/>
                </a:cxn>
                <a:cxn ang="0">
                  <a:pos x="T8" y="T9"/>
                </a:cxn>
                <a:cxn ang="0">
                  <a:pos x="T10" y="T11"/>
                </a:cxn>
                <a:cxn ang="0">
                  <a:pos x="T12" y="T13"/>
                </a:cxn>
              </a:cxnLst>
              <a:rect l="0" t="0" r="r" b="b"/>
              <a:pathLst>
                <a:path w="5" h="7">
                  <a:moveTo>
                    <a:pt x="3" y="6"/>
                  </a:moveTo>
                  <a:cubicBezTo>
                    <a:pt x="4" y="7"/>
                    <a:pt x="5" y="3"/>
                    <a:pt x="5" y="3"/>
                  </a:cubicBezTo>
                  <a:cubicBezTo>
                    <a:pt x="5" y="1"/>
                    <a:pt x="5" y="1"/>
                    <a:pt x="5" y="1"/>
                  </a:cubicBezTo>
                  <a:cubicBezTo>
                    <a:pt x="3" y="0"/>
                    <a:pt x="3" y="0"/>
                    <a:pt x="3" y="0"/>
                  </a:cubicBezTo>
                  <a:cubicBezTo>
                    <a:pt x="0" y="1"/>
                    <a:pt x="0" y="1"/>
                    <a:pt x="0" y="1"/>
                  </a:cubicBezTo>
                  <a:cubicBezTo>
                    <a:pt x="2" y="3"/>
                    <a:pt x="2" y="3"/>
                    <a:pt x="2" y="3"/>
                  </a:cubicBezTo>
                  <a:cubicBezTo>
                    <a:pt x="2" y="3"/>
                    <a:pt x="2" y="5"/>
                    <a:pt x="3" y="6"/>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5" name="Freeform 182"/>
            <p:cNvSpPr>
              <a:spLocks/>
            </p:cNvSpPr>
            <p:nvPr/>
          </p:nvSpPr>
          <p:spPr bwMode="auto">
            <a:xfrm>
              <a:off x="6896445" y="5819330"/>
              <a:ext cx="294606" cy="76250"/>
            </a:xfrm>
            <a:custGeom>
              <a:avLst/>
              <a:gdLst>
                <a:gd name="T0" fmla="*/ 102 w 102"/>
                <a:gd name="T1" fmla="*/ 0 h 28"/>
                <a:gd name="T2" fmla="*/ 98 w 102"/>
                <a:gd name="T3" fmla="*/ 3 h 28"/>
                <a:gd name="T4" fmla="*/ 94 w 102"/>
                <a:gd name="T5" fmla="*/ 6 h 28"/>
                <a:gd name="T6" fmla="*/ 88 w 102"/>
                <a:gd name="T7" fmla="*/ 9 h 28"/>
                <a:gd name="T8" fmla="*/ 83 w 102"/>
                <a:gd name="T9" fmla="*/ 12 h 28"/>
                <a:gd name="T10" fmla="*/ 81 w 102"/>
                <a:gd name="T11" fmla="*/ 5 h 28"/>
                <a:gd name="T12" fmla="*/ 75 w 102"/>
                <a:gd name="T13" fmla="*/ 5 h 28"/>
                <a:gd name="T14" fmla="*/ 66 w 102"/>
                <a:gd name="T15" fmla="*/ 8 h 28"/>
                <a:gd name="T16" fmla="*/ 60 w 102"/>
                <a:gd name="T17" fmla="*/ 9 h 28"/>
                <a:gd name="T18" fmla="*/ 51 w 102"/>
                <a:gd name="T19" fmla="*/ 6 h 28"/>
                <a:gd name="T20" fmla="*/ 42 w 102"/>
                <a:gd name="T21" fmla="*/ 8 h 28"/>
                <a:gd name="T22" fmla="*/ 31 w 102"/>
                <a:gd name="T23" fmla="*/ 13 h 28"/>
                <a:gd name="T24" fmla="*/ 28 w 102"/>
                <a:gd name="T25" fmla="*/ 11 h 28"/>
                <a:gd name="T26" fmla="*/ 24 w 102"/>
                <a:gd name="T27" fmla="*/ 9 h 28"/>
                <a:gd name="T28" fmla="*/ 21 w 102"/>
                <a:gd name="T29" fmla="*/ 9 h 28"/>
                <a:gd name="T30" fmla="*/ 23 w 102"/>
                <a:gd name="T31" fmla="*/ 5 h 28"/>
                <a:gd name="T32" fmla="*/ 18 w 102"/>
                <a:gd name="T33" fmla="*/ 6 h 28"/>
                <a:gd name="T34" fmla="*/ 11 w 102"/>
                <a:gd name="T35" fmla="*/ 10 h 28"/>
                <a:gd name="T36" fmla="*/ 8 w 102"/>
                <a:gd name="T37" fmla="*/ 6 h 28"/>
                <a:gd name="T38" fmla="*/ 5 w 102"/>
                <a:gd name="T39" fmla="*/ 4 h 28"/>
                <a:gd name="T40" fmla="*/ 7 w 102"/>
                <a:gd name="T41" fmla="*/ 10 h 28"/>
                <a:gd name="T42" fmla="*/ 3 w 102"/>
                <a:gd name="T43" fmla="*/ 12 h 28"/>
                <a:gd name="T44" fmla="*/ 2 w 102"/>
                <a:gd name="T45" fmla="*/ 8 h 28"/>
                <a:gd name="T46" fmla="*/ 2 w 102"/>
                <a:gd name="T47" fmla="*/ 15 h 28"/>
                <a:gd name="T48" fmla="*/ 3 w 102"/>
                <a:gd name="T49" fmla="*/ 22 h 28"/>
                <a:gd name="T50" fmla="*/ 9 w 102"/>
                <a:gd name="T51" fmla="*/ 24 h 28"/>
                <a:gd name="T52" fmla="*/ 14 w 102"/>
                <a:gd name="T53" fmla="*/ 21 h 28"/>
                <a:gd name="T54" fmla="*/ 22 w 102"/>
                <a:gd name="T55" fmla="*/ 22 h 28"/>
                <a:gd name="T56" fmla="*/ 30 w 102"/>
                <a:gd name="T57" fmla="*/ 21 h 28"/>
                <a:gd name="T58" fmla="*/ 42 w 102"/>
                <a:gd name="T59" fmla="*/ 22 h 28"/>
                <a:gd name="T60" fmla="*/ 48 w 102"/>
                <a:gd name="T61" fmla="*/ 23 h 28"/>
                <a:gd name="T62" fmla="*/ 50 w 102"/>
                <a:gd name="T63" fmla="*/ 28 h 28"/>
                <a:gd name="T64" fmla="*/ 60 w 102"/>
                <a:gd name="T65" fmla="*/ 26 h 28"/>
                <a:gd name="T66" fmla="*/ 70 w 102"/>
                <a:gd name="T67" fmla="*/ 22 h 28"/>
                <a:gd name="T68" fmla="*/ 80 w 102"/>
                <a:gd name="T69" fmla="*/ 18 h 28"/>
                <a:gd name="T70" fmla="*/ 91 w 102"/>
                <a:gd name="T71" fmla="*/ 15 h 28"/>
                <a:gd name="T72" fmla="*/ 97 w 102"/>
                <a:gd name="T73" fmla="*/ 15 h 28"/>
                <a:gd name="T74" fmla="*/ 101 w 102"/>
                <a:gd name="T75" fmla="*/ 11 h 28"/>
                <a:gd name="T76" fmla="*/ 102 w 102"/>
                <a:gd name="T77" fmla="*/ 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2" h="28">
                  <a:moveTo>
                    <a:pt x="100" y="3"/>
                  </a:moveTo>
                  <a:cubicBezTo>
                    <a:pt x="102" y="0"/>
                    <a:pt x="102" y="0"/>
                    <a:pt x="102" y="0"/>
                  </a:cubicBezTo>
                  <a:cubicBezTo>
                    <a:pt x="102" y="0"/>
                    <a:pt x="100" y="1"/>
                    <a:pt x="100" y="1"/>
                  </a:cubicBezTo>
                  <a:cubicBezTo>
                    <a:pt x="99" y="1"/>
                    <a:pt x="98" y="3"/>
                    <a:pt x="98" y="3"/>
                  </a:cubicBezTo>
                  <a:cubicBezTo>
                    <a:pt x="98" y="3"/>
                    <a:pt x="97" y="5"/>
                    <a:pt x="96" y="6"/>
                  </a:cubicBezTo>
                  <a:cubicBezTo>
                    <a:pt x="95" y="6"/>
                    <a:pt x="95" y="6"/>
                    <a:pt x="94" y="6"/>
                  </a:cubicBezTo>
                  <a:cubicBezTo>
                    <a:pt x="93" y="6"/>
                    <a:pt x="92" y="6"/>
                    <a:pt x="92" y="7"/>
                  </a:cubicBezTo>
                  <a:cubicBezTo>
                    <a:pt x="91" y="7"/>
                    <a:pt x="90" y="7"/>
                    <a:pt x="88" y="9"/>
                  </a:cubicBezTo>
                  <a:cubicBezTo>
                    <a:pt x="85" y="11"/>
                    <a:pt x="86" y="11"/>
                    <a:pt x="86" y="11"/>
                  </a:cubicBezTo>
                  <a:cubicBezTo>
                    <a:pt x="86" y="11"/>
                    <a:pt x="84" y="12"/>
                    <a:pt x="83" y="12"/>
                  </a:cubicBezTo>
                  <a:cubicBezTo>
                    <a:pt x="82" y="12"/>
                    <a:pt x="82" y="11"/>
                    <a:pt x="82" y="10"/>
                  </a:cubicBezTo>
                  <a:cubicBezTo>
                    <a:pt x="82" y="9"/>
                    <a:pt x="82" y="7"/>
                    <a:pt x="81" y="5"/>
                  </a:cubicBezTo>
                  <a:cubicBezTo>
                    <a:pt x="81" y="3"/>
                    <a:pt x="81" y="3"/>
                    <a:pt x="81" y="3"/>
                  </a:cubicBezTo>
                  <a:cubicBezTo>
                    <a:pt x="81" y="3"/>
                    <a:pt x="75" y="5"/>
                    <a:pt x="75" y="5"/>
                  </a:cubicBezTo>
                  <a:cubicBezTo>
                    <a:pt x="74" y="5"/>
                    <a:pt x="72" y="8"/>
                    <a:pt x="72" y="8"/>
                  </a:cubicBezTo>
                  <a:cubicBezTo>
                    <a:pt x="72" y="8"/>
                    <a:pt x="67" y="8"/>
                    <a:pt x="66" y="8"/>
                  </a:cubicBezTo>
                  <a:cubicBezTo>
                    <a:pt x="66" y="8"/>
                    <a:pt x="64" y="8"/>
                    <a:pt x="64" y="8"/>
                  </a:cubicBezTo>
                  <a:cubicBezTo>
                    <a:pt x="60" y="9"/>
                    <a:pt x="60" y="9"/>
                    <a:pt x="60" y="9"/>
                  </a:cubicBezTo>
                  <a:cubicBezTo>
                    <a:pt x="60" y="9"/>
                    <a:pt x="56" y="7"/>
                    <a:pt x="55" y="5"/>
                  </a:cubicBezTo>
                  <a:cubicBezTo>
                    <a:pt x="54" y="4"/>
                    <a:pt x="51" y="6"/>
                    <a:pt x="51" y="6"/>
                  </a:cubicBezTo>
                  <a:cubicBezTo>
                    <a:pt x="51" y="6"/>
                    <a:pt x="47" y="7"/>
                    <a:pt x="46" y="8"/>
                  </a:cubicBezTo>
                  <a:cubicBezTo>
                    <a:pt x="45" y="8"/>
                    <a:pt x="42" y="8"/>
                    <a:pt x="42" y="8"/>
                  </a:cubicBezTo>
                  <a:cubicBezTo>
                    <a:pt x="40" y="10"/>
                    <a:pt x="40" y="10"/>
                    <a:pt x="40" y="10"/>
                  </a:cubicBezTo>
                  <a:cubicBezTo>
                    <a:pt x="40" y="10"/>
                    <a:pt x="32" y="13"/>
                    <a:pt x="31" y="13"/>
                  </a:cubicBezTo>
                  <a:cubicBezTo>
                    <a:pt x="31" y="13"/>
                    <a:pt x="29" y="13"/>
                    <a:pt x="28" y="13"/>
                  </a:cubicBezTo>
                  <a:cubicBezTo>
                    <a:pt x="28" y="13"/>
                    <a:pt x="28" y="11"/>
                    <a:pt x="28" y="11"/>
                  </a:cubicBezTo>
                  <a:cubicBezTo>
                    <a:pt x="28" y="11"/>
                    <a:pt x="26" y="9"/>
                    <a:pt x="26" y="9"/>
                  </a:cubicBezTo>
                  <a:cubicBezTo>
                    <a:pt x="25" y="8"/>
                    <a:pt x="25" y="9"/>
                    <a:pt x="24" y="9"/>
                  </a:cubicBezTo>
                  <a:cubicBezTo>
                    <a:pt x="24" y="9"/>
                    <a:pt x="23" y="10"/>
                    <a:pt x="23" y="10"/>
                  </a:cubicBezTo>
                  <a:cubicBezTo>
                    <a:pt x="21" y="9"/>
                    <a:pt x="21" y="9"/>
                    <a:pt x="21" y="9"/>
                  </a:cubicBezTo>
                  <a:cubicBezTo>
                    <a:pt x="21" y="9"/>
                    <a:pt x="22" y="8"/>
                    <a:pt x="23" y="8"/>
                  </a:cubicBezTo>
                  <a:cubicBezTo>
                    <a:pt x="23" y="8"/>
                    <a:pt x="24" y="6"/>
                    <a:pt x="23" y="5"/>
                  </a:cubicBezTo>
                  <a:cubicBezTo>
                    <a:pt x="21" y="4"/>
                    <a:pt x="21" y="4"/>
                    <a:pt x="21" y="4"/>
                  </a:cubicBezTo>
                  <a:cubicBezTo>
                    <a:pt x="21" y="4"/>
                    <a:pt x="18" y="6"/>
                    <a:pt x="18" y="6"/>
                  </a:cubicBezTo>
                  <a:cubicBezTo>
                    <a:pt x="18" y="7"/>
                    <a:pt x="16" y="9"/>
                    <a:pt x="16" y="9"/>
                  </a:cubicBezTo>
                  <a:cubicBezTo>
                    <a:pt x="16" y="9"/>
                    <a:pt x="11" y="10"/>
                    <a:pt x="11" y="10"/>
                  </a:cubicBezTo>
                  <a:cubicBezTo>
                    <a:pt x="10" y="10"/>
                    <a:pt x="9" y="8"/>
                    <a:pt x="9" y="8"/>
                  </a:cubicBezTo>
                  <a:cubicBezTo>
                    <a:pt x="9" y="8"/>
                    <a:pt x="8" y="7"/>
                    <a:pt x="8" y="6"/>
                  </a:cubicBezTo>
                  <a:cubicBezTo>
                    <a:pt x="8" y="5"/>
                    <a:pt x="7" y="3"/>
                    <a:pt x="7" y="3"/>
                  </a:cubicBezTo>
                  <a:cubicBezTo>
                    <a:pt x="5" y="4"/>
                    <a:pt x="5" y="4"/>
                    <a:pt x="5" y="4"/>
                  </a:cubicBezTo>
                  <a:cubicBezTo>
                    <a:pt x="6" y="7"/>
                    <a:pt x="6" y="7"/>
                    <a:pt x="6" y="7"/>
                  </a:cubicBezTo>
                  <a:cubicBezTo>
                    <a:pt x="7" y="10"/>
                    <a:pt x="7" y="10"/>
                    <a:pt x="7" y="10"/>
                  </a:cubicBezTo>
                  <a:cubicBezTo>
                    <a:pt x="6" y="12"/>
                    <a:pt x="6" y="12"/>
                    <a:pt x="6" y="12"/>
                  </a:cubicBezTo>
                  <a:cubicBezTo>
                    <a:pt x="6" y="12"/>
                    <a:pt x="5" y="12"/>
                    <a:pt x="3" y="12"/>
                  </a:cubicBezTo>
                  <a:cubicBezTo>
                    <a:pt x="2" y="12"/>
                    <a:pt x="3" y="10"/>
                    <a:pt x="3" y="10"/>
                  </a:cubicBezTo>
                  <a:cubicBezTo>
                    <a:pt x="3" y="9"/>
                    <a:pt x="2" y="8"/>
                    <a:pt x="2" y="8"/>
                  </a:cubicBezTo>
                  <a:cubicBezTo>
                    <a:pt x="0" y="10"/>
                    <a:pt x="0" y="10"/>
                    <a:pt x="0" y="10"/>
                  </a:cubicBezTo>
                  <a:cubicBezTo>
                    <a:pt x="0" y="10"/>
                    <a:pt x="1" y="13"/>
                    <a:pt x="2" y="15"/>
                  </a:cubicBezTo>
                  <a:cubicBezTo>
                    <a:pt x="2" y="17"/>
                    <a:pt x="2" y="17"/>
                    <a:pt x="2" y="17"/>
                  </a:cubicBezTo>
                  <a:cubicBezTo>
                    <a:pt x="3" y="22"/>
                    <a:pt x="3" y="22"/>
                    <a:pt x="3" y="22"/>
                  </a:cubicBezTo>
                  <a:cubicBezTo>
                    <a:pt x="3" y="22"/>
                    <a:pt x="5" y="23"/>
                    <a:pt x="6" y="24"/>
                  </a:cubicBezTo>
                  <a:cubicBezTo>
                    <a:pt x="8" y="25"/>
                    <a:pt x="8" y="24"/>
                    <a:pt x="9" y="24"/>
                  </a:cubicBezTo>
                  <a:cubicBezTo>
                    <a:pt x="11" y="24"/>
                    <a:pt x="10" y="23"/>
                    <a:pt x="11" y="22"/>
                  </a:cubicBezTo>
                  <a:cubicBezTo>
                    <a:pt x="12" y="21"/>
                    <a:pt x="14" y="21"/>
                    <a:pt x="14" y="21"/>
                  </a:cubicBezTo>
                  <a:cubicBezTo>
                    <a:pt x="17" y="23"/>
                    <a:pt x="17" y="23"/>
                    <a:pt x="17" y="23"/>
                  </a:cubicBezTo>
                  <a:cubicBezTo>
                    <a:pt x="17" y="23"/>
                    <a:pt x="19" y="22"/>
                    <a:pt x="22" y="22"/>
                  </a:cubicBezTo>
                  <a:cubicBezTo>
                    <a:pt x="24" y="21"/>
                    <a:pt x="24" y="22"/>
                    <a:pt x="25" y="22"/>
                  </a:cubicBezTo>
                  <a:cubicBezTo>
                    <a:pt x="26" y="21"/>
                    <a:pt x="29" y="21"/>
                    <a:pt x="30" y="21"/>
                  </a:cubicBezTo>
                  <a:cubicBezTo>
                    <a:pt x="32" y="20"/>
                    <a:pt x="36" y="20"/>
                    <a:pt x="36" y="20"/>
                  </a:cubicBezTo>
                  <a:cubicBezTo>
                    <a:pt x="36" y="20"/>
                    <a:pt x="38" y="23"/>
                    <a:pt x="42" y="22"/>
                  </a:cubicBezTo>
                  <a:cubicBezTo>
                    <a:pt x="46" y="21"/>
                    <a:pt x="44" y="22"/>
                    <a:pt x="46" y="21"/>
                  </a:cubicBezTo>
                  <a:cubicBezTo>
                    <a:pt x="49" y="21"/>
                    <a:pt x="48" y="23"/>
                    <a:pt x="48" y="23"/>
                  </a:cubicBezTo>
                  <a:cubicBezTo>
                    <a:pt x="49" y="28"/>
                    <a:pt x="49" y="28"/>
                    <a:pt x="49" y="28"/>
                  </a:cubicBezTo>
                  <a:cubicBezTo>
                    <a:pt x="50" y="28"/>
                    <a:pt x="50" y="28"/>
                    <a:pt x="50" y="28"/>
                  </a:cubicBezTo>
                  <a:cubicBezTo>
                    <a:pt x="50" y="28"/>
                    <a:pt x="52" y="28"/>
                    <a:pt x="55" y="27"/>
                  </a:cubicBezTo>
                  <a:cubicBezTo>
                    <a:pt x="58" y="26"/>
                    <a:pt x="59" y="26"/>
                    <a:pt x="60" y="26"/>
                  </a:cubicBezTo>
                  <a:cubicBezTo>
                    <a:pt x="62" y="26"/>
                    <a:pt x="64" y="24"/>
                    <a:pt x="65" y="24"/>
                  </a:cubicBezTo>
                  <a:cubicBezTo>
                    <a:pt x="65" y="23"/>
                    <a:pt x="69" y="22"/>
                    <a:pt x="70" y="22"/>
                  </a:cubicBezTo>
                  <a:cubicBezTo>
                    <a:pt x="71" y="21"/>
                    <a:pt x="72" y="20"/>
                    <a:pt x="72" y="20"/>
                  </a:cubicBezTo>
                  <a:cubicBezTo>
                    <a:pt x="72" y="20"/>
                    <a:pt x="78" y="19"/>
                    <a:pt x="80" y="18"/>
                  </a:cubicBezTo>
                  <a:cubicBezTo>
                    <a:pt x="83" y="18"/>
                    <a:pt x="85" y="18"/>
                    <a:pt x="86" y="18"/>
                  </a:cubicBezTo>
                  <a:cubicBezTo>
                    <a:pt x="87" y="18"/>
                    <a:pt x="90" y="16"/>
                    <a:pt x="91" y="15"/>
                  </a:cubicBezTo>
                  <a:cubicBezTo>
                    <a:pt x="92" y="15"/>
                    <a:pt x="93" y="14"/>
                    <a:pt x="93" y="14"/>
                  </a:cubicBezTo>
                  <a:cubicBezTo>
                    <a:pt x="97" y="15"/>
                    <a:pt x="97" y="15"/>
                    <a:pt x="97" y="15"/>
                  </a:cubicBezTo>
                  <a:cubicBezTo>
                    <a:pt x="97" y="15"/>
                    <a:pt x="100" y="13"/>
                    <a:pt x="100" y="13"/>
                  </a:cubicBezTo>
                  <a:cubicBezTo>
                    <a:pt x="101" y="12"/>
                    <a:pt x="101" y="11"/>
                    <a:pt x="101" y="11"/>
                  </a:cubicBezTo>
                  <a:cubicBezTo>
                    <a:pt x="101" y="10"/>
                    <a:pt x="101" y="10"/>
                    <a:pt x="102" y="9"/>
                  </a:cubicBezTo>
                  <a:cubicBezTo>
                    <a:pt x="102" y="7"/>
                    <a:pt x="102" y="7"/>
                    <a:pt x="102" y="7"/>
                  </a:cubicBezTo>
                  <a:cubicBezTo>
                    <a:pt x="102" y="6"/>
                    <a:pt x="100" y="3"/>
                    <a:pt x="100" y="3"/>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6" name="Freeform 183"/>
            <p:cNvSpPr>
              <a:spLocks/>
            </p:cNvSpPr>
            <p:nvPr/>
          </p:nvSpPr>
          <p:spPr bwMode="auto">
            <a:xfrm>
              <a:off x="7147726" y="5570158"/>
              <a:ext cx="11553" cy="13616"/>
            </a:xfrm>
            <a:custGeom>
              <a:avLst/>
              <a:gdLst>
                <a:gd name="T0" fmla="*/ 4 w 4"/>
                <a:gd name="T1" fmla="*/ 1 h 5"/>
                <a:gd name="T2" fmla="*/ 2 w 4"/>
                <a:gd name="T3" fmla="*/ 0 h 5"/>
                <a:gd name="T4" fmla="*/ 0 w 4"/>
                <a:gd name="T5" fmla="*/ 3 h 5"/>
                <a:gd name="T6" fmla="*/ 2 w 4"/>
                <a:gd name="T7" fmla="*/ 5 h 5"/>
                <a:gd name="T8" fmla="*/ 4 w 4"/>
                <a:gd name="T9" fmla="*/ 1 h 5"/>
              </a:gdLst>
              <a:ahLst/>
              <a:cxnLst>
                <a:cxn ang="0">
                  <a:pos x="T0" y="T1"/>
                </a:cxn>
                <a:cxn ang="0">
                  <a:pos x="T2" y="T3"/>
                </a:cxn>
                <a:cxn ang="0">
                  <a:pos x="T4" y="T5"/>
                </a:cxn>
                <a:cxn ang="0">
                  <a:pos x="T6" y="T7"/>
                </a:cxn>
                <a:cxn ang="0">
                  <a:pos x="T8" y="T9"/>
                </a:cxn>
              </a:cxnLst>
              <a:rect l="0" t="0" r="r" b="b"/>
              <a:pathLst>
                <a:path w="4" h="5">
                  <a:moveTo>
                    <a:pt x="4" y="1"/>
                  </a:moveTo>
                  <a:cubicBezTo>
                    <a:pt x="4" y="1"/>
                    <a:pt x="2" y="0"/>
                    <a:pt x="2" y="0"/>
                  </a:cubicBezTo>
                  <a:cubicBezTo>
                    <a:pt x="0" y="3"/>
                    <a:pt x="0" y="3"/>
                    <a:pt x="0" y="3"/>
                  </a:cubicBezTo>
                  <a:cubicBezTo>
                    <a:pt x="2" y="5"/>
                    <a:pt x="2" y="5"/>
                    <a:pt x="2" y="5"/>
                  </a:cubicBezTo>
                  <a:lnTo>
                    <a:pt x="4" y="1"/>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7" name="Freeform 184"/>
            <p:cNvSpPr>
              <a:spLocks/>
            </p:cNvSpPr>
            <p:nvPr/>
          </p:nvSpPr>
          <p:spPr bwMode="auto">
            <a:xfrm>
              <a:off x="6793911" y="5417659"/>
              <a:ext cx="11553" cy="5446"/>
            </a:xfrm>
            <a:custGeom>
              <a:avLst/>
              <a:gdLst>
                <a:gd name="T0" fmla="*/ 1 w 4"/>
                <a:gd name="T1" fmla="*/ 0 h 2"/>
                <a:gd name="T2" fmla="*/ 0 w 4"/>
                <a:gd name="T3" fmla="*/ 2 h 2"/>
                <a:gd name="T4" fmla="*/ 1 w 4"/>
                <a:gd name="T5" fmla="*/ 2 h 2"/>
                <a:gd name="T6" fmla="*/ 3 w 4"/>
                <a:gd name="T7" fmla="*/ 1 h 2"/>
                <a:gd name="T8" fmla="*/ 2 w 4"/>
                <a:gd name="T9" fmla="*/ 0 h 2"/>
                <a:gd name="T10" fmla="*/ 1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1" y="0"/>
                  </a:moveTo>
                  <a:cubicBezTo>
                    <a:pt x="1" y="0"/>
                    <a:pt x="0" y="1"/>
                    <a:pt x="0" y="2"/>
                  </a:cubicBezTo>
                  <a:cubicBezTo>
                    <a:pt x="1" y="2"/>
                    <a:pt x="1" y="2"/>
                    <a:pt x="1" y="2"/>
                  </a:cubicBezTo>
                  <a:cubicBezTo>
                    <a:pt x="1" y="2"/>
                    <a:pt x="2" y="1"/>
                    <a:pt x="3" y="1"/>
                  </a:cubicBezTo>
                  <a:cubicBezTo>
                    <a:pt x="4" y="0"/>
                    <a:pt x="2" y="0"/>
                    <a:pt x="2" y="0"/>
                  </a:cubicBezTo>
                  <a:lnTo>
                    <a:pt x="1" y="0"/>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8" name="Freeform 185"/>
            <p:cNvSpPr>
              <a:spLocks/>
            </p:cNvSpPr>
            <p:nvPr/>
          </p:nvSpPr>
          <p:spPr bwMode="auto">
            <a:xfrm>
              <a:off x="6919551" y="5578327"/>
              <a:ext cx="14441" cy="24509"/>
            </a:xfrm>
            <a:custGeom>
              <a:avLst/>
              <a:gdLst>
                <a:gd name="T0" fmla="*/ 1 w 5"/>
                <a:gd name="T1" fmla="*/ 3 h 9"/>
                <a:gd name="T2" fmla="*/ 0 w 5"/>
                <a:gd name="T3" fmla="*/ 6 h 9"/>
                <a:gd name="T4" fmla="*/ 1 w 5"/>
                <a:gd name="T5" fmla="*/ 8 h 9"/>
                <a:gd name="T6" fmla="*/ 2 w 5"/>
                <a:gd name="T7" fmla="*/ 7 h 9"/>
                <a:gd name="T8" fmla="*/ 3 w 5"/>
                <a:gd name="T9" fmla="*/ 6 h 9"/>
                <a:gd name="T10" fmla="*/ 5 w 5"/>
                <a:gd name="T11" fmla="*/ 4 h 9"/>
                <a:gd name="T12" fmla="*/ 5 w 5"/>
                <a:gd name="T13" fmla="*/ 2 h 9"/>
                <a:gd name="T14" fmla="*/ 2 w 5"/>
                <a:gd name="T15" fmla="*/ 0 h 9"/>
                <a:gd name="T16" fmla="*/ 1 w 5"/>
                <a:gd name="T1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9">
                  <a:moveTo>
                    <a:pt x="1" y="3"/>
                  </a:moveTo>
                  <a:cubicBezTo>
                    <a:pt x="1" y="3"/>
                    <a:pt x="0" y="6"/>
                    <a:pt x="0" y="6"/>
                  </a:cubicBezTo>
                  <a:cubicBezTo>
                    <a:pt x="0" y="7"/>
                    <a:pt x="1" y="8"/>
                    <a:pt x="1" y="8"/>
                  </a:cubicBezTo>
                  <a:cubicBezTo>
                    <a:pt x="1" y="9"/>
                    <a:pt x="1" y="8"/>
                    <a:pt x="2" y="7"/>
                  </a:cubicBezTo>
                  <a:cubicBezTo>
                    <a:pt x="3" y="6"/>
                    <a:pt x="3" y="6"/>
                    <a:pt x="3" y="6"/>
                  </a:cubicBezTo>
                  <a:cubicBezTo>
                    <a:pt x="3" y="6"/>
                    <a:pt x="4" y="4"/>
                    <a:pt x="5" y="4"/>
                  </a:cubicBezTo>
                  <a:cubicBezTo>
                    <a:pt x="5" y="4"/>
                    <a:pt x="5" y="2"/>
                    <a:pt x="5" y="2"/>
                  </a:cubicBezTo>
                  <a:cubicBezTo>
                    <a:pt x="5" y="2"/>
                    <a:pt x="3" y="0"/>
                    <a:pt x="2" y="0"/>
                  </a:cubicBezTo>
                  <a:cubicBezTo>
                    <a:pt x="2" y="0"/>
                    <a:pt x="1" y="3"/>
                    <a:pt x="1" y="3"/>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9" name="Freeform 186"/>
            <p:cNvSpPr>
              <a:spLocks/>
            </p:cNvSpPr>
            <p:nvPr/>
          </p:nvSpPr>
          <p:spPr bwMode="auto">
            <a:xfrm>
              <a:off x="7144838" y="5510248"/>
              <a:ext cx="49101" cy="27232"/>
            </a:xfrm>
            <a:custGeom>
              <a:avLst/>
              <a:gdLst>
                <a:gd name="T0" fmla="*/ 11 w 17"/>
                <a:gd name="T1" fmla="*/ 1 h 10"/>
                <a:gd name="T2" fmla="*/ 9 w 17"/>
                <a:gd name="T3" fmla="*/ 2 h 10"/>
                <a:gd name="T4" fmla="*/ 5 w 17"/>
                <a:gd name="T5" fmla="*/ 1 h 10"/>
                <a:gd name="T6" fmla="*/ 3 w 17"/>
                <a:gd name="T7" fmla="*/ 1 h 10"/>
                <a:gd name="T8" fmla="*/ 1 w 17"/>
                <a:gd name="T9" fmla="*/ 4 h 10"/>
                <a:gd name="T10" fmla="*/ 0 w 17"/>
                <a:gd name="T11" fmla="*/ 7 h 10"/>
                <a:gd name="T12" fmla="*/ 3 w 17"/>
                <a:gd name="T13" fmla="*/ 8 h 10"/>
                <a:gd name="T14" fmla="*/ 5 w 17"/>
                <a:gd name="T15" fmla="*/ 6 h 10"/>
                <a:gd name="T16" fmla="*/ 8 w 17"/>
                <a:gd name="T17" fmla="*/ 9 h 10"/>
                <a:gd name="T18" fmla="*/ 11 w 17"/>
                <a:gd name="T19" fmla="*/ 9 h 10"/>
                <a:gd name="T20" fmla="*/ 12 w 17"/>
                <a:gd name="T21" fmla="*/ 7 h 10"/>
                <a:gd name="T22" fmla="*/ 15 w 17"/>
                <a:gd name="T23" fmla="*/ 5 h 10"/>
                <a:gd name="T24" fmla="*/ 17 w 17"/>
                <a:gd name="T25" fmla="*/ 2 h 10"/>
                <a:gd name="T26" fmla="*/ 14 w 17"/>
                <a:gd name="T27" fmla="*/ 0 h 10"/>
                <a:gd name="T28" fmla="*/ 11 w 17"/>
                <a:gd name="T2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10">
                  <a:moveTo>
                    <a:pt x="11" y="1"/>
                  </a:moveTo>
                  <a:cubicBezTo>
                    <a:pt x="11" y="1"/>
                    <a:pt x="9" y="2"/>
                    <a:pt x="9" y="2"/>
                  </a:cubicBezTo>
                  <a:cubicBezTo>
                    <a:pt x="9" y="2"/>
                    <a:pt x="6" y="1"/>
                    <a:pt x="5" y="1"/>
                  </a:cubicBezTo>
                  <a:cubicBezTo>
                    <a:pt x="5" y="0"/>
                    <a:pt x="4" y="1"/>
                    <a:pt x="3" y="1"/>
                  </a:cubicBezTo>
                  <a:cubicBezTo>
                    <a:pt x="3" y="1"/>
                    <a:pt x="2" y="3"/>
                    <a:pt x="1" y="4"/>
                  </a:cubicBezTo>
                  <a:cubicBezTo>
                    <a:pt x="0" y="5"/>
                    <a:pt x="1" y="6"/>
                    <a:pt x="0" y="7"/>
                  </a:cubicBezTo>
                  <a:cubicBezTo>
                    <a:pt x="0" y="7"/>
                    <a:pt x="2" y="8"/>
                    <a:pt x="3" y="8"/>
                  </a:cubicBezTo>
                  <a:cubicBezTo>
                    <a:pt x="3" y="7"/>
                    <a:pt x="5" y="6"/>
                    <a:pt x="5" y="6"/>
                  </a:cubicBezTo>
                  <a:cubicBezTo>
                    <a:pt x="5" y="6"/>
                    <a:pt x="7" y="8"/>
                    <a:pt x="8" y="9"/>
                  </a:cubicBezTo>
                  <a:cubicBezTo>
                    <a:pt x="10" y="10"/>
                    <a:pt x="10" y="9"/>
                    <a:pt x="11" y="9"/>
                  </a:cubicBezTo>
                  <a:cubicBezTo>
                    <a:pt x="12" y="8"/>
                    <a:pt x="11" y="8"/>
                    <a:pt x="12" y="7"/>
                  </a:cubicBezTo>
                  <a:cubicBezTo>
                    <a:pt x="13" y="6"/>
                    <a:pt x="14" y="5"/>
                    <a:pt x="15" y="5"/>
                  </a:cubicBezTo>
                  <a:cubicBezTo>
                    <a:pt x="16" y="5"/>
                    <a:pt x="17" y="2"/>
                    <a:pt x="17" y="2"/>
                  </a:cubicBezTo>
                  <a:cubicBezTo>
                    <a:pt x="17" y="2"/>
                    <a:pt x="14" y="0"/>
                    <a:pt x="14" y="0"/>
                  </a:cubicBezTo>
                  <a:cubicBezTo>
                    <a:pt x="14" y="0"/>
                    <a:pt x="11" y="1"/>
                    <a:pt x="11" y="1"/>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0" name="Freeform 187"/>
            <p:cNvSpPr>
              <a:spLocks/>
            </p:cNvSpPr>
            <p:nvPr/>
          </p:nvSpPr>
          <p:spPr bwMode="auto">
            <a:xfrm>
              <a:off x="7191051" y="5581051"/>
              <a:ext cx="31771" cy="32678"/>
            </a:xfrm>
            <a:custGeom>
              <a:avLst/>
              <a:gdLst>
                <a:gd name="T0" fmla="*/ 6 w 11"/>
                <a:gd name="T1" fmla="*/ 11 h 12"/>
                <a:gd name="T2" fmla="*/ 10 w 11"/>
                <a:gd name="T3" fmla="*/ 11 h 12"/>
                <a:gd name="T4" fmla="*/ 10 w 11"/>
                <a:gd name="T5" fmla="*/ 8 h 12"/>
                <a:gd name="T6" fmla="*/ 7 w 11"/>
                <a:gd name="T7" fmla="*/ 7 h 12"/>
                <a:gd name="T8" fmla="*/ 5 w 11"/>
                <a:gd name="T9" fmla="*/ 6 h 12"/>
                <a:gd name="T10" fmla="*/ 6 w 11"/>
                <a:gd name="T11" fmla="*/ 9 h 12"/>
                <a:gd name="T12" fmla="*/ 6 w 11"/>
                <a:gd name="T13" fmla="*/ 10 h 12"/>
                <a:gd name="T14" fmla="*/ 6 w 11"/>
                <a:gd name="T15" fmla="*/ 11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2">
                  <a:moveTo>
                    <a:pt x="6" y="11"/>
                  </a:moveTo>
                  <a:cubicBezTo>
                    <a:pt x="6" y="11"/>
                    <a:pt x="10" y="12"/>
                    <a:pt x="10" y="11"/>
                  </a:cubicBezTo>
                  <a:cubicBezTo>
                    <a:pt x="10" y="10"/>
                    <a:pt x="11" y="9"/>
                    <a:pt x="10" y="8"/>
                  </a:cubicBezTo>
                  <a:cubicBezTo>
                    <a:pt x="10" y="8"/>
                    <a:pt x="8" y="7"/>
                    <a:pt x="7" y="7"/>
                  </a:cubicBezTo>
                  <a:cubicBezTo>
                    <a:pt x="6" y="7"/>
                    <a:pt x="6" y="7"/>
                    <a:pt x="5" y="6"/>
                  </a:cubicBezTo>
                  <a:cubicBezTo>
                    <a:pt x="0" y="0"/>
                    <a:pt x="3" y="8"/>
                    <a:pt x="6" y="9"/>
                  </a:cubicBezTo>
                  <a:cubicBezTo>
                    <a:pt x="6" y="10"/>
                    <a:pt x="6" y="10"/>
                    <a:pt x="6" y="10"/>
                  </a:cubicBezTo>
                  <a:lnTo>
                    <a:pt x="6" y="11"/>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1" name="Freeform 188"/>
            <p:cNvSpPr>
              <a:spLocks/>
            </p:cNvSpPr>
            <p:nvPr/>
          </p:nvSpPr>
          <p:spPr bwMode="auto">
            <a:xfrm>
              <a:off x="7026418" y="5673639"/>
              <a:ext cx="14441" cy="13616"/>
            </a:xfrm>
            <a:custGeom>
              <a:avLst/>
              <a:gdLst>
                <a:gd name="T0" fmla="*/ 4 w 5"/>
                <a:gd name="T1" fmla="*/ 3 h 5"/>
                <a:gd name="T2" fmla="*/ 4 w 5"/>
                <a:gd name="T3" fmla="*/ 0 h 5"/>
                <a:gd name="T4" fmla="*/ 1 w 5"/>
                <a:gd name="T5" fmla="*/ 2 h 5"/>
                <a:gd name="T6" fmla="*/ 0 w 5"/>
                <a:gd name="T7" fmla="*/ 3 h 5"/>
                <a:gd name="T8" fmla="*/ 1 w 5"/>
                <a:gd name="T9" fmla="*/ 5 h 5"/>
                <a:gd name="T10" fmla="*/ 4 w 5"/>
                <a:gd name="T11" fmla="*/ 3 h 5"/>
              </a:gdLst>
              <a:ahLst/>
              <a:cxnLst>
                <a:cxn ang="0">
                  <a:pos x="T0" y="T1"/>
                </a:cxn>
                <a:cxn ang="0">
                  <a:pos x="T2" y="T3"/>
                </a:cxn>
                <a:cxn ang="0">
                  <a:pos x="T4" y="T5"/>
                </a:cxn>
                <a:cxn ang="0">
                  <a:pos x="T6" y="T7"/>
                </a:cxn>
                <a:cxn ang="0">
                  <a:pos x="T8" y="T9"/>
                </a:cxn>
                <a:cxn ang="0">
                  <a:pos x="T10" y="T11"/>
                </a:cxn>
              </a:cxnLst>
              <a:rect l="0" t="0" r="r" b="b"/>
              <a:pathLst>
                <a:path w="5" h="5">
                  <a:moveTo>
                    <a:pt x="4" y="3"/>
                  </a:moveTo>
                  <a:cubicBezTo>
                    <a:pt x="5" y="2"/>
                    <a:pt x="4" y="0"/>
                    <a:pt x="4" y="0"/>
                  </a:cubicBezTo>
                  <a:cubicBezTo>
                    <a:pt x="1" y="2"/>
                    <a:pt x="1" y="2"/>
                    <a:pt x="1" y="2"/>
                  </a:cubicBezTo>
                  <a:cubicBezTo>
                    <a:pt x="0" y="3"/>
                    <a:pt x="0" y="3"/>
                    <a:pt x="0" y="3"/>
                  </a:cubicBezTo>
                  <a:cubicBezTo>
                    <a:pt x="1" y="5"/>
                    <a:pt x="1" y="5"/>
                    <a:pt x="1" y="5"/>
                  </a:cubicBezTo>
                  <a:cubicBezTo>
                    <a:pt x="1" y="5"/>
                    <a:pt x="3" y="4"/>
                    <a:pt x="4" y="3"/>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2" name="Freeform 189"/>
            <p:cNvSpPr>
              <a:spLocks/>
            </p:cNvSpPr>
            <p:nvPr/>
          </p:nvSpPr>
          <p:spPr bwMode="auto">
            <a:xfrm>
              <a:off x="7316691" y="5638238"/>
              <a:ext cx="46213" cy="77611"/>
            </a:xfrm>
            <a:custGeom>
              <a:avLst/>
              <a:gdLst>
                <a:gd name="T0" fmla="*/ 15 w 16"/>
                <a:gd name="T1" fmla="*/ 10 h 28"/>
                <a:gd name="T2" fmla="*/ 16 w 16"/>
                <a:gd name="T3" fmla="*/ 6 h 28"/>
                <a:gd name="T4" fmla="*/ 14 w 16"/>
                <a:gd name="T5" fmla="*/ 0 h 28"/>
                <a:gd name="T6" fmla="*/ 12 w 16"/>
                <a:gd name="T7" fmla="*/ 2 h 28"/>
                <a:gd name="T8" fmla="*/ 10 w 16"/>
                <a:gd name="T9" fmla="*/ 4 h 28"/>
                <a:gd name="T10" fmla="*/ 6 w 16"/>
                <a:gd name="T11" fmla="*/ 6 h 28"/>
                <a:gd name="T12" fmla="*/ 5 w 16"/>
                <a:gd name="T13" fmla="*/ 9 h 28"/>
                <a:gd name="T14" fmla="*/ 2 w 16"/>
                <a:gd name="T15" fmla="*/ 13 h 28"/>
                <a:gd name="T16" fmla="*/ 1 w 16"/>
                <a:gd name="T17" fmla="*/ 16 h 28"/>
                <a:gd name="T18" fmla="*/ 0 w 16"/>
                <a:gd name="T19" fmla="*/ 19 h 28"/>
                <a:gd name="T20" fmla="*/ 3 w 16"/>
                <a:gd name="T21" fmla="*/ 22 h 28"/>
                <a:gd name="T22" fmla="*/ 3 w 16"/>
                <a:gd name="T23" fmla="*/ 26 h 28"/>
                <a:gd name="T24" fmla="*/ 4 w 16"/>
                <a:gd name="T25" fmla="*/ 28 h 28"/>
                <a:gd name="T26" fmla="*/ 8 w 16"/>
                <a:gd name="T27" fmla="*/ 27 h 28"/>
                <a:gd name="T28" fmla="*/ 9 w 16"/>
                <a:gd name="T29" fmla="*/ 23 h 28"/>
                <a:gd name="T30" fmla="*/ 12 w 16"/>
                <a:gd name="T31" fmla="*/ 19 h 28"/>
                <a:gd name="T32" fmla="*/ 13 w 16"/>
                <a:gd name="T33" fmla="*/ 18 h 28"/>
                <a:gd name="T34" fmla="*/ 13 w 16"/>
                <a:gd name="T35" fmla="*/ 15 h 28"/>
                <a:gd name="T36" fmla="*/ 14 w 16"/>
                <a:gd name="T37" fmla="*/ 13 h 28"/>
                <a:gd name="T38" fmla="*/ 15 w 16"/>
                <a:gd name="T39"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 h="28">
                  <a:moveTo>
                    <a:pt x="15" y="10"/>
                  </a:moveTo>
                  <a:cubicBezTo>
                    <a:pt x="15" y="9"/>
                    <a:pt x="16" y="7"/>
                    <a:pt x="16" y="6"/>
                  </a:cubicBezTo>
                  <a:cubicBezTo>
                    <a:pt x="15" y="5"/>
                    <a:pt x="14" y="0"/>
                    <a:pt x="14" y="0"/>
                  </a:cubicBezTo>
                  <a:cubicBezTo>
                    <a:pt x="12" y="2"/>
                    <a:pt x="12" y="2"/>
                    <a:pt x="12" y="2"/>
                  </a:cubicBezTo>
                  <a:cubicBezTo>
                    <a:pt x="12" y="2"/>
                    <a:pt x="11" y="4"/>
                    <a:pt x="10" y="4"/>
                  </a:cubicBezTo>
                  <a:cubicBezTo>
                    <a:pt x="8" y="4"/>
                    <a:pt x="6" y="6"/>
                    <a:pt x="6" y="6"/>
                  </a:cubicBezTo>
                  <a:cubicBezTo>
                    <a:pt x="6" y="6"/>
                    <a:pt x="6" y="8"/>
                    <a:pt x="5" y="9"/>
                  </a:cubicBezTo>
                  <a:cubicBezTo>
                    <a:pt x="4" y="10"/>
                    <a:pt x="2" y="13"/>
                    <a:pt x="2" y="13"/>
                  </a:cubicBezTo>
                  <a:cubicBezTo>
                    <a:pt x="1" y="16"/>
                    <a:pt x="1" y="16"/>
                    <a:pt x="1" y="16"/>
                  </a:cubicBezTo>
                  <a:cubicBezTo>
                    <a:pt x="1" y="16"/>
                    <a:pt x="0" y="19"/>
                    <a:pt x="0" y="19"/>
                  </a:cubicBezTo>
                  <a:cubicBezTo>
                    <a:pt x="0" y="19"/>
                    <a:pt x="3" y="22"/>
                    <a:pt x="3" y="22"/>
                  </a:cubicBezTo>
                  <a:cubicBezTo>
                    <a:pt x="3" y="26"/>
                    <a:pt x="3" y="26"/>
                    <a:pt x="3" y="26"/>
                  </a:cubicBezTo>
                  <a:cubicBezTo>
                    <a:pt x="3" y="26"/>
                    <a:pt x="3" y="28"/>
                    <a:pt x="4" y="28"/>
                  </a:cubicBezTo>
                  <a:cubicBezTo>
                    <a:pt x="6" y="28"/>
                    <a:pt x="8" y="28"/>
                    <a:pt x="8" y="27"/>
                  </a:cubicBezTo>
                  <a:cubicBezTo>
                    <a:pt x="8" y="25"/>
                    <a:pt x="8" y="24"/>
                    <a:pt x="9" y="23"/>
                  </a:cubicBezTo>
                  <a:cubicBezTo>
                    <a:pt x="10" y="21"/>
                    <a:pt x="12" y="19"/>
                    <a:pt x="12" y="19"/>
                  </a:cubicBezTo>
                  <a:cubicBezTo>
                    <a:pt x="12" y="19"/>
                    <a:pt x="13" y="19"/>
                    <a:pt x="13" y="18"/>
                  </a:cubicBezTo>
                  <a:cubicBezTo>
                    <a:pt x="14" y="18"/>
                    <a:pt x="13" y="15"/>
                    <a:pt x="13" y="15"/>
                  </a:cubicBezTo>
                  <a:cubicBezTo>
                    <a:pt x="13" y="15"/>
                    <a:pt x="12" y="15"/>
                    <a:pt x="14" y="13"/>
                  </a:cubicBezTo>
                  <a:cubicBezTo>
                    <a:pt x="15" y="10"/>
                    <a:pt x="15" y="10"/>
                    <a:pt x="15" y="10"/>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3" name="Freeform 190"/>
            <p:cNvSpPr>
              <a:spLocks/>
            </p:cNvSpPr>
            <p:nvPr/>
          </p:nvSpPr>
          <p:spPr bwMode="auto">
            <a:xfrm>
              <a:off x="7248817" y="5786652"/>
              <a:ext cx="25995" cy="19062"/>
            </a:xfrm>
            <a:custGeom>
              <a:avLst/>
              <a:gdLst>
                <a:gd name="T0" fmla="*/ 5 w 9"/>
                <a:gd name="T1" fmla="*/ 0 h 7"/>
                <a:gd name="T2" fmla="*/ 1 w 9"/>
                <a:gd name="T3" fmla="*/ 3 h 7"/>
                <a:gd name="T4" fmla="*/ 0 w 9"/>
                <a:gd name="T5" fmla="*/ 6 h 7"/>
                <a:gd name="T6" fmla="*/ 2 w 9"/>
                <a:gd name="T7" fmla="*/ 6 h 7"/>
                <a:gd name="T8" fmla="*/ 4 w 9"/>
                <a:gd name="T9" fmla="*/ 5 h 7"/>
                <a:gd name="T10" fmla="*/ 8 w 9"/>
                <a:gd name="T11" fmla="*/ 2 h 7"/>
                <a:gd name="T12" fmla="*/ 5 w 9"/>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9" h="7">
                  <a:moveTo>
                    <a:pt x="5" y="0"/>
                  </a:moveTo>
                  <a:cubicBezTo>
                    <a:pt x="1" y="3"/>
                    <a:pt x="1" y="3"/>
                    <a:pt x="1" y="3"/>
                  </a:cubicBezTo>
                  <a:cubicBezTo>
                    <a:pt x="1" y="3"/>
                    <a:pt x="0" y="6"/>
                    <a:pt x="0" y="6"/>
                  </a:cubicBezTo>
                  <a:cubicBezTo>
                    <a:pt x="1" y="7"/>
                    <a:pt x="1" y="6"/>
                    <a:pt x="2" y="6"/>
                  </a:cubicBezTo>
                  <a:cubicBezTo>
                    <a:pt x="3" y="6"/>
                    <a:pt x="3" y="6"/>
                    <a:pt x="4" y="5"/>
                  </a:cubicBezTo>
                  <a:cubicBezTo>
                    <a:pt x="5" y="4"/>
                    <a:pt x="7" y="3"/>
                    <a:pt x="8" y="2"/>
                  </a:cubicBezTo>
                  <a:cubicBezTo>
                    <a:pt x="9" y="2"/>
                    <a:pt x="5" y="0"/>
                    <a:pt x="5" y="0"/>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4" name="Freeform 191"/>
            <p:cNvSpPr>
              <a:spLocks/>
            </p:cNvSpPr>
            <p:nvPr/>
          </p:nvSpPr>
          <p:spPr bwMode="auto">
            <a:xfrm>
              <a:off x="6817017" y="5417659"/>
              <a:ext cx="17330" cy="10893"/>
            </a:xfrm>
            <a:custGeom>
              <a:avLst/>
              <a:gdLst>
                <a:gd name="T0" fmla="*/ 0 w 6"/>
                <a:gd name="T1" fmla="*/ 0 h 4"/>
                <a:gd name="T2" fmla="*/ 0 w 6"/>
                <a:gd name="T3" fmla="*/ 2 h 4"/>
                <a:gd name="T4" fmla="*/ 4 w 6"/>
                <a:gd name="T5" fmla="*/ 3 h 4"/>
                <a:gd name="T6" fmla="*/ 5 w 6"/>
                <a:gd name="T7" fmla="*/ 2 h 4"/>
                <a:gd name="T8" fmla="*/ 3 w 6"/>
                <a:gd name="T9" fmla="*/ 0 h 4"/>
                <a:gd name="T10" fmla="*/ 0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0" y="0"/>
                  </a:moveTo>
                  <a:cubicBezTo>
                    <a:pt x="0" y="2"/>
                    <a:pt x="0" y="2"/>
                    <a:pt x="0" y="2"/>
                  </a:cubicBezTo>
                  <a:cubicBezTo>
                    <a:pt x="0" y="2"/>
                    <a:pt x="2" y="3"/>
                    <a:pt x="4" y="3"/>
                  </a:cubicBezTo>
                  <a:cubicBezTo>
                    <a:pt x="6" y="4"/>
                    <a:pt x="5" y="2"/>
                    <a:pt x="5" y="2"/>
                  </a:cubicBezTo>
                  <a:cubicBezTo>
                    <a:pt x="3" y="0"/>
                    <a:pt x="3" y="0"/>
                    <a:pt x="3" y="0"/>
                  </a:cubicBezTo>
                  <a:cubicBezTo>
                    <a:pt x="3" y="0"/>
                    <a:pt x="0" y="0"/>
                    <a:pt x="0" y="0"/>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5" name="Freeform 192"/>
            <p:cNvSpPr>
              <a:spLocks/>
            </p:cNvSpPr>
            <p:nvPr/>
          </p:nvSpPr>
          <p:spPr bwMode="auto">
            <a:xfrm>
              <a:off x="7208380" y="5608283"/>
              <a:ext cx="51989" cy="38125"/>
            </a:xfrm>
            <a:custGeom>
              <a:avLst/>
              <a:gdLst>
                <a:gd name="T0" fmla="*/ 15 w 18"/>
                <a:gd name="T1" fmla="*/ 0 h 14"/>
                <a:gd name="T2" fmla="*/ 11 w 18"/>
                <a:gd name="T3" fmla="*/ 1 h 14"/>
                <a:gd name="T4" fmla="*/ 8 w 18"/>
                <a:gd name="T5" fmla="*/ 3 h 14"/>
                <a:gd name="T6" fmla="*/ 6 w 18"/>
                <a:gd name="T7" fmla="*/ 7 h 14"/>
                <a:gd name="T8" fmla="*/ 4 w 18"/>
                <a:gd name="T9" fmla="*/ 7 h 14"/>
                <a:gd name="T10" fmla="*/ 0 w 18"/>
                <a:gd name="T11" fmla="*/ 7 h 14"/>
                <a:gd name="T12" fmla="*/ 0 w 18"/>
                <a:gd name="T13" fmla="*/ 11 h 14"/>
                <a:gd name="T14" fmla="*/ 3 w 18"/>
                <a:gd name="T15" fmla="*/ 13 h 14"/>
                <a:gd name="T16" fmla="*/ 4 w 18"/>
                <a:gd name="T17" fmla="*/ 13 h 14"/>
                <a:gd name="T18" fmla="*/ 3 w 18"/>
                <a:gd name="T19" fmla="*/ 10 h 14"/>
                <a:gd name="T20" fmla="*/ 6 w 18"/>
                <a:gd name="T21" fmla="*/ 8 h 14"/>
                <a:gd name="T22" fmla="*/ 9 w 18"/>
                <a:gd name="T23" fmla="*/ 7 h 14"/>
                <a:gd name="T24" fmla="*/ 12 w 18"/>
                <a:gd name="T25" fmla="*/ 4 h 14"/>
                <a:gd name="T26" fmla="*/ 16 w 18"/>
                <a:gd name="T27" fmla="*/ 2 h 14"/>
                <a:gd name="T28" fmla="*/ 15 w 18"/>
                <a:gd name="T2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14">
                  <a:moveTo>
                    <a:pt x="15" y="0"/>
                  </a:moveTo>
                  <a:cubicBezTo>
                    <a:pt x="15" y="0"/>
                    <a:pt x="12" y="1"/>
                    <a:pt x="11" y="1"/>
                  </a:cubicBezTo>
                  <a:cubicBezTo>
                    <a:pt x="10" y="1"/>
                    <a:pt x="8" y="3"/>
                    <a:pt x="8" y="3"/>
                  </a:cubicBezTo>
                  <a:cubicBezTo>
                    <a:pt x="6" y="7"/>
                    <a:pt x="6" y="7"/>
                    <a:pt x="6" y="7"/>
                  </a:cubicBezTo>
                  <a:cubicBezTo>
                    <a:pt x="4" y="7"/>
                    <a:pt x="4" y="7"/>
                    <a:pt x="4" y="7"/>
                  </a:cubicBezTo>
                  <a:cubicBezTo>
                    <a:pt x="0" y="7"/>
                    <a:pt x="0" y="7"/>
                    <a:pt x="0" y="7"/>
                  </a:cubicBezTo>
                  <a:cubicBezTo>
                    <a:pt x="0" y="11"/>
                    <a:pt x="0" y="11"/>
                    <a:pt x="0" y="11"/>
                  </a:cubicBezTo>
                  <a:cubicBezTo>
                    <a:pt x="0" y="11"/>
                    <a:pt x="2" y="13"/>
                    <a:pt x="3" y="13"/>
                  </a:cubicBezTo>
                  <a:cubicBezTo>
                    <a:pt x="3" y="14"/>
                    <a:pt x="4" y="13"/>
                    <a:pt x="4" y="13"/>
                  </a:cubicBezTo>
                  <a:cubicBezTo>
                    <a:pt x="3" y="10"/>
                    <a:pt x="3" y="10"/>
                    <a:pt x="3" y="10"/>
                  </a:cubicBezTo>
                  <a:cubicBezTo>
                    <a:pt x="6" y="8"/>
                    <a:pt x="6" y="8"/>
                    <a:pt x="6" y="8"/>
                  </a:cubicBezTo>
                  <a:cubicBezTo>
                    <a:pt x="9" y="7"/>
                    <a:pt x="9" y="7"/>
                    <a:pt x="9" y="7"/>
                  </a:cubicBezTo>
                  <a:cubicBezTo>
                    <a:pt x="9" y="7"/>
                    <a:pt x="11" y="5"/>
                    <a:pt x="12" y="4"/>
                  </a:cubicBezTo>
                  <a:cubicBezTo>
                    <a:pt x="12" y="4"/>
                    <a:pt x="15" y="3"/>
                    <a:pt x="16" y="2"/>
                  </a:cubicBezTo>
                  <a:cubicBezTo>
                    <a:pt x="18" y="1"/>
                    <a:pt x="15" y="0"/>
                    <a:pt x="15" y="0"/>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6" name="Freeform 193"/>
            <p:cNvSpPr>
              <a:spLocks/>
            </p:cNvSpPr>
            <p:nvPr/>
          </p:nvSpPr>
          <p:spPr bwMode="auto">
            <a:xfrm>
              <a:off x="7269035" y="5737635"/>
              <a:ext cx="17330" cy="51741"/>
            </a:xfrm>
            <a:custGeom>
              <a:avLst/>
              <a:gdLst>
                <a:gd name="T0" fmla="*/ 2 w 6"/>
                <a:gd name="T1" fmla="*/ 9 h 19"/>
                <a:gd name="T2" fmla="*/ 3 w 6"/>
                <a:gd name="T3" fmla="*/ 4 h 19"/>
                <a:gd name="T4" fmla="*/ 4 w 6"/>
                <a:gd name="T5" fmla="*/ 0 h 19"/>
                <a:gd name="T6" fmla="*/ 1 w 6"/>
                <a:gd name="T7" fmla="*/ 0 h 19"/>
                <a:gd name="T8" fmla="*/ 1 w 6"/>
                <a:gd name="T9" fmla="*/ 6 h 19"/>
                <a:gd name="T10" fmla="*/ 0 w 6"/>
                <a:gd name="T11" fmla="*/ 11 h 19"/>
                <a:gd name="T12" fmla="*/ 1 w 6"/>
                <a:gd name="T13" fmla="*/ 12 h 19"/>
                <a:gd name="T14" fmla="*/ 1 w 6"/>
                <a:gd name="T15" fmla="*/ 15 h 19"/>
                <a:gd name="T16" fmla="*/ 4 w 6"/>
                <a:gd name="T17" fmla="*/ 19 h 19"/>
                <a:gd name="T18" fmla="*/ 5 w 6"/>
                <a:gd name="T19" fmla="*/ 16 h 19"/>
                <a:gd name="T20" fmla="*/ 6 w 6"/>
                <a:gd name="T21" fmla="*/ 14 h 19"/>
                <a:gd name="T22" fmla="*/ 5 w 6"/>
                <a:gd name="T23" fmla="*/ 10 h 19"/>
                <a:gd name="T24" fmla="*/ 2 w 6"/>
                <a:gd name="T25"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19">
                  <a:moveTo>
                    <a:pt x="2" y="9"/>
                  </a:moveTo>
                  <a:cubicBezTo>
                    <a:pt x="2" y="9"/>
                    <a:pt x="3" y="5"/>
                    <a:pt x="3" y="4"/>
                  </a:cubicBezTo>
                  <a:cubicBezTo>
                    <a:pt x="3" y="3"/>
                    <a:pt x="4" y="1"/>
                    <a:pt x="4" y="0"/>
                  </a:cubicBezTo>
                  <a:cubicBezTo>
                    <a:pt x="4" y="0"/>
                    <a:pt x="1" y="0"/>
                    <a:pt x="1" y="0"/>
                  </a:cubicBezTo>
                  <a:cubicBezTo>
                    <a:pt x="1" y="0"/>
                    <a:pt x="1" y="5"/>
                    <a:pt x="1" y="6"/>
                  </a:cubicBezTo>
                  <a:cubicBezTo>
                    <a:pt x="1" y="7"/>
                    <a:pt x="0" y="11"/>
                    <a:pt x="0" y="11"/>
                  </a:cubicBezTo>
                  <a:cubicBezTo>
                    <a:pt x="0" y="12"/>
                    <a:pt x="1" y="12"/>
                    <a:pt x="1" y="12"/>
                  </a:cubicBezTo>
                  <a:cubicBezTo>
                    <a:pt x="1" y="12"/>
                    <a:pt x="1" y="14"/>
                    <a:pt x="1" y="15"/>
                  </a:cubicBezTo>
                  <a:cubicBezTo>
                    <a:pt x="1" y="16"/>
                    <a:pt x="3" y="18"/>
                    <a:pt x="4" y="19"/>
                  </a:cubicBezTo>
                  <a:cubicBezTo>
                    <a:pt x="5" y="16"/>
                    <a:pt x="5" y="16"/>
                    <a:pt x="5" y="16"/>
                  </a:cubicBezTo>
                  <a:cubicBezTo>
                    <a:pt x="6" y="14"/>
                    <a:pt x="6" y="14"/>
                    <a:pt x="6" y="14"/>
                  </a:cubicBezTo>
                  <a:cubicBezTo>
                    <a:pt x="6" y="14"/>
                    <a:pt x="6" y="11"/>
                    <a:pt x="5" y="10"/>
                  </a:cubicBezTo>
                  <a:cubicBezTo>
                    <a:pt x="3" y="9"/>
                    <a:pt x="2" y="10"/>
                    <a:pt x="2" y="9"/>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7" name="Freeform 194"/>
            <p:cNvSpPr>
              <a:spLocks/>
            </p:cNvSpPr>
            <p:nvPr/>
          </p:nvSpPr>
          <p:spPr bwMode="auto">
            <a:xfrm>
              <a:off x="6510858" y="5548372"/>
              <a:ext cx="54878" cy="49018"/>
            </a:xfrm>
            <a:custGeom>
              <a:avLst/>
              <a:gdLst>
                <a:gd name="T0" fmla="*/ 18 w 19"/>
                <a:gd name="T1" fmla="*/ 17 h 18"/>
                <a:gd name="T2" fmla="*/ 17 w 19"/>
                <a:gd name="T3" fmla="*/ 14 h 18"/>
                <a:gd name="T4" fmla="*/ 14 w 19"/>
                <a:gd name="T5" fmla="*/ 12 h 18"/>
                <a:gd name="T6" fmla="*/ 13 w 19"/>
                <a:gd name="T7" fmla="*/ 10 h 18"/>
                <a:gd name="T8" fmla="*/ 10 w 19"/>
                <a:gd name="T9" fmla="*/ 9 h 18"/>
                <a:gd name="T10" fmla="*/ 9 w 19"/>
                <a:gd name="T11" fmla="*/ 7 h 18"/>
                <a:gd name="T12" fmla="*/ 10 w 19"/>
                <a:gd name="T13" fmla="*/ 6 h 18"/>
                <a:gd name="T14" fmla="*/ 12 w 19"/>
                <a:gd name="T15" fmla="*/ 7 h 18"/>
                <a:gd name="T16" fmla="*/ 14 w 19"/>
                <a:gd name="T17" fmla="*/ 6 h 18"/>
                <a:gd name="T18" fmla="*/ 14 w 19"/>
                <a:gd name="T19" fmla="*/ 5 h 18"/>
                <a:gd name="T20" fmla="*/ 11 w 19"/>
                <a:gd name="T21" fmla="*/ 4 h 18"/>
                <a:gd name="T22" fmla="*/ 12 w 19"/>
                <a:gd name="T23" fmla="*/ 1 h 18"/>
                <a:gd name="T24" fmla="*/ 10 w 19"/>
                <a:gd name="T25" fmla="*/ 0 h 18"/>
                <a:gd name="T26" fmla="*/ 8 w 19"/>
                <a:gd name="T27" fmla="*/ 2 h 18"/>
                <a:gd name="T28" fmla="*/ 7 w 19"/>
                <a:gd name="T29" fmla="*/ 1 h 18"/>
                <a:gd name="T30" fmla="*/ 6 w 19"/>
                <a:gd name="T31" fmla="*/ 3 h 18"/>
                <a:gd name="T32" fmla="*/ 6 w 19"/>
                <a:gd name="T33" fmla="*/ 6 h 18"/>
                <a:gd name="T34" fmla="*/ 4 w 19"/>
                <a:gd name="T35" fmla="*/ 10 h 18"/>
                <a:gd name="T36" fmla="*/ 2 w 19"/>
                <a:gd name="T37" fmla="*/ 7 h 18"/>
                <a:gd name="T38" fmla="*/ 1 w 19"/>
                <a:gd name="T39" fmla="*/ 10 h 18"/>
                <a:gd name="T40" fmla="*/ 0 w 19"/>
                <a:gd name="T41" fmla="*/ 13 h 18"/>
                <a:gd name="T42" fmla="*/ 2 w 19"/>
                <a:gd name="T43" fmla="*/ 15 h 18"/>
                <a:gd name="T44" fmla="*/ 3 w 19"/>
                <a:gd name="T45" fmla="*/ 15 h 18"/>
                <a:gd name="T46" fmla="*/ 4 w 19"/>
                <a:gd name="T47" fmla="*/ 13 h 18"/>
                <a:gd name="T48" fmla="*/ 6 w 19"/>
                <a:gd name="T49" fmla="*/ 15 h 18"/>
                <a:gd name="T50" fmla="*/ 8 w 19"/>
                <a:gd name="T51" fmla="*/ 18 h 18"/>
                <a:gd name="T52" fmla="*/ 10 w 19"/>
                <a:gd name="T53" fmla="*/ 16 h 18"/>
                <a:gd name="T54" fmla="*/ 14 w 19"/>
                <a:gd name="T55" fmla="*/ 18 h 18"/>
                <a:gd name="T56" fmla="*/ 18 w 19"/>
                <a:gd name="T57"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 h="18">
                  <a:moveTo>
                    <a:pt x="18" y="17"/>
                  </a:moveTo>
                  <a:cubicBezTo>
                    <a:pt x="19" y="16"/>
                    <a:pt x="17" y="14"/>
                    <a:pt x="17" y="14"/>
                  </a:cubicBezTo>
                  <a:cubicBezTo>
                    <a:pt x="14" y="12"/>
                    <a:pt x="14" y="12"/>
                    <a:pt x="14" y="12"/>
                  </a:cubicBezTo>
                  <a:cubicBezTo>
                    <a:pt x="13" y="10"/>
                    <a:pt x="13" y="10"/>
                    <a:pt x="13" y="10"/>
                  </a:cubicBezTo>
                  <a:cubicBezTo>
                    <a:pt x="10" y="9"/>
                    <a:pt x="10" y="9"/>
                    <a:pt x="10" y="9"/>
                  </a:cubicBezTo>
                  <a:cubicBezTo>
                    <a:pt x="9" y="7"/>
                    <a:pt x="9" y="7"/>
                    <a:pt x="9" y="7"/>
                  </a:cubicBezTo>
                  <a:cubicBezTo>
                    <a:pt x="10" y="6"/>
                    <a:pt x="10" y="6"/>
                    <a:pt x="10" y="6"/>
                  </a:cubicBezTo>
                  <a:cubicBezTo>
                    <a:pt x="10" y="6"/>
                    <a:pt x="10" y="7"/>
                    <a:pt x="12" y="7"/>
                  </a:cubicBezTo>
                  <a:cubicBezTo>
                    <a:pt x="14" y="7"/>
                    <a:pt x="13" y="7"/>
                    <a:pt x="14" y="6"/>
                  </a:cubicBezTo>
                  <a:cubicBezTo>
                    <a:pt x="14" y="6"/>
                    <a:pt x="14" y="5"/>
                    <a:pt x="14" y="5"/>
                  </a:cubicBezTo>
                  <a:cubicBezTo>
                    <a:pt x="11" y="4"/>
                    <a:pt x="11" y="4"/>
                    <a:pt x="11" y="4"/>
                  </a:cubicBezTo>
                  <a:cubicBezTo>
                    <a:pt x="12" y="1"/>
                    <a:pt x="12" y="1"/>
                    <a:pt x="12" y="1"/>
                  </a:cubicBezTo>
                  <a:cubicBezTo>
                    <a:pt x="10" y="0"/>
                    <a:pt x="10" y="0"/>
                    <a:pt x="10" y="0"/>
                  </a:cubicBezTo>
                  <a:cubicBezTo>
                    <a:pt x="8" y="2"/>
                    <a:pt x="8" y="2"/>
                    <a:pt x="8" y="2"/>
                  </a:cubicBezTo>
                  <a:cubicBezTo>
                    <a:pt x="7" y="1"/>
                    <a:pt x="7" y="1"/>
                    <a:pt x="7" y="1"/>
                  </a:cubicBezTo>
                  <a:cubicBezTo>
                    <a:pt x="7" y="1"/>
                    <a:pt x="6" y="3"/>
                    <a:pt x="6" y="3"/>
                  </a:cubicBezTo>
                  <a:cubicBezTo>
                    <a:pt x="6" y="3"/>
                    <a:pt x="6" y="6"/>
                    <a:pt x="6" y="6"/>
                  </a:cubicBezTo>
                  <a:cubicBezTo>
                    <a:pt x="4" y="10"/>
                    <a:pt x="4" y="10"/>
                    <a:pt x="4" y="10"/>
                  </a:cubicBezTo>
                  <a:cubicBezTo>
                    <a:pt x="2" y="7"/>
                    <a:pt x="2" y="7"/>
                    <a:pt x="2" y="7"/>
                  </a:cubicBezTo>
                  <a:cubicBezTo>
                    <a:pt x="1" y="10"/>
                    <a:pt x="1" y="10"/>
                    <a:pt x="1" y="10"/>
                  </a:cubicBezTo>
                  <a:cubicBezTo>
                    <a:pt x="0" y="13"/>
                    <a:pt x="0" y="13"/>
                    <a:pt x="0" y="13"/>
                  </a:cubicBezTo>
                  <a:cubicBezTo>
                    <a:pt x="2" y="15"/>
                    <a:pt x="2" y="15"/>
                    <a:pt x="2" y="15"/>
                  </a:cubicBezTo>
                  <a:cubicBezTo>
                    <a:pt x="3" y="15"/>
                    <a:pt x="3" y="15"/>
                    <a:pt x="3" y="15"/>
                  </a:cubicBezTo>
                  <a:cubicBezTo>
                    <a:pt x="4" y="13"/>
                    <a:pt x="4" y="13"/>
                    <a:pt x="4" y="13"/>
                  </a:cubicBezTo>
                  <a:cubicBezTo>
                    <a:pt x="6" y="15"/>
                    <a:pt x="6" y="15"/>
                    <a:pt x="6" y="15"/>
                  </a:cubicBezTo>
                  <a:cubicBezTo>
                    <a:pt x="8" y="18"/>
                    <a:pt x="8" y="18"/>
                    <a:pt x="8" y="18"/>
                  </a:cubicBezTo>
                  <a:cubicBezTo>
                    <a:pt x="8" y="18"/>
                    <a:pt x="9" y="16"/>
                    <a:pt x="10" y="16"/>
                  </a:cubicBezTo>
                  <a:cubicBezTo>
                    <a:pt x="11" y="16"/>
                    <a:pt x="14" y="18"/>
                    <a:pt x="14" y="18"/>
                  </a:cubicBezTo>
                  <a:cubicBezTo>
                    <a:pt x="14" y="18"/>
                    <a:pt x="17" y="17"/>
                    <a:pt x="18" y="17"/>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8" name="Freeform 195"/>
            <p:cNvSpPr>
              <a:spLocks/>
            </p:cNvSpPr>
            <p:nvPr/>
          </p:nvSpPr>
          <p:spPr bwMode="auto">
            <a:xfrm>
              <a:off x="6412656" y="5401320"/>
              <a:ext cx="54878" cy="54464"/>
            </a:xfrm>
            <a:custGeom>
              <a:avLst/>
              <a:gdLst>
                <a:gd name="T0" fmla="*/ 15 w 19"/>
                <a:gd name="T1" fmla="*/ 15 h 20"/>
                <a:gd name="T2" fmla="*/ 12 w 19"/>
                <a:gd name="T3" fmla="*/ 14 h 20"/>
                <a:gd name="T4" fmla="*/ 10 w 19"/>
                <a:gd name="T5" fmla="*/ 13 h 20"/>
                <a:gd name="T6" fmla="*/ 8 w 19"/>
                <a:gd name="T7" fmla="*/ 7 h 20"/>
                <a:gd name="T8" fmla="*/ 8 w 19"/>
                <a:gd name="T9" fmla="*/ 6 h 20"/>
                <a:gd name="T10" fmla="*/ 7 w 19"/>
                <a:gd name="T11" fmla="*/ 6 h 20"/>
                <a:gd name="T12" fmla="*/ 7 w 19"/>
                <a:gd name="T13" fmla="*/ 3 h 20"/>
                <a:gd name="T14" fmla="*/ 6 w 19"/>
                <a:gd name="T15" fmla="*/ 2 h 20"/>
                <a:gd name="T16" fmla="*/ 6 w 19"/>
                <a:gd name="T17" fmla="*/ 2 h 20"/>
                <a:gd name="T18" fmla="*/ 5 w 19"/>
                <a:gd name="T19" fmla="*/ 0 h 20"/>
                <a:gd name="T20" fmla="*/ 2 w 19"/>
                <a:gd name="T21" fmla="*/ 1 h 20"/>
                <a:gd name="T22" fmla="*/ 1 w 19"/>
                <a:gd name="T23" fmla="*/ 3 h 20"/>
                <a:gd name="T24" fmla="*/ 0 w 19"/>
                <a:gd name="T25" fmla="*/ 7 h 20"/>
                <a:gd name="T26" fmla="*/ 5 w 19"/>
                <a:gd name="T27" fmla="*/ 9 h 20"/>
                <a:gd name="T28" fmla="*/ 7 w 19"/>
                <a:gd name="T29" fmla="*/ 10 h 20"/>
                <a:gd name="T30" fmla="*/ 8 w 19"/>
                <a:gd name="T31" fmla="*/ 15 h 20"/>
                <a:gd name="T32" fmla="*/ 11 w 19"/>
                <a:gd name="T33" fmla="*/ 16 h 20"/>
                <a:gd name="T34" fmla="*/ 17 w 19"/>
                <a:gd name="T35" fmla="*/ 19 h 20"/>
                <a:gd name="T36" fmla="*/ 18 w 19"/>
                <a:gd name="T37" fmla="*/ 18 h 20"/>
                <a:gd name="T38" fmla="*/ 15 w 19"/>
                <a:gd name="T39" fmla="*/ 15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 h="20">
                  <a:moveTo>
                    <a:pt x="15" y="15"/>
                  </a:moveTo>
                  <a:cubicBezTo>
                    <a:pt x="12" y="14"/>
                    <a:pt x="12" y="14"/>
                    <a:pt x="12" y="14"/>
                  </a:cubicBezTo>
                  <a:cubicBezTo>
                    <a:pt x="10" y="13"/>
                    <a:pt x="10" y="13"/>
                    <a:pt x="10" y="13"/>
                  </a:cubicBezTo>
                  <a:cubicBezTo>
                    <a:pt x="10" y="13"/>
                    <a:pt x="9" y="8"/>
                    <a:pt x="8" y="7"/>
                  </a:cubicBezTo>
                  <a:cubicBezTo>
                    <a:pt x="8" y="7"/>
                    <a:pt x="8" y="6"/>
                    <a:pt x="8" y="6"/>
                  </a:cubicBezTo>
                  <a:cubicBezTo>
                    <a:pt x="7" y="6"/>
                    <a:pt x="7" y="6"/>
                    <a:pt x="7" y="6"/>
                  </a:cubicBezTo>
                  <a:cubicBezTo>
                    <a:pt x="7" y="3"/>
                    <a:pt x="7" y="3"/>
                    <a:pt x="7" y="3"/>
                  </a:cubicBezTo>
                  <a:cubicBezTo>
                    <a:pt x="7" y="3"/>
                    <a:pt x="6" y="2"/>
                    <a:pt x="6" y="2"/>
                  </a:cubicBezTo>
                  <a:cubicBezTo>
                    <a:pt x="6" y="2"/>
                    <a:pt x="6" y="2"/>
                    <a:pt x="6" y="2"/>
                  </a:cubicBezTo>
                  <a:cubicBezTo>
                    <a:pt x="6" y="1"/>
                    <a:pt x="5" y="1"/>
                    <a:pt x="5" y="0"/>
                  </a:cubicBezTo>
                  <a:cubicBezTo>
                    <a:pt x="5" y="1"/>
                    <a:pt x="3" y="1"/>
                    <a:pt x="2" y="1"/>
                  </a:cubicBezTo>
                  <a:cubicBezTo>
                    <a:pt x="1" y="2"/>
                    <a:pt x="1" y="3"/>
                    <a:pt x="1" y="3"/>
                  </a:cubicBezTo>
                  <a:cubicBezTo>
                    <a:pt x="0" y="4"/>
                    <a:pt x="0" y="7"/>
                    <a:pt x="0" y="7"/>
                  </a:cubicBezTo>
                  <a:cubicBezTo>
                    <a:pt x="5" y="9"/>
                    <a:pt x="5" y="9"/>
                    <a:pt x="5" y="9"/>
                  </a:cubicBezTo>
                  <a:cubicBezTo>
                    <a:pt x="5" y="9"/>
                    <a:pt x="7" y="10"/>
                    <a:pt x="7" y="10"/>
                  </a:cubicBezTo>
                  <a:cubicBezTo>
                    <a:pt x="7" y="11"/>
                    <a:pt x="8" y="15"/>
                    <a:pt x="8" y="15"/>
                  </a:cubicBezTo>
                  <a:cubicBezTo>
                    <a:pt x="8" y="15"/>
                    <a:pt x="10" y="16"/>
                    <a:pt x="11" y="16"/>
                  </a:cubicBezTo>
                  <a:cubicBezTo>
                    <a:pt x="12" y="17"/>
                    <a:pt x="14" y="19"/>
                    <a:pt x="17" y="19"/>
                  </a:cubicBezTo>
                  <a:cubicBezTo>
                    <a:pt x="19" y="20"/>
                    <a:pt x="18" y="18"/>
                    <a:pt x="18" y="18"/>
                  </a:cubicBezTo>
                  <a:lnTo>
                    <a:pt x="15" y="15"/>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9" name="Freeform 196"/>
            <p:cNvSpPr>
              <a:spLocks/>
            </p:cNvSpPr>
            <p:nvPr/>
          </p:nvSpPr>
          <p:spPr bwMode="auto">
            <a:xfrm>
              <a:off x="7023530" y="5338686"/>
              <a:ext cx="89537" cy="46294"/>
            </a:xfrm>
            <a:custGeom>
              <a:avLst/>
              <a:gdLst>
                <a:gd name="T0" fmla="*/ 4 w 31"/>
                <a:gd name="T1" fmla="*/ 8 h 17"/>
                <a:gd name="T2" fmla="*/ 1 w 31"/>
                <a:gd name="T3" fmla="*/ 10 h 17"/>
                <a:gd name="T4" fmla="*/ 2 w 31"/>
                <a:gd name="T5" fmla="*/ 12 h 17"/>
                <a:gd name="T6" fmla="*/ 6 w 31"/>
                <a:gd name="T7" fmla="*/ 14 h 17"/>
                <a:gd name="T8" fmla="*/ 7 w 31"/>
                <a:gd name="T9" fmla="*/ 14 h 17"/>
                <a:gd name="T10" fmla="*/ 9 w 31"/>
                <a:gd name="T11" fmla="*/ 15 h 17"/>
                <a:gd name="T12" fmla="*/ 12 w 31"/>
                <a:gd name="T13" fmla="*/ 13 h 17"/>
                <a:gd name="T14" fmla="*/ 13 w 31"/>
                <a:gd name="T15" fmla="*/ 11 h 17"/>
                <a:gd name="T16" fmla="*/ 15 w 31"/>
                <a:gd name="T17" fmla="*/ 9 h 17"/>
                <a:gd name="T18" fmla="*/ 17 w 31"/>
                <a:gd name="T19" fmla="*/ 8 h 17"/>
                <a:gd name="T20" fmla="*/ 17 w 31"/>
                <a:gd name="T21" fmla="*/ 11 h 17"/>
                <a:gd name="T22" fmla="*/ 16 w 31"/>
                <a:gd name="T23" fmla="*/ 13 h 17"/>
                <a:gd name="T24" fmla="*/ 15 w 31"/>
                <a:gd name="T25" fmla="*/ 14 h 17"/>
                <a:gd name="T26" fmla="*/ 13 w 31"/>
                <a:gd name="T27" fmla="*/ 16 h 17"/>
                <a:gd name="T28" fmla="*/ 15 w 31"/>
                <a:gd name="T29" fmla="*/ 17 h 17"/>
                <a:gd name="T30" fmla="*/ 17 w 31"/>
                <a:gd name="T31" fmla="*/ 17 h 17"/>
                <a:gd name="T32" fmla="*/ 20 w 31"/>
                <a:gd name="T33" fmla="*/ 17 h 17"/>
                <a:gd name="T34" fmla="*/ 26 w 31"/>
                <a:gd name="T35" fmla="*/ 17 h 17"/>
                <a:gd name="T36" fmla="*/ 28 w 31"/>
                <a:gd name="T37" fmla="*/ 16 h 17"/>
                <a:gd name="T38" fmla="*/ 27 w 31"/>
                <a:gd name="T39" fmla="*/ 14 h 17"/>
                <a:gd name="T40" fmla="*/ 24 w 31"/>
                <a:gd name="T41" fmla="*/ 12 h 17"/>
                <a:gd name="T42" fmla="*/ 25 w 31"/>
                <a:gd name="T43" fmla="*/ 11 h 17"/>
                <a:gd name="T44" fmla="*/ 28 w 31"/>
                <a:gd name="T45" fmla="*/ 14 h 17"/>
                <a:gd name="T46" fmla="*/ 30 w 31"/>
                <a:gd name="T47" fmla="*/ 13 h 17"/>
                <a:gd name="T48" fmla="*/ 29 w 31"/>
                <a:gd name="T49" fmla="*/ 9 h 17"/>
                <a:gd name="T50" fmla="*/ 25 w 31"/>
                <a:gd name="T51" fmla="*/ 8 h 17"/>
                <a:gd name="T52" fmla="*/ 23 w 31"/>
                <a:gd name="T53" fmla="*/ 6 h 17"/>
                <a:gd name="T54" fmla="*/ 20 w 31"/>
                <a:gd name="T55" fmla="*/ 4 h 17"/>
                <a:gd name="T56" fmla="*/ 21 w 31"/>
                <a:gd name="T57" fmla="*/ 1 h 17"/>
                <a:gd name="T58" fmla="*/ 17 w 31"/>
                <a:gd name="T59" fmla="*/ 0 h 17"/>
                <a:gd name="T60" fmla="*/ 13 w 31"/>
                <a:gd name="T61" fmla="*/ 1 h 17"/>
                <a:gd name="T62" fmla="*/ 12 w 31"/>
                <a:gd name="T63" fmla="*/ 2 h 17"/>
                <a:gd name="T64" fmla="*/ 12 w 31"/>
                <a:gd name="T65" fmla="*/ 4 h 17"/>
                <a:gd name="T66" fmla="*/ 10 w 31"/>
                <a:gd name="T67" fmla="*/ 5 h 17"/>
                <a:gd name="T68" fmla="*/ 9 w 31"/>
                <a:gd name="T69" fmla="*/ 7 h 17"/>
                <a:gd name="T70" fmla="*/ 6 w 31"/>
                <a:gd name="T71" fmla="*/ 8 h 17"/>
                <a:gd name="T72" fmla="*/ 4 w 31"/>
                <a:gd name="T73"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17">
                  <a:moveTo>
                    <a:pt x="4" y="8"/>
                  </a:moveTo>
                  <a:cubicBezTo>
                    <a:pt x="3" y="9"/>
                    <a:pt x="1" y="10"/>
                    <a:pt x="1" y="10"/>
                  </a:cubicBezTo>
                  <a:cubicBezTo>
                    <a:pt x="1" y="10"/>
                    <a:pt x="0" y="11"/>
                    <a:pt x="2" y="12"/>
                  </a:cubicBezTo>
                  <a:cubicBezTo>
                    <a:pt x="3" y="13"/>
                    <a:pt x="5" y="13"/>
                    <a:pt x="6" y="14"/>
                  </a:cubicBezTo>
                  <a:cubicBezTo>
                    <a:pt x="6" y="14"/>
                    <a:pt x="6" y="14"/>
                    <a:pt x="7" y="14"/>
                  </a:cubicBezTo>
                  <a:cubicBezTo>
                    <a:pt x="8" y="15"/>
                    <a:pt x="8" y="15"/>
                    <a:pt x="9" y="15"/>
                  </a:cubicBezTo>
                  <a:cubicBezTo>
                    <a:pt x="10" y="14"/>
                    <a:pt x="11" y="14"/>
                    <a:pt x="12" y="13"/>
                  </a:cubicBezTo>
                  <a:cubicBezTo>
                    <a:pt x="12" y="13"/>
                    <a:pt x="13" y="11"/>
                    <a:pt x="13" y="11"/>
                  </a:cubicBezTo>
                  <a:cubicBezTo>
                    <a:pt x="14" y="10"/>
                    <a:pt x="13" y="9"/>
                    <a:pt x="15" y="9"/>
                  </a:cubicBezTo>
                  <a:cubicBezTo>
                    <a:pt x="16" y="9"/>
                    <a:pt x="17" y="8"/>
                    <a:pt x="17" y="8"/>
                  </a:cubicBezTo>
                  <a:cubicBezTo>
                    <a:pt x="17" y="8"/>
                    <a:pt x="17" y="11"/>
                    <a:pt x="17" y="11"/>
                  </a:cubicBezTo>
                  <a:cubicBezTo>
                    <a:pt x="16" y="11"/>
                    <a:pt x="16" y="13"/>
                    <a:pt x="16" y="13"/>
                  </a:cubicBezTo>
                  <a:cubicBezTo>
                    <a:pt x="16" y="13"/>
                    <a:pt x="15" y="13"/>
                    <a:pt x="15" y="14"/>
                  </a:cubicBezTo>
                  <a:cubicBezTo>
                    <a:pt x="14" y="14"/>
                    <a:pt x="13" y="16"/>
                    <a:pt x="13" y="16"/>
                  </a:cubicBezTo>
                  <a:cubicBezTo>
                    <a:pt x="13" y="16"/>
                    <a:pt x="14" y="16"/>
                    <a:pt x="15" y="17"/>
                  </a:cubicBezTo>
                  <a:cubicBezTo>
                    <a:pt x="16" y="17"/>
                    <a:pt x="16" y="17"/>
                    <a:pt x="17" y="17"/>
                  </a:cubicBezTo>
                  <a:cubicBezTo>
                    <a:pt x="18" y="17"/>
                    <a:pt x="17" y="17"/>
                    <a:pt x="20" y="17"/>
                  </a:cubicBezTo>
                  <a:cubicBezTo>
                    <a:pt x="23" y="17"/>
                    <a:pt x="26" y="17"/>
                    <a:pt x="26" y="17"/>
                  </a:cubicBezTo>
                  <a:cubicBezTo>
                    <a:pt x="26" y="17"/>
                    <a:pt x="28" y="16"/>
                    <a:pt x="28" y="16"/>
                  </a:cubicBezTo>
                  <a:cubicBezTo>
                    <a:pt x="28" y="16"/>
                    <a:pt x="28" y="15"/>
                    <a:pt x="27" y="14"/>
                  </a:cubicBezTo>
                  <a:cubicBezTo>
                    <a:pt x="26" y="13"/>
                    <a:pt x="25" y="12"/>
                    <a:pt x="24" y="12"/>
                  </a:cubicBezTo>
                  <a:cubicBezTo>
                    <a:pt x="24" y="12"/>
                    <a:pt x="24" y="11"/>
                    <a:pt x="25" y="11"/>
                  </a:cubicBezTo>
                  <a:cubicBezTo>
                    <a:pt x="26" y="11"/>
                    <a:pt x="27" y="14"/>
                    <a:pt x="28" y="14"/>
                  </a:cubicBezTo>
                  <a:cubicBezTo>
                    <a:pt x="29" y="14"/>
                    <a:pt x="30" y="14"/>
                    <a:pt x="30" y="13"/>
                  </a:cubicBezTo>
                  <a:cubicBezTo>
                    <a:pt x="30" y="11"/>
                    <a:pt x="31" y="10"/>
                    <a:pt x="29" y="9"/>
                  </a:cubicBezTo>
                  <a:cubicBezTo>
                    <a:pt x="27" y="8"/>
                    <a:pt x="26" y="8"/>
                    <a:pt x="25" y="8"/>
                  </a:cubicBezTo>
                  <a:cubicBezTo>
                    <a:pt x="24" y="7"/>
                    <a:pt x="26" y="8"/>
                    <a:pt x="23" y="6"/>
                  </a:cubicBezTo>
                  <a:cubicBezTo>
                    <a:pt x="19" y="4"/>
                    <a:pt x="20" y="4"/>
                    <a:pt x="20" y="4"/>
                  </a:cubicBezTo>
                  <a:cubicBezTo>
                    <a:pt x="20" y="4"/>
                    <a:pt x="21" y="2"/>
                    <a:pt x="21" y="1"/>
                  </a:cubicBezTo>
                  <a:cubicBezTo>
                    <a:pt x="20" y="1"/>
                    <a:pt x="17" y="0"/>
                    <a:pt x="17" y="0"/>
                  </a:cubicBezTo>
                  <a:cubicBezTo>
                    <a:pt x="17" y="0"/>
                    <a:pt x="13" y="1"/>
                    <a:pt x="13" y="1"/>
                  </a:cubicBezTo>
                  <a:cubicBezTo>
                    <a:pt x="13" y="2"/>
                    <a:pt x="12" y="2"/>
                    <a:pt x="12" y="2"/>
                  </a:cubicBezTo>
                  <a:cubicBezTo>
                    <a:pt x="12" y="4"/>
                    <a:pt x="12" y="4"/>
                    <a:pt x="12" y="4"/>
                  </a:cubicBezTo>
                  <a:cubicBezTo>
                    <a:pt x="10" y="5"/>
                    <a:pt x="10" y="5"/>
                    <a:pt x="10" y="5"/>
                  </a:cubicBezTo>
                  <a:cubicBezTo>
                    <a:pt x="10" y="5"/>
                    <a:pt x="9" y="7"/>
                    <a:pt x="9" y="7"/>
                  </a:cubicBezTo>
                  <a:cubicBezTo>
                    <a:pt x="9" y="7"/>
                    <a:pt x="7" y="8"/>
                    <a:pt x="6" y="8"/>
                  </a:cubicBezTo>
                  <a:cubicBezTo>
                    <a:pt x="6" y="8"/>
                    <a:pt x="5" y="8"/>
                    <a:pt x="4" y="8"/>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0" name="Freeform 197"/>
            <p:cNvSpPr>
              <a:spLocks/>
            </p:cNvSpPr>
            <p:nvPr/>
          </p:nvSpPr>
          <p:spPr bwMode="auto">
            <a:xfrm>
              <a:off x="7026418" y="5578327"/>
              <a:ext cx="20218" cy="10893"/>
            </a:xfrm>
            <a:custGeom>
              <a:avLst/>
              <a:gdLst>
                <a:gd name="T0" fmla="*/ 5 w 7"/>
                <a:gd name="T1" fmla="*/ 0 h 4"/>
                <a:gd name="T2" fmla="*/ 3 w 7"/>
                <a:gd name="T3" fmla="*/ 0 h 4"/>
                <a:gd name="T4" fmla="*/ 0 w 7"/>
                <a:gd name="T5" fmla="*/ 2 h 4"/>
                <a:gd name="T6" fmla="*/ 1 w 7"/>
                <a:gd name="T7" fmla="*/ 4 h 4"/>
                <a:gd name="T8" fmla="*/ 5 w 7"/>
                <a:gd name="T9" fmla="*/ 2 h 4"/>
                <a:gd name="T10" fmla="*/ 5 w 7"/>
                <a:gd name="T11" fmla="*/ 0 h 4"/>
              </a:gdLst>
              <a:ahLst/>
              <a:cxnLst>
                <a:cxn ang="0">
                  <a:pos x="T0" y="T1"/>
                </a:cxn>
                <a:cxn ang="0">
                  <a:pos x="T2" y="T3"/>
                </a:cxn>
                <a:cxn ang="0">
                  <a:pos x="T4" y="T5"/>
                </a:cxn>
                <a:cxn ang="0">
                  <a:pos x="T6" y="T7"/>
                </a:cxn>
                <a:cxn ang="0">
                  <a:pos x="T8" y="T9"/>
                </a:cxn>
                <a:cxn ang="0">
                  <a:pos x="T10" y="T11"/>
                </a:cxn>
              </a:cxnLst>
              <a:rect l="0" t="0" r="r" b="b"/>
              <a:pathLst>
                <a:path w="7" h="4">
                  <a:moveTo>
                    <a:pt x="5" y="0"/>
                  </a:moveTo>
                  <a:cubicBezTo>
                    <a:pt x="3" y="0"/>
                    <a:pt x="3" y="0"/>
                    <a:pt x="3" y="0"/>
                  </a:cubicBezTo>
                  <a:cubicBezTo>
                    <a:pt x="3" y="0"/>
                    <a:pt x="0" y="2"/>
                    <a:pt x="0" y="2"/>
                  </a:cubicBezTo>
                  <a:cubicBezTo>
                    <a:pt x="1" y="4"/>
                    <a:pt x="1" y="4"/>
                    <a:pt x="1" y="4"/>
                  </a:cubicBezTo>
                  <a:cubicBezTo>
                    <a:pt x="1" y="4"/>
                    <a:pt x="3" y="3"/>
                    <a:pt x="5" y="2"/>
                  </a:cubicBezTo>
                  <a:cubicBezTo>
                    <a:pt x="7" y="2"/>
                    <a:pt x="5" y="0"/>
                    <a:pt x="5" y="0"/>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1" name="Freeform 198"/>
            <p:cNvSpPr>
              <a:spLocks/>
            </p:cNvSpPr>
            <p:nvPr/>
          </p:nvSpPr>
          <p:spPr bwMode="auto">
            <a:xfrm>
              <a:off x="6548406" y="5613729"/>
              <a:ext cx="43324" cy="32678"/>
            </a:xfrm>
            <a:custGeom>
              <a:avLst/>
              <a:gdLst>
                <a:gd name="T0" fmla="*/ 12 w 15"/>
                <a:gd name="T1" fmla="*/ 6 h 12"/>
                <a:gd name="T2" fmla="*/ 10 w 15"/>
                <a:gd name="T3" fmla="*/ 4 h 12"/>
                <a:gd name="T4" fmla="*/ 7 w 15"/>
                <a:gd name="T5" fmla="*/ 4 h 12"/>
                <a:gd name="T6" fmla="*/ 4 w 15"/>
                <a:gd name="T7" fmla="*/ 2 h 12"/>
                <a:gd name="T8" fmla="*/ 3 w 15"/>
                <a:gd name="T9" fmla="*/ 0 h 12"/>
                <a:gd name="T10" fmla="*/ 2 w 15"/>
                <a:gd name="T11" fmla="*/ 0 h 12"/>
                <a:gd name="T12" fmla="*/ 0 w 15"/>
                <a:gd name="T13" fmla="*/ 2 h 12"/>
                <a:gd name="T14" fmla="*/ 0 w 15"/>
                <a:gd name="T15" fmla="*/ 4 h 12"/>
                <a:gd name="T16" fmla="*/ 0 w 15"/>
                <a:gd name="T17" fmla="*/ 6 h 12"/>
                <a:gd name="T18" fmla="*/ 5 w 15"/>
                <a:gd name="T19" fmla="*/ 10 h 12"/>
                <a:gd name="T20" fmla="*/ 6 w 15"/>
                <a:gd name="T21" fmla="*/ 11 h 12"/>
                <a:gd name="T22" fmla="*/ 9 w 15"/>
                <a:gd name="T23" fmla="*/ 12 h 12"/>
                <a:gd name="T24" fmla="*/ 10 w 15"/>
                <a:gd name="T25" fmla="*/ 11 h 12"/>
                <a:gd name="T26" fmla="*/ 11 w 15"/>
                <a:gd name="T27" fmla="*/ 10 h 12"/>
                <a:gd name="T28" fmla="*/ 15 w 15"/>
                <a:gd name="T29" fmla="*/ 8 h 12"/>
                <a:gd name="T30" fmla="*/ 12 w 15"/>
                <a:gd name="T31"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2">
                  <a:moveTo>
                    <a:pt x="12" y="6"/>
                  </a:moveTo>
                  <a:cubicBezTo>
                    <a:pt x="10" y="4"/>
                    <a:pt x="10" y="4"/>
                    <a:pt x="10" y="4"/>
                  </a:cubicBezTo>
                  <a:cubicBezTo>
                    <a:pt x="10" y="4"/>
                    <a:pt x="8" y="4"/>
                    <a:pt x="7" y="4"/>
                  </a:cubicBezTo>
                  <a:cubicBezTo>
                    <a:pt x="6" y="4"/>
                    <a:pt x="4" y="3"/>
                    <a:pt x="4" y="2"/>
                  </a:cubicBezTo>
                  <a:cubicBezTo>
                    <a:pt x="4" y="1"/>
                    <a:pt x="3" y="1"/>
                    <a:pt x="3" y="0"/>
                  </a:cubicBezTo>
                  <a:cubicBezTo>
                    <a:pt x="3" y="0"/>
                    <a:pt x="2" y="0"/>
                    <a:pt x="2" y="0"/>
                  </a:cubicBezTo>
                  <a:cubicBezTo>
                    <a:pt x="0" y="2"/>
                    <a:pt x="0" y="2"/>
                    <a:pt x="0" y="2"/>
                  </a:cubicBezTo>
                  <a:cubicBezTo>
                    <a:pt x="0" y="4"/>
                    <a:pt x="0" y="4"/>
                    <a:pt x="0" y="4"/>
                  </a:cubicBezTo>
                  <a:cubicBezTo>
                    <a:pt x="0" y="6"/>
                    <a:pt x="0" y="6"/>
                    <a:pt x="0" y="6"/>
                  </a:cubicBezTo>
                  <a:cubicBezTo>
                    <a:pt x="0" y="6"/>
                    <a:pt x="4" y="9"/>
                    <a:pt x="5" y="10"/>
                  </a:cubicBezTo>
                  <a:cubicBezTo>
                    <a:pt x="6" y="10"/>
                    <a:pt x="6" y="11"/>
                    <a:pt x="6" y="11"/>
                  </a:cubicBezTo>
                  <a:cubicBezTo>
                    <a:pt x="7" y="12"/>
                    <a:pt x="7" y="12"/>
                    <a:pt x="9" y="12"/>
                  </a:cubicBezTo>
                  <a:cubicBezTo>
                    <a:pt x="10" y="12"/>
                    <a:pt x="10" y="11"/>
                    <a:pt x="10" y="11"/>
                  </a:cubicBezTo>
                  <a:cubicBezTo>
                    <a:pt x="11" y="10"/>
                    <a:pt x="11" y="10"/>
                    <a:pt x="11" y="10"/>
                  </a:cubicBezTo>
                  <a:cubicBezTo>
                    <a:pt x="11" y="10"/>
                    <a:pt x="15" y="8"/>
                    <a:pt x="15" y="8"/>
                  </a:cubicBezTo>
                  <a:cubicBezTo>
                    <a:pt x="15" y="7"/>
                    <a:pt x="12" y="6"/>
                    <a:pt x="12" y="6"/>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2" name="Freeform 199"/>
            <p:cNvSpPr>
              <a:spLocks/>
            </p:cNvSpPr>
            <p:nvPr/>
          </p:nvSpPr>
          <p:spPr bwMode="auto">
            <a:xfrm>
              <a:off x="6808352" y="5762143"/>
              <a:ext cx="28883" cy="27232"/>
            </a:xfrm>
            <a:custGeom>
              <a:avLst/>
              <a:gdLst>
                <a:gd name="T0" fmla="*/ 7 w 10"/>
                <a:gd name="T1" fmla="*/ 3 h 10"/>
                <a:gd name="T2" fmla="*/ 5 w 10"/>
                <a:gd name="T3" fmla="*/ 2 h 10"/>
                <a:gd name="T4" fmla="*/ 4 w 10"/>
                <a:gd name="T5" fmla="*/ 0 h 10"/>
                <a:gd name="T6" fmla="*/ 2 w 10"/>
                <a:gd name="T7" fmla="*/ 0 h 10"/>
                <a:gd name="T8" fmla="*/ 0 w 10"/>
                <a:gd name="T9" fmla="*/ 3 h 10"/>
                <a:gd name="T10" fmla="*/ 2 w 10"/>
                <a:gd name="T11" fmla="*/ 5 h 10"/>
                <a:gd name="T12" fmla="*/ 3 w 10"/>
                <a:gd name="T13" fmla="*/ 8 h 10"/>
                <a:gd name="T14" fmla="*/ 6 w 10"/>
                <a:gd name="T15" fmla="*/ 10 h 10"/>
                <a:gd name="T16" fmla="*/ 9 w 10"/>
                <a:gd name="T17" fmla="*/ 10 h 10"/>
                <a:gd name="T18" fmla="*/ 9 w 10"/>
                <a:gd name="T19" fmla="*/ 8 h 10"/>
                <a:gd name="T20" fmla="*/ 10 w 10"/>
                <a:gd name="T21" fmla="*/ 5 h 10"/>
                <a:gd name="T22" fmla="*/ 7 w 10"/>
                <a:gd name="T23"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0">
                  <a:moveTo>
                    <a:pt x="7" y="3"/>
                  </a:moveTo>
                  <a:cubicBezTo>
                    <a:pt x="5" y="2"/>
                    <a:pt x="5" y="2"/>
                    <a:pt x="5" y="2"/>
                  </a:cubicBezTo>
                  <a:cubicBezTo>
                    <a:pt x="4" y="0"/>
                    <a:pt x="4" y="0"/>
                    <a:pt x="4" y="0"/>
                  </a:cubicBezTo>
                  <a:cubicBezTo>
                    <a:pt x="2" y="0"/>
                    <a:pt x="2" y="0"/>
                    <a:pt x="2" y="0"/>
                  </a:cubicBezTo>
                  <a:cubicBezTo>
                    <a:pt x="0" y="3"/>
                    <a:pt x="0" y="3"/>
                    <a:pt x="0" y="3"/>
                  </a:cubicBezTo>
                  <a:cubicBezTo>
                    <a:pt x="2" y="5"/>
                    <a:pt x="2" y="5"/>
                    <a:pt x="2" y="5"/>
                  </a:cubicBezTo>
                  <a:cubicBezTo>
                    <a:pt x="3" y="8"/>
                    <a:pt x="3" y="8"/>
                    <a:pt x="3" y="8"/>
                  </a:cubicBezTo>
                  <a:cubicBezTo>
                    <a:pt x="3" y="8"/>
                    <a:pt x="5" y="9"/>
                    <a:pt x="6" y="10"/>
                  </a:cubicBezTo>
                  <a:cubicBezTo>
                    <a:pt x="7" y="10"/>
                    <a:pt x="8" y="10"/>
                    <a:pt x="9" y="10"/>
                  </a:cubicBezTo>
                  <a:cubicBezTo>
                    <a:pt x="9" y="9"/>
                    <a:pt x="9" y="8"/>
                    <a:pt x="9" y="8"/>
                  </a:cubicBezTo>
                  <a:cubicBezTo>
                    <a:pt x="9" y="8"/>
                    <a:pt x="10" y="5"/>
                    <a:pt x="10" y="5"/>
                  </a:cubicBezTo>
                  <a:cubicBezTo>
                    <a:pt x="10" y="5"/>
                    <a:pt x="7" y="3"/>
                    <a:pt x="7" y="3"/>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3" name="Freeform 200"/>
            <p:cNvSpPr>
              <a:spLocks/>
            </p:cNvSpPr>
            <p:nvPr/>
          </p:nvSpPr>
          <p:spPr bwMode="auto">
            <a:xfrm>
              <a:off x="6861785" y="5206611"/>
              <a:ext cx="28883" cy="29955"/>
            </a:xfrm>
            <a:custGeom>
              <a:avLst/>
              <a:gdLst>
                <a:gd name="T0" fmla="*/ 9 w 10"/>
                <a:gd name="T1" fmla="*/ 2 h 11"/>
                <a:gd name="T2" fmla="*/ 7 w 10"/>
                <a:gd name="T3" fmla="*/ 0 h 11"/>
                <a:gd name="T4" fmla="*/ 4 w 10"/>
                <a:gd name="T5" fmla="*/ 0 h 11"/>
                <a:gd name="T6" fmla="*/ 2 w 10"/>
                <a:gd name="T7" fmla="*/ 2 h 11"/>
                <a:gd name="T8" fmla="*/ 1 w 10"/>
                <a:gd name="T9" fmla="*/ 6 h 11"/>
                <a:gd name="T10" fmla="*/ 1 w 10"/>
                <a:gd name="T11" fmla="*/ 8 h 11"/>
                <a:gd name="T12" fmla="*/ 4 w 10"/>
                <a:gd name="T13" fmla="*/ 9 h 11"/>
                <a:gd name="T14" fmla="*/ 8 w 10"/>
                <a:gd name="T15" fmla="*/ 8 h 11"/>
                <a:gd name="T16" fmla="*/ 10 w 10"/>
                <a:gd name="T17" fmla="*/ 5 h 11"/>
                <a:gd name="T18" fmla="*/ 9 w 10"/>
                <a:gd name="T19"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1">
                  <a:moveTo>
                    <a:pt x="9" y="2"/>
                  </a:moveTo>
                  <a:cubicBezTo>
                    <a:pt x="9" y="1"/>
                    <a:pt x="7" y="0"/>
                    <a:pt x="7" y="0"/>
                  </a:cubicBezTo>
                  <a:cubicBezTo>
                    <a:pt x="7" y="0"/>
                    <a:pt x="5" y="0"/>
                    <a:pt x="4" y="0"/>
                  </a:cubicBezTo>
                  <a:cubicBezTo>
                    <a:pt x="3" y="0"/>
                    <a:pt x="3" y="1"/>
                    <a:pt x="2" y="2"/>
                  </a:cubicBezTo>
                  <a:cubicBezTo>
                    <a:pt x="1" y="3"/>
                    <a:pt x="1" y="4"/>
                    <a:pt x="1" y="6"/>
                  </a:cubicBezTo>
                  <a:cubicBezTo>
                    <a:pt x="0" y="7"/>
                    <a:pt x="1" y="7"/>
                    <a:pt x="1" y="8"/>
                  </a:cubicBezTo>
                  <a:cubicBezTo>
                    <a:pt x="2" y="8"/>
                    <a:pt x="2" y="8"/>
                    <a:pt x="4" y="9"/>
                  </a:cubicBezTo>
                  <a:cubicBezTo>
                    <a:pt x="5" y="11"/>
                    <a:pt x="7" y="9"/>
                    <a:pt x="8" y="8"/>
                  </a:cubicBezTo>
                  <a:cubicBezTo>
                    <a:pt x="10" y="7"/>
                    <a:pt x="9" y="6"/>
                    <a:pt x="10" y="5"/>
                  </a:cubicBezTo>
                  <a:cubicBezTo>
                    <a:pt x="10" y="4"/>
                    <a:pt x="9" y="2"/>
                    <a:pt x="9" y="2"/>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4" name="Freeform 201"/>
            <p:cNvSpPr>
              <a:spLocks/>
            </p:cNvSpPr>
            <p:nvPr/>
          </p:nvSpPr>
          <p:spPr bwMode="auto">
            <a:xfrm>
              <a:off x="6848788" y="5387704"/>
              <a:ext cx="12997" cy="5446"/>
            </a:xfrm>
            <a:custGeom>
              <a:avLst/>
              <a:gdLst>
                <a:gd name="T0" fmla="*/ 1 w 4"/>
                <a:gd name="T1" fmla="*/ 0 h 2"/>
                <a:gd name="T2" fmla="*/ 0 w 4"/>
                <a:gd name="T3" fmla="*/ 1 h 2"/>
                <a:gd name="T4" fmla="*/ 1 w 4"/>
                <a:gd name="T5" fmla="*/ 2 h 2"/>
                <a:gd name="T6" fmla="*/ 3 w 4"/>
                <a:gd name="T7" fmla="*/ 1 h 2"/>
                <a:gd name="T8" fmla="*/ 3 w 4"/>
                <a:gd name="T9" fmla="*/ 0 h 2"/>
                <a:gd name="T10" fmla="*/ 1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1" y="0"/>
                  </a:moveTo>
                  <a:cubicBezTo>
                    <a:pt x="1" y="0"/>
                    <a:pt x="0" y="0"/>
                    <a:pt x="0" y="1"/>
                  </a:cubicBezTo>
                  <a:cubicBezTo>
                    <a:pt x="1" y="2"/>
                    <a:pt x="1" y="2"/>
                    <a:pt x="1" y="2"/>
                  </a:cubicBezTo>
                  <a:cubicBezTo>
                    <a:pt x="1" y="2"/>
                    <a:pt x="2" y="1"/>
                    <a:pt x="3" y="1"/>
                  </a:cubicBezTo>
                  <a:cubicBezTo>
                    <a:pt x="4" y="1"/>
                    <a:pt x="3" y="0"/>
                    <a:pt x="3" y="0"/>
                  </a:cubicBezTo>
                  <a:lnTo>
                    <a:pt x="1" y="0"/>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5" name="Freeform 202"/>
            <p:cNvSpPr>
              <a:spLocks/>
            </p:cNvSpPr>
            <p:nvPr/>
          </p:nvSpPr>
          <p:spPr bwMode="auto">
            <a:xfrm>
              <a:off x="6840123" y="5395873"/>
              <a:ext cx="8665" cy="13616"/>
            </a:xfrm>
            <a:custGeom>
              <a:avLst/>
              <a:gdLst>
                <a:gd name="T0" fmla="*/ 1 w 3"/>
                <a:gd name="T1" fmla="*/ 2 h 5"/>
                <a:gd name="T2" fmla="*/ 0 w 3"/>
                <a:gd name="T3" fmla="*/ 4 h 5"/>
                <a:gd name="T4" fmla="*/ 1 w 3"/>
                <a:gd name="T5" fmla="*/ 5 h 5"/>
                <a:gd name="T6" fmla="*/ 2 w 3"/>
                <a:gd name="T7" fmla="*/ 2 h 5"/>
                <a:gd name="T8" fmla="*/ 2 w 3"/>
                <a:gd name="T9" fmla="*/ 1 h 5"/>
                <a:gd name="T10" fmla="*/ 1 w 3"/>
                <a:gd name="T11" fmla="*/ 2 h 5"/>
              </a:gdLst>
              <a:ahLst/>
              <a:cxnLst>
                <a:cxn ang="0">
                  <a:pos x="T0" y="T1"/>
                </a:cxn>
                <a:cxn ang="0">
                  <a:pos x="T2" y="T3"/>
                </a:cxn>
                <a:cxn ang="0">
                  <a:pos x="T4" y="T5"/>
                </a:cxn>
                <a:cxn ang="0">
                  <a:pos x="T6" y="T7"/>
                </a:cxn>
                <a:cxn ang="0">
                  <a:pos x="T8" y="T9"/>
                </a:cxn>
                <a:cxn ang="0">
                  <a:pos x="T10" y="T11"/>
                </a:cxn>
              </a:cxnLst>
              <a:rect l="0" t="0" r="r" b="b"/>
              <a:pathLst>
                <a:path w="3" h="5">
                  <a:moveTo>
                    <a:pt x="1" y="2"/>
                  </a:moveTo>
                  <a:cubicBezTo>
                    <a:pt x="1" y="2"/>
                    <a:pt x="0" y="4"/>
                    <a:pt x="0" y="4"/>
                  </a:cubicBezTo>
                  <a:cubicBezTo>
                    <a:pt x="1" y="5"/>
                    <a:pt x="1" y="5"/>
                    <a:pt x="1" y="5"/>
                  </a:cubicBezTo>
                  <a:cubicBezTo>
                    <a:pt x="1" y="5"/>
                    <a:pt x="2" y="3"/>
                    <a:pt x="2" y="2"/>
                  </a:cubicBezTo>
                  <a:cubicBezTo>
                    <a:pt x="3" y="0"/>
                    <a:pt x="2" y="1"/>
                    <a:pt x="2" y="1"/>
                  </a:cubicBezTo>
                  <a:lnTo>
                    <a:pt x="1" y="2"/>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6" name="Freeform 203"/>
            <p:cNvSpPr>
              <a:spLocks/>
            </p:cNvSpPr>
            <p:nvPr/>
          </p:nvSpPr>
          <p:spPr bwMode="auto">
            <a:xfrm>
              <a:off x="6594618" y="5548372"/>
              <a:ext cx="251281" cy="219217"/>
            </a:xfrm>
            <a:custGeom>
              <a:avLst/>
              <a:gdLst>
                <a:gd name="T0" fmla="*/ 82 w 87"/>
                <a:gd name="T1" fmla="*/ 23 h 80"/>
                <a:gd name="T2" fmla="*/ 80 w 87"/>
                <a:gd name="T3" fmla="*/ 20 h 80"/>
                <a:gd name="T4" fmla="*/ 74 w 87"/>
                <a:gd name="T5" fmla="*/ 20 h 80"/>
                <a:gd name="T6" fmla="*/ 72 w 87"/>
                <a:gd name="T7" fmla="*/ 13 h 80"/>
                <a:gd name="T8" fmla="*/ 64 w 87"/>
                <a:gd name="T9" fmla="*/ 9 h 80"/>
                <a:gd name="T10" fmla="*/ 58 w 87"/>
                <a:gd name="T11" fmla="*/ 9 h 80"/>
                <a:gd name="T12" fmla="*/ 44 w 87"/>
                <a:gd name="T13" fmla="*/ 5 h 80"/>
                <a:gd name="T14" fmla="*/ 29 w 87"/>
                <a:gd name="T15" fmla="*/ 1 h 80"/>
                <a:gd name="T16" fmla="*/ 19 w 87"/>
                <a:gd name="T17" fmla="*/ 3 h 80"/>
                <a:gd name="T18" fmla="*/ 11 w 87"/>
                <a:gd name="T19" fmla="*/ 8 h 80"/>
                <a:gd name="T20" fmla="*/ 7 w 87"/>
                <a:gd name="T21" fmla="*/ 11 h 80"/>
                <a:gd name="T22" fmla="*/ 5 w 87"/>
                <a:gd name="T23" fmla="*/ 18 h 80"/>
                <a:gd name="T24" fmla="*/ 1 w 87"/>
                <a:gd name="T25" fmla="*/ 25 h 80"/>
                <a:gd name="T26" fmla="*/ 9 w 87"/>
                <a:gd name="T27" fmla="*/ 33 h 80"/>
                <a:gd name="T28" fmla="*/ 17 w 87"/>
                <a:gd name="T29" fmla="*/ 36 h 80"/>
                <a:gd name="T30" fmla="*/ 24 w 87"/>
                <a:gd name="T31" fmla="*/ 44 h 80"/>
                <a:gd name="T32" fmla="*/ 23 w 87"/>
                <a:gd name="T33" fmla="*/ 53 h 80"/>
                <a:gd name="T34" fmla="*/ 25 w 87"/>
                <a:gd name="T35" fmla="*/ 59 h 80"/>
                <a:gd name="T36" fmla="*/ 28 w 87"/>
                <a:gd name="T37" fmla="*/ 64 h 80"/>
                <a:gd name="T38" fmla="*/ 34 w 87"/>
                <a:gd name="T39" fmla="*/ 68 h 80"/>
                <a:gd name="T40" fmla="*/ 37 w 87"/>
                <a:gd name="T41" fmla="*/ 65 h 80"/>
                <a:gd name="T42" fmla="*/ 37 w 87"/>
                <a:gd name="T43" fmla="*/ 56 h 80"/>
                <a:gd name="T44" fmla="*/ 43 w 87"/>
                <a:gd name="T45" fmla="*/ 60 h 80"/>
                <a:gd name="T46" fmla="*/ 51 w 87"/>
                <a:gd name="T47" fmla="*/ 66 h 80"/>
                <a:gd name="T48" fmla="*/ 55 w 87"/>
                <a:gd name="T49" fmla="*/ 76 h 80"/>
                <a:gd name="T50" fmla="*/ 60 w 87"/>
                <a:gd name="T51" fmla="*/ 78 h 80"/>
                <a:gd name="T52" fmla="*/ 59 w 87"/>
                <a:gd name="T53" fmla="*/ 70 h 80"/>
                <a:gd name="T54" fmla="*/ 61 w 87"/>
                <a:gd name="T55" fmla="*/ 64 h 80"/>
                <a:gd name="T56" fmla="*/ 66 w 87"/>
                <a:gd name="T57" fmla="*/ 61 h 80"/>
                <a:gd name="T58" fmla="*/ 70 w 87"/>
                <a:gd name="T59" fmla="*/ 65 h 80"/>
                <a:gd name="T60" fmla="*/ 75 w 87"/>
                <a:gd name="T61" fmla="*/ 71 h 80"/>
                <a:gd name="T62" fmla="*/ 77 w 87"/>
                <a:gd name="T63" fmla="*/ 72 h 80"/>
                <a:gd name="T64" fmla="*/ 85 w 87"/>
                <a:gd name="T65" fmla="*/ 73 h 80"/>
                <a:gd name="T66" fmla="*/ 78 w 87"/>
                <a:gd name="T67" fmla="*/ 66 h 80"/>
                <a:gd name="T68" fmla="*/ 78 w 87"/>
                <a:gd name="T69" fmla="*/ 58 h 80"/>
                <a:gd name="T70" fmla="*/ 73 w 87"/>
                <a:gd name="T71" fmla="*/ 49 h 80"/>
                <a:gd name="T72" fmla="*/ 67 w 87"/>
                <a:gd name="T73" fmla="*/ 44 h 80"/>
                <a:gd name="T74" fmla="*/ 62 w 87"/>
                <a:gd name="T75" fmla="*/ 34 h 80"/>
                <a:gd name="T76" fmla="*/ 60 w 87"/>
                <a:gd name="T77" fmla="*/ 27 h 80"/>
                <a:gd name="T78" fmla="*/ 68 w 87"/>
                <a:gd name="T79" fmla="*/ 29 h 80"/>
                <a:gd name="T80" fmla="*/ 74 w 87"/>
                <a:gd name="T81" fmla="*/ 32 h 80"/>
                <a:gd name="T82" fmla="*/ 75 w 87"/>
                <a:gd name="T83" fmla="*/ 36 h 80"/>
                <a:gd name="T84" fmla="*/ 76 w 87"/>
                <a:gd name="T85" fmla="*/ 38 h 80"/>
                <a:gd name="T86" fmla="*/ 80 w 87"/>
                <a:gd name="T87" fmla="*/ 31 h 80"/>
                <a:gd name="T88" fmla="*/ 87 w 87"/>
                <a:gd name="T89" fmla="*/ 2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 h="80">
                  <a:moveTo>
                    <a:pt x="85" y="24"/>
                  </a:moveTo>
                  <a:cubicBezTo>
                    <a:pt x="82" y="25"/>
                    <a:pt x="82" y="25"/>
                    <a:pt x="82" y="25"/>
                  </a:cubicBezTo>
                  <a:cubicBezTo>
                    <a:pt x="82" y="23"/>
                    <a:pt x="82" y="23"/>
                    <a:pt x="82" y="23"/>
                  </a:cubicBezTo>
                  <a:cubicBezTo>
                    <a:pt x="82" y="23"/>
                    <a:pt x="82" y="23"/>
                    <a:pt x="82" y="23"/>
                  </a:cubicBezTo>
                  <a:cubicBezTo>
                    <a:pt x="83" y="23"/>
                    <a:pt x="83" y="20"/>
                    <a:pt x="83" y="20"/>
                  </a:cubicBezTo>
                  <a:cubicBezTo>
                    <a:pt x="83" y="20"/>
                    <a:pt x="81" y="20"/>
                    <a:pt x="80" y="20"/>
                  </a:cubicBezTo>
                  <a:cubicBezTo>
                    <a:pt x="79" y="21"/>
                    <a:pt x="80" y="23"/>
                    <a:pt x="80" y="23"/>
                  </a:cubicBezTo>
                  <a:cubicBezTo>
                    <a:pt x="80" y="23"/>
                    <a:pt x="76" y="22"/>
                    <a:pt x="75" y="22"/>
                  </a:cubicBezTo>
                  <a:cubicBezTo>
                    <a:pt x="75" y="22"/>
                    <a:pt x="74" y="21"/>
                    <a:pt x="74" y="20"/>
                  </a:cubicBezTo>
                  <a:cubicBezTo>
                    <a:pt x="74" y="20"/>
                    <a:pt x="75" y="17"/>
                    <a:pt x="75" y="17"/>
                  </a:cubicBezTo>
                  <a:cubicBezTo>
                    <a:pt x="76" y="14"/>
                    <a:pt x="76" y="14"/>
                    <a:pt x="76" y="14"/>
                  </a:cubicBezTo>
                  <a:cubicBezTo>
                    <a:pt x="76" y="14"/>
                    <a:pt x="72" y="13"/>
                    <a:pt x="72" y="13"/>
                  </a:cubicBezTo>
                  <a:cubicBezTo>
                    <a:pt x="72" y="12"/>
                    <a:pt x="68" y="14"/>
                    <a:pt x="67" y="12"/>
                  </a:cubicBezTo>
                  <a:cubicBezTo>
                    <a:pt x="66" y="11"/>
                    <a:pt x="66" y="11"/>
                    <a:pt x="66" y="11"/>
                  </a:cubicBezTo>
                  <a:cubicBezTo>
                    <a:pt x="64" y="9"/>
                    <a:pt x="64" y="9"/>
                    <a:pt x="64" y="9"/>
                  </a:cubicBezTo>
                  <a:cubicBezTo>
                    <a:pt x="62" y="10"/>
                    <a:pt x="62" y="10"/>
                    <a:pt x="62" y="10"/>
                  </a:cubicBezTo>
                  <a:cubicBezTo>
                    <a:pt x="62" y="10"/>
                    <a:pt x="60" y="10"/>
                    <a:pt x="59" y="10"/>
                  </a:cubicBezTo>
                  <a:cubicBezTo>
                    <a:pt x="58" y="10"/>
                    <a:pt x="58" y="9"/>
                    <a:pt x="58" y="9"/>
                  </a:cubicBezTo>
                  <a:cubicBezTo>
                    <a:pt x="54" y="7"/>
                    <a:pt x="54" y="7"/>
                    <a:pt x="54" y="7"/>
                  </a:cubicBezTo>
                  <a:cubicBezTo>
                    <a:pt x="50" y="6"/>
                    <a:pt x="50" y="6"/>
                    <a:pt x="50" y="6"/>
                  </a:cubicBezTo>
                  <a:cubicBezTo>
                    <a:pt x="50" y="6"/>
                    <a:pt x="45" y="5"/>
                    <a:pt x="44" y="5"/>
                  </a:cubicBezTo>
                  <a:cubicBezTo>
                    <a:pt x="43" y="4"/>
                    <a:pt x="39" y="4"/>
                    <a:pt x="38" y="4"/>
                  </a:cubicBezTo>
                  <a:cubicBezTo>
                    <a:pt x="36" y="3"/>
                    <a:pt x="34" y="4"/>
                    <a:pt x="33" y="3"/>
                  </a:cubicBezTo>
                  <a:cubicBezTo>
                    <a:pt x="32" y="2"/>
                    <a:pt x="29" y="1"/>
                    <a:pt x="29" y="1"/>
                  </a:cubicBezTo>
                  <a:cubicBezTo>
                    <a:pt x="29" y="1"/>
                    <a:pt x="25" y="0"/>
                    <a:pt x="24" y="0"/>
                  </a:cubicBezTo>
                  <a:cubicBezTo>
                    <a:pt x="24" y="0"/>
                    <a:pt x="23" y="0"/>
                    <a:pt x="23" y="0"/>
                  </a:cubicBezTo>
                  <a:cubicBezTo>
                    <a:pt x="22" y="0"/>
                    <a:pt x="20" y="2"/>
                    <a:pt x="19" y="3"/>
                  </a:cubicBezTo>
                  <a:cubicBezTo>
                    <a:pt x="18" y="3"/>
                    <a:pt x="18" y="5"/>
                    <a:pt x="18" y="6"/>
                  </a:cubicBezTo>
                  <a:cubicBezTo>
                    <a:pt x="17" y="7"/>
                    <a:pt x="16" y="8"/>
                    <a:pt x="16" y="9"/>
                  </a:cubicBezTo>
                  <a:cubicBezTo>
                    <a:pt x="16" y="9"/>
                    <a:pt x="11" y="8"/>
                    <a:pt x="11" y="8"/>
                  </a:cubicBezTo>
                  <a:cubicBezTo>
                    <a:pt x="11" y="8"/>
                    <a:pt x="10" y="8"/>
                    <a:pt x="9" y="9"/>
                  </a:cubicBezTo>
                  <a:cubicBezTo>
                    <a:pt x="9" y="9"/>
                    <a:pt x="8" y="8"/>
                    <a:pt x="7" y="8"/>
                  </a:cubicBezTo>
                  <a:cubicBezTo>
                    <a:pt x="6" y="8"/>
                    <a:pt x="7" y="10"/>
                    <a:pt x="7" y="11"/>
                  </a:cubicBezTo>
                  <a:cubicBezTo>
                    <a:pt x="7" y="11"/>
                    <a:pt x="7" y="12"/>
                    <a:pt x="7" y="13"/>
                  </a:cubicBezTo>
                  <a:cubicBezTo>
                    <a:pt x="6" y="14"/>
                    <a:pt x="6" y="15"/>
                    <a:pt x="6" y="15"/>
                  </a:cubicBezTo>
                  <a:cubicBezTo>
                    <a:pt x="6" y="16"/>
                    <a:pt x="5" y="18"/>
                    <a:pt x="5" y="18"/>
                  </a:cubicBezTo>
                  <a:cubicBezTo>
                    <a:pt x="5" y="18"/>
                    <a:pt x="3" y="20"/>
                    <a:pt x="2" y="20"/>
                  </a:cubicBezTo>
                  <a:cubicBezTo>
                    <a:pt x="1" y="20"/>
                    <a:pt x="0" y="22"/>
                    <a:pt x="0" y="22"/>
                  </a:cubicBezTo>
                  <a:cubicBezTo>
                    <a:pt x="1" y="25"/>
                    <a:pt x="1" y="25"/>
                    <a:pt x="1" y="25"/>
                  </a:cubicBezTo>
                  <a:cubicBezTo>
                    <a:pt x="1" y="25"/>
                    <a:pt x="3" y="25"/>
                    <a:pt x="4" y="25"/>
                  </a:cubicBezTo>
                  <a:cubicBezTo>
                    <a:pt x="5" y="26"/>
                    <a:pt x="7" y="28"/>
                    <a:pt x="7" y="28"/>
                  </a:cubicBezTo>
                  <a:cubicBezTo>
                    <a:pt x="8" y="28"/>
                    <a:pt x="9" y="32"/>
                    <a:pt x="9" y="33"/>
                  </a:cubicBezTo>
                  <a:cubicBezTo>
                    <a:pt x="10" y="33"/>
                    <a:pt x="11" y="33"/>
                    <a:pt x="11" y="33"/>
                  </a:cubicBezTo>
                  <a:cubicBezTo>
                    <a:pt x="11" y="33"/>
                    <a:pt x="12" y="34"/>
                    <a:pt x="13" y="34"/>
                  </a:cubicBezTo>
                  <a:cubicBezTo>
                    <a:pt x="14" y="34"/>
                    <a:pt x="16" y="35"/>
                    <a:pt x="17" y="36"/>
                  </a:cubicBezTo>
                  <a:cubicBezTo>
                    <a:pt x="17" y="36"/>
                    <a:pt x="19" y="38"/>
                    <a:pt x="20" y="38"/>
                  </a:cubicBezTo>
                  <a:cubicBezTo>
                    <a:pt x="20" y="39"/>
                    <a:pt x="22" y="40"/>
                    <a:pt x="22" y="40"/>
                  </a:cubicBezTo>
                  <a:cubicBezTo>
                    <a:pt x="22" y="40"/>
                    <a:pt x="24" y="43"/>
                    <a:pt x="24" y="44"/>
                  </a:cubicBezTo>
                  <a:cubicBezTo>
                    <a:pt x="25" y="45"/>
                    <a:pt x="24" y="46"/>
                    <a:pt x="24" y="47"/>
                  </a:cubicBezTo>
                  <a:cubicBezTo>
                    <a:pt x="23" y="47"/>
                    <a:pt x="23" y="48"/>
                    <a:pt x="22" y="49"/>
                  </a:cubicBezTo>
                  <a:cubicBezTo>
                    <a:pt x="21" y="51"/>
                    <a:pt x="23" y="53"/>
                    <a:pt x="23" y="53"/>
                  </a:cubicBezTo>
                  <a:cubicBezTo>
                    <a:pt x="23" y="57"/>
                    <a:pt x="23" y="57"/>
                    <a:pt x="23" y="57"/>
                  </a:cubicBezTo>
                  <a:cubicBezTo>
                    <a:pt x="24" y="58"/>
                    <a:pt x="24" y="58"/>
                    <a:pt x="24" y="58"/>
                  </a:cubicBezTo>
                  <a:cubicBezTo>
                    <a:pt x="24" y="58"/>
                    <a:pt x="25" y="59"/>
                    <a:pt x="25" y="59"/>
                  </a:cubicBezTo>
                  <a:cubicBezTo>
                    <a:pt x="26" y="60"/>
                    <a:pt x="26" y="60"/>
                    <a:pt x="26" y="60"/>
                  </a:cubicBezTo>
                  <a:cubicBezTo>
                    <a:pt x="26" y="60"/>
                    <a:pt x="28" y="62"/>
                    <a:pt x="28" y="62"/>
                  </a:cubicBezTo>
                  <a:cubicBezTo>
                    <a:pt x="29" y="63"/>
                    <a:pt x="28" y="64"/>
                    <a:pt x="28" y="64"/>
                  </a:cubicBezTo>
                  <a:cubicBezTo>
                    <a:pt x="27" y="65"/>
                    <a:pt x="29" y="68"/>
                    <a:pt x="29" y="68"/>
                  </a:cubicBezTo>
                  <a:cubicBezTo>
                    <a:pt x="29" y="68"/>
                    <a:pt x="31" y="68"/>
                    <a:pt x="32" y="68"/>
                  </a:cubicBezTo>
                  <a:cubicBezTo>
                    <a:pt x="33" y="67"/>
                    <a:pt x="33" y="68"/>
                    <a:pt x="34" y="68"/>
                  </a:cubicBezTo>
                  <a:cubicBezTo>
                    <a:pt x="35" y="69"/>
                    <a:pt x="35" y="70"/>
                    <a:pt x="35" y="70"/>
                  </a:cubicBezTo>
                  <a:cubicBezTo>
                    <a:pt x="35" y="70"/>
                    <a:pt x="38" y="68"/>
                    <a:pt x="38" y="67"/>
                  </a:cubicBezTo>
                  <a:cubicBezTo>
                    <a:pt x="38" y="67"/>
                    <a:pt x="37" y="65"/>
                    <a:pt x="37" y="65"/>
                  </a:cubicBezTo>
                  <a:cubicBezTo>
                    <a:pt x="37" y="65"/>
                    <a:pt x="38" y="62"/>
                    <a:pt x="37" y="61"/>
                  </a:cubicBezTo>
                  <a:cubicBezTo>
                    <a:pt x="37" y="61"/>
                    <a:pt x="37" y="58"/>
                    <a:pt x="36" y="58"/>
                  </a:cubicBezTo>
                  <a:cubicBezTo>
                    <a:pt x="36" y="57"/>
                    <a:pt x="37" y="56"/>
                    <a:pt x="37" y="56"/>
                  </a:cubicBezTo>
                  <a:cubicBezTo>
                    <a:pt x="37" y="56"/>
                    <a:pt x="40" y="55"/>
                    <a:pt x="41" y="55"/>
                  </a:cubicBezTo>
                  <a:cubicBezTo>
                    <a:pt x="41" y="55"/>
                    <a:pt x="43" y="56"/>
                    <a:pt x="43" y="57"/>
                  </a:cubicBezTo>
                  <a:cubicBezTo>
                    <a:pt x="43" y="57"/>
                    <a:pt x="43" y="60"/>
                    <a:pt x="43" y="60"/>
                  </a:cubicBezTo>
                  <a:cubicBezTo>
                    <a:pt x="48" y="61"/>
                    <a:pt x="48" y="61"/>
                    <a:pt x="48" y="61"/>
                  </a:cubicBezTo>
                  <a:cubicBezTo>
                    <a:pt x="48" y="61"/>
                    <a:pt x="50" y="62"/>
                    <a:pt x="50" y="63"/>
                  </a:cubicBezTo>
                  <a:cubicBezTo>
                    <a:pt x="50" y="63"/>
                    <a:pt x="50" y="65"/>
                    <a:pt x="51" y="66"/>
                  </a:cubicBezTo>
                  <a:cubicBezTo>
                    <a:pt x="52" y="66"/>
                    <a:pt x="53" y="67"/>
                    <a:pt x="53" y="67"/>
                  </a:cubicBezTo>
                  <a:cubicBezTo>
                    <a:pt x="53" y="67"/>
                    <a:pt x="55" y="71"/>
                    <a:pt x="55" y="72"/>
                  </a:cubicBezTo>
                  <a:cubicBezTo>
                    <a:pt x="55" y="73"/>
                    <a:pt x="55" y="74"/>
                    <a:pt x="55" y="76"/>
                  </a:cubicBezTo>
                  <a:cubicBezTo>
                    <a:pt x="55" y="78"/>
                    <a:pt x="55" y="77"/>
                    <a:pt x="55" y="77"/>
                  </a:cubicBezTo>
                  <a:cubicBezTo>
                    <a:pt x="55" y="77"/>
                    <a:pt x="57" y="78"/>
                    <a:pt x="58" y="79"/>
                  </a:cubicBezTo>
                  <a:cubicBezTo>
                    <a:pt x="60" y="80"/>
                    <a:pt x="59" y="79"/>
                    <a:pt x="60" y="78"/>
                  </a:cubicBezTo>
                  <a:cubicBezTo>
                    <a:pt x="61" y="78"/>
                    <a:pt x="60" y="77"/>
                    <a:pt x="60" y="76"/>
                  </a:cubicBezTo>
                  <a:cubicBezTo>
                    <a:pt x="60" y="75"/>
                    <a:pt x="60" y="74"/>
                    <a:pt x="60" y="72"/>
                  </a:cubicBezTo>
                  <a:cubicBezTo>
                    <a:pt x="59" y="71"/>
                    <a:pt x="59" y="70"/>
                    <a:pt x="59" y="70"/>
                  </a:cubicBezTo>
                  <a:cubicBezTo>
                    <a:pt x="59" y="70"/>
                    <a:pt x="60" y="68"/>
                    <a:pt x="60" y="68"/>
                  </a:cubicBezTo>
                  <a:cubicBezTo>
                    <a:pt x="60" y="68"/>
                    <a:pt x="60" y="67"/>
                    <a:pt x="60" y="66"/>
                  </a:cubicBezTo>
                  <a:cubicBezTo>
                    <a:pt x="60" y="65"/>
                    <a:pt x="61" y="64"/>
                    <a:pt x="61" y="64"/>
                  </a:cubicBezTo>
                  <a:cubicBezTo>
                    <a:pt x="61" y="64"/>
                    <a:pt x="62" y="63"/>
                    <a:pt x="62" y="62"/>
                  </a:cubicBezTo>
                  <a:cubicBezTo>
                    <a:pt x="63" y="61"/>
                    <a:pt x="63" y="62"/>
                    <a:pt x="63" y="61"/>
                  </a:cubicBezTo>
                  <a:cubicBezTo>
                    <a:pt x="64" y="61"/>
                    <a:pt x="65" y="61"/>
                    <a:pt x="66" y="61"/>
                  </a:cubicBezTo>
                  <a:cubicBezTo>
                    <a:pt x="67" y="61"/>
                    <a:pt x="68" y="61"/>
                    <a:pt x="68" y="61"/>
                  </a:cubicBezTo>
                  <a:cubicBezTo>
                    <a:pt x="70" y="64"/>
                    <a:pt x="70" y="64"/>
                    <a:pt x="70" y="64"/>
                  </a:cubicBezTo>
                  <a:cubicBezTo>
                    <a:pt x="70" y="64"/>
                    <a:pt x="70" y="64"/>
                    <a:pt x="70" y="65"/>
                  </a:cubicBezTo>
                  <a:cubicBezTo>
                    <a:pt x="70" y="65"/>
                    <a:pt x="71" y="67"/>
                    <a:pt x="71" y="67"/>
                  </a:cubicBezTo>
                  <a:cubicBezTo>
                    <a:pt x="74" y="69"/>
                    <a:pt x="74" y="69"/>
                    <a:pt x="74" y="69"/>
                  </a:cubicBezTo>
                  <a:cubicBezTo>
                    <a:pt x="74" y="69"/>
                    <a:pt x="75" y="70"/>
                    <a:pt x="75" y="71"/>
                  </a:cubicBezTo>
                  <a:cubicBezTo>
                    <a:pt x="75" y="71"/>
                    <a:pt x="75" y="73"/>
                    <a:pt x="76" y="74"/>
                  </a:cubicBezTo>
                  <a:cubicBezTo>
                    <a:pt x="77" y="75"/>
                    <a:pt x="76" y="73"/>
                    <a:pt x="76" y="73"/>
                  </a:cubicBezTo>
                  <a:cubicBezTo>
                    <a:pt x="77" y="72"/>
                    <a:pt x="77" y="72"/>
                    <a:pt x="77" y="72"/>
                  </a:cubicBezTo>
                  <a:cubicBezTo>
                    <a:pt x="79" y="73"/>
                    <a:pt x="79" y="73"/>
                    <a:pt x="79" y="73"/>
                  </a:cubicBezTo>
                  <a:cubicBezTo>
                    <a:pt x="79" y="73"/>
                    <a:pt x="83" y="74"/>
                    <a:pt x="84" y="74"/>
                  </a:cubicBezTo>
                  <a:cubicBezTo>
                    <a:pt x="84" y="74"/>
                    <a:pt x="85" y="73"/>
                    <a:pt x="85" y="73"/>
                  </a:cubicBezTo>
                  <a:cubicBezTo>
                    <a:pt x="83" y="72"/>
                    <a:pt x="83" y="72"/>
                    <a:pt x="83" y="72"/>
                  </a:cubicBezTo>
                  <a:cubicBezTo>
                    <a:pt x="82" y="69"/>
                    <a:pt x="82" y="69"/>
                    <a:pt x="82" y="69"/>
                  </a:cubicBezTo>
                  <a:cubicBezTo>
                    <a:pt x="82" y="69"/>
                    <a:pt x="79" y="67"/>
                    <a:pt x="78" y="66"/>
                  </a:cubicBezTo>
                  <a:cubicBezTo>
                    <a:pt x="78" y="66"/>
                    <a:pt x="77" y="64"/>
                    <a:pt x="77" y="64"/>
                  </a:cubicBezTo>
                  <a:cubicBezTo>
                    <a:pt x="76" y="63"/>
                    <a:pt x="76" y="62"/>
                    <a:pt x="76" y="61"/>
                  </a:cubicBezTo>
                  <a:cubicBezTo>
                    <a:pt x="76" y="60"/>
                    <a:pt x="77" y="59"/>
                    <a:pt x="78" y="58"/>
                  </a:cubicBezTo>
                  <a:cubicBezTo>
                    <a:pt x="79" y="56"/>
                    <a:pt x="77" y="58"/>
                    <a:pt x="77" y="58"/>
                  </a:cubicBezTo>
                  <a:cubicBezTo>
                    <a:pt x="77" y="58"/>
                    <a:pt x="76" y="55"/>
                    <a:pt x="76" y="54"/>
                  </a:cubicBezTo>
                  <a:cubicBezTo>
                    <a:pt x="76" y="54"/>
                    <a:pt x="73" y="49"/>
                    <a:pt x="73" y="49"/>
                  </a:cubicBezTo>
                  <a:cubicBezTo>
                    <a:pt x="73" y="49"/>
                    <a:pt x="72" y="48"/>
                    <a:pt x="72" y="48"/>
                  </a:cubicBezTo>
                  <a:cubicBezTo>
                    <a:pt x="72" y="47"/>
                    <a:pt x="70" y="46"/>
                    <a:pt x="69" y="46"/>
                  </a:cubicBezTo>
                  <a:cubicBezTo>
                    <a:pt x="68" y="46"/>
                    <a:pt x="68" y="45"/>
                    <a:pt x="67" y="44"/>
                  </a:cubicBezTo>
                  <a:cubicBezTo>
                    <a:pt x="67" y="44"/>
                    <a:pt x="67" y="42"/>
                    <a:pt x="67" y="41"/>
                  </a:cubicBezTo>
                  <a:cubicBezTo>
                    <a:pt x="67" y="40"/>
                    <a:pt x="65" y="39"/>
                    <a:pt x="65" y="38"/>
                  </a:cubicBezTo>
                  <a:cubicBezTo>
                    <a:pt x="64" y="37"/>
                    <a:pt x="64" y="36"/>
                    <a:pt x="62" y="34"/>
                  </a:cubicBezTo>
                  <a:cubicBezTo>
                    <a:pt x="61" y="33"/>
                    <a:pt x="60" y="31"/>
                    <a:pt x="60" y="31"/>
                  </a:cubicBezTo>
                  <a:cubicBezTo>
                    <a:pt x="60" y="29"/>
                    <a:pt x="60" y="29"/>
                    <a:pt x="60" y="29"/>
                  </a:cubicBezTo>
                  <a:cubicBezTo>
                    <a:pt x="60" y="27"/>
                    <a:pt x="60" y="27"/>
                    <a:pt x="60" y="27"/>
                  </a:cubicBezTo>
                  <a:cubicBezTo>
                    <a:pt x="63" y="28"/>
                    <a:pt x="63" y="28"/>
                    <a:pt x="63" y="28"/>
                  </a:cubicBezTo>
                  <a:cubicBezTo>
                    <a:pt x="63" y="28"/>
                    <a:pt x="64" y="28"/>
                    <a:pt x="65" y="28"/>
                  </a:cubicBezTo>
                  <a:cubicBezTo>
                    <a:pt x="65" y="28"/>
                    <a:pt x="68" y="29"/>
                    <a:pt x="68" y="29"/>
                  </a:cubicBezTo>
                  <a:cubicBezTo>
                    <a:pt x="68" y="29"/>
                    <a:pt x="70" y="29"/>
                    <a:pt x="70" y="30"/>
                  </a:cubicBezTo>
                  <a:cubicBezTo>
                    <a:pt x="71" y="30"/>
                    <a:pt x="71" y="30"/>
                    <a:pt x="72" y="30"/>
                  </a:cubicBezTo>
                  <a:cubicBezTo>
                    <a:pt x="72" y="30"/>
                    <a:pt x="73" y="31"/>
                    <a:pt x="74" y="32"/>
                  </a:cubicBezTo>
                  <a:cubicBezTo>
                    <a:pt x="74" y="32"/>
                    <a:pt x="73" y="33"/>
                    <a:pt x="73" y="34"/>
                  </a:cubicBezTo>
                  <a:cubicBezTo>
                    <a:pt x="72" y="34"/>
                    <a:pt x="73" y="35"/>
                    <a:pt x="73" y="35"/>
                  </a:cubicBezTo>
                  <a:cubicBezTo>
                    <a:pt x="73" y="35"/>
                    <a:pt x="75" y="35"/>
                    <a:pt x="75" y="36"/>
                  </a:cubicBezTo>
                  <a:cubicBezTo>
                    <a:pt x="76" y="36"/>
                    <a:pt x="75" y="37"/>
                    <a:pt x="75" y="37"/>
                  </a:cubicBezTo>
                  <a:cubicBezTo>
                    <a:pt x="75" y="37"/>
                    <a:pt x="75" y="39"/>
                    <a:pt x="75" y="40"/>
                  </a:cubicBezTo>
                  <a:cubicBezTo>
                    <a:pt x="75" y="40"/>
                    <a:pt x="76" y="38"/>
                    <a:pt x="76" y="38"/>
                  </a:cubicBezTo>
                  <a:cubicBezTo>
                    <a:pt x="76" y="38"/>
                    <a:pt x="77" y="37"/>
                    <a:pt x="77" y="36"/>
                  </a:cubicBezTo>
                  <a:cubicBezTo>
                    <a:pt x="77" y="35"/>
                    <a:pt x="78" y="34"/>
                    <a:pt x="78" y="34"/>
                  </a:cubicBezTo>
                  <a:cubicBezTo>
                    <a:pt x="80" y="31"/>
                    <a:pt x="80" y="31"/>
                    <a:pt x="80" y="31"/>
                  </a:cubicBezTo>
                  <a:cubicBezTo>
                    <a:pt x="82" y="29"/>
                    <a:pt x="82" y="29"/>
                    <a:pt x="82" y="29"/>
                  </a:cubicBezTo>
                  <a:cubicBezTo>
                    <a:pt x="82" y="29"/>
                    <a:pt x="85" y="28"/>
                    <a:pt x="86" y="28"/>
                  </a:cubicBezTo>
                  <a:cubicBezTo>
                    <a:pt x="87" y="27"/>
                    <a:pt x="86" y="27"/>
                    <a:pt x="87" y="27"/>
                  </a:cubicBezTo>
                  <a:cubicBezTo>
                    <a:pt x="87" y="27"/>
                    <a:pt x="87" y="25"/>
                    <a:pt x="87" y="25"/>
                  </a:cubicBezTo>
                  <a:lnTo>
                    <a:pt x="85" y="24"/>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7" name="Freeform 204"/>
            <p:cNvSpPr>
              <a:spLocks/>
            </p:cNvSpPr>
            <p:nvPr/>
          </p:nvSpPr>
          <p:spPr bwMode="auto">
            <a:xfrm>
              <a:off x="6467533" y="5062282"/>
              <a:ext cx="581991" cy="526939"/>
            </a:xfrm>
            <a:custGeom>
              <a:avLst/>
              <a:gdLst>
                <a:gd name="T0" fmla="*/ 143 w 201"/>
                <a:gd name="T1" fmla="*/ 176 h 193"/>
                <a:gd name="T2" fmla="*/ 129 w 201"/>
                <a:gd name="T3" fmla="*/ 165 h 193"/>
                <a:gd name="T4" fmla="*/ 142 w 201"/>
                <a:gd name="T5" fmla="*/ 164 h 193"/>
                <a:gd name="T6" fmla="*/ 153 w 201"/>
                <a:gd name="T7" fmla="*/ 177 h 193"/>
                <a:gd name="T8" fmla="*/ 157 w 201"/>
                <a:gd name="T9" fmla="*/ 167 h 193"/>
                <a:gd name="T10" fmla="*/ 145 w 201"/>
                <a:gd name="T11" fmla="*/ 155 h 193"/>
                <a:gd name="T12" fmla="*/ 128 w 201"/>
                <a:gd name="T13" fmla="*/ 147 h 193"/>
                <a:gd name="T14" fmla="*/ 111 w 201"/>
                <a:gd name="T15" fmla="*/ 138 h 193"/>
                <a:gd name="T16" fmla="*/ 111 w 201"/>
                <a:gd name="T17" fmla="*/ 150 h 193"/>
                <a:gd name="T18" fmla="*/ 115 w 201"/>
                <a:gd name="T19" fmla="*/ 159 h 193"/>
                <a:gd name="T20" fmla="*/ 106 w 201"/>
                <a:gd name="T21" fmla="*/ 155 h 193"/>
                <a:gd name="T22" fmla="*/ 93 w 201"/>
                <a:gd name="T23" fmla="*/ 151 h 193"/>
                <a:gd name="T24" fmla="*/ 96 w 201"/>
                <a:gd name="T25" fmla="*/ 147 h 193"/>
                <a:gd name="T26" fmla="*/ 98 w 201"/>
                <a:gd name="T27" fmla="*/ 136 h 193"/>
                <a:gd name="T28" fmla="*/ 101 w 201"/>
                <a:gd name="T29" fmla="*/ 127 h 193"/>
                <a:gd name="T30" fmla="*/ 106 w 201"/>
                <a:gd name="T31" fmla="*/ 135 h 193"/>
                <a:gd name="T32" fmla="*/ 99 w 201"/>
                <a:gd name="T33" fmla="*/ 120 h 193"/>
                <a:gd name="T34" fmla="*/ 90 w 201"/>
                <a:gd name="T35" fmla="*/ 109 h 193"/>
                <a:gd name="T36" fmla="*/ 76 w 201"/>
                <a:gd name="T37" fmla="*/ 96 h 193"/>
                <a:gd name="T38" fmla="*/ 79 w 201"/>
                <a:gd name="T39" fmla="*/ 76 h 193"/>
                <a:gd name="T40" fmla="*/ 84 w 201"/>
                <a:gd name="T41" fmla="*/ 81 h 193"/>
                <a:gd name="T42" fmla="*/ 102 w 201"/>
                <a:gd name="T43" fmla="*/ 91 h 193"/>
                <a:gd name="T44" fmla="*/ 114 w 201"/>
                <a:gd name="T45" fmla="*/ 97 h 193"/>
                <a:gd name="T46" fmla="*/ 106 w 201"/>
                <a:gd name="T47" fmla="*/ 91 h 193"/>
                <a:gd name="T48" fmla="*/ 110 w 201"/>
                <a:gd name="T49" fmla="*/ 84 h 193"/>
                <a:gd name="T50" fmla="*/ 124 w 201"/>
                <a:gd name="T51" fmla="*/ 93 h 193"/>
                <a:gd name="T52" fmla="*/ 113 w 201"/>
                <a:gd name="T53" fmla="*/ 80 h 193"/>
                <a:gd name="T54" fmla="*/ 122 w 201"/>
                <a:gd name="T55" fmla="*/ 78 h 193"/>
                <a:gd name="T56" fmla="*/ 138 w 201"/>
                <a:gd name="T57" fmla="*/ 82 h 193"/>
                <a:gd name="T58" fmla="*/ 123 w 201"/>
                <a:gd name="T59" fmla="*/ 71 h 193"/>
                <a:gd name="T60" fmla="*/ 115 w 201"/>
                <a:gd name="T61" fmla="*/ 67 h 193"/>
                <a:gd name="T62" fmla="*/ 123 w 201"/>
                <a:gd name="T63" fmla="*/ 57 h 193"/>
                <a:gd name="T64" fmla="*/ 146 w 201"/>
                <a:gd name="T65" fmla="*/ 46 h 193"/>
                <a:gd name="T66" fmla="*/ 163 w 201"/>
                <a:gd name="T67" fmla="*/ 43 h 193"/>
                <a:gd name="T68" fmla="*/ 195 w 201"/>
                <a:gd name="T69" fmla="*/ 36 h 193"/>
                <a:gd name="T70" fmla="*/ 197 w 201"/>
                <a:gd name="T71" fmla="*/ 9 h 193"/>
                <a:gd name="T72" fmla="*/ 182 w 201"/>
                <a:gd name="T73" fmla="*/ 9 h 193"/>
                <a:gd name="T74" fmla="*/ 163 w 201"/>
                <a:gd name="T75" fmla="*/ 24 h 193"/>
                <a:gd name="T76" fmla="*/ 132 w 201"/>
                <a:gd name="T77" fmla="*/ 23 h 193"/>
                <a:gd name="T78" fmla="*/ 113 w 201"/>
                <a:gd name="T79" fmla="*/ 27 h 193"/>
                <a:gd name="T80" fmla="*/ 84 w 201"/>
                <a:gd name="T81" fmla="*/ 39 h 193"/>
                <a:gd name="T82" fmla="*/ 47 w 201"/>
                <a:gd name="T83" fmla="*/ 57 h 193"/>
                <a:gd name="T84" fmla="*/ 23 w 201"/>
                <a:gd name="T85" fmla="*/ 71 h 193"/>
                <a:gd name="T86" fmla="*/ 22 w 201"/>
                <a:gd name="T87" fmla="*/ 78 h 193"/>
                <a:gd name="T88" fmla="*/ 17 w 201"/>
                <a:gd name="T89" fmla="*/ 95 h 193"/>
                <a:gd name="T90" fmla="*/ 3 w 201"/>
                <a:gd name="T91" fmla="*/ 118 h 193"/>
                <a:gd name="T92" fmla="*/ 4 w 201"/>
                <a:gd name="T93" fmla="*/ 126 h 193"/>
                <a:gd name="T94" fmla="*/ 7 w 201"/>
                <a:gd name="T95" fmla="*/ 144 h 193"/>
                <a:gd name="T96" fmla="*/ 22 w 201"/>
                <a:gd name="T97" fmla="*/ 156 h 193"/>
                <a:gd name="T98" fmla="*/ 38 w 201"/>
                <a:gd name="T99" fmla="*/ 156 h 193"/>
                <a:gd name="T100" fmla="*/ 23 w 201"/>
                <a:gd name="T101" fmla="*/ 164 h 193"/>
                <a:gd name="T102" fmla="*/ 25 w 201"/>
                <a:gd name="T103" fmla="*/ 168 h 193"/>
                <a:gd name="T104" fmla="*/ 35 w 201"/>
                <a:gd name="T105" fmla="*/ 170 h 193"/>
                <a:gd name="T106" fmla="*/ 48 w 201"/>
                <a:gd name="T107" fmla="*/ 175 h 193"/>
                <a:gd name="T108" fmla="*/ 70 w 201"/>
                <a:gd name="T109" fmla="*/ 175 h 193"/>
                <a:gd name="T110" fmla="*/ 88 w 201"/>
                <a:gd name="T111" fmla="*/ 170 h 193"/>
                <a:gd name="T112" fmla="*/ 104 w 201"/>
                <a:gd name="T113" fmla="*/ 177 h 193"/>
                <a:gd name="T114" fmla="*/ 108 w 201"/>
                <a:gd name="T115" fmla="*/ 181 h 193"/>
                <a:gd name="T116" fmla="*/ 113 w 201"/>
                <a:gd name="T117" fmla="*/ 188 h 193"/>
                <a:gd name="T118" fmla="*/ 127 w 201"/>
                <a:gd name="T119" fmla="*/ 179 h 193"/>
                <a:gd name="T120" fmla="*/ 129 w 201"/>
                <a:gd name="T121" fmla="*/ 184 h 193"/>
                <a:gd name="T122" fmla="*/ 141 w 201"/>
                <a:gd name="T123" fmla="*/ 188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1" h="193">
                  <a:moveTo>
                    <a:pt x="149" y="188"/>
                  </a:moveTo>
                  <a:cubicBezTo>
                    <a:pt x="148" y="188"/>
                    <a:pt x="148" y="188"/>
                    <a:pt x="148" y="188"/>
                  </a:cubicBezTo>
                  <a:cubicBezTo>
                    <a:pt x="148" y="185"/>
                    <a:pt x="148" y="185"/>
                    <a:pt x="148" y="185"/>
                  </a:cubicBezTo>
                  <a:cubicBezTo>
                    <a:pt x="147" y="184"/>
                    <a:pt x="147" y="184"/>
                    <a:pt x="147" y="184"/>
                  </a:cubicBezTo>
                  <a:cubicBezTo>
                    <a:pt x="145" y="181"/>
                    <a:pt x="145" y="181"/>
                    <a:pt x="145" y="181"/>
                  </a:cubicBezTo>
                  <a:cubicBezTo>
                    <a:pt x="143" y="176"/>
                    <a:pt x="143" y="176"/>
                    <a:pt x="143" y="176"/>
                  </a:cubicBezTo>
                  <a:cubicBezTo>
                    <a:pt x="143" y="176"/>
                    <a:pt x="142" y="172"/>
                    <a:pt x="142" y="172"/>
                  </a:cubicBezTo>
                  <a:cubicBezTo>
                    <a:pt x="142" y="171"/>
                    <a:pt x="141" y="170"/>
                    <a:pt x="141" y="170"/>
                  </a:cubicBezTo>
                  <a:cubicBezTo>
                    <a:pt x="141" y="166"/>
                    <a:pt x="141" y="166"/>
                    <a:pt x="141" y="166"/>
                  </a:cubicBezTo>
                  <a:cubicBezTo>
                    <a:pt x="136" y="165"/>
                    <a:pt x="136" y="165"/>
                    <a:pt x="136" y="165"/>
                  </a:cubicBezTo>
                  <a:cubicBezTo>
                    <a:pt x="133" y="165"/>
                    <a:pt x="133" y="165"/>
                    <a:pt x="133" y="165"/>
                  </a:cubicBezTo>
                  <a:cubicBezTo>
                    <a:pt x="129" y="165"/>
                    <a:pt x="129" y="165"/>
                    <a:pt x="129" y="165"/>
                  </a:cubicBezTo>
                  <a:cubicBezTo>
                    <a:pt x="129" y="163"/>
                    <a:pt x="129" y="163"/>
                    <a:pt x="129" y="163"/>
                  </a:cubicBezTo>
                  <a:cubicBezTo>
                    <a:pt x="131" y="163"/>
                    <a:pt x="131" y="163"/>
                    <a:pt x="131" y="163"/>
                  </a:cubicBezTo>
                  <a:cubicBezTo>
                    <a:pt x="131" y="163"/>
                    <a:pt x="134" y="163"/>
                    <a:pt x="135" y="163"/>
                  </a:cubicBezTo>
                  <a:cubicBezTo>
                    <a:pt x="136" y="163"/>
                    <a:pt x="137" y="162"/>
                    <a:pt x="137" y="162"/>
                  </a:cubicBezTo>
                  <a:cubicBezTo>
                    <a:pt x="140" y="161"/>
                    <a:pt x="140" y="161"/>
                    <a:pt x="140" y="161"/>
                  </a:cubicBezTo>
                  <a:cubicBezTo>
                    <a:pt x="142" y="164"/>
                    <a:pt x="142" y="164"/>
                    <a:pt x="142" y="164"/>
                  </a:cubicBezTo>
                  <a:cubicBezTo>
                    <a:pt x="144" y="166"/>
                    <a:pt x="144" y="166"/>
                    <a:pt x="144" y="166"/>
                  </a:cubicBezTo>
                  <a:cubicBezTo>
                    <a:pt x="147" y="168"/>
                    <a:pt x="147" y="168"/>
                    <a:pt x="147" y="168"/>
                  </a:cubicBezTo>
                  <a:cubicBezTo>
                    <a:pt x="147" y="172"/>
                    <a:pt x="147" y="172"/>
                    <a:pt x="147" y="172"/>
                  </a:cubicBezTo>
                  <a:cubicBezTo>
                    <a:pt x="147" y="172"/>
                    <a:pt x="152" y="173"/>
                    <a:pt x="153" y="174"/>
                  </a:cubicBezTo>
                  <a:cubicBezTo>
                    <a:pt x="153" y="174"/>
                    <a:pt x="153" y="174"/>
                    <a:pt x="153" y="174"/>
                  </a:cubicBezTo>
                  <a:cubicBezTo>
                    <a:pt x="153" y="177"/>
                    <a:pt x="153" y="177"/>
                    <a:pt x="153" y="177"/>
                  </a:cubicBezTo>
                  <a:cubicBezTo>
                    <a:pt x="153" y="177"/>
                    <a:pt x="156" y="176"/>
                    <a:pt x="157" y="176"/>
                  </a:cubicBezTo>
                  <a:cubicBezTo>
                    <a:pt x="157" y="176"/>
                    <a:pt x="160" y="176"/>
                    <a:pt x="160" y="176"/>
                  </a:cubicBezTo>
                  <a:cubicBezTo>
                    <a:pt x="161" y="176"/>
                    <a:pt x="163" y="174"/>
                    <a:pt x="163" y="174"/>
                  </a:cubicBezTo>
                  <a:cubicBezTo>
                    <a:pt x="164" y="174"/>
                    <a:pt x="163" y="170"/>
                    <a:pt x="163" y="170"/>
                  </a:cubicBezTo>
                  <a:cubicBezTo>
                    <a:pt x="163" y="170"/>
                    <a:pt x="160" y="168"/>
                    <a:pt x="160" y="167"/>
                  </a:cubicBezTo>
                  <a:cubicBezTo>
                    <a:pt x="159" y="167"/>
                    <a:pt x="157" y="167"/>
                    <a:pt x="157" y="167"/>
                  </a:cubicBezTo>
                  <a:cubicBezTo>
                    <a:pt x="157" y="167"/>
                    <a:pt x="155" y="168"/>
                    <a:pt x="154" y="168"/>
                  </a:cubicBezTo>
                  <a:cubicBezTo>
                    <a:pt x="154" y="168"/>
                    <a:pt x="153" y="168"/>
                    <a:pt x="153" y="169"/>
                  </a:cubicBezTo>
                  <a:cubicBezTo>
                    <a:pt x="152" y="169"/>
                    <a:pt x="151" y="167"/>
                    <a:pt x="150" y="166"/>
                  </a:cubicBezTo>
                  <a:cubicBezTo>
                    <a:pt x="150" y="165"/>
                    <a:pt x="147" y="162"/>
                    <a:pt x="147" y="162"/>
                  </a:cubicBezTo>
                  <a:cubicBezTo>
                    <a:pt x="147" y="161"/>
                    <a:pt x="145" y="158"/>
                    <a:pt x="145" y="158"/>
                  </a:cubicBezTo>
                  <a:cubicBezTo>
                    <a:pt x="145" y="157"/>
                    <a:pt x="145" y="155"/>
                    <a:pt x="145" y="155"/>
                  </a:cubicBezTo>
                  <a:cubicBezTo>
                    <a:pt x="145" y="155"/>
                    <a:pt x="144" y="152"/>
                    <a:pt x="144" y="151"/>
                  </a:cubicBezTo>
                  <a:cubicBezTo>
                    <a:pt x="143" y="151"/>
                    <a:pt x="141" y="149"/>
                    <a:pt x="141" y="149"/>
                  </a:cubicBezTo>
                  <a:cubicBezTo>
                    <a:pt x="140" y="148"/>
                    <a:pt x="140" y="148"/>
                    <a:pt x="140" y="148"/>
                  </a:cubicBezTo>
                  <a:cubicBezTo>
                    <a:pt x="136" y="149"/>
                    <a:pt x="136" y="149"/>
                    <a:pt x="136" y="149"/>
                  </a:cubicBezTo>
                  <a:cubicBezTo>
                    <a:pt x="131" y="149"/>
                    <a:pt x="131" y="149"/>
                    <a:pt x="131" y="149"/>
                  </a:cubicBezTo>
                  <a:cubicBezTo>
                    <a:pt x="128" y="147"/>
                    <a:pt x="128" y="147"/>
                    <a:pt x="128" y="147"/>
                  </a:cubicBezTo>
                  <a:cubicBezTo>
                    <a:pt x="128" y="147"/>
                    <a:pt x="126" y="147"/>
                    <a:pt x="126" y="147"/>
                  </a:cubicBezTo>
                  <a:cubicBezTo>
                    <a:pt x="125" y="147"/>
                    <a:pt x="121" y="145"/>
                    <a:pt x="121" y="145"/>
                  </a:cubicBezTo>
                  <a:cubicBezTo>
                    <a:pt x="121" y="145"/>
                    <a:pt x="117" y="144"/>
                    <a:pt x="116" y="144"/>
                  </a:cubicBezTo>
                  <a:cubicBezTo>
                    <a:pt x="116" y="143"/>
                    <a:pt x="115" y="142"/>
                    <a:pt x="115" y="141"/>
                  </a:cubicBezTo>
                  <a:cubicBezTo>
                    <a:pt x="114" y="140"/>
                    <a:pt x="113" y="139"/>
                    <a:pt x="113" y="139"/>
                  </a:cubicBezTo>
                  <a:cubicBezTo>
                    <a:pt x="113" y="139"/>
                    <a:pt x="112" y="138"/>
                    <a:pt x="111" y="138"/>
                  </a:cubicBezTo>
                  <a:cubicBezTo>
                    <a:pt x="110" y="138"/>
                    <a:pt x="109" y="139"/>
                    <a:pt x="108" y="139"/>
                  </a:cubicBezTo>
                  <a:cubicBezTo>
                    <a:pt x="108" y="139"/>
                    <a:pt x="105" y="139"/>
                    <a:pt x="105" y="139"/>
                  </a:cubicBezTo>
                  <a:cubicBezTo>
                    <a:pt x="104" y="138"/>
                    <a:pt x="104" y="141"/>
                    <a:pt x="104" y="141"/>
                  </a:cubicBezTo>
                  <a:cubicBezTo>
                    <a:pt x="103" y="142"/>
                    <a:pt x="102" y="145"/>
                    <a:pt x="102" y="145"/>
                  </a:cubicBezTo>
                  <a:cubicBezTo>
                    <a:pt x="106" y="147"/>
                    <a:pt x="106" y="147"/>
                    <a:pt x="106" y="147"/>
                  </a:cubicBezTo>
                  <a:cubicBezTo>
                    <a:pt x="111" y="150"/>
                    <a:pt x="111" y="150"/>
                    <a:pt x="111" y="150"/>
                  </a:cubicBezTo>
                  <a:cubicBezTo>
                    <a:pt x="115" y="150"/>
                    <a:pt x="115" y="150"/>
                    <a:pt x="115" y="150"/>
                  </a:cubicBezTo>
                  <a:cubicBezTo>
                    <a:pt x="115" y="150"/>
                    <a:pt x="119" y="153"/>
                    <a:pt x="119" y="154"/>
                  </a:cubicBezTo>
                  <a:cubicBezTo>
                    <a:pt x="120" y="154"/>
                    <a:pt x="122" y="156"/>
                    <a:pt x="122" y="156"/>
                  </a:cubicBezTo>
                  <a:cubicBezTo>
                    <a:pt x="125" y="158"/>
                    <a:pt x="125" y="158"/>
                    <a:pt x="125" y="158"/>
                  </a:cubicBezTo>
                  <a:cubicBezTo>
                    <a:pt x="125" y="158"/>
                    <a:pt x="118" y="160"/>
                    <a:pt x="118" y="160"/>
                  </a:cubicBezTo>
                  <a:cubicBezTo>
                    <a:pt x="117" y="160"/>
                    <a:pt x="116" y="159"/>
                    <a:pt x="115" y="159"/>
                  </a:cubicBezTo>
                  <a:cubicBezTo>
                    <a:pt x="114" y="159"/>
                    <a:pt x="114" y="157"/>
                    <a:pt x="114" y="157"/>
                  </a:cubicBezTo>
                  <a:cubicBezTo>
                    <a:pt x="113" y="155"/>
                    <a:pt x="113" y="155"/>
                    <a:pt x="113" y="155"/>
                  </a:cubicBezTo>
                  <a:cubicBezTo>
                    <a:pt x="113" y="155"/>
                    <a:pt x="110" y="154"/>
                    <a:pt x="110" y="154"/>
                  </a:cubicBezTo>
                  <a:cubicBezTo>
                    <a:pt x="109" y="154"/>
                    <a:pt x="109" y="155"/>
                    <a:pt x="108" y="155"/>
                  </a:cubicBezTo>
                  <a:cubicBezTo>
                    <a:pt x="108" y="155"/>
                    <a:pt x="107" y="155"/>
                    <a:pt x="107" y="155"/>
                  </a:cubicBezTo>
                  <a:cubicBezTo>
                    <a:pt x="106" y="155"/>
                    <a:pt x="106" y="155"/>
                    <a:pt x="106" y="155"/>
                  </a:cubicBezTo>
                  <a:cubicBezTo>
                    <a:pt x="106" y="155"/>
                    <a:pt x="105" y="155"/>
                    <a:pt x="104" y="155"/>
                  </a:cubicBezTo>
                  <a:cubicBezTo>
                    <a:pt x="103" y="155"/>
                    <a:pt x="103" y="154"/>
                    <a:pt x="103" y="154"/>
                  </a:cubicBezTo>
                  <a:cubicBezTo>
                    <a:pt x="103" y="154"/>
                    <a:pt x="103" y="153"/>
                    <a:pt x="102" y="152"/>
                  </a:cubicBezTo>
                  <a:cubicBezTo>
                    <a:pt x="101" y="152"/>
                    <a:pt x="100" y="152"/>
                    <a:pt x="99" y="152"/>
                  </a:cubicBezTo>
                  <a:cubicBezTo>
                    <a:pt x="98" y="151"/>
                    <a:pt x="97" y="151"/>
                    <a:pt x="97" y="151"/>
                  </a:cubicBezTo>
                  <a:cubicBezTo>
                    <a:pt x="96" y="151"/>
                    <a:pt x="94" y="151"/>
                    <a:pt x="93" y="151"/>
                  </a:cubicBezTo>
                  <a:cubicBezTo>
                    <a:pt x="93" y="151"/>
                    <a:pt x="92" y="151"/>
                    <a:pt x="89" y="151"/>
                  </a:cubicBezTo>
                  <a:cubicBezTo>
                    <a:pt x="85" y="150"/>
                    <a:pt x="88" y="149"/>
                    <a:pt x="88" y="149"/>
                  </a:cubicBezTo>
                  <a:cubicBezTo>
                    <a:pt x="88" y="148"/>
                    <a:pt x="90" y="148"/>
                    <a:pt x="90" y="148"/>
                  </a:cubicBezTo>
                  <a:cubicBezTo>
                    <a:pt x="90" y="148"/>
                    <a:pt x="92" y="149"/>
                    <a:pt x="92" y="148"/>
                  </a:cubicBezTo>
                  <a:cubicBezTo>
                    <a:pt x="93" y="148"/>
                    <a:pt x="93" y="148"/>
                    <a:pt x="93" y="148"/>
                  </a:cubicBezTo>
                  <a:cubicBezTo>
                    <a:pt x="93" y="148"/>
                    <a:pt x="95" y="147"/>
                    <a:pt x="96" y="147"/>
                  </a:cubicBezTo>
                  <a:cubicBezTo>
                    <a:pt x="96" y="147"/>
                    <a:pt x="97" y="146"/>
                    <a:pt x="97" y="146"/>
                  </a:cubicBezTo>
                  <a:cubicBezTo>
                    <a:pt x="100" y="143"/>
                    <a:pt x="100" y="143"/>
                    <a:pt x="100" y="143"/>
                  </a:cubicBezTo>
                  <a:cubicBezTo>
                    <a:pt x="101" y="141"/>
                    <a:pt x="101" y="141"/>
                    <a:pt x="101" y="141"/>
                  </a:cubicBezTo>
                  <a:cubicBezTo>
                    <a:pt x="101" y="139"/>
                    <a:pt x="101" y="139"/>
                    <a:pt x="101" y="139"/>
                  </a:cubicBezTo>
                  <a:cubicBezTo>
                    <a:pt x="99" y="138"/>
                    <a:pt x="99" y="138"/>
                    <a:pt x="99" y="138"/>
                  </a:cubicBezTo>
                  <a:cubicBezTo>
                    <a:pt x="99" y="138"/>
                    <a:pt x="98" y="137"/>
                    <a:pt x="98" y="136"/>
                  </a:cubicBezTo>
                  <a:cubicBezTo>
                    <a:pt x="98" y="136"/>
                    <a:pt x="96" y="135"/>
                    <a:pt x="96" y="135"/>
                  </a:cubicBezTo>
                  <a:cubicBezTo>
                    <a:pt x="92" y="133"/>
                    <a:pt x="92" y="133"/>
                    <a:pt x="92" y="133"/>
                  </a:cubicBezTo>
                  <a:cubicBezTo>
                    <a:pt x="93" y="131"/>
                    <a:pt x="93" y="131"/>
                    <a:pt x="93" y="131"/>
                  </a:cubicBezTo>
                  <a:cubicBezTo>
                    <a:pt x="93" y="131"/>
                    <a:pt x="96" y="128"/>
                    <a:pt x="97" y="128"/>
                  </a:cubicBezTo>
                  <a:cubicBezTo>
                    <a:pt x="97" y="127"/>
                    <a:pt x="99" y="127"/>
                    <a:pt x="99" y="127"/>
                  </a:cubicBezTo>
                  <a:cubicBezTo>
                    <a:pt x="101" y="127"/>
                    <a:pt x="101" y="127"/>
                    <a:pt x="101" y="127"/>
                  </a:cubicBezTo>
                  <a:cubicBezTo>
                    <a:pt x="103" y="129"/>
                    <a:pt x="103" y="129"/>
                    <a:pt x="103" y="129"/>
                  </a:cubicBezTo>
                  <a:cubicBezTo>
                    <a:pt x="103" y="129"/>
                    <a:pt x="105" y="130"/>
                    <a:pt x="106" y="131"/>
                  </a:cubicBezTo>
                  <a:cubicBezTo>
                    <a:pt x="106" y="131"/>
                    <a:pt x="107" y="133"/>
                    <a:pt x="107" y="133"/>
                  </a:cubicBezTo>
                  <a:cubicBezTo>
                    <a:pt x="107" y="133"/>
                    <a:pt x="104" y="134"/>
                    <a:pt x="104" y="135"/>
                  </a:cubicBezTo>
                  <a:cubicBezTo>
                    <a:pt x="103" y="135"/>
                    <a:pt x="104" y="136"/>
                    <a:pt x="104" y="136"/>
                  </a:cubicBezTo>
                  <a:cubicBezTo>
                    <a:pt x="104" y="136"/>
                    <a:pt x="105" y="135"/>
                    <a:pt x="106" y="135"/>
                  </a:cubicBezTo>
                  <a:cubicBezTo>
                    <a:pt x="106" y="135"/>
                    <a:pt x="108" y="134"/>
                    <a:pt x="108" y="134"/>
                  </a:cubicBezTo>
                  <a:cubicBezTo>
                    <a:pt x="109" y="132"/>
                    <a:pt x="109" y="132"/>
                    <a:pt x="109" y="132"/>
                  </a:cubicBezTo>
                  <a:cubicBezTo>
                    <a:pt x="110" y="129"/>
                    <a:pt x="110" y="129"/>
                    <a:pt x="110" y="129"/>
                  </a:cubicBezTo>
                  <a:cubicBezTo>
                    <a:pt x="107" y="127"/>
                    <a:pt x="107" y="127"/>
                    <a:pt x="107" y="127"/>
                  </a:cubicBezTo>
                  <a:cubicBezTo>
                    <a:pt x="104" y="123"/>
                    <a:pt x="104" y="123"/>
                    <a:pt x="104" y="123"/>
                  </a:cubicBezTo>
                  <a:cubicBezTo>
                    <a:pt x="99" y="120"/>
                    <a:pt x="99" y="120"/>
                    <a:pt x="99" y="120"/>
                  </a:cubicBezTo>
                  <a:cubicBezTo>
                    <a:pt x="99" y="120"/>
                    <a:pt x="97" y="119"/>
                    <a:pt x="97" y="119"/>
                  </a:cubicBezTo>
                  <a:cubicBezTo>
                    <a:pt x="96" y="119"/>
                    <a:pt x="96" y="118"/>
                    <a:pt x="94" y="117"/>
                  </a:cubicBezTo>
                  <a:cubicBezTo>
                    <a:pt x="92" y="115"/>
                    <a:pt x="93" y="115"/>
                    <a:pt x="93" y="114"/>
                  </a:cubicBezTo>
                  <a:cubicBezTo>
                    <a:pt x="93" y="114"/>
                    <a:pt x="92" y="114"/>
                    <a:pt x="91" y="113"/>
                  </a:cubicBezTo>
                  <a:cubicBezTo>
                    <a:pt x="91" y="113"/>
                    <a:pt x="90" y="112"/>
                    <a:pt x="90" y="112"/>
                  </a:cubicBezTo>
                  <a:cubicBezTo>
                    <a:pt x="90" y="112"/>
                    <a:pt x="90" y="110"/>
                    <a:pt x="90" y="109"/>
                  </a:cubicBezTo>
                  <a:cubicBezTo>
                    <a:pt x="89" y="107"/>
                    <a:pt x="87" y="107"/>
                    <a:pt x="86" y="107"/>
                  </a:cubicBezTo>
                  <a:cubicBezTo>
                    <a:pt x="86" y="106"/>
                    <a:pt x="85" y="105"/>
                    <a:pt x="85" y="105"/>
                  </a:cubicBezTo>
                  <a:cubicBezTo>
                    <a:pt x="83" y="102"/>
                    <a:pt x="83" y="102"/>
                    <a:pt x="83" y="102"/>
                  </a:cubicBezTo>
                  <a:cubicBezTo>
                    <a:pt x="83" y="102"/>
                    <a:pt x="82" y="101"/>
                    <a:pt x="81" y="100"/>
                  </a:cubicBezTo>
                  <a:cubicBezTo>
                    <a:pt x="79" y="100"/>
                    <a:pt x="79" y="100"/>
                    <a:pt x="78" y="99"/>
                  </a:cubicBezTo>
                  <a:cubicBezTo>
                    <a:pt x="77" y="98"/>
                    <a:pt x="77" y="97"/>
                    <a:pt x="76" y="96"/>
                  </a:cubicBezTo>
                  <a:cubicBezTo>
                    <a:pt x="76" y="95"/>
                    <a:pt x="76" y="93"/>
                    <a:pt x="76" y="92"/>
                  </a:cubicBezTo>
                  <a:cubicBezTo>
                    <a:pt x="76" y="92"/>
                    <a:pt x="77" y="88"/>
                    <a:pt x="77" y="88"/>
                  </a:cubicBezTo>
                  <a:cubicBezTo>
                    <a:pt x="77" y="84"/>
                    <a:pt x="77" y="84"/>
                    <a:pt x="77" y="84"/>
                  </a:cubicBezTo>
                  <a:cubicBezTo>
                    <a:pt x="74" y="81"/>
                    <a:pt x="74" y="81"/>
                    <a:pt x="74" y="81"/>
                  </a:cubicBezTo>
                  <a:cubicBezTo>
                    <a:pt x="76" y="78"/>
                    <a:pt x="76" y="78"/>
                    <a:pt x="76" y="78"/>
                  </a:cubicBezTo>
                  <a:cubicBezTo>
                    <a:pt x="79" y="76"/>
                    <a:pt x="79" y="76"/>
                    <a:pt x="79" y="76"/>
                  </a:cubicBezTo>
                  <a:cubicBezTo>
                    <a:pt x="80" y="74"/>
                    <a:pt x="80" y="74"/>
                    <a:pt x="80" y="74"/>
                  </a:cubicBezTo>
                  <a:cubicBezTo>
                    <a:pt x="84" y="71"/>
                    <a:pt x="84" y="71"/>
                    <a:pt x="84" y="71"/>
                  </a:cubicBezTo>
                  <a:cubicBezTo>
                    <a:pt x="86" y="73"/>
                    <a:pt x="86" y="73"/>
                    <a:pt x="86" y="73"/>
                  </a:cubicBezTo>
                  <a:cubicBezTo>
                    <a:pt x="86" y="76"/>
                    <a:pt x="86" y="76"/>
                    <a:pt x="86" y="76"/>
                  </a:cubicBezTo>
                  <a:cubicBezTo>
                    <a:pt x="83" y="78"/>
                    <a:pt x="83" y="78"/>
                    <a:pt x="83" y="78"/>
                  </a:cubicBezTo>
                  <a:cubicBezTo>
                    <a:pt x="84" y="81"/>
                    <a:pt x="84" y="81"/>
                    <a:pt x="84" y="81"/>
                  </a:cubicBezTo>
                  <a:cubicBezTo>
                    <a:pt x="89" y="83"/>
                    <a:pt x="89" y="83"/>
                    <a:pt x="89" y="83"/>
                  </a:cubicBezTo>
                  <a:cubicBezTo>
                    <a:pt x="94" y="85"/>
                    <a:pt x="94" y="85"/>
                    <a:pt x="94" y="85"/>
                  </a:cubicBezTo>
                  <a:cubicBezTo>
                    <a:pt x="98" y="85"/>
                    <a:pt x="98" y="85"/>
                    <a:pt x="98" y="85"/>
                  </a:cubicBezTo>
                  <a:cubicBezTo>
                    <a:pt x="101" y="87"/>
                    <a:pt x="101" y="87"/>
                    <a:pt x="101" y="87"/>
                  </a:cubicBezTo>
                  <a:cubicBezTo>
                    <a:pt x="102" y="90"/>
                    <a:pt x="102" y="90"/>
                    <a:pt x="102" y="90"/>
                  </a:cubicBezTo>
                  <a:cubicBezTo>
                    <a:pt x="102" y="91"/>
                    <a:pt x="102" y="91"/>
                    <a:pt x="102" y="91"/>
                  </a:cubicBezTo>
                  <a:cubicBezTo>
                    <a:pt x="101" y="93"/>
                    <a:pt x="101" y="93"/>
                    <a:pt x="101" y="93"/>
                  </a:cubicBezTo>
                  <a:cubicBezTo>
                    <a:pt x="101" y="93"/>
                    <a:pt x="102" y="95"/>
                    <a:pt x="103" y="97"/>
                  </a:cubicBezTo>
                  <a:cubicBezTo>
                    <a:pt x="104" y="98"/>
                    <a:pt x="105" y="97"/>
                    <a:pt x="105" y="97"/>
                  </a:cubicBezTo>
                  <a:cubicBezTo>
                    <a:pt x="105" y="97"/>
                    <a:pt x="108" y="96"/>
                    <a:pt x="108" y="96"/>
                  </a:cubicBezTo>
                  <a:cubicBezTo>
                    <a:pt x="108" y="96"/>
                    <a:pt x="110" y="97"/>
                    <a:pt x="110" y="97"/>
                  </a:cubicBezTo>
                  <a:cubicBezTo>
                    <a:pt x="110" y="97"/>
                    <a:pt x="113" y="97"/>
                    <a:pt x="114" y="97"/>
                  </a:cubicBezTo>
                  <a:cubicBezTo>
                    <a:pt x="115" y="97"/>
                    <a:pt x="117" y="96"/>
                    <a:pt x="117" y="96"/>
                  </a:cubicBezTo>
                  <a:cubicBezTo>
                    <a:pt x="116" y="95"/>
                    <a:pt x="116" y="95"/>
                    <a:pt x="116" y="95"/>
                  </a:cubicBezTo>
                  <a:cubicBezTo>
                    <a:pt x="114" y="94"/>
                    <a:pt x="114" y="94"/>
                    <a:pt x="114" y="94"/>
                  </a:cubicBezTo>
                  <a:cubicBezTo>
                    <a:pt x="114" y="94"/>
                    <a:pt x="112" y="93"/>
                    <a:pt x="111" y="93"/>
                  </a:cubicBezTo>
                  <a:cubicBezTo>
                    <a:pt x="109" y="93"/>
                    <a:pt x="109" y="93"/>
                    <a:pt x="109" y="93"/>
                  </a:cubicBezTo>
                  <a:cubicBezTo>
                    <a:pt x="109" y="93"/>
                    <a:pt x="107" y="92"/>
                    <a:pt x="106" y="91"/>
                  </a:cubicBezTo>
                  <a:cubicBezTo>
                    <a:pt x="106" y="90"/>
                    <a:pt x="105" y="90"/>
                    <a:pt x="105" y="90"/>
                  </a:cubicBezTo>
                  <a:cubicBezTo>
                    <a:pt x="105" y="90"/>
                    <a:pt x="102" y="88"/>
                    <a:pt x="102" y="88"/>
                  </a:cubicBezTo>
                  <a:cubicBezTo>
                    <a:pt x="102" y="88"/>
                    <a:pt x="101" y="86"/>
                    <a:pt x="101" y="86"/>
                  </a:cubicBezTo>
                  <a:cubicBezTo>
                    <a:pt x="103" y="83"/>
                    <a:pt x="103" y="83"/>
                    <a:pt x="103" y="83"/>
                  </a:cubicBezTo>
                  <a:cubicBezTo>
                    <a:pt x="105" y="83"/>
                    <a:pt x="105" y="83"/>
                    <a:pt x="105" y="83"/>
                  </a:cubicBezTo>
                  <a:cubicBezTo>
                    <a:pt x="110" y="84"/>
                    <a:pt x="110" y="84"/>
                    <a:pt x="110" y="84"/>
                  </a:cubicBezTo>
                  <a:cubicBezTo>
                    <a:pt x="110" y="84"/>
                    <a:pt x="115" y="86"/>
                    <a:pt x="115" y="86"/>
                  </a:cubicBezTo>
                  <a:cubicBezTo>
                    <a:pt x="115" y="86"/>
                    <a:pt x="117" y="88"/>
                    <a:pt x="117" y="88"/>
                  </a:cubicBezTo>
                  <a:cubicBezTo>
                    <a:pt x="117" y="91"/>
                    <a:pt x="117" y="91"/>
                    <a:pt x="117" y="91"/>
                  </a:cubicBezTo>
                  <a:cubicBezTo>
                    <a:pt x="120" y="92"/>
                    <a:pt x="120" y="92"/>
                    <a:pt x="120" y="92"/>
                  </a:cubicBezTo>
                  <a:cubicBezTo>
                    <a:pt x="120" y="92"/>
                    <a:pt x="121" y="93"/>
                    <a:pt x="123" y="93"/>
                  </a:cubicBezTo>
                  <a:cubicBezTo>
                    <a:pt x="124" y="94"/>
                    <a:pt x="124" y="93"/>
                    <a:pt x="124" y="93"/>
                  </a:cubicBezTo>
                  <a:cubicBezTo>
                    <a:pt x="125" y="90"/>
                    <a:pt x="125" y="90"/>
                    <a:pt x="125" y="90"/>
                  </a:cubicBezTo>
                  <a:cubicBezTo>
                    <a:pt x="125" y="88"/>
                    <a:pt x="125" y="88"/>
                    <a:pt x="125" y="88"/>
                  </a:cubicBezTo>
                  <a:cubicBezTo>
                    <a:pt x="125" y="88"/>
                    <a:pt x="123" y="85"/>
                    <a:pt x="123" y="85"/>
                  </a:cubicBezTo>
                  <a:cubicBezTo>
                    <a:pt x="122" y="85"/>
                    <a:pt x="118" y="84"/>
                    <a:pt x="118" y="84"/>
                  </a:cubicBezTo>
                  <a:cubicBezTo>
                    <a:pt x="116" y="82"/>
                    <a:pt x="116" y="82"/>
                    <a:pt x="116" y="82"/>
                  </a:cubicBezTo>
                  <a:cubicBezTo>
                    <a:pt x="113" y="80"/>
                    <a:pt x="113" y="80"/>
                    <a:pt x="113" y="80"/>
                  </a:cubicBezTo>
                  <a:cubicBezTo>
                    <a:pt x="113" y="79"/>
                    <a:pt x="113" y="79"/>
                    <a:pt x="113" y="79"/>
                  </a:cubicBezTo>
                  <a:cubicBezTo>
                    <a:pt x="115" y="78"/>
                    <a:pt x="115" y="78"/>
                    <a:pt x="115" y="78"/>
                  </a:cubicBezTo>
                  <a:cubicBezTo>
                    <a:pt x="115" y="78"/>
                    <a:pt x="116" y="77"/>
                    <a:pt x="116" y="76"/>
                  </a:cubicBezTo>
                  <a:cubicBezTo>
                    <a:pt x="116" y="76"/>
                    <a:pt x="117" y="75"/>
                    <a:pt x="117" y="75"/>
                  </a:cubicBezTo>
                  <a:cubicBezTo>
                    <a:pt x="121" y="76"/>
                    <a:pt x="121" y="76"/>
                    <a:pt x="121" y="76"/>
                  </a:cubicBezTo>
                  <a:cubicBezTo>
                    <a:pt x="121" y="76"/>
                    <a:pt x="122" y="78"/>
                    <a:pt x="122" y="78"/>
                  </a:cubicBezTo>
                  <a:cubicBezTo>
                    <a:pt x="122" y="79"/>
                    <a:pt x="124" y="79"/>
                    <a:pt x="125" y="78"/>
                  </a:cubicBezTo>
                  <a:cubicBezTo>
                    <a:pt x="126" y="78"/>
                    <a:pt x="128" y="78"/>
                    <a:pt x="128" y="78"/>
                  </a:cubicBezTo>
                  <a:cubicBezTo>
                    <a:pt x="128" y="78"/>
                    <a:pt x="130" y="79"/>
                    <a:pt x="131" y="79"/>
                  </a:cubicBezTo>
                  <a:cubicBezTo>
                    <a:pt x="131" y="80"/>
                    <a:pt x="132" y="81"/>
                    <a:pt x="132" y="82"/>
                  </a:cubicBezTo>
                  <a:cubicBezTo>
                    <a:pt x="132" y="83"/>
                    <a:pt x="134" y="83"/>
                    <a:pt x="134" y="84"/>
                  </a:cubicBezTo>
                  <a:cubicBezTo>
                    <a:pt x="134" y="84"/>
                    <a:pt x="136" y="83"/>
                    <a:pt x="138" y="82"/>
                  </a:cubicBezTo>
                  <a:cubicBezTo>
                    <a:pt x="139" y="81"/>
                    <a:pt x="135" y="80"/>
                    <a:pt x="135" y="80"/>
                  </a:cubicBezTo>
                  <a:cubicBezTo>
                    <a:pt x="131" y="77"/>
                    <a:pt x="131" y="77"/>
                    <a:pt x="131" y="77"/>
                  </a:cubicBezTo>
                  <a:cubicBezTo>
                    <a:pt x="128" y="75"/>
                    <a:pt x="128" y="75"/>
                    <a:pt x="128" y="75"/>
                  </a:cubicBezTo>
                  <a:cubicBezTo>
                    <a:pt x="128" y="75"/>
                    <a:pt x="126" y="75"/>
                    <a:pt x="125" y="75"/>
                  </a:cubicBezTo>
                  <a:cubicBezTo>
                    <a:pt x="125" y="75"/>
                    <a:pt x="124" y="73"/>
                    <a:pt x="124" y="73"/>
                  </a:cubicBezTo>
                  <a:cubicBezTo>
                    <a:pt x="123" y="71"/>
                    <a:pt x="123" y="71"/>
                    <a:pt x="123" y="71"/>
                  </a:cubicBezTo>
                  <a:cubicBezTo>
                    <a:pt x="123" y="71"/>
                    <a:pt x="122" y="72"/>
                    <a:pt x="122" y="73"/>
                  </a:cubicBezTo>
                  <a:cubicBezTo>
                    <a:pt x="122" y="73"/>
                    <a:pt x="119" y="74"/>
                    <a:pt x="119" y="74"/>
                  </a:cubicBezTo>
                  <a:cubicBezTo>
                    <a:pt x="118" y="75"/>
                    <a:pt x="116" y="74"/>
                    <a:pt x="116" y="74"/>
                  </a:cubicBezTo>
                  <a:cubicBezTo>
                    <a:pt x="116" y="70"/>
                    <a:pt x="116" y="70"/>
                    <a:pt x="116" y="70"/>
                  </a:cubicBezTo>
                  <a:cubicBezTo>
                    <a:pt x="116" y="70"/>
                    <a:pt x="117" y="68"/>
                    <a:pt x="117" y="68"/>
                  </a:cubicBezTo>
                  <a:cubicBezTo>
                    <a:pt x="117" y="68"/>
                    <a:pt x="115" y="67"/>
                    <a:pt x="115" y="67"/>
                  </a:cubicBezTo>
                  <a:cubicBezTo>
                    <a:pt x="111" y="65"/>
                    <a:pt x="111" y="65"/>
                    <a:pt x="111" y="65"/>
                  </a:cubicBezTo>
                  <a:cubicBezTo>
                    <a:pt x="109" y="64"/>
                    <a:pt x="109" y="64"/>
                    <a:pt x="109" y="64"/>
                  </a:cubicBezTo>
                  <a:cubicBezTo>
                    <a:pt x="111" y="61"/>
                    <a:pt x="111" y="61"/>
                    <a:pt x="111" y="61"/>
                  </a:cubicBezTo>
                  <a:cubicBezTo>
                    <a:pt x="114" y="59"/>
                    <a:pt x="114" y="59"/>
                    <a:pt x="114" y="59"/>
                  </a:cubicBezTo>
                  <a:cubicBezTo>
                    <a:pt x="114" y="59"/>
                    <a:pt x="117" y="59"/>
                    <a:pt x="118" y="59"/>
                  </a:cubicBezTo>
                  <a:cubicBezTo>
                    <a:pt x="118" y="59"/>
                    <a:pt x="123" y="57"/>
                    <a:pt x="123" y="57"/>
                  </a:cubicBezTo>
                  <a:cubicBezTo>
                    <a:pt x="127" y="55"/>
                    <a:pt x="127" y="55"/>
                    <a:pt x="127" y="55"/>
                  </a:cubicBezTo>
                  <a:cubicBezTo>
                    <a:pt x="129" y="50"/>
                    <a:pt x="129" y="50"/>
                    <a:pt x="129" y="50"/>
                  </a:cubicBezTo>
                  <a:cubicBezTo>
                    <a:pt x="129" y="48"/>
                    <a:pt x="129" y="48"/>
                    <a:pt x="129" y="48"/>
                  </a:cubicBezTo>
                  <a:cubicBezTo>
                    <a:pt x="134" y="48"/>
                    <a:pt x="134" y="48"/>
                    <a:pt x="134" y="48"/>
                  </a:cubicBezTo>
                  <a:cubicBezTo>
                    <a:pt x="142" y="48"/>
                    <a:pt x="142" y="48"/>
                    <a:pt x="142" y="48"/>
                  </a:cubicBezTo>
                  <a:cubicBezTo>
                    <a:pt x="146" y="46"/>
                    <a:pt x="146" y="46"/>
                    <a:pt x="146" y="46"/>
                  </a:cubicBezTo>
                  <a:cubicBezTo>
                    <a:pt x="150" y="44"/>
                    <a:pt x="150" y="44"/>
                    <a:pt x="150" y="44"/>
                  </a:cubicBezTo>
                  <a:cubicBezTo>
                    <a:pt x="150" y="40"/>
                    <a:pt x="150" y="40"/>
                    <a:pt x="150" y="40"/>
                  </a:cubicBezTo>
                  <a:cubicBezTo>
                    <a:pt x="154" y="39"/>
                    <a:pt x="154" y="39"/>
                    <a:pt x="154" y="39"/>
                  </a:cubicBezTo>
                  <a:cubicBezTo>
                    <a:pt x="155" y="43"/>
                    <a:pt x="155" y="43"/>
                    <a:pt x="155" y="43"/>
                  </a:cubicBezTo>
                  <a:cubicBezTo>
                    <a:pt x="155" y="43"/>
                    <a:pt x="159" y="43"/>
                    <a:pt x="160" y="43"/>
                  </a:cubicBezTo>
                  <a:cubicBezTo>
                    <a:pt x="160" y="42"/>
                    <a:pt x="163" y="43"/>
                    <a:pt x="163" y="43"/>
                  </a:cubicBezTo>
                  <a:cubicBezTo>
                    <a:pt x="163" y="43"/>
                    <a:pt x="174" y="43"/>
                    <a:pt x="174" y="42"/>
                  </a:cubicBezTo>
                  <a:cubicBezTo>
                    <a:pt x="175" y="42"/>
                    <a:pt x="180" y="41"/>
                    <a:pt x="180" y="41"/>
                  </a:cubicBezTo>
                  <a:cubicBezTo>
                    <a:pt x="180" y="41"/>
                    <a:pt x="183" y="43"/>
                    <a:pt x="183" y="43"/>
                  </a:cubicBezTo>
                  <a:cubicBezTo>
                    <a:pt x="184" y="44"/>
                    <a:pt x="188" y="44"/>
                    <a:pt x="188" y="44"/>
                  </a:cubicBezTo>
                  <a:cubicBezTo>
                    <a:pt x="191" y="41"/>
                    <a:pt x="191" y="41"/>
                    <a:pt x="191" y="41"/>
                  </a:cubicBezTo>
                  <a:cubicBezTo>
                    <a:pt x="195" y="36"/>
                    <a:pt x="195" y="36"/>
                    <a:pt x="195" y="36"/>
                  </a:cubicBezTo>
                  <a:cubicBezTo>
                    <a:pt x="192" y="26"/>
                    <a:pt x="192" y="26"/>
                    <a:pt x="192" y="26"/>
                  </a:cubicBezTo>
                  <a:cubicBezTo>
                    <a:pt x="192" y="26"/>
                    <a:pt x="192" y="23"/>
                    <a:pt x="192" y="22"/>
                  </a:cubicBezTo>
                  <a:cubicBezTo>
                    <a:pt x="192" y="21"/>
                    <a:pt x="194" y="18"/>
                    <a:pt x="194" y="18"/>
                  </a:cubicBezTo>
                  <a:cubicBezTo>
                    <a:pt x="196" y="16"/>
                    <a:pt x="196" y="16"/>
                    <a:pt x="196" y="16"/>
                  </a:cubicBezTo>
                  <a:cubicBezTo>
                    <a:pt x="196" y="16"/>
                    <a:pt x="199" y="15"/>
                    <a:pt x="200" y="15"/>
                  </a:cubicBezTo>
                  <a:cubicBezTo>
                    <a:pt x="201" y="14"/>
                    <a:pt x="197" y="10"/>
                    <a:pt x="197" y="9"/>
                  </a:cubicBezTo>
                  <a:cubicBezTo>
                    <a:pt x="197" y="8"/>
                    <a:pt x="196" y="4"/>
                    <a:pt x="196" y="4"/>
                  </a:cubicBezTo>
                  <a:cubicBezTo>
                    <a:pt x="196" y="4"/>
                    <a:pt x="191" y="2"/>
                    <a:pt x="191" y="2"/>
                  </a:cubicBezTo>
                  <a:cubicBezTo>
                    <a:pt x="190" y="1"/>
                    <a:pt x="186" y="1"/>
                    <a:pt x="184" y="0"/>
                  </a:cubicBezTo>
                  <a:cubicBezTo>
                    <a:pt x="183" y="0"/>
                    <a:pt x="181" y="1"/>
                    <a:pt x="180" y="1"/>
                  </a:cubicBezTo>
                  <a:cubicBezTo>
                    <a:pt x="178" y="2"/>
                    <a:pt x="179" y="4"/>
                    <a:pt x="179" y="4"/>
                  </a:cubicBezTo>
                  <a:cubicBezTo>
                    <a:pt x="180" y="5"/>
                    <a:pt x="181" y="7"/>
                    <a:pt x="182" y="9"/>
                  </a:cubicBezTo>
                  <a:cubicBezTo>
                    <a:pt x="184" y="12"/>
                    <a:pt x="184" y="12"/>
                    <a:pt x="184" y="13"/>
                  </a:cubicBezTo>
                  <a:cubicBezTo>
                    <a:pt x="184" y="14"/>
                    <a:pt x="184" y="16"/>
                    <a:pt x="182" y="17"/>
                  </a:cubicBezTo>
                  <a:cubicBezTo>
                    <a:pt x="181" y="18"/>
                    <a:pt x="180" y="18"/>
                    <a:pt x="179" y="19"/>
                  </a:cubicBezTo>
                  <a:cubicBezTo>
                    <a:pt x="178" y="19"/>
                    <a:pt x="175" y="21"/>
                    <a:pt x="174" y="21"/>
                  </a:cubicBezTo>
                  <a:cubicBezTo>
                    <a:pt x="174" y="22"/>
                    <a:pt x="170" y="22"/>
                    <a:pt x="169" y="22"/>
                  </a:cubicBezTo>
                  <a:cubicBezTo>
                    <a:pt x="168" y="23"/>
                    <a:pt x="163" y="24"/>
                    <a:pt x="163" y="24"/>
                  </a:cubicBezTo>
                  <a:cubicBezTo>
                    <a:pt x="160" y="26"/>
                    <a:pt x="160" y="26"/>
                    <a:pt x="160" y="26"/>
                  </a:cubicBezTo>
                  <a:cubicBezTo>
                    <a:pt x="157" y="28"/>
                    <a:pt x="157" y="28"/>
                    <a:pt x="157" y="28"/>
                  </a:cubicBezTo>
                  <a:cubicBezTo>
                    <a:pt x="151" y="25"/>
                    <a:pt x="151" y="25"/>
                    <a:pt x="151" y="25"/>
                  </a:cubicBezTo>
                  <a:cubicBezTo>
                    <a:pt x="143" y="24"/>
                    <a:pt x="143" y="24"/>
                    <a:pt x="143" y="24"/>
                  </a:cubicBezTo>
                  <a:cubicBezTo>
                    <a:pt x="143" y="24"/>
                    <a:pt x="138" y="26"/>
                    <a:pt x="138" y="26"/>
                  </a:cubicBezTo>
                  <a:cubicBezTo>
                    <a:pt x="137" y="27"/>
                    <a:pt x="132" y="23"/>
                    <a:pt x="132" y="23"/>
                  </a:cubicBezTo>
                  <a:cubicBezTo>
                    <a:pt x="130" y="20"/>
                    <a:pt x="130" y="20"/>
                    <a:pt x="130" y="20"/>
                  </a:cubicBezTo>
                  <a:cubicBezTo>
                    <a:pt x="130" y="20"/>
                    <a:pt x="125" y="20"/>
                    <a:pt x="124" y="20"/>
                  </a:cubicBezTo>
                  <a:cubicBezTo>
                    <a:pt x="123" y="20"/>
                    <a:pt x="123" y="22"/>
                    <a:pt x="122" y="22"/>
                  </a:cubicBezTo>
                  <a:cubicBezTo>
                    <a:pt x="122" y="22"/>
                    <a:pt x="120" y="22"/>
                    <a:pt x="118" y="22"/>
                  </a:cubicBezTo>
                  <a:cubicBezTo>
                    <a:pt x="116" y="22"/>
                    <a:pt x="115" y="24"/>
                    <a:pt x="115" y="24"/>
                  </a:cubicBezTo>
                  <a:cubicBezTo>
                    <a:pt x="113" y="27"/>
                    <a:pt x="113" y="27"/>
                    <a:pt x="113" y="27"/>
                  </a:cubicBezTo>
                  <a:cubicBezTo>
                    <a:pt x="113" y="27"/>
                    <a:pt x="109" y="29"/>
                    <a:pt x="108" y="29"/>
                  </a:cubicBezTo>
                  <a:cubicBezTo>
                    <a:pt x="108" y="29"/>
                    <a:pt x="101" y="32"/>
                    <a:pt x="101" y="32"/>
                  </a:cubicBezTo>
                  <a:cubicBezTo>
                    <a:pt x="95" y="34"/>
                    <a:pt x="95" y="34"/>
                    <a:pt x="95" y="34"/>
                  </a:cubicBezTo>
                  <a:cubicBezTo>
                    <a:pt x="95" y="34"/>
                    <a:pt x="93" y="34"/>
                    <a:pt x="93" y="34"/>
                  </a:cubicBezTo>
                  <a:cubicBezTo>
                    <a:pt x="92" y="34"/>
                    <a:pt x="90" y="36"/>
                    <a:pt x="90" y="36"/>
                  </a:cubicBezTo>
                  <a:cubicBezTo>
                    <a:pt x="84" y="39"/>
                    <a:pt x="84" y="39"/>
                    <a:pt x="84" y="39"/>
                  </a:cubicBezTo>
                  <a:cubicBezTo>
                    <a:pt x="72" y="41"/>
                    <a:pt x="72" y="41"/>
                    <a:pt x="72" y="41"/>
                  </a:cubicBezTo>
                  <a:cubicBezTo>
                    <a:pt x="74" y="48"/>
                    <a:pt x="74" y="48"/>
                    <a:pt x="74" y="48"/>
                  </a:cubicBezTo>
                  <a:cubicBezTo>
                    <a:pt x="70" y="51"/>
                    <a:pt x="70" y="51"/>
                    <a:pt x="70" y="51"/>
                  </a:cubicBezTo>
                  <a:cubicBezTo>
                    <a:pt x="70" y="51"/>
                    <a:pt x="60" y="53"/>
                    <a:pt x="59" y="53"/>
                  </a:cubicBezTo>
                  <a:cubicBezTo>
                    <a:pt x="58" y="53"/>
                    <a:pt x="54" y="54"/>
                    <a:pt x="53" y="54"/>
                  </a:cubicBezTo>
                  <a:cubicBezTo>
                    <a:pt x="51" y="55"/>
                    <a:pt x="48" y="56"/>
                    <a:pt x="47" y="57"/>
                  </a:cubicBezTo>
                  <a:cubicBezTo>
                    <a:pt x="47" y="57"/>
                    <a:pt x="45" y="61"/>
                    <a:pt x="45" y="61"/>
                  </a:cubicBezTo>
                  <a:cubicBezTo>
                    <a:pt x="45" y="61"/>
                    <a:pt x="43" y="65"/>
                    <a:pt x="42" y="65"/>
                  </a:cubicBezTo>
                  <a:cubicBezTo>
                    <a:pt x="41" y="66"/>
                    <a:pt x="38" y="69"/>
                    <a:pt x="38" y="69"/>
                  </a:cubicBezTo>
                  <a:cubicBezTo>
                    <a:pt x="38" y="69"/>
                    <a:pt x="33" y="68"/>
                    <a:pt x="32" y="68"/>
                  </a:cubicBezTo>
                  <a:cubicBezTo>
                    <a:pt x="31" y="68"/>
                    <a:pt x="29" y="70"/>
                    <a:pt x="27" y="70"/>
                  </a:cubicBezTo>
                  <a:cubicBezTo>
                    <a:pt x="25" y="71"/>
                    <a:pt x="24" y="71"/>
                    <a:pt x="23" y="71"/>
                  </a:cubicBezTo>
                  <a:cubicBezTo>
                    <a:pt x="22" y="71"/>
                    <a:pt x="19" y="72"/>
                    <a:pt x="18" y="72"/>
                  </a:cubicBezTo>
                  <a:cubicBezTo>
                    <a:pt x="18" y="73"/>
                    <a:pt x="18" y="73"/>
                    <a:pt x="18" y="73"/>
                  </a:cubicBezTo>
                  <a:cubicBezTo>
                    <a:pt x="20" y="73"/>
                    <a:pt x="20" y="73"/>
                    <a:pt x="20" y="73"/>
                  </a:cubicBezTo>
                  <a:cubicBezTo>
                    <a:pt x="20" y="74"/>
                    <a:pt x="20" y="74"/>
                    <a:pt x="20" y="74"/>
                  </a:cubicBezTo>
                  <a:cubicBezTo>
                    <a:pt x="20" y="76"/>
                    <a:pt x="20" y="76"/>
                    <a:pt x="20" y="76"/>
                  </a:cubicBezTo>
                  <a:cubicBezTo>
                    <a:pt x="22" y="78"/>
                    <a:pt x="22" y="78"/>
                    <a:pt x="22" y="78"/>
                  </a:cubicBezTo>
                  <a:cubicBezTo>
                    <a:pt x="22" y="78"/>
                    <a:pt x="22" y="78"/>
                    <a:pt x="22" y="78"/>
                  </a:cubicBezTo>
                  <a:cubicBezTo>
                    <a:pt x="23" y="86"/>
                    <a:pt x="23" y="86"/>
                    <a:pt x="22" y="87"/>
                  </a:cubicBezTo>
                  <a:cubicBezTo>
                    <a:pt x="22" y="88"/>
                    <a:pt x="22" y="88"/>
                    <a:pt x="22" y="88"/>
                  </a:cubicBezTo>
                  <a:cubicBezTo>
                    <a:pt x="21" y="88"/>
                    <a:pt x="21" y="88"/>
                    <a:pt x="21" y="88"/>
                  </a:cubicBezTo>
                  <a:cubicBezTo>
                    <a:pt x="21" y="88"/>
                    <a:pt x="20" y="88"/>
                    <a:pt x="19" y="89"/>
                  </a:cubicBezTo>
                  <a:cubicBezTo>
                    <a:pt x="17" y="95"/>
                    <a:pt x="17" y="95"/>
                    <a:pt x="17" y="95"/>
                  </a:cubicBezTo>
                  <a:cubicBezTo>
                    <a:pt x="15" y="102"/>
                    <a:pt x="15" y="102"/>
                    <a:pt x="15" y="102"/>
                  </a:cubicBezTo>
                  <a:cubicBezTo>
                    <a:pt x="11" y="110"/>
                    <a:pt x="11" y="110"/>
                    <a:pt x="11" y="110"/>
                  </a:cubicBezTo>
                  <a:cubicBezTo>
                    <a:pt x="4" y="113"/>
                    <a:pt x="4" y="113"/>
                    <a:pt x="4" y="113"/>
                  </a:cubicBezTo>
                  <a:cubicBezTo>
                    <a:pt x="4" y="113"/>
                    <a:pt x="4" y="113"/>
                    <a:pt x="4" y="113"/>
                  </a:cubicBezTo>
                  <a:cubicBezTo>
                    <a:pt x="3" y="115"/>
                    <a:pt x="3" y="115"/>
                    <a:pt x="3" y="115"/>
                  </a:cubicBezTo>
                  <a:cubicBezTo>
                    <a:pt x="3" y="116"/>
                    <a:pt x="3" y="117"/>
                    <a:pt x="3" y="118"/>
                  </a:cubicBezTo>
                  <a:cubicBezTo>
                    <a:pt x="4" y="119"/>
                    <a:pt x="5" y="119"/>
                    <a:pt x="5" y="119"/>
                  </a:cubicBezTo>
                  <a:cubicBezTo>
                    <a:pt x="6" y="120"/>
                    <a:pt x="6" y="120"/>
                    <a:pt x="6" y="120"/>
                  </a:cubicBezTo>
                  <a:cubicBezTo>
                    <a:pt x="6" y="122"/>
                    <a:pt x="6" y="122"/>
                    <a:pt x="6" y="122"/>
                  </a:cubicBezTo>
                  <a:cubicBezTo>
                    <a:pt x="6" y="123"/>
                    <a:pt x="6" y="123"/>
                    <a:pt x="6" y="123"/>
                  </a:cubicBezTo>
                  <a:cubicBezTo>
                    <a:pt x="5" y="123"/>
                    <a:pt x="5" y="124"/>
                    <a:pt x="4" y="125"/>
                  </a:cubicBezTo>
                  <a:cubicBezTo>
                    <a:pt x="4" y="125"/>
                    <a:pt x="4" y="126"/>
                    <a:pt x="4" y="126"/>
                  </a:cubicBezTo>
                  <a:cubicBezTo>
                    <a:pt x="3" y="129"/>
                    <a:pt x="3" y="129"/>
                    <a:pt x="3" y="129"/>
                  </a:cubicBezTo>
                  <a:cubicBezTo>
                    <a:pt x="3" y="129"/>
                    <a:pt x="1" y="132"/>
                    <a:pt x="1" y="133"/>
                  </a:cubicBezTo>
                  <a:cubicBezTo>
                    <a:pt x="0" y="134"/>
                    <a:pt x="2" y="135"/>
                    <a:pt x="2" y="135"/>
                  </a:cubicBezTo>
                  <a:cubicBezTo>
                    <a:pt x="5" y="136"/>
                    <a:pt x="5" y="136"/>
                    <a:pt x="5" y="136"/>
                  </a:cubicBezTo>
                  <a:cubicBezTo>
                    <a:pt x="4" y="139"/>
                    <a:pt x="4" y="139"/>
                    <a:pt x="4" y="139"/>
                  </a:cubicBezTo>
                  <a:cubicBezTo>
                    <a:pt x="4" y="139"/>
                    <a:pt x="7" y="142"/>
                    <a:pt x="7" y="144"/>
                  </a:cubicBezTo>
                  <a:cubicBezTo>
                    <a:pt x="7" y="145"/>
                    <a:pt x="9" y="145"/>
                    <a:pt x="10" y="144"/>
                  </a:cubicBezTo>
                  <a:cubicBezTo>
                    <a:pt x="11" y="143"/>
                    <a:pt x="12" y="140"/>
                    <a:pt x="12" y="140"/>
                  </a:cubicBezTo>
                  <a:cubicBezTo>
                    <a:pt x="14" y="144"/>
                    <a:pt x="14" y="144"/>
                    <a:pt x="14" y="144"/>
                  </a:cubicBezTo>
                  <a:cubicBezTo>
                    <a:pt x="16" y="149"/>
                    <a:pt x="16" y="149"/>
                    <a:pt x="16" y="149"/>
                  </a:cubicBezTo>
                  <a:cubicBezTo>
                    <a:pt x="19" y="153"/>
                    <a:pt x="19" y="153"/>
                    <a:pt x="19" y="153"/>
                  </a:cubicBezTo>
                  <a:cubicBezTo>
                    <a:pt x="19" y="153"/>
                    <a:pt x="19" y="153"/>
                    <a:pt x="22" y="156"/>
                  </a:cubicBezTo>
                  <a:cubicBezTo>
                    <a:pt x="25" y="158"/>
                    <a:pt x="24" y="155"/>
                    <a:pt x="24" y="155"/>
                  </a:cubicBezTo>
                  <a:cubicBezTo>
                    <a:pt x="26" y="152"/>
                    <a:pt x="26" y="152"/>
                    <a:pt x="26" y="152"/>
                  </a:cubicBezTo>
                  <a:cubicBezTo>
                    <a:pt x="26" y="152"/>
                    <a:pt x="28" y="152"/>
                    <a:pt x="29" y="153"/>
                  </a:cubicBezTo>
                  <a:cubicBezTo>
                    <a:pt x="30" y="153"/>
                    <a:pt x="31" y="154"/>
                    <a:pt x="32" y="154"/>
                  </a:cubicBezTo>
                  <a:cubicBezTo>
                    <a:pt x="33" y="153"/>
                    <a:pt x="35" y="152"/>
                    <a:pt x="37" y="152"/>
                  </a:cubicBezTo>
                  <a:cubicBezTo>
                    <a:pt x="39" y="152"/>
                    <a:pt x="38" y="155"/>
                    <a:pt x="38" y="156"/>
                  </a:cubicBezTo>
                  <a:cubicBezTo>
                    <a:pt x="38" y="157"/>
                    <a:pt x="37" y="158"/>
                    <a:pt x="35" y="158"/>
                  </a:cubicBezTo>
                  <a:cubicBezTo>
                    <a:pt x="34" y="158"/>
                    <a:pt x="34" y="158"/>
                    <a:pt x="33" y="158"/>
                  </a:cubicBezTo>
                  <a:cubicBezTo>
                    <a:pt x="32" y="157"/>
                    <a:pt x="30" y="157"/>
                    <a:pt x="29" y="157"/>
                  </a:cubicBezTo>
                  <a:cubicBezTo>
                    <a:pt x="28" y="156"/>
                    <a:pt x="25" y="157"/>
                    <a:pt x="25" y="157"/>
                  </a:cubicBezTo>
                  <a:cubicBezTo>
                    <a:pt x="25" y="160"/>
                    <a:pt x="25" y="160"/>
                    <a:pt x="25" y="160"/>
                  </a:cubicBezTo>
                  <a:cubicBezTo>
                    <a:pt x="25" y="160"/>
                    <a:pt x="23" y="164"/>
                    <a:pt x="23" y="164"/>
                  </a:cubicBezTo>
                  <a:cubicBezTo>
                    <a:pt x="23" y="165"/>
                    <a:pt x="19" y="167"/>
                    <a:pt x="19" y="167"/>
                  </a:cubicBezTo>
                  <a:cubicBezTo>
                    <a:pt x="19" y="167"/>
                    <a:pt x="20" y="169"/>
                    <a:pt x="20" y="170"/>
                  </a:cubicBezTo>
                  <a:cubicBezTo>
                    <a:pt x="19" y="171"/>
                    <a:pt x="21" y="174"/>
                    <a:pt x="21" y="174"/>
                  </a:cubicBezTo>
                  <a:cubicBezTo>
                    <a:pt x="21" y="174"/>
                    <a:pt x="24" y="172"/>
                    <a:pt x="25" y="172"/>
                  </a:cubicBezTo>
                  <a:cubicBezTo>
                    <a:pt x="25" y="172"/>
                    <a:pt x="26" y="171"/>
                    <a:pt x="26" y="170"/>
                  </a:cubicBezTo>
                  <a:cubicBezTo>
                    <a:pt x="26" y="170"/>
                    <a:pt x="25" y="168"/>
                    <a:pt x="25" y="168"/>
                  </a:cubicBezTo>
                  <a:cubicBezTo>
                    <a:pt x="26" y="165"/>
                    <a:pt x="26" y="165"/>
                    <a:pt x="26" y="165"/>
                  </a:cubicBezTo>
                  <a:cubicBezTo>
                    <a:pt x="27" y="164"/>
                    <a:pt x="27" y="164"/>
                    <a:pt x="27" y="164"/>
                  </a:cubicBezTo>
                  <a:cubicBezTo>
                    <a:pt x="30" y="164"/>
                    <a:pt x="30" y="164"/>
                    <a:pt x="30" y="164"/>
                  </a:cubicBezTo>
                  <a:cubicBezTo>
                    <a:pt x="32" y="166"/>
                    <a:pt x="32" y="166"/>
                    <a:pt x="32" y="166"/>
                  </a:cubicBezTo>
                  <a:cubicBezTo>
                    <a:pt x="32" y="170"/>
                    <a:pt x="32" y="170"/>
                    <a:pt x="32" y="170"/>
                  </a:cubicBezTo>
                  <a:cubicBezTo>
                    <a:pt x="35" y="170"/>
                    <a:pt x="35" y="170"/>
                    <a:pt x="35" y="170"/>
                  </a:cubicBezTo>
                  <a:cubicBezTo>
                    <a:pt x="39" y="174"/>
                    <a:pt x="39" y="174"/>
                    <a:pt x="39" y="174"/>
                  </a:cubicBezTo>
                  <a:cubicBezTo>
                    <a:pt x="40" y="179"/>
                    <a:pt x="40" y="179"/>
                    <a:pt x="40" y="179"/>
                  </a:cubicBezTo>
                  <a:cubicBezTo>
                    <a:pt x="40" y="179"/>
                    <a:pt x="43" y="183"/>
                    <a:pt x="44" y="183"/>
                  </a:cubicBezTo>
                  <a:cubicBezTo>
                    <a:pt x="44" y="183"/>
                    <a:pt x="47" y="180"/>
                    <a:pt x="47" y="180"/>
                  </a:cubicBezTo>
                  <a:cubicBezTo>
                    <a:pt x="48" y="178"/>
                    <a:pt x="48" y="178"/>
                    <a:pt x="48" y="178"/>
                  </a:cubicBezTo>
                  <a:cubicBezTo>
                    <a:pt x="48" y="175"/>
                    <a:pt x="48" y="175"/>
                    <a:pt x="48" y="175"/>
                  </a:cubicBezTo>
                  <a:cubicBezTo>
                    <a:pt x="50" y="177"/>
                    <a:pt x="50" y="177"/>
                    <a:pt x="50" y="177"/>
                  </a:cubicBezTo>
                  <a:cubicBezTo>
                    <a:pt x="52" y="180"/>
                    <a:pt x="52" y="180"/>
                    <a:pt x="52" y="180"/>
                  </a:cubicBezTo>
                  <a:cubicBezTo>
                    <a:pt x="55" y="180"/>
                    <a:pt x="55" y="180"/>
                    <a:pt x="55" y="180"/>
                  </a:cubicBezTo>
                  <a:cubicBezTo>
                    <a:pt x="59" y="177"/>
                    <a:pt x="59" y="177"/>
                    <a:pt x="59" y="177"/>
                  </a:cubicBezTo>
                  <a:cubicBezTo>
                    <a:pt x="59" y="177"/>
                    <a:pt x="67" y="176"/>
                    <a:pt x="67" y="176"/>
                  </a:cubicBezTo>
                  <a:cubicBezTo>
                    <a:pt x="68" y="175"/>
                    <a:pt x="70" y="175"/>
                    <a:pt x="70" y="175"/>
                  </a:cubicBezTo>
                  <a:cubicBezTo>
                    <a:pt x="75" y="176"/>
                    <a:pt x="75" y="176"/>
                    <a:pt x="75" y="176"/>
                  </a:cubicBezTo>
                  <a:cubicBezTo>
                    <a:pt x="75" y="176"/>
                    <a:pt x="79" y="176"/>
                    <a:pt x="79" y="176"/>
                  </a:cubicBezTo>
                  <a:cubicBezTo>
                    <a:pt x="80" y="176"/>
                    <a:pt x="83" y="175"/>
                    <a:pt x="83" y="175"/>
                  </a:cubicBezTo>
                  <a:cubicBezTo>
                    <a:pt x="83" y="175"/>
                    <a:pt x="85" y="173"/>
                    <a:pt x="85" y="173"/>
                  </a:cubicBezTo>
                  <a:cubicBezTo>
                    <a:pt x="85" y="170"/>
                    <a:pt x="85" y="170"/>
                    <a:pt x="85" y="170"/>
                  </a:cubicBezTo>
                  <a:cubicBezTo>
                    <a:pt x="88" y="170"/>
                    <a:pt x="88" y="170"/>
                    <a:pt x="88" y="170"/>
                  </a:cubicBezTo>
                  <a:cubicBezTo>
                    <a:pt x="88" y="170"/>
                    <a:pt x="88" y="172"/>
                    <a:pt x="90" y="174"/>
                  </a:cubicBezTo>
                  <a:cubicBezTo>
                    <a:pt x="91" y="176"/>
                    <a:pt x="91" y="174"/>
                    <a:pt x="91" y="174"/>
                  </a:cubicBezTo>
                  <a:cubicBezTo>
                    <a:pt x="93" y="173"/>
                    <a:pt x="93" y="173"/>
                    <a:pt x="93" y="173"/>
                  </a:cubicBezTo>
                  <a:cubicBezTo>
                    <a:pt x="95" y="171"/>
                    <a:pt x="95" y="171"/>
                    <a:pt x="95" y="171"/>
                  </a:cubicBezTo>
                  <a:cubicBezTo>
                    <a:pt x="99" y="174"/>
                    <a:pt x="99" y="174"/>
                    <a:pt x="99" y="174"/>
                  </a:cubicBezTo>
                  <a:cubicBezTo>
                    <a:pt x="99" y="174"/>
                    <a:pt x="102" y="176"/>
                    <a:pt x="104" y="177"/>
                  </a:cubicBezTo>
                  <a:cubicBezTo>
                    <a:pt x="106" y="177"/>
                    <a:pt x="106" y="176"/>
                    <a:pt x="107" y="176"/>
                  </a:cubicBezTo>
                  <a:cubicBezTo>
                    <a:pt x="108" y="175"/>
                    <a:pt x="111" y="175"/>
                    <a:pt x="111" y="175"/>
                  </a:cubicBezTo>
                  <a:cubicBezTo>
                    <a:pt x="111" y="175"/>
                    <a:pt x="113" y="178"/>
                    <a:pt x="114" y="179"/>
                  </a:cubicBezTo>
                  <a:cubicBezTo>
                    <a:pt x="114" y="180"/>
                    <a:pt x="113" y="180"/>
                    <a:pt x="113" y="180"/>
                  </a:cubicBezTo>
                  <a:cubicBezTo>
                    <a:pt x="113" y="180"/>
                    <a:pt x="112" y="181"/>
                    <a:pt x="111" y="181"/>
                  </a:cubicBezTo>
                  <a:cubicBezTo>
                    <a:pt x="110" y="181"/>
                    <a:pt x="110" y="181"/>
                    <a:pt x="108" y="181"/>
                  </a:cubicBezTo>
                  <a:cubicBezTo>
                    <a:pt x="107" y="181"/>
                    <a:pt x="106" y="182"/>
                    <a:pt x="105" y="182"/>
                  </a:cubicBezTo>
                  <a:cubicBezTo>
                    <a:pt x="105" y="182"/>
                    <a:pt x="105" y="184"/>
                    <a:pt x="105" y="184"/>
                  </a:cubicBezTo>
                  <a:cubicBezTo>
                    <a:pt x="106" y="184"/>
                    <a:pt x="106" y="184"/>
                    <a:pt x="106" y="184"/>
                  </a:cubicBezTo>
                  <a:cubicBezTo>
                    <a:pt x="108" y="187"/>
                    <a:pt x="108" y="187"/>
                    <a:pt x="108" y="187"/>
                  </a:cubicBezTo>
                  <a:cubicBezTo>
                    <a:pt x="110" y="188"/>
                    <a:pt x="110" y="188"/>
                    <a:pt x="110" y="188"/>
                  </a:cubicBezTo>
                  <a:cubicBezTo>
                    <a:pt x="113" y="188"/>
                    <a:pt x="113" y="188"/>
                    <a:pt x="113" y="188"/>
                  </a:cubicBezTo>
                  <a:cubicBezTo>
                    <a:pt x="116" y="186"/>
                    <a:pt x="116" y="186"/>
                    <a:pt x="116" y="186"/>
                  </a:cubicBezTo>
                  <a:cubicBezTo>
                    <a:pt x="118" y="185"/>
                    <a:pt x="118" y="185"/>
                    <a:pt x="118" y="185"/>
                  </a:cubicBezTo>
                  <a:cubicBezTo>
                    <a:pt x="121" y="184"/>
                    <a:pt x="121" y="184"/>
                    <a:pt x="121" y="184"/>
                  </a:cubicBezTo>
                  <a:cubicBezTo>
                    <a:pt x="124" y="182"/>
                    <a:pt x="124" y="182"/>
                    <a:pt x="124" y="182"/>
                  </a:cubicBezTo>
                  <a:cubicBezTo>
                    <a:pt x="126" y="180"/>
                    <a:pt x="126" y="180"/>
                    <a:pt x="126" y="180"/>
                  </a:cubicBezTo>
                  <a:cubicBezTo>
                    <a:pt x="127" y="179"/>
                    <a:pt x="127" y="179"/>
                    <a:pt x="127" y="179"/>
                  </a:cubicBezTo>
                  <a:cubicBezTo>
                    <a:pt x="127" y="179"/>
                    <a:pt x="129" y="182"/>
                    <a:pt x="129" y="182"/>
                  </a:cubicBezTo>
                  <a:cubicBezTo>
                    <a:pt x="129" y="183"/>
                    <a:pt x="124" y="185"/>
                    <a:pt x="123" y="186"/>
                  </a:cubicBezTo>
                  <a:cubicBezTo>
                    <a:pt x="123" y="186"/>
                    <a:pt x="123" y="186"/>
                    <a:pt x="123" y="187"/>
                  </a:cubicBezTo>
                  <a:cubicBezTo>
                    <a:pt x="123" y="187"/>
                    <a:pt x="125" y="187"/>
                    <a:pt x="126" y="187"/>
                  </a:cubicBezTo>
                  <a:cubicBezTo>
                    <a:pt x="127" y="187"/>
                    <a:pt x="126" y="187"/>
                    <a:pt x="127" y="186"/>
                  </a:cubicBezTo>
                  <a:cubicBezTo>
                    <a:pt x="127" y="186"/>
                    <a:pt x="129" y="184"/>
                    <a:pt x="129" y="184"/>
                  </a:cubicBezTo>
                  <a:cubicBezTo>
                    <a:pt x="129" y="184"/>
                    <a:pt x="130" y="184"/>
                    <a:pt x="131" y="184"/>
                  </a:cubicBezTo>
                  <a:cubicBezTo>
                    <a:pt x="132" y="184"/>
                    <a:pt x="131" y="182"/>
                    <a:pt x="131" y="181"/>
                  </a:cubicBezTo>
                  <a:cubicBezTo>
                    <a:pt x="131" y="180"/>
                    <a:pt x="133" y="182"/>
                    <a:pt x="134" y="183"/>
                  </a:cubicBezTo>
                  <a:cubicBezTo>
                    <a:pt x="135" y="184"/>
                    <a:pt x="135" y="185"/>
                    <a:pt x="136" y="185"/>
                  </a:cubicBezTo>
                  <a:cubicBezTo>
                    <a:pt x="136" y="186"/>
                    <a:pt x="137" y="188"/>
                    <a:pt x="137" y="188"/>
                  </a:cubicBezTo>
                  <a:cubicBezTo>
                    <a:pt x="137" y="188"/>
                    <a:pt x="140" y="188"/>
                    <a:pt x="141" y="188"/>
                  </a:cubicBezTo>
                  <a:cubicBezTo>
                    <a:pt x="142" y="188"/>
                    <a:pt x="142" y="190"/>
                    <a:pt x="143" y="190"/>
                  </a:cubicBezTo>
                  <a:cubicBezTo>
                    <a:pt x="144" y="191"/>
                    <a:pt x="145" y="192"/>
                    <a:pt x="145" y="193"/>
                  </a:cubicBezTo>
                  <a:cubicBezTo>
                    <a:pt x="145" y="193"/>
                    <a:pt x="147" y="193"/>
                    <a:pt x="147" y="193"/>
                  </a:cubicBezTo>
                  <a:cubicBezTo>
                    <a:pt x="147" y="193"/>
                    <a:pt x="149" y="191"/>
                    <a:pt x="149" y="190"/>
                  </a:cubicBezTo>
                  <a:cubicBezTo>
                    <a:pt x="149" y="190"/>
                    <a:pt x="149" y="188"/>
                    <a:pt x="149" y="188"/>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8" name="Freeform 206"/>
            <p:cNvSpPr>
              <a:spLocks/>
            </p:cNvSpPr>
            <p:nvPr/>
          </p:nvSpPr>
          <p:spPr bwMode="auto">
            <a:xfrm>
              <a:off x="6585953" y="4766815"/>
              <a:ext cx="555997" cy="398950"/>
            </a:xfrm>
            <a:custGeom>
              <a:avLst/>
              <a:gdLst>
                <a:gd name="T0" fmla="*/ 140 w 192"/>
                <a:gd name="T1" fmla="*/ 121 h 146"/>
                <a:gd name="T2" fmla="*/ 136 w 192"/>
                <a:gd name="T3" fmla="*/ 114 h 146"/>
                <a:gd name="T4" fmla="*/ 139 w 192"/>
                <a:gd name="T5" fmla="*/ 107 h 146"/>
                <a:gd name="T6" fmla="*/ 145 w 192"/>
                <a:gd name="T7" fmla="*/ 101 h 146"/>
                <a:gd name="T8" fmla="*/ 146 w 192"/>
                <a:gd name="T9" fmla="*/ 97 h 146"/>
                <a:gd name="T10" fmla="*/ 160 w 192"/>
                <a:gd name="T11" fmla="*/ 86 h 146"/>
                <a:gd name="T12" fmla="*/ 172 w 192"/>
                <a:gd name="T13" fmla="*/ 84 h 146"/>
                <a:gd name="T14" fmla="*/ 183 w 192"/>
                <a:gd name="T15" fmla="*/ 84 h 146"/>
                <a:gd name="T16" fmla="*/ 189 w 192"/>
                <a:gd name="T17" fmla="*/ 81 h 146"/>
                <a:gd name="T18" fmla="*/ 186 w 192"/>
                <a:gd name="T19" fmla="*/ 78 h 146"/>
                <a:gd name="T20" fmla="*/ 180 w 192"/>
                <a:gd name="T21" fmla="*/ 68 h 146"/>
                <a:gd name="T22" fmla="*/ 173 w 192"/>
                <a:gd name="T23" fmla="*/ 62 h 146"/>
                <a:gd name="T24" fmla="*/ 176 w 192"/>
                <a:gd name="T25" fmla="*/ 55 h 146"/>
                <a:gd name="T26" fmla="*/ 178 w 192"/>
                <a:gd name="T27" fmla="*/ 45 h 146"/>
                <a:gd name="T28" fmla="*/ 178 w 192"/>
                <a:gd name="T29" fmla="*/ 28 h 146"/>
                <a:gd name="T30" fmla="*/ 184 w 192"/>
                <a:gd name="T31" fmla="*/ 21 h 146"/>
                <a:gd name="T32" fmla="*/ 192 w 192"/>
                <a:gd name="T33" fmla="*/ 13 h 146"/>
                <a:gd name="T34" fmla="*/ 189 w 192"/>
                <a:gd name="T35" fmla="*/ 6 h 146"/>
                <a:gd name="T36" fmla="*/ 161 w 192"/>
                <a:gd name="T37" fmla="*/ 2 h 146"/>
                <a:gd name="T38" fmla="*/ 125 w 192"/>
                <a:gd name="T39" fmla="*/ 9 h 146"/>
                <a:gd name="T40" fmla="*/ 107 w 192"/>
                <a:gd name="T41" fmla="*/ 29 h 146"/>
                <a:gd name="T42" fmla="*/ 60 w 192"/>
                <a:gd name="T43" fmla="*/ 39 h 146"/>
                <a:gd name="T44" fmla="*/ 33 w 192"/>
                <a:gd name="T45" fmla="*/ 39 h 146"/>
                <a:gd name="T46" fmla="*/ 15 w 192"/>
                <a:gd name="T47" fmla="*/ 42 h 146"/>
                <a:gd name="T48" fmla="*/ 13 w 192"/>
                <a:gd name="T49" fmla="*/ 36 h 146"/>
                <a:gd name="T50" fmla="*/ 14 w 192"/>
                <a:gd name="T51" fmla="*/ 30 h 146"/>
                <a:gd name="T52" fmla="*/ 5 w 192"/>
                <a:gd name="T53" fmla="*/ 34 h 146"/>
                <a:gd name="T54" fmla="*/ 2 w 192"/>
                <a:gd name="T55" fmla="*/ 36 h 146"/>
                <a:gd name="T56" fmla="*/ 0 w 192"/>
                <a:gd name="T57" fmla="*/ 45 h 146"/>
                <a:gd name="T58" fmla="*/ 2 w 192"/>
                <a:gd name="T59" fmla="*/ 49 h 146"/>
                <a:gd name="T60" fmla="*/ 10 w 192"/>
                <a:gd name="T61" fmla="*/ 57 h 146"/>
                <a:gd name="T62" fmla="*/ 19 w 192"/>
                <a:gd name="T63" fmla="*/ 64 h 146"/>
                <a:gd name="T64" fmla="*/ 26 w 192"/>
                <a:gd name="T65" fmla="*/ 65 h 146"/>
                <a:gd name="T66" fmla="*/ 21 w 192"/>
                <a:gd name="T67" fmla="*/ 77 h 146"/>
                <a:gd name="T68" fmla="*/ 20 w 192"/>
                <a:gd name="T69" fmla="*/ 81 h 146"/>
                <a:gd name="T70" fmla="*/ 17 w 192"/>
                <a:gd name="T71" fmla="*/ 86 h 146"/>
                <a:gd name="T72" fmla="*/ 12 w 192"/>
                <a:gd name="T73" fmla="*/ 88 h 146"/>
                <a:gd name="T74" fmla="*/ 13 w 192"/>
                <a:gd name="T75" fmla="*/ 97 h 146"/>
                <a:gd name="T76" fmla="*/ 18 w 192"/>
                <a:gd name="T77" fmla="*/ 101 h 146"/>
                <a:gd name="T78" fmla="*/ 15 w 192"/>
                <a:gd name="T79" fmla="*/ 110 h 146"/>
                <a:gd name="T80" fmla="*/ 17 w 192"/>
                <a:gd name="T81" fmla="*/ 114 h 146"/>
                <a:gd name="T82" fmla="*/ 31 w 192"/>
                <a:gd name="T83" fmla="*/ 121 h 146"/>
                <a:gd name="T84" fmla="*/ 38 w 192"/>
                <a:gd name="T85" fmla="*/ 132 h 146"/>
                <a:gd name="T86" fmla="*/ 38 w 192"/>
                <a:gd name="T87" fmla="*/ 143 h 146"/>
                <a:gd name="T88" fmla="*/ 47 w 192"/>
                <a:gd name="T89" fmla="*/ 142 h 146"/>
                <a:gd name="T90" fmla="*/ 52 w 192"/>
                <a:gd name="T91" fmla="*/ 140 h 146"/>
                <a:gd name="T92" fmla="*/ 59 w 192"/>
                <a:gd name="T93" fmla="*/ 138 h 146"/>
                <a:gd name="T94" fmla="*/ 72 w 192"/>
                <a:gd name="T95" fmla="*/ 131 h 146"/>
                <a:gd name="T96" fmla="*/ 83 w 192"/>
                <a:gd name="T97" fmla="*/ 126 h 146"/>
                <a:gd name="T98" fmla="*/ 93 w 192"/>
                <a:gd name="T99" fmla="*/ 129 h 146"/>
                <a:gd name="T100" fmla="*/ 110 w 192"/>
                <a:gd name="T101" fmla="*/ 131 h 146"/>
                <a:gd name="T102" fmla="*/ 121 w 192"/>
                <a:gd name="T103" fmla="*/ 130 h 146"/>
                <a:gd name="T104" fmla="*/ 133 w 192"/>
                <a:gd name="T105" fmla="*/ 127 h 146"/>
                <a:gd name="T106" fmla="*/ 138 w 192"/>
                <a:gd name="T107" fmla="*/ 12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2" h="146">
                  <a:moveTo>
                    <a:pt x="141" y="121"/>
                  </a:moveTo>
                  <a:cubicBezTo>
                    <a:pt x="141" y="121"/>
                    <a:pt x="141" y="121"/>
                    <a:pt x="141" y="121"/>
                  </a:cubicBezTo>
                  <a:cubicBezTo>
                    <a:pt x="141" y="121"/>
                    <a:pt x="141" y="121"/>
                    <a:pt x="140" y="121"/>
                  </a:cubicBezTo>
                  <a:cubicBezTo>
                    <a:pt x="140" y="120"/>
                    <a:pt x="140" y="120"/>
                    <a:pt x="139" y="119"/>
                  </a:cubicBezTo>
                  <a:cubicBezTo>
                    <a:pt x="138" y="117"/>
                    <a:pt x="138" y="116"/>
                    <a:pt x="137" y="115"/>
                  </a:cubicBezTo>
                  <a:cubicBezTo>
                    <a:pt x="136" y="114"/>
                    <a:pt x="136" y="114"/>
                    <a:pt x="136" y="114"/>
                  </a:cubicBezTo>
                  <a:cubicBezTo>
                    <a:pt x="136" y="113"/>
                    <a:pt x="135" y="110"/>
                    <a:pt x="136" y="109"/>
                  </a:cubicBezTo>
                  <a:cubicBezTo>
                    <a:pt x="136" y="108"/>
                    <a:pt x="137" y="107"/>
                    <a:pt x="138" y="107"/>
                  </a:cubicBezTo>
                  <a:cubicBezTo>
                    <a:pt x="138" y="107"/>
                    <a:pt x="138" y="107"/>
                    <a:pt x="139" y="107"/>
                  </a:cubicBezTo>
                  <a:cubicBezTo>
                    <a:pt x="139" y="107"/>
                    <a:pt x="140" y="106"/>
                    <a:pt x="141" y="106"/>
                  </a:cubicBezTo>
                  <a:cubicBezTo>
                    <a:pt x="141" y="106"/>
                    <a:pt x="141" y="106"/>
                    <a:pt x="141" y="106"/>
                  </a:cubicBezTo>
                  <a:cubicBezTo>
                    <a:pt x="141" y="103"/>
                    <a:pt x="143" y="102"/>
                    <a:pt x="145" y="101"/>
                  </a:cubicBezTo>
                  <a:cubicBezTo>
                    <a:pt x="147" y="100"/>
                    <a:pt x="147" y="100"/>
                    <a:pt x="147" y="100"/>
                  </a:cubicBezTo>
                  <a:cubicBezTo>
                    <a:pt x="146" y="98"/>
                    <a:pt x="146" y="98"/>
                    <a:pt x="146" y="98"/>
                  </a:cubicBezTo>
                  <a:cubicBezTo>
                    <a:pt x="146" y="97"/>
                    <a:pt x="146" y="97"/>
                    <a:pt x="146" y="97"/>
                  </a:cubicBezTo>
                  <a:cubicBezTo>
                    <a:pt x="147" y="96"/>
                    <a:pt x="150" y="93"/>
                    <a:pt x="151" y="92"/>
                  </a:cubicBezTo>
                  <a:cubicBezTo>
                    <a:pt x="152" y="92"/>
                    <a:pt x="155" y="91"/>
                    <a:pt x="158" y="90"/>
                  </a:cubicBezTo>
                  <a:cubicBezTo>
                    <a:pt x="160" y="86"/>
                    <a:pt x="160" y="86"/>
                    <a:pt x="160" y="86"/>
                  </a:cubicBezTo>
                  <a:cubicBezTo>
                    <a:pt x="165" y="85"/>
                    <a:pt x="165" y="85"/>
                    <a:pt x="165" y="85"/>
                  </a:cubicBezTo>
                  <a:cubicBezTo>
                    <a:pt x="167" y="82"/>
                    <a:pt x="167" y="82"/>
                    <a:pt x="167" y="82"/>
                  </a:cubicBezTo>
                  <a:cubicBezTo>
                    <a:pt x="172" y="84"/>
                    <a:pt x="172" y="84"/>
                    <a:pt x="172" y="84"/>
                  </a:cubicBezTo>
                  <a:cubicBezTo>
                    <a:pt x="178" y="87"/>
                    <a:pt x="178" y="87"/>
                    <a:pt x="178" y="87"/>
                  </a:cubicBezTo>
                  <a:cubicBezTo>
                    <a:pt x="178" y="87"/>
                    <a:pt x="179" y="86"/>
                    <a:pt x="180" y="86"/>
                  </a:cubicBezTo>
                  <a:cubicBezTo>
                    <a:pt x="181" y="85"/>
                    <a:pt x="182" y="85"/>
                    <a:pt x="183" y="84"/>
                  </a:cubicBezTo>
                  <a:cubicBezTo>
                    <a:pt x="184" y="84"/>
                    <a:pt x="185" y="83"/>
                    <a:pt x="186" y="83"/>
                  </a:cubicBezTo>
                  <a:cubicBezTo>
                    <a:pt x="188" y="82"/>
                    <a:pt x="188" y="82"/>
                    <a:pt x="188" y="82"/>
                  </a:cubicBezTo>
                  <a:cubicBezTo>
                    <a:pt x="188" y="82"/>
                    <a:pt x="188" y="82"/>
                    <a:pt x="189" y="81"/>
                  </a:cubicBezTo>
                  <a:cubicBezTo>
                    <a:pt x="190" y="81"/>
                    <a:pt x="191" y="81"/>
                    <a:pt x="192" y="80"/>
                  </a:cubicBezTo>
                  <a:cubicBezTo>
                    <a:pt x="191" y="80"/>
                    <a:pt x="191" y="80"/>
                    <a:pt x="191" y="80"/>
                  </a:cubicBezTo>
                  <a:cubicBezTo>
                    <a:pt x="186" y="78"/>
                    <a:pt x="186" y="78"/>
                    <a:pt x="186" y="78"/>
                  </a:cubicBezTo>
                  <a:cubicBezTo>
                    <a:pt x="184" y="73"/>
                    <a:pt x="184" y="73"/>
                    <a:pt x="184" y="73"/>
                  </a:cubicBezTo>
                  <a:cubicBezTo>
                    <a:pt x="180" y="70"/>
                    <a:pt x="180" y="70"/>
                    <a:pt x="180" y="70"/>
                  </a:cubicBezTo>
                  <a:cubicBezTo>
                    <a:pt x="180" y="68"/>
                    <a:pt x="180" y="68"/>
                    <a:pt x="180" y="68"/>
                  </a:cubicBezTo>
                  <a:cubicBezTo>
                    <a:pt x="172" y="67"/>
                    <a:pt x="172" y="67"/>
                    <a:pt x="172" y="67"/>
                  </a:cubicBezTo>
                  <a:cubicBezTo>
                    <a:pt x="171" y="64"/>
                    <a:pt x="171" y="64"/>
                    <a:pt x="171" y="64"/>
                  </a:cubicBezTo>
                  <a:cubicBezTo>
                    <a:pt x="171" y="64"/>
                    <a:pt x="172" y="62"/>
                    <a:pt x="173" y="62"/>
                  </a:cubicBezTo>
                  <a:cubicBezTo>
                    <a:pt x="174" y="62"/>
                    <a:pt x="174" y="61"/>
                    <a:pt x="174" y="60"/>
                  </a:cubicBezTo>
                  <a:cubicBezTo>
                    <a:pt x="176" y="56"/>
                    <a:pt x="176" y="56"/>
                    <a:pt x="176" y="56"/>
                  </a:cubicBezTo>
                  <a:cubicBezTo>
                    <a:pt x="176" y="55"/>
                    <a:pt x="176" y="55"/>
                    <a:pt x="176" y="55"/>
                  </a:cubicBezTo>
                  <a:cubicBezTo>
                    <a:pt x="176" y="55"/>
                    <a:pt x="177" y="54"/>
                    <a:pt x="177" y="54"/>
                  </a:cubicBezTo>
                  <a:cubicBezTo>
                    <a:pt x="178" y="54"/>
                    <a:pt x="179" y="53"/>
                    <a:pt x="180" y="51"/>
                  </a:cubicBezTo>
                  <a:cubicBezTo>
                    <a:pt x="178" y="45"/>
                    <a:pt x="178" y="45"/>
                    <a:pt x="178" y="45"/>
                  </a:cubicBezTo>
                  <a:cubicBezTo>
                    <a:pt x="177" y="39"/>
                    <a:pt x="177" y="39"/>
                    <a:pt x="177" y="39"/>
                  </a:cubicBezTo>
                  <a:cubicBezTo>
                    <a:pt x="177" y="32"/>
                    <a:pt x="177" y="32"/>
                    <a:pt x="177" y="32"/>
                  </a:cubicBezTo>
                  <a:cubicBezTo>
                    <a:pt x="178" y="28"/>
                    <a:pt x="178" y="28"/>
                    <a:pt x="178" y="28"/>
                  </a:cubicBezTo>
                  <a:cubicBezTo>
                    <a:pt x="178" y="28"/>
                    <a:pt x="179" y="26"/>
                    <a:pt x="180" y="25"/>
                  </a:cubicBezTo>
                  <a:cubicBezTo>
                    <a:pt x="180" y="23"/>
                    <a:pt x="181" y="22"/>
                    <a:pt x="181" y="22"/>
                  </a:cubicBezTo>
                  <a:cubicBezTo>
                    <a:pt x="182" y="22"/>
                    <a:pt x="184" y="21"/>
                    <a:pt x="184" y="21"/>
                  </a:cubicBezTo>
                  <a:cubicBezTo>
                    <a:pt x="185" y="21"/>
                    <a:pt x="186" y="20"/>
                    <a:pt x="186" y="20"/>
                  </a:cubicBezTo>
                  <a:cubicBezTo>
                    <a:pt x="192" y="17"/>
                    <a:pt x="192" y="17"/>
                    <a:pt x="192" y="17"/>
                  </a:cubicBezTo>
                  <a:cubicBezTo>
                    <a:pt x="192" y="13"/>
                    <a:pt x="192" y="13"/>
                    <a:pt x="192" y="13"/>
                  </a:cubicBezTo>
                  <a:cubicBezTo>
                    <a:pt x="192" y="13"/>
                    <a:pt x="191" y="10"/>
                    <a:pt x="190" y="8"/>
                  </a:cubicBezTo>
                  <a:cubicBezTo>
                    <a:pt x="190" y="7"/>
                    <a:pt x="189" y="6"/>
                    <a:pt x="189" y="6"/>
                  </a:cubicBezTo>
                  <a:cubicBezTo>
                    <a:pt x="189" y="6"/>
                    <a:pt x="189" y="6"/>
                    <a:pt x="189" y="6"/>
                  </a:cubicBezTo>
                  <a:cubicBezTo>
                    <a:pt x="187" y="8"/>
                    <a:pt x="182" y="8"/>
                    <a:pt x="174" y="7"/>
                  </a:cubicBezTo>
                  <a:cubicBezTo>
                    <a:pt x="171" y="6"/>
                    <a:pt x="169" y="0"/>
                    <a:pt x="169" y="0"/>
                  </a:cubicBezTo>
                  <a:cubicBezTo>
                    <a:pt x="161" y="2"/>
                    <a:pt x="161" y="2"/>
                    <a:pt x="161" y="2"/>
                  </a:cubicBezTo>
                  <a:cubicBezTo>
                    <a:pt x="161" y="2"/>
                    <a:pt x="150" y="2"/>
                    <a:pt x="144" y="2"/>
                  </a:cubicBezTo>
                  <a:cubicBezTo>
                    <a:pt x="143" y="2"/>
                    <a:pt x="142" y="2"/>
                    <a:pt x="142" y="2"/>
                  </a:cubicBezTo>
                  <a:cubicBezTo>
                    <a:pt x="139" y="2"/>
                    <a:pt x="129" y="5"/>
                    <a:pt x="125" y="9"/>
                  </a:cubicBezTo>
                  <a:cubicBezTo>
                    <a:pt x="123" y="10"/>
                    <a:pt x="122" y="11"/>
                    <a:pt x="120" y="11"/>
                  </a:cubicBezTo>
                  <a:cubicBezTo>
                    <a:pt x="118" y="13"/>
                    <a:pt x="115" y="14"/>
                    <a:pt x="114" y="17"/>
                  </a:cubicBezTo>
                  <a:cubicBezTo>
                    <a:pt x="111" y="21"/>
                    <a:pt x="108" y="29"/>
                    <a:pt x="107" y="29"/>
                  </a:cubicBezTo>
                  <a:cubicBezTo>
                    <a:pt x="101" y="34"/>
                    <a:pt x="100" y="34"/>
                    <a:pt x="87" y="34"/>
                  </a:cubicBezTo>
                  <a:cubicBezTo>
                    <a:pt x="86" y="34"/>
                    <a:pt x="86" y="34"/>
                    <a:pt x="86" y="34"/>
                  </a:cubicBezTo>
                  <a:cubicBezTo>
                    <a:pt x="80" y="34"/>
                    <a:pt x="64" y="36"/>
                    <a:pt x="60" y="39"/>
                  </a:cubicBezTo>
                  <a:cubicBezTo>
                    <a:pt x="57" y="41"/>
                    <a:pt x="51" y="40"/>
                    <a:pt x="46" y="39"/>
                  </a:cubicBezTo>
                  <a:cubicBezTo>
                    <a:pt x="42" y="38"/>
                    <a:pt x="39" y="38"/>
                    <a:pt x="37" y="39"/>
                  </a:cubicBezTo>
                  <a:cubicBezTo>
                    <a:pt x="37" y="40"/>
                    <a:pt x="35" y="40"/>
                    <a:pt x="33" y="39"/>
                  </a:cubicBezTo>
                  <a:cubicBezTo>
                    <a:pt x="31" y="39"/>
                    <a:pt x="29" y="39"/>
                    <a:pt x="27" y="39"/>
                  </a:cubicBezTo>
                  <a:cubicBezTo>
                    <a:pt x="25" y="39"/>
                    <a:pt x="23" y="40"/>
                    <a:pt x="21" y="40"/>
                  </a:cubicBezTo>
                  <a:cubicBezTo>
                    <a:pt x="19" y="41"/>
                    <a:pt x="17" y="42"/>
                    <a:pt x="15" y="42"/>
                  </a:cubicBezTo>
                  <a:cubicBezTo>
                    <a:pt x="13" y="41"/>
                    <a:pt x="13" y="40"/>
                    <a:pt x="13" y="39"/>
                  </a:cubicBezTo>
                  <a:cubicBezTo>
                    <a:pt x="13" y="37"/>
                    <a:pt x="13" y="37"/>
                    <a:pt x="12" y="37"/>
                  </a:cubicBezTo>
                  <a:cubicBezTo>
                    <a:pt x="12" y="36"/>
                    <a:pt x="12" y="36"/>
                    <a:pt x="13" y="36"/>
                  </a:cubicBezTo>
                  <a:cubicBezTo>
                    <a:pt x="14" y="35"/>
                    <a:pt x="17" y="32"/>
                    <a:pt x="17" y="31"/>
                  </a:cubicBezTo>
                  <a:cubicBezTo>
                    <a:pt x="17" y="31"/>
                    <a:pt x="17" y="31"/>
                    <a:pt x="16" y="31"/>
                  </a:cubicBezTo>
                  <a:cubicBezTo>
                    <a:pt x="15" y="31"/>
                    <a:pt x="15" y="30"/>
                    <a:pt x="14" y="30"/>
                  </a:cubicBezTo>
                  <a:cubicBezTo>
                    <a:pt x="11" y="29"/>
                    <a:pt x="8" y="28"/>
                    <a:pt x="5" y="29"/>
                  </a:cubicBezTo>
                  <a:cubicBezTo>
                    <a:pt x="5" y="31"/>
                    <a:pt x="5" y="31"/>
                    <a:pt x="5" y="31"/>
                  </a:cubicBezTo>
                  <a:cubicBezTo>
                    <a:pt x="6" y="31"/>
                    <a:pt x="6" y="33"/>
                    <a:pt x="5" y="34"/>
                  </a:cubicBezTo>
                  <a:cubicBezTo>
                    <a:pt x="4" y="35"/>
                    <a:pt x="4" y="35"/>
                    <a:pt x="4" y="35"/>
                  </a:cubicBezTo>
                  <a:cubicBezTo>
                    <a:pt x="4" y="35"/>
                    <a:pt x="4" y="35"/>
                    <a:pt x="4" y="35"/>
                  </a:cubicBezTo>
                  <a:cubicBezTo>
                    <a:pt x="3" y="35"/>
                    <a:pt x="2" y="35"/>
                    <a:pt x="2" y="36"/>
                  </a:cubicBezTo>
                  <a:cubicBezTo>
                    <a:pt x="0" y="38"/>
                    <a:pt x="0" y="38"/>
                    <a:pt x="0" y="38"/>
                  </a:cubicBezTo>
                  <a:cubicBezTo>
                    <a:pt x="0" y="39"/>
                    <a:pt x="0" y="41"/>
                    <a:pt x="1" y="41"/>
                  </a:cubicBezTo>
                  <a:cubicBezTo>
                    <a:pt x="1" y="42"/>
                    <a:pt x="1" y="44"/>
                    <a:pt x="0" y="45"/>
                  </a:cubicBezTo>
                  <a:cubicBezTo>
                    <a:pt x="1" y="46"/>
                    <a:pt x="1" y="46"/>
                    <a:pt x="1" y="47"/>
                  </a:cubicBezTo>
                  <a:cubicBezTo>
                    <a:pt x="2" y="48"/>
                    <a:pt x="2" y="48"/>
                    <a:pt x="2" y="49"/>
                  </a:cubicBezTo>
                  <a:cubicBezTo>
                    <a:pt x="2" y="49"/>
                    <a:pt x="2" y="49"/>
                    <a:pt x="2" y="49"/>
                  </a:cubicBezTo>
                  <a:cubicBezTo>
                    <a:pt x="3" y="50"/>
                    <a:pt x="4" y="51"/>
                    <a:pt x="4" y="52"/>
                  </a:cubicBezTo>
                  <a:cubicBezTo>
                    <a:pt x="5" y="53"/>
                    <a:pt x="7" y="56"/>
                    <a:pt x="8" y="57"/>
                  </a:cubicBezTo>
                  <a:cubicBezTo>
                    <a:pt x="9" y="57"/>
                    <a:pt x="10" y="57"/>
                    <a:pt x="10" y="57"/>
                  </a:cubicBezTo>
                  <a:cubicBezTo>
                    <a:pt x="10" y="58"/>
                    <a:pt x="11" y="58"/>
                    <a:pt x="13" y="59"/>
                  </a:cubicBezTo>
                  <a:cubicBezTo>
                    <a:pt x="14" y="59"/>
                    <a:pt x="16" y="59"/>
                    <a:pt x="16" y="61"/>
                  </a:cubicBezTo>
                  <a:cubicBezTo>
                    <a:pt x="17" y="61"/>
                    <a:pt x="18" y="63"/>
                    <a:pt x="19" y="64"/>
                  </a:cubicBezTo>
                  <a:cubicBezTo>
                    <a:pt x="21" y="65"/>
                    <a:pt x="21" y="65"/>
                    <a:pt x="21" y="65"/>
                  </a:cubicBezTo>
                  <a:cubicBezTo>
                    <a:pt x="24" y="65"/>
                    <a:pt x="24" y="65"/>
                    <a:pt x="24" y="65"/>
                  </a:cubicBezTo>
                  <a:cubicBezTo>
                    <a:pt x="26" y="65"/>
                    <a:pt x="26" y="65"/>
                    <a:pt x="26" y="65"/>
                  </a:cubicBezTo>
                  <a:cubicBezTo>
                    <a:pt x="26" y="67"/>
                    <a:pt x="26" y="67"/>
                    <a:pt x="26" y="67"/>
                  </a:cubicBezTo>
                  <a:cubicBezTo>
                    <a:pt x="26" y="69"/>
                    <a:pt x="25" y="72"/>
                    <a:pt x="24" y="73"/>
                  </a:cubicBezTo>
                  <a:cubicBezTo>
                    <a:pt x="24" y="74"/>
                    <a:pt x="22" y="76"/>
                    <a:pt x="21" y="77"/>
                  </a:cubicBezTo>
                  <a:cubicBezTo>
                    <a:pt x="21" y="77"/>
                    <a:pt x="20" y="78"/>
                    <a:pt x="20" y="79"/>
                  </a:cubicBezTo>
                  <a:cubicBezTo>
                    <a:pt x="20" y="79"/>
                    <a:pt x="20" y="80"/>
                    <a:pt x="20" y="80"/>
                  </a:cubicBezTo>
                  <a:cubicBezTo>
                    <a:pt x="20" y="80"/>
                    <a:pt x="20" y="81"/>
                    <a:pt x="20" y="81"/>
                  </a:cubicBezTo>
                  <a:cubicBezTo>
                    <a:pt x="22" y="81"/>
                    <a:pt x="22" y="81"/>
                    <a:pt x="22" y="81"/>
                  </a:cubicBezTo>
                  <a:cubicBezTo>
                    <a:pt x="20" y="83"/>
                    <a:pt x="20" y="83"/>
                    <a:pt x="20" y="83"/>
                  </a:cubicBezTo>
                  <a:cubicBezTo>
                    <a:pt x="19" y="84"/>
                    <a:pt x="18" y="85"/>
                    <a:pt x="17" y="86"/>
                  </a:cubicBezTo>
                  <a:cubicBezTo>
                    <a:pt x="13" y="86"/>
                    <a:pt x="13" y="86"/>
                    <a:pt x="13" y="86"/>
                  </a:cubicBezTo>
                  <a:cubicBezTo>
                    <a:pt x="13" y="86"/>
                    <a:pt x="13" y="86"/>
                    <a:pt x="13" y="87"/>
                  </a:cubicBezTo>
                  <a:cubicBezTo>
                    <a:pt x="13" y="87"/>
                    <a:pt x="12" y="87"/>
                    <a:pt x="12" y="88"/>
                  </a:cubicBezTo>
                  <a:cubicBezTo>
                    <a:pt x="12" y="88"/>
                    <a:pt x="12" y="88"/>
                    <a:pt x="11" y="88"/>
                  </a:cubicBezTo>
                  <a:cubicBezTo>
                    <a:pt x="13" y="90"/>
                    <a:pt x="13" y="90"/>
                    <a:pt x="13" y="90"/>
                  </a:cubicBezTo>
                  <a:cubicBezTo>
                    <a:pt x="13" y="97"/>
                    <a:pt x="13" y="97"/>
                    <a:pt x="13" y="97"/>
                  </a:cubicBezTo>
                  <a:cubicBezTo>
                    <a:pt x="15" y="98"/>
                    <a:pt x="15" y="98"/>
                    <a:pt x="16" y="99"/>
                  </a:cubicBezTo>
                  <a:cubicBezTo>
                    <a:pt x="16" y="99"/>
                    <a:pt x="16" y="100"/>
                    <a:pt x="16" y="100"/>
                  </a:cubicBezTo>
                  <a:cubicBezTo>
                    <a:pt x="18" y="101"/>
                    <a:pt x="18" y="101"/>
                    <a:pt x="18" y="101"/>
                  </a:cubicBezTo>
                  <a:cubicBezTo>
                    <a:pt x="15" y="107"/>
                    <a:pt x="15" y="107"/>
                    <a:pt x="15" y="107"/>
                  </a:cubicBezTo>
                  <a:cubicBezTo>
                    <a:pt x="15" y="108"/>
                    <a:pt x="15" y="109"/>
                    <a:pt x="14" y="109"/>
                  </a:cubicBezTo>
                  <a:cubicBezTo>
                    <a:pt x="14" y="110"/>
                    <a:pt x="15" y="110"/>
                    <a:pt x="15" y="110"/>
                  </a:cubicBezTo>
                  <a:cubicBezTo>
                    <a:pt x="16" y="111"/>
                    <a:pt x="16" y="111"/>
                    <a:pt x="16" y="111"/>
                  </a:cubicBezTo>
                  <a:cubicBezTo>
                    <a:pt x="16" y="112"/>
                    <a:pt x="16" y="112"/>
                    <a:pt x="16" y="112"/>
                  </a:cubicBezTo>
                  <a:cubicBezTo>
                    <a:pt x="16" y="113"/>
                    <a:pt x="16" y="113"/>
                    <a:pt x="17" y="114"/>
                  </a:cubicBezTo>
                  <a:cubicBezTo>
                    <a:pt x="19" y="116"/>
                    <a:pt x="21" y="117"/>
                    <a:pt x="23" y="117"/>
                  </a:cubicBezTo>
                  <a:cubicBezTo>
                    <a:pt x="25" y="118"/>
                    <a:pt x="27" y="118"/>
                    <a:pt x="29" y="120"/>
                  </a:cubicBezTo>
                  <a:cubicBezTo>
                    <a:pt x="29" y="120"/>
                    <a:pt x="30" y="121"/>
                    <a:pt x="31" y="121"/>
                  </a:cubicBezTo>
                  <a:cubicBezTo>
                    <a:pt x="31" y="123"/>
                    <a:pt x="33" y="124"/>
                    <a:pt x="33" y="126"/>
                  </a:cubicBezTo>
                  <a:cubicBezTo>
                    <a:pt x="34" y="127"/>
                    <a:pt x="35" y="128"/>
                    <a:pt x="36" y="129"/>
                  </a:cubicBezTo>
                  <a:cubicBezTo>
                    <a:pt x="37" y="129"/>
                    <a:pt x="38" y="130"/>
                    <a:pt x="38" y="132"/>
                  </a:cubicBezTo>
                  <a:cubicBezTo>
                    <a:pt x="38" y="133"/>
                    <a:pt x="38" y="134"/>
                    <a:pt x="38" y="135"/>
                  </a:cubicBezTo>
                  <a:cubicBezTo>
                    <a:pt x="37" y="136"/>
                    <a:pt x="37" y="137"/>
                    <a:pt x="37" y="138"/>
                  </a:cubicBezTo>
                  <a:cubicBezTo>
                    <a:pt x="37" y="139"/>
                    <a:pt x="38" y="142"/>
                    <a:pt x="38" y="143"/>
                  </a:cubicBezTo>
                  <a:cubicBezTo>
                    <a:pt x="39" y="144"/>
                    <a:pt x="39" y="145"/>
                    <a:pt x="39" y="146"/>
                  </a:cubicBezTo>
                  <a:cubicBezTo>
                    <a:pt x="43" y="145"/>
                    <a:pt x="43" y="145"/>
                    <a:pt x="43" y="145"/>
                  </a:cubicBezTo>
                  <a:cubicBezTo>
                    <a:pt x="47" y="142"/>
                    <a:pt x="47" y="142"/>
                    <a:pt x="47" y="142"/>
                  </a:cubicBezTo>
                  <a:cubicBezTo>
                    <a:pt x="48" y="141"/>
                    <a:pt x="50" y="140"/>
                    <a:pt x="51" y="140"/>
                  </a:cubicBezTo>
                  <a:cubicBezTo>
                    <a:pt x="52" y="140"/>
                    <a:pt x="52" y="140"/>
                    <a:pt x="52" y="140"/>
                  </a:cubicBezTo>
                  <a:cubicBezTo>
                    <a:pt x="52" y="140"/>
                    <a:pt x="52" y="140"/>
                    <a:pt x="52" y="140"/>
                  </a:cubicBezTo>
                  <a:cubicBezTo>
                    <a:pt x="52" y="140"/>
                    <a:pt x="52" y="140"/>
                    <a:pt x="52" y="140"/>
                  </a:cubicBezTo>
                  <a:cubicBezTo>
                    <a:pt x="53" y="140"/>
                    <a:pt x="53" y="140"/>
                    <a:pt x="54" y="140"/>
                  </a:cubicBezTo>
                  <a:cubicBezTo>
                    <a:pt x="59" y="138"/>
                    <a:pt x="59" y="138"/>
                    <a:pt x="59" y="138"/>
                  </a:cubicBezTo>
                  <a:cubicBezTo>
                    <a:pt x="59" y="138"/>
                    <a:pt x="66" y="135"/>
                    <a:pt x="67" y="135"/>
                  </a:cubicBezTo>
                  <a:cubicBezTo>
                    <a:pt x="67" y="135"/>
                    <a:pt x="69" y="134"/>
                    <a:pt x="70" y="133"/>
                  </a:cubicBezTo>
                  <a:cubicBezTo>
                    <a:pt x="72" y="131"/>
                    <a:pt x="72" y="131"/>
                    <a:pt x="72" y="131"/>
                  </a:cubicBezTo>
                  <a:cubicBezTo>
                    <a:pt x="72" y="130"/>
                    <a:pt x="75" y="128"/>
                    <a:pt x="77" y="128"/>
                  </a:cubicBezTo>
                  <a:cubicBezTo>
                    <a:pt x="79" y="128"/>
                    <a:pt x="80" y="128"/>
                    <a:pt x="80" y="128"/>
                  </a:cubicBezTo>
                  <a:cubicBezTo>
                    <a:pt x="81" y="127"/>
                    <a:pt x="81" y="126"/>
                    <a:pt x="83" y="126"/>
                  </a:cubicBezTo>
                  <a:cubicBezTo>
                    <a:pt x="83" y="126"/>
                    <a:pt x="87" y="125"/>
                    <a:pt x="88" y="125"/>
                  </a:cubicBezTo>
                  <a:cubicBezTo>
                    <a:pt x="90" y="125"/>
                    <a:pt x="90" y="125"/>
                    <a:pt x="90" y="125"/>
                  </a:cubicBezTo>
                  <a:cubicBezTo>
                    <a:pt x="93" y="129"/>
                    <a:pt x="93" y="129"/>
                    <a:pt x="93" y="129"/>
                  </a:cubicBezTo>
                  <a:cubicBezTo>
                    <a:pt x="95" y="131"/>
                    <a:pt x="96" y="131"/>
                    <a:pt x="97" y="132"/>
                  </a:cubicBezTo>
                  <a:cubicBezTo>
                    <a:pt x="98" y="131"/>
                    <a:pt x="101" y="129"/>
                    <a:pt x="101" y="129"/>
                  </a:cubicBezTo>
                  <a:cubicBezTo>
                    <a:pt x="110" y="131"/>
                    <a:pt x="110" y="131"/>
                    <a:pt x="110" y="131"/>
                  </a:cubicBezTo>
                  <a:cubicBezTo>
                    <a:pt x="116" y="133"/>
                    <a:pt x="116" y="133"/>
                    <a:pt x="116" y="133"/>
                  </a:cubicBezTo>
                  <a:cubicBezTo>
                    <a:pt x="118" y="132"/>
                    <a:pt x="118" y="132"/>
                    <a:pt x="118" y="132"/>
                  </a:cubicBezTo>
                  <a:cubicBezTo>
                    <a:pt x="121" y="130"/>
                    <a:pt x="121" y="130"/>
                    <a:pt x="121" y="130"/>
                  </a:cubicBezTo>
                  <a:cubicBezTo>
                    <a:pt x="122" y="130"/>
                    <a:pt x="127" y="128"/>
                    <a:pt x="127" y="128"/>
                  </a:cubicBezTo>
                  <a:cubicBezTo>
                    <a:pt x="128" y="128"/>
                    <a:pt x="128" y="128"/>
                    <a:pt x="128" y="128"/>
                  </a:cubicBezTo>
                  <a:cubicBezTo>
                    <a:pt x="130" y="128"/>
                    <a:pt x="132" y="127"/>
                    <a:pt x="133" y="127"/>
                  </a:cubicBezTo>
                  <a:cubicBezTo>
                    <a:pt x="133" y="127"/>
                    <a:pt x="133" y="127"/>
                    <a:pt x="134" y="126"/>
                  </a:cubicBezTo>
                  <a:cubicBezTo>
                    <a:pt x="136" y="125"/>
                    <a:pt x="136" y="125"/>
                    <a:pt x="137" y="125"/>
                  </a:cubicBezTo>
                  <a:cubicBezTo>
                    <a:pt x="137" y="124"/>
                    <a:pt x="138" y="124"/>
                    <a:pt x="138" y="124"/>
                  </a:cubicBezTo>
                  <a:cubicBezTo>
                    <a:pt x="139" y="124"/>
                    <a:pt x="139" y="124"/>
                    <a:pt x="140" y="123"/>
                  </a:cubicBezTo>
                  <a:cubicBezTo>
                    <a:pt x="141" y="123"/>
                    <a:pt x="141" y="122"/>
                    <a:pt x="141" y="121"/>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9" name="Freeform 207"/>
            <p:cNvSpPr>
              <a:spLocks/>
            </p:cNvSpPr>
            <p:nvPr/>
          </p:nvSpPr>
          <p:spPr bwMode="auto">
            <a:xfrm>
              <a:off x="8529773" y="4655164"/>
              <a:ext cx="394251" cy="261427"/>
            </a:xfrm>
            <a:custGeom>
              <a:avLst/>
              <a:gdLst>
                <a:gd name="T0" fmla="*/ 128 w 136"/>
                <a:gd name="T1" fmla="*/ 81 h 96"/>
                <a:gd name="T2" fmla="*/ 132 w 136"/>
                <a:gd name="T3" fmla="*/ 75 h 96"/>
                <a:gd name="T4" fmla="*/ 124 w 136"/>
                <a:gd name="T5" fmla="*/ 69 h 96"/>
                <a:gd name="T6" fmla="*/ 127 w 136"/>
                <a:gd name="T7" fmla="*/ 63 h 96"/>
                <a:gd name="T8" fmla="*/ 119 w 136"/>
                <a:gd name="T9" fmla="*/ 61 h 96"/>
                <a:gd name="T10" fmla="*/ 109 w 136"/>
                <a:gd name="T11" fmla="*/ 61 h 96"/>
                <a:gd name="T12" fmla="*/ 98 w 136"/>
                <a:gd name="T13" fmla="*/ 55 h 96"/>
                <a:gd name="T14" fmla="*/ 88 w 136"/>
                <a:gd name="T15" fmla="*/ 52 h 96"/>
                <a:gd name="T16" fmla="*/ 98 w 136"/>
                <a:gd name="T17" fmla="*/ 47 h 96"/>
                <a:gd name="T18" fmla="*/ 100 w 136"/>
                <a:gd name="T19" fmla="*/ 41 h 96"/>
                <a:gd name="T20" fmla="*/ 93 w 136"/>
                <a:gd name="T21" fmla="*/ 37 h 96"/>
                <a:gd name="T22" fmla="*/ 82 w 136"/>
                <a:gd name="T23" fmla="*/ 32 h 96"/>
                <a:gd name="T24" fmla="*/ 73 w 136"/>
                <a:gd name="T25" fmla="*/ 23 h 96"/>
                <a:gd name="T26" fmla="*/ 77 w 136"/>
                <a:gd name="T27" fmla="*/ 17 h 96"/>
                <a:gd name="T28" fmla="*/ 75 w 136"/>
                <a:gd name="T29" fmla="*/ 14 h 96"/>
                <a:gd name="T30" fmla="*/ 70 w 136"/>
                <a:gd name="T31" fmla="*/ 9 h 96"/>
                <a:gd name="T32" fmla="*/ 63 w 136"/>
                <a:gd name="T33" fmla="*/ 10 h 96"/>
                <a:gd name="T34" fmla="*/ 56 w 136"/>
                <a:gd name="T35" fmla="*/ 9 h 96"/>
                <a:gd name="T36" fmla="*/ 57 w 136"/>
                <a:gd name="T37" fmla="*/ 3 h 96"/>
                <a:gd name="T38" fmla="*/ 51 w 136"/>
                <a:gd name="T39" fmla="*/ 1 h 96"/>
                <a:gd name="T40" fmla="*/ 44 w 136"/>
                <a:gd name="T41" fmla="*/ 3 h 96"/>
                <a:gd name="T42" fmla="*/ 40 w 136"/>
                <a:gd name="T43" fmla="*/ 7 h 96"/>
                <a:gd name="T44" fmla="*/ 36 w 136"/>
                <a:gd name="T45" fmla="*/ 9 h 96"/>
                <a:gd name="T46" fmla="*/ 30 w 136"/>
                <a:gd name="T47" fmla="*/ 11 h 96"/>
                <a:gd name="T48" fmla="*/ 24 w 136"/>
                <a:gd name="T49" fmla="*/ 11 h 96"/>
                <a:gd name="T50" fmla="*/ 19 w 136"/>
                <a:gd name="T51" fmla="*/ 15 h 96"/>
                <a:gd name="T52" fmla="*/ 12 w 136"/>
                <a:gd name="T53" fmla="*/ 21 h 96"/>
                <a:gd name="T54" fmla="*/ 2 w 136"/>
                <a:gd name="T55" fmla="*/ 27 h 96"/>
                <a:gd name="T56" fmla="*/ 8 w 136"/>
                <a:gd name="T57" fmla="*/ 28 h 96"/>
                <a:gd name="T58" fmla="*/ 13 w 136"/>
                <a:gd name="T59" fmla="*/ 30 h 96"/>
                <a:gd name="T60" fmla="*/ 18 w 136"/>
                <a:gd name="T61" fmla="*/ 39 h 96"/>
                <a:gd name="T62" fmla="*/ 15 w 136"/>
                <a:gd name="T63" fmla="*/ 51 h 96"/>
                <a:gd name="T64" fmla="*/ 18 w 136"/>
                <a:gd name="T65" fmla="*/ 56 h 96"/>
                <a:gd name="T66" fmla="*/ 23 w 136"/>
                <a:gd name="T67" fmla="*/ 65 h 96"/>
                <a:gd name="T68" fmla="*/ 31 w 136"/>
                <a:gd name="T69" fmla="*/ 65 h 96"/>
                <a:gd name="T70" fmla="*/ 40 w 136"/>
                <a:gd name="T71" fmla="*/ 62 h 96"/>
                <a:gd name="T72" fmla="*/ 49 w 136"/>
                <a:gd name="T73" fmla="*/ 62 h 96"/>
                <a:gd name="T74" fmla="*/ 57 w 136"/>
                <a:gd name="T75" fmla="*/ 66 h 96"/>
                <a:gd name="T76" fmla="*/ 60 w 136"/>
                <a:gd name="T77" fmla="*/ 70 h 96"/>
                <a:gd name="T78" fmla="*/ 71 w 136"/>
                <a:gd name="T79" fmla="*/ 68 h 96"/>
                <a:gd name="T80" fmla="*/ 78 w 136"/>
                <a:gd name="T81" fmla="*/ 73 h 96"/>
                <a:gd name="T82" fmla="*/ 88 w 136"/>
                <a:gd name="T83" fmla="*/ 75 h 96"/>
                <a:gd name="T84" fmla="*/ 102 w 136"/>
                <a:gd name="T85" fmla="*/ 68 h 96"/>
                <a:gd name="T86" fmla="*/ 105 w 136"/>
                <a:gd name="T87" fmla="*/ 78 h 96"/>
                <a:gd name="T88" fmla="*/ 113 w 136"/>
                <a:gd name="T89" fmla="*/ 83 h 96"/>
                <a:gd name="T90" fmla="*/ 124 w 136"/>
                <a:gd name="T91" fmla="*/ 96 h 96"/>
                <a:gd name="T92" fmla="*/ 133 w 136"/>
                <a:gd name="T93" fmla="*/ 92 h 96"/>
                <a:gd name="T94" fmla="*/ 133 w 136"/>
                <a:gd name="T95" fmla="*/ 8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6" h="96">
                  <a:moveTo>
                    <a:pt x="133" y="83"/>
                  </a:moveTo>
                  <a:cubicBezTo>
                    <a:pt x="133" y="83"/>
                    <a:pt x="132" y="82"/>
                    <a:pt x="132" y="81"/>
                  </a:cubicBezTo>
                  <a:cubicBezTo>
                    <a:pt x="131" y="80"/>
                    <a:pt x="131" y="81"/>
                    <a:pt x="131" y="81"/>
                  </a:cubicBezTo>
                  <a:cubicBezTo>
                    <a:pt x="128" y="81"/>
                    <a:pt x="128" y="81"/>
                    <a:pt x="128" y="81"/>
                  </a:cubicBezTo>
                  <a:cubicBezTo>
                    <a:pt x="127" y="78"/>
                    <a:pt x="127" y="78"/>
                    <a:pt x="127" y="78"/>
                  </a:cubicBezTo>
                  <a:cubicBezTo>
                    <a:pt x="127" y="78"/>
                    <a:pt x="130" y="79"/>
                    <a:pt x="131" y="78"/>
                  </a:cubicBezTo>
                  <a:cubicBezTo>
                    <a:pt x="132" y="78"/>
                    <a:pt x="135" y="76"/>
                    <a:pt x="135" y="76"/>
                  </a:cubicBezTo>
                  <a:cubicBezTo>
                    <a:pt x="135" y="76"/>
                    <a:pt x="133" y="75"/>
                    <a:pt x="132" y="75"/>
                  </a:cubicBezTo>
                  <a:cubicBezTo>
                    <a:pt x="132" y="75"/>
                    <a:pt x="131" y="73"/>
                    <a:pt x="131" y="73"/>
                  </a:cubicBezTo>
                  <a:cubicBezTo>
                    <a:pt x="129" y="71"/>
                    <a:pt x="129" y="71"/>
                    <a:pt x="129" y="71"/>
                  </a:cubicBezTo>
                  <a:cubicBezTo>
                    <a:pt x="126" y="70"/>
                    <a:pt x="126" y="70"/>
                    <a:pt x="126" y="70"/>
                  </a:cubicBezTo>
                  <a:cubicBezTo>
                    <a:pt x="126" y="70"/>
                    <a:pt x="125" y="70"/>
                    <a:pt x="124" y="69"/>
                  </a:cubicBezTo>
                  <a:cubicBezTo>
                    <a:pt x="124" y="69"/>
                    <a:pt x="124" y="68"/>
                    <a:pt x="124" y="68"/>
                  </a:cubicBezTo>
                  <a:cubicBezTo>
                    <a:pt x="125" y="67"/>
                    <a:pt x="125" y="67"/>
                    <a:pt x="125" y="67"/>
                  </a:cubicBezTo>
                  <a:cubicBezTo>
                    <a:pt x="127" y="65"/>
                    <a:pt x="127" y="65"/>
                    <a:pt x="127" y="65"/>
                  </a:cubicBezTo>
                  <a:cubicBezTo>
                    <a:pt x="127" y="63"/>
                    <a:pt x="127" y="63"/>
                    <a:pt x="127" y="63"/>
                  </a:cubicBezTo>
                  <a:cubicBezTo>
                    <a:pt x="127" y="60"/>
                    <a:pt x="127" y="60"/>
                    <a:pt x="127" y="60"/>
                  </a:cubicBezTo>
                  <a:cubicBezTo>
                    <a:pt x="125" y="61"/>
                    <a:pt x="125" y="61"/>
                    <a:pt x="125" y="61"/>
                  </a:cubicBezTo>
                  <a:cubicBezTo>
                    <a:pt x="125" y="61"/>
                    <a:pt x="122" y="62"/>
                    <a:pt x="121" y="61"/>
                  </a:cubicBezTo>
                  <a:cubicBezTo>
                    <a:pt x="119" y="59"/>
                    <a:pt x="120" y="61"/>
                    <a:pt x="119" y="61"/>
                  </a:cubicBezTo>
                  <a:cubicBezTo>
                    <a:pt x="118" y="62"/>
                    <a:pt x="116" y="63"/>
                    <a:pt x="116" y="63"/>
                  </a:cubicBezTo>
                  <a:cubicBezTo>
                    <a:pt x="116" y="63"/>
                    <a:pt x="115" y="64"/>
                    <a:pt x="114" y="64"/>
                  </a:cubicBezTo>
                  <a:cubicBezTo>
                    <a:pt x="113" y="64"/>
                    <a:pt x="113" y="61"/>
                    <a:pt x="113" y="61"/>
                  </a:cubicBezTo>
                  <a:cubicBezTo>
                    <a:pt x="109" y="61"/>
                    <a:pt x="109" y="61"/>
                    <a:pt x="109" y="61"/>
                  </a:cubicBezTo>
                  <a:cubicBezTo>
                    <a:pt x="106" y="58"/>
                    <a:pt x="106" y="58"/>
                    <a:pt x="106" y="58"/>
                  </a:cubicBezTo>
                  <a:cubicBezTo>
                    <a:pt x="101" y="57"/>
                    <a:pt x="101" y="57"/>
                    <a:pt x="101" y="57"/>
                  </a:cubicBezTo>
                  <a:cubicBezTo>
                    <a:pt x="99" y="57"/>
                    <a:pt x="99" y="57"/>
                    <a:pt x="99" y="57"/>
                  </a:cubicBezTo>
                  <a:cubicBezTo>
                    <a:pt x="98" y="55"/>
                    <a:pt x="98" y="55"/>
                    <a:pt x="98" y="55"/>
                  </a:cubicBezTo>
                  <a:cubicBezTo>
                    <a:pt x="98" y="55"/>
                    <a:pt x="96" y="54"/>
                    <a:pt x="96" y="53"/>
                  </a:cubicBezTo>
                  <a:cubicBezTo>
                    <a:pt x="95" y="53"/>
                    <a:pt x="94" y="53"/>
                    <a:pt x="93" y="54"/>
                  </a:cubicBezTo>
                  <a:cubicBezTo>
                    <a:pt x="93" y="54"/>
                    <a:pt x="92" y="54"/>
                    <a:pt x="90" y="53"/>
                  </a:cubicBezTo>
                  <a:cubicBezTo>
                    <a:pt x="88" y="53"/>
                    <a:pt x="88" y="52"/>
                    <a:pt x="88" y="52"/>
                  </a:cubicBezTo>
                  <a:cubicBezTo>
                    <a:pt x="88" y="52"/>
                    <a:pt x="89" y="50"/>
                    <a:pt x="89" y="50"/>
                  </a:cubicBezTo>
                  <a:cubicBezTo>
                    <a:pt x="90" y="49"/>
                    <a:pt x="91" y="49"/>
                    <a:pt x="91" y="49"/>
                  </a:cubicBezTo>
                  <a:cubicBezTo>
                    <a:pt x="92" y="49"/>
                    <a:pt x="94" y="48"/>
                    <a:pt x="96" y="48"/>
                  </a:cubicBezTo>
                  <a:cubicBezTo>
                    <a:pt x="97" y="47"/>
                    <a:pt x="97" y="47"/>
                    <a:pt x="98" y="47"/>
                  </a:cubicBezTo>
                  <a:cubicBezTo>
                    <a:pt x="99" y="47"/>
                    <a:pt x="99" y="46"/>
                    <a:pt x="99" y="46"/>
                  </a:cubicBezTo>
                  <a:cubicBezTo>
                    <a:pt x="99" y="46"/>
                    <a:pt x="99" y="43"/>
                    <a:pt x="99" y="43"/>
                  </a:cubicBezTo>
                  <a:cubicBezTo>
                    <a:pt x="99" y="42"/>
                    <a:pt x="99" y="42"/>
                    <a:pt x="100" y="42"/>
                  </a:cubicBezTo>
                  <a:cubicBezTo>
                    <a:pt x="100" y="41"/>
                    <a:pt x="100" y="41"/>
                    <a:pt x="100" y="41"/>
                  </a:cubicBezTo>
                  <a:cubicBezTo>
                    <a:pt x="100" y="41"/>
                    <a:pt x="99" y="39"/>
                    <a:pt x="99" y="38"/>
                  </a:cubicBezTo>
                  <a:cubicBezTo>
                    <a:pt x="98" y="36"/>
                    <a:pt x="98" y="37"/>
                    <a:pt x="98" y="37"/>
                  </a:cubicBezTo>
                  <a:cubicBezTo>
                    <a:pt x="96" y="37"/>
                    <a:pt x="96" y="37"/>
                    <a:pt x="96" y="37"/>
                  </a:cubicBezTo>
                  <a:cubicBezTo>
                    <a:pt x="96" y="37"/>
                    <a:pt x="94" y="37"/>
                    <a:pt x="93" y="37"/>
                  </a:cubicBezTo>
                  <a:cubicBezTo>
                    <a:pt x="93" y="37"/>
                    <a:pt x="91" y="37"/>
                    <a:pt x="91" y="37"/>
                  </a:cubicBezTo>
                  <a:cubicBezTo>
                    <a:pt x="89" y="34"/>
                    <a:pt x="89" y="34"/>
                    <a:pt x="89" y="34"/>
                  </a:cubicBezTo>
                  <a:cubicBezTo>
                    <a:pt x="89" y="34"/>
                    <a:pt x="87" y="34"/>
                    <a:pt x="85" y="34"/>
                  </a:cubicBezTo>
                  <a:cubicBezTo>
                    <a:pt x="84" y="34"/>
                    <a:pt x="82" y="32"/>
                    <a:pt x="82" y="32"/>
                  </a:cubicBezTo>
                  <a:cubicBezTo>
                    <a:pt x="77" y="29"/>
                    <a:pt x="77" y="29"/>
                    <a:pt x="77" y="29"/>
                  </a:cubicBezTo>
                  <a:cubicBezTo>
                    <a:pt x="76" y="27"/>
                    <a:pt x="76" y="27"/>
                    <a:pt x="76" y="27"/>
                  </a:cubicBezTo>
                  <a:cubicBezTo>
                    <a:pt x="75" y="27"/>
                    <a:pt x="75" y="27"/>
                    <a:pt x="75" y="27"/>
                  </a:cubicBezTo>
                  <a:cubicBezTo>
                    <a:pt x="75" y="27"/>
                    <a:pt x="73" y="24"/>
                    <a:pt x="73" y="23"/>
                  </a:cubicBezTo>
                  <a:cubicBezTo>
                    <a:pt x="73" y="23"/>
                    <a:pt x="73" y="23"/>
                    <a:pt x="73" y="22"/>
                  </a:cubicBezTo>
                  <a:cubicBezTo>
                    <a:pt x="74" y="22"/>
                    <a:pt x="74" y="21"/>
                    <a:pt x="74" y="20"/>
                  </a:cubicBezTo>
                  <a:cubicBezTo>
                    <a:pt x="74" y="20"/>
                    <a:pt x="75" y="19"/>
                    <a:pt x="75" y="18"/>
                  </a:cubicBezTo>
                  <a:cubicBezTo>
                    <a:pt x="75" y="18"/>
                    <a:pt x="76" y="18"/>
                    <a:pt x="77" y="17"/>
                  </a:cubicBezTo>
                  <a:cubicBezTo>
                    <a:pt x="77" y="17"/>
                    <a:pt x="78" y="17"/>
                    <a:pt x="78" y="16"/>
                  </a:cubicBezTo>
                  <a:cubicBezTo>
                    <a:pt x="78" y="16"/>
                    <a:pt x="79" y="15"/>
                    <a:pt x="79" y="14"/>
                  </a:cubicBezTo>
                  <a:cubicBezTo>
                    <a:pt x="79" y="13"/>
                    <a:pt x="77" y="14"/>
                    <a:pt x="76" y="13"/>
                  </a:cubicBezTo>
                  <a:cubicBezTo>
                    <a:pt x="75" y="13"/>
                    <a:pt x="76" y="14"/>
                    <a:pt x="75" y="14"/>
                  </a:cubicBezTo>
                  <a:cubicBezTo>
                    <a:pt x="75" y="14"/>
                    <a:pt x="74" y="13"/>
                    <a:pt x="73" y="12"/>
                  </a:cubicBezTo>
                  <a:cubicBezTo>
                    <a:pt x="73" y="12"/>
                    <a:pt x="72" y="11"/>
                    <a:pt x="71" y="11"/>
                  </a:cubicBezTo>
                  <a:cubicBezTo>
                    <a:pt x="70" y="11"/>
                    <a:pt x="70" y="11"/>
                    <a:pt x="70" y="10"/>
                  </a:cubicBezTo>
                  <a:cubicBezTo>
                    <a:pt x="70" y="9"/>
                    <a:pt x="70" y="9"/>
                    <a:pt x="70" y="9"/>
                  </a:cubicBezTo>
                  <a:cubicBezTo>
                    <a:pt x="70" y="9"/>
                    <a:pt x="69" y="8"/>
                    <a:pt x="69" y="8"/>
                  </a:cubicBezTo>
                  <a:cubicBezTo>
                    <a:pt x="69" y="8"/>
                    <a:pt x="67" y="10"/>
                    <a:pt x="67" y="10"/>
                  </a:cubicBezTo>
                  <a:cubicBezTo>
                    <a:pt x="66" y="10"/>
                    <a:pt x="66" y="9"/>
                    <a:pt x="65" y="9"/>
                  </a:cubicBezTo>
                  <a:cubicBezTo>
                    <a:pt x="65" y="9"/>
                    <a:pt x="64" y="10"/>
                    <a:pt x="63" y="10"/>
                  </a:cubicBezTo>
                  <a:cubicBezTo>
                    <a:pt x="63" y="10"/>
                    <a:pt x="61" y="9"/>
                    <a:pt x="61" y="9"/>
                  </a:cubicBezTo>
                  <a:cubicBezTo>
                    <a:pt x="61" y="9"/>
                    <a:pt x="59" y="8"/>
                    <a:pt x="59" y="8"/>
                  </a:cubicBezTo>
                  <a:cubicBezTo>
                    <a:pt x="59" y="8"/>
                    <a:pt x="59" y="9"/>
                    <a:pt x="58" y="9"/>
                  </a:cubicBezTo>
                  <a:cubicBezTo>
                    <a:pt x="57" y="10"/>
                    <a:pt x="57" y="9"/>
                    <a:pt x="56" y="9"/>
                  </a:cubicBezTo>
                  <a:cubicBezTo>
                    <a:pt x="56" y="9"/>
                    <a:pt x="56" y="8"/>
                    <a:pt x="56" y="8"/>
                  </a:cubicBezTo>
                  <a:cubicBezTo>
                    <a:pt x="59" y="7"/>
                    <a:pt x="59" y="7"/>
                    <a:pt x="59" y="7"/>
                  </a:cubicBezTo>
                  <a:cubicBezTo>
                    <a:pt x="60" y="5"/>
                    <a:pt x="60" y="5"/>
                    <a:pt x="60" y="5"/>
                  </a:cubicBezTo>
                  <a:cubicBezTo>
                    <a:pt x="60" y="5"/>
                    <a:pt x="58" y="4"/>
                    <a:pt x="57" y="3"/>
                  </a:cubicBezTo>
                  <a:cubicBezTo>
                    <a:pt x="57" y="3"/>
                    <a:pt x="56" y="4"/>
                    <a:pt x="56" y="4"/>
                  </a:cubicBezTo>
                  <a:cubicBezTo>
                    <a:pt x="53" y="4"/>
                    <a:pt x="53" y="4"/>
                    <a:pt x="53" y="4"/>
                  </a:cubicBezTo>
                  <a:cubicBezTo>
                    <a:pt x="54" y="2"/>
                    <a:pt x="54" y="2"/>
                    <a:pt x="54" y="2"/>
                  </a:cubicBezTo>
                  <a:cubicBezTo>
                    <a:pt x="54" y="2"/>
                    <a:pt x="52" y="0"/>
                    <a:pt x="51" y="1"/>
                  </a:cubicBezTo>
                  <a:cubicBezTo>
                    <a:pt x="51" y="1"/>
                    <a:pt x="50" y="1"/>
                    <a:pt x="49" y="2"/>
                  </a:cubicBezTo>
                  <a:cubicBezTo>
                    <a:pt x="48" y="2"/>
                    <a:pt x="48" y="3"/>
                    <a:pt x="48" y="3"/>
                  </a:cubicBezTo>
                  <a:cubicBezTo>
                    <a:pt x="48" y="3"/>
                    <a:pt x="47" y="3"/>
                    <a:pt x="45" y="2"/>
                  </a:cubicBezTo>
                  <a:cubicBezTo>
                    <a:pt x="42" y="2"/>
                    <a:pt x="44" y="3"/>
                    <a:pt x="44" y="3"/>
                  </a:cubicBezTo>
                  <a:cubicBezTo>
                    <a:pt x="44" y="3"/>
                    <a:pt x="47" y="5"/>
                    <a:pt x="47" y="5"/>
                  </a:cubicBezTo>
                  <a:cubicBezTo>
                    <a:pt x="47" y="5"/>
                    <a:pt x="46" y="6"/>
                    <a:pt x="46" y="6"/>
                  </a:cubicBezTo>
                  <a:cubicBezTo>
                    <a:pt x="45" y="6"/>
                    <a:pt x="44" y="6"/>
                    <a:pt x="43" y="7"/>
                  </a:cubicBezTo>
                  <a:cubicBezTo>
                    <a:pt x="41" y="7"/>
                    <a:pt x="41" y="7"/>
                    <a:pt x="40" y="7"/>
                  </a:cubicBezTo>
                  <a:cubicBezTo>
                    <a:pt x="38" y="7"/>
                    <a:pt x="39" y="7"/>
                    <a:pt x="39" y="7"/>
                  </a:cubicBezTo>
                  <a:cubicBezTo>
                    <a:pt x="39" y="7"/>
                    <a:pt x="38" y="9"/>
                    <a:pt x="37" y="9"/>
                  </a:cubicBezTo>
                  <a:cubicBezTo>
                    <a:pt x="37" y="10"/>
                    <a:pt x="37" y="9"/>
                    <a:pt x="37" y="9"/>
                  </a:cubicBezTo>
                  <a:cubicBezTo>
                    <a:pt x="36" y="9"/>
                    <a:pt x="36" y="9"/>
                    <a:pt x="36" y="9"/>
                  </a:cubicBezTo>
                  <a:cubicBezTo>
                    <a:pt x="35" y="9"/>
                    <a:pt x="35" y="10"/>
                    <a:pt x="35" y="10"/>
                  </a:cubicBezTo>
                  <a:cubicBezTo>
                    <a:pt x="35" y="10"/>
                    <a:pt x="33" y="10"/>
                    <a:pt x="33" y="10"/>
                  </a:cubicBezTo>
                  <a:cubicBezTo>
                    <a:pt x="32" y="10"/>
                    <a:pt x="31" y="10"/>
                    <a:pt x="31" y="10"/>
                  </a:cubicBezTo>
                  <a:cubicBezTo>
                    <a:pt x="30" y="10"/>
                    <a:pt x="30" y="11"/>
                    <a:pt x="30" y="11"/>
                  </a:cubicBezTo>
                  <a:cubicBezTo>
                    <a:pt x="30" y="11"/>
                    <a:pt x="29" y="11"/>
                    <a:pt x="28" y="12"/>
                  </a:cubicBezTo>
                  <a:cubicBezTo>
                    <a:pt x="28" y="12"/>
                    <a:pt x="26" y="12"/>
                    <a:pt x="26" y="12"/>
                  </a:cubicBezTo>
                  <a:cubicBezTo>
                    <a:pt x="26" y="12"/>
                    <a:pt x="25" y="11"/>
                    <a:pt x="25" y="11"/>
                  </a:cubicBezTo>
                  <a:cubicBezTo>
                    <a:pt x="24" y="11"/>
                    <a:pt x="24" y="11"/>
                    <a:pt x="24" y="11"/>
                  </a:cubicBezTo>
                  <a:cubicBezTo>
                    <a:pt x="24" y="11"/>
                    <a:pt x="24" y="13"/>
                    <a:pt x="23" y="13"/>
                  </a:cubicBezTo>
                  <a:cubicBezTo>
                    <a:pt x="23" y="14"/>
                    <a:pt x="23" y="14"/>
                    <a:pt x="22" y="14"/>
                  </a:cubicBezTo>
                  <a:cubicBezTo>
                    <a:pt x="21" y="14"/>
                    <a:pt x="21" y="15"/>
                    <a:pt x="20" y="15"/>
                  </a:cubicBezTo>
                  <a:cubicBezTo>
                    <a:pt x="20" y="15"/>
                    <a:pt x="19" y="15"/>
                    <a:pt x="19" y="15"/>
                  </a:cubicBezTo>
                  <a:cubicBezTo>
                    <a:pt x="19" y="15"/>
                    <a:pt x="19" y="17"/>
                    <a:pt x="18" y="17"/>
                  </a:cubicBezTo>
                  <a:cubicBezTo>
                    <a:pt x="18" y="17"/>
                    <a:pt x="16" y="17"/>
                    <a:pt x="16" y="18"/>
                  </a:cubicBezTo>
                  <a:cubicBezTo>
                    <a:pt x="15" y="18"/>
                    <a:pt x="14" y="19"/>
                    <a:pt x="14" y="19"/>
                  </a:cubicBezTo>
                  <a:cubicBezTo>
                    <a:pt x="12" y="21"/>
                    <a:pt x="12" y="21"/>
                    <a:pt x="12" y="21"/>
                  </a:cubicBezTo>
                  <a:cubicBezTo>
                    <a:pt x="12" y="21"/>
                    <a:pt x="7" y="22"/>
                    <a:pt x="6" y="22"/>
                  </a:cubicBezTo>
                  <a:cubicBezTo>
                    <a:pt x="5" y="23"/>
                    <a:pt x="3" y="23"/>
                    <a:pt x="3" y="23"/>
                  </a:cubicBezTo>
                  <a:cubicBezTo>
                    <a:pt x="0" y="25"/>
                    <a:pt x="0" y="25"/>
                    <a:pt x="0" y="25"/>
                  </a:cubicBezTo>
                  <a:cubicBezTo>
                    <a:pt x="2" y="27"/>
                    <a:pt x="2" y="27"/>
                    <a:pt x="2" y="27"/>
                  </a:cubicBezTo>
                  <a:cubicBezTo>
                    <a:pt x="3" y="26"/>
                    <a:pt x="3" y="26"/>
                    <a:pt x="3" y="26"/>
                  </a:cubicBezTo>
                  <a:cubicBezTo>
                    <a:pt x="6" y="28"/>
                    <a:pt x="6" y="28"/>
                    <a:pt x="6" y="28"/>
                  </a:cubicBezTo>
                  <a:cubicBezTo>
                    <a:pt x="6" y="28"/>
                    <a:pt x="6" y="28"/>
                    <a:pt x="6" y="28"/>
                  </a:cubicBezTo>
                  <a:cubicBezTo>
                    <a:pt x="6" y="28"/>
                    <a:pt x="7" y="28"/>
                    <a:pt x="8" y="28"/>
                  </a:cubicBezTo>
                  <a:cubicBezTo>
                    <a:pt x="10" y="27"/>
                    <a:pt x="10" y="27"/>
                    <a:pt x="10" y="27"/>
                  </a:cubicBezTo>
                  <a:cubicBezTo>
                    <a:pt x="11" y="28"/>
                    <a:pt x="11" y="28"/>
                    <a:pt x="11" y="28"/>
                  </a:cubicBezTo>
                  <a:cubicBezTo>
                    <a:pt x="12" y="28"/>
                    <a:pt x="12" y="29"/>
                    <a:pt x="13" y="29"/>
                  </a:cubicBezTo>
                  <a:cubicBezTo>
                    <a:pt x="13" y="30"/>
                    <a:pt x="13" y="30"/>
                    <a:pt x="13" y="30"/>
                  </a:cubicBezTo>
                  <a:cubicBezTo>
                    <a:pt x="13" y="30"/>
                    <a:pt x="14" y="32"/>
                    <a:pt x="14" y="32"/>
                  </a:cubicBezTo>
                  <a:cubicBezTo>
                    <a:pt x="14" y="33"/>
                    <a:pt x="14" y="33"/>
                    <a:pt x="14" y="33"/>
                  </a:cubicBezTo>
                  <a:cubicBezTo>
                    <a:pt x="16" y="36"/>
                    <a:pt x="16" y="36"/>
                    <a:pt x="16" y="36"/>
                  </a:cubicBezTo>
                  <a:cubicBezTo>
                    <a:pt x="18" y="39"/>
                    <a:pt x="18" y="39"/>
                    <a:pt x="18" y="39"/>
                  </a:cubicBezTo>
                  <a:cubicBezTo>
                    <a:pt x="17" y="44"/>
                    <a:pt x="17" y="44"/>
                    <a:pt x="17" y="44"/>
                  </a:cubicBezTo>
                  <a:cubicBezTo>
                    <a:pt x="17" y="45"/>
                    <a:pt x="17" y="45"/>
                    <a:pt x="17" y="45"/>
                  </a:cubicBezTo>
                  <a:cubicBezTo>
                    <a:pt x="15" y="48"/>
                    <a:pt x="15" y="49"/>
                    <a:pt x="15" y="50"/>
                  </a:cubicBezTo>
                  <a:cubicBezTo>
                    <a:pt x="15" y="50"/>
                    <a:pt x="15" y="50"/>
                    <a:pt x="15" y="51"/>
                  </a:cubicBezTo>
                  <a:cubicBezTo>
                    <a:pt x="16" y="51"/>
                    <a:pt x="16" y="51"/>
                    <a:pt x="16" y="51"/>
                  </a:cubicBezTo>
                  <a:cubicBezTo>
                    <a:pt x="16" y="52"/>
                    <a:pt x="16" y="52"/>
                    <a:pt x="16" y="52"/>
                  </a:cubicBezTo>
                  <a:cubicBezTo>
                    <a:pt x="17" y="53"/>
                    <a:pt x="17" y="53"/>
                    <a:pt x="17" y="53"/>
                  </a:cubicBezTo>
                  <a:cubicBezTo>
                    <a:pt x="18" y="55"/>
                    <a:pt x="18" y="56"/>
                    <a:pt x="18" y="56"/>
                  </a:cubicBezTo>
                  <a:cubicBezTo>
                    <a:pt x="18" y="56"/>
                    <a:pt x="19" y="57"/>
                    <a:pt x="19" y="57"/>
                  </a:cubicBezTo>
                  <a:cubicBezTo>
                    <a:pt x="19" y="57"/>
                    <a:pt x="20" y="58"/>
                    <a:pt x="21" y="58"/>
                  </a:cubicBezTo>
                  <a:cubicBezTo>
                    <a:pt x="22" y="59"/>
                    <a:pt x="22" y="60"/>
                    <a:pt x="23" y="61"/>
                  </a:cubicBezTo>
                  <a:cubicBezTo>
                    <a:pt x="24" y="62"/>
                    <a:pt x="24" y="64"/>
                    <a:pt x="23" y="65"/>
                  </a:cubicBezTo>
                  <a:cubicBezTo>
                    <a:pt x="24" y="65"/>
                    <a:pt x="26" y="65"/>
                    <a:pt x="26" y="65"/>
                  </a:cubicBezTo>
                  <a:cubicBezTo>
                    <a:pt x="26" y="65"/>
                    <a:pt x="26" y="65"/>
                    <a:pt x="26" y="65"/>
                  </a:cubicBezTo>
                  <a:cubicBezTo>
                    <a:pt x="27" y="65"/>
                    <a:pt x="27" y="65"/>
                    <a:pt x="27" y="65"/>
                  </a:cubicBezTo>
                  <a:cubicBezTo>
                    <a:pt x="29" y="65"/>
                    <a:pt x="30" y="65"/>
                    <a:pt x="31" y="65"/>
                  </a:cubicBezTo>
                  <a:cubicBezTo>
                    <a:pt x="33" y="65"/>
                    <a:pt x="33" y="65"/>
                    <a:pt x="33" y="65"/>
                  </a:cubicBezTo>
                  <a:cubicBezTo>
                    <a:pt x="34" y="64"/>
                    <a:pt x="35" y="64"/>
                    <a:pt x="36" y="64"/>
                  </a:cubicBezTo>
                  <a:cubicBezTo>
                    <a:pt x="39" y="62"/>
                    <a:pt x="39" y="62"/>
                    <a:pt x="39" y="62"/>
                  </a:cubicBezTo>
                  <a:cubicBezTo>
                    <a:pt x="40" y="62"/>
                    <a:pt x="40" y="62"/>
                    <a:pt x="40" y="62"/>
                  </a:cubicBezTo>
                  <a:cubicBezTo>
                    <a:pt x="40" y="62"/>
                    <a:pt x="44" y="62"/>
                    <a:pt x="45" y="62"/>
                  </a:cubicBezTo>
                  <a:cubicBezTo>
                    <a:pt x="46" y="62"/>
                    <a:pt x="46" y="62"/>
                    <a:pt x="46" y="62"/>
                  </a:cubicBezTo>
                  <a:cubicBezTo>
                    <a:pt x="47" y="62"/>
                    <a:pt x="48" y="62"/>
                    <a:pt x="48" y="62"/>
                  </a:cubicBezTo>
                  <a:cubicBezTo>
                    <a:pt x="49" y="62"/>
                    <a:pt x="49" y="62"/>
                    <a:pt x="49" y="62"/>
                  </a:cubicBezTo>
                  <a:cubicBezTo>
                    <a:pt x="49" y="62"/>
                    <a:pt x="49" y="62"/>
                    <a:pt x="49" y="62"/>
                  </a:cubicBezTo>
                  <a:cubicBezTo>
                    <a:pt x="51" y="62"/>
                    <a:pt x="53" y="63"/>
                    <a:pt x="54" y="63"/>
                  </a:cubicBezTo>
                  <a:cubicBezTo>
                    <a:pt x="54" y="64"/>
                    <a:pt x="54" y="64"/>
                    <a:pt x="54" y="64"/>
                  </a:cubicBezTo>
                  <a:cubicBezTo>
                    <a:pt x="55" y="64"/>
                    <a:pt x="57" y="65"/>
                    <a:pt x="57" y="66"/>
                  </a:cubicBezTo>
                  <a:cubicBezTo>
                    <a:pt x="58" y="67"/>
                    <a:pt x="58" y="67"/>
                    <a:pt x="58" y="67"/>
                  </a:cubicBezTo>
                  <a:cubicBezTo>
                    <a:pt x="58" y="68"/>
                    <a:pt x="58" y="68"/>
                    <a:pt x="58" y="68"/>
                  </a:cubicBezTo>
                  <a:cubicBezTo>
                    <a:pt x="57" y="69"/>
                    <a:pt x="57" y="69"/>
                    <a:pt x="57" y="70"/>
                  </a:cubicBezTo>
                  <a:cubicBezTo>
                    <a:pt x="58" y="70"/>
                    <a:pt x="59" y="70"/>
                    <a:pt x="60" y="70"/>
                  </a:cubicBezTo>
                  <a:cubicBezTo>
                    <a:pt x="61" y="70"/>
                    <a:pt x="61" y="71"/>
                    <a:pt x="61" y="71"/>
                  </a:cubicBezTo>
                  <a:cubicBezTo>
                    <a:pt x="65" y="72"/>
                    <a:pt x="65" y="72"/>
                    <a:pt x="65" y="72"/>
                  </a:cubicBezTo>
                  <a:cubicBezTo>
                    <a:pt x="68" y="71"/>
                    <a:pt x="68" y="71"/>
                    <a:pt x="68" y="71"/>
                  </a:cubicBezTo>
                  <a:cubicBezTo>
                    <a:pt x="71" y="68"/>
                    <a:pt x="71" y="68"/>
                    <a:pt x="71" y="68"/>
                  </a:cubicBezTo>
                  <a:cubicBezTo>
                    <a:pt x="73" y="68"/>
                    <a:pt x="73" y="68"/>
                    <a:pt x="73" y="68"/>
                  </a:cubicBezTo>
                  <a:cubicBezTo>
                    <a:pt x="73" y="68"/>
                    <a:pt x="75" y="69"/>
                    <a:pt x="76" y="69"/>
                  </a:cubicBezTo>
                  <a:cubicBezTo>
                    <a:pt x="77" y="69"/>
                    <a:pt x="77" y="70"/>
                    <a:pt x="77" y="70"/>
                  </a:cubicBezTo>
                  <a:cubicBezTo>
                    <a:pt x="77" y="70"/>
                    <a:pt x="78" y="72"/>
                    <a:pt x="78" y="73"/>
                  </a:cubicBezTo>
                  <a:cubicBezTo>
                    <a:pt x="79" y="74"/>
                    <a:pt x="79" y="76"/>
                    <a:pt x="79" y="76"/>
                  </a:cubicBezTo>
                  <a:cubicBezTo>
                    <a:pt x="81" y="73"/>
                    <a:pt x="81" y="73"/>
                    <a:pt x="81" y="73"/>
                  </a:cubicBezTo>
                  <a:cubicBezTo>
                    <a:pt x="86" y="74"/>
                    <a:pt x="86" y="74"/>
                    <a:pt x="86" y="74"/>
                  </a:cubicBezTo>
                  <a:cubicBezTo>
                    <a:pt x="88" y="75"/>
                    <a:pt x="88" y="75"/>
                    <a:pt x="88" y="75"/>
                  </a:cubicBezTo>
                  <a:cubicBezTo>
                    <a:pt x="92" y="74"/>
                    <a:pt x="92" y="74"/>
                    <a:pt x="92" y="74"/>
                  </a:cubicBezTo>
                  <a:cubicBezTo>
                    <a:pt x="92" y="74"/>
                    <a:pt x="93" y="72"/>
                    <a:pt x="94" y="72"/>
                  </a:cubicBezTo>
                  <a:cubicBezTo>
                    <a:pt x="95" y="71"/>
                    <a:pt x="97" y="70"/>
                    <a:pt x="98" y="70"/>
                  </a:cubicBezTo>
                  <a:cubicBezTo>
                    <a:pt x="99" y="69"/>
                    <a:pt x="102" y="68"/>
                    <a:pt x="102" y="68"/>
                  </a:cubicBezTo>
                  <a:cubicBezTo>
                    <a:pt x="102" y="68"/>
                    <a:pt x="102" y="70"/>
                    <a:pt x="103" y="71"/>
                  </a:cubicBezTo>
                  <a:cubicBezTo>
                    <a:pt x="103" y="71"/>
                    <a:pt x="104" y="74"/>
                    <a:pt x="104" y="74"/>
                  </a:cubicBezTo>
                  <a:cubicBezTo>
                    <a:pt x="104" y="78"/>
                    <a:pt x="104" y="78"/>
                    <a:pt x="104" y="78"/>
                  </a:cubicBezTo>
                  <a:cubicBezTo>
                    <a:pt x="105" y="78"/>
                    <a:pt x="105" y="78"/>
                    <a:pt x="105" y="78"/>
                  </a:cubicBezTo>
                  <a:cubicBezTo>
                    <a:pt x="105" y="78"/>
                    <a:pt x="108" y="79"/>
                    <a:pt x="109" y="79"/>
                  </a:cubicBezTo>
                  <a:cubicBezTo>
                    <a:pt x="110" y="79"/>
                    <a:pt x="111" y="79"/>
                    <a:pt x="111" y="79"/>
                  </a:cubicBezTo>
                  <a:cubicBezTo>
                    <a:pt x="113" y="81"/>
                    <a:pt x="113" y="81"/>
                    <a:pt x="113" y="81"/>
                  </a:cubicBezTo>
                  <a:cubicBezTo>
                    <a:pt x="113" y="83"/>
                    <a:pt x="113" y="83"/>
                    <a:pt x="113" y="83"/>
                  </a:cubicBezTo>
                  <a:cubicBezTo>
                    <a:pt x="115" y="86"/>
                    <a:pt x="115" y="86"/>
                    <a:pt x="115" y="86"/>
                  </a:cubicBezTo>
                  <a:cubicBezTo>
                    <a:pt x="117" y="89"/>
                    <a:pt x="117" y="89"/>
                    <a:pt x="117" y="89"/>
                  </a:cubicBezTo>
                  <a:cubicBezTo>
                    <a:pt x="121" y="93"/>
                    <a:pt x="121" y="93"/>
                    <a:pt x="121" y="93"/>
                  </a:cubicBezTo>
                  <a:cubicBezTo>
                    <a:pt x="124" y="96"/>
                    <a:pt x="124" y="96"/>
                    <a:pt x="124" y="96"/>
                  </a:cubicBezTo>
                  <a:cubicBezTo>
                    <a:pt x="125" y="96"/>
                    <a:pt x="125" y="96"/>
                    <a:pt x="125" y="96"/>
                  </a:cubicBezTo>
                  <a:cubicBezTo>
                    <a:pt x="128" y="94"/>
                    <a:pt x="128" y="94"/>
                    <a:pt x="128" y="94"/>
                  </a:cubicBezTo>
                  <a:cubicBezTo>
                    <a:pt x="130" y="92"/>
                    <a:pt x="130" y="92"/>
                    <a:pt x="130" y="92"/>
                  </a:cubicBezTo>
                  <a:cubicBezTo>
                    <a:pt x="133" y="92"/>
                    <a:pt x="133" y="92"/>
                    <a:pt x="133" y="92"/>
                  </a:cubicBezTo>
                  <a:cubicBezTo>
                    <a:pt x="135" y="90"/>
                    <a:pt x="135" y="90"/>
                    <a:pt x="135" y="90"/>
                  </a:cubicBezTo>
                  <a:cubicBezTo>
                    <a:pt x="135" y="90"/>
                    <a:pt x="135" y="90"/>
                    <a:pt x="135" y="89"/>
                  </a:cubicBezTo>
                  <a:cubicBezTo>
                    <a:pt x="134" y="89"/>
                    <a:pt x="136" y="86"/>
                    <a:pt x="136" y="86"/>
                  </a:cubicBezTo>
                  <a:cubicBezTo>
                    <a:pt x="136" y="82"/>
                    <a:pt x="133" y="83"/>
                    <a:pt x="133" y="83"/>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0" name="Freeform 208"/>
            <p:cNvSpPr>
              <a:spLocks/>
            </p:cNvSpPr>
            <p:nvPr/>
          </p:nvSpPr>
          <p:spPr bwMode="auto">
            <a:xfrm>
              <a:off x="8547105" y="4731413"/>
              <a:ext cx="5777" cy="2723"/>
            </a:xfrm>
            <a:custGeom>
              <a:avLst/>
              <a:gdLst>
                <a:gd name="T0" fmla="*/ 0 w 2"/>
                <a:gd name="T1" fmla="*/ 0 h 1"/>
                <a:gd name="T2" fmla="*/ 1 w 2"/>
                <a:gd name="T3" fmla="*/ 1 h 1"/>
                <a:gd name="T4" fmla="*/ 2 w 2"/>
                <a:gd name="T5" fmla="*/ 0 h 1"/>
                <a:gd name="T6" fmla="*/ 0 w 2"/>
                <a:gd name="T7" fmla="*/ 0 h 1"/>
              </a:gdLst>
              <a:ahLst/>
              <a:cxnLst>
                <a:cxn ang="0">
                  <a:pos x="T0" y="T1"/>
                </a:cxn>
                <a:cxn ang="0">
                  <a:pos x="T2" y="T3"/>
                </a:cxn>
                <a:cxn ang="0">
                  <a:pos x="T4" y="T5"/>
                </a:cxn>
                <a:cxn ang="0">
                  <a:pos x="T6" y="T7"/>
                </a:cxn>
              </a:cxnLst>
              <a:rect l="0" t="0" r="r" b="b"/>
              <a:pathLst>
                <a:path w="2" h="1">
                  <a:moveTo>
                    <a:pt x="0" y="0"/>
                  </a:moveTo>
                  <a:cubicBezTo>
                    <a:pt x="1" y="1"/>
                    <a:pt x="1" y="1"/>
                    <a:pt x="1" y="1"/>
                  </a:cubicBezTo>
                  <a:cubicBezTo>
                    <a:pt x="2" y="0"/>
                    <a:pt x="2" y="0"/>
                    <a:pt x="2" y="0"/>
                  </a:cubicBezTo>
                  <a:cubicBezTo>
                    <a:pt x="1" y="0"/>
                    <a:pt x="0" y="0"/>
                    <a:pt x="0" y="0"/>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1" name="Freeform 209"/>
            <p:cNvSpPr>
              <a:spLocks/>
            </p:cNvSpPr>
            <p:nvPr/>
          </p:nvSpPr>
          <p:spPr bwMode="auto">
            <a:xfrm>
              <a:off x="6347668" y="4307956"/>
              <a:ext cx="846270" cy="573233"/>
            </a:xfrm>
            <a:custGeom>
              <a:avLst/>
              <a:gdLst>
                <a:gd name="T0" fmla="*/ 277 w 292"/>
                <a:gd name="T1" fmla="*/ 94 h 210"/>
                <a:gd name="T2" fmla="*/ 239 w 292"/>
                <a:gd name="T3" fmla="*/ 104 h 210"/>
                <a:gd name="T4" fmla="*/ 235 w 292"/>
                <a:gd name="T5" fmla="*/ 95 h 210"/>
                <a:gd name="T6" fmla="*/ 233 w 292"/>
                <a:gd name="T7" fmla="*/ 91 h 210"/>
                <a:gd name="T8" fmla="*/ 230 w 292"/>
                <a:gd name="T9" fmla="*/ 82 h 210"/>
                <a:gd name="T10" fmla="*/ 228 w 292"/>
                <a:gd name="T11" fmla="*/ 74 h 210"/>
                <a:gd name="T12" fmla="*/ 228 w 292"/>
                <a:gd name="T13" fmla="*/ 63 h 210"/>
                <a:gd name="T14" fmla="*/ 226 w 292"/>
                <a:gd name="T15" fmla="*/ 56 h 210"/>
                <a:gd name="T16" fmla="*/ 222 w 292"/>
                <a:gd name="T17" fmla="*/ 49 h 210"/>
                <a:gd name="T18" fmla="*/ 217 w 292"/>
                <a:gd name="T19" fmla="*/ 41 h 210"/>
                <a:gd name="T20" fmla="*/ 206 w 292"/>
                <a:gd name="T21" fmla="*/ 33 h 210"/>
                <a:gd name="T22" fmla="*/ 198 w 292"/>
                <a:gd name="T23" fmla="*/ 27 h 210"/>
                <a:gd name="T24" fmla="*/ 195 w 292"/>
                <a:gd name="T25" fmla="*/ 25 h 210"/>
                <a:gd name="T26" fmla="*/ 187 w 292"/>
                <a:gd name="T27" fmla="*/ 18 h 210"/>
                <a:gd name="T28" fmla="*/ 184 w 292"/>
                <a:gd name="T29" fmla="*/ 12 h 210"/>
                <a:gd name="T30" fmla="*/ 178 w 292"/>
                <a:gd name="T31" fmla="*/ 6 h 210"/>
                <a:gd name="T32" fmla="*/ 173 w 292"/>
                <a:gd name="T33" fmla="*/ 3 h 210"/>
                <a:gd name="T34" fmla="*/ 169 w 292"/>
                <a:gd name="T35" fmla="*/ 0 h 210"/>
                <a:gd name="T36" fmla="*/ 155 w 292"/>
                <a:gd name="T37" fmla="*/ 5 h 210"/>
                <a:gd name="T38" fmla="*/ 132 w 292"/>
                <a:gd name="T39" fmla="*/ 20 h 210"/>
                <a:gd name="T40" fmla="*/ 108 w 292"/>
                <a:gd name="T41" fmla="*/ 27 h 210"/>
                <a:gd name="T42" fmla="*/ 73 w 292"/>
                <a:gd name="T43" fmla="*/ 29 h 210"/>
                <a:gd name="T44" fmla="*/ 67 w 292"/>
                <a:gd name="T45" fmla="*/ 37 h 210"/>
                <a:gd name="T46" fmla="*/ 55 w 292"/>
                <a:gd name="T47" fmla="*/ 48 h 210"/>
                <a:gd name="T48" fmla="*/ 45 w 292"/>
                <a:gd name="T49" fmla="*/ 57 h 210"/>
                <a:gd name="T50" fmla="*/ 42 w 292"/>
                <a:gd name="T51" fmla="*/ 73 h 210"/>
                <a:gd name="T52" fmla="*/ 35 w 292"/>
                <a:gd name="T53" fmla="*/ 88 h 210"/>
                <a:gd name="T54" fmla="*/ 32 w 292"/>
                <a:gd name="T55" fmla="*/ 107 h 210"/>
                <a:gd name="T56" fmla="*/ 16 w 292"/>
                <a:gd name="T57" fmla="*/ 124 h 210"/>
                <a:gd name="T58" fmla="*/ 6 w 292"/>
                <a:gd name="T59" fmla="*/ 129 h 210"/>
                <a:gd name="T60" fmla="*/ 7 w 292"/>
                <a:gd name="T61" fmla="*/ 131 h 210"/>
                <a:gd name="T62" fmla="*/ 16 w 292"/>
                <a:gd name="T63" fmla="*/ 136 h 210"/>
                <a:gd name="T64" fmla="*/ 18 w 292"/>
                <a:gd name="T65" fmla="*/ 145 h 210"/>
                <a:gd name="T66" fmla="*/ 22 w 292"/>
                <a:gd name="T67" fmla="*/ 152 h 210"/>
                <a:gd name="T68" fmla="*/ 33 w 292"/>
                <a:gd name="T69" fmla="*/ 156 h 210"/>
                <a:gd name="T70" fmla="*/ 43 w 292"/>
                <a:gd name="T71" fmla="*/ 158 h 210"/>
                <a:gd name="T72" fmla="*/ 45 w 292"/>
                <a:gd name="T73" fmla="*/ 168 h 210"/>
                <a:gd name="T74" fmla="*/ 45 w 292"/>
                <a:gd name="T75" fmla="*/ 175 h 210"/>
                <a:gd name="T76" fmla="*/ 51 w 292"/>
                <a:gd name="T77" fmla="*/ 178 h 210"/>
                <a:gd name="T78" fmla="*/ 56 w 292"/>
                <a:gd name="T79" fmla="*/ 179 h 210"/>
                <a:gd name="T80" fmla="*/ 66 w 292"/>
                <a:gd name="T81" fmla="*/ 183 h 210"/>
                <a:gd name="T82" fmla="*/ 71 w 292"/>
                <a:gd name="T83" fmla="*/ 176 h 210"/>
                <a:gd name="T84" fmla="*/ 80 w 292"/>
                <a:gd name="T85" fmla="*/ 176 h 210"/>
                <a:gd name="T86" fmla="*/ 84 w 292"/>
                <a:gd name="T87" fmla="*/ 183 h 210"/>
                <a:gd name="T88" fmla="*/ 83 w 292"/>
                <a:gd name="T89" fmla="*/ 189 h 210"/>
                <a:gd name="T90" fmla="*/ 87 w 292"/>
                <a:gd name="T91" fmla="*/ 196 h 210"/>
                <a:gd name="T92" fmla="*/ 95 w 292"/>
                <a:gd name="T93" fmla="*/ 204 h 210"/>
                <a:gd name="T94" fmla="*/ 97 w 292"/>
                <a:gd name="T95" fmla="*/ 209 h 210"/>
                <a:gd name="T96" fmla="*/ 128 w 292"/>
                <a:gd name="T97" fmla="*/ 207 h 210"/>
                <a:gd name="T98" fmla="*/ 195 w 292"/>
                <a:gd name="T99" fmla="*/ 185 h 210"/>
                <a:gd name="T100" fmla="*/ 252 w 292"/>
                <a:gd name="T101" fmla="*/ 168 h 210"/>
                <a:gd name="T102" fmla="*/ 271 w 292"/>
                <a:gd name="T103" fmla="*/ 143 h 210"/>
                <a:gd name="T104" fmla="*/ 287 w 292"/>
                <a:gd name="T105" fmla="*/ 9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2" h="210">
                  <a:moveTo>
                    <a:pt x="287" y="96"/>
                  </a:moveTo>
                  <a:cubicBezTo>
                    <a:pt x="284" y="96"/>
                    <a:pt x="284" y="96"/>
                    <a:pt x="284" y="96"/>
                  </a:cubicBezTo>
                  <a:cubicBezTo>
                    <a:pt x="277" y="94"/>
                    <a:pt x="277" y="94"/>
                    <a:pt x="277" y="94"/>
                  </a:cubicBezTo>
                  <a:cubicBezTo>
                    <a:pt x="277" y="94"/>
                    <a:pt x="277" y="94"/>
                    <a:pt x="277" y="94"/>
                  </a:cubicBezTo>
                  <a:cubicBezTo>
                    <a:pt x="277" y="94"/>
                    <a:pt x="277" y="94"/>
                    <a:pt x="277" y="94"/>
                  </a:cubicBezTo>
                  <a:cubicBezTo>
                    <a:pt x="271" y="94"/>
                    <a:pt x="264" y="106"/>
                    <a:pt x="264" y="106"/>
                  </a:cubicBezTo>
                  <a:cubicBezTo>
                    <a:pt x="261" y="112"/>
                    <a:pt x="261" y="112"/>
                    <a:pt x="261" y="112"/>
                  </a:cubicBezTo>
                  <a:cubicBezTo>
                    <a:pt x="257" y="111"/>
                    <a:pt x="257" y="111"/>
                    <a:pt x="257" y="111"/>
                  </a:cubicBezTo>
                  <a:cubicBezTo>
                    <a:pt x="251" y="110"/>
                    <a:pt x="245" y="108"/>
                    <a:pt x="240" y="105"/>
                  </a:cubicBezTo>
                  <a:cubicBezTo>
                    <a:pt x="239" y="104"/>
                    <a:pt x="239" y="104"/>
                    <a:pt x="239" y="104"/>
                  </a:cubicBezTo>
                  <a:cubicBezTo>
                    <a:pt x="237" y="101"/>
                    <a:pt x="237" y="101"/>
                    <a:pt x="237" y="101"/>
                  </a:cubicBezTo>
                  <a:cubicBezTo>
                    <a:pt x="236" y="101"/>
                    <a:pt x="235" y="101"/>
                    <a:pt x="235" y="100"/>
                  </a:cubicBezTo>
                  <a:cubicBezTo>
                    <a:pt x="234" y="99"/>
                    <a:pt x="234" y="99"/>
                    <a:pt x="234" y="99"/>
                  </a:cubicBezTo>
                  <a:cubicBezTo>
                    <a:pt x="234" y="96"/>
                    <a:pt x="234" y="96"/>
                    <a:pt x="234" y="96"/>
                  </a:cubicBezTo>
                  <a:cubicBezTo>
                    <a:pt x="234" y="96"/>
                    <a:pt x="235" y="95"/>
                    <a:pt x="235" y="95"/>
                  </a:cubicBezTo>
                  <a:cubicBezTo>
                    <a:pt x="235" y="95"/>
                    <a:pt x="235" y="95"/>
                    <a:pt x="235" y="95"/>
                  </a:cubicBezTo>
                  <a:cubicBezTo>
                    <a:pt x="235" y="94"/>
                    <a:pt x="235" y="94"/>
                    <a:pt x="235" y="94"/>
                  </a:cubicBezTo>
                  <a:cubicBezTo>
                    <a:pt x="235" y="94"/>
                    <a:pt x="235" y="93"/>
                    <a:pt x="235" y="93"/>
                  </a:cubicBezTo>
                  <a:cubicBezTo>
                    <a:pt x="235" y="93"/>
                    <a:pt x="235" y="93"/>
                    <a:pt x="235" y="93"/>
                  </a:cubicBezTo>
                  <a:cubicBezTo>
                    <a:pt x="234" y="92"/>
                    <a:pt x="234" y="92"/>
                    <a:pt x="233" y="91"/>
                  </a:cubicBezTo>
                  <a:cubicBezTo>
                    <a:pt x="232" y="90"/>
                    <a:pt x="232" y="90"/>
                    <a:pt x="232" y="89"/>
                  </a:cubicBezTo>
                  <a:cubicBezTo>
                    <a:pt x="232" y="88"/>
                    <a:pt x="232" y="88"/>
                    <a:pt x="232" y="87"/>
                  </a:cubicBezTo>
                  <a:cubicBezTo>
                    <a:pt x="232" y="87"/>
                    <a:pt x="232" y="87"/>
                    <a:pt x="232" y="87"/>
                  </a:cubicBezTo>
                  <a:cubicBezTo>
                    <a:pt x="232" y="87"/>
                    <a:pt x="232" y="87"/>
                    <a:pt x="232" y="86"/>
                  </a:cubicBezTo>
                  <a:cubicBezTo>
                    <a:pt x="231" y="85"/>
                    <a:pt x="230" y="83"/>
                    <a:pt x="230" y="82"/>
                  </a:cubicBezTo>
                  <a:cubicBezTo>
                    <a:pt x="229" y="82"/>
                    <a:pt x="229" y="81"/>
                    <a:pt x="229" y="80"/>
                  </a:cubicBezTo>
                  <a:cubicBezTo>
                    <a:pt x="229" y="80"/>
                    <a:pt x="229" y="79"/>
                    <a:pt x="229" y="79"/>
                  </a:cubicBezTo>
                  <a:cubicBezTo>
                    <a:pt x="229" y="79"/>
                    <a:pt x="228" y="78"/>
                    <a:pt x="229" y="76"/>
                  </a:cubicBezTo>
                  <a:cubicBezTo>
                    <a:pt x="229" y="75"/>
                    <a:pt x="229" y="75"/>
                    <a:pt x="229" y="74"/>
                  </a:cubicBezTo>
                  <a:cubicBezTo>
                    <a:pt x="229" y="74"/>
                    <a:pt x="228" y="74"/>
                    <a:pt x="228" y="74"/>
                  </a:cubicBezTo>
                  <a:cubicBezTo>
                    <a:pt x="228" y="69"/>
                    <a:pt x="228" y="69"/>
                    <a:pt x="228" y="69"/>
                  </a:cubicBezTo>
                  <a:cubicBezTo>
                    <a:pt x="228" y="68"/>
                    <a:pt x="228" y="68"/>
                    <a:pt x="228" y="68"/>
                  </a:cubicBezTo>
                  <a:cubicBezTo>
                    <a:pt x="228" y="68"/>
                    <a:pt x="228" y="68"/>
                    <a:pt x="228" y="68"/>
                  </a:cubicBezTo>
                  <a:cubicBezTo>
                    <a:pt x="228" y="67"/>
                    <a:pt x="228" y="66"/>
                    <a:pt x="228" y="65"/>
                  </a:cubicBezTo>
                  <a:cubicBezTo>
                    <a:pt x="228" y="63"/>
                    <a:pt x="228" y="63"/>
                    <a:pt x="228" y="63"/>
                  </a:cubicBezTo>
                  <a:cubicBezTo>
                    <a:pt x="228" y="62"/>
                    <a:pt x="228" y="62"/>
                    <a:pt x="228" y="62"/>
                  </a:cubicBezTo>
                  <a:cubicBezTo>
                    <a:pt x="227" y="61"/>
                    <a:pt x="227" y="60"/>
                    <a:pt x="227" y="59"/>
                  </a:cubicBezTo>
                  <a:cubicBezTo>
                    <a:pt x="227" y="59"/>
                    <a:pt x="227" y="58"/>
                    <a:pt x="227" y="58"/>
                  </a:cubicBezTo>
                  <a:cubicBezTo>
                    <a:pt x="227" y="58"/>
                    <a:pt x="227" y="58"/>
                    <a:pt x="227" y="58"/>
                  </a:cubicBezTo>
                  <a:cubicBezTo>
                    <a:pt x="227" y="58"/>
                    <a:pt x="226" y="56"/>
                    <a:pt x="226" y="56"/>
                  </a:cubicBezTo>
                  <a:cubicBezTo>
                    <a:pt x="226" y="55"/>
                    <a:pt x="226" y="55"/>
                    <a:pt x="226" y="55"/>
                  </a:cubicBezTo>
                  <a:cubicBezTo>
                    <a:pt x="226" y="55"/>
                    <a:pt x="226" y="55"/>
                    <a:pt x="226" y="55"/>
                  </a:cubicBezTo>
                  <a:cubicBezTo>
                    <a:pt x="226" y="55"/>
                    <a:pt x="226" y="55"/>
                    <a:pt x="225" y="54"/>
                  </a:cubicBezTo>
                  <a:cubicBezTo>
                    <a:pt x="225" y="53"/>
                    <a:pt x="225" y="53"/>
                    <a:pt x="224" y="52"/>
                  </a:cubicBezTo>
                  <a:cubicBezTo>
                    <a:pt x="223" y="51"/>
                    <a:pt x="222" y="50"/>
                    <a:pt x="222" y="49"/>
                  </a:cubicBezTo>
                  <a:cubicBezTo>
                    <a:pt x="222" y="48"/>
                    <a:pt x="221" y="48"/>
                    <a:pt x="221" y="47"/>
                  </a:cubicBezTo>
                  <a:cubicBezTo>
                    <a:pt x="221" y="47"/>
                    <a:pt x="221" y="47"/>
                    <a:pt x="221" y="47"/>
                  </a:cubicBezTo>
                  <a:cubicBezTo>
                    <a:pt x="221" y="47"/>
                    <a:pt x="221" y="46"/>
                    <a:pt x="220" y="45"/>
                  </a:cubicBezTo>
                  <a:cubicBezTo>
                    <a:pt x="219" y="44"/>
                    <a:pt x="218" y="43"/>
                    <a:pt x="218" y="42"/>
                  </a:cubicBezTo>
                  <a:cubicBezTo>
                    <a:pt x="217" y="42"/>
                    <a:pt x="217" y="41"/>
                    <a:pt x="217" y="41"/>
                  </a:cubicBezTo>
                  <a:cubicBezTo>
                    <a:pt x="216" y="41"/>
                    <a:pt x="215" y="41"/>
                    <a:pt x="214" y="41"/>
                  </a:cubicBezTo>
                  <a:cubicBezTo>
                    <a:pt x="211" y="39"/>
                    <a:pt x="211" y="39"/>
                    <a:pt x="211" y="39"/>
                  </a:cubicBezTo>
                  <a:cubicBezTo>
                    <a:pt x="209" y="37"/>
                    <a:pt x="209" y="37"/>
                    <a:pt x="209" y="37"/>
                  </a:cubicBezTo>
                  <a:cubicBezTo>
                    <a:pt x="208" y="37"/>
                    <a:pt x="208" y="36"/>
                    <a:pt x="207" y="36"/>
                  </a:cubicBezTo>
                  <a:cubicBezTo>
                    <a:pt x="206" y="35"/>
                    <a:pt x="206" y="34"/>
                    <a:pt x="206" y="33"/>
                  </a:cubicBezTo>
                  <a:cubicBezTo>
                    <a:pt x="205" y="33"/>
                    <a:pt x="205" y="33"/>
                    <a:pt x="205" y="33"/>
                  </a:cubicBezTo>
                  <a:cubicBezTo>
                    <a:pt x="201" y="31"/>
                    <a:pt x="201" y="31"/>
                    <a:pt x="201" y="31"/>
                  </a:cubicBezTo>
                  <a:cubicBezTo>
                    <a:pt x="201" y="31"/>
                    <a:pt x="201" y="31"/>
                    <a:pt x="201" y="31"/>
                  </a:cubicBezTo>
                  <a:cubicBezTo>
                    <a:pt x="201" y="31"/>
                    <a:pt x="199" y="29"/>
                    <a:pt x="199" y="28"/>
                  </a:cubicBezTo>
                  <a:cubicBezTo>
                    <a:pt x="199" y="28"/>
                    <a:pt x="199" y="28"/>
                    <a:pt x="198" y="27"/>
                  </a:cubicBezTo>
                  <a:cubicBezTo>
                    <a:pt x="198" y="27"/>
                    <a:pt x="198" y="27"/>
                    <a:pt x="198" y="26"/>
                  </a:cubicBezTo>
                  <a:cubicBezTo>
                    <a:pt x="197" y="26"/>
                    <a:pt x="197" y="26"/>
                    <a:pt x="197" y="26"/>
                  </a:cubicBezTo>
                  <a:cubicBezTo>
                    <a:pt x="196" y="26"/>
                    <a:pt x="196" y="26"/>
                    <a:pt x="196" y="26"/>
                  </a:cubicBezTo>
                  <a:cubicBezTo>
                    <a:pt x="196" y="26"/>
                    <a:pt x="196" y="26"/>
                    <a:pt x="196" y="26"/>
                  </a:cubicBezTo>
                  <a:cubicBezTo>
                    <a:pt x="195" y="25"/>
                    <a:pt x="195" y="25"/>
                    <a:pt x="195" y="25"/>
                  </a:cubicBezTo>
                  <a:cubicBezTo>
                    <a:pt x="195" y="25"/>
                    <a:pt x="194" y="24"/>
                    <a:pt x="193" y="23"/>
                  </a:cubicBezTo>
                  <a:cubicBezTo>
                    <a:pt x="192" y="23"/>
                    <a:pt x="192" y="23"/>
                    <a:pt x="192" y="23"/>
                  </a:cubicBezTo>
                  <a:cubicBezTo>
                    <a:pt x="192" y="22"/>
                    <a:pt x="191" y="22"/>
                    <a:pt x="191" y="22"/>
                  </a:cubicBezTo>
                  <a:cubicBezTo>
                    <a:pt x="190" y="21"/>
                    <a:pt x="190" y="21"/>
                    <a:pt x="190" y="20"/>
                  </a:cubicBezTo>
                  <a:cubicBezTo>
                    <a:pt x="189" y="20"/>
                    <a:pt x="188" y="20"/>
                    <a:pt x="187" y="18"/>
                  </a:cubicBezTo>
                  <a:cubicBezTo>
                    <a:pt x="186" y="18"/>
                    <a:pt x="186" y="17"/>
                    <a:pt x="186" y="16"/>
                  </a:cubicBezTo>
                  <a:cubicBezTo>
                    <a:pt x="185" y="15"/>
                    <a:pt x="185" y="14"/>
                    <a:pt x="185" y="14"/>
                  </a:cubicBezTo>
                  <a:cubicBezTo>
                    <a:pt x="184" y="14"/>
                    <a:pt x="184" y="13"/>
                    <a:pt x="184" y="12"/>
                  </a:cubicBezTo>
                  <a:cubicBezTo>
                    <a:pt x="184" y="12"/>
                    <a:pt x="184" y="12"/>
                    <a:pt x="184" y="12"/>
                  </a:cubicBezTo>
                  <a:cubicBezTo>
                    <a:pt x="184" y="12"/>
                    <a:pt x="184" y="12"/>
                    <a:pt x="184" y="12"/>
                  </a:cubicBezTo>
                  <a:cubicBezTo>
                    <a:pt x="183" y="11"/>
                    <a:pt x="183" y="11"/>
                    <a:pt x="183" y="11"/>
                  </a:cubicBezTo>
                  <a:cubicBezTo>
                    <a:pt x="182" y="10"/>
                    <a:pt x="182" y="10"/>
                    <a:pt x="181" y="10"/>
                  </a:cubicBezTo>
                  <a:cubicBezTo>
                    <a:pt x="181" y="9"/>
                    <a:pt x="181" y="9"/>
                    <a:pt x="181" y="8"/>
                  </a:cubicBezTo>
                  <a:cubicBezTo>
                    <a:pt x="180" y="7"/>
                    <a:pt x="180" y="7"/>
                    <a:pt x="180" y="7"/>
                  </a:cubicBezTo>
                  <a:cubicBezTo>
                    <a:pt x="178" y="6"/>
                    <a:pt x="178" y="6"/>
                    <a:pt x="178" y="6"/>
                  </a:cubicBezTo>
                  <a:cubicBezTo>
                    <a:pt x="178" y="6"/>
                    <a:pt x="178" y="5"/>
                    <a:pt x="178" y="5"/>
                  </a:cubicBezTo>
                  <a:cubicBezTo>
                    <a:pt x="177" y="5"/>
                    <a:pt x="177" y="5"/>
                    <a:pt x="177" y="4"/>
                  </a:cubicBezTo>
                  <a:cubicBezTo>
                    <a:pt x="176" y="4"/>
                    <a:pt x="176" y="4"/>
                    <a:pt x="176" y="4"/>
                  </a:cubicBezTo>
                  <a:cubicBezTo>
                    <a:pt x="176" y="4"/>
                    <a:pt x="176" y="4"/>
                    <a:pt x="176" y="4"/>
                  </a:cubicBezTo>
                  <a:cubicBezTo>
                    <a:pt x="173" y="3"/>
                    <a:pt x="173" y="3"/>
                    <a:pt x="173" y="3"/>
                  </a:cubicBezTo>
                  <a:cubicBezTo>
                    <a:pt x="173" y="2"/>
                    <a:pt x="173" y="2"/>
                    <a:pt x="173" y="2"/>
                  </a:cubicBezTo>
                  <a:cubicBezTo>
                    <a:pt x="173" y="1"/>
                    <a:pt x="173" y="1"/>
                    <a:pt x="172" y="1"/>
                  </a:cubicBezTo>
                  <a:cubicBezTo>
                    <a:pt x="172" y="1"/>
                    <a:pt x="172" y="1"/>
                    <a:pt x="172" y="1"/>
                  </a:cubicBezTo>
                  <a:cubicBezTo>
                    <a:pt x="172" y="1"/>
                    <a:pt x="172" y="1"/>
                    <a:pt x="172" y="1"/>
                  </a:cubicBezTo>
                  <a:cubicBezTo>
                    <a:pt x="171" y="1"/>
                    <a:pt x="170" y="0"/>
                    <a:pt x="169" y="0"/>
                  </a:cubicBezTo>
                  <a:cubicBezTo>
                    <a:pt x="169" y="0"/>
                    <a:pt x="169" y="0"/>
                    <a:pt x="169" y="0"/>
                  </a:cubicBezTo>
                  <a:cubicBezTo>
                    <a:pt x="166" y="0"/>
                    <a:pt x="166" y="0"/>
                    <a:pt x="166" y="0"/>
                  </a:cubicBezTo>
                  <a:cubicBezTo>
                    <a:pt x="159" y="0"/>
                    <a:pt x="159" y="0"/>
                    <a:pt x="159" y="0"/>
                  </a:cubicBezTo>
                  <a:cubicBezTo>
                    <a:pt x="157" y="1"/>
                    <a:pt x="156" y="2"/>
                    <a:pt x="156" y="3"/>
                  </a:cubicBezTo>
                  <a:cubicBezTo>
                    <a:pt x="155" y="4"/>
                    <a:pt x="155" y="4"/>
                    <a:pt x="155" y="5"/>
                  </a:cubicBezTo>
                  <a:cubicBezTo>
                    <a:pt x="155" y="7"/>
                    <a:pt x="155" y="9"/>
                    <a:pt x="154" y="9"/>
                  </a:cubicBezTo>
                  <a:cubicBezTo>
                    <a:pt x="152" y="10"/>
                    <a:pt x="151" y="11"/>
                    <a:pt x="150" y="12"/>
                  </a:cubicBezTo>
                  <a:cubicBezTo>
                    <a:pt x="149" y="13"/>
                    <a:pt x="149" y="14"/>
                    <a:pt x="148" y="14"/>
                  </a:cubicBezTo>
                  <a:cubicBezTo>
                    <a:pt x="141" y="18"/>
                    <a:pt x="141" y="18"/>
                    <a:pt x="141" y="18"/>
                  </a:cubicBezTo>
                  <a:cubicBezTo>
                    <a:pt x="141" y="18"/>
                    <a:pt x="135" y="20"/>
                    <a:pt x="132" y="20"/>
                  </a:cubicBezTo>
                  <a:cubicBezTo>
                    <a:pt x="129" y="20"/>
                    <a:pt x="127" y="23"/>
                    <a:pt x="127" y="23"/>
                  </a:cubicBezTo>
                  <a:cubicBezTo>
                    <a:pt x="123" y="29"/>
                    <a:pt x="123" y="29"/>
                    <a:pt x="123" y="29"/>
                  </a:cubicBezTo>
                  <a:cubicBezTo>
                    <a:pt x="116" y="29"/>
                    <a:pt x="116" y="29"/>
                    <a:pt x="116" y="29"/>
                  </a:cubicBezTo>
                  <a:cubicBezTo>
                    <a:pt x="113" y="26"/>
                    <a:pt x="113" y="26"/>
                    <a:pt x="113" y="26"/>
                  </a:cubicBezTo>
                  <a:cubicBezTo>
                    <a:pt x="108" y="27"/>
                    <a:pt x="108" y="27"/>
                    <a:pt x="108" y="27"/>
                  </a:cubicBezTo>
                  <a:cubicBezTo>
                    <a:pt x="98" y="26"/>
                    <a:pt x="98" y="26"/>
                    <a:pt x="98" y="26"/>
                  </a:cubicBezTo>
                  <a:cubicBezTo>
                    <a:pt x="93" y="29"/>
                    <a:pt x="93" y="29"/>
                    <a:pt x="93" y="29"/>
                  </a:cubicBezTo>
                  <a:cubicBezTo>
                    <a:pt x="84" y="28"/>
                    <a:pt x="84" y="28"/>
                    <a:pt x="84" y="28"/>
                  </a:cubicBezTo>
                  <a:cubicBezTo>
                    <a:pt x="84" y="28"/>
                    <a:pt x="78" y="29"/>
                    <a:pt x="76" y="29"/>
                  </a:cubicBezTo>
                  <a:cubicBezTo>
                    <a:pt x="73" y="29"/>
                    <a:pt x="73" y="29"/>
                    <a:pt x="73" y="29"/>
                  </a:cubicBezTo>
                  <a:cubicBezTo>
                    <a:pt x="72" y="28"/>
                    <a:pt x="70" y="27"/>
                    <a:pt x="70" y="27"/>
                  </a:cubicBezTo>
                  <a:cubicBezTo>
                    <a:pt x="70" y="27"/>
                    <a:pt x="67" y="27"/>
                    <a:pt x="66" y="28"/>
                  </a:cubicBezTo>
                  <a:cubicBezTo>
                    <a:pt x="66" y="29"/>
                    <a:pt x="66" y="29"/>
                    <a:pt x="65" y="30"/>
                  </a:cubicBezTo>
                  <a:cubicBezTo>
                    <a:pt x="64" y="33"/>
                    <a:pt x="64" y="33"/>
                    <a:pt x="64" y="33"/>
                  </a:cubicBezTo>
                  <a:cubicBezTo>
                    <a:pt x="67" y="37"/>
                    <a:pt x="67" y="37"/>
                    <a:pt x="67" y="37"/>
                  </a:cubicBezTo>
                  <a:cubicBezTo>
                    <a:pt x="63" y="41"/>
                    <a:pt x="63" y="41"/>
                    <a:pt x="63" y="41"/>
                  </a:cubicBezTo>
                  <a:cubicBezTo>
                    <a:pt x="63" y="42"/>
                    <a:pt x="62" y="42"/>
                    <a:pt x="62" y="42"/>
                  </a:cubicBezTo>
                  <a:cubicBezTo>
                    <a:pt x="62" y="43"/>
                    <a:pt x="61" y="44"/>
                    <a:pt x="60" y="44"/>
                  </a:cubicBezTo>
                  <a:cubicBezTo>
                    <a:pt x="59" y="44"/>
                    <a:pt x="59" y="44"/>
                    <a:pt x="58" y="45"/>
                  </a:cubicBezTo>
                  <a:cubicBezTo>
                    <a:pt x="55" y="48"/>
                    <a:pt x="55" y="48"/>
                    <a:pt x="55" y="48"/>
                  </a:cubicBezTo>
                  <a:cubicBezTo>
                    <a:pt x="52" y="49"/>
                    <a:pt x="52" y="49"/>
                    <a:pt x="52" y="49"/>
                  </a:cubicBezTo>
                  <a:cubicBezTo>
                    <a:pt x="50" y="49"/>
                    <a:pt x="50" y="49"/>
                    <a:pt x="50" y="49"/>
                  </a:cubicBezTo>
                  <a:cubicBezTo>
                    <a:pt x="49" y="50"/>
                    <a:pt x="49" y="50"/>
                    <a:pt x="49" y="50"/>
                  </a:cubicBezTo>
                  <a:cubicBezTo>
                    <a:pt x="48" y="55"/>
                    <a:pt x="48" y="55"/>
                    <a:pt x="48" y="55"/>
                  </a:cubicBezTo>
                  <a:cubicBezTo>
                    <a:pt x="45" y="57"/>
                    <a:pt x="45" y="57"/>
                    <a:pt x="45" y="57"/>
                  </a:cubicBezTo>
                  <a:cubicBezTo>
                    <a:pt x="44" y="60"/>
                    <a:pt x="44" y="60"/>
                    <a:pt x="44" y="60"/>
                  </a:cubicBezTo>
                  <a:cubicBezTo>
                    <a:pt x="45" y="61"/>
                    <a:pt x="46" y="64"/>
                    <a:pt x="45" y="65"/>
                  </a:cubicBezTo>
                  <a:cubicBezTo>
                    <a:pt x="44" y="66"/>
                    <a:pt x="43" y="67"/>
                    <a:pt x="43" y="67"/>
                  </a:cubicBezTo>
                  <a:cubicBezTo>
                    <a:pt x="43" y="67"/>
                    <a:pt x="42" y="67"/>
                    <a:pt x="42" y="67"/>
                  </a:cubicBezTo>
                  <a:cubicBezTo>
                    <a:pt x="42" y="73"/>
                    <a:pt x="42" y="73"/>
                    <a:pt x="42" y="73"/>
                  </a:cubicBezTo>
                  <a:cubicBezTo>
                    <a:pt x="38" y="76"/>
                    <a:pt x="38" y="76"/>
                    <a:pt x="38" y="76"/>
                  </a:cubicBezTo>
                  <a:cubicBezTo>
                    <a:pt x="38" y="81"/>
                    <a:pt x="38" y="81"/>
                    <a:pt x="38" y="81"/>
                  </a:cubicBezTo>
                  <a:cubicBezTo>
                    <a:pt x="38" y="82"/>
                    <a:pt x="39" y="84"/>
                    <a:pt x="38" y="86"/>
                  </a:cubicBezTo>
                  <a:cubicBezTo>
                    <a:pt x="37" y="87"/>
                    <a:pt x="37" y="87"/>
                    <a:pt x="36" y="87"/>
                  </a:cubicBezTo>
                  <a:cubicBezTo>
                    <a:pt x="35" y="87"/>
                    <a:pt x="35" y="88"/>
                    <a:pt x="35" y="88"/>
                  </a:cubicBezTo>
                  <a:cubicBezTo>
                    <a:pt x="35" y="94"/>
                    <a:pt x="35" y="94"/>
                    <a:pt x="35" y="94"/>
                  </a:cubicBezTo>
                  <a:cubicBezTo>
                    <a:pt x="33" y="98"/>
                    <a:pt x="33" y="98"/>
                    <a:pt x="33" y="98"/>
                  </a:cubicBezTo>
                  <a:cubicBezTo>
                    <a:pt x="33" y="100"/>
                    <a:pt x="33" y="100"/>
                    <a:pt x="33" y="100"/>
                  </a:cubicBezTo>
                  <a:cubicBezTo>
                    <a:pt x="32" y="103"/>
                    <a:pt x="32" y="103"/>
                    <a:pt x="32" y="103"/>
                  </a:cubicBezTo>
                  <a:cubicBezTo>
                    <a:pt x="32" y="107"/>
                    <a:pt x="32" y="107"/>
                    <a:pt x="32" y="107"/>
                  </a:cubicBezTo>
                  <a:cubicBezTo>
                    <a:pt x="29" y="111"/>
                    <a:pt x="29" y="111"/>
                    <a:pt x="29" y="111"/>
                  </a:cubicBezTo>
                  <a:cubicBezTo>
                    <a:pt x="27" y="117"/>
                    <a:pt x="27" y="117"/>
                    <a:pt x="27" y="117"/>
                  </a:cubicBezTo>
                  <a:cubicBezTo>
                    <a:pt x="20" y="124"/>
                    <a:pt x="20" y="124"/>
                    <a:pt x="20" y="124"/>
                  </a:cubicBezTo>
                  <a:cubicBezTo>
                    <a:pt x="16" y="124"/>
                    <a:pt x="16" y="124"/>
                    <a:pt x="16" y="124"/>
                  </a:cubicBezTo>
                  <a:cubicBezTo>
                    <a:pt x="16" y="124"/>
                    <a:pt x="16" y="124"/>
                    <a:pt x="16" y="124"/>
                  </a:cubicBezTo>
                  <a:cubicBezTo>
                    <a:pt x="16" y="124"/>
                    <a:pt x="16" y="124"/>
                    <a:pt x="16" y="124"/>
                  </a:cubicBezTo>
                  <a:cubicBezTo>
                    <a:pt x="16" y="125"/>
                    <a:pt x="15" y="126"/>
                    <a:pt x="14" y="127"/>
                  </a:cubicBezTo>
                  <a:cubicBezTo>
                    <a:pt x="12" y="128"/>
                    <a:pt x="9" y="129"/>
                    <a:pt x="8" y="129"/>
                  </a:cubicBezTo>
                  <a:cubicBezTo>
                    <a:pt x="8" y="129"/>
                    <a:pt x="8" y="129"/>
                    <a:pt x="8" y="129"/>
                  </a:cubicBezTo>
                  <a:cubicBezTo>
                    <a:pt x="6" y="129"/>
                    <a:pt x="6" y="129"/>
                    <a:pt x="6" y="129"/>
                  </a:cubicBezTo>
                  <a:cubicBezTo>
                    <a:pt x="0" y="128"/>
                    <a:pt x="0" y="128"/>
                    <a:pt x="0" y="128"/>
                  </a:cubicBezTo>
                  <a:cubicBezTo>
                    <a:pt x="1" y="129"/>
                    <a:pt x="1" y="129"/>
                    <a:pt x="1" y="129"/>
                  </a:cubicBezTo>
                  <a:cubicBezTo>
                    <a:pt x="1" y="129"/>
                    <a:pt x="2" y="129"/>
                    <a:pt x="3" y="129"/>
                  </a:cubicBezTo>
                  <a:cubicBezTo>
                    <a:pt x="4" y="130"/>
                    <a:pt x="4" y="130"/>
                    <a:pt x="5" y="130"/>
                  </a:cubicBezTo>
                  <a:cubicBezTo>
                    <a:pt x="6" y="130"/>
                    <a:pt x="7" y="131"/>
                    <a:pt x="7" y="131"/>
                  </a:cubicBezTo>
                  <a:cubicBezTo>
                    <a:pt x="7" y="131"/>
                    <a:pt x="7" y="131"/>
                    <a:pt x="7" y="131"/>
                  </a:cubicBezTo>
                  <a:cubicBezTo>
                    <a:pt x="8" y="132"/>
                    <a:pt x="8" y="132"/>
                    <a:pt x="8" y="132"/>
                  </a:cubicBezTo>
                  <a:cubicBezTo>
                    <a:pt x="11" y="134"/>
                    <a:pt x="12" y="136"/>
                    <a:pt x="13" y="136"/>
                  </a:cubicBezTo>
                  <a:cubicBezTo>
                    <a:pt x="13" y="136"/>
                    <a:pt x="14" y="136"/>
                    <a:pt x="15" y="137"/>
                  </a:cubicBezTo>
                  <a:cubicBezTo>
                    <a:pt x="16" y="136"/>
                    <a:pt x="16" y="136"/>
                    <a:pt x="16" y="136"/>
                  </a:cubicBezTo>
                  <a:cubicBezTo>
                    <a:pt x="18" y="138"/>
                    <a:pt x="18" y="138"/>
                    <a:pt x="18" y="138"/>
                  </a:cubicBezTo>
                  <a:cubicBezTo>
                    <a:pt x="18" y="139"/>
                    <a:pt x="19" y="141"/>
                    <a:pt x="18" y="143"/>
                  </a:cubicBezTo>
                  <a:cubicBezTo>
                    <a:pt x="18" y="143"/>
                    <a:pt x="18" y="144"/>
                    <a:pt x="18" y="145"/>
                  </a:cubicBezTo>
                  <a:cubicBezTo>
                    <a:pt x="18" y="145"/>
                    <a:pt x="18" y="145"/>
                    <a:pt x="18" y="145"/>
                  </a:cubicBezTo>
                  <a:cubicBezTo>
                    <a:pt x="18" y="145"/>
                    <a:pt x="18" y="145"/>
                    <a:pt x="18" y="145"/>
                  </a:cubicBezTo>
                  <a:cubicBezTo>
                    <a:pt x="18" y="145"/>
                    <a:pt x="18" y="145"/>
                    <a:pt x="18" y="145"/>
                  </a:cubicBezTo>
                  <a:cubicBezTo>
                    <a:pt x="18" y="145"/>
                    <a:pt x="18" y="146"/>
                    <a:pt x="18" y="146"/>
                  </a:cubicBezTo>
                  <a:cubicBezTo>
                    <a:pt x="19" y="147"/>
                    <a:pt x="20" y="148"/>
                    <a:pt x="20" y="150"/>
                  </a:cubicBezTo>
                  <a:cubicBezTo>
                    <a:pt x="20" y="150"/>
                    <a:pt x="20" y="150"/>
                    <a:pt x="20" y="151"/>
                  </a:cubicBezTo>
                  <a:cubicBezTo>
                    <a:pt x="21" y="151"/>
                    <a:pt x="22" y="152"/>
                    <a:pt x="22" y="152"/>
                  </a:cubicBezTo>
                  <a:cubicBezTo>
                    <a:pt x="23" y="152"/>
                    <a:pt x="24" y="153"/>
                    <a:pt x="26" y="153"/>
                  </a:cubicBezTo>
                  <a:cubicBezTo>
                    <a:pt x="27" y="154"/>
                    <a:pt x="28" y="154"/>
                    <a:pt x="28" y="154"/>
                  </a:cubicBezTo>
                  <a:cubicBezTo>
                    <a:pt x="29" y="155"/>
                    <a:pt x="29" y="155"/>
                    <a:pt x="30" y="155"/>
                  </a:cubicBezTo>
                  <a:cubicBezTo>
                    <a:pt x="31" y="156"/>
                    <a:pt x="31" y="156"/>
                    <a:pt x="31" y="156"/>
                  </a:cubicBezTo>
                  <a:cubicBezTo>
                    <a:pt x="32" y="156"/>
                    <a:pt x="32" y="156"/>
                    <a:pt x="33" y="156"/>
                  </a:cubicBezTo>
                  <a:cubicBezTo>
                    <a:pt x="34" y="157"/>
                    <a:pt x="35" y="157"/>
                    <a:pt x="35" y="157"/>
                  </a:cubicBezTo>
                  <a:cubicBezTo>
                    <a:pt x="36" y="157"/>
                    <a:pt x="36" y="157"/>
                    <a:pt x="36" y="157"/>
                  </a:cubicBezTo>
                  <a:cubicBezTo>
                    <a:pt x="37" y="157"/>
                    <a:pt x="37" y="157"/>
                    <a:pt x="38" y="157"/>
                  </a:cubicBezTo>
                  <a:cubicBezTo>
                    <a:pt x="40" y="157"/>
                    <a:pt x="41" y="158"/>
                    <a:pt x="41" y="158"/>
                  </a:cubicBezTo>
                  <a:cubicBezTo>
                    <a:pt x="43" y="158"/>
                    <a:pt x="43" y="158"/>
                    <a:pt x="43" y="158"/>
                  </a:cubicBezTo>
                  <a:cubicBezTo>
                    <a:pt x="43" y="161"/>
                    <a:pt x="43" y="161"/>
                    <a:pt x="43" y="161"/>
                  </a:cubicBezTo>
                  <a:cubicBezTo>
                    <a:pt x="41" y="165"/>
                    <a:pt x="41" y="165"/>
                    <a:pt x="41" y="165"/>
                  </a:cubicBezTo>
                  <a:cubicBezTo>
                    <a:pt x="42" y="167"/>
                    <a:pt x="42" y="167"/>
                    <a:pt x="42" y="167"/>
                  </a:cubicBezTo>
                  <a:cubicBezTo>
                    <a:pt x="42" y="167"/>
                    <a:pt x="43" y="167"/>
                    <a:pt x="44" y="167"/>
                  </a:cubicBezTo>
                  <a:cubicBezTo>
                    <a:pt x="44" y="167"/>
                    <a:pt x="44" y="167"/>
                    <a:pt x="45" y="168"/>
                  </a:cubicBezTo>
                  <a:cubicBezTo>
                    <a:pt x="45" y="168"/>
                    <a:pt x="45" y="168"/>
                    <a:pt x="45" y="168"/>
                  </a:cubicBezTo>
                  <a:cubicBezTo>
                    <a:pt x="47" y="168"/>
                    <a:pt x="47" y="168"/>
                    <a:pt x="47" y="168"/>
                  </a:cubicBezTo>
                  <a:cubicBezTo>
                    <a:pt x="50" y="170"/>
                    <a:pt x="50" y="170"/>
                    <a:pt x="50" y="170"/>
                  </a:cubicBezTo>
                  <a:cubicBezTo>
                    <a:pt x="48" y="172"/>
                    <a:pt x="48" y="172"/>
                    <a:pt x="48" y="172"/>
                  </a:cubicBezTo>
                  <a:cubicBezTo>
                    <a:pt x="46" y="175"/>
                    <a:pt x="45" y="175"/>
                    <a:pt x="45" y="175"/>
                  </a:cubicBezTo>
                  <a:cubicBezTo>
                    <a:pt x="45" y="175"/>
                    <a:pt x="45" y="175"/>
                    <a:pt x="45" y="175"/>
                  </a:cubicBezTo>
                  <a:cubicBezTo>
                    <a:pt x="45" y="175"/>
                    <a:pt x="45" y="175"/>
                    <a:pt x="45" y="175"/>
                  </a:cubicBezTo>
                  <a:cubicBezTo>
                    <a:pt x="45" y="175"/>
                    <a:pt x="45" y="175"/>
                    <a:pt x="45" y="175"/>
                  </a:cubicBezTo>
                  <a:cubicBezTo>
                    <a:pt x="46" y="175"/>
                    <a:pt x="47" y="175"/>
                    <a:pt x="49" y="176"/>
                  </a:cubicBezTo>
                  <a:cubicBezTo>
                    <a:pt x="50" y="176"/>
                    <a:pt x="50" y="177"/>
                    <a:pt x="51" y="178"/>
                  </a:cubicBezTo>
                  <a:cubicBezTo>
                    <a:pt x="51" y="179"/>
                    <a:pt x="51" y="179"/>
                    <a:pt x="51" y="180"/>
                  </a:cubicBezTo>
                  <a:cubicBezTo>
                    <a:pt x="52" y="179"/>
                    <a:pt x="53" y="179"/>
                    <a:pt x="54" y="179"/>
                  </a:cubicBezTo>
                  <a:cubicBezTo>
                    <a:pt x="55" y="179"/>
                    <a:pt x="55" y="179"/>
                    <a:pt x="55" y="179"/>
                  </a:cubicBezTo>
                  <a:cubicBezTo>
                    <a:pt x="55" y="179"/>
                    <a:pt x="55" y="179"/>
                    <a:pt x="55" y="179"/>
                  </a:cubicBezTo>
                  <a:cubicBezTo>
                    <a:pt x="56" y="179"/>
                    <a:pt x="56" y="179"/>
                    <a:pt x="56" y="179"/>
                  </a:cubicBezTo>
                  <a:cubicBezTo>
                    <a:pt x="57" y="179"/>
                    <a:pt x="61" y="179"/>
                    <a:pt x="61" y="179"/>
                  </a:cubicBezTo>
                  <a:cubicBezTo>
                    <a:pt x="61" y="179"/>
                    <a:pt x="61" y="179"/>
                    <a:pt x="61" y="179"/>
                  </a:cubicBezTo>
                  <a:cubicBezTo>
                    <a:pt x="61" y="179"/>
                    <a:pt x="61" y="179"/>
                    <a:pt x="61" y="179"/>
                  </a:cubicBezTo>
                  <a:cubicBezTo>
                    <a:pt x="62" y="179"/>
                    <a:pt x="63" y="180"/>
                    <a:pt x="64" y="182"/>
                  </a:cubicBezTo>
                  <a:cubicBezTo>
                    <a:pt x="64" y="182"/>
                    <a:pt x="65" y="183"/>
                    <a:pt x="66" y="183"/>
                  </a:cubicBezTo>
                  <a:cubicBezTo>
                    <a:pt x="66" y="183"/>
                    <a:pt x="66" y="183"/>
                    <a:pt x="66" y="183"/>
                  </a:cubicBezTo>
                  <a:cubicBezTo>
                    <a:pt x="66" y="182"/>
                    <a:pt x="66" y="182"/>
                    <a:pt x="66" y="182"/>
                  </a:cubicBezTo>
                  <a:cubicBezTo>
                    <a:pt x="66" y="182"/>
                    <a:pt x="68" y="180"/>
                    <a:pt x="68" y="180"/>
                  </a:cubicBezTo>
                  <a:cubicBezTo>
                    <a:pt x="69" y="179"/>
                    <a:pt x="69" y="179"/>
                    <a:pt x="69" y="178"/>
                  </a:cubicBezTo>
                  <a:cubicBezTo>
                    <a:pt x="70" y="177"/>
                    <a:pt x="70" y="176"/>
                    <a:pt x="71" y="176"/>
                  </a:cubicBezTo>
                  <a:cubicBezTo>
                    <a:pt x="71" y="175"/>
                    <a:pt x="72" y="175"/>
                    <a:pt x="73" y="174"/>
                  </a:cubicBezTo>
                  <a:cubicBezTo>
                    <a:pt x="75" y="173"/>
                    <a:pt x="75" y="173"/>
                    <a:pt x="75" y="173"/>
                  </a:cubicBezTo>
                  <a:cubicBezTo>
                    <a:pt x="75" y="173"/>
                    <a:pt x="75" y="173"/>
                    <a:pt x="75" y="173"/>
                  </a:cubicBezTo>
                  <a:cubicBezTo>
                    <a:pt x="76" y="173"/>
                    <a:pt x="77" y="173"/>
                    <a:pt x="77" y="174"/>
                  </a:cubicBezTo>
                  <a:cubicBezTo>
                    <a:pt x="78" y="174"/>
                    <a:pt x="79" y="175"/>
                    <a:pt x="80" y="176"/>
                  </a:cubicBezTo>
                  <a:cubicBezTo>
                    <a:pt x="80" y="176"/>
                    <a:pt x="80" y="176"/>
                    <a:pt x="81" y="176"/>
                  </a:cubicBezTo>
                  <a:cubicBezTo>
                    <a:pt x="84" y="176"/>
                    <a:pt x="84" y="176"/>
                    <a:pt x="84" y="176"/>
                  </a:cubicBezTo>
                  <a:cubicBezTo>
                    <a:pt x="85" y="176"/>
                    <a:pt x="85" y="176"/>
                    <a:pt x="85" y="176"/>
                  </a:cubicBezTo>
                  <a:cubicBezTo>
                    <a:pt x="88" y="177"/>
                    <a:pt x="88" y="179"/>
                    <a:pt x="88" y="179"/>
                  </a:cubicBezTo>
                  <a:cubicBezTo>
                    <a:pt x="88" y="181"/>
                    <a:pt x="86" y="182"/>
                    <a:pt x="84" y="183"/>
                  </a:cubicBezTo>
                  <a:cubicBezTo>
                    <a:pt x="84" y="183"/>
                    <a:pt x="84" y="183"/>
                    <a:pt x="84" y="183"/>
                  </a:cubicBezTo>
                  <a:cubicBezTo>
                    <a:pt x="84" y="183"/>
                    <a:pt x="83" y="183"/>
                    <a:pt x="83" y="182"/>
                  </a:cubicBezTo>
                  <a:cubicBezTo>
                    <a:pt x="79" y="184"/>
                    <a:pt x="79" y="184"/>
                    <a:pt x="79" y="184"/>
                  </a:cubicBezTo>
                  <a:cubicBezTo>
                    <a:pt x="83" y="186"/>
                    <a:pt x="83" y="187"/>
                    <a:pt x="83" y="188"/>
                  </a:cubicBezTo>
                  <a:cubicBezTo>
                    <a:pt x="83" y="188"/>
                    <a:pt x="83" y="188"/>
                    <a:pt x="83" y="189"/>
                  </a:cubicBezTo>
                  <a:cubicBezTo>
                    <a:pt x="84" y="189"/>
                    <a:pt x="84" y="189"/>
                    <a:pt x="84" y="189"/>
                  </a:cubicBezTo>
                  <a:cubicBezTo>
                    <a:pt x="85" y="189"/>
                    <a:pt x="85" y="189"/>
                    <a:pt x="85" y="189"/>
                  </a:cubicBezTo>
                  <a:cubicBezTo>
                    <a:pt x="87" y="188"/>
                    <a:pt x="87" y="188"/>
                    <a:pt x="87" y="188"/>
                  </a:cubicBezTo>
                  <a:cubicBezTo>
                    <a:pt x="87" y="191"/>
                    <a:pt x="87" y="191"/>
                    <a:pt x="87" y="191"/>
                  </a:cubicBezTo>
                  <a:cubicBezTo>
                    <a:pt x="87" y="196"/>
                    <a:pt x="87" y="196"/>
                    <a:pt x="87" y="196"/>
                  </a:cubicBezTo>
                  <a:cubicBezTo>
                    <a:pt x="88" y="196"/>
                    <a:pt x="88" y="196"/>
                    <a:pt x="89" y="196"/>
                  </a:cubicBezTo>
                  <a:cubicBezTo>
                    <a:pt x="92" y="196"/>
                    <a:pt x="94" y="197"/>
                    <a:pt x="96" y="197"/>
                  </a:cubicBezTo>
                  <a:cubicBezTo>
                    <a:pt x="97" y="198"/>
                    <a:pt x="98" y="198"/>
                    <a:pt x="98" y="198"/>
                  </a:cubicBezTo>
                  <a:cubicBezTo>
                    <a:pt x="99" y="198"/>
                    <a:pt x="100" y="199"/>
                    <a:pt x="100" y="199"/>
                  </a:cubicBezTo>
                  <a:cubicBezTo>
                    <a:pt x="100" y="201"/>
                    <a:pt x="98" y="202"/>
                    <a:pt x="95" y="204"/>
                  </a:cubicBezTo>
                  <a:cubicBezTo>
                    <a:pt x="95" y="204"/>
                    <a:pt x="95" y="205"/>
                    <a:pt x="94" y="205"/>
                  </a:cubicBezTo>
                  <a:cubicBezTo>
                    <a:pt x="95" y="205"/>
                    <a:pt x="95" y="205"/>
                    <a:pt x="95" y="205"/>
                  </a:cubicBezTo>
                  <a:cubicBezTo>
                    <a:pt x="95" y="205"/>
                    <a:pt x="95" y="205"/>
                    <a:pt x="95" y="205"/>
                  </a:cubicBezTo>
                  <a:cubicBezTo>
                    <a:pt x="95" y="205"/>
                    <a:pt x="96" y="206"/>
                    <a:pt x="96" y="206"/>
                  </a:cubicBezTo>
                  <a:cubicBezTo>
                    <a:pt x="96" y="208"/>
                    <a:pt x="96" y="209"/>
                    <a:pt x="97" y="209"/>
                  </a:cubicBezTo>
                  <a:cubicBezTo>
                    <a:pt x="99" y="210"/>
                    <a:pt x="101" y="209"/>
                    <a:pt x="103" y="208"/>
                  </a:cubicBezTo>
                  <a:cubicBezTo>
                    <a:pt x="105" y="207"/>
                    <a:pt x="107" y="206"/>
                    <a:pt x="109" y="206"/>
                  </a:cubicBezTo>
                  <a:cubicBezTo>
                    <a:pt x="111" y="206"/>
                    <a:pt x="113" y="206"/>
                    <a:pt x="115" y="207"/>
                  </a:cubicBezTo>
                  <a:cubicBezTo>
                    <a:pt x="117" y="207"/>
                    <a:pt x="118" y="207"/>
                    <a:pt x="119" y="207"/>
                  </a:cubicBezTo>
                  <a:cubicBezTo>
                    <a:pt x="120" y="205"/>
                    <a:pt x="124" y="206"/>
                    <a:pt x="128" y="207"/>
                  </a:cubicBezTo>
                  <a:cubicBezTo>
                    <a:pt x="133" y="208"/>
                    <a:pt x="139" y="208"/>
                    <a:pt x="142" y="206"/>
                  </a:cubicBezTo>
                  <a:cubicBezTo>
                    <a:pt x="146" y="204"/>
                    <a:pt x="162" y="202"/>
                    <a:pt x="168" y="202"/>
                  </a:cubicBezTo>
                  <a:cubicBezTo>
                    <a:pt x="169" y="202"/>
                    <a:pt x="169" y="202"/>
                    <a:pt x="169" y="202"/>
                  </a:cubicBezTo>
                  <a:cubicBezTo>
                    <a:pt x="182" y="201"/>
                    <a:pt x="183" y="201"/>
                    <a:pt x="189" y="197"/>
                  </a:cubicBezTo>
                  <a:cubicBezTo>
                    <a:pt x="189" y="197"/>
                    <a:pt x="193" y="188"/>
                    <a:pt x="195" y="185"/>
                  </a:cubicBezTo>
                  <a:cubicBezTo>
                    <a:pt x="196" y="182"/>
                    <a:pt x="199" y="180"/>
                    <a:pt x="202" y="179"/>
                  </a:cubicBezTo>
                  <a:cubicBezTo>
                    <a:pt x="204" y="178"/>
                    <a:pt x="205" y="177"/>
                    <a:pt x="207" y="176"/>
                  </a:cubicBezTo>
                  <a:cubicBezTo>
                    <a:pt x="211" y="173"/>
                    <a:pt x="221" y="170"/>
                    <a:pt x="224" y="169"/>
                  </a:cubicBezTo>
                  <a:cubicBezTo>
                    <a:pt x="226" y="169"/>
                    <a:pt x="243" y="170"/>
                    <a:pt x="243" y="170"/>
                  </a:cubicBezTo>
                  <a:cubicBezTo>
                    <a:pt x="252" y="168"/>
                    <a:pt x="252" y="168"/>
                    <a:pt x="252" y="168"/>
                  </a:cubicBezTo>
                  <a:cubicBezTo>
                    <a:pt x="252" y="169"/>
                    <a:pt x="254" y="174"/>
                    <a:pt x="256" y="174"/>
                  </a:cubicBezTo>
                  <a:cubicBezTo>
                    <a:pt x="267" y="176"/>
                    <a:pt x="272" y="175"/>
                    <a:pt x="273" y="170"/>
                  </a:cubicBezTo>
                  <a:cubicBezTo>
                    <a:pt x="273" y="168"/>
                    <a:pt x="272" y="165"/>
                    <a:pt x="271" y="162"/>
                  </a:cubicBezTo>
                  <a:cubicBezTo>
                    <a:pt x="270" y="159"/>
                    <a:pt x="269" y="156"/>
                    <a:pt x="269" y="154"/>
                  </a:cubicBezTo>
                  <a:cubicBezTo>
                    <a:pt x="269" y="150"/>
                    <a:pt x="270" y="146"/>
                    <a:pt x="271" y="143"/>
                  </a:cubicBezTo>
                  <a:cubicBezTo>
                    <a:pt x="271" y="140"/>
                    <a:pt x="272" y="137"/>
                    <a:pt x="272" y="134"/>
                  </a:cubicBezTo>
                  <a:cubicBezTo>
                    <a:pt x="271" y="132"/>
                    <a:pt x="273" y="128"/>
                    <a:pt x="275" y="125"/>
                  </a:cubicBezTo>
                  <a:cubicBezTo>
                    <a:pt x="277" y="122"/>
                    <a:pt x="281" y="121"/>
                    <a:pt x="285" y="121"/>
                  </a:cubicBezTo>
                  <a:cubicBezTo>
                    <a:pt x="288" y="120"/>
                    <a:pt x="291" y="120"/>
                    <a:pt x="292" y="118"/>
                  </a:cubicBezTo>
                  <a:lnTo>
                    <a:pt x="287" y="96"/>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2" name="Freeform 210"/>
            <p:cNvSpPr>
              <a:spLocks/>
            </p:cNvSpPr>
            <p:nvPr/>
          </p:nvSpPr>
          <p:spPr bwMode="auto">
            <a:xfrm>
              <a:off x="6084834" y="3003545"/>
              <a:ext cx="8665" cy="10893"/>
            </a:xfrm>
            <a:custGeom>
              <a:avLst/>
              <a:gdLst>
                <a:gd name="T0" fmla="*/ 2 w 3"/>
                <a:gd name="T1" fmla="*/ 0 h 4"/>
                <a:gd name="T2" fmla="*/ 1 w 3"/>
                <a:gd name="T3" fmla="*/ 1 h 4"/>
                <a:gd name="T4" fmla="*/ 1 w 3"/>
                <a:gd name="T5" fmla="*/ 3 h 4"/>
                <a:gd name="T6" fmla="*/ 3 w 3"/>
                <a:gd name="T7" fmla="*/ 2 h 4"/>
                <a:gd name="T8" fmla="*/ 2 w 3"/>
                <a:gd name="T9" fmla="*/ 0 h 4"/>
              </a:gdLst>
              <a:ahLst/>
              <a:cxnLst>
                <a:cxn ang="0">
                  <a:pos x="T0" y="T1"/>
                </a:cxn>
                <a:cxn ang="0">
                  <a:pos x="T2" y="T3"/>
                </a:cxn>
                <a:cxn ang="0">
                  <a:pos x="T4" y="T5"/>
                </a:cxn>
                <a:cxn ang="0">
                  <a:pos x="T6" y="T7"/>
                </a:cxn>
                <a:cxn ang="0">
                  <a:pos x="T8" y="T9"/>
                </a:cxn>
              </a:cxnLst>
              <a:rect l="0" t="0" r="r" b="b"/>
              <a:pathLst>
                <a:path w="3" h="4">
                  <a:moveTo>
                    <a:pt x="2" y="0"/>
                  </a:moveTo>
                  <a:cubicBezTo>
                    <a:pt x="1" y="0"/>
                    <a:pt x="1" y="1"/>
                    <a:pt x="1" y="1"/>
                  </a:cubicBezTo>
                  <a:cubicBezTo>
                    <a:pt x="1" y="1"/>
                    <a:pt x="0" y="3"/>
                    <a:pt x="1" y="3"/>
                  </a:cubicBezTo>
                  <a:cubicBezTo>
                    <a:pt x="2" y="4"/>
                    <a:pt x="2" y="3"/>
                    <a:pt x="3" y="2"/>
                  </a:cubicBezTo>
                  <a:cubicBezTo>
                    <a:pt x="3" y="1"/>
                    <a:pt x="2" y="1"/>
                    <a:pt x="2" y="0"/>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3" name="Freeform 211"/>
            <p:cNvSpPr>
              <a:spLocks/>
            </p:cNvSpPr>
            <p:nvPr/>
          </p:nvSpPr>
          <p:spPr bwMode="auto">
            <a:xfrm>
              <a:off x="6061728" y="3017161"/>
              <a:ext cx="28883" cy="16339"/>
            </a:xfrm>
            <a:custGeom>
              <a:avLst/>
              <a:gdLst>
                <a:gd name="T0" fmla="*/ 6 w 10"/>
                <a:gd name="T1" fmla="*/ 0 h 6"/>
                <a:gd name="T2" fmla="*/ 5 w 10"/>
                <a:gd name="T3" fmla="*/ 1 h 6"/>
                <a:gd name="T4" fmla="*/ 2 w 10"/>
                <a:gd name="T5" fmla="*/ 2 h 6"/>
                <a:gd name="T6" fmla="*/ 2 w 10"/>
                <a:gd name="T7" fmla="*/ 5 h 6"/>
                <a:gd name="T8" fmla="*/ 5 w 10"/>
                <a:gd name="T9" fmla="*/ 4 h 6"/>
                <a:gd name="T10" fmla="*/ 6 w 10"/>
                <a:gd name="T11" fmla="*/ 3 h 6"/>
                <a:gd name="T12" fmla="*/ 8 w 10"/>
                <a:gd name="T13" fmla="*/ 2 h 6"/>
                <a:gd name="T14" fmla="*/ 8 w 10"/>
                <a:gd name="T15" fmla="*/ 1 h 6"/>
                <a:gd name="T16" fmla="*/ 6 w 10"/>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6">
                  <a:moveTo>
                    <a:pt x="6" y="0"/>
                  </a:moveTo>
                  <a:cubicBezTo>
                    <a:pt x="5" y="1"/>
                    <a:pt x="5" y="1"/>
                    <a:pt x="5" y="1"/>
                  </a:cubicBezTo>
                  <a:cubicBezTo>
                    <a:pt x="5" y="1"/>
                    <a:pt x="4" y="1"/>
                    <a:pt x="2" y="2"/>
                  </a:cubicBezTo>
                  <a:cubicBezTo>
                    <a:pt x="0" y="4"/>
                    <a:pt x="2" y="4"/>
                    <a:pt x="2" y="5"/>
                  </a:cubicBezTo>
                  <a:cubicBezTo>
                    <a:pt x="1" y="6"/>
                    <a:pt x="4" y="4"/>
                    <a:pt x="5" y="4"/>
                  </a:cubicBezTo>
                  <a:cubicBezTo>
                    <a:pt x="6" y="4"/>
                    <a:pt x="5" y="3"/>
                    <a:pt x="6" y="3"/>
                  </a:cubicBezTo>
                  <a:cubicBezTo>
                    <a:pt x="6" y="3"/>
                    <a:pt x="7" y="3"/>
                    <a:pt x="8" y="2"/>
                  </a:cubicBezTo>
                  <a:cubicBezTo>
                    <a:pt x="10" y="2"/>
                    <a:pt x="8" y="1"/>
                    <a:pt x="8" y="1"/>
                  </a:cubicBezTo>
                  <a:cubicBezTo>
                    <a:pt x="8" y="1"/>
                    <a:pt x="7" y="0"/>
                    <a:pt x="6" y="0"/>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4" name="Freeform 212"/>
            <p:cNvSpPr>
              <a:spLocks/>
            </p:cNvSpPr>
            <p:nvPr/>
          </p:nvSpPr>
          <p:spPr bwMode="auto">
            <a:xfrm>
              <a:off x="6012626" y="3028053"/>
              <a:ext cx="14441" cy="13616"/>
            </a:xfrm>
            <a:custGeom>
              <a:avLst/>
              <a:gdLst>
                <a:gd name="T0" fmla="*/ 2 w 5"/>
                <a:gd name="T1" fmla="*/ 0 h 5"/>
                <a:gd name="T2" fmla="*/ 0 w 5"/>
                <a:gd name="T3" fmla="*/ 1 h 5"/>
                <a:gd name="T4" fmla="*/ 0 w 5"/>
                <a:gd name="T5" fmla="*/ 4 h 5"/>
                <a:gd name="T6" fmla="*/ 2 w 5"/>
                <a:gd name="T7" fmla="*/ 5 h 5"/>
                <a:gd name="T8" fmla="*/ 4 w 5"/>
                <a:gd name="T9" fmla="*/ 4 h 5"/>
                <a:gd name="T10" fmla="*/ 5 w 5"/>
                <a:gd name="T11" fmla="*/ 1 h 5"/>
                <a:gd name="T12" fmla="*/ 2 w 5"/>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2" y="0"/>
                  </a:moveTo>
                  <a:cubicBezTo>
                    <a:pt x="2" y="0"/>
                    <a:pt x="0" y="1"/>
                    <a:pt x="0" y="1"/>
                  </a:cubicBezTo>
                  <a:cubicBezTo>
                    <a:pt x="0" y="1"/>
                    <a:pt x="0" y="3"/>
                    <a:pt x="0" y="4"/>
                  </a:cubicBezTo>
                  <a:cubicBezTo>
                    <a:pt x="0" y="5"/>
                    <a:pt x="2" y="5"/>
                    <a:pt x="2" y="5"/>
                  </a:cubicBezTo>
                  <a:cubicBezTo>
                    <a:pt x="3" y="5"/>
                    <a:pt x="4" y="4"/>
                    <a:pt x="4" y="4"/>
                  </a:cubicBezTo>
                  <a:cubicBezTo>
                    <a:pt x="5" y="3"/>
                    <a:pt x="5" y="2"/>
                    <a:pt x="5" y="1"/>
                  </a:cubicBezTo>
                  <a:cubicBezTo>
                    <a:pt x="4" y="0"/>
                    <a:pt x="3" y="0"/>
                    <a:pt x="2" y="0"/>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5" name="Freeform 213"/>
            <p:cNvSpPr>
              <a:spLocks/>
            </p:cNvSpPr>
            <p:nvPr/>
          </p:nvSpPr>
          <p:spPr bwMode="auto">
            <a:xfrm>
              <a:off x="6012626" y="2979036"/>
              <a:ext cx="54878" cy="54465"/>
            </a:xfrm>
            <a:custGeom>
              <a:avLst/>
              <a:gdLst>
                <a:gd name="T0" fmla="*/ 13 w 19"/>
                <a:gd name="T1" fmla="*/ 13 h 20"/>
                <a:gd name="T2" fmla="*/ 13 w 19"/>
                <a:gd name="T3" fmla="*/ 11 h 20"/>
                <a:gd name="T4" fmla="*/ 15 w 19"/>
                <a:gd name="T5" fmla="*/ 12 h 20"/>
                <a:gd name="T6" fmla="*/ 17 w 19"/>
                <a:gd name="T7" fmla="*/ 13 h 20"/>
                <a:gd name="T8" fmla="*/ 18 w 19"/>
                <a:gd name="T9" fmla="*/ 11 h 20"/>
                <a:gd name="T10" fmla="*/ 16 w 19"/>
                <a:gd name="T11" fmla="*/ 9 h 20"/>
                <a:gd name="T12" fmla="*/ 17 w 19"/>
                <a:gd name="T13" fmla="*/ 7 h 20"/>
                <a:gd name="T14" fmla="*/ 18 w 19"/>
                <a:gd name="T15" fmla="*/ 5 h 20"/>
                <a:gd name="T16" fmla="*/ 16 w 19"/>
                <a:gd name="T17" fmla="*/ 4 h 20"/>
                <a:gd name="T18" fmla="*/ 15 w 19"/>
                <a:gd name="T19" fmla="*/ 4 h 20"/>
                <a:gd name="T20" fmla="*/ 12 w 19"/>
                <a:gd name="T21" fmla="*/ 3 h 20"/>
                <a:gd name="T22" fmla="*/ 11 w 19"/>
                <a:gd name="T23" fmla="*/ 1 h 20"/>
                <a:gd name="T24" fmla="*/ 8 w 19"/>
                <a:gd name="T25" fmla="*/ 0 h 20"/>
                <a:gd name="T26" fmla="*/ 7 w 19"/>
                <a:gd name="T27" fmla="*/ 3 h 20"/>
                <a:gd name="T28" fmla="*/ 9 w 19"/>
                <a:gd name="T29" fmla="*/ 5 h 20"/>
                <a:gd name="T30" fmla="*/ 8 w 19"/>
                <a:gd name="T31" fmla="*/ 7 h 20"/>
                <a:gd name="T32" fmla="*/ 8 w 19"/>
                <a:gd name="T33" fmla="*/ 7 h 20"/>
                <a:gd name="T34" fmla="*/ 7 w 19"/>
                <a:gd name="T35" fmla="*/ 9 h 20"/>
                <a:gd name="T36" fmla="*/ 7 w 19"/>
                <a:gd name="T37" fmla="*/ 6 h 20"/>
                <a:gd name="T38" fmla="*/ 3 w 19"/>
                <a:gd name="T39" fmla="*/ 6 h 20"/>
                <a:gd name="T40" fmla="*/ 3 w 19"/>
                <a:gd name="T41" fmla="*/ 10 h 20"/>
                <a:gd name="T42" fmla="*/ 1 w 19"/>
                <a:gd name="T43" fmla="*/ 11 h 20"/>
                <a:gd name="T44" fmla="*/ 1 w 19"/>
                <a:gd name="T45" fmla="*/ 13 h 20"/>
                <a:gd name="T46" fmla="*/ 3 w 19"/>
                <a:gd name="T47" fmla="*/ 14 h 20"/>
                <a:gd name="T48" fmla="*/ 6 w 19"/>
                <a:gd name="T49" fmla="*/ 15 h 20"/>
                <a:gd name="T50" fmla="*/ 9 w 19"/>
                <a:gd name="T51" fmla="*/ 15 h 20"/>
                <a:gd name="T52" fmla="*/ 11 w 19"/>
                <a:gd name="T53" fmla="*/ 16 h 20"/>
                <a:gd name="T54" fmla="*/ 14 w 19"/>
                <a:gd name="T55" fmla="*/ 19 h 20"/>
                <a:gd name="T56" fmla="*/ 16 w 19"/>
                <a:gd name="T57" fmla="*/ 18 h 20"/>
                <a:gd name="T58" fmla="*/ 18 w 19"/>
                <a:gd name="T59" fmla="*/ 15 h 20"/>
                <a:gd name="T60" fmla="*/ 13 w 19"/>
                <a:gd name="T61"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 h="20">
                  <a:moveTo>
                    <a:pt x="13" y="13"/>
                  </a:moveTo>
                  <a:cubicBezTo>
                    <a:pt x="13" y="13"/>
                    <a:pt x="12" y="11"/>
                    <a:pt x="13" y="11"/>
                  </a:cubicBezTo>
                  <a:cubicBezTo>
                    <a:pt x="14" y="10"/>
                    <a:pt x="14" y="12"/>
                    <a:pt x="15" y="12"/>
                  </a:cubicBezTo>
                  <a:cubicBezTo>
                    <a:pt x="15" y="13"/>
                    <a:pt x="16" y="13"/>
                    <a:pt x="17" y="13"/>
                  </a:cubicBezTo>
                  <a:cubicBezTo>
                    <a:pt x="18" y="13"/>
                    <a:pt x="18" y="12"/>
                    <a:pt x="18" y="11"/>
                  </a:cubicBezTo>
                  <a:cubicBezTo>
                    <a:pt x="18" y="11"/>
                    <a:pt x="18" y="11"/>
                    <a:pt x="16" y="9"/>
                  </a:cubicBezTo>
                  <a:cubicBezTo>
                    <a:pt x="13" y="7"/>
                    <a:pt x="16" y="8"/>
                    <a:pt x="17" y="7"/>
                  </a:cubicBezTo>
                  <a:cubicBezTo>
                    <a:pt x="17" y="7"/>
                    <a:pt x="18" y="5"/>
                    <a:pt x="18" y="5"/>
                  </a:cubicBezTo>
                  <a:cubicBezTo>
                    <a:pt x="19" y="5"/>
                    <a:pt x="16" y="4"/>
                    <a:pt x="16" y="4"/>
                  </a:cubicBezTo>
                  <a:cubicBezTo>
                    <a:pt x="15" y="3"/>
                    <a:pt x="15" y="4"/>
                    <a:pt x="15" y="4"/>
                  </a:cubicBezTo>
                  <a:cubicBezTo>
                    <a:pt x="15" y="4"/>
                    <a:pt x="13" y="3"/>
                    <a:pt x="12" y="3"/>
                  </a:cubicBezTo>
                  <a:cubicBezTo>
                    <a:pt x="12" y="2"/>
                    <a:pt x="12" y="1"/>
                    <a:pt x="11" y="1"/>
                  </a:cubicBezTo>
                  <a:cubicBezTo>
                    <a:pt x="11" y="0"/>
                    <a:pt x="10" y="0"/>
                    <a:pt x="8" y="0"/>
                  </a:cubicBezTo>
                  <a:cubicBezTo>
                    <a:pt x="7" y="1"/>
                    <a:pt x="7" y="3"/>
                    <a:pt x="7" y="3"/>
                  </a:cubicBezTo>
                  <a:cubicBezTo>
                    <a:pt x="7" y="3"/>
                    <a:pt x="8" y="4"/>
                    <a:pt x="9" y="5"/>
                  </a:cubicBezTo>
                  <a:cubicBezTo>
                    <a:pt x="9" y="5"/>
                    <a:pt x="9" y="7"/>
                    <a:pt x="8" y="7"/>
                  </a:cubicBezTo>
                  <a:cubicBezTo>
                    <a:pt x="8" y="7"/>
                    <a:pt x="8" y="7"/>
                    <a:pt x="8" y="7"/>
                  </a:cubicBezTo>
                  <a:cubicBezTo>
                    <a:pt x="8" y="7"/>
                    <a:pt x="9" y="8"/>
                    <a:pt x="7" y="9"/>
                  </a:cubicBezTo>
                  <a:cubicBezTo>
                    <a:pt x="6" y="9"/>
                    <a:pt x="7" y="7"/>
                    <a:pt x="7" y="6"/>
                  </a:cubicBezTo>
                  <a:cubicBezTo>
                    <a:pt x="7" y="5"/>
                    <a:pt x="3" y="6"/>
                    <a:pt x="3" y="6"/>
                  </a:cubicBezTo>
                  <a:cubicBezTo>
                    <a:pt x="3" y="6"/>
                    <a:pt x="4" y="9"/>
                    <a:pt x="3" y="10"/>
                  </a:cubicBezTo>
                  <a:cubicBezTo>
                    <a:pt x="2" y="10"/>
                    <a:pt x="2" y="10"/>
                    <a:pt x="1" y="11"/>
                  </a:cubicBezTo>
                  <a:cubicBezTo>
                    <a:pt x="0" y="12"/>
                    <a:pt x="1" y="13"/>
                    <a:pt x="1" y="13"/>
                  </a:cubicBezTo>
                  <a:cubicBezTo>
                    <a:pt x="1" y="14"/>
                    <a:pt x="3" y="14"/>
                    <a:pt x="3" y="14"/>
                  </a:cubicBezTo>
                  <a:cubicBezTo>
                    <a:pt x="4" y="14"/>
                    <a:pt x="4" y="14"/>
                    <a:pt x="6" y="15"/>
                  </a:cubicBezTo>
                  <a:cubicBezTo>
                    <a:pt x="9" y="17"/>
                    <a:pt x="7" y="15"/>
                    <a:pt x="9" y="15"/>
                  </a:cubicBezTo>
                  <a:cubicBezTo>
                    <a:pt x="11" y="15"/>
                    <a:pt x="10" y="16"/>
                    <a:pt x="11" y="16"/>
                  </a:cubicBezTo>
                  <a:cubicBezTo>
                    <a:pt x="12" y="17"/>
                    <a:pt x="13" y="18"/>
                    <a:pt x="14" y="19"/>
                  </a:cubicBezTo>
                  <a:cubicBezTo>
                    <a:pt x="15" y="20"/>
                    <a:pt x="16" y="18"/>
                    <a:pt x="16" y="18"/>
                  </a:cubicBezTo>
                  <a:cubicBezTo>
                    <a:pt x="17" y="17"/>
                    <a:pt x="18" y="15"/>
                    <a:pt x="18" y="15"/>
                  </a:cubicBezTo>
                  <a:cubicBezTo>
                    <a:pt x="18" y="15"/>
                    <a:pt x="14" y="13"/>
                    <a:pt x="13" y="13"/>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6" name="Freeform 214"/>
            <p:cNvSpPr>
              <a:spLocks/>
            </p:cNvSpPr>
            <p:nvPr/>
          </p:nvSpPr>
          <p:spPr bwMode="auto">
            <a:xfrm>
              <a:off x="6084834" y="2992652"/>
              <a:ext cx="11553" cy="10893"/>
            </a:xfrm>
            <a:custGeom>
              <a:avLst/>
              <a:gdLst>
                <a:gd name="T0" fmla="*/ 2 w 4"/>
                <a:gd name="T1" fmla="*/ 1 h 4"/>
                <a:gd name="T2" fmla="*/ 0 w 4"/>
                <a:gd name="T3" fmla="*/ 1 h 4"/>
                <a:gd name="T4" fmla="*/ 0 w 4"/>
                <a:gd name="T5" fmla="*/ 3 h 4"/>
                <a:gd name="T6" fmla="*/ 3 w 4"/>
                <a:gd name="T7" fmla="*/ 2 h 4"/>
                <a:gd name="T8" fmla="*/ 2 w 4"/>
                <a:gd name="T9" fmla="*/ 1 h 4"/>
              </a:gdLst>
              <a:ahLst/>
              <a:cxnLst>
                <a:cxn ang="0">
                  <a:pos x="T0" y="T1"/>
                </a:cxn>
                <a:cxn ang="0">
                  <a:pos x="T2" y="T3"/>
                </a:cxn>
                <a:cxn ang="0">
                  <a:pos x="T4" y="T5"/>
                </a:cxn>
                <a:cxn ang="0">
                  <a:pos x="T6" y="T7"/>
                </a:cxn>
                <a:cxn ang="0">
                  <a:pos x="T8" y="T9"/>
                </a:cxn>
              </a:cxnLst>
              <a:rect l="0" t="0" r="r" b="b"/>
              <a:pathLst>
                <a:path w="4" h="4">
                  <a:moveTo>
                    <a:pt x="2" y="1"/>
                  </a:moveTo>
                  <a:cubicBezTo>
                    <a:pt x="2" y="0"/>
                    <a:pt x="1" y="1"/>
                    <a:pt x="0" y="1"/>
                  </a:cubicBezTo>
                  <a:cubicBezTo>
                    <a:pt x="0" y="1"/>
                    <a:pt x="0" y="2"/>
                    <a:pt x="0" y="3"/>
                  </a:cubicBezTo>
                  <a:cubicBezTo>
                    <a:pt x="1" y="4"/>
                    <a:pt x="1" y="3"/>
                    <a:pt x="3" y="2"/>
                  </a:cubicBezTo>
                  <a:cubicBezTo>
                    <a:pt x="4" y="0"/>
                    <a:pt x="2" y="1"/>
                    <a:pt x="2" y="1"/>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7" name="Freeform 215"/>
            <p:cNvSpPr>
              <a:spLocks/>
            </p:cNvSpPr>
            <p:nvPr/>
          </p:nvSpPr>
          <p:spPr bwMode="auto">
            <a:xfrm>
              <a:off x="5898540" y="1771298"/>
              <a:ext cx="733626" cy="1245863"/>
            </a:xfrm>
            <a:custGeom>
              <a:avLst/>
              <a:gdLst>
                <a:gd name="T0" fmla="*/ 222 w 253"/>
                <a:gd name="T1" fmla="*/ 377 h 456"/>
                <a:gd name="T2" fmla="*/ 247 w 253"/>
                <a:gd name="T3" fmla="*/ 312 h 456"/>
                <a:gd name="T4" fmla="*/ 235 w 253"/>
                <a:gd name="T5" fmla="*/ 269 h 456"/>
                <a:gd name="T6" fmla="*/ 216 w 253"/>
                <a:gd name="T7" fmla="*/ 241 h 456"/>
                <a:gd name="T8" fmla="*/ 204 w 253"/>
                <a:gd name="T9" fmla="*/ 226 h 456"/>
                <a:gd name="T10" fmla="*/ 200 w 253"/>
                <a:gd name="T11" fmla="*/ 214 h 456"/>
                <a:gd name="T12" fmla="*/ 185 w 253"/>
                <a:gd name="T13" fmla="*/ 195 h 456"/>
                <a:gd name="T14" fmla="*/ 186 w 253"/>
                <a:gd name="T15" fmla="*/ 170 h 456"/>
                <a:gd name="T16" fmla="*/ 161 w 253"/>
                <a:gd name="T17" fmla="*/ 137 h 456"/>
                <a:gd name="T18" fmla="*/ 160 w 253"/>
                <a:gd name="T19" fmla="*/ 100 h 456"/>
                <a:gd name="T20" fmla="*/ 141 w 253"/>
                <a:gd name="T21" fmla="*/ 79 h 456"/>
                <a:gd name="T22" fmla="*/ 128 w 253"/>
                <a:gd name="T23" fmla="*/ 52 h 456"/>
                <a:gd name="T24" fmla="*/ 123 w 253"/>
                <a:gd name="T25" fmla="*/ 44 h 456"/>
                <a:gd name="T26" fmla="*/ 129 w 253"/>
                <a:gd name="T27" fmla="*/ 38 h 456"/>
                <a:gd name="T28" fmla="*/ 128 w 253"/>
                <a:gd name="T29" fmla="*/ 19 h 456"/>
                <a:gd name="T30" fmla="*/ 104 w 253"/>
                <a:gd name="T31" fmla="*/ 1 h 456"/>
                <a:gd name="T32" fmla="*/ 82 w 253"/>
                <a:gd name="T33" fmla="*/ 20 h 456"/>
                <a:gd name="T34" fmla="*/ 79 w 253"/>
                <a:gd name="T35" fmla="*/ 58 h 456"/>
                <a:gd name="T36" fmla="*/ 74 w 253"/>
                <a:gd name="T37" fmla="*/ 73 h 456"/>
                <a:gd name="T38" fmla="*/ 59 w 253"/>
                <a:gd name="T39" fmla="*/ 70 h 456"/>
                <a:gd name="T40" fmla="*/ 27 w 253"/>
                <a:gd name="T41" fmla="*/ 68 h 456"/>
                <a:gd name="T42" fmla="*/ 7 w 253"/>
                <a:gd name="T43" fmla="*/ 63 h 456"/>
                <a:gd name="T44" fmla="*/ 7 w 253"/>
                <a:gd name="T45" fmla="*/ 74 h 456"/>
                <a:gd name="T46" fmla="*/ 26 w 253"/>
                <a:gd name="T47" fmla="*/ 85 h 456"/>
                <a:gd name="T48" fmla="*/ 51 w 253"/>
                <a:gd name="T49" fmla="*/ 99 h 456"/>
                <a:gd name="T50" fmla="*/ 63 w 253"/>
                <a:gd name="T51" fmla="*/ 127 h 456"/>
                <a:gd name="T52" fmla="*/ 74 w 253"/>
                <a:gd name="T53" fmla="*/ 159 h 456"/>
                <a:gd name="T54" fmla="*/ 81 w 253"/>
                <a:gd name="T55" fmla="*/ 184 h 456"/>
                <a:gd name="T56" fmla="*/ 109 w 253"/>
                <a:gd name="T57" fmla="*/ 205 h 456"/>
                <a:gd name="T58" fmla="*/ 113 w 253"/>
                <a:gd name="T59" fmla="*/ 228 h 456"/>
                <a:gd name="T60" fmla="*/ 102 w 253"/>
                <a:gd name="T61" fmla="*/ 246 h 456"/>
                <a:gd name="T62" fmla="*/ 88 w 253"/>
                <a:gd name="T63" fmla="*/ 280 h 456"/>
                <a:gd name="T64" fmla="*/ 81 w 253"/>
                <a:gd name="T65" fmla="*/ 293 h 456"/>
                <a:gd name="T66" fmla="*/ 73 w 253"/>
                <a:gd name="T67" fmla="*/ 307 h 456"/>
                <a:gd name="T68" fmla="*/ 67 w 253"/>
                <a:gd name="T69" fmla="*/ 314 h 456"/>
                <a:gd name="T70" fmla="*/ 54 w 253"/>
                <a:gd name="T71" fmla="*/ 313 h 456"/>
                <a:gd name="T72" fmla="*/ 61 w 253"/>
                <a:gd name="T73" fmla="*/ 327 h 456"/>
                <a:gd name="T74" fmla="*/ 58 w 253"/>
                <a:gd name="T75" fmla="*/ 348 h 456"/>
                <a:gd name="T76" fmla="*/ 65 w 253"/>
                <a:gd name="T77" fmla="*/ 369 h 456"/>
                <a:gd name="T78" fmla="*/ 71 w 253"/>
                <a:gd name="T79" fmla="*/ 387 h 456"/>
                <a:gd name="T80" fmla="*/ 73 w 253"/>
                <a:gd name="T81" fmla="*/ 400 h 456"/>
                <a:gd name="T82" fmla="*/ 73 w 253"/>
                <a:gd name="T83" fmla="*/ 414 h 456"/>
                <a:gd name="T84" fmla="*/ 76 w 253"/>
                <a:gd name="T85" fmla="*/ 420 h 456"/>
                <a:gd name="T86" fmla="*/ 75 w 253"/>
                <a:gd name="T87" fmla="*/ 429 h 456"/>
                <a:gd name="T88" fmla="*/ 83 w 253"/>
                <a:gd name="T89" fmla="*/ 433 h 456"/>
                <a:gd name="T90" fmla="*/ 89 w 253"/>
                <a:gd name="T91" fmla="*/ 436 h 456"/>
                <a:gd name="T92" fmla="*/ 95 w 253"/>
                <a:gd name="T93" fmla="*/ 436 h 456"/>
                <a:gd name="T94" fmla="*/ 98 w 253"/>
                <a:gd name="T95" fmla="*/ 442 h 456"/>
                <a:gd name="T96" fmla="*/ 104 w 253"/>
                <a:gd name="T97" fmla="*/ 447 h 456"/>
                <a:gd name="T98" fmla="*/ 104 w 253"/>
                <a:gd name="T99" fmla="*/ 454 h 456"/>
                <a:gd name="T100" fmla="*/ 113 w 253"/>
                <a:gd name="T101" fmla="*/ 447 h 456"/>
                <a:gd name="T102" fmla="*/ 116 w 253"/>
                <a:gd name="T103" fmla="*/ 453 h 456"/>
                <a:gd name="T104" fmla="*/ 122 w 253"/>
                <a:gd name="T105" fmla="*/ 455 h 456"/>
                <a:gd name="T106" fmla="*/ 127 w 253"/>
                <a:gd name="T107" fmla="*/ 452 h 456"/>
                <a:gd name="T108" fmla="*/ 139 w 253"/>
                <a:gd name="T109" fmla="*/ 443 h 456"/>
                <a:gd name="T110" fmla="*/ 153 w 253"/>
                <a:gd name="T111" fmla="*/ 439 h 456"/>
                <a:gd name="T112" fmla="*/ 167 w 253"/>
                <a:gd name="T113" fmla="*/ 428 h 456"/>
                <a:gd name="T114" fmla="*/ 176 w 253"/>
                <a:gd name="T115" fmla="*/ 420 h 456"/>
                <a:gd name="T116" fmla="*/ 188 w 253"/>
                <a:gd name="T117" fmla="*/ 414 h 456"/>
                <a:gd name="T118" fmla="*/ 201 w 253"/>
                <a:gd name="T119" fmla="*/ 406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3" h="456">
                  <a:moveTo>
                    <a:pt x="207" y="405"/>
                  </a:moveTo>
                  <a:cubicBezTo>
                    <a:pt x="210" y="399"/>
                    <a:pt x="210" y="399"/>
                    <a:pt x="210" y="399"/>
                  </a:cubicBezTo>
                  <a:cubicBezTo>
                    <a:pt x="212" y="395"/>
                    <a:pt x="212" y="395"/>
                    <a:pt x="212" y="395"/>
                  </a:cubicBezTo>
                  <a:cubicBezTo>
                    <a:pt x="212" y="395"/>
                    <a:pt x="212" y="395"/>
                    <a:pt x="212" y="395"/>
                  </a:cubicBezTo>
                  <a:cubicBezTo>
                    <a:pt x="215" y="390"/>
                    <a:pt x="216" y="388"/>
                    <a:pt x="216" y="387"/>
                  </a:cubicBezTo>
                  <a:cubicBezTo>
                    <a:pt x="217" y="385"/>
                    <a:pt x="218" y="382"/>
                    <a:pt x="218" y="381"/>
                  </a:cubicBezTo>
                  <a:cubicBezTo>
                    <a:pt x="219" y="379"/>
                    <a:pt x="221" y="378"/>
                    <a:pt x="222" y="377"/>
                  </a:cubicBezTo>
                  <a:cubicBezTo>
                    <a:pt x="224" y="370"/>
                    <a:pt x="224" y="370"/>
                    <a:pt x="224" y="370"/>
                  </a:cubicBezTo>
                  <a:cubicBezTo>
                    <a:pt x="234" y="349"/>
                    <a:pt x="234" y="349"/>
                    <a:pt x="234" y="349"/>
                  </a:cubicBezTo>
                  <a:cubicBezTo>
                    <a:pt x="235" y="348"/>
                    <a:pt x="236" y="343"/>
                    <a:pt x="237" y="341"/>
                  </a:cubicBezTo>
                  <a:cubicBezTo>
                    <a:pt x="237" y="341"/>
                    <a:pt x="239" y="335"/>
                    <a:pt x="239" y="334"/>
                  </a:cubicBezTo>
                  <a:cubicBezTo>
                    <a:pt x="239" y="333"/>
                    <a:pt x="241" y="327"/>
                    <a:pt x="241" y="327"/>
                  </a:cubicBezTo>
                  <a:cubicBezTo>
                    <a:pt x="242" y="326"/>
                    <a:pt x="244" y="318"/>
                    <a:pt x="244" y="317"/>
                  </a:cubicBezTo>
                  <a:cubicBezTo>
                    <a:pt x="244" y="314"/>
                    <a:pt x="246" y="313"/>
                    <a:pt x="247" y="312"/>
                  </a:cubicBezTo>
                  <a:cubicBezTo>
                    <a:pt x="248" y="312"/>
                    <a:pt x="248" y="312"/>
                    <a:pt x="248" y="312"/>
                  </a:cubicBezTo>
                  <a:cubicBezTo>
                    <a:pt x="248" y="311"/>
                    <a:pt x="250" y="306"/>
                    <a:pt x="251" y="303"/>
                  </a:cubicBezTo>
                  <a:cubicBezTo>
                    <a:pt x="251" y="303"/>
                    <a:pt x="252" y="298"/>
                    <a:pt x="253" y="288"/>
                  </a:cubicBezTo>
                  <a:cubicBezTo>
                    <a:pt x="251" y="280"/>
                    <a:pt x="251" y="280"/>
                    <a:pt x="251" y="280"/>
                  </a:cubicBezTo>
                  <a:cubicBezTo>
                    <a:pt x="248" y="277"/>
                    <a:pt x="248" y="277"/>
                    <a:pt x="248" y="277"/>
                  </a:cubicBezTo>
                  <a:cubicBezTo>
                    <a:pt x="243" y="274"/>
                    <a:pt x="243" y="274"/>
                    <a:pt x="243" y="274"/>
                  </a:cubicBezTo>
                  <a:cubicBezTo>
                    <a:pt x="237" y="271"/>
                    <a:pt x="236" y="270"/>
                    <a:pt x="235" y="269"/>
                  </a:cubicBezTo>
                  <a:cubicBezTo>
                    <a:pt x="235" y="269"/>
                    <a:pt x="234" y="268"/>
                    <a:pt x="232" y="268"/>
                  </a:cubicBezTo>
                  <a:cubicBezTo>
                    <a:pt x="231" y="267"/>
                    <a:pt x="227" y="266"/>
                    <a:pt x="226" y="266"/>
                  </a:cubicBezTo>
                  <a:cubicBezTo>
                    <a:pt x="225" y="266"/>
                    <a:pt x="224" y="266"/>
                    <a:pt x="219" y="262"/>
                  </a:cubicBezTo>
                  <a:cubicBezTo>
                    <a:pt x="216" y="260"/>
                    <a:pt x="213" y="256"/>
                    <a:pt x="212" y="256"/>
                  </a:cubicBezTo>
                  <a:cubicBezTo>
                    <a:pt x="212" y="255"/>
                    <a:pt x="212" y="255"/>
                    <a:pt x="212" y="255"/>
                  </a:cubicBezTo>
                  <a:cubicBezTo>
                    <a:pt x="215" y="247"/>
                    <a:pt x="215" y="247"/>
                    <a:pt x="215" y="247"/>
                  </a:cubicBezTo>
                  <a:cubicBezTo>
                    <a:pt x="216" y="246"/>
                    <a:pt x="216" y="242"/>
                    <a:pt x="216" y="241"/>
                  </a:cubicBezTo>
                  <a:cubicBezTo>
                    <a:pt x="216" y="241"/>
                    <a:pt x="216" y="239"/>
                    <a:pt x="216" y="239"/>
                  </a:cubicBezTo>
                  <a:cubicBezTo>
                    <a:pt x="215" y="236"/>
                    <a:pt x="215" y="236"/>
                    <a:pt x="215" y="236"/>
                  </a:cubicBezTo>
                  <a:cubicBezTo>
                    <a:pt x="214" y="233"/>
                    <a:pt x="214" y="233"/>
                    <a:pt x="214" y="233"/>
                  </a:cubicBezTo>
                  <a:cubicBezTo>
                    <a:pt x="213" y="233"/>
                    <a:pt x="211" y="233"/>
                    <a:pt x="210" y="233"/>
                  </a:cubicBezTo>
                  <a:cubicBezTo>
                    <a:pt x="207" y="233"/>
                    <a:pt x="207" y="230"/>
                    <a:pt x="206" y="228"/>
                  </a:cubicBezTo>
                  <a:cubicBezTo>
                    <a:pt x="206" y="228"/>
                    <a:pt x="206" y="228"/>
                    <a:pt x="205" y="227"/>
                  </a:cubicBezTo>
                  <a:cubicBezTo>
                    <a:pt x="205" y="227"/>
                    <a:pt x="204" y="227"/>
                    <a:pt x="204" y="226"/>
                  </a:cubicBezTo>
                  <a:cubicBezTo>
                    <a:pt x="201" y="225"/>
                    <a:pt x="200" y="222"/>
                    <a:pt x="200" y="221"/>
                  </a:cubicBezTo>
                  <a:cubicBezTo>
                    <a:pt x="200" y="221"/>
                    <a:pt x="200" y="221"/>
                    <a:pt x="200" y="221"/>
                  </a:cubicBezTo>
                  <a:cubicBezTo>
                    <a:pt x="202" y="216"/>
                    <a:pt x="202" y="216"/>
                    <a:pt x="202" y="216"/>
                  </a:cubicBezTo>
                  <a:cubicBezTo>
                    <a:pt x="201" y="215"/>
                    <a:pt x="201" y="214"/>
                    <a:pt x="201" y="214"/>
                  </a:cubicBezTo>
                  <a:cubicBezTo>
                    <a:pt x="201" y="214"/>
                    <a:pt x="201" y="214"/>
                    <a:pt x="201" y="214"/>
                  </a:cubicBezTo>
                  <a:cubicBezTo>
                    <a:pt x="200" y="214"/>
                    <a:pt x="200" y="214"/>
                    <a:pt x="200" y="214"/>
                  </a:cubicBezTo>
                  <a:cubicBezTo>
                    <a:pt x="200" y="214"/>
                    <a:pt x="200" y="214"/>
                    <a:pt x="200" y="214"/>
                  </a:cubicBezTo>
                  <a:cubicBezTo>
                    <a:pt x="200" y="214"/>
                    <a:pt x="200" y="214"/>
                    <a:pt x="200" y="214"/>
                  </a:cubicBezTo>
                  <a:cubicBezTo>
                    <a:pt x="193" y="213"/>
                    <a:pt x="193" y="213"/>
                    <a:pt x="193" y="213"/>
                  </a:cubicBezTo>
                  <a:cubicBezTo>
                    <a:pt x="187" y="205"/>
                    <a:pt x="187" y="205"/>
                    <a:pt x="187" y="205"/>
                  </a:cubicBezTo>
                  <a:cubicBezTo>
                    <a:pt x="188" y="204"/>
                    <a:pt x="188" y="204"/>
                    <a:pt x="188" y="204"/>
                  </a:cubicBezTo>
                  <a:cubicBezTo>
                    <a:pt x="188" y="204"/>
                    <a:pt x="189" y="198"/>
                    <a:pt x="189" y="197"/>
                  </a:cubicBezTo>
                  <a:cubicBezTo>
                    <a:pt x="189" y="197"/>
                    <a:pt x="189" y="197"/>
                    <a:pt x="189" y="197"/>
                  </a:cubicBezTo>
                  <a:cubicBezTo>
                    <a:pt x="185" y="195"/>
                    <a:pt x="185" y="195"/>
                    <a:pt x="185" y="195"/>
                  </a:cubicBezTo>
                  <a:cubicBezTo>
                    <a:pt x="187" y="191"/>
                    <a:pt x="187" y="191"/>
                    <a:pt x="187" y="191"/>
                  </a:cubicBezTo>
                  <a:cubicBezTo>
                    <a:pt x="184" y="186"/>
                    <a:pt x="184" y="186"/>
                    <a:pt x="184" y="186"/>
                  </a:cubicBezTo>
                  <a:cubicBezTo>
                    <a:pt x="185" y="183"/>
                    <a:pt x="185" y="183"/>
                    <a:pt x="185" y="183"/>
                  </a:cubicBezTo>
                  <a:cubicBezTo>
                    <a:pt x="183" y="180"/>
                    <a:pt x="183" y="180"/>
                    <a:pt x="183" y="180"/>
                  </a:cubicBezTo>
                  <a:cubicBezTo>
                    <a:pt x="182" y="177"/>
                    <a:pt x="182" y="177"/>
                    <a:pt x="182" y="177"/>
                  </a:cubicBezTo>
                  <a:cubicBezTo>
                    <a:pt x="186" y="172"/>
                    <a:pt x="186" y="172"/>
                    <a:pt x="186" y="172"/>
                  </a:cubicBezTo>
                  <a:cubicBezTo>
                    <a:pt x="186" y="170"/>
                    <a:pt x="186" y="170"/>
                    <a:pt x="186" y="170"/>
                  </a:cubicBezTo>
                  <a:cubicBezTo>
                    <a:pt x="183" y="164"/>
                    <a:pt x="183" y="164"/>
                    <a:pt x="183" y="164"/>
                  </a:cubicBezTo>
                  <a:cubicBezTo>
                    <a:pt x="181" y="162"/>
                    <a:pt x="181" y="160"/>
                    <a:pt x="181" y="160"/>
                  </a:cubicBezTo>
                  <a:cubicBezTo>
                    <a:pt x="180" y="159"/>
                    <a:pt x="178" y="158"/>
                    <a:pt x="175" y="156"/>
                  </a:cubicBezTo>
                  <a:cubicBezTo>
                    <a:pt x="175" y="156"/>
                    <a:pt x="175" y="156"/>
                    <a:pt x="175" y="156"/>
                  </a:cubicBezTo>
                  <a:cubicBezTo>
                    <a:pt x="172" y="149"/>
                    <a:pt x="172" y="149"/>
                    <a:pt x="172" y="149"/>
                  </a:cubicBezTo>
                  <a:cubicBezTo>
                    <a:pt x="166" y="143"/>
                    <a:pt x="166" y="143"/>
                    <a:pt x="166" y="143"/>
                  </a:cubicBezTo>
                  <a:cubicBezTo>
                    <a:pt x="161" y="137"/>
                    <a:pt x="161" y="137"/>
                    <a:pt x="161" y="137"/>
                  </a:cubicBezTo>
                  <a:cubicBezTo>
                    <a:pt x="158" y="134"/>
                    <a:pt x="158" y="134"/>
                    <a:pt x="158" y="134"/>
                  </a:cubicBezTo>
                  <a:cubicBezTo>
                    <a:pt x="155" y="126"/>
                    <a:pt x="155" y="126"/>
                    <a:pt x="155" y="126"/>
                  </a:cubicBezTo>
                  <a:cubicBezTo>
                    <a:pt x="155" y="124"/>
                    <a:pt x="155" y="124"/>
                    <a:pt x="155" y="124"/>
                  </a:cubicBezTo>
                  <a:cubicBezTo>
                    <a:pt x="155" y="123"/>
                    <a:pt x="156" y="120"/>
                    <a:pt x="156" y="119"/>
                  </a:cubicBezTo>
                  <a:cubicBezTo>
                    <a:pt x="156" y="118"/>
                    <a:pt x="156" y="118"/>
                    <a:pt x="157" y="116"/>
                  </a:cubicBezTo>
                  <a:cubicBezTo>
                    <a:pt x="157" y="114"/>
                    <a:pt x="158" y="110"/>
                    <a:pt x="158" y="108"/>
                  </a:cubicBezTo>
                  <a:cubicBezTo>
                    <a:pt x="158" y="105"/>
                    <a:pt x="160" y="101"/>
                    <a:pt x="160" y="100"/>
                  </a:cubicBezTo>
                  <a:cubicBezTo>
                    <a:pt x="161" y="94"/>
                    <a:pt x="161" y="94"/>
                    <a:pt x="161" y="94"/>
                  </a:cubicBezTo>
                  <a:cubicBezTo>
                    <a:pt x="160" y="93"/>
                    <a:pt x="160" y="93"/>
                    <a:pt x="160" y="93"/>
                  </a:cubicBezTo>
                  <a:cubicBezTo>
                    <a:pt x="155" y="90"/>
                    <a:pt x="155" y="90"/>
                    <a:pt x="155" y="90"/>
                  </a:cubicBezTo>
                  <a:cubicBezTo>
                    <a:pt x="151" y="85"/>
                    <a:pt x="151" y="85"/>
                    <a:pt x="151" y="85"/>
                  </a:cubicBezTo>
                  <a:cubicBezTo>
                    <a:pt x="151" y="85"/>
                    <a:pt x="151" y="85"/>
                    <a:pt x="151" y="85"/>
                  </a:cubicBezTo>
                  <a:cubicBezTo>
                    <a:pt x="151" y="84"/>
                    <a:pt x="149" y="81"/>
                    <a:pt x="145" y="80"/>
                  </a:cubicBezTo>
                  <a:cubicBezTo>
                    <a:pt x="144" y="80"/>
                    <a:pt x="142" y="79"/>
                    <a:pt x="141" y="79"/>
                  </a:cubicBezTo>
                  <a:cubicBezTo>
                    <a:pt x="141" y="79"/>
                    <a:pt x="141" y="79"/>
                    <a:pt x="140" y="79"/>
                  </a:cubicBezTo>
                  <a:cubicBezTo>
                    <a:pt x="140" y="80"/>
                    <a:pt x="140" y="80"/>
                    <a:pt x="140" y="80"/>
                  </a:cubicBezTo>
                  <a:cubicBezTo>
                    <a:pt x="132" y="76"/>
                    <a:pt x="132" y="76"/>
                    <a:pt x="132" y="76"/>
                  </a:cubicBezTo>
                  <a:cubicBezTo>
                    <a:pt x="128" y="69"/>
                    <a:pt x="128" y="69"/>
                    <a:pt x="128" y="69"/>
                  </a:cubicBezTo>
                  <a:cubicBezTo>
                    <a:pt x="124" y="63"/>
                    <a:pt x="124" y="63"/>
                    <a:pt x="124" y="63"/>
                  </a:cubicBezTo>
                  <a:cubicBezTo>
                    <a:pt x="127" y="59"/>
                    <a:pt x="127" y="59"/>
                    <a:pt x="127" y="59"/>
                  </a:cubicBezTo>
                  <a:cubicBezTo>
                    <a:pt x="128" y="52"/>
                    <a:pt x="128" y="52"/>
                    <a:pt x="128" y="52"/>
                  </a:cubicBezTo>
                  <a:cubicBezTo>
                    <a:pt x="127" y="49"/>
                    <a:pt x="127" y="49"/>
                    <a:pt x="127" y="49"/>
                  </a:cubicBezTo>
                  <a:cubicBezTo>
                    <a:pt x="120" y="48"/>
                    <a:pt x="120" y="48"/>
                    <a:pt x="120" y="48"/>
                  </a:cubicBezTo>
                  <a:cubicBezTo>
                    <a:pt x="122" y="46"/>
                    <a:pt x="122" y="46"/>
                    <a:pt x="122" y="46"/>
                  </a:cubicBezTo>
                  <a:cubicBezTo>
                    <a:pt x="122" y="45"/>
                    <a:pt x="122" y="45"/>
                    <a:pt x="122" y="44"/>
                  </a:cubicBezTo>
                  <a:cubicBezTo>
                    <a:pt x="123" y="44"/>
                    <a:pt x="123" y="44"/>
                    <a:pt x="123" y="44"/>
                  </a:cubicBezTo>
                  <a:cubicBezTo>
                    <a:pt x="123" y="44"/>
                    <a:pt x="123" y="44"/>
                    <a:pt x="123" y="44"/>
                  </a:cubicBezTo>
                  <a:cubicBezTo>
                    <a:pt x="123" y="44"/>
                    <a:pt x="123" y="44"/>
                    <a:pt x="123" y="44"/>
                  </a:cubicBezTo>
                  <a:cubicBezTo>
                    <a:pt x="123" y="43"/>
                    <a:pt x="123" y="43"/>
                    <a:pt x="123" y="43"/>
                  </a:cubicBezTo>
                  <a:cubicBezTo>
                    <a:pt x="123" y="43"/>
                    <a:pt x="123" y="43"/>
                    <a:pt x="123" y="43"/>
                  </a:cubicBezTo>
                  <a:cubicBezTo>
                    <a:pt x="123" y="43"/>
                    <a:pt x="123" y="43"/>
                    <a:pt x="123" y="43"/>
                  </a:cubicBezTo>
                  <a:cubicBezTo>
                    <a:pt x="125" y="41"/>
                    <a:pt x="125" y="41"/>
                    <a:pt x="125" y="41"/>
                  </a:cubicBezTo>
                  <a:cubicBezTo>
                    <a:pt x="125" y="41"/>
                    <a:pt x="126" y="41"/>
                    <a:pt x="126" y="41"/>
                  </a:cubicBezTo>
                  <a:cubicBezTo>
                    <a:pt x="127" y="39"/>
                    <a:pt x="128" y="39"/>
                    <a:pt x="129" y="38"/>
                  </a:cubicBezTo>
                  <a:cubicBezTo>
                    <a:pt x="129" y="38"/>
                    <a:pt x="129" y="38"/>
                    <a:pt x="129" y="38"/>
                  </a:cubicBezTo>
                  <a:cubicBezTo>
                    <a:pt x="129" y="38"/>
                    <a:pt x="129" y="38"/>
                    <a:pt x="129" y="38"/>
                  </a:cubicBezTo>
                  <a:cubicBezTo>
                    <a:pt x="129" y="37"/>
                    <a:pt x="129" y="37"/>
                    <a:pt x="130" y="37"/>
                  </a:cubicBezTo>
                  <a:cubicBezTo>
                    <a:pt x="129" y="37"/>
                    <a:pt x="127" y="36"/>
                    <a:pt x="127" y="35"/>
                  </a:cubicBezTo>
                  <a:cubicBezTo>
                    <a:pt x="127" y="34"/>
                    <a:pt x="126" y="32"/>
                    <a:pt x="126" y="30"/>
                  </a:cubicBezTo>
                  <a:cubicBezTo>
                    <a:pt x="126" y="30"/>
                    <a:pt x="126" y="29"/>
                    <a:pt x="126" y="28"/>
                  </a:cubicBezTo>
                  <a:cubicBezTo>
                    <a:pt x="126" y="27"/>
                    <a:pt x="126" y="25"/>
                    <a:pt x="126" y="23"/>
                  </a:cubicBezTo>
                  <a:cubicBezTo>
                    <a:pt x="126" y="22"/>
                    <a:pt x="128" y="19"/>
                    <a:pt x="128" y="19"/>
                  </a:cubicBezTo>
                  <a:cubicBezTo>
                    <a:pt x="128" y="19"/>
                    <a:pt x="126" y="17"/>
                    <a:pt x="126" y="16"/>
                  </a:cubicBezTo>
                  <a:cubicBezTo>
                    <a:pt x="126" y="15"/>
                    <a:pt x="125" y="13"/>
                    <a:pt x="126" y="12"/>
                  </a:cubicBezTo>
                  <a:cubicBezTo>
                    <a:pt x="126" y="11"/>
                    <a:pt x="126" y="11"/>
                    <a:pt x="126" y="11"/>
                  </a:cubicBezTo>
                  <a:cubicBezTo>
                    <a:pt x="124" y="10"/>
                    <a:pt x="124" y="10"/>
                    <a:pt x="124" y="10"/>
                  </a:cubicBezTo>
                  <a:cubicBezTo>
                    <a:pt x="119" y="9"/>
                    <a:pt x="119" y="9"/>
                    <a:pt x="119" y="9"/>
                  </a:cubicBezTo>
                  <a:cubicBezTo>
                    <a:pt x="108" y="6"/>
                    <a:pt x="108" y="6"/>
                    <a:pt x="108" y="6"/>
                  </a:cubicBezTo>
                  <a:cubicBezTo>
                    <a:pt x="105" y="5"/>
                    <a:pt x="106" y="3"/>
                    <a:pt x="104" y="1"/>
                  </a:cubicBezTo>
                  <a:cubicBezTo>
                    <a:pt x="103" y="0"/>
                    <a:pt x="99" y="1"/>
                    <a:pt x="97" y="1"/>
                  </a:cubicBezTo>
                  <a:cubicBezTo>
                    <a:pt x="93" y="5"/>
                    <a:pt x="93" y="5"/>
                    <a:pt x="93" y="5"/>
                  </a:cubicBezTo>
                  <a:cubicBezTo>
                    <a:pt x="92" y="9"/>
                    <a:pt x="92" y="9"/>
                    <a:pt x="92" y="9"/>
                  </a:cubicBezTo>
                  <a:cubicBezTo>
                    <a:pt x="85" y="9"/>
                    <a:pt x="85" y="9"/>
                    <a:pt x="85" y="9"/>
                  </a:cubicBezTo>
                  <a:cubicBezTo>
                    <a:pt x="82" y="11"/>
                    <a:pt x="82" y="11"/>
                    <a:pt x="82" y="11"/>
                  </a:cubicBezTo>
                  <a:cubicBezTo>
                    <a:pt x="76" y="12"/>
                    <a:pt x="81" y="16"/>
                    <a:pt x="81" y="19"/>
                  </a:cubicBezTo>
                  <a:cubicBezTo>
                    <a:pt x="82" y="20"/>
                    <a:pt x="82" y="20"/>
                    <a:pt x="82" y="20"/>
                  </a:cubicBezTo>
                  <a:cubicBezTo>
                    <a:pt x="79" y="22"/>
                    <a:pt x="79" y="22"/>
                    <a:pt x="79" y="22"/>
                  </a:cubicBezTo>
                  <a:cubicBezTo>
                    <a:pt x="77" y="23"/>
                    <a:pt x="77" y="23"/>
                    <a:pt x="77" y="23"/>
                  </a:cubicBezTo>
                  <a:cubicBezTo>
                    <a:pt x="77" y="23"/>
                    <a:pt x="77" y="23"/>
                    <a:pt x="77" y="23"/>
                  </a:cubicBezTo>
                  <a:cubicBezTo>
                    <a:pt x="75" y="24"/>
                    <a:pt x="79" y="31"/>
                    <a:pt x="78" y="40"/>
                  </a:cubicBezTo>
                  <a:cubicBezTo>
                    <a:pt x="77" y="42"/>
                    <a:pt x="79" y="46"/>
                    <a:pt x="79" y="46"/>
                  </a:cubicBezTo>
                  <a:cubicBezTo>
                    <a:pt x="79" y="46"/>
                    <a:pt x="81" y="52"/>
                    <a:pt x="81" y="55"/>
                  </a:cubicBezTo>
                  <a:cubicBezTo>
                    <a:pt x="81" y="58"/>
                    <a:pt x="79" y="58"/>
                    <a:pt x="79" y="58"/>
                  </a:cubicBezTo>
                  <a:cubicBezTo>
                    <a:pt x="79" y="58"/>
                    <a:pt x="76" y="61"/>
                    <a:pt x="73" y="63"/>
                  </a:cubicBezTo>
                  <a:cubicBezTo>
                    <a:pt x="71" y="65"/>
                    <a:pt x="73" y="66"/>
                    <a:pt x="73" y="66"/>
                  </a:cubicBezTo>
                  <a:cubicBezTo>
                    <a:pt x="73" y="66"/>
                    <a:pt x="73" y="71"/>
                    <a:pt x="74" y="72"/>
                  </a:cubicBezTo>
                  <a:cubicBezTo>
                    <a:pt x="74" y="72"/>
                    <a:pt x="74" y="72"/>
                    <a:pt x="74" y="72"/>
                  </a:cubicBezTo>
                  <a:cubicBezTo>
                    <a:pt x="74" y="72"/>
                    <a:pt x="74" y="72"/>
                    <a:pt x="74" y="72"/>
                  </a:cubicBezTo>
                  <a:cubicBezTo>
                    <a:pt x="74" y="73"/>
                    <a:pt x="74" y="73"/>
                    <a:pt x="74" y="73"/>
                  </a:cubicBezTo>
                  <a:cubicBezTo>
                    <a:pt x="74" y="73"/>
                    <a:pt x="74" y="73"/>
                    <a:pt x="74" y="73"/>
                  </a:cubicBezTo>
                  <a:cubicBezTo>
                    <a:pt x="73" y="73"/>
                    <a:pt x="73" y="73"/>
                    <a:pt x="73" y="73"/>
                  </a:cubicBezTo>
                  <a:cubicBezTo>
                    <a:pt x="73" y="73"/>
                    <a:pt x="73" y="73"/>
                    <a:pt x="73" y="73"/>
                  </a:cubicBezTo>
                  <a:cubicBezTo>
                    <a:pt x="73" y="73"/>
                    <a:pt x="72" y="73"/>
                    <a:pt x="72" y="74"/>
                  </a:cubicBezTo>
                  <a:cubicBezTo>
                    <a:pt x="72" y="74"/>
                    <a:pt x="72" y="74"/>
                    <a:pt x="72" y="74"/>
                  </a:cubicBezTo>
                  <a:cubicBezTo>
                    <a:pt x="71" y="74"/>
                    <a:pt x="70" y="74"/>
                    <a:pt x="70" y="74"/>
                  </a:cubicBezTo>
                  <a:cubicBezTo>
                    <a:pt x="67" y="72"/>
                    <a:pt x="67" y="72"/>
                    <a:pt x="67" y="72"/>
                  </a:cubicBezTo>
                  <a:cubicBezTo>
                    <a:pt x="59" y="70"/>
                    <a:pt x="59" y="70"/>
                    <a:pt x="59" y="70"/>
                  </a:cubicBezTo>
                  <a:cubicBezTo>
                    <a:pt x="56" y="68"/>
                    <a:pt x="56" y="68"/>
                    <a:pt x="56" y="68"/>
                  </a:cubicBezTo>
                  <a:cubicBezTo>
                    <a:pt x="52" y="70"/>
                    <a:pt x="52" y="70"/>
                    <a:pt x="52" y="70"/>
                  </a:cubicBezTo>
                  <a:cubicBezTo>
                    <a:pt x="52" y="72"/>
                    <a:pt x="52" y="72"/>
                    <a:pt x="52" y="72"/>
                  </a:cubicBezTo>
                  <a:cubicBezTo>
                    <a:pt x="50" y="74"/>
                    <a:pt x="50" y="74"/>
                    <a:pt x="50" y="74"/>
                  </a:cubicBezTo>
                  <a:cubicBezTo>
                    <a:pt x="47" y="77"/>
                    <a:pt x="47" y="77"/>
                    <a:pt x="47" y="77"/>
                  </a:cubicBezTo>
                  <a:cubicBezTo>
                    <a:pt x="46" y="77"/>
                    <a:pt x="38" y="75"/>
                    <a:pt x="36" y="74"/>
                  </a:cubicBezTo>
                  <a:cubicBezTo>
                    <a:pt x="34" y="74"/>
                    <a:pt x="27" y="68"/>
                    <a:pt x="27" y="68"/>
                  </a:cubicBezTo>
                  <a:cubicBezTo>
                    <a:pt x="22" y="62"/>
                    <a:pt x="22" y="62"/>
                    <a:pt x="22" y="62"/>
                  </a:cubicBezTo>
                  <a:cubicBezTo>
                    <a:pt x="16" y="55"/>
                    <a:pt x="16" y="55"/>
                    <a:pt x="16" y="55"/>
                  </a:cubicBezTo>
                  <a:cubicBezTo>
                    <a:pt x="13" y="55"/>
                    <a:pt x="13" y="55"/>
                    <a:pt x="13" y="55"/>
                  </a:cubicBezTo>
                  <a:cubicBezTo>
                    <a:pt x="11" y="53"/>
                    <a:pt x="8" y="53"/>
                    <a:pt x="7" y="55"/>
                  </a:cubicBezTo>
                  <a:cubicBezTo>
                    <a:pt x="7" y="55"/>
                    <a:pt x="7" y="55"/>
                    <a:pt x="7" y="55"/>
                  </a:cubicBezTo>
                  <a:cubicBezTo>
                    <a:pt x="6" y="56"/>
                    <a:pt x="6" y="56"/>
                    <a:pt x="6" y="56"/>
                  </a:cubicBezTo>
                  <a:cubicBezTo>
                    <a:pt x="5" y="58"/>
                    <a:pt x="7" y="63"/>
                    <a:pt x="7" y="63"/>
                  </a:cubicBezTo>
                  <a:cubicBezTo>
                    <a:pt x="7" y="63"/>
                    <a:pt x="7" y="64"/>
                    <a:pt x="6" y="64"/>
                  </a:cubicBezTo>
                  <a:cubicBezTo>
                    <a:pt x="6" y="64"/>
                    <a:pt x="6" y="64"/>
                    <a:pt x="6" y="64"/>
                  </a:cubicBezTo>
                  <a:cubicBezTo>
                    <a:pt x="6" y="64"/>
                    <a:pt x="6" y="64"/>
                    <a:pt x="6" y="64"/>
                  </a:cubicBezTo>
                  <a:cubicBezTo>
                    <a:pt x="5" y="64"/>
                    <a:pt x="2" y="65"/>
                    <a:pt x="1" y="65"/>
                  </a:cubicBezTo>
                  <a:cubicBezTo>
                    <a:pt x="0" y="65"/>
                    <a:pt x="1" y="67"/>
                    <a:pt x="1" y="67"/>
                  </a:cubicBezTo>
                  <a:cubicBezTo>
                    <a:pt x="7" y="70"/>
                    <a:pt x="7" y="70"/>
                    <a:pt x="7" y="70"/>
                  </a:cubicBezTo>
                  <a:cubicBezTo>
                    <a:pt x="7" y="74"/>
                    <a:pt x="7" y="74"/>
                    <a:pt x="7" y="74"/>
                  </a:cubicBezTo>
                  <a:cubicBezTo>
                    <a:pt x="11" y="75"/>
                    <a:pt x="11" y="75"/>
                    <a:pt x="11" y="75"/>
                  </a:cubicBezTo>
                  <a:cubicBezTo>
                    <a:pt x="14" y="77"/>
                    <a:pt x="14" y="77"/>
                    <a:pt x="14" y="77"/>
                  </a:cubicBezTo>
                  <a:cubicBezTo>
                    <a:pt x="17" y="81"/>
                    <a:pt x="17" y="81"/>
                    <a:pt x="17" y="81"/>
                  </a:cubicBezTo>
                  <a:cubicBezTo>
                    <a:pt x="17" y="81"/>
                    <a:pt x="18" y="82"/>
                    <a:pt x="19" y="82"/>
                  </a:cubicBezTo>
                  <a:cubicBezTo>
                    <a:pt x="20" y="82"/>
                    <a:pt x="21" y="83"/>
                    <a:pt x="21" y="83"/>
                  </a:cubicBezTo>
                  <a:cubicBezTo>
                    <a:pt x="23" y="86"/>
                    <a:pt x="23" y="86"/>
                    <a:pt x="23" y="86"/>
                  </a:cubicBezTo>
                  <a:cubicBezTo>
                    <a:pt x="26" y="85"/>
                    <a:pt x="26" y="85"/>
                    <a:pt x="26" y="85"/>
                  </a:cubicBezTo>
                  <a:cubicBezTo>
                    <a:pt x="26" y="85"/>
                    <a:pt x="27" y="86"/>
                    <a:pt x="28" y="88"/>
                  </a:cubicBezTo>
                  <a:cubicBezTo>
                    <a:pt x="29" y="89"/>
                    <a:pt x="30" y="88"/>
                    <a:pt x="30" y="88"/>
                  </a:cubicBezTo>
                  <a:cubicBezTo>
                    <a:pt x="34" y="88"/>
                    <a:pt x="34" y="88"/>
                    <a:pt x="34" y="88"/>
                  </a:cubicBezTo>
                  <a:cubicBezTo>
                    <a:pt x="38" y="90"/>
                    <a:pt x="38" y="90"/>
                    <a:pt x="38" y="90"/>
                  </a:cubicBezTo>
                  <a:cubicBezTo>
                    <a:pt x="44" y="93"/>
                    <a:pt x="44" y="93"/>
                    <a:pt x="44" y="93"/>
                  </a:cubicBezTo>
                  <a:cubicBezTo>
                    <a:pt x="44" y="93"/>
                    <a:pt x="49" y="99"/>
                    <a:pt x="49" y="100"/>
                  </a:cubicBezTo>
                  <a:cubicBezTo>
                    <a:pt x="50" y="100"/>
                    <a:pt x="51" y="99"/>
                    <a:pt x="51" y="99"/>
                  </a:cubicBezTo>
                  <a:cubicBezTo>
                    <a:pt x="54" y="104"/>
                    <a:pt x="54" y="104"/>
                    <a:pt x="54" y="104"/>
                  </a:cubicBezTo>
                  <a:cubicBezTo>
                    <a:pt x="59" y="106"/>
                    <a:pt x="59" y="106"/>
                    <a:pt x="59" y="106"/>
                  </a:cubicBezTo>
                  <a:cubicBezTo>
                    <a:pt x="57" y="111"/>
                    <a:pt x="57" y="111"/>
                    <a:pt x="57" y="111"/>
                  </a:cubicBezTo>
                  <a:cubicBezTo>
                    <a:pt x="59" y="121"/>
                    <a:pt x="59" y="121"/>
                    <a:pt x="59" y="121"/>
                  </a:cubicBezTo>
                  <a:cubicBezTo>
                    <a:pt x="59" y="125"/>
                    <a:pt x="59" y="125"/>
                    <a:pt x="59" y="125"/>
                  </a:cubicBezTo>
                  <a:cubicBezTo>
                    <a:pt x="60" y="128"/>
                    <a:pt x="60" y="128"/>
                    <a:pt x="60" y="128"/>
                  </a:cubicBezTo>
                  <a:cubicBezTo>
                    <a:pt x="63" y="127"/>
                    <a:pt x="63" y="127"/>
                    <a:pt x="63" y="127"/>
                  </a:cubicBezTo>
                  <a:cubicBezTo>
                    <a:pt x="64" y="128"/>
                    <a:pt x="64" y="128"/>
                    <a:pt x="64" y="128"/>
                  </a:cubicBezTo>
                  <a:cubicBezTo>
                    <a:pt x="63" y="130"/>
                    <a:pt x="63" y="130"/>
                    <a:pt x="64" y="132"/>
                  </a:cubicBezTo>
                  <a:cubicBezTo>
                    <a:pt x="64" y="134"/>
                    <a:pt x="64" y="134"/>
                    <a:pt x="64" y="134"/>
                  </a:cubicBezTo>
                  <a:cubicBezTo>
                    <a:pt x="64" y="139"/>
                    <a:pt x="64" y="139"/>
                    <a:pt x="64" y="139"/>
                  </a:cubicBezTo>
                  <a:cubicBezTo>
                    <a:pt x="74" y="151"/>
                    <a:pt x="74" y="151"/>
                    <a:pt x="74" y="151"/>
                  </a:cubicBezTo>
                  <a:cubicBezTo>
                    <a:pt x="74" y="155"/>
                    <a:pt x="74" y="155"/>
                    <a:pt x="74" y="155"/>
                  </a:cubicBezTo>
                  <a:cubicBezTo>
                    <a:pt x="74" y="155"/>
                    <a:pt x="74" y="159"/>
                    <a:pt x="74" y="159"/>
                  </a:cubicBezTo>
                  <a:cubicBezTo>
                    <a:pt x="73" y="160"/>
                    <a:pt x="74" y="164"/>
                    <a:pt x="74" y="164"/>
                  </a:cubicBezTo>
                  <a:cubicBezTo>
                    <a:pt x="74" y="164"/>
                    <a:pt x="73" y="168"/>
                    <a:pt x="72" y="168"/>
                  </a:cubicBezTo>
                  <a:cubicBezTo>
                    <a:pt x="71" y="169"/>
                    <a:pt x="71" y="171"/>
                    <a:pt x="71" y="171"/>
                  </a:cubicBezTo>
                  <a:cubicBezTo>
                    <a:pt x="73" y="175"/>
                    <a:pt x="73" y="175"/>
                    <a:pt x="73" y="175"/>
                  </a:cubicBezTo>
                  <a:cubicBezTo>
                    <a:pt x="73" y="179"/>
                    <a:pt x="73" y="179"/>
                    <a:pt x="73" y="179"/>
                  </a:cubicBezTo>
                  <a:cubicBezTo>
                    <a:pt x="77" y="182"/>
                    <a:pt x="77" y="182"/>
                    <a:pt x="77" y="182"/>
                  </a:cubicBezTo>
                  <a:cubicBezTo>
                    <a:pt x="81" y="184"/>
                    <a:pt x="81" y="184"/>
                    <a:pt x="81" y="184"/>
                  </a:cubicBezTo>
                  <a:cubicBezTo>
                    <a:pt x="87" y="196"/>
                    <a:pt x="87" y="196"/>
                    <a:pt x="87" y="196"/>
                  </a:cubicBezTo>
                  <a:cubicBezTo>
                    <a:pt x="90" y="196"/>
                    <a:pt x="90" y="196"/>
                    <a:pt x="90" y="196"/>
                  </a:cubicBezTo>
                  <a:cubicBezTo>
                    <a:pt x="93" y="197"/>
                    <a:pt x="93" y="197"/>
                    <a:pt x="93" y="197"/>
                  </a:cubicBezTo>
                  <a:cubicBezTo>
                    <a:pt x="98" y="201"/>
                    <a:pt x="98" y="201"/>
                    <a:pt x="98" y="201"/>
                  </a:cubicBezTo>
                  <a:cubicBezTo>
                    <a:pt x="99" y="199"/>
                    <a:pt x="99" y="199"/>
                    <a:pt x="99" y="199"/>
                  </a:cubicBezTo>
                  <a:cubicBezTo>
                    <a:pt x="105" y="202"/>
                    <a:pt x="105" y="202"/>
                    <a:pt x="105" y="202"/>
                  </a:cubicBezTo>
                  <a:cubicBezTo>
                    <a:pt x="105" y="202"/>
                    <a:pt x="108" y="204"/>
                    <a:pt x="109" y="205"/>
                  </a:cubicBezTo>
                  <a:cubicBezTo>
                    <a:pt x="110" y="206"/>
                    <a:pt x="110" y="208"/>
                    <a:pt x="111" y="209"/>
                  </a:cubicBezTo>
                  <a:cubicBezTo>
                    <a:pt x="111" y="210"/>
                    <a:pt x="111" y="213"/>
                    <a:pt x="111" y="213"/>
                  </a:cubicBezTo>
                  <a:cubicBezTo>
                    <a:pt x="111" y="213"/>
                    <a:pt x="111" y="216"/>
                    <a:pt x="111" y="217"/>
                  </a:cubicBezTo>
                  <a:cubicBezTo>
                    <a:pt x="111" y="218"/>
                    <a:pt x="112" y="220"/>
                    <a:pt x="112" y="221"/>
                  </a:cubicBezTo>
                  <a:cubicBezTo>
                    <a:pt x="112" y="221"/>
                    <a:pt x="114" y="223"/>
                    <a:pt x="116" y="223"/>
                  </a:cubicBezTo>
                  <a:cubicBezTo>
                    <a:pt x="117" y="224"/>
                    <a:pt x="115" y="225"/>
                    <a:pt x="115" y="225"/>
                  </a:cubicBezTo>
                  <a:cubicBezTo>
                    <a:pt x="113" y="228"/>
                    <a:pt x="113" y="228"/>
                    <a:pt x="113" y="228"/>
                  </a:cubicBezTo>
                  <a:cubicBezTo>
                    <a:pt x="113" y="228"/>
                    <a:pt x="117" y="231"/>
                    <a:pt x="117" y="231"/>
                  </a:cubicBezTo>
                  <a:cubicBezTo>
                    <a:pt x="117" y="232"/>
                    <a:pt x="114" y="232"/>
                    <a:pt x="114" y="232"/>
                  </a:cubicBezTo>
                  <a:cubicBezTo>
                    <a:pt x="109" y="230"/>
                    <a:pt x="112" y="232"/>
                    <a:pt x="107" y="233"/>
                  </a:cubicBezTo>
                  <a:cubicBezTo>
                    <a:pt x="107" y="233"/>
                    <a:pt x="103" y="236"/>
                    <a:pt x="103" y="236"/>
                  </a:cubicBezTo>
                  <a:cubicBezTo>
                    <a:pt x="103" y="239"/>
                    <a:pt x="103" y="239"/>
                    <a:pt x="103" y="239"/>
                  </a:cubicBezTo>
                  <a:cubicBezTo>
                    <a:pt x="103" y="239"/>
                    <a:pt x="102" y="241"/>
                    <a:pt x="101" y="242"/>
                  </a:cubicBezTo>
                  <a:cubicBezTo>
                    <a:pt x="101" y="242"/>
                    <a:pt x="102" y="245"/>
                    <a:pt x="102" y="246"/>
                  </a:cubicBezTo>
                  <a:cubicBezTo>
                    <a:pt x="102" y="248"/>
                    <a:pt x="102" y="250"/>
                    <a:pt x="102" y="250"/>
                  </a:cubicBezTo>
                  <a:cubicBezTo>
                    <a:pt x="99" y="255"/>
                    <a:pt x="99" y="255"/>
                    <a:pt x="99" y="255"/>
                  </a:cubicBezTo>
                  <a:cubicBezTo>
                    <a:pt x="99" y="255"/>
                    <a:pt x="96" y="260"/>
                    <a:pt x="97" y="261"/>
                  </a:cubicBezTo>
                  <a:cubicBezTo>
                    <a:pt x="97" y="263"/>
                    <a:pt x="94" y="265"/>
                    <a:pt x="93" y="267"/>
                  </a:cubicBezTo>
                  <a:cubicBezTo>
                    <a:pt x="92" y="268"/>
                    <a:pt x="92" y="272"/>
                    <a:pt x="91" y="273"/>
                  </a:cubicBezTo>
                  <a:cubicBezTo>
                    <a:pt x="90" y="274"/>
                    <a:pt x="88" y="273"/>
                    <a:pt x="88" y="274"/>
                  </a:cubicBezTo>
                  <a:cubicBezTo>
                    <a:pt x="88" y="275"/>
                    <a:pt x="88" y="279"/>
                    <a:pt x="88" y="280"/>
                  </a:cubicBezTo>
                  <a:cubicBezTo>
                    <a:pt x="87" y="281"/>
                    <a:pt x="86" y="282"/>
                    <a:pt x="85" y="282"/>
                  </a:cubicBezTo>
                  <a:cubicBezTo>
                    <a:pt x="85" y="283"/>
                    <a:pt x="85" y="283"/>
                    <a:pt x="83" y="284"/>
                  </a:cubicBezTo>
                  <a:cubicBezTo>
                    <a:pt x="82" y="285"/>
                    <a:pt x="82" y="284"/>
                    <a:pt x="81" y="284"/>
                  </a:cubicBezTo>
                  <a:cubicBezTo>
                    <a:pt x="80" y="284"/>
                    <a:pt x="80" y="285"/>
                    <a:pt x="80" y="286"/>
                  </a:cubicBezTo>
                  <a:cubicBezTo>
                    <a:pt x="79" y="286"/>
                    <a:pt x="79" y="288"/>
                    <a:pt x="80" y="288"/>
                  </a:cubicBezTo>
                  <a:cubicBezTo>
                    <a:pt x="80" y="288"/>
                    <a:pt x="82" y="289"/>
                    <a:pt x="82" y="289"/>
                  </a:cubicBezTo>
                  <a:cubicBezTo>
                    <a:pt x="82" y="289"/>
                    <a:pt x="82" y="293"/>
                    <a:pt x="81" y="293"/>
                  </a:cubicBezTo>
                  <a:cubicBezTo>
                    <a:pt x="80" y="294"/>
                    <a:pt x="80" y="293"/>
                    <a:pt x="79" y="293"/>
                  </a:cubicBezTo>
                  <a:cubicBezTo>
                    <a:pt x="77" y="292"/>
                    <a:pt x="78" y="293"/>
                    <a:pt x="77" y="294"/>
                  </a:cubicBezTo>
                  <a:cubicBezTo>
                    <a:pt x="75" y="295"/>
                    <a:pt x="77" y="295"/>
                    <a:pt x="77" y="297"/>
                  </a:cubicBezTo>
                  <a:cubicBezTo>
                    <a:pt x="77" y="299"/>
                    <a:pt x="77" y="301"/>
                    <a:pt x="75" y="301"/>
                  </a:cubicBezTo>
                  <a:cubicBezTo>
                    <a:pt x="73" y="301"/>
                    <a:pt x="75" y="301"/>
                    <a:pt x="73" y="301"/>
                  </a:cubicBezTo>
                  <a:cubicBezTo>
                    <a:pt x="72" y="302"/>
                    <a:pt x="73" y="303"/>
                    <a:pt x="72" y="305"/>
                  </a:cubicBezTo>
                  <a:cubicBezTo>
                    <a:pt x="72" y="307"/>
                    <a:pt x="72" y="306"/>
                    <a:pt x="73" y="307"/>
                  </a:cubicBezTo>
                  <a:cubicBezTo>
                    <a:pt x="73" y="308"/>
                    <a:pt x="75" y="308"/>
                    <a:pt x="75" y="310"/>
                  </a:cubicBezTo>
                  <a:cubicBezTo>
                    <a:pt x="75" y="311"/>
                    <a:pt x="75" y="311"/>
                    <a:pt x="75" y="312"/>
                  </a:cubicBezTo>
                  <a:cubicBezTo>
                    <a:pt x="74" y="313"/>
                    <a:pt x="72" y="312"/>
                    <a:pt x="72" y="311"/>
                  </a:cubicBezTo>
                  <a:cubicBezTo>
                    <a:pt x="72" y="310"/>
                    <a:pt x="72" y="309"/>
                    <a:pt x="72" y="309"/>
                  </a:cubicBezTo>
                  <a:cubicBezTo>
                    <a:pt x="72" y="309"/>
                    <a:pt x="71" y="308"/>
                    <a:pt x="69" y="308"/>
                  </a:cubicBezTo>
                  <a:cubicBezTo>
                    <a:pt x="67" y="308"/>
                    <a:pt x="69" y="311"/>
                    <a:pt x="69" y="312"/>
                  </a:cubicBezTo>
                  <a:cubicBezTo>
                    <a:pt x="70" y="314"/>
                    <a:pt x="69" y="315"/>
                    <a:pt x="67" y="314"/>
                  </a:cubicBezTo>
                  <a:cubicBezTo>
                    <a:pt x="65" y="314"/>
                    <a:pt x="66" y="314"/>
                    <a:pt x="66" y="314"/>
                  </a:cubicBezTo>
                  <a:cubicBezTo>
                    <a:pt x="66" y="314"/>
                    <a:pt x="62" y="316"/>
                    <a:pt x="62" y="315"/>
                  </a:cubicBezTo>
                  <a:cubicBezTo>
                    <a:pt x="62" y="315"/>
                    <a:pt x="61" y="314"/>
                    <a:pt x="61" y="314"/>
                  </a:cubicBezTo>
                  <a:cubicBezTo>
                    <a:pt x="60" y="314"/>
                    <a:pt x="60" y="315"/>
                    <a:pt x="59" y="316"/>
                  </a:cubicBezTo>
                  <a:cubicBezTo>
                    <a:pt x="59" y="316"/>
                    <a:pt x="57" y="316"/>
                    <a:pt x="57" y="315"/>
                  </a:cubicBezTo>
                  <a:cubicBezTo>
                    <a:pt x="57" y="314"/>
                    <a:pt x="56" y="311"/>
                    <a:pt x="56" y="311"/>
                  </a:cubicBezTo>
                  <a:cubicBezTo>
                    <a:pt x="56" y="311"/>
                    <a:pt x="54" y="312"/>
                    <a:pt x="54" y="313"/>
                  </a:cubicBezTo>
                  <a:cubicBezTo>
                    <a:pt x="54" y="314"/>
                    <a:pt x="55" y="316"/>
                    <a:pt x="55" y="316"/>
                  </a:cubicBezTo>
                  <a:cubicBezTo>
                    <a:pt x="55" y="318"/>
                    <a:pt x="55" y="318"/>
                    <a:pt x="55" y="318"/>
                  </a:cubicBezTo>
                  <a:cubicBezTo>
                    <a:pt x="56" y="319"/>
                    <a:pt x="56" y="319"/>
                    <a:pt x="56" y="319"/>
                  </a:cubicBezTo>
                  <a:cubicBezTo>
                    <a:pt x="59" y="317"/>
                    <a:pt x="59" y="317"/>
                    <a:pt x="59" y="317"/>
                  </a:cubicBezTo>
                  <a:cubicBezTo>
                    <a:pt x="59" y="317"/>
                    <a:pt x="61" y="320"/>
                    <a:pt x="61" y="321"/>
                  </a:cubicBezTo>
                  <a:cubicBezTo>
                    <a:pt x="61" y="321"/>
                    <a:pt x="59" y="323"/>
                    <a:pt x="59" y="323"/>
                  </a:cubicBezTo>
                  <a:cubicBezTo>
                    <a:pt x="59" y="323"/>
                    <a:pt x="61" y="326"/>
                    <a:pt x="61" y="327"/>
                  </a:cubicBezTo>
                  <a:cubicBezTo>
                    <a:pt x="61" y="328"/>
                    <a:pt x="60" y="331"/>
                    <a:pt x="60" y="331"/>
                  </a:cubicBezTo>
                  <a:cubicBezTo>
                    <a:pt x="60" y="331"/>
                    <a:pt x="58" y="333"/>
                    <a:pt x="57" y="333"/>
                  </a:cubicBezTo>
                  <a:cubicBezTo>
                    <a:pt x="57" y="333"/>
                    <a:pt x="57" y="337"/>
                    <a:pt x="57" y="337"/>
                  </a:cubicBezTo>
                  <a:cubicBezTo>
                    <a:pt x="57" y="340"/>
                    <a:pt x="57" y="340"/>
                    <a:pt x="57" y="340"/>
                  </a:cubicBezTo>
                  <a:cubicBezTo>
                    <a:pt x="56" y="343"/>
                    <a:pt x="56" y="343"/>
                    <a:pt x="56" y="343"/>
                  </a:cubicBezTo>
                  <a:cubicBezTo>
                    <a:pt x="58" y="346"/>
                    <a:pt x="58" y="346"/>
                    <a:pt x="58" y="346"/>
                  </a:cubicBezTo>
                  <a:cubicBezTo>
                    <a:pt x="58" y="346"/>
                    <a:pt x="58" y="348"/>
                    <a:pt x="58" y="348"/>
                  </a:cubicBezTo>
                  <a:cubicBezTo>
                    <a:pt x="58" y="349"/>
                    <a:pt x="58" y="350"/>
                    <a:pt x="59" y="352"/>
                  </a:cubicBezTo>
                  <a:cubicBezTo>
                    <a:pt x="59" y="353"/>
                    <a:pt x="59" y="353"/>
                    <a:pt x="59" y="353"/>
                  </a:cubicBezTo>
                  <a:cubicBezTo>
                    <a:pt x="59" y="353"/>
                    <a:pt x="62" y="357"/>
                    <a:pt x="63" y="358"/>
                  </a:cubicBezTo>
                  <a:cubicBezTo>
                    <a:pt x="64" y="359"/>
                    <a:pt x="64" y="359"/>
                    <a:pt x="64" y="359"/>
                  </a:cubicBezTo>
                  <a:cubicBezTo>
                    <a:pt x="64" y="359"/>
                    <a:pt x="64" y="361"/>
                    <a:pt x="64" y="362"/>
                  </a:cubicBezTo>
                  <a:cubicBezTo>
                    <a:pt x="63" y="363"/>
                    <a:pt x="65" y="365"/>
                    <a:pt x="65" y="365"/>
                  </a:cubicBezTo>
                  <a:cubicBezTo>
                    <a:pt x="65" y="366"/>
                    <a:pt x="65" y="367"/>
                    <a:pt x="65" y="369"/>
                  </a:cubicBezTo>
                  <a:cubicBezTo>
                    <a:pt x="65" y="371"/>
                    <a:pt x="65" y="371"/>
                    <a:pt x="65" y="371"/>
                  </a:cubicBezTo>
                  <a:cubicBezTo>
                    <a:pt x="65" y="371"/>
                    <a:pt x="66" y="373"/>
                    <a:pt x="66" y="373"/>
                  </a:cubicBezTo>
                  <a:cubicBezTo>
                    <a:pt x="66" y="374"/>
                    <a:pt x="68" y="375"/>
                    <a:pt x="68" y="375"/>
                  </a:cubicBezTo>
                  <a:cubicBezTo>
                    <a:pt x="68" y="375"/>
                    <a:pt x="68" y="377"/>
                    <a:pt x="68" y="377"/>
                  </a:cubicBezTo>
                  <a:cubicBezTo>
                    <a:pt x="68" y="377"/>
                    <a:pt x="69" y="378"/>
                    <a:pt x="71" y="379"/>
                  </a:cubicBezTo>
                  <a:cubicBezTo>
                    <a:pt x="72" y="380"/>
                    <a:pt x="72" y="383"/>
                    <a:pt x="72" y="383"/>
                  </a:cubicBezTo>
                  <a:cubicBezTo>
                    <a:pt x="72" y="383"/>
                    <a:pt x="71" y="386"/>
                    <a:pt x="71" y="387"/>
                  </a:cubicBezTo>
                  <a:cubicBezTo>
                    <a:pt x="71" y="387"/>
                    <a:pt x="71" y="389"/>
                    <a:pt x="72" y="390"/>
                  </a:cubicBezTo>
                  <a:cubicBezTo>
                    <a:pt x="73" y="392"/>
                    <a:pt x="73" y="392"/>
                    <a:pt x="73" y="392"/>
                  </a:cubicBezTo>
                  <a:cubicBezTo>
                    <a:pt x="73" y="392"/>
                    <a:pt x="73" y="393"/>
                    <a:pt x="73" y="393"/>
                  </a:cubicBezTo>
                  <a:cubicBezTo>
                    <a:pt x="73" y="393"/>
                    <a:pt x="73" y="394"/>
                    <a:pt x="72" y="394"/>
                  </a:cubicBezTo>
                  <a:cubicBezTo>
                    <a:pt x="71" y="395"/>
                    <a:pt x="72" y="395"/>
                    <a:pt x="72" y="396"/>
                  </a:cubicBezTo>
                  <a:cubicBezTo>
                    <a:pt x="72" y="397"/>
                    <a:pt x="74" y="397"/>
                    <a:pt x="74" y="398"/>
                  </a:cubicBezTo>
                  <a:cubicBezTo>
                    <a:pt x="74" y="399"/>
                    <a:pt x="73" y="399"/>
                    <a:pt x="73" y="400"/>
                  </a:cubicBezTo>
                  <a:cubicBezTo>
                    <a:pt x="74" y="401"/>
                    <a:pt x="73" y="403"/>
                    <a:pt x="73" y="403"/>
                  </a:cubicBezTo>
                  <a:cubicBezTo>
                    <a:pt x="73" y="403"/>
                    <a:pt x="73" y="403"/>
                    <a:pt x="72" y="404"/>
                  </a:cubicBezTo>
                  <a:cubicBezTo>
                    <a:pt x="70" y="405"/>
                    <a:pt x="72" y="406"/>
                    <a:pt x="72" y="406"/>
                  </a:cubicBezTo>
                  <a:cubicBezTo>
                    <a:pt x="72" y="407"/>
                    <a:pt x="74" y="408"/>
                    <a:pt x="74" y="408"/>
                  </a:cubicBezTo>
                  <a:cubicBezTo>
                    <a:pt x="74" y="408"/>
                    <a:pt x="74" y="409"/>
                    <a:pt x="73" y="410"/>
                  </a:cubicBezTo>
                  <a:cubicBezTo>
                    <a:pt x="72" y="411"/>
                    <a:pt x="72" y="412"/>
                    <a:pt x="72" y="412"/>
                  </a:cubicBezTo>
                  <a:cubicBezTo>
                    <a:pt x="72" y="413"/>
                    <a:pt x="72" y="412"/>
                    <a:pt x="73" y="414"/>
                  </a:cubicBezTo>
                  <a:cubicBezTo>
                    <a:pt x="74" y="415"/>
                    <a:pt x="73" y="415"/>
                    <a:pt x="73" y="415"/>
                  </a:cubicBezTo>
                  <a:cubicBezTo>
                    <a:pt x="73" y="415"/>
                    <a:pt x="74" y="416"/>
                    <a:pt x="74" y="417"/>
                  </a:cubicBezTo>
                  <a:cubicBezTo>
                    <a:pt x="73" y="418"/>
                    <a:pt x="71" y="418"/>
                    <a:pt x="70" y="419"/>
                  </a:cubicBezTo>
                  <a:cubicBezTo>
                    <a:pt x="70" y="419"/>
                    <a:pt x="70" y="421"/>
                    <a:pt x="70" y="421"/>
                  </a:cubicBezTo>
                  <a:cubicBezTo>
                    <a:pt x="70" y="422"/>
                    <a:pt x="73" y="420"/>
                    <a:pt x="74" y="419"/>
                  </a:cubicBezTo>
                  <a:cubicBezTo>
                    <a:pt x="75" y="419"/>
                    <a:pt x="75" y="418"/>
                    <a:pt x="75" y="418"/>
                  </a:cubicBezTo>
                  <a:cubicBezTo>
                    <a:pt x="75" y="418"/>
                    <a:pt x="76" y="419"/>
                    <a:pt x="76" y="420"/>
                  </a:cubicBezTo>
                  <a:cubicBezTo>
                    <a:pt x="76" y="420"/>
                    <a:pt x="75" y="422"/>
                    <a:pt x="75" y="423"/>
                  </a:cubicBezTo>
                  <a:cubicBezTo>
                    <a:pt x="75" y="423"/>
                    <a:pt x="76" y="423"/>
                    <a:pt x="76" y="423"/>
                  </a:cubicBezTo>
                  <a:cubicBezTo>
                    <a:pt x="76" y="423"/>
                    <a:pt x="77" y="423"/>
                    <a:pt x="77" y="424"/>
                  </a:cubicBezTo>
                  <a:cubicBezTo>
                    <a:pt x="78" y="424"/>
                    <a:pt x="77" y="425"/>
                    <a:pt x="76" y="425"/>
                  </a:cubicBezTo>
                  <a:cubicBezTo>
                    <a:pt x="76" y="425"/>
                    <a:pt x="75" y="426"/>
                    <a:pt x="75" y="426"/>
                  </a:cubicBezTo>
                  <a:cubicBezTo>
                    <a:pt x="75" y="426"/>
                    <a:pt x="74" y="428"/>
                    <a:pt x="73" y="428"/>
                  </a:cubicBezTo>
                  <a:cubicBezTo>
                    <a:pt x="73" y="428"/>
                    <a:pt x="75" y="429"/>
                    <a:pt x="75" y="429"/>
                  </a:cubicBezTo>
                  <a:cubicBezTo>
                    <a:pt x="76" y="429"/>
                    <a:pt x="76" y="429"/>
                    <a:pt x="76" y="429"/>
                  </a:cubicBezTo>
                  <a:cubicBezTo>
                    <a:pt x="75" y="430"/>
                    <a:pt x="75" y="430"/>
                    <a:pt x="75" y="430"/>
                  </a:cubicBezTo>
                  <a:cubicBezTo>
                    <a:pt x="75" y="430"/>
                    <a:pt x="74" y="433"/>
                    <a:pt x="74" y="433"/>
                  </a:cubicBezTo>
                  <a:cubicBezTo>
                    <a:pt x="74" y="433"/>
                    <a:pt x="75" y="435"/>
                    <a:pt x="75" y="435"/>
                  </a:cubicBezTo>
                  <a:cubicBezTo>
                    <a:pt x="75" y="435"/>
                    <a:pt x="79" y="435"/>
                    <a:pt x="79" y="434"/>
                  </a:cubicBezTo>
                  <a:cubicBezTo>
                    <a:pt x="80" y="433"/>
                    <a:pt x="80" y="434"/>
                    <a:pt x="80" y="434"/>
                  </a:cubicBezTo>
                  <a:cubicBezTo>
                    <a:pt x="80" y="434"/>
                    <a:pt x="82" y="434"/>
                    <a:pt x="83" y="433"/>
                  </a:cubicBezTo>
                  <a:cubicBezTo>
                    <a:pt x="83" y="433"/>
                    <a:pt x="83" y="433"/>
                    <a:pt x="83" y="432"/>
                  </a:cubicBezTo>
                  <a:cubicBezTo>
                    <a:pt x="84" y="432"/>
                    <a:pt x="85" y="433"/>
                    <a:pt x="85" y="433"/>
                  </a:cubicBezTo>
                  <a:cubicBezTo>
                    <a:pt x="85" y="434"/>
                    <a:pt x="85" y="434"/>
                    <a:pt x="85" y="434"/>
                  </a:cubicBezTo>
                  <a:cubicBezTo>
                    <a:pt x="87" y="434"/>
                    <a:pt x="87" y="434"/>
                    <a:pt x="87" y="434"/>
                  </a:cubicBezTo>
                  <a:cubicBezTo>
                    <a:pt x="87" y="435"/>
                    <a:pt x="87" y="435"/>
                    <a:pt x="87" y="435"/>
                  </a:cubicBezTo>
                  <a:cubicBezTo>
                    <a:pt x="87" y="435"/>
                    <a:pt x="88" y="435"/>
                    <a:pt x="88" y="435"/>
                  </a:cubicBezTo>
                  <a:cubicBezTo>
                    <a:pt x="89" y="435"/>
                    <a:pt x="89" y="436"/>
                    <a:pt x="89" y="436"/>
                  </a:cubicBezTo>
                  <a:cubicBezTo>
                    <a:pt x="89" y="436"/>
                    <a:pt x="89" y="437"/>
                    <a:pt x="89" y="438"/>
                  </a:cubicBezTo>
                  <a:cubicBezTo>
                    <a:pt x="89" y="438"/>
                    <a:pt x="89" y="438"/>
                    <a:pt x="89" y="439"/>
                  </a:cubicBezTo>
                  <a:cubicBezTo>
                    <a:pt x="90" y="439"/>
                    <a:pt x="92" y="439"/>
                    <a:pt x="93" y="439"/>
                  </a:cubicBezTo>
                  <a:cubicBezTo>
                    <a:pt x="94" y="438"/>
                    <a:pt x="94" y="437"/>
                    <a:pt x="94" y="437"/>
                  </a:cubicBezTo>
                  <a:cubicBezTo>
                    <a:pt x="94" y="436"/>
                    <a:pt x="94" y="435"/>
                    <a:pt x="94" y="435"/>
                  </a:cubicBezTo>
                  <a:cubicBezTo>
                    <a:pt x="95" y="435"/>
                    <a:pt x="96" y="435"/>
                    <a:pt x="96" y="435"/>
                  </a:cubicBezTo>
                  <a:cubicBezTo>
                    <a:pt x="96" y="435"/>
                    <a:pt x="95" y="436"/>
                    <a:pt x="95" y="436"/>
                  </a:cubicBezTo>
                  <a:cubicBezTo>
                    <a:pt x="95" y="436"/>
                    <a:pt x="94" y="439"/>
                    <a:pt x="94" y="439"/>
                  </a:cubicBezTo>
                  <a:cubicBezTo>
                    <a:pt x="94" y="440"/>
                    <a:pt x="95" y="440"/>
                    <a:pt x="95" y="441"/>
                  </a:cubicBezTo>
                  <a:cubicBezTo>
                    <a:pt x="95" y="441"/>
                    <a:pt x="98" y="441"/>
                    <a:pt x="98" y="441"/>
                  </a:cubicBezTo>
                  <a:cubicBezTo>
                    <a:pt x="98" y="441"/>
                    <a:pt x="99" y="440"/>
                    <a:pt x="99" y="438"/>
                  </a:cubicBezTo>
                  <a:cubicBezTo>
                    <a:pt x="99" y="437"/>
                    <a:pt x="100" y="439"/>
                    <a:pt x="100" y="439"/>
                  </a:cubicBezTo>
                  <a:cubicBezTo>
                    <a:pt x="101" y="440"/>
                    <a:pt x="101" y="441"/>
                    <a:pt x="100" y="441"/>
                  </a:cubicBezTo>
                  <a:cubicBezTo>
                    <a:pt x="100" y="442"/>
                    <a:pt x="100" y="441"/>
                    <a:pt x="98" y="442"/>
                  </a:cubicBezTo>
                  <a:cubicBezTo>
                    <a:pt x="95" y="442"/>
                    <a:pt x="97" y="443"/>
                    <a:pt x="97" y="444"/>
                  </a:cubicBezTo>
                  <a:cubicBezTo>
                    <a:pt x="97" y="444"/>
                    <a:pt x="99" y="445"/>
                    <a:pt x="102" y="445"/>
                  </a:cubicBezTo>
                  <a:cubicBezTo>
                    <a:pt x="104" y="445"/>
                    <a:pt x="103" y="444"/>
                    <a:pt x="103" y="444"/>
                  </a:cubicBezTo>
                  <a:cubicBezTo>
                    <a:pt x="103" y="443"/>
                    <a:pt x="104" y="441"/>
                    <a:pt x="104" y="441"/>
                  </a:cubicBezTo>
                  <a:cubicBezTo>
                    <a:pt x="104" y="441"/>
                    <a:pt x="105" y="442"/>
                    <a:pt x="105" y="443"/>
                  </a:cubicBezTo>
                  <a:cubicBezTo>
                    <a:pt x="105" y="443"/>
                    <a:pt x="105" y="444"/>
                    <a:pt x="104" y="445"/>
                  </a:cubicBezTo>
                  <a:cubicBezTo>
                    <a:pt x="103" y="446"/>
                    <a:pt x="104" y="447"/>
                    <a:pt x="104" y="447"/>
                  </a:cubicBezTo>
                  <a:cubicBezTo>
                    <a:pt x="104" y="447"/>
                    <a:pt x="104" y="447"/>
                    <a:pt x="104" y="448"/>
                  </a:cubicBezTo>
                  <a:cubicBezTo>
                    <a:pt x="104" y="448"/>
                    <a:pt x="102" y="449"/>
                    <a:pt x="102" y="450"/>
                  </a:cubicBezTo>
                  <a:cubicBezTo>
                    <a:pt x="102" y="450"/>
                    <a:pt x="102" y="451"/>
                    <a:pt x="103" y="452"/>
                  </a:cubicBezTo>
                  <a:cubicBezTo>
                    <a:pt x="104" y="453"/>
                    <a:pt x="103" y="452"/>
                    <a:pt x="103" y="453"/>
                  </a:cubicBezTo>
                  <a:cubicBezTo>
                    <a:pt x="103" y="453"/>
                    <a:pt x="102" y="454"/>
                    <a:pt x="102" y="455"/>
                  </a:cubicBezTo>
                  <a:cubicBezTo>
                    <a:pt x="102" y="455"/>
                    <a:pt x="103" y="455"/>
                    <a:pt x="103" y="455"/>
                  </a:cubicBezTo>
                  <a:cubicBezTo>
                    <a:pt x="104" y="454"/>
                    <a:pt x="104" y="454"/>
                    <a:pt x="104" y="454"/>
                  </a:cubicBezTo>
                  <a:cubicBezTo>
                    <a:pt x="104" y="454"/>
                    <a:pt x="105" y="454"/>
                    <a:pt x="107" y="454"/>
                  </a:cubicBezTo>
                  <a:cubicBezTo>
                    <a:pt x="108" y="453"/>
                    <a:pt x="108" y="453"/>
                    <a:pt x="108" y="453"/>
                  </a:cubicBezTo>
                  <a:cubicBezTo>
                    <a:pt x="108" y="453"/>
                    <a:pt x="106" y="452"/>
                    <a:pt x="106" y="451"/>
                  </a:cubicBezTo>
                  <a:cubicBezTo>
                    <a:pt x="106" y="450"/>
                    <a:pt x="107" y="450"/>
                    <a:pt x="107" y="450"/>
                  </a:cubicBezTo>
                  <a:cubicBezTo>
                    <a:pt x="107" y="450"/>
                    <a:pt x="110" y="450"/>
                    <a:pt x="110" y="450"/>
                  </a:cubicBezTo>
                  <a:cubicBezTo>
                    <a:pt x="111" y="449"/>
                    <a:pt x="110" y="450"/>
                    <a:pt x="113" y="449"/>
                  </a:cubicBezTo>
                  <a:cubicBezTo>
                    <a:pt x="115" y="449"/>
                    <a:pt x="113" y="448"/>
                    <a:pt x="113" y="447"/>
                  </a:cubicBezTo>
                  <a:cubicBezTo>
                    <a:pt x="113" y="447"/>
                    <a:pt x="113" y="445"/>
                    <a:pt x="113" y="445"/>
                  </a:cubicBezTo>
                  <a:cubicBezTo>
                    <a:pt x="113" y="445"/>
                    <a:pt x="113" y="446"/>
                    <a:pt x="116" y="448"/>
                  </a:cubicBezTo>
                  <a:cubicBezTo>
                    <a:pt x="118" y="450"/>
                    <a:pt x="116" y="448"/>
                    <a:pt x="116" y="448"/>
                  </a:cubicBezTo>
                  <a:cubicBezTo>
                    <a:pt x="116" y="448"/>
                    <a:pt x="116" y="450"/>
                    <a:pt x="115" y="450"/>
                  </a:cubicBezTo>
                  <a:cubicBezTo>
                    <a:pt x="114" y="451"/>
                    <a:pt x="114" y="451"/>
                    <a:pt x="113" y="452"/>
                  </a:cubicBezTo>
                  <a:cubicBezTo>
                    <a:pt x="112" y="453"/>
                    <a:pt x="113" y="453"/>
                    <a:pt x="113" y="453"/>
                  </a:cubicBezTo>
                  <a:cubicBezTo>
                    <a:pt x="114" y="453"/>
                    <a:pt x="114" y="453"/>
                    <a:pt x="116" y="453"/>
                  </a:cubicBezTo>
                  <a:cubicBezTo>
                    <a:pt x="118" y="453"/>
                    <a:pt x="118" y="452"/>
                    <a:pt x="118" y="452"/>
                  </a:cubicBezTo>
                  <a:cubicBezTo>
                    <a:pt x="118" y="452"/>
                    <a:pt x="118" y="453"/>
                    <a:pt x="119" y="453"/>
                  </a:cubicBezTo>
                  <a:cubicBezTo>
                    <a:pt x="120" y="454"/>
                    <a:pt x="119" y="455"/>
                    <a:pt x="119" y="455"/>
                  </a:cubicBezTo>
                  <a:cubicBezTo>
                    <a:pt x="119" y="455"/>
                    <a:pt x="118" y="455"/>
                    <a:pt x="117" y="455"/>
                  </a:cubicBezTo>
                  <a:cubicBezTo>
                    <a:pt x="117" y="456"/>
                    <a:pt x="118" y="456"/>
                    <a:pt x="118" y="456"/>
                  </a:cubicBezTo>
                  <a:cubicBezTo>
                    <a:pt x="119" y="456"/>
                    <a:pt x="120" y="456"/>
                    <a:pt x="120" y="456"/>
                  </a:cubicBezTo>
                  <a:cubicBezTo>
                    <a:pt x="121" y="456"/>
                    <a:pt x="122" y="456"/>
                    <a:pt x="122" y="455"/>
                  </a:cubicBezTo>
                  <a:cubicBezTo>
                    <a:pt x="122" y="455"/>
                    <a:pt x="123" y="454"/>
                    <a:pt x="123" y="454"/>
                  </a:cubicBezTo>
                  <a:cubicBezTo>
                    <a:pt x="124" y="453"/>
                    <a:pt x="124" y="453"/>
                    <a:pt x="124" y="452"/>
                  </a:cubicBezTo>
                  <a:cubicBezTo>
                    <a:pt x="124" y="451"/>
                    <a:pt x="124" y="451"/>
                    <a:pt x="124" y="451"/>
                  </a:cubicBezTo>
                  <a:cubicBezTo>
                    <a:pt x="124" y="451"/>
                    <a:pt x="124" y="450"/>
                    <a:pt x="124" y="449"/>
                  </a:cubicBezTo>
                  <a:cubicBezTo>
                    <a:pt x="125" y="448"/>
                    <a:pt x="126" y="450"/>
                    <a:pt x="126" y="450"/>
                  </a:cubicBezTo>
                  <a:cubicBezTo>
                    <a:pt x="125" y="451"/>
                    <a:pt x="125" y="451"/>
                    <a:pt x="125" y="451"/>
                  </a:cubicBezTo>
                  <a:cubicBezTo>
                    <a:pt x="127" y="452"/>
                    <a:pt x="127" y="452"/>
                    <a:pt x="127" y="452"/>
                  </a:cubicBezTo>
                  <a:cubicBezTo>
                    <a:pt x="127" y="452"/>
                    <a:pt x="127" y="452"/>
                    <a:pt x="128" y="452"/>
                  </a:cubicBezTo>
                  <a:cubicBezTo>
                    <a:pt x="130" y="451"/>
                    <a:pt x="129" y="451"/>
                    <a:pt x="129" y="451"/>
                  </a:cubicBezTo>
                  <a:cubicBezTo>
                    <a:pt x="130" y="450"/>
                    <a:pt x="131" y="449"/>
                    <a:pt x="131" y="449"/>
                  </a:cubicBezTo>
                  <a:cubicBezTo>
                    <a:pt x="131" y="449"/>
                    <a:pt x="134" y="449"/>
                    <a:pt x="135" y="448"/>
                  </a:cubicBezTo>
                  <a:cubicBezTo>
                    <a:pt x="137" y="448"/>
                    <a:pt x="135" y="448"/>
                    <a:pt x="135" y="447"/>
                  </a:cubicBezTo>
                  <a:cubicBezTo>
                    <a:pt x="135" y="446"/>
                    <a:pt x="136" y="445"/>
                    <a:pt x="137" y="444"/>
                  </a:cubicBezTo>
                  <a:cubicBezTo>
                    <a:pt x="137" y="444"/>
                    <a:pt x="139" y="444"/>
                    <a:pt x="139" y="443"/>
                  </a:cubicBezTo>
                  <a:cubicBezTo>
                    <a:pt x="140" y="443"/>
                    <a:pt x="141" y="443"/>
                    <a:pt x="141" y="443"/>
                  </a:cubicBezTo>
                  <a:cubicBezTo>
                    <a:pt x="142" y="442"/>
                    <a:pt x="142" y="441"/>
                    <a:pt x="143" y="441"/>
                  </a:cubicBezTo>
                  <a:cubicBezTo>
                    <a:pt x="143" y="440"/>
                    <a:pt x="145" y="440"/>
                    <a:pt x="145" y="440"/>
                  </a:cubicBezTo>
                  <a:cubicBezTo>
                    <a:pt x="145" y="440"/>
                    <a:pt x="146" y="442"/>
                    <a:pt x="147" y="442"/>
                  </a:cubicBezTo>
                  <a:cubicBezTo>
                    <a:pt x="148" y="443"/>
                    <a:pt x="149" y="442"/>
                    <a:pt x="149" y="442"/>
                  </a:cubicBezTo>
                  <a:cubicBezTo>
                    <a:pt x="149" y="442"/>
                    <a:pt x="151" y="441"/>
                    <a:pt x="151" y="441"/>
                  </a:cubicBezTo>
                  <a:cubicBezTo>
                    <a:pt x="152" y="440"/>
                    <a:pt x="153" y="439"/>
                    <a:pt x="153" y="439"/>
                  </a:cubicBezTo>
                  <a:cubicBezTo>
                    <a:pt x="153" y="439"/>
                    <a:pt x="154" y="438"/>
                    <a:pt x="154" y="437"/>
                  </a:cubicBezTo>
                  <a:cubicBezTo>
                    <a:pt x="154" y="437"/>
                    <a:pt x="154" y="436"/>
                    <a:pt x="155" y="436"/>
                  </a:cubicBezTo>
                  <a:cubicBezTo>
                    <a:pt x="155" y="436"/>
                    <a:pt x="156" y="436"/>
                    <a:pt x="156" y="436"/>
                  </a:cubicBezTo>
                  <a:cubicBezTo>
                    <a:pt x="156" y="436"/>
                    <a:pt x="158" y="435"/>
                    <a:pt x="158" y="435"/>
                  </a:cubicBezTo>
                  <a:cubicBezTo>
                    <a:pt x="158" y="434"/>
                    <a:pt x="159" y="432"/>
                    <a:pt x="159" y="432"/>
                  </a:cubicBezTo>
                  <a:cubicBezTo>
                    <a:pt x="159" y="432"/>
                    <a:pt x="160" y="434"/>
                    <a:pt x="161" y="434"/>
                  </a:cubicBezTo>
                  <a:cubicBezTo>
                    <a:pt x="161" y="434"/>
                    <a:pt x="167" y="428"/>
                    <a:pt x="167" y="428"/>
                  </a:cubicBezTo>
                  <a:cubicBezTo>
                    <a:pt x="167" y="428"/>
                    <a:pt x="167" y="427"/>
                    <a:pt x="167" y="426"/>
                  </a:cubicBezTo>
                  <a:cubicBezTo>
                    <a:pt x="167" y="426"/>
                    <a:pt x="168" y="424"/>
                    <a:pt x="169" y="424"/>
                  </a:cubicBezTo>
                  <a:cubicBezTo>
                    <a:pt x="169" y="424"/>
                    <a:pt x="171" y="425"/>
                    <a:pt x="171" y="425"/>
                  </a:cubicBezTo>
                  <a:cubicBezTo>
                    <a:pt x="171" y="425"/>
                    <a:pt x="172" y="425"/>
                    <a:pt x="173" y="424"/>
                  </a:cubicBezTo>
                  <a:cubicBezTo>
                    <a:pt x="173" y="424"/>
                    <a:pt x="173" y="422"/>
                    <a:pt x="173" y="422"/>
                  </a:cubicBezTo>
                  <a:cubicBezTo>
                    <a:pt x="173" y="422"/>
                    <a:pt x="175" y="422"/>
                    <a:pt x="175" y="421"/>
                  </a:cubicBezTo>
                  <a:cubicBezTo>
                    <a:pt x="176" y="421"/>
                    <a:pt x="176" y="420"/>
                    <a:pt x="176" y="420"/>
                  </a:cubicBezTo>
                  <a:cubicBezTo>
                    <a:pt x="176" y="419"/>
                    <a:pt x="175" y="416"/>
                    <a:pt x="175" y="416"/>
                  </a:cubicBezTo>
                  <a:cubicBezTo>
                    <a:pt x="175" y="416"/>
                    <a:pt x="176" y="416"/>
                    <a:pt x="177" y="416"/>
                  </a:cubicBezTo>
                  <a:cubicBezTo>
                    <a:pt x="178" y="416"/>
                    <a:pt x="179" y="417"/>
                    <a:pt x="180" y="417"/>
                  </a:cubicBezTo>
                  <a:cubicBezTo>
                    <a:pt x="181" y="418"/>
                    <a:pt x="183" y="415"/>
                    <a:pt x="183" y="415"/>
                  </a:cubicBezTo>
                  <a:cubicBezTo>
                    <a:pt x="183" y="414"/>
                    <a:pt x="183" y="412"/>
                    <a:pt x="183" y="412"/>
                  </a:cubicBezTo>
                  <a:cubicBezTo>
                    <a:pt x="183" y="412"/>
                    <a:pt x="184" y="413"/>
                    <a:pt x="185" y="413"/>
                  </a:cubicBezTo>
                  <a:cubicBezTo>
                    <a:pt x="186" y="414"/>
                    <a:pt x="188" y="414"/>
                    <a:pt x="188" y="414"/>
                  </a:cubicBezTo>
                  <a:cubicBezTo>
                    <a:pt x="189" y="414"/>
                    <a:pt x="189" y="413"/>
                    <a:pt x="189" y="413"/>
                  </a:cubicBezTo>
                  <a:cubicBezTo>
                    <a:pt x="189" y="413"/>
                    <a:pt x="191" y="412"/>
                    <a:pt x="191" y="412"/>
                  </a:cubicBezTo>
                  <a:cubicBezTo>
                    <a:pt x="191" y="412"/>
                    <a:pt x="192" y="411"/>
                    <a:pt x="193" y="410"/>
                  </a:cubicBezTo>
                  <a:cubicBezTo>
                    <a:pt x="194" y="410"/>
                    <a:pt x="195" y="409"/>
                    <a:pt x="195" y="408"/>
                  </a:cubicBezTo>
                  <a:cubicBezTo>
                    <a:pt x="195" y="408"/>
                    <a:pt x="196" y="407"/>
                    <a:pt x="196" y="406"/>
                  </a:cubicBezTo>
                  <a:cubicBezTo>
                    <a:pt x="196" y="406"/>
                    <a:pt x="199" y="405"/>
                    <a:pt x="199" y="405"/>
                  </a:cubicBezTo>
                  <a:cubicBezTo>
                    <a:pt x="201" y="406"/>
                    <a:pt x="201" y="406"/>
                    <a:pt x="201" y="406"/>
                  </a:cubicBezTo>
                  <a:cubicBezTo>
                    <a:pt x="205" y="407"/>
                    <a:pt x="205" y="407"/>
                    <a:pt x="205" y="407"/>
                  </a:cubicBezTo>
                  <a:cubicBezTo>
                    <a:pt x="205" y="407"/>
                    <a:pt x="207" y="406"/>
                    <a:pt x="207" y="406"/>
                  </a:cubicBezTo>
                  <a:cubicBezTo>
                    <a:pt x="207" y="406"/>
                    <a:pt x="207" y="406"/>
                    <a:pt x="208" y="406"/>
                  </a:cubicBezTo>
                  <a:lnTo>
                    <a:pt x="207" y="405"/>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8" name="Freeform 216"/>
            <p:cNvSpPr>
              <a:spLocks/>
            </p:cNvSpPr>
            <p:nvPr/>
          </p:nvSpPr>
          <p:spPr bwMode="auto">
            <a:xfrm>
              <a:off x="6200366" y="3014437"/>
              <a:ext cx="11553" cy="10893"/>
            </a:xfrm>
            <a:custGeom>
              <a:avLst/>
              <a:gdLst>
                <a:gd name="T0" fmla="*/ 1 w 4"/>
                <a:gd name="T1" fmla="*/ 1 h 4"/>
                <a:gd name="T2" fmla="*/ 0 w 4"/>
                <a:gd name="T3" fmla="*/ 2 h 4"/>
                <a:gd name="T4" fmla="*/ 0 w 4"/>
                <a:gd name="T5" fmla="*/ 3 h 4"/>
                <a:gd name="T6" fmla="*/ 1 w 4"/>
                <a:gd name="T7" fmla="*/ 4 h 4"/>
                <a:gd name="T8" fmla="*/ 3 w 4"/>
                <a:gd name="T9" fmla="*/ 2 h 4"/>
                <a:gd name="T10" fmla="*/ 2 w 4"/>
                <a:gd name="T11" fmla="*/ 1 h 4"/>
                <a:gd name="T12" fmla="*/ 1 w 4"/>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1" y="1"/>
                  </a:moveTo>
                  <a:cubicBezTo>
                    <a:pt x="1" y="1"/>
                    <a:pt x="0" y="2"/>
                    <a:pt x="0" y="2"/>
                  </a:cubicBezTo>
                  <a:cubicBezTo>
                    <a:pt x="0" y="2"/>
                    <a:pt x="0" y="3"/>
                    <a:pt x="0" y="3"/>
                  </a:cubicBezTo>
                  <a:cubicBezTo>
                    <a:pt x="0" y="4"/>
                    <a:pt x="1" y="4"/>
                    <a:pt x="1" y="4"/>
                  </a:cubicBezTo>
                  <a:cubicBezTo>
                    <a:pt x="2" y="4"/>
                    <a:pt x="2" y="3"/>
                    <a:pt x="3" y="2"/>
                  </a:cubicBezTo>
                  <a:cubicBezTo>
                    <a:pt x="4" y="2"/>
                    <a:pt x="3" y="1"/>
                    <a:pt x="2" y="1"/>
                  </a:cubicBezTo>
                  <a:cubicBezTo>
                    <a:pt x="2" y="0"/>
                    <a:pt x="2" y="1"/>
                    <a:pt x="1" y="1"/>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9" name="Freeform 217"/>
            <p:cNvSpPr>
              <a:spLocks/>
            </p:cNvSpPr>
            <p:nvPr/>
          </p:nvSpPr>
          <p:spPr bwMode="auto">
            <a:xfrm>
              <a:off x="6229248" y="3017161"/>
              <a:ext cx="17330" cy="8170"/>
            </a:xfrm>
            <a:custGeom>
              <a:avLst/>
              <a:gdLst>
                <a:gd name="T0" fmla="*/ 4 w 6"/>
                <a:gd name="T1" fmla="*/ 1 h 3"/>
                <a:gd name="T2" fmla="*/ 3 w 6"/>
                <a:gd name="T3" fmla="*/ 0 h 3"/>
                <a:gd name="T4" fmla="*/ 0 w 6"/>
                <a:gd name="T5" fmla="*/ 1 h 3"/>
                <a:gd name="T6" fmla="*/ 0 w 6"/>
                <a:gd name="T7" fmla="*/ 2 h 3"/>
                <a:gd name="T8" fmla="*/ 2 w 6"/>
                <a:gd name="T9" fmla="*/ 3 h 3"/>
                <a:gd name="T10" fmla="*/ 5 w 6"/>
                <a:gd name="T11" fmla="*/ 1 h 3"/>
                <a:gd name="T12" fmla="*/ 4 w 6"/>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4" y="1"/>
                  </a:moveTo>
                  <a:cubicBezTo>
                    <a:pt x="3" y="0"/>
                    <a:pt x="3" y="0"/>
                    <a:pt x="3" y="0"/>
                  </a:cubicBezTo>
                  <a:cubicBezTo>
                    <a:pt x="3" y="0"/>
                    <a:pt x="1" y="1"/>
                    <a:pt x="0" y="1"/>
                  </a:cubicBezTo>
                  <a:cubicBezTo>
                    <a:pt x="0" y="1"/>
                    <a:pt x="0" y="2"/>
                    <a:pt x="0" y="2"/>
                  </a:cubicBezTo>
                  <a:cubicBezTo>
                    <a:pt x="0" y="2"/>
                    <a:pt x="1" y="3"/>
                    <a:pt x="2" y="3"/>
                  </a:cubicBezTo>
                  <a:cubicBezTo>
                    <a:pt x="2" y="3"/>
                    <a:pt x="4" y="2"/>
                    <a:pt x="5" y="1"/>
                  </a:cubicBezTo>
                  <a:cubicBezTo>
                    <a:pt x="6" y="1"/>
                    <a:pt x="4" y="1"/>
                    <a:pt x="4" y="1"/>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0" name="Freeform 218"/>
            <p:cNvSpPr>
              <a:spLocks/>
            </p:cNvSpPr>
            <p:nvPr/>
          </p:nvSpPr>
          <p:spPr bwMode="auto">
            <a:xfrm>
              <a:off x="6102164" y="2951803"/>
              <a:ext cx="11553" cy="27232"/>
            </a:xfrm>
            <a:custGeom>
              <a:avLst/>
              <a:gdLst>
                <a:gd name="T0" fmla="*/ 1 w 4"/>
                <a:gd name="T1" fmla="*/ 3 h 10"/>
                <a:gd name="T2" fmla="*/ 2 w 4"/>
                <a:gd name="T3" fmla="*/ 5 h 10"/>
                <a:gd name="T4" fmla="*/ 1 w 4"/>
                <a:gd name="T5" fmla="*/ 7 h 10"/>
                <a:gd name="T6" fmla="*/ 4 w 4"/>
                <a:gd name="T7" fmla="*/ 5 h 10"/>
                <a:gd name="T8" fmla="*/ 3 w 4"/>
                <a:gd name="T9" fmla="*/ 2 h 10"/>
                <a:gd name="T10" fmla="*/ 1 w 4"/>
                <a:gd name="T11" fmla="*/ 3 h 10"/>
              </a:gdLst>
              <a:ahLst/>
              <a:cxnLst>
                <a:cxn ang="0">
                  <a:pos x="T0" y="T1"/>
                </a:cxn>
                <a:cxn ang="0">
                  <a:pos x="T2" y="T3"/>
                </a:cxn>
                <a:cxn ang="0">
                  <a:pos x="T4" y="T5"/>
                </a:cxn>
                <a:cxn ang="0">
                  <a:pos x="T6" y="T7"/>
                </a:cxn>
                <a:cxn ang="0">
                  <a:pos x="T8" y="T9"/>
                </a:cxn>
                <a:cxn ang="0">
                  <a:pos x="T10" y="T11"/>
                </a:cxn>
              </a:cxnLst>
              <a:rect l="0" t="0" r="r" b="b"/>
              <a:pathLst>
                <a:path w="4" h="10">
                  <a:moveTo>
                    <a:pt x="1" y="3"/>
                  </a:moveTo>
                  <a:cubicBezTo>
                    <a:pt x="0" y="4"/>
                    <a:pt x="1" y="5"/>
                    <a:pt x="2" y="5"/>
                  </a:cubicBezTo>
                  <a:cubicBezTo>
                    <a:pt x="2" y="6"/>
                    <a:pt x="1" y="5"/>
                    <a:pt x="1" y="7"/>
                  </a:cubicBezTo>
                  <a:cubicBezTo>
                    <a:pt x="0" y="10"/>
                    <a:pt x="4" y="8"/>
                    <a:pt x="4" y="5"/>
                  </a:cubicBezTo>
                  <a:cubicBezTo>
                    <a:pt x="4" y="4"/>
                    <a:pt x="4" y="4"/>
                    <a:pt x="3" y="2"/>
                  </a:cubicBezTo>
                  <a:cubicBezTo>
                    <a:pt x="1" y="0"/>
                    <a:pt x="2" y="2"/>
                    <a:pt x="1" y="3"/>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1" name="Freeform 219"/>
            <p:cNvSpPr>
              <a:spLocks/>
            </p:cNvSpPr>
            <p:nvPr/>
          </p:nvSpPr>
          <p:spPr bwMode="auto">
            <a:xfrm>
              <a:off x="6139711" y="2984482"/>
              <a:ext cx="37547" cy="19062"/>
            </a:xfrm>
            <a:custGeom>
              <a:avLst/>
              <a:gdLst>
                <a:gd name="T0" fmla="*/ 9 w 13"/>
                <a:gd name="T1" fmla="*/ 1 h 7"/>
                <a:gd name="T2" fmla="*/ 7 w 13"/>
                <a:gd name="T3" fmla="*/ 0 h 7"/>
                <a:gd name="T4" fmla="*/ 5 w 13"/>
                <a:gd name="T5" fmla="*/ 0 h 7"/>
                <a:gd name="T6" fmla="*/ 4 w 13"/>
                <a:gd name="T7" fmla="*/ 2 h 7"/>
                <a:gd name="T8" fmla="*/ 3 w 13"/>
                <a:gd name="T9" fmla="*/ 2 h 7"/>
                <a:gd name="T10" fmla="*/ 1 w 13"/>
                <a:gd name="T11" fmla="*/ 1 h 7"/>
                <a:gd name="T12" fmla="*/ 1 w 13"/>
                <a:gd name="T13" fmla="*/ 3 h 7"/>
                <a:gd name="T14" fmla="*/ 1 w 13"/>
                <a:gd name="T15" fmla="*/ 4 h 7"/>
                <a:gd name="T16" fmla="*/ 1 w 13"/>
                <a:gd name="T17" fmla="*/ 6 h 7"/>
                <a:gd name="T18" fmla="*/ 2 w 13"/>
                <a:gd name="T19" fmla="*/ 7 h 7"/>
                <a:gd name="T20" fmla="*/ 4 w 13"/>
                <a:gd name="T21" fmla="*/ 6 h 7"/>
                <a:gd name="T22" fmla="*/ 7 w 13"/>
                <a:gd name="T23" fmla="*/ 4 h 7"/>
                <a:gd name="T24" fmla="*/ 8 w 13"/>
                <a:gd name="T25" fmla="*/ 2 h 7"/>
                <a:gd name="T26" fmla="*/ 12 w 13"/>
                <a:gd name="T27" fmla="*/ 3 h 7"/>
                <a:gd name="T28" fmla="*/ 11 w 13"/>
                <a:gd name="T29" fmla="*/ 1 h 7"/>
                <a:gd name="T30" fmla="*/ 9 w 13"/>
                <a:gd name="T31"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7">
                  <a:moveTo>
                    <a:pt x="9" y="1"/>
                  </a:moveTo>
                  <a:cubicBezTo>
                    <a:pt x="9" y="1"/>
                    <a:pt x="8" y="0"/>
                    <a:pt x="7" y="0"/>
                  </a:cubicBezTo>
                  <a:cubicBezTo>
                    <a:pt x="6" y="0"/>
                    <a:pt x="6" y="0"/>
                    <a:pt x="5" y="0"/>
                  </a:cubicBezTo>
                  <a:cubicBezTo>
                    <a:pt x="5" y="0"/>
                    <a:pt x="5" y="2"/>
                    <a:pt x="4" y="2"/>
                  </a:cubicBezTo>
                  <a:cubicBezTo>
                    <a:pt x="3" y="3"/>
                    <a:pt x="3" y="2"/>
                    <a:pt x="3" y="2"/>
                  </a:cubicBezTo>
                  <a:cubicBezTo>
                    <a:pt x="3" y="1"/>
                    <a:pt x="1" y="1"/>
                    <a:pt x="1" y="1"/>
                  </a:cubicBezTo>
                  <a:cubicBezTo>
                    <a:pt x="1" y="1"/>
                    <a:pt x="1" y="3"/>
                    <a:pt x="1" y="3"/>
                  </a:cubicBezTo>
                  <a:cubicBezTo>
                    <a:pt x="1" y="4"/>
                    <a:pt x="1" y="4"/>
                    <a:pt x="1" y="4"/>
                  </a:cubicBezTo>
                  <a:cubicBezTo>
                    <a:pt x="1" y="4"/>
                    <a:pt x="0" y="5"/>
                    <a:pt x="1" y="6"/>
                  </a:cubicBezTo>
                  <a:cubicBezTo>
                    <a:pt x="1" y="7"/>
                    <a:pt x="2" y="7"/>
                    <a:pt x="2" y="7"/>
                  </a:cubicBezTo>
                  <a:cubicBezTo>
                    <a:pt x="2" y="7"/>
                    <a:pt x="3" y="7"/>
                    <a:pt x="4" y="6"/>
                  </a:cubicBezTo>
                  <a:cubicBezTo>
                    <a:pt x="5" y="6"/>
                    <a:pt x="6" y="5"/>
                    <a:pt x="7" y="4"/>
                  </a:cubicBezTo>
                  <a:cubicBezTo>
                    <a:pt x="7" y="4"/>
                    <a:pt x="8" y="3"/>
                    <a:pt x="8" y="2"/>
                  </a:cubicBezTo>
                  <a:cubicBezTo>
                    <a:pt x="9" y="2"/>
                    <a:pt x="12" y="3"/>
                    <a:pt x="12" y="3"/>
                  </a:cubicBezTo>
                  <a:cubicBezTo>
                    <a:pt x="13" y="3"/>
                    <a:pt x="12" y="1"/>
                    <a:pt x="11" y="1"/>
                  </a:cubicBezTo>
                  <a:cubicBezTo>
                    <a:pt x="11" y="0"/>
                    <a:pt x="9" y="1"/>
                    <a:pt x="9" y="1"/>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2" name="Freeform 220"/>
            <p:cNvSpPr>
              <a:spLocks/>
            </p:cNvSpPr>
            <p:nvPr/>
          </p:nvSpPr>
          <p:spPr bwMode="auto">
            <a:xfrm>
              <a:off x="6125270" y="2987205"/>
              <a:ext cx="14441" cy="8170"/>
            </a:xfrm>
            <a:custGeom>
              <a:avLst/>
              <a:gdLst>
                <a:gd name="T0" fmla="*/ 3 w 5"/>
                <a:gd name="T1" fmla="*/ 1 h 3"/>
                <a:gd name="T2" fmla="*/ 1 w 5"/>
                <a:gd name="T3" fmla="*/ 0 h 3"/>
                <a:gd name="T4" fmla="*/ 0 w 5"/>
                <a:gd name="T5" fmla="*/ 2 h 3"/>
                <a:gd name="T6" fmla="*/ 3 w 5"/>
                <a:gd name="T7" fmla="*/ 3 h 3"/>
                <a:gd name="T8" fmla="*/ 4 w 5"/>
                <a:gd name="T9" fmla="*/ 1 h 3"/>
                <a:gd name="T10" fmla="*/ 3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3" y="1"/>
                  </a:moveTo>
                  <a:cubicBezTo>
                    <a:pt x="2" y="1"/>
                    <a:pt x="2" y="0"/>
                    <a:pt x="1" y="0"/>
                  </a:cubicBezTo>
                  <a:cubicBezTo>
                    <a:pt x="0" y="1"/>
                    <a:pt x="0" y="2"/>
                    <a:pt x="0" y="2"/>
                  </a:cubicBezTo>
                  <a:cubicBezTo>
                    <a:pt x="0" y="2"/>
                    <a:pt x="2" y="3"/>
                    <a:pt x="3" y="3"/>
                  </a:cubicBezTo>
                  <a:cubicBezTo>
                    <a:pt x="5" y="3"/>
                    <a:pt x="4" y="2"/>
                    <a:pt x="4" y="1"/>
                  </a:cubicBezTo>
                  <a:cubicBezTo>
                    <a:pt x="4" y="0"/>
                    <a:pt x="4" y="1"/>
                    <a:pt x="3" y="1"/>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3" name="Freeform 221"/>
            <p:cNvSpPr>
              <a:spLocks/>
            </p:cNvSpPr>
            <p:nvPr/>
          </p:nvSpPr>
          <p:spPr bwMode="auto">
            <a:xfrm>
              <a:off x="9608551" y="2998098"/>
              <a:ext cx="95314" cy="72166"/>
            </a:xfrm>
            <a:custGeom>
              <a:avLst/>
              <a:gdLst>
                <a:gd name="T0" fmla="*/ 22 w 33"/>
                <a:gd name="T1" fmla="*/ 4 h 26"/>
                <a:gd name="T2" fmla="*/ 21 w 33"/>
                <a:gd name="T3" fmla="*/ 4 h 26"/>
                <a:gd name="T4" fmla="*/ 19 w 33"/>
                <a:gd name="T5" fmla="*/ 4 h 26"/>
                <a:gd name="T6" fmla="*/ 11 w 33"/>
                <a:gd name="T7" fmla="*/ 4 h 26"/>
                <a:gd name="T8" fmla="*/ 0 w 33"/>
                <a:gd name="T9" fmla="*/ 5 h 26"/>
                <a:gd name="T10" fmla="*/ 4 w 33"/>
                <a:gd name="T11" fmla="*/ 9 h 26"/>
                <a:gd name="T12" fmla="*/ 4 w 33"/>
                <a:gd name="T13" fmla="*/ 9 h 26"/>
                <a:gd name="T14" fmla="*/ 5 w 33"/>
                <a:gd name="T15" fmla="*/ 10 h 26"/>
                <a:gd name="T16" fmla="*/ 16 w 33"/>
                <a:gd name="T17" fmla="*/ 20 h 26"/>
                <a:gd name="T18" fmla="*/ 15 w 33"/>
                <a:gd name="T19" fmla="*/ 25 h 26"/>
                <a:gd name="T20" fmla="*/ 19 w 33"/>
                <a:gd name="T21" fmla="*/ 26 h 26"/>
                <a:gd name="T22" fmla="*/ 33 w 33"/>
                <a:gd name="T23" fmla="*/ 25 h 26"/>
                <a:gd name="T24" fmla="*/ 33 w 33"/>
                <a:gd name="T25" fmla="*/ 0 h 26"/>
                <a:gd name="T26" fmla="*/ 22 w 33"/>
                <a:gd name="T27"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6">
                  <a:moveTo>
                    <a:pt x="22" y="4"/>
                  </a:moveTo>
                  <a:cubicBezTo>
                    <a:pt x="21" y="4"/>
                    <a:pt x="21" y="4"/>
                    <a:pt x="21" y="4"/>
                  </a:cubicBezTo>
                  <a:cubicBezTo>
                    <a:pt x="20" y="4"/>
                    <a:pt x="20" y="4"/>
                    <a:pt x="19" y="4"/>
                  </a:cubicBezTo>
                  <a:cubicBezTo>
                    <a:pt x="16" y="4"/>
                    <a:pt x="13" y="4"/>
                    <a:pt x="11" y="4"/>
                  </a:cubicBezTo>
                  <a:cubicBezTo>
                    <a:pt x="2" y="4"/>
                    <a:pt x="1" y="5"/>
                    <a:pt x="0" y="5"/>
                  </a:cubicBezTo>
                  <a:cubicBezTo>
                    <a:pt x="0" y="8"/>
                    <a:pt x="3" y="9"/>
                    <a:pt x="4" y="9"/>
                  </a:cubicBezTo>
                  <a:cubicBezTo>
                    <a:pt x="4" y="9"/>
                    <a:pt x="4" y="9"/>
                    <a:pt x="4" y="9"/>
                  </a:cubicBezTo>
                  <a:cubicBezTo>
                    <a:pt x="5" y="10"/>
                    <a:pt x="5" y="10"/>
                    <a:pt x="5" y="10"/>
                  </a:cubicBezTo>
                  <a:cubicBezTo>
                    <a:pt x="16" y="20"/>
                    <a:pt x="16" y="20"/>
                    <a:pt x="16" y="20"/>
                  </a:cubicBezTo>
                  <a:cubicBezTo>
                    <a:pt x="15" y="25"/>
                    <a:pt x="15" y="25"/>
                    <a:pt x="15" y="25"/>
                  </a:cubicBezTo>
                  <a:cubicBezTo>
                    <a:pt x="19" y="26"/>
                    <a:pt x="19" y="26"/>
                    <a:pt x="19" y="26"/>
                  </a:cubicBezTo>
                  <a:cubicBezTo>
                    <a:pt x="33" y="25"/>
                    <a:pt x="33" y="25"/>
                    <a:pt x="33" y="25"/>
                  </a:cubicBezTo>
                  <a:cubicBezTo>
                    <a:pt x="33" y="0"/>
                    <a:pt x="33" y="0"/>
                    <a:pt x="33" y="0"/>
                  </a:cubicBezTo>
                  <a:lnTo>
                    <a:pt x="22" y="4"/>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4" name="Freeform 222"/>
            <p:cNvSpPr>
              <a:spLocks/>
            </p:cNvSpPr>
            <p:nvPr/>
          </p:nvSpPr>
          <p:spPr bwMode="auto">
            <a:xfrm>
              <a:off x="9631657" y="3108388"/>
              <a:ext cx="72208" cy="130713"/>
            </a:xfrm>
            <a:custGeom>
              <a:avLst/>
              <a:gdLst>
                <a:gd name="T0" fmla="*/ 8 w 25"/>
                <a:gd name="T1" fmla="*/ 2 h 48"/>
                <a:gd name="T2" fmla="*/ 0 w 25"/>
                <a:gd name="T3" fmla="*/ 11 h 48"/>
                <a:gd name="T4" fmla="*/ 10 w 25"/>
                <a:gd name="T5" fmla="*/ 23 h 48"/>
                <a:gd name="T6" fmla="*/ 9 w 25"/>
                <a:gd name="T7" fmla="*/ 34 h 48"/>
                <a:gd name="T8" fmla="*/ 1 w 25"/>
                <a:gd name="T9" fmla="*/ 40 h 48"/>
                <a:gd name="T10" fmla="*/ 6 w 25"/>
                <a:gd name="T11" fmla="*/ 45 h 48"/>
                <a:gd name="T12" fmla="*/ 18 w 25"/>
                <a:gd name="T13" fmla="*/ 44 h 48"/>
                <a:gd name="T14" fmla="*/ 25 w 25"/>
                <a:gd name="T15" fmla="*/ 48 h 48"/>
                <a:gd name="T16" fmla="*/ 25 w 25"/>
                <a:gd name="T17" fmla="*/ 0 h 48"/>
                <a:gd name="T18" fmla="*/ 8 w 25"/>
                <a:gd name="T19"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48">
                  <a:moveTo>
                    <a:pt x="8" y="2"/>
                  </a:moveTo>
                  <a:cubicBezTo>
                    <a:pt x="0" y="11"/>
                    <a:pt x="0" y="11"/>
                    <a:pt x="0" y="11"/>
                  </a:cubicBezTo>
                  <a:cubicBezTo>
                    <a:pt x="10" y="23"/>
                    <a:pt x="10" y="23"/>
                    <a:pt x="10" y="23"/>
                  </a:cubicBezTo>
                  <a:cubicBezTo>
                    <a:pt x="9" y="34"/>
                    <a:pt x="9" y="34"/>
                    <a:pt x="9" y="34"/>
                  </a:cubicBezTo>
                  <a:cubicBezTo>
                    <a:pt x="1" y="40"/>
                    <a:pt x="1" y="40"/>
                    <a:pt x="1" y="40"/>
                  </a:cubicBezTo>
                  <a:cubicBezTo>
                    <a:pt x="6" y="45"/>
                    <a:pt x="6" y="45"/>
                    <a:pt x="6" y="45"/>
                  </a:cubicBezTo>
                  <a:cubicBezTo>
                    <a:pt x="18" y="44"/>
                    <a:pt x="18" y="44"/>
                    <a:pt x="18" y="44"/>
                  </a:cubicBezTo>
                  <a:cubicBezTo>
                    <a:pt x="25" y="48"/>
                    <a:pt x="25" y="48"/>
                    <a:pt x="25" y="48"/>
                  </a:cubicBezTo>
                  <a:cubicBezTo>
                    <a:pt x="25" y="0"/>
                    <a:pt x="25" y="0"/>
                    <a:pt x="25" y="0"/>
                  </a:cubicBezTo>
                  <a:cubicBezTo>
                    <a:pt x="19" y="0"/>
                    <a:pt x="10" y="2"/>
                    <a:pt x="8" y="2"/>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5" name="Freeform 223"/>
            <p:cNvSpPr>
              <a:spLocks/>
            </p:cNvSpPr>
            <p:nvPr/>
          </p:nvSpPr>
          <p:spPr bwMode="auto">
            <a:xfrm>
              <a:off x="8512444" y="3345306"/>
              <a:ext cx="1191421" cy="1077025"/>
            </a:xfrm>
            <a:custGeom>
              <a:avLst/>
              <a:gdLst>
                <a:gd name="T0" fmla="*/ 402 w 411"/>
                <a:gd name="T1" fmla="*/ 5 h 394"/>
                <a:gd name="T2" fmla="*/ 354 w 411"/>
                <a:gd name="T3" fmla="*/ 7 h 394"/>
                <a:gd name="T4" fmla="*/ 337 w 411"/>
                <a:gd name="T5" fmla="*/ 2 h 394"/>
                <a:gd name="T6" fmla="*/ 324 w 411"/>
                <a:gd name="T7" fmla="*/ 13 h 394"/>
                <a:gd name="T8" fmla="*/ 285 w 411"/>
                <a:gd name="T9" fmla="*/ 14 h 394"/>
                <a:gd name="T10" fmla="*/ 236 w 411"/>
                <a:gd name="T11" fmla="*/ 30 h 394"/>
                <a:gd name="T12" fmla="*/ 231 w 411"/>
                <a:gd name="T13" fmla="*/ 26 h 394"/>
                <a:gd name="T14" fmla="*/ 223 w 411"/>
                <a:gd name="T15" fmla="*/ 44 h 394"/>
                <a:gd name="T16" fmla="*/ 209 w 411"/>
                <a:gd name="T17" fmla="*/ 19 h 394"/>
                <a:gd name="T18" fmla="*/ 187 w 411"/>
                <a:gd name="T19" fmla="*/ 11 h 394"/>
                <a:gd name="T20" fmla="*/ 151 w 411"/>
                <a:gd name="T21" fmla="*/ 14 h 394"/>
                <a:gd name="T22" fmla="*/ 149 w 411"/>
                <a:gd name="T23" fmla="*/ 14 h 394"/>
                <a:gd name="T24" fmla="*/ 135 w 411"/>
                <a:gd name="T25" fmla="*/ 5 h 394"/>
                <a:gd name="T26" fmla="*/ 116 w 411"/>
                <a:gd name="T27" fmla="*/ 19 h 394"/>
                <a:gd name="T28" fmla="*/ 111 w 411"/>
                <a:gd name="T29" fmla="*/ 17 h 394"/>
                <a:gd name="T30" fmla="*/ 101 w 411"/>
                <a:gd name="T31" fmla="*/ 11 h 394"/>
                <a:gd name="T32" fmla="*/ 70 w 411"/>
                <a:gd name="T33" fmla="*/ 44 h 394"/>
                <a:gd name="T34" fmla="*/ 43 w 411"/>
                <a:gd name="T35" fmla="*/ 66 h 394"/>
                <a:gd name="T36" fmla="*/ 63 w 411"/>
                <a:gd name="T37" fmla="*/ 86 h 394"/>
                <a:gd name="T38" fmla="*/ 46 w 411"/>
                <a:gd name="T39" fmla="*/ 97 h 394"/>
                <a:gd name="T40" fmla="*/ 12 w 411"/>
                <a:gd name="T41" fmla="*/ 76 h 394"/>
                <a:gd name="T42" fmla="*/ 10 w 411"/>
                <a:gd name="T43" fmla="*/ 92 h 394"/>
                <a:gd name="T44" fmla="*/ 0 w 411"/>
                <a:gd name="T45" fmla="*/ 103 h 394"/>
                <a:gd name="T46" fmla="*/ 10 w 411"/>
                <a:gd name="T47" fmla="*/ 124 h 394"/>
                <a:gd name="T48" fmla="*/ 15 w 411"/>
                <a:gd name="T49" fmla="*/ 129 h 394"/>
                <a:gd name="T50" fmla="*/ 16 w 411"/>
                <a:gd name="T51" fmla="*/ 132 h 394"/>
                <a:gd name="T52" fmla="*/ 10 w 411"/>
                <a:gd name="T53" fmla="*/ 152 h 394"/>
                <a:gd name="T54" fmla="*/ 10 w 411"/>
                <a:gd name="T55" fmla="*/ 159 h 394"/>
                <a:gd name="T56" fmla="*/ 33 w 411"/>
                <a:gd name="T57" fmla="*/ 176 h 394"/>
                <a:gd name="T58" fmla="*/ 55 w 411"/>
                <a:gd name="T59" fmla="*/ 173 h 394"/>
                <a:gd name="T60" fmla="*/ 98 w 411"/>
                <a:gd name="T61" fmla="*/ 199 h 394"/>
                <a:gd name="T62" fmla="*/ 109 w 411"/>
                <a:gd name="T63" fmla="*/ 220 h 394"/>
                <a:gd name="T64" fmla="*/ 100 w 411"/>
                <a:gd name="T65" fmla="*/ 215 h 394"/>
                <a:gd name="T66" fmla="*/ 119 w 411"/>
                <a:gd name="T67" fmla="*/ 223 h 394"/>
                <a:gd name="T68" fmla="*/ 119 w 411"/>
                <a:gd name="T69" fmla="*/ 225 h 394"/>
                <a:gd name="T70" fmla="*/ 173 w 411"/>
                <a:gd name="T71" fmla="*/ 188 h 394"/>
                <a:gd name="T72" fmla="*/ 229 w 411"/>
                <a:gd name="T73" fmla="*/ 183 h 394"/>
                <a:gd name="T74" fmla="*/ 254 w 411"/>
                <a:gd name="T75" fmla="*/ 213 h 394"/>
                <a:gd name="T76" fmla="*/ 281 w 411"/>
                <a:gd name="T77" fmla="*/ 241 h 394"/>
                <a:gd name="T78" fmla="*/ 307 w 411"/>
                <a:gd name="T79" fmla="*/ 248 h 394"/>
                <a:gd name="T80" fmla="*/ 283 w 411"/>
                <a:gd name="T81" fmla="*/ 279 h 394"/>
                <a:gd name="T82" fmla="*/ 284 w 411"/>
                <a:gd name="T83" fmla="*/ 250 h 394"/>
                <a:gd name="T84" fmla="*/ 256 w 411"/>
                <a:gd name="T85" fmla="*/ 248 h 394"/>
                <a:gd name="T86" fmla="*/ 210 w 411"/>
                <a:gd name="T87" fmla="*/ 254 h 394"/>
                <a:gd name="T88" fmla="*/ 218 w 411"/>
                <a:gd name="T89" fmla="*/ 292 h 394"/>
                <a:gd name="T90" fmla="*/ 184 w 411"/>
                <a:gd name="T91" fmla="*/ 288 h 394"/>
                <a:gd name="T92" fmla="*/ 196 w 411"/>
                <a:gd name="T93" fmla="*/ 297 h 394"/>
                <a:gd name="T94" fmla="*/ 214 w 411"/>
                <a:gd name="T95" fmla="*/ 311 h 394"/>
                <a:gd name="T96" fmla="*/ 234 w 411"/>
                <a:gd name="T97" fmla="*/ 342 h 394"/>
                <a:gd name="T98" fmla="*/ 286 w 411"/>
                <a:gd name="T99" fmla="*/ 345 h 394"/>
                <a:gd name="T100" fmla="*/ 289 w 411"/>
                <a:gd name="T101" fmla="*/ 368 h 394"/>
                <a:gd name="T102" fmla="*/ 304 w 411"/>
                <a:gd name="T103" fmla="*/ 374 h 394"/>
                <a:gd name="T104" fmla="*/ 330 w 411"/>
                <a:gd name="T105" fmla="*/ 358 h 394"/>
                <a:gd name="T106" fmla="*/ 385 w 411"/>
                <a:gd name="T107" fmla="*/ 383 h 394"/>
                <a:gd name="T108" fmla="*/ 409 w 411"/>
                <a:gd name="T109" fmla="*/ 390 h 394"/>
                <a:gd name="T110" fmla="*/ 411 w 411"/>
                <a:gd name="T111" fmla="*/ 368 h 394"/>
                <a:gd name="T112" fmla="*/ 411 w 411"/>
                <a:gd name="T113" fmla="*/ 222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1" h="394">
                  <a:moveTo>
                    <a:pt x="411" y="4"/>
                  </a:moveTo>
                  <a:cubicBezTo>
                    <a:pt x="408" y="5"/>
                    <a:pt x="405" y="5"/>
                    <a:pt x="402" y="5"/>
                  </a:cubicBezTo>
                  <a:cubicBezTo>
                    <a:pt x="396" y="15"/>
                    <a:pt x="396" y="15"/>
                    <a:pt x="396" y="15"/>
                  </a:cubicBezTo>
                  <a:cubicBezTo>
                    <a:pt x="354" y="7"/>
                    <a:pt x="354" y="7"/>
                    <a:pt x="354" y="7"/>
                  </a:cubicBezTo>
                  <a:cubicBezTo>
                    <a:pt x="341" y="0"/>
                    <a:pt x="341" y="0"/>
                    <a:pt x="341" y="0"/>
                  </a:cubicBezTo>
                  <a:cubicBezTo>
                    <a:pt x="337" y="2"/>
                    <a:pt x="337" y="2"/>
                    <a:pt x="337" y="2"/>
                  </a:cubicBezTo>
                  <a:cubicBezTo>
                    <a:pt x="332" y="5"/>
                    <a:pt x="332" y="5"/>
                    <a:pt x="327" y="10"/>
                  </a:cubicBezTo>
                  <a:cubicBezTo>
                    <a:pt x="324" y="13"/>
                    <a:pt x="324" y="13"/>
                    <a:pt x="324" y="13"/>
                  </a:cubicBezTo>
                  <a:cubicBezTo>
                    <a:pt x="299" y="7"/>
                    <a:pt x="299" y="7"/>
                    <a:pt x="299" y="7"/>
                  </a:cubicBezTo>
                  <a:cubicBezTo>
                    <a:pt x="285" y="14"/>
                    <a:pt x="285" y="14"/>
                    <a:pt x="285" y="14"/>
                  </a:cubicBezTo>
                  <a:cubicBezTo>
                    <a:pt x="267" y="31"/>
                    <a:pt x="267" y="31"/>
                    <a:pt x="267" y="31"/>
                  </a:cubicBezTo>
                  <a:cubicBezTo>
                    <a:pt x="236" y="30"/>
                    <a:pt x="236" y="30"/>
                    <a:pt x="236" y="30"/>
                  </a:cubicBezTo>
                  <a:cubicBezTo>
                    <a:pt x="231" y="24"/>
                    <a:pt x="231" y="24"/>
                    <a:pt x="231" y="24"/>
                  </a:cubicBezTo>
                  <a:cubicBezTo>
                    <a:pt x="231" y="26"/>
                    <a:pt x="231" y="26"/>
                    <a:pt x="231" y="26"/>
                  </a:cubicBezTo>
                  <a:cubicBezTo>
                    <a:pt x="238" y="35"/>
                    <a:pt x="238" y="35"/>
                    <a:pt x="238" y="35"/>
                  </a:cubicBezTo>
                  <a:cubicBezTo>
                    <a:pt x="223" y="44"/>
                    <a:pt x="223" y="44"/>
                    <a:pt x="223" y="44"/>
                  </a:cubicBezTo>
                  <a:cubicBezTo>
                    <a:pt x="218" y="31"/>
                    <a:pt x="218" y="31"/>
                    <a:pt x="218" y="31"/>
                  </a:cubicBezTo>
                  <a:cubicBezTo>
                    <a:pt x="209" y="19"/>
                    <a:pt x="209" y="19"/>
                    <a:pt x="209" y="19"/>
                  </a:cubicBezTo>
                  <a:cubicBezTo>
                    <a:pt x="195" y="16"/>
                    <a:pt x="195" y="16"/>
                    <a:pt x="195" y="16"/>
                  </a:cubicBezTo>
                  <a:cubicBezTo>
                    <a:pt x="187" y="11"/>
                    <a:pt x="187" y="11"/>
                    <a:pt x="187" y="11"/>
                  </a:cubicBezTo>
                  <a:cubicBezTo>
                    <a:pt x="187" y="11"/>
                    <a:pt x="187" y="11"/>
                    <a:pt x="187" y="11"/>
                  </a:cubicBezTo>
                  <a:cubicBezTo>
                    <a:pt x="182" y="11"/>
                    <a:pt x="156" y="13"/>
                    <a:pt x="151" y="14"/>
                  </a:cubicBezTo>
                  <a:cubicBezTo>
                    <a:pt x="150" y="14"/>
                    <a:pt x="150" y="14"/>
                    <a:pt x="150" y="14"/>
                  </a:cubicBezTo>
                  <a:cubicBezTo>
                    <a:pt x="149" y="14"/>
                    <a:pt x="149" y="14"/>
                    <a:pt x="149" y="14"/>
                  </a:cubicBezTo>
                  <a:cubicBezTo>
                    <a:pt x="144" y="10"/>
                    <a:pt x="142" y="9"/>
                    <a:pt x="138" y="7"/>
                  </a:cubicBezTo>
                  <a:cubicBezTo>
                    <a:pt x="135" y="5"/>
                    <a:pt x="135" y="5"/>
                    <a:pt x="135" y="5"/>
                  </a:cubicBezTo>
                  <a:cubicBezTo>
                    <a:pt x="128" y="11"/>
                    <a:pt x="128" y="11"/>
                    <a:pt x="128" y="11"/>
                  </a:cubicBezTo>
                  <a:cubicBezTo>
                    <a:pt x="127" y="13"/>
                    <a:pt x="123" y="19"/>
                    <a:pt x="116" y="19"/>
                  </a:cubicBezTo>
                  <a:cubicBezTo>
                    <a:pt x="116" y="19"/>
                    <a:pt x="116" y="19"/>
                    <a:pt x="116" y="19"/>
                  </a:cubicBezTo>
                  <a:cubicBezTo>
                    <a:pt x="114" y="19"/>
                    <a:pt x="112" y="18"/>
                    <a:pt x="111" y="17"/>
                  </a:cubicBezTo>
                  <a:cubicBezTo>
                    <a:pt x="109" y="15"/>
                    <a:pt x="108" y="12"/>
                    <a:pt x="108" y="10"/>
                  </a:cubicBezTo>
                  <a:cubicBezTo>
                    <a:pt x="101" y="11"/>
                    <a:pt x="101" y="11"/>
                    <a:pt x="101" y="11"/>
                  </a:cubicBezTo>
                  <a:cubicBezTo>
                    <a:pt x="87" y="30"/>
                    <a:pt x="87" y="30"/>
                    <a:pt x="87" y="30"/>
                  </a:cubicBezTo>
                  <a:cubicBezTo>
                    <a:pt x="70" y="44"/>
                    <a:pt x="70" y="44"/>
                    <a:pt x="70" y="44"/>
                  </a:cubicBezTo>
                  <a:cubicBezTo>
                    <a:pt x="61" y="59"/>
                    <a:pt x="61" y="59"/>
                    <a:pt x="61" y="59"/>
                  </a:cubicBezTo>
                  <a:cubicBezTo>
                    <a:pt x="43" y="66"/>
                    <a:pt x="43" y="66"/>
                    <a:pt x="43" y="66"/>
                  </a:cubicBezTo>
                  <a:cubicBezTo>
                    <a:pt x="44" y="70"/>
                    <a:pt x="44" y="70"/>
                    <a:pt x="44" y="70"/>
                  </a:cubicBezTo>
                  <a:cubicBezTo>
                    <a:pt x="63" y="86"/>
                    <a:pt x="63" y="86"/>
                    <a:pt x="63" y="86"/>
                  </a:cubicBezTo>
                  <a:cubicBezTo>
                    <a:pt x="47" y="99"/>
                    <a:pt x="47" y="99"/>
                    <a:pt x="47" y="99"/>
                  </a:cubicBezTo>
                  <a:cubicBezTo>
                    <a:pt x="46" y="97"/>
                    <a:pt x="46" y="97"/>
                    <a:pt x="46" y="97"/>
                  </a:cubicBezTo>
                  <a:cubicBezTo>
                    <a:pt x="36" y="87"/>
                    <a:pt x="33" y="86"/>
                    <a:pt x="30" y="85"/>
                  </a:cubicBezTo>
                  <a:cubicBezTo>
                    <a:pt x="26" y="84"/>
                    <a:pt x="22" y="83"/>
                    <a:pt x="12" y="76"/>
                  </a:cubicBezTo>
                  <a:cubicBezTo>
                    <a:pt x="12" y="77"/>
                    <a:pt x="11" y="79"/>
                    <a:pt x="11" y="80"/>
                  </a:cubicBezTo>
                  <a:cubicBezTo>
                    <a:pt x="9" y="85"/>
                    <a:pt x="9" y="85"/>
                    <a:pt x="10" y="92"/>
                  </a:cubicBezTo>
                  <a:cubicBezTo>
                    <a:pt x="11" y="95"/>
                    <a:pt x="11" y="95"/>
                    <a:pt x="11" y="95"/>
                  </a:cubicBezTo>
                  <a:cubicBezTo>
                    <a:pt x="0" y="103"/>
                    <a:pt x="0" y="103"/>
                    <a:pt x="0" y="103"/>
                  </a:cubicBezTo>
                  <a:cubicBezTo>
                    <a:pt x="1" y="106"/>
                    <a:pt x="2" y="108"/>
                    <a:pt x="3" y="110"/>
                  </a:cubicBezTo>
                  <a:cubicBezTo>
                    <a:pt x="5" y="118"/>
                    <a:pt x="5" y="118"/>
                    <a:pt x="10" y="124"/>
                  </a:cubicBezTo>
                  <a:cubicBezTo>
                    <a:pt x="11" y="125"/>
                    <a:pt x="11" y="125"/>
                    <a:pt x="11" y="125"/>
                  </a:cubicBezTo>
                  <a:cubicBezTo>
                    <a:pt x="12" y="126"/>
                    <a:pt x="13" y="127"/>
                    <a:pt x="15" y="129"/>
                  </a:cubicBezTo>
                  <a:cubicBezTo>
                    <a:pt x="16" y="130"/>
                    <a:pt x="16" y="130"/>
                    <a:pt x="16" y="130"/>
                  </a:cubicBezTo>
                  <a:cubicBezTo>
                    <a:pt x="16" y="132"/>
                    <a:pt x="16" y="132"/>
                    <a:pt x="16" y="132"/>
                  </a:cubicBezTo>
                  <a:cubicBezTo>
                    <a:pt x="14" y="134"/>
                    <a:pt x="13" y="136"/>
                    <a:pt x="13" y="138"/>
                  </a:cubicBezTo>
                  <a:cubicBezTo>
                    <a:pt x="9" y="144"/>
                    <a:pt x="9" y="144"/>
                    <a:pt x="10" y="152"/>
                  </a:cubicBezTo>
                  <a:cubicBezTo>
                    <a:pt x="10" y="152"/>
                    <a:pt x="10" y="152"/>
                    <a:pt x="10" y="152"/>
                  </a:cubicBezTo>
                  <a:cubicBezTo>
                    <a:pt x="10" y="154"/>
                    <a:pt x="10" y="156"/>
                    <a:pt x="10" y="159"/>
                  </a:cubicBezTo>
                  <a:cubicBezTo>
                    <a:pt x="28" y="164"/>
                    <a:pt x="28" y="164"/>
                    <a:pt x="28" y="164"/>
                  </a:cubicBezTo>
                  <a:cubicBezTo>
                    <a:pt x="33" y="176"/>
                    <a:pt x="33" y="176"/>
                    <a:pt x="33" y="176"/>
                  </a:cubicBezTo>
                  <a:cubicBezTo>
                    <a:pt x="43" y="180"/>
                    <a:pt x="43" y="180"/>
                    <a:pt x="43" y="180"/>
                  </a:cubicBezTo>
                  <a:cubicBezTo>
                    <a:pt x="55" y="173"/>
                    <a:pt x="55" y="173"/>
                    <a:pt x="55" y="173"/>
                  </a:cubicBezTo>
                  <a:cubicBezTo>
                    <a:pt x="74" y="182"/>
                    <a:pt x="74" y="182"/>
                    <a:pt x="74" y="182"/>
                  </a:cubicBezTo>
                  <a:cubicBezTo>
                    <a:pt x="98" y="199"/>
                    <a:pt x="98" y="199"/>
                    <a:pt x="98" y="199"/>
                  </a:cubicBezTo>
                  <a:cubicBezTo>
                    <a:pt x="112" y="217"/>
                    <a:pt x="112" y="217"/>
                    <a:pt x="112" y="217"/>
                  </a:cubicBezTo>
                  <a:cubicBezTo>
                    <a:pt x="109" y="220"/>
                    <a:pt x="109" y="220"/>
                    <a:pt x="109" y="220"/>
                  </a:cubicBezTo>
                  <a:cubicBezTo>
                    <a:pt x="101" y="214"/>
                    <a:pt x="101" y="214"/>
                    <a:pt x="101" y="214"/>
                  </a:cubicBezTo>
                  <a:cubicBezTo>
                    <a:pt x="100" y="215"/>
                    <a:pt x="100" y="215"/>
                    <a:pt x="100" y="215"/>
                  </a:cubicBezTo>
                  <a:cubicBezTo>
                    <a:pt x="101" y="218"/>
                    <a:pt x="101" y="218"/>
                    <a:pt x="101" y="218"/>
                  </a:cubicBezTo>
                  <a:cubicBezTo>
                    <a:pt x="119" y="223"/>
                    <a:pt x="119" y="223"/>
                    <a:pt x="119" y="223"/>
                  </a:cubicBezTo>
                  <a:cubicBezTo>
                    <a:pt x="119" y="225"/>
                    <a:pt x="119" y="225"/>
                    <a:pt x="119" y="225"/>
                  </a:cubicBezTo>
                  <a:cubicBezTo>
                    <a:pt x="119" y="225"/>
                    <a:pt x="119" y="225"/>
                    <a:pt x="119" y="225"/>
                  </a:cubicBezTo>
                  <a:cubicBezTo>
                    <a:pt x="144" y="210"/>
                    <a:pt x="144" y="210"/>
                    <a:pt x="144" y="210"/>
                  </a:cubicBezTo>
                  <a:cubicBezTo>
                    <a:pt x="173" y="188"/>
                    <a:pt x="173" y="188"/>
                    <a:pt x="173" y="188"/>
                  </a:cubicBezTo>
                  <a:cubicBezTo>
                    <a:pt x="204" y="187"/>
                    <a:pt x="204" y="187"/>
                    <a:pt x="204" y="187"/>
                  </a:cubicBezTo>
                  <a:cubicBezTo>
                    <a:pt x="212" y="189"/>
                    <a:pt x="214" y="194"/>
                    <a:pt x="229" y="183"/>
                  </a:cubicBezTo>
                  <a:cubicBezTo>
                    <a:pt x="244" y="193"/>
                    <a:pt x="244" y="193"/>
                    <a:pt x="244" y="193"/>
                  </a:cubicBezTo>
                  <a:cubicBezTo>
                    <a:pt x="254" y="213"/>
                    <a:pt x="254" y="213"/>
                    <a:pt x="254" y="213"/>
                  </a:cubicBezTo>
                  <a:cubicBezTo>
                    <a:pt x="259" y="240"/>
                    <a:pt x="259" y="240"/>
                    <a:pt x="259" y="240"/>
                  </a:cubicBezTo>
                  <a:cubicBezTo>
                    <a:pt x="281" y="241"/>
                    <a:pt x="281" y="241"/>
                    <a:pt x="281" y="241"/>
                  </a:cubicBezTo>
                  <a:cubicBezTo>
                    <a:pt x="296" y="235"/>
                    <a:pt x="296" y="235"/>
                    <a:pt x="296" y="235"/>
                  </a:cubicBezTo>
                  <a:cubicBezTo>
                    <a:pt x="307" y="243"/>
                    <a:pt x="305" y="240"/>
                    <a:pt x="307" y="248"/>
                  </a:cubicBezTo>
                  <a:cubicBezTo>
                    <a:pt x="297" y="255"/>
                    <a:pt x="299" y="254"/>
                    <a:pt x="288" y="260"/>
                  </a:cubicBezTo>
                  <a:cubicBezTo>
                    <a:pt x="283" y="279"/>
                    <a:pt x="283" y="279"/>
                    <a:pt x="283" y="279"/>
                  </a:cubicBezTo>
                  <a:cubicBezTo>
                    <a:pt x="277" y="280"/>
                    <a:pt x="277" y="280"/>
                    <a:pt x="277" y="280"/>
                  </a:cubicBezTo>
                  <a:cubicBezTo>
                    <a:pt x="277" y="261"/>
                    <a:pt x="276" y="268"/>
                    <a:pt x="284" y="250"/>
                  </a:cubicBezTo>
                  <a:cubicBezTo>
                    <a:pt x="279" y="248"/>
                    <a:pt x="279" y="248"/>
                    <a:pt x="279" y="248"/>
                  </a:cubicBezTo>
                  <a:cubicBezTo>
                    <a:pt x="256" y="248"/>
                    <a:pt x="256" y="248"/>
                    <a:pt x="256" y="248"/>
                  </a:cubicBezTo>
                  <a:cubicBezTo>
                    <a:pt x="234" y="248"/>
                    <a:pt x="244" y="247"/>
                    <a:pt x="221" y="252"/>
                  </a:cubicBezTo>
                  <a:cubicBezTo>
                    <a:pt x="220" y="254"/>
                    <a:pt x="211" y="252"/>
                    <a:pt x="210" y="254"/>
                  </a:cubicBezTo>
                  <a:cubicBezTo>
                    <a:pt x="199" y="270"/>
                    <a:pt x="195" y="274"/>
                    <a:pt x="221" y="283"/>
                  </a:cubicBezTo>
                  <a:cubicBezTo>
                    <a:pt x="218" y="292"/>
                    <a:pt x="218" y="292"/>
                    <a:pt x="218" y="292"/>
                  </a:cubicBezTo>
                  <a:cubicBezTo>
                    <a:pt x="207" y="285"/>
                    <a:pt x="213" y="287"/>
                    <a:pt x="195" y="287"/>
                  </a:cubicBezTo>
                  <a:cubicBezTo>
                    <a:pt x="184" y="288"/>
                    <a:pt x="184" y="288"/>
                    <a:pt x="184" y="288"/>
                  </a:cubicBezTo>
                  <a:cubicBezTo>
                    <a:pt x="184" y="297"/>
                    <a:pt x="184" y="297"/>
                    <a:pt x="184" y="297"/>
                  </a:cubicBezTo>
                  <a:cubicBezTo>
                    <a:pt x="196" y="297"/>
                    <a:pt x="196" y="297"/>
                    <a:pt x="196" y="297"/>
                  </a:cubicBezTo>
                  <a:cubicBezTo>
                    <a:pt x="207" y="303"/>
                    <a:pt x="207" y="303"/>
                    <a:pt x="207" y="303"/>
                  </a:cubicBezTo>
                  <a:cubicBezTo>
                    <a:pt x="214" y="311"/>
                    <a:pt x="214" y="311"/>
                    <a:pt x="214" y="311"/>
                  </a:cubicBezTo>
                  <a:cubicBezTo>
                    <a:pt x="232" y="327"/>
                    <a:pt x="232" y="327"/>
                    <a:pt x="232" y="327"/>
                  </a:cubicBezTo>
                  <a:cubicBezTo>
                    <a:pt x="234" y="342"/>
                    <a:pt x="234" y="342"/>
                    <a:pt x="234" y="342"/>
                  </a:cubicBezTo>
                  <a:cubicBezTo>
                    <a:pt x="244" y="340"/>
                    <a:pt x="243" y="339"/>
                    <a:pt x="252" y="343"/>
                  </a:cubicBezTo>
                  <a:cubicBezTo>
                    <a:pt x="266" y="350"/>
                    <a:pt x="269" y="347"/>
                    <a:pt x="286" y="345"/>
                  </a:cubicBezTo>
                  <a:cubicBezTo>
                    <a:pt x="289" y="352"/>
                    <a:pt x="289" y="352"/>
                    <a:pt x="289" y="352"/>
                  </a:cubicBezTo>
                  <a:cubicBezTo>
                    <a:pt x="289" y="368"/>
                    <a:pt x="289" y="368"/>
                    <a:pt x="289" y="368"/>
                  </a:cubicBezTo>
                  <a:cubicBezTo>
                    <a:pt x="291" y="382"/>
                    <a:pt x="291" y="382"/>
                    <a:pt x="291" y="382"/>
                  </a:cubicBezTo>
                  <a:cubicBezTo>
                    <a:pt x="304" y="374"/>
                    <a:pt x="304" y="374"/>
                    <a:pt x="304" y="374"/>
                  </a:cubicBezTo>
                  <a:cubicBezTo>
                    <a:pt x="310" y="366"/>
                    <a:pt x="310" y="366"/>
                    <a:pt x="310" y="366"/>
                  </a:cubicBezTo>
                  <a:cubicBezTo>
                    <a:pt x="330" y="358"/>
                    <a:pt x="330" y="358"/>
                    <a:pt x="330" y="358"/>
                  </a:cubicBezTo>
                  <a:cubicBezTo>
                    <a:pt x="353" y="361"/>
                    <a:pt x="353" y="361"/>
                    <a:pt x="353" y="361"/>
                  </a:cubicBezTo>
                  <a:cubicBezTo>
                    <a:pt x="354" y="361"/>
                    <a:pt x="382" y="379"/>
                    <a:pt x="385" y="383"/>
                  </a:cubicBezTo>
                  <a:cubicBezTo>
                    <a:pt x="389" y="387"/>
                    <a:pt x="394" y="394"/>
                    <a:pt x="394" y="394"/>
                  </a:cubicBezTo>
                  <a:cubicBezTo>
                    <a:pt x="409" y="390"/>
                    <a:pt x="409" y="390"/>
                    <a:pt x="409" y="390"/>
                  </a:cubicBezTo>
                  <a:cubicBezTo>
                    <a:pt x="411" y="388"/>
                    <a:pt x="411" y="388"/>
                    <a:pt x="411" y="388"/>
                  </a:cubicBezTo>
                  <a:cubicBezTo>
                    <a:pt x="411" y="368"/>
                    <a:pt x="411" y="368"/>
                    <a:pt x="411" y="368"/>
                  </a:cubicBezTo>
                  <a:cubicBezTo>
                    <a:pt x="359" y="245"/>
                    <a:pt x="359" y="245"/>
                    <a:pt x="359" y="245"/>
                  </a:cubicBezTo>
                  <a:cubicBezTo>
                    <a:pt x="411" y="222"/>
                    <a:pt x="411" y="222"/>
                    <a:pt x="411" y="222"/>
                  </a:cubicBezTo>
                  <a:lnTo>
                    <a:pt x="411" y="4"/>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6" name="Freeform 224"/>
            <p:cNvSpPr>
              <a:spLocks/>
            </p:cNvSpPr>
            <p:nvPr/>
          </p:nvSpPr>
          <p:spPr bwMode="auto">
            <a:xfrm>
              <a:off x="6455979" y="3684343"/>
              <a:ext cx="1410931" cy="921803"/>
            </a:xfrm>
            <a:custGeom>
              <a:avLst/>
              <a:gdLst>
                <a:gd name="T0" fmla="*/ 403 w 487"/>
                <a:gd name="T1" fmla="*/ 271 h 337"/>
                <a:gd name="T2" fmla="*/ 348 w 487"/>
                <a:gd name="T3" fmla="*/ 250 h 337"/>
                <a:gd name="T4" fmla="*/ 390 w 487"/>
                <a:gd name="T5" fmla="*/ 230 h 337"/>
                <a:gd name="T6" fmla="*/ 429 w 487"/>
                <a:gd name="T7" fmla="*/ 190 h 337"/>
                <a:gd name="T8" fmla="*/ 452 w 487"/>
                <a:gd name="T9" fmla="*/ 171 h 337"/>
                <a:gd name="T10" fmla="*/ 453 w 487"/>
                <a:gd name="T11" fmla="*/ 143 h 337"/>
                <a:gd name="T12" fmla="*/ 487 w 487"/>
                <a:gd name="T13" fmla="*/ 122 h 337"/>
                <a:gd name="T14" fmla="*/ 470 w 487"/>
                <a:gd name="T15" fmla="*/ 83 h 337"/>
                <a:gd name="T16" fmla="*/ 466 w 487"/>
                <a:gd name="T17" fmla="*/ 72 h 337"/>
                <a:gd name="T18" fmla="*/ 453 w 487"/>
                <a:gd name="T19" fmla="*/ 56 h 337"/>
                <a:gd name="T20" fmla="*/ 433 w 487"/>
                <a:gd name="T21" fmla="*/ 54 h 337"/>
                <a:gd name="T22" fmla="*/ 389 w 487"/>
                <a:gd name="T23" fmla="*/ 52 h 337"/>
                <a:gd name="T24" fmla="*/ 362 w 487"/>
                <a:gd name="T25" fmla="*/ 62 h 337"/>
                <a:gd name="T26" fmla="*/ 340 w 487"/>
                <a:gd name="T27" fmla="*/ 67 h 337"/>
                <a:gd name="T28" fmla="*/ 301 w 487"/>
                <a:gd name="T29" fmla="*/ 38 h 337"/>
                <a:gd name="T30" fmla="*/ 280 w 487"/>
                <a:gd name="T31" fmla="*/ 25 h 337"/>
                <a:gd name="T32" fmla="*/ 261 w 487"/>
                <a:gd name="T33" fmla="*/ 4 h 337"/>
                <a:gd name="T34" fmla="*/ 225 w 487"/>
                <a:gd name="T35" fmla="*/ 28 h 337"/>
                <a:gd name="T36" fmla="*/ 189 w 487"/>
                <a:gd name="T37" fmla="*/ 55 h 337"/>
                <a:gd name="T38" fmla="*/ 176 w 487"/>
                <a:gd name="T39" fmla="*/ 69 h 337"/>
                <a:gd name="T40" fmla="*/ 146 w 487"/>
                <a:gd name="T41" fmla="*/ 75 h 337"/>
                <a:gd name="T42" fmla="*/ 117 w 487"/>
                <a:gd name="T43" fmla="*/ 81 h 337"/>
                <a:gd name="T44" fmla="*/ 59 w 487"/>
                <a:gd name="T45" fmla="*/ 80 h 337"/>
                <a:gd name="T46" fmla="*/ 28 w 487"/>
                <a:gd name="T47" fmla="*/ 91 h 337"/>
                <a:gd name="T48" fmla="*/ 16 w 487"/>
                <a:gd name="T49" fmla="*/ 104 h 337"/>
                <a:gd name="T50" fmla="*/ 27 w 487"/>
                <a:gd name="T51" fmla="*/ 124 h 337"/>
                <a:gd name="T52" fmla="*/ 37 w 487"/>
                <a:gd name="T53" fmla="*/ 151 h 337"/>
                <a:gd name="T54" fmla="*/ 26 w 487"/>
                <a:gd name="T55" fmla="*/ 164 h 337"/>
                <a:gd name="T56" fmla="*/ 11 w 487"/>
                <a:gd name="T57" fmla="*/ 199 h 337"/>
                <a:gd name="T58" fmla="*/ 13 w 487"/>
                <a:gd name="T59" fmla="*/ 219 h 337"/>
                <a:gd name="T60" fmla="*/ 5 w 487"/>
                <a:gd name="T61" fmla="*/ 222 h 337"/>
                <a:gd name="T62" fmla="*/ 1 w 487"/>
                <a:gd name="T63" fmla="*/ 236 h 337"/>
                <a:gd name="T64" fmla="*/ 1 w 487"/>
                <a:gd name="T65" fmla="*/ 242 h 337"/>
                <a:gd name="T66" fmla="*/ 9 w 487"/>
                <a:gd name="T67" fmla="*/ 251 h 337"/>
                <a:gd name="T68" fmla="*/ 27 w 487"/>
                <a:gd name="T69" fmla="*/ 256 h 337"/>
                <a:gd name="T70" fmla="*/ 55 w 487"/>
                <a:gd name="T71" fmla="*/ 255 h 337"/>
                <a:gd name="T72" fmla="*/ 110 w 487"/>
                <a:gd name="T73" fmla="*/ 240 h 337"/>
                <a:gd name="T74" fmla="*/ 124 w 487"/>
                <a:gd name="T75" fmla="*/ 224 h 337"/>
                <a:gd name="T76" fmla="*/ 131 w 487"/>
                <a:gd name="T77" fmla="*/ 217 h 337"/>
                <a:gd name="T78" fmla="*/ 142 w 487"/>
                <a:gd name="T79" fmla="*/ 215 h 337"/>
                <a:gd name="T80" fmla="*/ 149 w 487"/>
                <a:gd name="T81" fmla="*/ 209 h 337"/>
                <a:gd name="T82" fmla="*/ 162 w 487"/>
                <a:gd name="T83" fmla="*/ 209 h 337"/>
                <a:gd name="T84" fmla="*/ 176 w 487"/>
                <a:gd name="T85" fmla="*/ 211 h 337"/>
                <a:gd name="T86" fmla="*/ 194 w 487"/>
                <a:gd name="T87" fmla="*/ 217 h 337"/>
                <a:gd name="T88" fmla="*/ 209 w 487"/>
                <a:gd name="T89" fmla="*/ 225 h 337"/>
                <a:gd name="T90" fmla="*/ 214 w 487"/>
                <a:gd name="T91" fmla="*/ 239 h 337"/>
                <a:gd name="T92" fmla="*/ 226 w 487"/>
                <a:gd name="T93" fmla="*/ 250 h 337"/>
                <a:gd name="T94" fmla="*/ 233 w 487"/>
                <a:gd name="T95" fmla="*/ 256 h 337"/>
                <a:gd name="T96" fmla="*/ 243 w 487"/>
                <a:gd name="T97" fmla="*/ 268 h 337"/>
                <a:gd name="T98" fmla="*/ 252 w 487"/>
                <a:gd name="T99" fmla="*/ 275 h 337"/>
                <a:gd name="T100" fmla="*/ 234 w 487"/>
                <a:gd name="T101" fmla="*/ 283 h 337"/>
                <a:gd name="T102" fmla="*/ 229 w 487"/>
                <a:gd name="T103" fmla="*/ 283 h 337"/>
                <a:gd name="T104" fmla="*/ 220 w 487"/>
                <a:gd name="T105" fmla="*/ 286 h 337"/>
                <a:gd name="T106" fmla="*/ 219 w 487"/>
                <a:gd name="T107" fmla="*/ 290 h 337"/>
                <a:gd name="T108" fmla="*/ 217 w 487"/>
                <a:gd name="T109" fmla="*/ 306 h 337"/>
                <a:gd name="T110" fmla="*/ 213 w 487"/>
                <a:gd name="T111" fmla="*/ 318 h 337"/>
                <a:gd name="T112" fmla="*/ 209 w 487"/>
                <a:gd name="T113" fmla="*/ 328 h 337"/>
                <a:gd name="T114" fmla="*/ 248 w 487"/>
                <a:gd name="T115" fmla="*/ 322 h 337"/>
                <a:gd name="T116" fmla="*/ 308 w 487"/>
                <a:gd name="T117" fmla="*/ 248 h 337"/>
                <a:gd name="T118" fmla="*/ 345 w 487"/>
                <a:gd name="T119" fmla="*/ 274 h 337"/>
                <a:gd name="T120" fmla="*/ 367 w 487"/>
                <a:gd name="T121" fmla="*/ 323 h 337"/>
                <a:gd name="T122" fmla="*/ 411 w 487"/>
                <a:gd name="T123" fmla="*/ 282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87" h="337">
                  <a:moveTo>
                    <a:pt x="436" y="262"/>
                  </a:moveTo>
                  <a:cubicBezTo>
                    <a:pt x="436" y="257"/>
                    <a:pt x="436" y="257"/>
                    <a:pt x="436" y="257"/>
                  </a:cubicBezTo>
                  <a:cubicBezTo>
                    <a:pt x="436" y="257"/>
                    <a:pt x="436" y="257"/>
                    <a:pt x="436" y="257"/>
                  </a:cubicBezTo>
                  <a:cubicBezTo>
                    <a:pt x="436" y="257"/>
                    <a:pt x="436" y="255"/>
                    <a:pt x="438" y="253"/>
                  </a:cubicBezTo>
                  <a:cubicBezTo>
                    <a:pt x="437" y="252"/>
                    <a:pt x="437" y="252"/>
                    <a:pt x="436" y="252"/>
                  </a:cubicBezTo>
                  <a:cubicBezTo>
                    <a:pt x="433" y="252"/>
                    <a:pt x="425" y="261"/>
                    <a:pt x="425" y="261"/>
                  </a:cubicBezTo>
                  <a:cubicBezTo>
                    <a:pt x="416" y="262"/>
                    <a:pt x="416" y="262"/>
                    <a:pt x="416" y="262"/>
                  </a:cubicBezTo>
                  <a:cubicBezTo>
                    <a:pt x="416" y="262"/>
                    <a:pt x="412" y="268"/>
                    <a:pt x="411" y="269"/>
                  </a:cubicBezTo>
                  <a:cubicBezTo>
                    <a:pt x="410" y="269"/>
                    <a:pt x="405" y="271"/>
                    <a:pt x="403" y="271"/>
                  </a:cubicBezTo>
                  <a:cubicBezTo>
                    <a:pt x="401" y="270"/>
                    <a:pt x="403" y="279"/>
                    <a:pt x="398" y="269"/>
                  </a:cubicBezTo>
                  <a:cubicBezTo>
                    <a:pt x="392" y="258"/>
                    <a:pt x="390" y="258"/>
                    <a:pt x="390" y="258"/>
                  </a:cubicBezTo>
                  <a:cubicBezTo>
                    <a:pt x="384" y="258"/>
                    <a:pt x="384" y="258"/>
                    <a:pt x="384" y="258"/>
                  </a:cubicBezTo>
                  <a:cubicBezTo>
                    <a:pt x="384" y="258"/>
                    <a:pt x="379" y="260"/>
                    <a:pt x="379" y="259"/>
                  </a:cubicBezTo>
                  <a:cubicBezTo>
                    <a:pt x="378" y="257"/>
                    <a:pt x="376" y="253"/>
                    <a:pt x="376" y="253"/>
                  </a:cubicBezTo>
                  <a:cubicBezTo>
                    <a:pt x="368" y="253"/>
                    <a:pt x="368" y="253"/>
                    <a:pt x="368" y="253"/>
                  </a:cubicBezTo>
                  <a:cubicBezTo>
                    <a:pt x="365" y="254"/>
                    <a:pt x="365" y="254"/>
                    <a:pt x="365" y="254"/>
                  </a:cubicBezTo>
                  <a:cubicBezTo>
                    <a:pt x="353" y="254"/>
                    <a:pt x="353" y="254"/>
                    <a:pt x="353" y="254"/>
                  </a:cubicBezTo>
                  <a:cubicBezTo>
                    <a:pt x="348" y="250"/>
                    <a:pt x="348" y="250"/>
                    <a:pt x="348" y="250"/>
                  </a:cubicBezTo>
                  <a:cubicBezTo>
                    <a:pt x="355" y="247"/>
                    <a:pt x="355" y="247"/>
                    <a:pt x="355" y="247"/>
                  </a:cubicBezTo>
                  <a:cubicBezTo>
                    <a:pt x="355" y="247"/>
                    <a:pt x="357" y="250"/>
                    <a:pt x="358" y="249"/>
                  </a:cubicBezTo>
                  <a:cubicBezTo>
                    <a:pt x="359" y="249"/>
                    <a:pt x="358" y="246"/>
                    <a:pt x="360" y="245"/>
                  </a:cubicBezTo>
                  <a:cubicBezTo>
                    <a:pt x="362" y="244"/>
                    <a:pt x="364" y="242"/>
                    <a:pt x="367" y="244"/>
                  </a:cubicBezTo>
                  <a:cubicBezTo>
                    <a:pt x="369" y="245"/>
                    <a:pt x="367" y="249"/>
                    <a:pt x="371" y="246"/>
                  </a:cubicBezTo>
                  <a:cubicBezTo>
                    <a:pt x="375" y="243"/>
                    <a:pt x="379" y="244"/>
                    <a:pt x="379" y="244"/>
                  </a:cubicBezTo>
                  <a:cubicBezTo>
                    <a:pt x="383" y="236"/>
                    <a:pt x="383" y="236"/>
                    <a:pt x="383" y="236"/>
                  </a:cubicBezTo>
                  <a:cubicBezTo>
                    <a:pt x="387" y="228"/>
                    <a:pt x="387" y="228"/>
                    <a:pt x="387" y="228"/>
                  </a:cubicBezTo>
                  <a:cubicBezTo>
                    <a:pt x="387" y="228"/>
                    <a:pt x="388" y="230"/>
                    <a:pt x="390" y="230"/>
                  </a:cubicBezTo>
                  <a:cubicBezTo>
                    <a:pt x="393" y="230"/>
                    <a:pt x="398" y="220"/>
                    <a:pt x="398" y="220"/>
                  </a:cubicBezTo>
                  <a:cubicBezTo>
                    <a:pt x="398" y="220"/>
                    <a:pt x="398" y="218"/>
                    <a:pt x="399" y="216"/>
                  </a:cubicBezTo>
                  <a:cubicBezTo>
                    <a:pt x="397" y="216"/>
                    <a:pt x="397" y="216"/>
                    <a:pt x="397" y="216"/>
                  </a:cubicBezTo>
                  <a:cubicBezTo>
                    <a:pt x="397" y="214"/>
                    <a:pt x="397" y="214"/>
                    <a:pt x="397" y="214"/>
                  </a:cubicBezTo>
                  <a:cubicBezTo>
                    <a:pt x="397" y="211"/>
                    <a:pt x="398" y="209"/>
                    <a:pt x="400" y="208"/>
                  </a:cubicBezTo>
                  <a:cubicBezTo>
                    <a:pt x="413" y="204"/>
                    <a:pt x="413" y="204"/>
                    <a:pt x="413" y="204"/>
                  </a:cubicBezTo>
                  <a:cubicBezTo>
                    <a:pt x="420" y="200"/>
                    <a:pt x="420" y="200"/>
                    <a:pt x="420" y="200"/>
                  </a:cubicBezTo>
                  <a:cubicBezTo>
                    <a:pt x="421" y="198"/>
                    <a:pt x="425" y="193"/>
                    <a:pt x="427" y="193"/>
                  </a:cubicBezTo>
                  <a:cubicBezTo>
                    <a:pt x="428" y="192"/>
                    <a:pt x="428" y="191"/>
                    <a:pt x="429" y="190"/>
                  </a:cubicBezTo>
                  <a:cubicBezTo>
                    <a:pt x="430" y="189"/>
                    <a:pt x="430" y="188"/>
                    <a:pt x="431" y="187"/>
                  </a:cubicBezTo>
                  <a:cubicBezTo>
                    <a:pt x="433" y="183"/>
                    <a:pt x="435" y="180"/>
                    <a:pt x="435" y="180"/>
                  </a:cubicBezTo>
                  <a:cubicBezTo>
                    <a:pt x="436" y="180"/>
                    <a:pt x="436" y="180"/>
                    <a:pt x="436" y="180"/>
                  </a:cubicBezTo>
                  <a:cubicBezTo>
                    <a:pt x="436" y="180"/>
                    <a:pt x="436" y="180"/>
                    <a:pt x="436" y="180"/>
                  </a:cubicBezTo>
                  <a:cubicBezTo>
                    <a:pt x="439" y="179"/>
                    <a:pt x="441" y="178"/>
                    <a:pt x="443" y="178"/>
                  </a:cubicBezTo>
                  <a:cubicBezTo>
                    <a:pt x="442" y="177"/>
                    <a:pt x="441" y="175"/>
                    <a:pt x="442" y="174"/>
                  </a:cubicBezTo>
                  <a:cubicBezTo>
                    <a:pt x="443" y="172"/>
                    <a:pt x="446" y="171"/>
                    <a:pt x="446" y="171"/>
                  </a:cubicBezTo>
                  <a:cubicBezTo>
                    <a:pt x="449" y="171"/>
                    <a:pt x="449" y="171"/>
                    <a:pt x="449" y="171"/>
                  </a:cubicBezTo>
                  <a:cubicBezTo>
                    <a:pt x="451" y="171"/>
                    <a:pt x="451" y="171"/>
                    <a:pt x="452" y="171"/>
                  </a:cubicBezTo>
                  <a:cubicBezTo>
                    <a:pt x="452" y="170"/>
                    <a:pt x="452" y="170"/>
                    <a:pt x="453" y="169"/>
                  </a:cubicBezTo>
                  <a:cubicBezTo>
                    <a:pt x="453" y="169"/>
                    <a:pt x="453" y="168"/>
                    <a:pt x="453" y="167"/>
                  </a:cubicBezTo>
                  <a:cubicBezTo>
                    <a:pt x="455" y="165"/>
                    <a:pt x="455" y="163"/>
                    <a:pt x="455" y="163"/>
                  </a:cubicBezTo>
                  <a:cubicBezTo>
                    <a:pt x="455" y="162"/>
                    <a:pt x="454" y="160"/>
                    <a:pt x="453" y="159"/>
                  </a:cubicBezTo>
                  <a:cubicBezTo>
                    <a:pt x="451" y="156"/>
                    <a:pt x="451" y="155"/>
                    <a:pt x="450" y="153"/>
                  </a:cubicBezTo>
                  <a:cubicBezTo>
                    <a:pt x="449" y="151"/>
                    <a:pt x="451" y="146"/>
                    <a:pt x="451" y="145"/>
                  </a:cubicBezTo>
                  <a:cubicBezTo>
                    <a:pt x="451" y="145"/>
                    <a:pt x="451" y="145"/>
                    <a:pt x="451" y="145"/>
                  </a:cubicBezTo>
                  <a:cubicBezTo>
                    <a:pt x="451" y="145"/>
                    <a:pt x="451" y="145"/>
                    <a:pt x="451" y="145"/>
                  </a:cubicBezTo>
                  <a:cubicBezTo>
                    <a:pt x="452" y="144"/>
                    <a:pt x="452" y="144"/>
                    <a:pt x="453" y="143"/>
                  </a:cubicBezTo>
                  <a:cubicBezTo>
                    <a:pt x="454" y="143"/>
                    <a:pt x="455" y="142"/>
                    <a:pt x="456" y="142"/>
                  </a:cubicBezTo>
                  <a:cubicBezTo>
                    <a:pt x="457" y="141"/>
                    <a:pt x="458" y="139"/>
                    <a:pt x="460" y="136"/>
                  </a:cubicBezTo>
                  <a:cubicBezTo>
                    <a:pt x="461" y="132"/>
                    <a:pt x="461" y="132"/>
                    <a:pt x="461" y="132"/>
                  </a:cubicBezTo>
                  <a:cubicBezTo>
                    <a:pt x="461" y="132"/>
                    <a:pt x="461" y="132"/>
                    <a:pt x="461" y="132"/>
                  </a:cubicBezTo>
                  <a:cubicBezTo>
                    <a:pt x="462" y="131"/>
                    <a:pt x="465" y="129"/>
                    <a:pt x="467" y="128"/>
                  </a:cubicBezTo>
                  <a:cubicBezTo>
                    <a:pt x="467" y="128"/>
                    <a:pt x="471" y="126"/>
                    <a:pt x="473" y="126"/>
                  </a:cubicBezTo>
                  <a:cubicBezTo>
                    <a:pt x="480" y="123"/>
                    <a:pt x="481" y="122"/>
                    <a:pt x="482" y="122"/>
                  </a:cubicBezTo>
                  <a:cubicBezTo>
                    <a:pt x="485" y="122"/>
                    <a:pt x="485" y="122"/>
                    <a:pt x="485" y="122"/>
                  </a:cubicBezTo>
                  <a:cubicBezTo>
                    <a:pt x="485" y="122"/>
                    <a:pt x="486" y="122"/>
                    <a:pt x="487" y="122"/>
                  </a:cubicBezTo>
                  <a:cubicBezTo>
                    <a:pt x="487" y="122"/>
                    <a:pt x="487" y="122"/>
                    <a:pt x="487" y="122"/>
                  </a:cubicBezTo>
                  <a:cubicBezTo>
                    <a:pt x="484" y="119"/>
                    <a:pt x="483" y="117"/>
                    <a:pt x="482" y="115"/>
                  </a:cubicBezTo>
                  <a:cubicBezTo>
                    <a:pt x="482" y="113"/>
                    <a:pt x="482" y="106"/>
                    <a:pt x="482" y="104"/>
                  </a:cubicBezTo>
                  <a:cubicBezTo>
                    <a:pt x="482" y="104"/>
                    <a:pt x="482" y="104"/>
                    <a:pt x="483" y="104"/>
                  </a:cubicBezTo>
                  <a:cubicBezTo>
                    <a:pt x="481" y="104"/>
                    <a:pt x="480" y="103"/>
                    <a:pt x="479" y="102"/>
                  </a:cubicBezTo>
                  <a:cubicBezTo>
                    <a:pt x="478" y="100"/>
                    <a:pt x="478" y="99"/>
                    <a:pt x="479" y="98"/>
                  </a:cubicBezTo>
                  <a:cubicBezTo>
                    <a:pt x="477" y="97"/>
                    <a:pt x="474" y="95"/>
                    <a:pt x="473" y="94"/>
                  </a:cubicBezTo>
                  <a:cubicBezTo>
                    <a:pt x="469" y="95"/>
                    <a:pt x="469" y="95"/>
                    <a:pt x="469" y="95"/>
                  </a:cubicBezTo>
                  <a:cubicBezTo>
                    <a:pt x="470" y="83"/>
                    <a:pt x="470" y="83"/>
                    <a:pt x="470" y="83"/>
                  </a:cubicBezTo>
                  <a:cubicBezTo>
                    <a:pt x="470" y="83"/>
                    <a:pt x="470" y="83"/>
                    <a:pt x="470" y="83"/>
                  </a:cubicBezTo>
                  <a:cubicBezTo>
                    <a:pt x="470" y="83"/>
                    <a:pt x="471" y="81"/>
                    <a:pt x="472" y="80"/>
                  </a:cubicBezTo>
                  <a:cubicBezTo>
                    <a:pt x="471" y="80"/>
                    <a:pt x="469" y="81"/>
                    <a:pt x="469" y="81"/>
                  </a:cubicBezTo>
                  <a:cubicBezTo>
                    <a:pt x="469" y="81"/>
                    <a:pt x="469" y="81"/>
                    <a:pt x="469" y="81"/>
                  </a:cubicBezTo>
                  <a:cubicBezTo>
                    <a:pt x="469" y="79"/>
                    <a:pt x="469" y="79"/>
                    <a:pt x="469" y="79"/>
                  </a:cubicBezTo>
                  <a:cubicBezTo>
                    <a:pt x="469" y="81"/>
                    <a:pt x="469" y="81"/>
                    <a:pt x="469" y="81"/>
                  </a:cubicBezTo>
                  <a:cubicBezTo>
                    <a:pt x="468" y="81"/>
                    <a:pt x="465" y="80"/>
                    <a:pt x="464" y="79"/>
                  </a:cubicBezTo>
                  <a:cubicBezTo>
                    <a:pt x="463" y="78"/>
                    <a:pt x="463" y="77"/>
                    <a:pt x="463" y="76"/>
                  </a:cubicBezTo>
                  <a:cubicBezTo>
                    <a:pt x="464" y="74"/>
                    <a:pt x="465" y="73"/>
                    <a:pt x="466" y="72"/>
                  </a:cubicBezTo>
                  <a:cubicBezTo>
                    <a:pt x="467" y="71"/>
                    <a:pt x="467" y="71"/>
                    <a:pt x="468" y="70"/>
                  </a:cubicBezTo>
                  <a:cubicBezTo>
                    <a:pt x="469" y="69"/>
                    <a:pt x="470" y="68"/>
                    <a:pt x="470" y="68"/>
                  </a:cubicBezTo>
                  <a:cubicBezTo>
                    <a:pt x="470" y="63"/>
                    <a:pt x="470" y="63"/>
                    <a:pt x="470" y="63"/>
                  </a:cubicBezTo>
                  <a:cubicBezTo>
                    <a:pt x="470" y="62"/>
                    <a:pt x="469" y="61"/>
                    <a:pt x="469" y="60"/>
                  </a:cubicBezTo>
                  <a:cubicBezTo>
                    <a:pt x="469" y="60"/>
                    <a:pt x="466" y="54"/>
                    <a:pt x="465" y="51"/>
                  </a:cubicBezTo>
                  <a:cubicBezTo>
                    <a:pt x="464" y="51"/>
                    <a:pt x="464" y="51"/>
                    <a:pt x="463" y="51"/>
                  </a:cubicBezTo>
                  <a:cubicBezTo>
                    <a:pt x="462" y="53"/>
                    <a:pt x="461" y="55"/>
                    <a:pt x="461" y="55"/>
                  </a:cubicBezTo>
                  <a:cubicBezTo>
                    <a:pt x="461" y="57"/>
                    <a:pt x="461" y="57"/>
                    <a:pt x="461" y="57"/>
                  </a:cubicBezTo>
                  <a:cubicBezTo>
                    <a:pt x="453" y="56"/>
                    <a:pt x="453" y="56"/>
                    <a:pt x="453" y="56"/>
                  </a:cubicBezTo>
                  <a:cubicBezTo>
                    <a:pt x="450" y="53"/>
                    <a:pt x="450" y="53"/>
                    <a:pt x="450" y="53"/>
                  </a:cubicBezTo>
                  <a:cubicBezTo>
                    <a:pt x="445" y="52"/>
                    <a:pt x="445" y="52"/>
                    <a:pt x="445" y="52"/>
                  </a:cubicBezTo>
                  <a:cubicBezTo>
                    <a:pt x="445" y="52"/>
                    <a:pt x="444" y="53"/>
                    <a:pt x="444" y="53"/>
                  </a:cubicBezTo>
                  <a:cubicBezTo>
                    <a:pt x="443" y="54"/>
                    <a:pt x="443" y="54"/>
                    <a:pt x="443" y="54"/>
                  </a:cubicBezTo>
                  <a:cubicBezTo>
                    <a:pt x="442" y="54"/>
                    <a:pt x="442" y="54"/>
                    <a:pt x="442" y="54"/>
                  </a:cubicBezTo>
                  <a:cubicBezTo>
                    <a:pt x="441" y="54"/>
                    <a:pt x="440" y="53"/>
                    <a:pt x="437" y="51"/>
                  </a:cubicBezTo>
                  <a:cubicBezTo>
                    <a:pt x="436" y="53"/>
                    <a:pt x="435" y="54"/>
                    <a:pt x="434" y="54"/>
                  </a:cubicBezTo>
                  <a:cubicBezTo>
                    <a:pt x="433" y="54"/>
                    <a:pt x="433" y="54"/>
                    <a:pt x="433" y="54"/>
                  </a:cubicBezTo>
                  <a:cubicBezTo>
                    <a:pt x="433" y="54"/>
                    <a:pt x="433" y="54"/>
                    <a:pt x="433" y="54"/>
                  </a:cubicBezTo>
                  <a:cubicBezTo>
                    <a:pt x="431" y="54"/>
                    <a:pt x="429" y="54"/>
                    <a:pt x="426" y="53"/>
                  </a:cubicBezTo>
                  <a:cubicBezTo>
                    <a:pt x="420" y="54"/>
                    <a:pt x="420" y="54"/>
                    <a:pt x="420" y="54"/>
                  </a:cubicBezTo>
                  <a:cubicBezTo>
                    <a:pt x="414" y="55"/>
                    <a:pt x="414" y="55"/>
                    <a:pt x="414" y="55"/>
                  </a:cubicBezTo>
                  <a:cubicBezTo>
                    <a:pt x="410" y="53"/>
                    <a:pt x="410" y="53"/>
                    <a:pt x="410" y="53"/>
                  </a:cubicBezTo>
                  <a:cubicBezTo>
                    <a:pt x="411" y="57"/>
                    <a:pt x="411" y="57"/>
                    <a:pt x="411" y="57"/>
                  </a:cubicBezTo>
                  <a:cubicBezTo>
                    <a:pt x="405" y="61"/>
                    <a:pt x="405" y="61"/>
                    <a:pt x="405" y="61"/>
                  </a:cubicBezTo>
                  <a:cubicBezTo>
                    <a:pt x="399" y="58"/>
                    <a:pt x="399" y="58"/>
                    <a:pt x="399" y="58"/>
                  </a:cubicBezTo>
                  <a:cubicBezTo>
                    <a:pt x="395" y="57"/>
                    <a:pt x="395" y="57"/>
                    <a:pt x="395" y="57"/>
                  </a:cubicBezTo>
                  <a:cubicBezTo>
                    <a:pt x="389" y="52"/>
                    <a:pt x="389" y="52"/>
                    <a:pt x="389" y="52"/>
                  </a:cubicBezTo>
                  <a:cubicBezTo>
                    <a:pt x="382" y="49"/>
                    <a:pt x="382" y="49"/>
                    <a:pt x="382" y="49"/>
                  </a:cubicBezTo>
                  <a:cubicBezTo>
                    <a:pt x="381" y="51"/>
                    <a:pt x="380" y="54"/>
                    <a:pt x="378" y="54"/>
                  </a:cubicBezTo>
                  <a:cubicBezTo>
                    <a:pt x="377" y="55"/>
                    <a:pt x="373" y="56"/>
                    <a:pt x="372" y="56"/>
                  </a:cubicBezTo>
                  <a:cubicBezTo>
                    <a:pt x="372" y="57"/>
                    <a:pt x="371" y="58"/>
                    <a:pt x="371" y="59"/>
                  </a:cubicBezTo>
                  <a:cubicBezTo>
                    <a:pt x="371" y="60"/>
                    <a:pt x="371" y="60"/>
                    <a:pt x="371" y="60"/>
                  </a:cubicBezTo>
                  <a:cubicBezTo>
                    <a:pt x="365" y="64"/>
                    <a:pt x="365" y="64"/>
                    <a:pt x="365" y="64"/>
                  </a:cubicBezTo>
                  <a:cubicBezTo>
                    <a:pt x="365" y="63"/>
                    <a:pt x="365" y="63"/>
                    <a:pt x="365" y="63"/>
                  </a:cubicBezTo>
                  <a:cubicBezTo>
                    <a:pt x="364" y="63"/>
                    <a:pt x="364" y="63"/>
                    <a:pt x="363" y="63"/>
                  </a:cubicBezTo>
                  <a:cubicBezTo>
                    <a:pt x="363" y="63"/>
                    <a:pt x="362" y="62"/>
                    <a:pt x="362" y="62"/>
                  </a:cubicBezTo>
                  <a:cubicBezTo>
                    <a:pt x="361" y="62"/>
                    <a:pt x="361" y="62"/>
                    <a:pt x="361" y="62"/>
                  </a:cubicBezTo>
                  <a:cubicBezTo>
                    <a:pt x="360" y="65"/>
                    <a:pt x="360" y="65"/>
                    <a:pt x="360" y="65"/>
                  </a:cubicBezTo>
                  <a:cubicBezTo>
                    <a:pt x="359" y="65"/>
                    <a:pt x="359" y="65"/>
                    <a:pt x="359" y="65"/>
                  </a:cubicBezTo>
                  <a:cubicBezTo>
                    <a:pt x="359" y="65"/>
                    <a:pt x="358" y="65"/>
                    <a:pt x="358" y="65"/>
                  </a:cubicBezTo>
                  <a:cubicBezTo>
                    <a:pt x="357" y="65"/>
                    <a:pt x="356" y="65"/>
                    <a:pt x="354" y="63"/>
                  </a:cubicBezTo>
                  <a:cubicBezTo>
                    <a:pt x="352" y="63"/>
                    <a:pt x="350" y="61"/>
                    <a:pt x="350" y="61"/>
                  </a:cubicBezTo>
                  <a:cubicBezTo>
                    <a:pt x="348" y="61"/>
                    <a:pt x="348" y="61"/>
                    <a:pt x="348" y="61"/>
                  </a:cubicBezTo>
                  <a:cubicBezTo>
                    <a:pt x="345" y="62"/>
                    <a:pt x="343" y="63"/>
                    <a:pt x="342" y="63"/>
                  </a:cubicBezTo>
                  <a:cubicBezTo>
                    <a:pt x="342" y="65"/>
                    <a:pt x="341" y="66"/>
                    <a:pt x="340" y="67"/>
                  </a:cubicBezTo>
                  <a:cubicBezTo>
                    <a:pt x="339" y="68"/>
                    <a:pt x="339" y="68"/>
                    <a:pt x="339" y="68"/>
                  </a:cubicBezTo>
                  <a:cubicBezTo>
                    <a:pt x="333" y="64"/>
                    <a:pt x="333" y="64"/>
                    <a:pt x="333" y="64"/>
                  </a:cubicBezTo>
                  <a:cubicBezTo>
                    <a:pt x="327" y="60"/>
                    <a:pt x="327" y="60"/>
                    <a:pt x="327" y="60"/>
                  </a:cubicBezTo>
                  <a:cubicBezTo>
                    <a:pt x="327" y="54"/>
                    <a:pt x="327" y="54"/>
                    <a:pt x="327" y="54"/>
                  </a:cubicBezTo>
                  <a:cubicBezTo>
                    <a:pt x="318" y="47"/>
                    <a:pt x="318" y="47"/>
                    <a:pt x="318" y="47"/>
                  </a:cubicBezTo>
                  <a:cubicBezTo>
                    <a:pt x="316" y="38"/>
                    <a:pt x="316" y="38"/>
                    <a:pt x="316" y="38"/>
                  </a:cubicBezTo>
                  <a:cubicBezTo>
                    <a:pt x="312" y="35"/>
                    <a:pt x="312" y="35"/>
                    <a:pt x="312" y="35"/>
                  </a:cubicBezTo>
                  <a:cubicBezTo>
                    <a:pt x="309" y="39"/>
                    <a:pt x="309" y="39"/>
                    <a:pt x="309" y="39"/>
                  </a:cubicBezTo>
                  <a:cubicBezTo>
                    <a:pt x="301" y="38"/>
                    <a:pt x="301" y="38"/>
                    <a:pt x="301" y="38"/>
                  </a:cubicBezTo>
                  <a:cubicBezTo>
                    <a:pt x="297" y="40"/>
                    <a:pt x="297" y="40"/>
                    <a:pt x="297" y="40"/>
                  </a:cubicBezTo>
                  <a:cubicBezTo>
                    <a:pt x="296" y="41"/>
                    <a:pt x="293" y="43"/>
                    <a:pt x="292" y="43"/>
                  </a:cubicBezTo>
                  <a:cubicBezTo>
                    <a:pt x="291" y="43"/>
                    <a:pt x="289" y="42"/>
                    <a:pt x="289" y="41"/>
                  </a:cubicBezTo>
                  <a:cubicBezTo>
                    <a:pt x="288" y="39"/>
                    <a:pt x="289" y="38"/>
                    <a:pt x="289" y="36"/>
                  </a:cubicBezTo>
                  <a:cubicBezTo>
                    <a:pt x="288" y="36"/>
                    <a:pt x="287" y="36"/>
                    <a:pt x="286" y="35"/>
                  </a:cubicBezTo>
                  <a:cubicBezTo>
                    <a:pt x="286" y="34"/>
                    <a:pt x="286" y="33"/>
                    <a:pt x="286" y="31"/>
                  </a:cubicBezTo>
                  <a:cubicBezTo>
                    <a:pt x="286" y="31"/>
                    <a:pt x="286" y="30"/>
                    <a:pt x="286" y="29"/>
                  </a:cubicBezTo>
                  <a:cubicBezTo>
                    <a:pt x="286" y="29"/>
                    <a:pt x="285" y="29"/>
                    <a:pt x="284" y="28"/>
                  </a:cubicBezTo>
                  <a:cubicBezTo>
                    <a:pt x="283" y="28"/>
                    <a:pt x="281" y="27"/>
                    <a:pt x="280" y="25"/>
                  </a:cubicBezTo>
                  <a:cubicBezTo>
                    <a:pt x="280" y="24"/>
                    <a:pt x="280" y="23"/>
                    <a:pt x="281" y="21"/>
                  </a:cubicBezTo>
                  <a:cubicBezTo>
                    <a:pt x="282" y="19"/>
                    <a:pt x="284" y="18"/>
                    <a:pt x="286" y="17"/>
                  </a:cubicBezTo>
                  <a:cubicBezTo>
                    <a:pt x="284" y="16"/>
                    <a:pt x="284" y="16"/>
                    <a:pt x="284" y="16"/>
                  </a:cubicBezTo>
                  <a:cubicBezTo>
                    <a:pt x="274" y="11"/>
                    <a:pt x="274" y="11"/>
                    <a:pt x="274" y="11"/>
                  </a:cubicBezTo>
                  <a:cubicBezTo>
                    <a:pt x="274" y="10"/>
                    <a:pt x="274" y="10"/>
                    <a:pt x="274" y="10"/>
                  </a:cubicBezTo>
                  <a:cubicBezTo>
                    <a:pt x="273" y="8"/>
                    <a:pt x="273" y="7"/>
                    <a:pt x="273" y="7"/>
                  </a:cubicBezTo>
                  <a:cubicBezTo>
                    <a:pt x="272" y="6"/>
                    <a:pt x="270" y="5"/>
                    <a:pt x="269" y="4"/>
                  </a:cubicBezTo>
                  <a:cubicBezTo>
                    <a:pt x="269" y="3"/>
                    <a:pt x="266" y="1"/>
                    <a:pt x="264" y="0"/>
                  </a:cubicBezTo>
                  <a:cubicBezTo>
                    <a:pt x="263" y="0"/>
                    <a:pt x="262" y="2"/>
                    <a:pt x="261" y="4"/>
                  </a:cubicBezTo>
                  <a:cubicBezTo>
                    <a:pt x="260" y="7"/>
                    <a:pt x="260" y="7"/>
                    <a:pt x="260" y="7"/>
                  </a:cubicBezTo>
                  <a:cubicBezTo>
                    <a:pt x="255" y="3"/>
                    <a:pt x="255" y="3"/>
                    <a:pt x="255" y="3"/>
                  </a:cubicBezTo>
                  <a:cubicBezTo>
                    <a:pt x="251" y="5"/>
                    <a:pt x="251" y="5"/>
                    <a:pt x="251" y="5"/>
                  </a:cubicBezTo>
                  <a:cubicBezTo>
                    <a:pt x="246" y="12"/>
                    <a:pt x="246" y="12"/>
                    <a:pt x="246" y="12"/>
                  </a:cubicBezTo>
                  <a:cubicBezTo>
                    <a:pt x="242" y="13"/>
                    <a:pt x="242" y="13"/>
                    <a:pt x="242" y="13"/>
                  </a:cubicBezTo>
                  <a:cubicBezTo>
                    <a:pt x="231" y="15"/>
                    <a:pt x="231" y="15"/>
                    <a:pt x="231" y="15"/>
                  </a:cubicBezTo>
                  <a:cubicBezTo>
                    <a:pt x="230" y="18"/>
                    <a:pt x="230" y="18"/>
                    <a:pt x="230" y="18"/>
                  </a:cubicBezTo>
                  <a:cubicBezTo>
                    <a:pt x="231" y="24"/>
                    <a:pt x="231" y="24"/>
                    <a:pt x="231" y="24"/>
                  </a:cubicBezTo>
                  <a:cubicBezTo>
                    <a:pt x="225" y="28"/>
                    <a:pt x="225" y="28"/>
                    <a:pt x="225" y="28"/>
                  </a:cubicBezTo>
                  <a:cubicBezTo>
                    <a:pt x="215" y="27"/>
                    <a:pt x="215" y="27"/>
                    <a:pt x="215" y="27"/>
                  </a:cubicBezTo>
                  <a:cubicBezTo>
                    <a:pt x="215" y="27"/>
                    <a:pt x="215" y="27"/>
                    <a:pt x="215" y="27"/>
                  </a:cubicBezTo>
                  <a:cubicBezTo>
                    <a:pt x="213" y="26"/>
                    <a:pt x="213" y="26"/>
                    <a:pt x="213" y="26"/>
                  </a:cubicBezTo>
                  <a:cubicBezTo>
                    <a:pt x="208" y="27"/>
                    <a:pt x="208" y="27"/>
                    <a:pt x="208" y="27"/>
                  </a:cubicBezTo>
                  <a:cubicBezTo>
                    <a:pt x="205" y="32"/>
                    <a:pt x="205" y="32"/>
                    <a:pt x="205" y="32"/>
                  </a:cubicBezTo>
                  <a:cubicBezTo>
                    <a:pt x="195" y="32"/>
                    <a:pt x="195" y="32"/>
                    <a:pt x="195" y="32"/>
                  </a:cubicBezTo>
                  <a:cubicBezTo>
                    <a:pt x="194" y="41"/>
                    <a:pt x="194" y="41"/>
                    <a:pt x="194" y="41"/>
                  </a:cubicBezTo>
                  <a:cubicBezTo>
                    <a:pt x="191" y="48"/>
                    <a:pt x="191" y="48"/>
                    <a:pt x="191" y="48"/>
                  </a:cubicBezTo>
                  <a:cubicBezTo>
                    <a:pt x="189" y="55"/>
                    <a:pt x="189" y="55"/>
                    <a:pt x="189" y="55"/>
                  </a:cubicBezTo>
                  <a:cubicBezTo>
                    <a:pt x="191" y="59"/>
                    <a:pt x="191" y="59"/>
                    <a:pt x="191" y="59"/>
                  </a:cubicBezTo>
                  <a:cubicBezTo>
                    <a:pt x="194" y="65"/>
                    <a:pt x="194" y="65"/>
                    <a:pt x="194" y="65"/>
                  </a:cubicBezTo>
                  <a:cubicBezTo>
                    <a:pt x="198" y="70"/>
                    <a:pt x="198" y="70"/>
                    <a:pt x="198" y="70"/>
                  </a:cubicBezTo>
                  <a:cubicBezTo>
                    <a:pt x="198" y="70"/>
                    <a:pt x="198" y="70"/>
                    <a:pt x="198" y="70"/>
                  </a:cubicBezTo>
                  <a:cubicBezTo>
                    <a:pt x="193" y="72"/>
                    <a:pt x="193" y="72"/>
                    <a:pt x="193" y="72"/>
                  </a:cubicBezTo>
                  <a:cubicBezTo>
                    <a:pt x="190" y="72"/>
                    <a:pt x="190" y="72"/>
                    <a:pt x="190" y="72"/>
                  </a:cubicBezTo>
                  <a:cubicBezTo>
                    <a:pt x="187" y="68"/>
                    <a:pt x="187" y="68"/>
                    <a:pt x="187" y="68"/>
                  </a:cubicBezTo>
                  <a:cubicBezTo>
                    <a:pt x="182" y="66"/>
                    <a:pt x="182" y="66"/>
                    <a:pt x="182" y="66"/>
                  </a:cubicBezTo>
                  <a:cubicBezTo>
                    <a:pt x="176" y="69"/>
                    <a:pt x="176" y="69"/>
                    <a:pt x="176" y="69"/>
                  </a:cubicBezTo>
                  <a:cubicBezTo>
                    <a:pt x="171" y="70"/>
                    <a:pt x="171" y="70"/>
                    <a:pt x="171" y="70"/>
                  </a:cubicBezTo>
                  <a:cubicBezTo>
                    <a:pt x="169" y="70"/>
                    <a:pt x="169" y="70"/>
                    <a:pt x="169" y="70"/>
                  </a:cubicBezTo>
                  <a:cubicBezTo>
                    <a:pt x="167" y="73"/>
                    <a:pt x="167" y="73"/>
                    <a:pt x="167" y="73"/>
                  </a:cubicBezTo>
                  <a:cubicBezTo>
                    <a:pt x="163" y="76"/>
                    <a:pt x="163" y="76"/>
                    <a:pt x="163" y="76"/>
                  </a:cubicBezTo>
                  <a:cubicBezTo>
                    <a:pt x="163" y="76"/>
                    <a:pt x="161" y="74"/>
                    <a:pt x="160" y="74"/>
                  </a:cubicBezTo>
                  <a:cubicBezTo>
                    <a:pt x="159" y="73"/>
                    <a:pt x="157" y="71"/>
                    <a:pt x="157" y="71"/>
                  </a:cubicBezTo>
                  <a:cubicBezTo>
                    <a:pt x="157" y="71"/>
                    <a:pt x="156" y="69"/>
                    <a:pt x="155" y="69"/>
                  </a:cubicBezTo>
                  <a:cubicBezTo>
                    <a:pt x="154" y="69"/>
                    <a:pt x="150" y="72"/>
                    <a:pt x="150" y="72"/>
                  </a:cubicBezTo>
                  <a:cubicBezTo>
                    <a:pt x="150" y="72"/>
                    <a:pt x="146" y="74"/>
                    <a:pt x="146" y="75"/>
                  </a:cubicBezTo>
                  <a:cubicBezTo>
                    <a:pt x="146" y="75"/>
                    <a:pt x="146" y="79"/>
                    <a:pt x="146" y="79"/>
                  </a:cubicBezTo>
                  <a:cubicBezTo>
                    <a:pt x="140" y="74"/>
                    <a:pt x="140" y="74"/>
                    <a:pt x="140" y="74"/>
                  </a:cubicBezTo>
                  <a:cubicBezTo>
                    <a:pt x="136" y="77"/>
                    <a:pt x="136" y="77"/>
                    <a:pt x="136" y="77"/>
                  </a:cubicBezTo>
                  <a:cubicBezTo>
                    <a:pt x="133" y="75"/>
                    <a:pt x="133" y="75"/>
                    <a:pt x="133" y="75"/>
                  </a:cubicBezTo>
                  <a:cubicBezTo>
                    <a:pt x="131" y="74"/>
                    <a:pt x="131" y="74"/>
                    <a:pt x="131" y="74"/>
                  </a:cubicBezTo>
                  <a:cubicBezTo>
                    <a:pt x="127" y="80"/>
                    <a:pt x="127" y="80"/>
                    <a:pt x="127" y="80"/>
                  </a:cubicBezTo>
                  <a:cubicBezTo>
                    <a:pt x="123" y="78"/>
                    <a:pt x="123" y="78"/>
                    <a:pt x="123" y="78"/>
                  </a:cubicBezTo>
                  <a:cubicBezTo>
                    <a:pt x="122" y="84"/>
                    <a:pt x="122" y="84"/>
                    <a:pt x="122" y="84"/>
                  </a:cubicBezTo>
                  <a:cubicBezTo>
                    <a:pt x="117" y="81"/>
                    <a:pt x="117" y="81"/>
                    <a:pt x="117" y="81"/>
                  </a:cubicBezTo>
                  <a:cubicBezTo>
                    <a:pt x="117" y="81"/>
                    <a:pt x="113" y="79"/>
                    <a:pt x="113" y="80"/>
                  </a:cubicBezTo>
                  <a:cubicBezTo>
                    <a:pt x="112" y="80"/>
                    <a:pt x="110" y="83"/>
                    <a:pt x="110" y="83"/>
                  </a:cubicBezTo>
                  <a:cubicBezTo>
                    <a:pt x="105" y="80"/>
                    <a:pt x="105" y="80"/>
                    <a:pt x="105" y="80"/>
                  </a:cubicBezTo>
                  <a:cubicBezTo>
                    <a:pt x="103" y="77"/>
                    <a:pt x="103" y="77"/>
                    <a:pt x="103" y="77"/>
                  </a:cubicBezTo>
                  <a:cubicBezTo>
                    <a:pt x="103" y="77"/>
                    <a:pt x="94" y="78"/>
                    <a:pt x="93" y="78"/>
                  </a:cubicBezTo>
                  <a:cubicBezTo>
                    <a:pt x="92" y="79"/>
                    <a:pt x="86" y="78"/>
                    <a:pt x="86" y="78"/>
                  </a:cubicBezTo>
                  <a:cubicBezTo>
                    <a:pt x="79" y="79"/>
                    <a:pt x="79" y="79"/>
                    <a:pt x="79" y="79"/>
                  </a:cubicBezTo>
                  <a:cubicBezTo>
                    <a:pt x="68" y="79"/>
                    <a:pt x="68" y="79"/>
                    <a:pt x="68" y="79"/>
                  </a:cubicBezTo>
                  <a:cubicBezTo>
                    <a:pt x="59" y="80"/>
                    <a:pt x="59" y="80"/>
                    <a:pt x="59" y="80"/>
                  </a:cubicBezTo>
                  <a:cubicBezTo>
                    <a:pt x="52" y="80"/>
                    <a:pt x="52" y="80"/>
                    <a:pt x="52" y="80"/>
                  </a:cubicBezTo>
                  <a:cubicBezTo>
                    <a:pt x="46" y="84"/>
                    <a:pt x="46" y="84"/>
                    <a:pt x="46" y="84"/>
                  </a:cubicBezTo>
                  <a:cubicBezTo>
                    <a:pt x="41" y="84"/>
                    <a:pt x="41" y="84"/>
                    <a:pt x="41" y="84"/>
                  </a:cubicBezTo>
                  <a:cubicBezTo>
                    <a:pt x="34" y="85"/>
                    <a:pt x="34" y="85"/>
                    <a:pt x="34" y="85"/>
                  </a:cubicBezTo>
                  <a:cubicBezTo>
                    <a:pt x="33" y="85"/>
                    <a:pt x="33" y="85"/>
                    <a:pt x="33" y="85"/>
                  </a:cubicBezTo>
                  <a:cubicBezTo>
                    <a:pt x="33" y="86"/>
                    <a:pt x="33" y="86"/>
                    <a:pt x="33" y="86"/>
                  </a:cubicBezTo>
                  <a:cubicBezTo>
                    <a:pt x="30" y="88"/>
                    <a:pt x="30" y="88"/>
                    <a:pt x="30" y="88"/>
                  </a:cubicBezTo>
                  <a:cubicBezTo>
                    <a:pt x="30" y="89"/>
                    <a:pt x="30" y="89"/>
                    <a:pt x="30" y="89"/>
                  </a:cubicBezTo>
                  <a:cubicBezTo>
                    <a:pt x="28" y="91"/>
                    <a:pt x="28" y="91"/>
                    <a:pt x="28" y="91"/>
                  </a:cubicBezTo>
                  <a:cubicBezTo>
                    <a:pt x="28" y="94"/>
                    <a:pt x="28" y="94"/>
                    <a:pt x="28" y="94"/>
                  </a:cubicBezTo>
                  <a:cubicBezTo>
                    <a:pt x="27" y="96"/>
                    <a:pt x="25" y="98"/>
                    <a:pt x="24" y="99"/>
                  </a:cubicBezTo>
                  <a:cubicBezTo>
                    <a:pt x="24" y="99"/>
                    <a:pt x="24" y="99"/>
                    <a:pt x="24" y="99"/>
                  </a:cubicBezTo>
                  <a:cubicBezTo>
                    <a:pt x="24" y="99"/>
                    <a:pt x="22" y="98"/>
                    <a:pt x="22" y="100"/>
                  </a:cubicBezTo>
                  <a:cubicBezTo>
                    <a:pt x="22" y="100"/>
                    <a:pt x="22" y="101"/>
                    <a:pt x="22" y="101"/>
                  </a:cubicBezTo>
                  <a:cubicBezTo>
                    <a:pt x="20" y="101"/>
                    <a:pt x="15" y="100"/>
                    <a:pt x="15" y="100"/>
                  </a:cubicBezTo>
                  <a:cubicBezTo>
                    <a:pt x="13" y="101"/>
                    <a:pt x="13" y="101"/>
                    <a:pt x="13" y="101"/>
                  </a:cubicBezTo>
                  <a:cubicBezTo>
                    <a:pt x="13" y="102"/>
                    <a:pt x="14" y="102"/>
                    <a:pt x="14" y="103"/>
                  </a:cubicBezTo>
                  <a:cubicBezTo>
                    <a:pt x="15" y="103"/>
                    <a:pt x="15" y="104"/>
                    <a:pt x="16" y="104"/>
                  </a:cubicBezTo>
                  <a:cubicBezTo>
                    <a:pt x="18" y="110"/>
                    <a:pt x="18" y="110"/>
                    <a:pt x="18" y="110"/>
                  </a:cubicBezTo>
                  <a:cubicBezTo>
                    <a:pt x="18" y="113"/>
                    <a:pt x="18" y="113"/>
                    <a:pt x="18" y="113"/>
                  </a:cubicBezTo>
                  <a:cubicBezTo>
                    <a:pt x="18" y="114"/>
                    <a:pt x="18" y="114"/>
                    <a:pt x="18" y="114"/>
                  </a:cubicBezTo>
                  <a:cubicBezTo>
                    <a:pt x="20" y="114"/>
                    <a:pt x="21" y="116"/>
                    <a:pt x="22" y="118"/>
                  </a:cubicBezTo>
                  <a:cubicBezTo>
                    <a:pt x="22" y="118"/>
                    <a:pt x="23" y="119"/>
                    <a:pt x="25" y="120"/>
                  </a:cubicBezTo>
                  <a:cubicBezTo>
                    <a:pt x="26" y="120"/>
                    <a:pt x="26" y="120"/>
                    <a:pt x="26" y="120"/>
                  </a:cubicBezTo>
                  <a:cubicBezTo>
                    <a:pt x="26" y="122"/>
                    <a:pt x="26" y="122"/>
                    <a:pt x="26" y="122"/>
                  </a:cubicBezTo>
                  <a:cubicBezTo>
                    <a:pt x="26" y="122"/>
                    <a:pt x="26" y="123"/>
                    <a:pt x="26" y="124"/>
                  </a:cubicBezTo>
                  <a:cubicBezTo>
                    <a:pt x="27" y="124"/>
                    <a:pt x="27" y="124"/>
                    <a:pt x="27" y="124"/>
                  </a:cubicBezTo>
                  <a:cubicBezTo>
                    <a:pt x="28" y="125"/>
                    <a:pt x="29" y="125"/>
                    <a:pt x="30" y="125"/>
                  </a:cubicBezTo>
                  <a:cubicBezTo>
                    <a:pt x="33" y="126"/>
                    <a:pt x="34" y="128"/>
                    <a:pt x="34" y="129"/>
                  </a:cubicBezTo>
                  <a:cubicBezTo>
                    <a:pt x="34" y="130"/>
                    <a:pt x="34" y="130"/>
                    <a:pt x="35" y="130"/>
                  </a:cubicBezTo>
                  <a:cubicBezTo>
                    <a:pt x="35" y="130"/>
                    <a:pt x="38" y="132"/>
                    <a:pt x="38" y="134"/>
                  </a:cubicBezTo>
                  <a:cubicBezTo>
                    <a:pt x="38" y="136"/>
                    <a:pt x="37" y="137"/>
                    <a:pt x="36" y="137"/>
                  </a:cubicBezTo>
                  <a:cubicBezTo>
                    <a:pt x="35" y="137"/>
                    <a:pt x="34" y="137"/>
                    <a:pt x="34" y="137"/>
                  </a:cubicBezTo>
                  <a:cubicBezTo>
                    <a:pt x="37" y="141"/>
                    <a:pt x="37" y="141"/>
                    <a:pt x="37" y="141"/>
                  </a:cubicBezTo>
                  <a:cubicBezTo>
                    <a:pt x="37" y="147"/>
                    <a:pt x="37" y="147"/>
                    <a:pt x="37" y="147"/>
                  </a:cubicBezTo>
                  <a:cubicBezTo>
                    <a:pt x="37" y="148"/>
                    <a:pt x="37" y="150"/>
                    <a:pt x="37" y="151"/>
                  </a:cubicBezTo>
                  <a:cubicBezTo>
                    <a:pt x="37" y="152"/>
                    <a:pt x="36" y="155"/>
                    <a:pt x="33" y="155"/>
                  </a:cubicBezTo>
                  <a:cubicBezTo>
                    <a:pt x="33" y="155"/>
                    <a:pt x="33" y="155"/>
                    <a:pt x="33" y="156"/>
                  </a:cubicBezTo>
                  <a:cubicBezTo>
                    <a:pt x="32" y="156"/>
                    <a:pt x="32" y="157"/>
                    <a:pt x="31" y="157"/>
                  </a:cubicBezTo>
                  <a:cubicBezTo>
                    <a:pt x="31" y="158"/>
                    <a:pt x="31" y="158"/>
                    <a:pt x="31" y="158"/>
                  </a:cubicBezTo>
                  <a:cubicBezTo>
                    <a:pt x="30" y="158"/>
                    <a:pt x="30" y="158"/>
                    <a:pt x="30" y="158"/>
                  </a:cubicBezTo>
                  <a:cubicBezTo>
                    <a:pt x="30" y="158"/>
                    <a:pt x="30" y="158"/>
                    <a:pt x="29" y="158"/>
                  </a:cubicBezTo>
                  <a:cubicBezTo>
                    <a:pt x="29" y="158"/>
                    <a:pt x="29" y="158"/>
                    <a:pt x="29" y="158"/>
                  </a:cubicBezTo>
                  <a:cubicBezTo>
                    <a:pt x="28" y="160"/>
                    <a:pt x="28" y="160"/>
                    <a:pt x="28" y="160"/>
                  </a:cubicBezTo>
                  <a:cubicBezTo>
                    <a:pt x="27" y="162"/>
                    <a:pt x="26" y="163"/>
                    <a:pt x="26" y="164"/>
                  </a:cubicBezTo>
                  <a:cubicBezTo>
                    <a:pt x="26" y="164"/>
                    <a:pt x="25" y="165"/>
                    <a:pt x="25" y="165"/>
                  </a:cubicBezTo>
                  <a:cubicBezTo>
                    <a:pt x="24" y="165"/>
                    <a:pt x="23" y="166"/>
                    <a:pt x="23" y="167"/>
                  </a:cubicBezTo>
                  <a:cubicBezTo>
                    <a:pt x="23" y="167"/>
                    <a:pt x="22" y="168"/>
                    <a:pt x="22" y="168"/>
                  </a:cubicBezTo>
                  <a:cubicBezTo>
                    <a:pt x="22" y="168"/>
                    <a:pt x="22" y="168"/>
                    <a:pt x="21" y="170"/>
                  </a:cubicBezTo>
                  <a:cubicBezTo>
                    <a:pt x="19" y="175"/>
                    <a:pt x="19" y="176"/>
                    <a:pt x="19" y="176"/>
                  </a:cubicBezTo>
                  <a:cubicBezTo>
                    <a:pt x="11" y="187"/>
                    <a:pt x="11" y="187"/>
                    <a:pt x="11" y="187"/>
                  </a:cubicBezTo>
                  <a:cubicBezTo>
                    <a:pt x="9" y="190"/>
                    <a:pt x="8" y="193"/>
                    <a:pt x="8" y="193"/>
                  </a:cubicBezTo>
                  <a:cubicBezTo>
                    <a:pt x="8" y="193"/>
                    <a:pt x="7" y="195"/>
                    <a:pt x="8" y="196"/>
                  </a:cubicBezTo>
                  <a:cubicBezTo>
                    <a:pt x="11" y="199"/>
                    <a:pt x="11" y="199"/>
                    <a:pt x="11" y="199"/>
                  </a:cubicBezTo>
                  <a:cubicBezTo>
                    <a:pt x="11" y="203"/>
                    <a:pt x="11" y="203"/>
                    <a:pt x="11" y="203"/>
                  </a:cubicBezTo>
                  <a:cubicBezTo>
                    <a:pt x="11" y="203"/>
                    <a:pt x="11" y="204"/>
                    <a:pt x="11" y="204"/>
                  </a:cubicBezTo>
                  <a:cubicBezTo>
                    <a:pt x="12" y="205"/>
                    <a:pt x="12" y="205"/>
                    <a:pt x="12" y="205"/>
                  </a:cubicBezTo>
                  <a:cubicBezTo>
                    <a:pt x="12" y="208"/>
                    <a:pt x="12" y="208"/>
                    <a:pt x="12" y="208"/>
                  </a:cubicBezTo>
                  <a:cubicBezTo>
                    <a:pt x="12" y="208"/>
                    <a:pt x="12" y="208"/>
                    <a:pt x="12" y="209"/>
                  </a:cubicBezTo>
                  <a:cubicBezTo>
                    <a:pt x="12" y="209"/>
                    <a:pt x="13" y="209"/>
                    <a:pt x="14" y="210"/>
                  </a:cubicBezTo>
                  <a:cubicBezTo>
                    <a:pt x="16" y="211"/>
                    <a:pt x="16" y="212"/>
                    <a:pt x="16" y="212"/>
                  </a:cubicBezTo>
                  <a:cubicBezTo>
                    <a:pt x="16" y="213"/>
                    <a:pt x="17" y="214"/>
                    <a:pt x="16" y="216"/>
                  </a:cubicBezTo>
                  <a:cubicBezTo>
                    <a:pt x="16" y="217"/>
                    <a:pt x="15" y="218"/>
                    <a:pt x="13" y="219"/>
                  </a:cubicBezTo>
                  <a:cubicBezTo>
                    <a:pt x="13" y="219"/>
                    <a:pt x="13" y="219"/>
                    <a:pt x="13" y="219"/>
                  </a:cubicBezTo>
                  <a:cubicBezTo>
                    <a:pt x="13" y="219"/>
                    <a:pt x="13" y="219"/>
                    <a:pt x="12" y="219"/>
                  </a:cubicBezTo>
                  <a:cubicBezTo>
                    <a:pt x="11" y="219"/>
                    <a:pt x="11" y="218"/>
                    <a:pt x="10" y="218"/>
                  </a:cubicBezTo>
                  <a:cubicBezTo>
                    <a:pt x="10" y="218"/>
                    <a:pt x="8" y="218"/>
                    <a:pt x="7" y="218"/>
                  </a:cubicBezTo>
                  <a:cubicBezTo>
                    <a:pt x="7" y="218"/>
                    <a:pt x="7" y="218"/>
                    <a:pt x="7" y="218"/>
                  </a:cubicBezTo>
                  <a:cubicBezTo>
                    <a:pt x="5" y="219"/>
                    <a:pt x="5" y="219"/>
                    <a:pt x="5" y="219"/>
                  </a:cubicBezTo>
                  <a:cubicBezTo>
                    <a:pt x="5" y="220"/>
                    <a:pt x="5" y="220"/>
                    <a:pt x="5" y="221"/>
                  </a:cubicBezTo>
                  <a:cubicBezTo>
                    <a:pt x="5" y="222"/>
                    <a:pt x="5" y="222"/>
                    <a:pt x="5" y="222"/>
                  </a:cubicBezTo>
                  <a:cubicBezTo>
                    <a:pt x="5" y="222"/>
                    <a:pt x="5" y="222"/>
                    <a:pt x="5" y="222"/>
                  </a:cubicBezTo>
                  <a:cubicBezTo>
                    <a:pt x="5" y="222"/>
                    <a:pt x="5" y="224"/>
                    <a:pt x="5" y="224"/>
                  </a:cubicBezTo>
                  <a:cubicBezTo>
                    <a:pt x="4" y="225"/>
                    <a:pt x="4" y="225"/>
                    <a:pt x="4" y="225"/>
                  </a:cubicBezTo>
                  <a:cubicBezTo>
                    <a:pt x="4" y="225"/>
                    <a:pt x="4" y="226"/>
                    <a:pt x="4" y="226"/>
                  </a:cubicBezTo>
                  <a:cubicBezTo>
                    <a:pt x="5" y="228"/>
                    <a:pt x="5" y="228"/>
                    <a:pt x="5" y="228"/>
                  </a:cubicBezTo>
                  <a:cubicBezTo>
                    <a:pt x="4" y="230"/>
                    <a:pt x="4" y="230"/>
                    <a:pt x="4" y="230"/>
                  </a:cubicBezTo>
                  <a:cubicBezTo>
                    <a:pt x="4" y="230"/>
                    <a:pt x="4" y="230"/>
                    <a:pt x="4" y="230"/>
                  </a:cubicBezTo>
                  <a:cubicBezTo>
                    <a:pt x="4" y="231"/>
                    <a:pt x="4" y="232"/>
                    <a:pt x="3" y="234"/>
                  </a:cubicBezTo>
                  <a:cubicBezTo>
                    <a:pt x="3" y="234"/>
                    <a:pt x="2" y="234"/>
                    <a:pt x="2" y="235"/>
                  </a:cubicBezTo>
                  <a:cubicBezTo>
                    <a:pt x="1" y="236"/>
                    <a:pt x="1" y="236"/>
                    <a:pt x="1" y="236"/>
                  </a:cubicBezTo>
                  <a:cubicBezTo>
                    <a:pt x="1" y="236"/>
                    <a:pt x="1" y="236"/>
                    <a:pt x="1" y="236"/>
                  </a:cubicBezTo>
                  <a:cubicBezTo>
                    <a:pt x="1" y="237"/>
                    <a:pt x="1" y="237"/>
                    <a:pt x="0" y="238"/>
                  </a:cubicBezTo>
                  <a:cubicBezTo>
                    <a:pt x="0" y="238"/>
                    <a:pt x="0" y="238"/>
                    <a:pt x="0" y="238"/>
                  </a:cubicBezTo>
                  <a:cubicBezTo>
                    <a:pt x="0" y="238"/>
                    <a:pt x="0" y="238"/>
                    <a:pt x="0" y="239"/>
                  </a:cubicBezTo>
                  <a:cubicBezTo>
                    <a:pt x="0" y="239"/>
                    <a:pt x="1" y="239"/>
                    <a:pt x="1" y="240"/>
                  </a:cubicBezTo>
                  <a:cubicBezTo>
                    <a:pt x="1" y="240"/>
                    <a:pt x="1" y="240"/>
                    <a:pt x="1" y="240"/>
                  </a:cubicBezTo>
                  <a:cubicBezTo>
                    <a:pt x="1" y="240"/>
                    <a:pt x="1" y="240"/>
                    <a:pt x="1" y="240"/>
                  </a:cubicBezTo>
                  <a:cubicBezTo>
                    <a:pt x="1" y="241"/>
                    <a:pt x="1" y="241"/>
                    <a:pt x="1" y="242"/>
                  </a:cubicBezTo>
                  <a:cubicBezTo>
                    <a:pt x="1" y="242"/>
                    <a:pt x="1" y="242"/>
                    <a:pt x="1" y="242"/>
                  </a:cubicBezTo>
                  <a:cubicBezTo>
                    <a:pt x="1" y="243"/>
                    <a:pt x="1" y="243"/>
                    <a:pt x="1" y="243"/>
                  </a:cubicBezTo>
                  <a:cubicBezTo>
                    <a:pt x="1" y="245"/>
                    <a:pt x="1" y="245"/>
                    <a:pt x="1" y="245"/>
                  </a:cubicBezTo>
                  <a:cubicBezTo>
                    <a:pt x="0" y="247"/>
                    <a:pt x="0" y="247"/>
                    <a:pt x="0" y="247"/>
                  </a:cubicBezTo>
                  <a:cubicBezTo>
                    <a:pt x="0" y="248"/>
                    <a:pt x="0" y="248"/>
                    <a:pt x="0" y="248"/>
                  </a:cubicBezTo>
                  <a:cubicBezTo>
                    <a:pt x="0" y="248"/>
                    <a:pt x="0" y="248"/>
                    <a:pt x="0" y="248"/>
                  </a:cubicBezTo>
                  <a:cubicBezTo>
                    <a:pt x="0" y="248"/>
                    <a:pt x="0" y="248"/>
                    <a:pt x="0" y="248"/>
                  </a:cubicBezTo>
                  <a:cubicBezTo>
                    <a:pt x="4" y="246"/>
                    <a:pt x="4" y="246"/>
                    <a:pt x="4" y="246"/>
                  </a:cubicBezTo>
                  <a:cubicBezTo>
                    <a:pt x="7" y="249"/>
                    <a:pt x="7" y="249"/>
                    <a:pt x="7" y="249"/>
                  </a:cubicBezTo>
                  <a:cubicBezTo>
                    <a:pt x="9" y="251"/>
                    <a:pt x="9" y="251"/>
                    <a:pt x="9" y="251"/>
                  </a:cubicBezTo>
                  <a:cubicBezTo>
                    <a:pt x="13" y="251"/>
                    <a:pt x="13" y="251"/>
                    <a:pt x="13" y="251"/>
                  </a:cubicBezTo>
                  <a:cubicBezTo>
                    <a:pt x="16" y="254"/>
                    <a:pt x="16" y="254"/>
                    <a:pt x="16" y="254"/>
                  </a:cubicBezTo>
                  <a:cubicBezTo>
                    <a:pt x="18" y="257"/>
                    <a:pt x="18" y="257"/>
                    <a:pt x="18" y="257"/>
                  </a:cubicBezTo>
                  <a:cubicBezTo>
                    <a:pt x="22" y="256"/>
                    <a:pt x="22" y="256"/>
                    <a:pt x="22" y="256"/>
                  </a:cubicBezTo>
                  <a:cubicBezTo>
                    <a:pt x="26" y="259"/>
                    <a:pt x="26" y="259"/>
                    <a:pt x="26" y="259"/>
                  </a:cubicBezTo>
                  <a:cubicBezTo>
                    <a:pt x="25" y="261"/>
                    <a:pt x="25" y="261"/>
                    <a:pt x="25" y="261"/>
                  </a:cubicBezTo>
                  <a:cubicBezTo>
                    <a:pt x="25" y="261"/>
                    <a:pt x="25" y="261"/>
                    <a:pt x="25" y="260"/>
                  </a:cubicBezTo>
                  <a:cubicBezTo>
                    <a:pt x="26" y="257"/>
                    <a:pt x="26" y="257"/>
                    <a:pt x="26" y="257"/>
                  </a:cubicBezTo>
                  <a:cubicBezTo>
                    <a:pt x="27" y="256"/>
                    <a:pt x="27" y="256"/>
                    <a:pt x="27" y="256"/>
                  </a:cubicBezTo>
                  <a:cubicBezTo>
                    <a:pt x="27" y="256"/>
                    <a:pt x="28" y="255"/>
                    <a:pt x="28" y="255"/>
                  </a:cubicBezTo>
                  <a:cubicBezTo>
                    <a:pt x="29" y="254"/>
                    <a:pt x="30" y="254"/>
                    <a:pt x="32" y="253"/>
                  </a:cubicBezTo>
                  <a:cubicBezTo>
                    <a:pt x="32" y="250"/>
                    <a:pt x="32" y="250"/>
                    <a:pt x="32" y="250"/>
                  </a:cubicBezTo>
                  <a:cubicBezTo>
                    <a:pt x="35" y="253"/>
                    <a:pt x="35" y="253"/>
                    <a:pt x="35" y="253"/>
                  </a:cubicBezTo>
                  <a:cubicBezTo>
                    <a:pt x="35" y="254"/>
                    <a:pt x="36" y="254"/>
                    <a:pt x="37" y="255"/>
                  </a:cubicBezTo>
                  <a:cubicBezTo>
                    <a:pt x="39" y="255"/>
                    <a:pt x="39" y="255"/>
                    <a:pt x="39" y="255"/>
                  </a:cubicBezTo>
                  <a:cubicBezTo>
                    <a:pt x="40" y="255"/>
                    <a:pt x="42" y="254"/>
                    <a:pt x="45" y="254"/>
                  </a:cubicBezTo>
                  <a:cubicBezTo>
                    <a:pt x="45" y="254"/>
                    <a:pt x="45" y="254"/>
                    <a:pt x="45" y="254"/>
                  </a:cubicBezTo>
                  <a:cubicBezTo>
                    <a:pt x="55" y="255"/>
                    <a:pt x="55" y="255"/>
                    <a:pt x="55" y="255"/>
                  </a:cubicBezTo>
                  <a:cubicBezTo>
                    <a:pt x="60" y="252"/>
                    <a:pt x="60" y="252"/>
                    <a:pt x="60" y="252"/>
                  </a:cubicBezTo>
                  <a:cubicBezTo>
                    <a:pt x="71" y="253"/>
                    <a:pt x="71" y="253"/>
                    <a:pt x="71" y="253"/>
                  </a:cubicBezTo>
                  <a:cubicBezTo>
                    <a:pt x="76" y="252"/>
                    <a:pt x="76" y="252"/>
                    <a:pt x="76" y="252"/>
                  </a:cubicBezTo>
                  <a:cubicBezTo>
                    <a:pt x="80" y="255"/>
                    <a:pt x="80" y="255"/>
                    <a:pt x="80" y="255"/>
                  </a:cubicBezTo>
                  <a:cubicBezTo>
                    <a:pt x="85" y="255"/>
                    <a:pt x="85" y="255"/>
                    <a:pt x="85" y="255"/>
                  </a:cubicBezTo>
                  <a:cubicBezTo>
                    <a:pt x="88" y="250"/>
                    <a:pt x="88" y="250"/>
                    <a:pt x="88" y="250"/>
                  </a:cubicBezTo>
                  <a:cubicBezTo>
                    <a:pt x="89" y="249"/>
                    <a:pt x="92" y="246"/>
                    <a:pt x="95" y="246"/>
                  </a:cubicBezTo>
                  <a:cubicBezTo>
                    <a:pt x="97" y="246"/>
                    <a:pt x="102" y="244"/>
                    <a:pt x="103" y="244"/>
                  </a:cubicBezTo>
                  <a:cubicBezTo>
                    <a:pt x="110" y="240"/>
                    <a:pt x="110" y="240"/>
                    <a:pt x="110" y="240"/>
                  </a:cubicBezTo>
                  <a:cubicBezTo>
                    <a:pt x="110" y="240"/>
                    <a:pt x="110" y="240"/>
                    <a:pt x="110" y="240"/>
                  </a:cubicBezTo>
                  <a:cubicBezTo>
                    <a:pt x="111" y="240"/>
                    <a:pt x="111" y="239"/>
                    <a:pt x="112" y="239"/>
                  </a:cubicBezTo>
                  <a:cubicBezTo>
                    <a:pt x="113" y="237"/>
                    <a:pt x="114" y="236"/>
                    <a:pt x="116" y="235"/>
                  </a:cubicBezTo>
                  <a:cubicBezTo>
                    <a:pt x="116" y="235"/>
                    <a:pt x="116" y="234"/>
                    <a:pt x="116" y="233"/>
                  </a:cubicBezTo>
                  <a:cubicBezTo>
                    <a:pt x="116" y="232"/>
                    <a:pt x="116" y="231"/>
                    <a:pt x="117" y="230"/>
                  </a:cubicBezTo>
                  <a:cubicBezTo>
                    <a:pt x="117" y="229"/>
                    <a:pt x="119" y="227"/>
                    <a:pt x="121" y="226"/>
                  </a:cubicBezTo>
                  <a:cubicBezTo>
                    <a:pt x="122" y="226"/>
                    <a:pt x="122" y="226"/>
                    <a:pt x="122" y="226"/>
                  </a:cubicBezTo>
                  <a:cubicBezTo>
                    <a:pt x="122" y="226"/>
                    <a:pt x="122" y="226"/>
                    <a:pt x="122" y="226"/>
                  </a:cubicBezTo>
                  <a:cubicBezTo>
                    <a:pt x="124" y="224"/>
                    <a:pt x="124" y="224"/>
                    <a:pt x="124" y="224"/>
                  </a:cubicBezTo>
                  <a:cubicBezTo>
                    <a:pt x="125" y="222"/>
                    <a:pt x="125" y="222"/>
                    <a:pt x="125" y="222"/>
                  </a:cubicBezTo>
                  <a:cubicBezTo>
                    <a:pt x="127" y="221"/>
                    <a:pt x="127" y="221"/>
                    <a:pt x="127" y="221"/>
                  </a:cubicBezTo>
                  <a:cubicBezTo>
                    <a:pt x="127" y="221"/>
                    <a:pt x="128" y="220"/>
                    <a:pt x="128" y="220"/>
                  </a:cubicBezTo>
                  <a:cubicBezTo>
                    <a:pt x="128" y="220"/>
                    <a:pt x="128" y="220"/>
                    <a:pt x="128" y="220"/>
                  </a:cubicBezTo>
                  <a:cubicBezTo>
                    <a:pt x="128" y="220"/>
                    <a:pt x="128" y="220"/>
                    <a:pt x="128" y="220"/>
                  </a:cubicBezTo>
                  <a:cubicBezTo>
                    <a:pt x="130" y="218"/>
                    <a:pt x="130" y="218"/>
                    <a:pt x="130" y="218"/>
                  </a:cubicBezTo>
                  <a:cubicBezTo>
                    <a:pt x="130" y="218"/>
                    <a:pt x="130" y="218"/>
                    <a:pt x="130" y="218"/>
                  </a:cubicBezTo>
                  <a:cubicBezTo>
                    <a:pt x="130" y="218"/>
                    <a:pt x="130" y="218"/>
                    <a:pt x="131" y="218"/>
                  </a:cubicBezTo>
                  <a:cubicBezTo>
                    <a:pt x="131" y="217"/>
                    <a:pt x="131" y="217"/>
                    <a:pt x="131" y="217"/>
                  </a:cubicBezTo>
                  <a:cubicBezTo>
                    <a:pt x="132" y="216"/>
                    <a:pt x="132" y="216"/>
                    <a:pt x="132" y="216"/>
                  </a:cubicBezTo>
                  <a:cubicBezTo>
                    <a:pt x="133" y="217"/>
                    <a:pt x="133" y="217"/>
                    <a:pt x="133" y="217"/>
                  </a:cubicBezTo>
                  <a:cubicBezTo>
                    <a:pt x="135" y="217"/>
                    <a:pt x="135" y="217"/>
                    <a:pt x="135" y="217"/>
                  </a:cubicBezTo>
                  <a:cubicBezTo>
                    <a:pt x="135" y="217"/>
                    <a:pt x="135" y="217"/>
                    <a:pt x="135" y="217"/>
                  </a:cubicBezTo>
                  <a:cubicBezTo>
                    <a:pt x="136" y="217"/>
                    <a:pt x="136" y="217"/>
                    <a:pt x="136" y="217"/>
                  </a:cubicBezTo>
                  <a:cubicBezTo>
                    <a:pt x="136" y="217"/>
                    <a:pt x="136" y="216"/>
                    <a:pt x="136" y="216"/>
                  </a:cubicBezTo>
                  <a:cubicBezTo>
                    <a:pt x="137" y="215"/>
                    <a:pt x="138" y="215"/>
                    <a:pt x="138" y="215"/>
                  </a:cubicBezTo>
                  <a:cubicBezTo>
                    <a:pt x="139" y="215"/>
                    <a:pt x="139" y="215"/>
                    <a:pt x="140" y="215"/>
                  </a:cubicBezTo>
                  <a:cubicBezTo>
                    <a:pt x="140" y="215"/>
                    <a:pt x="142" y="215"/>
                    <a:pt x="142" y="215"/>
                  </a:cubicBezTo>
                  <a:cubicBezTo>
                    <a:pt x="142" y="215"/>
                    <a:pt x="142" y="215"/>
                    <a:pt x="142" y="215"/>
                  </a:cubicBezTo>
                  <a:cubicBezTo>
                    <a:pt x="142" y="215"/>
                    <a:pt x="143" y="214"/>
                    <a:pt x="143" y="214"/>
                  </a:cubicBezTo>
                  <a:cubicBezTo>
                    <a:pt x="143" y="214"/>
                    <a:pt x="143" y="214"/>
                    <a:pt x="143" y="214"/>
                  </a:cubicBezTo>
                  <a:cubicBezTo>
                    <a:pt x="143" y="212"/>
                    <a:pt x="144" y="212"/>
                    <a:pt x="145" y="211"/>
                  </a:cubicBezTo>
                  <a:cubicBezTo>
                    <a:pt x="146" y="211"/>
                    <a:pt x="146" y="211"/>
                    <a:pt x="146" y="211"/>
                  </a:cubicBezTo>
                  <a:cubicBezTo>
                    <a:pt x="146" y="211"/>
                    <a:pt x="146" y="211"/>
                    <a:pt x="146" y="211"/>
                  </a:cubicBezTo>
                  <a:cubicBezTo>
                    <a:pt x="146" y="211"/>
                    <a:pt x="147" y="211"/>
                    <a:pt x="147" y="211"/>
                  </a:cubicBezTo>
                  <a:cubicBezTo>
                    <a:pt x="147" y="211"/>
                    <a:pt x="147" y="211"/>
                    <a:pt x="147" y="211"/>
                  </a:cubicBezTo>
                  <a:cubicBezTo>
                    <a:pt x="148" y="210"/>
                    <a:pt x="149" y="210"/>
                    <a:pt x="149" y="209"/>
                  </a:cubicBezTo>
                  <a:cubicBezTo>
                    <a:pt x="149" y="209"/>
                    <a:pt x="149" y="209"/>
                    <a:pt x="149" y="209"/>
                  </a:cubicBezTo>
                  <a:cubicBezTo>
                    <a:pt x="150" y="208"/>
                    <a:pt x="150" y="207"/>
                    <a:pt x="152" y="207"/>
                  </a:cubicBezTo>
                  <a:cubicBezTo>
                    <a:pt x="153" y="207"/>
                    <a:pt x="154" y="208"/>
                    <a:pt x="154" y="209"/>
                  </a:cubicBezTo>
                  <a:cubicBezTo>
                    <a:pt x="154" y="209"/>
                    <a:pt x="154" y="209"/>
                    <a:pt x="154" y="209"/>
                  </a:cubicBezTo>
                  <a:cubicBezTo>
                    <a:pt x="155" y="208"/>
                    <a:pt x="156" y="207"/>
                    <a:pt x="157" y="207"/>
                  </a:cubicBezTo>
                  <a:cubicBezTo>
                    <a:pt x="158" y="207"/>
                    <a:pt x="159" y="208"/>
                    <a:pt x="160" y="208"/>
                  </a:cubicBezTo>
                  <a:cubicBezTo>
                    <a:pt x="160" y="208"/>
                    <a:pt x="160" y="208"/>
                    <a:pt x="160" y="208"/>
                  </a:cubicBezTo>
                  <a:cubicBezTo>
                    <a:pt x="160" y="209"/>
                    <a:pt x="161" y="209"/>
                    <a:pt x="161" y="209"/>
                  </a:cubicBezTo>
                  <a:cubicBezTo>
                    <a:pt x="162" y="209"/>
                    <a:pt x="162" y="209"/>
                    <a:pt x="162" y="209"/>
                  </a:cubicBezTo>
                  <a:cubicBezTo>
                    <a:pt x="162" y="209"/>
                    <a:pt x="163" y="210"/>
                    <a:pt x="164" y="210"/>
                  </a:cubicBezTo>
                  <a:cubicBezTo>
                    <a:pt x="164" y="211"/>
                    <a:pt x="164" y="211"/>
                    <a:pt x="165" y="211"/>
                  </a:cubicBezTo>
                  <a:cubicBezTo>
                    <a:pt x="165" y="211"/>
                    <a:pt x="166" y="211"/>
                    <a:pt x="167" y="211"/>
                  </a:cubicBezTo>
                  <a:cubicBezTo>
                    <a:pt x="168" y="210"/>
                    <a:pt x="168" y="210"/>
                    <a:pt x="168" y="210"/>
                  </a:cubicBezTo>
                  <a:cubicBezTo>
                    <a:pt x="170" y="212"/>
                    <a:pt x="170" y="212"/>
                    <a:pt x="170" y="212"/>
                  </a:cubicBezTo>
                  <a:cubicBezTo>
                    <a:pt x="170" y="212"/>
                    <a:pt x="170" y="212"/>
                    <a:pt x="171" y="212"/>
                  </a:cubicBezTo>
                  <a:cubicBezTo>
                    <a:pt x="171" y="212"/>
                    <a:pt x="172" y="212"/>
                    <a:pt x="172" y="213"/>
                  </a:cubicBezTo>
                  <a:cubicBezTo>
                    <a:pt x="172" y="212"/>
                    <a:pt x="173" y="212"/>
                    <a:pt x="173" y="212"/>
                  </a:cubicBezTo>
                  <a:cubicBezTo>
                    <a:pt x="173" y="212"/>
                    <a:pt x="174" y="211"/>
                    <a:pt x="176" y="211"/>
                  </a:cubicBezTo>
                  <a:cubicBezTo>
                    <a:pt x="176" y="211"/>
                    <a:pt x="177" y="211"/>
                    <a:pt x="177" y="212"/>
                  </a:cubicBezTo>
                  <a:cubicBezTo>
                    <a:pt x="178" y="212"/>
                    <a:pt x="179" y="213"/>
                    <a:pt x="179" y="214"/>
                  </a:cubicBezTo>
                  <a:cubicBezTo>
                    <a:pt x="179" y="214"/>
                    <a:pt x="180" y="214"/>
                    <a:pt x="180" y="214"/>
                  </a:cubicBezTo>
                  <a:cubicBezTo>
                    <a:pt x="180" y="214"/>
                    <a:pt x="180" y="214"/>
                    <a:pt x="180" y="214"/>
                  </a:cubicBezTo>
                  <a:cubicBezTo>
                    <a:pt x="180" y="214"/>
                    <a:pt x="181" y="213"/>
                    <a:pt x="188" y="213"/>
                  </a:cubicBezTo>
                  <a:cubicBezTo>
                    <a:pt x="189" y="213"/>
                    <a:pt x="189" y="213"/>
                    <a:pt x="189" y="213"/>
                  </a:cubicBezTo>
                  <a:cubicBezTo>
                    <a:pt x="192" y="212"/>
                    <a:pt x="192" y="212"/>
                    <a:pt x="192" y="212"/>
                  </a:cubicBezTo>
                  <a:cubicBezTo>
                    <a:pt x="192" y="213"/>
                    <a:pt x="192" y="213"/>
                    <a:pt x="192" y="213"/>
                  </a:cubicBezTo>
                  <a:cubicBezTo>
                    <a:pt x="194" y="217"/>
                    <a:pt x="194" y="217"/>
                    <a:pt x="194" y="217"/>
                  </a:cubicBezTo>
                  <a:cubicBezTo>
                    <a:pt x="195" y="217"/>
                    <a:pt x="195" y="218"/>
                    <a:pt x="196" y="219"/>
                  </a:cubicBezTo>
                  <a:cubicBezTo>
                    <a:pt x="196" y="219"/>
                    <a:pt x="196" y="219"/>
                    <a:pt x="197" y="219"/>
                  </a:cubicBezTo>
                  <a:cubicBezTo>
                    <a:pt x="197" y="219"/>
                    <a:pt x="197" y="218"/>
                    <a:pt x="197" y="218"/>
                  </a:cubicBezTo>
                  <a:cubicBezTo>
                    <a:pt x="198" y="216"/>
                    <a:pt x="199" y="216"/>
                    <a:pt x="200" y="216"/>
                  </a:cubicBezTo>
                  <a:cubicBezTo>
                    <a:pt x="202" y="216"/>
                    <a:pt x="204" y="218"/>
                    <a:pt x="204" y="219"/>
                  </a:cubicBezTo>
                  <a:cubicBezTo>
                    <a:pt x="207" y="220"/>
                    <a:pt x="207" y="220"/>
                    <a:pt x="207" y="220"/>
                  </a:cubicBezTo>
                  <a:cubicBezTo>
                    <a:pt x="208" y="222"/>
                    <a:pt x="208" y="222"/>
                    <a:pt x="208" y="222"/>
                  </a:cubicBezTo>
                  <a:cubicBezTo>
                    <a:pt x="207" y="224"/>
                    <a:pt x="207" y="224"/>
                    <a:pt x="207" y="224"/>
                  </a:cubicBezTo>
                  <a:cubicBezTo>
                    <a:pt x="209" y="225"/>
                    <a:pt x="209" y="225"/>
                    <a:pt x="209" y="225"/>
                  </a:cubicBezTo>
                  <a:cubicBezTo>
                    <a:pt x="208" y="228"/>
                    <a:pt x="208" y="228"/>
                    <a:pt x="208" y="228"/>
                  </a:cubicBezTo>
                  <a:cubicBezTo>
                    <a:pt x="209" y="228"/>
                    <a:pt x="209" y="229"/>
                    <a:pt x="209" y="229"/>
                  </a:cubicBezTo>
                  <a:cubicBezTo>
                    <a:pt x="209" y="230"/>
                    <a:pt x="209" y="231"/>
                    <a:pt x="209" y="231"/>
                  </a:cubicBezTo>
                  <a:cubicBezTo>
                    <a:pt x="210" y="231"/>
                    <a:pt x="210" y="231"/>
                    <a:pt x="210" y="231"/>
                  </a:cubicBezTo>
                  <a:cubicBezTo>
                    <a:pt x="210" y="235"/>
                    <a:pt x="210" y="235"/>
                    <a:pt x="210" y="235"/>
                  </a:cubicBezTo>
                  <a:cubicBezTo>
                    <a:pt x="209" y="236"/>
                    <a:pt x="209" y="236"/>
                    <a:pt x="209" y="236"/>
                  </a:cubicBezTo>
                  <a:cubicBezTo>
                    <a:pt x="210" y="237"/>
                    <a:pt x="210" y="237"/>
                    <a:pt x="210" y="237"/>
                  </a:cubicBezTo>
                  <a:cubicBezTo>
                    <a:pt x="212" y="237"/>
                    <a:pt x="212" y="237"/>
                    <a:pt x="212" y="237"/>
                  </a:cubicBezTo>
                  <a:cubicBezTo>
                    <a:pt x="214" y="239"/>
                    <a:pt x="214" y="239"/>
                    <a:pt x="214" y="239"/>
                  </a:cubicBezTo>
                  <a:cubicBezTo>
                    <a:pt x="217" y="240"/>
                    <a:pt x="217" y="240"/>
                    <a:pt x="217" y="240"/>
                  </a:cubicBezTo>
                  <a:cubicBezTo>
                    <a:pt x="217" y="239"/>
                    <a:pt x="217" y="239"/>
                    <a:pt x="217" y="239"/>
                  </a:cubicBezTo>
                  <a:cubicBezTo>
                    <a:pt x="223" y="240"/>
                    <a:pt x="223" y="240"/>
                    <a:pt x="223" y="240"/>
                  </a:cubicBezTo>
                  <a:cubicBezTo>
                    <a:pt x="225" y="245"/>
                    <a:pt x="225" y="245"/>
                    <a:pt x="225" y="245"/>
                  </a:cubicBezTo>
                  <a:cubicBezTo>
                    <a:pt x="225" y="245"/>
                    <a:pt x="225" y="245"/>
                    <a:pt x="225" y="245"/>
                  </a:cubicBezTo>
                  <a:cubicBezTo>
                    <a:pt x="225" y="245"/>
                    <a:pt x="225" y="245"/>
                    <a:pt x="225" y="245"/>
                  </a:cubicBezTo>
                  <a:cubicBezTo>
                    <a:pt x="225" y="245"/>
                    <a:pt x="225" y="246"/>
                    <a:pt x="225" y="246"/>
                  </a:cubicBezTo>
                  <a:cubicBezTo>
                    <a:pt x="225" y="246"/>
                    <a:pt x="225" y="248"/>
                    <a:pt x="225" y="248"/>
                  </a:cubicBezTo>
                  <a:cubicBezTo>
                    <a:pt x="226" y="250"/>
                    <a:pt x="226" y="250"/>
                    <a:pt x="226" y="250"/>
                  </a:cubicBezTo>
                  <a:cubicBezTo>
                    <a:pt x="226" y="250"/>
                    <a:pt x="226" y="250"/>
                    <a:pt x="226" y="250"/>
                  </a:cubicBezTo>
                  <a:cubicBezTo>
                    <a:pt x="228" y="251"/>
                    <a:pt x="228" y="253"/>
                    <a:pt x="228" y="254"/>
                  </a:cubicBezTo>
                  <a:cubicBezTo>
                    <a:pt x="228" y="254"/>
                    <a:pt x="228" y="254"/>
                    <a:pt x="228" y="254"/>
                  </a:cubicBezTo>
                  <a:cubicBezTo>
                    <a:pt x="228" y="254"/>
                    <a:pt x="228" y="255"/>
                    <a:pt x="228" y="256"/>
                  </a:cubicBezTo>
                  <a:cubicBezTo>
                    <a:pt x="228" y="256"/>
                    <a:pt x="228" y="256"/>
                    <a:pt x="228" y="256"/>
                  </a:cubicBezTo>
                  <a:cubicBezTo>
                    <a:pt x="229" y="256"/>
                    <a:pt x="230" y="256"/>
                    <a:pt x="230" y="256"/>
                  </a:cubicBezTo>
                  <a:cubicBezTo>
                    <a:pt x="230" y="256"/>
                    <a:pt x="230" y="256"/>
                    <a:pt x="230" y="256"/>
                  </a:cubicBezTo>
                  <a:cubicBezTo>
                    <a:pt x="231" y="256"/>
                    <a:pt x="231" y="256"/>
                    <a:pt x="231" y="256"/>
                  </a:cubicBezTo>
                  <a:cubicBezTo>
                    <a:pt x="233" y="256"/>
                    <a:pt x="233" y="256"/>
                    <a:pt x="233" y="256"/>
                  </a:cubicBezTo>
                  <a:cubicBezTo>
                    <a:pt x="235" y="256"/>
                    <a:pt x="235" y="256"/>
                    <a:pt x="235" y="256"/>
                  </a:cubicBezTo>
                  <a:cubicBezTo>
                    <a:pt x="237" y="257"/>
                    <a:pt x="237" y="257"/>
                    <a:pt x="237" y="257"/>
                  </a:cubicBezTo>
                  <a:cubicBezTo>
                    <a:pt x="239" y="256"/>
                    <a:pt x="239" y="256"/>
                    <a:pt x="239" y="256"/>
                  </a:cubicBezTo>
                  <a:cubicBezTo>
                    <a:pt x="241" y="259"/>
                    <a:pt x="241" y="259"/>
                    <a:pt x="241" y="259"/>
                  </a:cubicBezTo>
                  <a:cubicBezTo>
                    <a:pt x="242" y="262"/>
                    <a:pt x="242" y="263"/>
                    <a:pt x="242" y="264"/>
                  </a:cubicBezTo>
                  <a:cubicBezTo>
                    <a:pt x="242" y="264"/>
                    <a:pt x="242" y="265"/>
                    <a:pt x="243" y="265"/>
                  </a:cubicBezTo>
                  <a:cubicBezTo>
                    <a:pt x="243" y="266"/>
                    <a:pt x="243" y="266"/>
                    <a:pt x="243" y="266"/>
                  </a:cubicBezTo>
                  <a:cubicBezTo>
                    <a:pt x="243" y="266"/>
                    <a:pt x="243" y="266"/>
                    <a:pt x="243" y="266"/>
                  </a:cubicBezTo>
                  <a:cubicBezTo>
                    <a:pt x="243" y="267"/>
                    <a:pt x="243" y="268"/>
                    <a:pt x="243" y="268"/>
                  </a:cubicBezTo>
                  <a:cubicBezTo>
                    <a:pt x="244" y="269"/>
                    <a:pt x="244" y="269"/>
                    <a:pt x="244" y="269"/>
                  </a:cubicBezTo>
                  <a:cubicBezTo>
                    <a:pt x="244" y="269"/>
                    <a:pt x="244" y="269"/>
                    <a:pt x="244" y="269"/>
                  </a:cubicBezTo>
                  <a:cubicBezTo>
                    <a:pt x="244" y="270"/>
                    <a:pt x="244" y="270"/>
                    <a:pt x="244" y="270"/>
                  </a:cubicBezTo>
                  <a:cubicBezTo>
                    <a:pt x="243" y="270"/>
                    <a:pt x="243" y="270"/>
                    <a:pt x="243" y="270"/>
                  </a:cubicBezTo>
                  <a:cubicBezTo>
                    <a:pt x="245" y="272"/>
                    <a:pt x="245" y="272"/>
                    <a:pt x="245" y="272"/>
                  </a:cubicBezTo>
                  <a:cubicBezTo>
                    <a:pt x="246" y="272"/>
                    <a:pt x="246" y="272"/>
                    <a:pt x="246" y="272"/>
                  </a:cubicBezTo>
                  <a:cubicBezTo>
                    <a:pt x="247" y="272"/>
                    <a:pt x="247" y="272"/>
                    <a:pt x="247" y="272"/>
                  </a:cubicBezTo>
                  <a:cubicBezTo>
                    <a:pt x="247" y="272"/>
                    <a:pt x="247" y="272"/>
                    <a:pt x="247" y="272"/>
                  </a:cubicBezTo>
                  <a:cubicBezTo>
                    <a:pt x="250" y="272"/>
                    <a:pt x="251" y="273"/>
                    <a:pt x="252" y="275"/>
                  </a:cubicBezTo>
                  <a:cubicBezTo>
                    <a:pt x="252" y="277"/>
                    <a:pt x="249" y="278"/>
                    <a:pt x="247" y="278"/>
                  </a:cubicBezTo>
                  <a:cubicBezTo>
                    <a:pt x="246" y="279"/>
                    <a:pt x="245" y="279"/>
                    <a:pt x="245" y="279"/>
                  </a:cubicBezTo>
                  <a:cubicBezTo>
                    <a:pt x="244" y="281"/>
                    <a:pt x="244" y="281"/>
                    <a:pt x="244" y="281"/>
                  </a:cubicBezTo>
                  <a:cubicBezTo>
                    <a:pt x="239" y="282"/>
                    <a:pt x="239" y="282"/>
                    <a:pt x="239" y="282"/>
                  </a:cubicBezTo>
                  <a:cubicBezTo>
                    <a:pt x="238" y="280"/>
                    <a:pt x="238" y="280"/>
                    <a:pt x="238" y="280"/>
                  </a:cubicBezTo>
                  <a:cubicBezTo>
                    <a:pt x="238" y="280"/>
                    <a:pt x="238" y="280"/>
                    <a:pt x="238" y="280"/>
                  </a:cubicBezTo>
                  <a:cubicBezTo>
                    <a:pt x="238" y="280"/>
                    <a:pt x="238" y="280"/>
                    <a:pt x="238" y="280"/>
                  </a:cubicBezTo>
                  <a:cubicBezTo>
                    <a:pt x="238" y="281"/>
                    <a:pt x="237" y="282"/>
                    <a:pt x="235" y="283"/>
                  </a:cubicBezTo>
                  <a:cubicBezTo>
                    <a:pt x="234" y="283"/>
                    <a:pt x="234" y="283"/>
                    <a:pt x="234" y="283"/>
                  </a:cubicBezTo>
                  <a:cubicBezTo>
                    <a:pt x="233" y="283"/>
                    <a:pt x="233" y="283"/>
                    <a:pt x="233" y="283"/>
                  </a:cubicBezTo>
                  <a:cubicBezTo>
                    <a:pt x="232" y="282"/>
                    <a:pt x="232" y="282"/>
                    <a:pt x="232" y="282"/>
                  </a:cubicBezTo>
                  <a:cubicBezTo>
                    <a:pt x="232" y="282"/>
                    <a:pt x="232" y="282"/>
                    <a:pt x="232" y="282"/>
                  </a:cubicBezTo>
                  <a:cubicBezTo>
                    <a:pt x="231" y="282"/>
                    <a:pt x="231" y="282"/>
                    <a:pt x="231" y="282"/>
                  </a:cubicBezTo>
                  <a:cubicBezTo>
                    <a:pt x="230" y="282"/>
                    <a:pt x="230" y="282"/>
                    <a:pt x="230" y="282"/>
                  </a:cubicBezTo>
                  <a:cubicBezTo>
                    <a:pt x="230" y="282"/>
                    <a:pt x="230" y="282"/>
                    <a:pt x="230" y="282"/>
                  </a:cubicBezTo>
                  <a:cubicBezTo>
                    <a:pt x="230" y="282"/>
                    <a:pt x="230" y="282"/>
                    <a:pt x="230" y="282"/>
                  </a:cubicBezTo>
                  <a:cubicBezTo>
                    <a:pt x="229" y="282"/>
                    <a:pt x="229" y="283"/>
                    <a:pt x="229" y="283"/>
                  </a:cubicBezTo>
                  <a:cubicBezTo>
                    <a:pt x="229" y="283"/>
                    <a:pt x="229" y="283"/>
                    <a:pt x="229" y="283"/>
                  </a:cubicBezTo>
                  <a:cubicBezTo>
                    <a:pt x="228" y="283"/>
                    <a:pt x="228" y="283"/>
                    <a:pt x="228" y="283"/>
                  </a:cubicBezTo>
                  <a:cubicBezTo>
                    <a:pt x="228" y="283"/>
                    <a:pt x="227" y="283"/>
                    <a:pt x="227" y="283"/>
                  </a:cubicBezTo>
                  <a:cubicBezTo>
                    <a:pt x="227" y="283"/>
                    <a:pt x="227" y="283"/>
                    <a:pt x="227" y="283"/>
                  </a:cubicBezTo>
                  <a:cubicBezTo>
                    <a:pt x="226" y="283"/>
                    <a:pt x="226" y="283"/>
                    <a:pt x="226" y="283"/>
                  </a:cubicBezTo>
                  <a:cubicBezTo>
                    <a:pt x="226" y="284"/>
                    <a:pt x="226" y="284"/>
                    <a:pt x="226" y="284"/>
                  </a:cubicBezTo>
                  <a:cubicBezTo>
                    <a:pt x="225" y="285"/>
                    <a:pt x="225" y="286"/>
                    <a:pt x="223" y="287"/>
                  </a:cubicBezTo>
                  <a:cubicBezTo>
                    <a:pt x="223" y="287"/>
                    <a:pt x="223" y="287"/>
                    <a:pt x="223" y="287"/>
                  </a:cubicBezTo>
                  <a:cubicBezTo>
                    <a:pt x="223" y="287"/>
                    <a:pt x="223" y="287"/>
                    <a:pt x="223" y="287"/>
                  </a:cubicBezTo>
                  <a:cubicBezTo>
                    <a:pt x="222" y="287"/>
                    <a:pt x="221" y="287"/>
                    <a:pt x="220" y="286"/>
                  </a:cubicBezTo>
                  <a:cubicBezTo>
                    <a:pt x="220" y="285"/>
                    <a:pt x="220" y="284"/>
                    <a:pt x="220" y="283"/>
                  </a:cubicBezTo>
                  <a:cubicBezTo>
                    <a:pt x="219" y="280"/>
                    <a:pt x="219" y="280"/>
                    <a:pt x="219" y="280"/>
                  </a:cubicBezTo>
                  <a:cubicBezTo>
                    <a:pt x="218" y="281"/>
                    <a:pt x="218" y="281"/>
                    <a:pt x="218" y="281"/>
                  </a:cubicBezTo>
                  <a:cubicBezTo>
                    <a:pt x="218" y="281"/>
                    <a:pt x="218" y="282"/>
                    <a:pt x="218" y="282"/>
                  </a:cubicBezTo>
                  <a:cubicBezTo>
                    <a:pt x="217" y="283"/>
                    <a:pt x="217" y="284"/>
                    <a:pt x="216" y="285"/>
                  </a:cubicBezTo>
                  <a:cubicBezTo>
                    <a:pt x="216" y="285"/>
                    <a:pt x="216" y="285"/>
                    <a:pt x="216" y="285"/>
                  </a:cubicBezTo>
                  <a:cubicBezTo>
                    <a:pt x="218" y="287"/>
                    <a:pt x="218" y="287"/>
                    <a:pt x="218" y="287"/>
                  </a:cubicBezTo>
                  <a:cubicBezTo>
                    <a:pt x="218" y="289"/>
                    <a:pt x="218" y="289"/>
                    <a:pt x="218" y="289"/>
                  </a:cubicBezTo>
                  <a:cubicBezTo>
                    <a:pt x="219" y="290"/>
                    <a:pt x="219" y="290"/>
                    <a:pt x="219" y="290"/>
                  </a:cubicBezTo>
                  <a:cubicBezTo>
                    <a:pt x="219" y="290"/>
                    <a:pt x="219" y="290"/>
                    <a:pt x="219" y="290"/>
                  </a:cubicBezTo>
                  <a:cubicBezTo>
                    <a:pt x="219" y="290"/>
                    <a:pt x="220" y="290"/>
                    <a:pt x="221" y="290"/>
                  </a:cubicBezTo>
                  <a:cubicBezTo>
                    <a:pt x="221" y="291"/>
                    <a:pt x="221" y="291"/>
                    <a:pt x="221" y="291"/>
                  </a:cubicBezTo>
                  <a:cubicBezTo>
                    <a:pt x="221" y="291"/>
                    <a:pt x="221" y="291"/>
                    <a:pt x="221" y="291"/>
                  </a:cubicBezTo>
                  <a:cubicBezTo>
                    <a:pt x="222" y="293"/>
                    <a:pt x="222" y="294"/>
                    <a:pt x="222" y="295"/>
                  </a:cubicBezTo>
                  <a:cubicBezTo>
                    <a:pt x="221" y="297"/>
                    <a:pt x="221" y="297"/>
                    <a:pt x="221" y="297"/>
                  </a:cubicBezTo>
                  <a:cubicBezTo>
                    <a:pt x="222" y="298"/>
                    <a:pt x="222" y="299"/>
                    <a:pt x="222" y="299"/>
                  </a:cubicBezTo>
                  <a:cubicBezTo>
                    <a:pt x="223" y="300"/>
                    <a:pt x="222" y="302"/>
                    <a:pt x="220" y="303"/>
                  </a:cubicBezTo>
                  <a:cubicBezTo>
                    <a:pt x="220" y="304"/>
                    <a:pt x="217" y="306"/>
                    <a:pt x="217" y="306"/>
                  </a:cubicBezTo>
                  <a:cubicBezTo>
                    <a:pt x="217" y="306"/>
                    <a:pt x="217" y="306"/>
                    <a:pt x="217" y="306"/>
                  </a:cubicBezTo>
                  <a:cubicBezTo>
                    <a:pt x="218" y="310"/>
                    <a:pt x="218" y="310"/>
                    <a:pt x="218" y="310"/>
                  </a:cubicBezTo>
                  <a:cubicBezTo>
                    <a:pt x="218" y="311"/>
                    <a:pt x="218" y="311"/>
                    <a:pt x="218" y="311"/>
                  </a:cubicBezTo>
                  <a:cubicBezTo>
                    <a:pt x="218" y="311"/>
                    <a:pt x="217" y="312"/>
                    <a:pt x="216" y="312"/>
                  </a:cubicBezTo>
                  <a:cubicBezTo>
                    <a:pt x="216" y="312"/>
                    <a:pt x="216" y="314"/>
                    <a:pt x="216" y="314"/>
                  </a:cubicBezTo>
                  <a:cubicBezTo>
                    <a:pt x="214" y="315"/>
                    <a:pt x="214" y="315"/>
                    <a:pt x="214" y="315"/>
                  </a:cubicBezTo>
                  <a:cubicBezTo>
                    <a:pt x="214" y="315"/>
                    <a:pt x="214" y="315"/>
                    <a:pt x="214" y="315"/>
                  </a:cubicBezTo>
                  <a:cubicBezTo>
                    <a:pt x="214" y="316"/>
                    <a:pt x="214" y="317"/>
                    <a:pt x="214" y="317"/>
                  </a:cubicBezTo>
                  <a:cubicBezTo>
                    <a:pt x="213" y="318"/>
                    <a:pt x="213" y="318"/>
                    <a:pt x="213" y="318"/>
                  </a:cubicBezTo>
                  <a:cubicBezTo>
                    <a:pt x="213" y="318"/>
                    <a:pt x="213" y="318"/>
                    <a:pt x="213" y="318"/>
                  </a:cubicBezTo>
                  <a:cubicBezTo>
                    <a:pt x="213" y="319"/>
                    <a:pt x="213" y="319"/>
                    <a:pt x="213" y="319"/>
                  </a:cubicBezTo>
                  <a:cubicBezTo>
                    <a:pt x="216" y="320"/>
                    <a:pt x="216" y="320"/>
                    <a:pt x="216" y="320"/>
                  </a:cubicBezTo>
                  <a:cubicBezTo>
                    <a:pt x="215" y="323"/>
                    <a:pt x="215" y="323"/>
                    <a:pt x="215" y="323"/>
                  </a:cubicBezTo>
                  <a:cubicBezTo>
                    <a:pt x="215" y="325"/>
                    <a:pt x="215" y="325"/>
                    <a:pt x="215" y="325"/>
                  </a:cubicBezTo>
                  <a:cubicBezTo>
                    <a:pt x="215" y="326"/>
                    <a:pt x="215" y="326"/>
                    <a:pt x="215" y="326"/>
                  </a:cubicBezTo>
                  <a:cubicBezTo>
                    <a:pt x="214" y="327"/>
                    <a:pt x="212" y="328"/>
                    <a:pt x="212" y="328"/>
                  </a:cubicBezTo>
                  <a:cubicBezTo>
                    <a:pt x="211" y="328"/>
                    <a:pt x="211" y="328"/>
                    <a:pt x="210" y="328"/>
                  </a:cubicBezTo>
                  <a:cubicBezTo>
                    <a:pt x="209" y="328"/>
                    <a:pt x="209" y="328"/>
                    <a:pt x="209" y="328"/>
                  </a:cubicBezTo>
                  <a:cubicBezTo>
                    <a:pt x="207" y="329"/>
                    <a:pt x="207" y="329"/>
                    <a:pt x="207" y="329"/>
                  </a:cubicBezTo>
                  <a:cubicBezTo>
                    <a:pt x="206" y="332"/>
                    <a:pt x="206" y="332"/>
                    <a:pt x="206" y="332"/>
                  </a:cubicBezTo>
                  <a:cubicBezTo>
                    <a:pt x="210" y="335"/>
                    <a:pt x="215" y="336"/>
                    <a:pt x="221" y="337"/>
                  </a:cubicBezTo>
                  <a:cubicBezTo>
                    <a:pt x="223" y="337"/>
                    <a:pt x="223" y="337"/>
                    <a:pt x="223" y="337"/>
                  </a:cubicBezTo>
                  <a:cubicBezTo>
                    <a:pt x="226" y="333"/>
                    <a:pt x="226" y="333"/>
                    <a:pt x="226" y="333"/>
                  </a:cubicBezTo>
                  <a:cubicBezTo>
                    <a:pt x="227" y="331"/>
                    <a:pt x="232" y="322"/>
                    <a:pt x="238" y="320"/>
                  </a:cubicBezTo>
                  <a:cubicBezTo>
                    <a:pt x="238" y="319"/>
                    <a:pt x="238" y="319"/>
                    <a:pt x="238" y="319"/>
                  </a:cubicBezTo>
                  <a:cubicBezTo>
                    <a:pt x="240" y="320"/>
                    <a:pt x="240" y="320"/>
                    <a:pt x="240" y="320"/>
                  </a:cubicBezTo>
                  <a:cubicBezTo>
                    <a:pt x="248" y="322"/>
                    <a:pt x="248" y="322"/>
                    <a:pt x="248" y="322"/>
                  </a:cubicBezTo>
                  <a:cubicBezTo>
                    <a:pt x="250" y="322"/>
                    <a:pt x="250" y="322"/>
                    <a:pt x="250" y="322"/>
                  </a:cubicBezTo>
                  <a:cubicBezTo>
                    <a:pt x="247" y="317"/>
                    <a:pt x="241" y="311"/>
                    <a:pt x="242" y="309"/>
                  </a:cubicBezTo>
                  <a:cubicBezTo>
                    <a:pt x="244" y="307"/>
                    <a:pt x="248" y="302"/>
                    <a:pt x="250" y="298"/>
                  </a:cubicBezTo>
                  <a:cubicBezTo>
                    <a:pt x="252" y="295"/>
                    <a:pt x="260" y="292"/>
                    <a:pt x="260" y="292"/>
                  </a:cubicBezTo>
                  <a:cubicBezTo>
                    <a:pt x="266" y="281"/>
                    <a:pt x="266" y="281"/>
                    <a:pt x="266" y="281"/>
                  </a:cubicBezTo>
                  <a:cubicBezTo>
                    <a:pt x="264" y="262"/>
                    <a:pt x="263" y="257"/>
                    <a:pt x="282" y="255"/>
                  </a:cubicBezTo>
                  <a:cubicBezTo>
                    <a:pt x="286" y="254"/>
                    <a:pt x="289" y="252"/>
                    <a:pt x="289" y="252"/>
                  </a:cubicBezTo>
                  <a:cubicBezTo>
                    <a:pt x="296" y="250"/>
                    <a:pt x="296" y="250"/>
                    <a:pt x="296" y="250"/>
                  </a:cubicBezTo>
                  <a:cubicBezTo>
                    <a:pt x="308" y="248"/>
                    <a:pt x="308" y="248"/>
                    <a:pt x="308" y="248"/>
                  </a:cubicBezTo>
                  <a:cubicBezTo>
                    <a:pt x="298" y="253"/>
                    <a:pt x="298" y="253"/>
                    <a:pt x="298" y="253"/>
                  </a:cubicBezTo>
                  <a:cubicBezTo>
                    <a:pt x="292" y="262"/>
                    <a:pt x="292" y="262"/>
                    <a:pt x="292" y="262"/>
                  </a:cubicBezTo>
                  <a:cubicBezTo>
                    <a:pt x="301" y="264"/>
                    <a:pt x="301" y="264"/>
                    <a:pt x="301" y="264"/>
                  </a:cubicBezTo>
                  <a:cubicBezTo>
                    <a:pt x="301" y="264"/>
                    <a:pt x="301" y="271"/>
                    <a:pt x="306" y="270"/>
                  </a:cubicBezTo>
                  <a:cubicBezTo>
                    <a:pt x="310" y="268"/>
                    <a:pt x="320" y="264"/>
                    <a:pt x="321" y="263"/>
                  </a:cubicBezTo>
                  <a:cubicBezTo>
                    <a:pt x="323" y="263"/>
                    <a:pt x="331" y="260"/>
                    <a:pt x="334" y="261"/>
                  </a:cubicBezTo>
                  <a:cubicBezTo>
                    <a:pt x="336" y="261"/>
                    <a:pt x="349" y="259"/>
                    <a:pt x="349" y="259"/>
                  </a:cubicBezTo>
                  <a:cubicBezTo>
                    <a:pt x="351" y="267"/>
                    <a:pt x="351" y="267"/>
                    <a:pt x="351" y="267"/>
                  </a:cubicBezTo>
                  <a:cubicBezTo>
                    <a:pt x="345" y="274"/>
                    <a:pt x="345" y="274"/>
                    <a:pt x="345" y="274"/>
                  </a:cubicBezTo>
                  <a:cubicBezTo>
                    <a:pt x="338" y="281"/>
                    <a:pt x="338" y="281"/>
                    <a:pt x="338" y="281"/>
                  </a:cubicBezTo>
                  <a:cubicBezTo>
                    <a:pt x="327" y="291"/>
                    <a:pt x="327" y="291"/>
                    <a:pt x="327" y="291"/>
                  </a:cubicBezTo>
                  <a:cubicBezTo>
                    <a:pt x="327" y="291"/>
                    <a:pt x="323" y="297"/>
                    <a:pt x="325" y="298"/>
                  </a:cubicBezTo>
                  <a:cubicBezTo>
                    <a:pt x="326" y="298"/>
                    <a:pt x="338" y="297"/>
                    <a:pt x="338" y="297"/>
                  </a:cubicBezTo>
                  <a:cubicBezTo>
                    <a:pt x="353" y="298"/>
                    <a:pt x="353" y="298"/>
                    <a:pt x="353" y="298"/>
                  </a:cubicBezTo>
                  <a:cubicBezTo>
                    <a:pt x="353" y="298"/>
                    <a:pt x="355" y="298"/>
                    <a:pt x="357" y="304"/>
                  </a:cubicBezTo>
                  <a:cubicBezTo>
                    <a:pt x="358" y="309"/>
                    <a:pt x="361" y="311"/>
                    <a:pt x="362" y="313"/>
                  </a:cubicBezTo>
                  <a:cubicBezTo>
                    <a:pt x="362" y="315"/>
                    <a:pt x="366" y="320"/>
                    <a:pt x="366" y="320"/>
                  </a:cubicBezTo>
                  <a:cubicBezTo>
                    <a:pt x="366" y="320"/>
                    <a:pt x="362" y="323"/>
                    <a:pt x="367" y="323"/>
                  </a:cubicBezTo>
                  <a:cubicBezTo>
                    <a:pt x="371" y="323"/>
                    <a:pt x="375" y="322"/>
                    <a:pt x="375" y="322"/>
                  </a:cubicBezTo>
                  <a:cubicBezTo>
                    <a:pt x="375" y="322"/>
                    <a:pt x="375" y="316"/>
                    <a:pt x="377" y="315"/>
                  </a:cubicBezTo>
                  <a:cubicBezTo>
                    <a:pt x="379" y="314"/>
                    <a:pt x="382" y="312"/>
                    <a:pt x="382" y="312"/>
                  </a:cubicBezTo>
                  <a:cubicBezTo>
                    <a:pt x="382" y="312"/>
                    <a:pt x="382" y="307"/>
                    <a:pt x="384" y="306"/>
                  </a:cubicBezTo>
                  <a:cubicBezTo>
                    <a:pt x="386" y="305"/>
                    <a:pt x="389" y="304"/>
                    <a:pt x="392" y="303"/>
                  </a:cubicBezTo>
                  <a:cubicBezTo>
                    <a:pt x="396" y="302"/>
                    <a:pt x="399" y="296"/>
                    <a:pt x="399" y="296"/>
                  </a:cubicBezTo>
                  <a:cubicBezTo>
                    <a:pt x="403" y="293"/>
                    <a:pt x="403" y="293"/>
                    <a:pt x="403" y="293"/>
                  </a:cubicBezTo>
                  <a:cubicBezTo>
                    <a:pt x="412" y="289"/>
                    <a:pt x="412" y="289"/>
                    <a:pt x="412" y="289"/>
                  </a:cubicBezTo>
                  <a:cubicBezTo>
                    <a:pt x="411" y="282"/>
                    <a:pt x="411" y="282"/>
                    <a:pt x="411" y="282"/>
                  </a:cubicBezTo>
                  <a:cubicBezTo>
                    <a:pt x="411" y="282"/>
                    <a:pt x="413" y="280"/>
                    <a:pt x="415" y="280"/>
                  </a:cubicBezTo>
                  <a:cubicBezTo>
                    <a:pt x="417" y="279"/>
                    <a:pt x="434" y="274"/>
                    <a:pt x="434" y="274"/>
                  </a:cubicBezTo>
                  <a:cubicBezTo>
                    <a:pt x="438" y="266"/>
                    <a:pt x="438" y="266"/>
                    <a:pt x="438" y="266"/>
                  </a:cubicBezTo>
                  <a:cubicBezTo>
                    <a:pt x="438" y="262"/>
                    <a:pt x="438" y="262"/>
                    <a:pt x="438" y="262"/>
                  </a:cubicBezTo>
                  <a:lnTo>
                    <a:pt x="436" y="262"/>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7" name="Freeform 225"/>
            <p:cNvSpPr>
              <a:spLocks/>
            </p:cNvSpPr>
            <p:nvPr/>
          </p:nvSpPr>
          <p:spPr bwMode="auto">
            <a:xfrm>
              <a:off x="6246578" y="3220039"/>
              <a:ext cx="8665" cy="8170"/>
            </a:xfrm>
            <a:custGeom>
              <a:avLst/>
              <a:gdLst>
                <a:gd name="T0" fmla="*/ 1 w 3"/>
                <a:gd name="T1" fmla="*/ 1 h 3"/>
                <a:gd name="T2" fmla="*/ 1 w 3"/>
                <a:gd name="T3" fmla="*/ 1 h 3"/>
                <a:gd name="T4" fmla="*/ 0 w 3"/>
                <a:gd name="T5" fmla="*/ 2 h 3"/>
                <a:gd name="T6" fmla="*/ 2 w 3"/>
                <a:gd name="T7" fmla="*/ 2 h 3"/>
                <a:gd name="T8" fmla="*/ 3 w 3"/>
                <a:gd name="T9" fmla="*/ 2 h 3"/>
                <a:gd name="T10" fmla="*/ 2 w 3"/>
                <a:gd name="T11" fmla="*/ 1 h 3"/>
                <a:gd name="T12" fmla="*/ 1 w 3"/>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1" y="1"/>
                  </a:moveTo>
                  <a:cubicBezTo>
                    <a:pt x="1" y="1"/>
                    <a:pt x="1" y="1"/>
                    <a:pt x="1" y="1"/>
                  </a:cubicBezTo>
                  <a:cubicBezTo>
                    <a:pt x="1" y="1"/>
                    <a:pt x="0" y="2"/>
                    <a:pt x="0" y="2"/>
                  </a:cubicBezTo>
                  <a:cubicBezTo>
                    <a:pt x="0" y="3"/>
                    <a:pt x="2" y="2"/>
                    <a:pt x="2" y="2"/>
                  </a:cubicBezTo>
                  <a:cubicBezTo>
                    <a:pt x="3" y="2"/>
                    <a:pt x="3" y="2"/>
                    <a:pt x="3" y="2"/>
                  </a:cubicBezTo>
                  <a:cubicBezTo>
                    <a:pt x="3" y="1"/>
                    <a:pt x="2" y="1"/>
                    <a:pt x="2" y="1"/>
                  </a:cubicBezTo>
                  <a:cubicBezTo>
                    <a:pt x="2" y="0"/>
                    <a:pt x="1" y="1"/>
                    <a:pt x="1" y="1"/>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8" name="Freeform 226"/>
            <p:cNvSpPr>
              <a:spLocks/>
            </p:cNvSpPr>
            <p:nvPr/>
          </p:nvSpPr>
          <p:spPr bwMode="auto">
            <a:xfrm>
              <a:off x="6203254" y="3113835"/>
              <a:ext cx="66432" cy="43570"/>
            </a:xfrm>
            <a:custGeom>
              <a:avLst/>
              <a:gdLst>
                <a:gd name="T0" fmla="*/ 4 w 23"/>
                <a:gd name="T1" fmla="*/ 10 h 16"/>
                <a:gd name="T2" fmla="*/ 6 w 23"/>
                <a:gd name="T3" fmla="*/ 10 h 16"/>
                <a:gd name="T4" fmla="*/ 7 w 23"/>
                <a:gd name="T5" fmla="*/ 10 h 16"/>
                <a:gd name="T6" fmla="*/ 8 w 23"/>
                <a:gd name="T7" fmla="*/ 12 h 16"/>
                <a:gd name="T8" fmla="*/ 9 w 23"/>
                <a:gd name="T9" fmla="*/ 14 h 16"/>
                <a:gd name="T10" fmla="*/ 11 w 23"/>
                <a:gd name="T11" fmla="*/ 16 h 16"/>
                <a:gd name="T12" fmla="*/ 13 w 23"/>
                <a:gd name="T13" fmla="*/ 16 h 16"/>
                <a:gd name="T14" fmla="*/ 15 w 23"/>
                <a:gd name="T15" fmla="*/ 15 h 16"/>
                <a:gd name="T16" fmla="*/ 15 w 23"/>
                <a:gd name="T17" fmla="*/ 13 h 16"/>
                <a:gd name="T18" fmla="*/ 15 w 23"/>
                <a:gd name="T19" fmla="*/ 10 h 16"/>
                <a:gd name="T20" fmla="*/ 17 w 23"/>
                <a:gd name="T21" fmla="*/ 12 h 16"/>
                <a:gd name="T22" fmla="*/ 19 w 23"/>
                <a:gd name="T23" fmla="*/ 12 h 16"/>
                <a:gd name="T24" fmla="*/ 18 w 23"/>
                <a:gd name="T25" fmla="*/ 10 h 16"/>
                <a:gd name="T26" fmla="*/ 19 w 23"/>
                <a:gd name="T27" fmla="*/ 9 h 16"/>
                <a:gd name="T28" fmla="*/ 22 w 23"/>
                <a:gd name="T29" fmla="*/ 9 h 16"/>
                <a:gd name="T30" fmla="*/ 22 w 23"/>
                <a:gd name="T31" fmla="*/ 8 h 16"/>
                <a:gd name="T32" fmla="*/ 21 w 23"/>
                <a:gd name="T33" fmla="*/ 7 h 16"/>
                <a:gd name="T34" fmla="*/ 20 w 23"/>
                <a:gd name="T35" fmla="*/ 5 h 16"/>
                <a:gd name="T36" fmla="*/ 19 w 23"/>
                <a:gd name="T37" fmla="*/ 4 h 16"/>
                <a:gd name="T38" fmla="*/ 17 w 23"/>
                <a:gd name="T39" fmla="*/ 2 h 16"/>
                <a:gd name="T40" fmla="*/ 15 w 23"/>
                <a:gd name="T41" fmla="*/ 2 h 16"/>
                <a:gd name="T42" fmla="*/ 14 w 23"/>
                <a:gd name="T43" fmla="*/ 3 h 16"/>
                <a:gd name="T44" fmla="*/ 13 w 23"/>
                <a:gd name="T45" fmla="*/ 2 h 16"/>
                <a:gd name="T46" fmla="*/ 12 w 23"/>
                <a:gd name="T47" fmla="*/ 0 h 16"/>
                <a:gd name="T48" fmla="*/ 10 w 23"/>
                <a:gd name="T49" fmla="*/ 0 h 16"/>
                <a:gd name="T50" fmla="*/ 9 w 23"/>
                <a:gd name="T51" fmla="*/ 3 h 16"/>
                <a:gd name="T52" fmla="*/ 8 w 23"/>
                <a:gd name="T53" fmla="*/ 6 h 16"/>
                <a:gd name="T54" fmla="*/ 5 w 23"/>
                <a:gd name="T55" fmla="*/ 6 h 16"/>
                <a:gd name="T56" fmla="*/ 3 w 23"/>
                <a:gd name="T57" fmla="*/ 7 h 16"/>
                <a:gd name="T58" fmla="*/ 0 w 23"/>
                <a:gd name="T59" fmla="*/ 8 h 16"/>
                <a:gd name="T60" fmla="*/ 2 w 23"/>
                <a:gd name="T61" fmla="*/ 9 h 16"/>
                <a:gd name="T62" fmla="*/ 4 w 23"/>
                <a:gd name="T63"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 h="16">
                  <a:moveTo>
                    <a:pt x="4" y="10"/>
                  </a:moveTo>
                  <a:cubicBezTo>
                    <a:pt x="5" y="11"/>
                    <a:pt x="4" y="10"/>
                    <a:pt x="6" y="10"/>
                  </a:cubicBezTo>
                  <a:cubicBezTo>
                    <a:pt x="7" y="10"/>
                    <a:pt x="7" y="10"/>
                    <a:pt x="7" y="10"/>
                  </a:cubicBezTo>
                  <a:cubicBezTo>
                    <a:pt x="7" y="10"/>
                    <a:pt x="8" y="11"/>
                    <a:pt x="8" y="12"/>
                  </a:cubicBezTo>
                  <a:cubicBezTo>
                    <a:pt x="8" y="12"/>
                    <a:pt x="9" y="13"/>
                    <a:pt x="9" y="14"/>
                  </a:cubicBezTo>
                  <a:cubicBezTo>
                    <a:pt x="9" y="15"/>
                    <a:pt x="11" y="16"/>
                    <a:pt x="11" y="16"/>
                  </a:cubicBezTo>
                  <a:cubicBezTo>
                    <a:pt x="12" y="16"/>
                    <a:pt x="13" y="16"/>
                    <a:pt x="13" y="16"/>
                  </a:cubicBezTo>
                  <a:cubicBezTo>
                    <a:pt x="13" y="16"/>
                    <a:pt x="15" y="16"/>
                    <a:pt x="15" y="15"/>
                  </a:cubicBezTo>
                  <a:cubicBezTo>
                    <a:pt x="15" y="15"/>
                    <a:pt x="15" y="14"/>
                    <a:pt x="15" y="13"/>
                  </a:cubicBezTo>
                  <a:cubicBezTo>
                    <a:pt x="15" y="13"/>
                    <a:pt x="15" y="11"/>
                    <a:pt x="15" y="10"/>
                  </a:cubicBezTo>
                  <a:cubicBezTo>
                    <a:pt x="16" y="10"/>
                    <a:pt x="16" y="11"/>
                    <a:pt x="17" y="12"/>
                  </a:cubicBezTo>
                  <a:cubicBezTo>
                    <a:pt x="18" y="13"/>
                    <a:pt x="18" y="12"/>
                    <a:pt x="19" y="12"/>
                  </a:cubicBezTo>
                  <a:cubicBezTo>
                    <a:pt x="19" y="12"/>
                    <a:pt x="19" y="11"/>
                    <a:pt x="18" y="10"/>
                  </a:cubicBezTo>
                  <a:cubicBezTo>
                    <a:pt x="18" y="10"/>
                    <a:pt x="19" y="9"/>
                    <a:pt x="19" y="9"/>
                  </a:cubicBezTo>
                  <a:cubicBezTo>
                    <a:pt x="19" y="9"/>
                    <a:pt x="22" y="9"/>
                    <a:pt x="22" y="9"/>
                  </a:cubicBezTo>
                  <a:cubicBezTo>
                    <a:pt x="23" y="9"/>
                    <a:pt x="22" y="8"/>
                    <a:pt x="22" y="8"/>
                  </a:cubicBezTo>
                  <a:cubicBezTo>
                    <a:pt x="22" y="8"/>
                    <a:pt x="21" y="7"/>
                    <a:pt x="21" y="7"/>
                  </a:cubicBezTo>
                  <a:cubicBezTo>
                    <a:pt x="21" y="6"/>
                    <a:pt x="20" y="5"/>
                    <a:pt x="20" y="5"/>
                  </a:cubicBezTo>
                  <a:cubicBezTo>
                    <a:pt x="20" y="5"/>
                    <a:pt x="19" y="4"/>
                    <a:pt x="19" y="4"/>
                  </a:cubicBezTo>
                  <a:cubicBezTo>
                    <a:pt x="19" y="4"/>
                    <a:pt x="18" y="3"/>
                    <a:pt x="17" y="2"/>
                  </a:cubicBezTo>
                  <a:cubicBezTo>
                    <a:pt x="17" y="2"/>
                    <a:pt x="15" y="2"/>
                    <a:pt x="15" y="2"/>
                  </a:cubicBezTo>
                  <a:cubicBezTo>
                    <a:pt x="15" y="2"/>
                    <a:pt x="15" y="3"/>
                    <a:pt x="14" y="3"/>
                  </a:cubicBezTo>
                  <a:cubicBezTo>
                    <a:pt x="13" y="3"/>
                    <a:pt x="13" y="2"/>
                    <a:pt x="13" y="2"/>
                  </a:cubicBezTo>
                  <a:cubicBezTo>
                    <a:pt x="12" y="0"/>
                    <a:pt x="12" y="0"/>
                    <a:pt x="12" y="0"/>
                  </a:cubicBezTo>
                  <a:cubicBezTo>
                    <a:pt x="12" y="0"/>
                    <a:pt x="10" y="0"/>
                    <a:pt x="10" y="0"/>
                  </a:cubicBezTo>
                  <a:cubicBezTo>
                    <a:pt x="11" y="0"/>
                    <a:pt x="10" y="2"/>
                    <a:pt x="9" y="3"/>
                  </a:cubicBezTo>
                  <a:cubicBezTo>
                    <a:pt x="9" y="3"/>
                    <a:pt x="8" y="5"/>
                    <a:pt x="8" y="6"/>
                  </a:cubicBezTo>
                  <a:cubicBezTo>
                    <a:pt x="8" y="7"/>
                    <a:pt x="7" y="6"/>
                    <a:pt x="5" y="6"/>
                  </a:cubicBezTo>
                  <a:cubicBezTo>
                    <a:pt x="3" y="7"/>
                    <a:pt x="3" y="7"/>
                    <a:pt x="3" y="7"/>
                  </a:cubicBezTo>
                  <a:cubicBezTo>
                    <a:pt x="2" y="7"/>
                    <a:pt x="0" y="8"/>
                    <a:pt x="0" y="8"/>
                  </a:cubicBezTo>
                  <a:cubicBezTo>
                    <a:pt x="0" y="8"/>
                    <a:pt x="1" y="9"/>
                    <a:pt x="2" y="9"/>
                  </a:cubicBezTo>
                  <a:cubicBezTo>
                    <a:pt x="3" y="9"/>
                    <a:pt x="3" y="10"/>
                    <a:pt x="4" y="10"/>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9" name="Freeform 227"/>
            <p:cNvSpPr>
              <a:spLocks/>
            </p:cNvSpPr>
            <p:nvPr/>
          </p:nvSpPr>
          <p:spPr bwMode="auto">
            <a:xfrm>
              <a:off x="6266797" y="3111111"/>
              <a:ext cx="20218" cy="8170"/>
            </a:xfrm>
            <a:custGeom>
              <a:avLst/>
              <a:gdLst>
                <a:gd name="T0" fmla="*/ 3 w 7"/>
                <a:gd name="T1" fmla="*/ 3 h 3"/>
                <a:gd name="T2" fmla="*/ 6 w 7"/>
                <a:gd name="T3" fmla="*/ 3 h 3"/>
                <a:gd name="T4" fmla="*/ 7 w 7"/>
                <a:gd name="T5" fmla="*/ 2 h 3"/>
                <a:gd name="T6" fmla="*/ 6 w 7"/>
                <a:gd name="T7" fmla="*/ 0 h 3"/>
                <a:gd name="T8" fmla="*/ 4 w 7"/>
                <a:gd name="T9" fmla="*/ 0 h 3"/>
                <a:gd name="T10" fmla="*/ 4 w 7"/>
                <a:gd name="T11" fmla="*/ 0 h 3"/>
                <a:gd name="T12" fmla="*/ 1 w 7"/>
                <a:gd name="T13" fmla="*/ 0 h 3"/>
                <a:gd name="T14" fmla="*/ 0 w 7"/>
                <a:gd name="T15" fmla="*/ 2 h 3"/>
                <a:gd name="T16" fmla="*/ 1 w 7"/>
                <a:gd name="T17" fmla="*/ 3 h 3"/>
                <a:gd name="T18" fmla="*/ 3 w 7"/>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3">
                  <a:moveTo>
                    <a:pt x="3" y="3"/>
                  </a:moveTo>
                  <a:cubicBezTo>
                    <a:pt x="4" y="3"/>
                    <a:pt x="6" y="3"/>
                    <a:pt x="6" y="3"/>
                  </a:cubicBezTo>
                  <a:cubicBezTo>
                    <a:pt x="7" y="2"/>
                    <a:pt x="7" y="2"/>
                    <a:pt x="7" y="2"/>
                  </a:cubicBezTo>
                  <a:cubicBezTo>
                    <a:pt x="6" y="0"/>
                    <a:pt x="6" y="0"/>
                    <a:pt x="6" y="0"/>
                  </a:cubicBezTo>
                  <a:cubicBezTo>
                    <a:pt x="4" y="0"/>
                    <a:pt x="4" y="0"/>
                    <a:pt x="4" y="0"/>
                  </a:cubicBezTo>
                  <a:cubicBezTo>
                    <a:pt x="4" y="0"/>
                    <a:pt x="4" y="0"/>
                    <a:pt x="4" y="0"/>
                  </a:cubicBezTo>
                  <a:cubicBezTo>
                    <a:pt x="1" y="0"/>
                    <a:pt x="1" y="0"/>
                    <a:pt x="1" y="0"/>
                  </a:cubicBezTo>
                  <a:cubicBezTo>
                    <a:pt x="0" y="2"/>
                    <a:pt x="0" y="2"/>
                    <a:pt x="0" y="2"/>
                  </a:cubicBezTo>
                  <a:cubicBezTo>
                    <a:pt x="1" y="3"/>
                    <a:pt x="1" y="3"/>
                    <a:pt x="1" y="3"/>
                  </a:cubicBezTo>
                  <a:cubicBezTo>
                    <a:pt x="1" y="3"/>
                    <a:pt x="3" y="3"/>
                    <a:pt x="3" y="3"/>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0" name="Freeform 228"/>
            <p:cNvSpPr>
              <a:spLocks/>
            </p:cNvSpPr>
            <p:nvPr/>
          </p:nvSpPr>
          <p:spPr bwMode="auto">
            <a:xfrm>
              <a:off x="6341891" y="3203700"/>
              <a:ext cx="8665" cy="8170"/>
            </a:xfrm>
            <a:custGeom>
              <a:avLst/>
              <a:gdLst>
                <a:gd name="T0" fmla="*/ 0 w 3"/>
                <a:gd name="T1" fmla="*/ 1 h 3"/>
                <a:gd name="T2" fmla="*/ 1 w 3"/>
                <a:gd name="T3" fmla="*/ 3 h 3"/>
                <a:gd name="T4" fmla="*/ 2 w 3"/>
                <a:gd name="T5" fmla="*/ 2 h 3"/>
                <a:gd name="T6" fmla="*/ 3 w 3"/>
                <a:gd name="T7" fmla="*/ 2 h 3"/>
                <a:gd name="T8" fmla="*/ 3 w 3"/>
                <a:gd name="T9" fmla="*/ 0 h 3"/>
                <a:gd name="T10" fmla="*/ 0 w 3"/>
                <a:gd name="T11" fmla="*/ 1 h 3"/>
              </a:gdLst>
              <a:ahLst/>
              <a:cxnLst>
                <a:cxn ang="0">
                  <a:pos x="T0" y="T1"/>
                </a:cxn>
                <a:cxn ang="0">
                  <a:pos x="T2" y="T3"/>
                </a:cxn>
                <a:cxn ang="0">
                  <a:pos x="T4" y="T5"/>
                </a:cxn>
                <a:cxn ang="0">
                  <a:pos x="T6" y="T7"/>
                </a:cxn>
                <a:cxn ang="0">
                  <a:pos x="T8" y="T9"/>
                </a:cxn>
                <a:cxn ang="0">
                  <a:pos x="T10" y="T11"/>
                </a:cxn>
              </a:cxnLst>
              <a:rect l="0" t="0" r="r" b="b"/>
              <a:pathLst>
                <a:path w="3" h="3">
                  <a:moveTo>
                    <a:pt x="0" y="1"/>
                  </a:moveTo>
                  <a:cubicBezTo>
                    <a:pt x="0" y="1"/>
                    <a:pt x="0" y="2"/>
                    <a:pt x="1" y="3"/>
                  </a:cubicBezTo>
                  <a:cubicBezTo>
                    <a:pt x="1" y="3"/>
                    <a:pt x="1" y="3"/>
                    <a:pt x="2" y="2"/>
                  </a:cubicBezTo>
                  <a:cubicBezTo>
                    <a:pt x="3" y="2"/>
                    <a:pt x="3" y="2"/>
                    <a:pt x="3" y="2"/>
                  </a:cubicBezTo>
                  <a:cubicBezTo>
                    <a:pt x="3" y="1"/>
                    <a:pt x="3" y="0"/>
                    <a:pt x="3" y="0"/>
                  </a:cubicBezTo>
                  <a:lnTo>
                    <a:pt x="0" y="1"/>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1" name="Freeform 229"/>
            <p:cNvSpPr>
              <a:spLocks/>
            </p:cNvSpPr>
            <p:nvPr/>
          </p:nvSpPr>
          <p:spPr bwMode="auto">
            <a:xfrm>
              <a:off x="6284127" y="3000821"/>
              <a:ext cx="313381" cy="241003"/>
            </a:xfrm>
            <a:custGeom>
              <a:avLst/>
              <a:gdLst>
                <a:gd name="T0" fmla="*/ 99 w 108"/>
                <a:gd name="T1" fmla="*/ 77 h 88"/>
                <a:gd name="T2" fmla="*/ 107 w 108"/>
                <a:gd name="T3" fmla="*/ 67 h 88"/>
                <a:gd name="T4" fmla="*/ 105 w 108"/>
                <a:gd name="T5" fmla="*/ 64 h 88"/>
                <a:gd name="T6" fmla="*/ 101 w 108"/>
                <a:gd name="T7" fmla="*/ 58 h 88"/>
                <a:gd name="T8" fmla="*/ 96 w 108"/>
                <a:gd name="T9" fmla="*/ 53 h 88"/>
                <a:gd name="T10" fmla="*/ 91 w 108"/>
                <a:gd name="T11" fmla="*/ 38 h 88"/>
                <a:gd name="T12" fmla="*/ 89 w 108"/>
                <a:gd name="T13" fmla="*/ 26 h 88"/>
                <a:gd name="T14" fmla="*/ 94 w 108"/>
                <a:gd name="T15" fmla="*/ 3 h 88"/>
                <a:gd name="T16" fmla="*/ 95 w 108"/>
                <a:gd name="T17" fmla="*/ 0 h 88"/>
                <a:gd name="T18" fmla="*/ 87 w 108"/>
                <a:gd name="T19" fmla="*/ 1 h 88"/>
                <a:gd name="T20" fmla="*/ 76 w 108"/>
                <a:gd name="T21" fmla="*/ 3 h 88"/>
                <a:gd name="T22" fmla="*/ 65 w 108"/>
                <a:gd name="T23" fmla="*/ 1 h 88"/>
                <a:gd name="T24" fmla="*/ 57 w 108"/>
                <a:gd name="T25" fmla="*/ 1 h 88"/>
                <a:gd name="T26" fmla="*/ 52 w 108"/>
                <a:gd name="T27" fmla="*/ 1 h 88"/>
                <a:gd name="T28" fmla="*/ 45 w 108"/>
                <a:gd name="T29" fmla="*/ 1 h 88"/>
                <a:gd name="T30" fmla="*/ 43 w 108"/>
                <a:gd name="T31" fmla="*/ 5 h 88"/>
                <a:gd name="T32" fmla="*/ 42 w 108"/>
                <a:gd name="T33" fmla="*/ 7 h 88"/>
                <a:gd name="T34" fmla="*/ 34 w 108"/>
                <a:gd name="T35" fmla="*/ 10 h 88"/>
                <a:gd name="T36" fmla="*/ 28 w 108"/>
                <a:gd name="T37" fmla="*/ 13 h 88"/>
                <a:gd name="T38" fmla="*/ 27 w 108"/>
                <a:gd name="T39" fmla="*/ 14 h 88"/>
                <a:gd name="T40" fmla="*/ 19 w 108"/>
                <a:gd name="T41" fmla="*/ 16 h 88"/>
                <a:gd name="T42" fmla="*/ 14 w 108"/>
                <a:gd name="T43" fmla="*/ 20 h 88"/>
                <a:gd name="T44" fmla="*/ 10 w 108"/>
                <a:gd name="T45" fmla="*/ 21 h 88"/>
                <a:gd name="T46" fmla="*/ 11 w 108"/>
                <a:gd name="T47" fmla="*/ 26 h 88"/>
                <a:gd name="T48" fmla="*/ 5 w 108"/>
                <a:gd name="T49" fmla="*/ 29 h 88"/>
                <a:gd name="T50" fmla="*/ 0 w 108"/>
                <a:gd name="T51" fmla="*/ 32 h 88"/>
                <a:gd name="T52" fmla="*/ 2 w 108"/>
                <a:gd name="T53" fmla="*/ 36 h 88"/>
                <a:gd name="T54" fmla="*/ 1 w 108"/>
                <a:gd name="T55" fmla="*/ 41 h 88"/>
                <a:gd name="T56" fmla="*/ 6 w 108"/>
                <a:gd name="T57" fmla="*/ 39 h 88"/>
                <a:gd name="T58" fmla="*/ 3 w 108"/>
                <a:gd name="T59" fmla="*/ 43 h 88"/>
                <a:gd name="T60" fmla="*/ 3 w 108"/>
                <a:gd name="T61" fmla="*/ 47 h 88"/>
                <a:gd name="T62" fmla="*/ 6 w 108"/>
                <a:gd name="T63" fmla="*/ 50 h 88"/>
                <a:gd name="T64" fmla="*/ 12 w 108"/>
                <a:gd name="T65" fmla="*/ 51 h 88"/>
                <a:gd name="T66" fmla="*/ 8 w 108"/>
                <a:gd name="T67" fmla="*/ 52 h 88"/>
                <a:gd name="T68" fmla="*/ 6 w 108"/>
                <a:gd name="T69" fmla="*/ 58 h 88"/>
                <a:gd name="T70" fmla="*/ 9 w 108"/>
                <a:gd name="T71" fmla="*/ 60 h 88"/>
                <a:gd name="T72" fmla="*/ 16 w 108"/>
                <a:gd name="T73" fmla="*/ 67 h 88"/>
                <a:gd name="T74" fmla="*/ 24 w 108"/>
                <a:gd name="T75" fmla="*/ 71 h 88"/>
                <a:gd name="T76" fmla="*/ 26 w 108"/>
                <a:gd name="T77" fmla="*/ 65 h 88"/>
                <a:gd name="T78" fmla="*/ 32 w 108"/>
                <a:gd name="T79" fmla="*/ 63 h 88"/>
                <a:gd name="T80" fmla="*/ 32 w 108"/>
                <a:gd name="T81" fmla="*/ 72 h 88"/>
                <a:gd name="T82" fmla="*/ 31 w 108"/>
                <a:gd name="T83" fmla="*/ 83 h 88"/>
                <a:gd name="T84" fmla="*/ 40 w 108"/>
                <a:gd name="T85" fmla="*/ 77 h 88"/>
                <a:gd name="T86" fmla="*/ 51 w 108"/>
                <a:gd name="T87" fmla="*/ 74 h 88"/>
                <a:gd name="T88" fmla="*/ 62 w 108"/>
                <a:gd name="T89" fmla="*/ 75 h 88"/>
                <a:gd name="T90" fmla="*/ 76 w 108"/>
                <a:gd name="T91" fmla="*/ 82 h 88"/>
                <a:gd name="T92" fmla="*/ 85 w 108"/>
                <a:gd name="T93" fmla="*/ 87 h 88"/>
                <a:gd name="T94" fmla="*/ 90 w 108"/>
                <a:gd name="T95" fmla="*/ 83 h 88"/>
                <a:gd name="T96" fmla="*/ 102 w 108"/>
                <a:gd name="T97" fmla="*/ 8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 h="88">
                  <a:moveTo>
                    <a:pt x="101" y="81"/>
                  </a:moveTo>
                  <a:cubicBezTo>
                    <a:pt x="101" y="81"/>
                    <a:pt x="101" y="79"/>
                    <a:pt x="100" y="78"/>
                  </a:cubicBezTo>
                  <a:cubicBezTo>
                    <a:pt x="99" y="77"/>
                    <a:pt x="99" y="77"/>
                    <a:pt x="99" y="77"/>
                  </a:cubicBezTo>
                  <a:cubicBezTo>
                    <a:pt x="102" y="74"/>
                    <a:pt x="102" y="74"/>
                    <a:pt x="102" y="74"/>
                  </a:cubicBezTo>
                  <a:cubicBezTo>
                    <a:pt x="102" y="72"/>
                    <a:pt x="102" y="69"/>
                    <a:pt x="102" y="69"/>
                  </a:cubicBezTo>
                  <a:cubicBezTo>
                    <a:pt x="103" y="68"/>
                    <a:pt x="104" y="67"/>
                    <a:pt x="107" y="67"/>
                  </a:cubicBezTo>
                  <a:cubicBezTo>
                    <a:pt x="108" y="66"/>
                    <a:pt x="108" y="66"/>
                    <a:pt x="108" y="66"/>
                  </a:cubicBezTo>
                  <a:cubicBezTo>
                    <a:pt x="107" y="66"/>
                    <a:pt x="106" y="65"/>
                    <a:pt x="105" y="65"/>
                  </a:cubicBezTo>
                  <a:cubicBezTo>
                    <a:pt x="105" y="65"/>
                    <a:pt x="105" y="64"/>
                    <a:pt x="105" y="64"/>
                  </a:cubicBezTo>
                  <a:cubicBezTo>
                    <a:pt x="103" y="64"/>
                    <a:pt x="103" y="62"/>
                    <a:pt x="103" y="61"/>
                  </a:cubicBezTo>
                  <a:cubicBezTo>
                    <a:pt x="103" y="60"/>
                    <a:pt x="103" y="59"/>
                    <a:pt x="103" y="59"/>
                  </a:cubicBezTo>
                  <a:cubicBezTo>
                    <a:pt x="102" y="59"/>
                    <a:pt x="102" y="58"/>
                    <a:pt x="101" y="58"/>
                  </a:cubicBezTo>
                  <a:cubicBezTo>
                    <a:pt x="101" y="58"/>
                    <a:pt x="100" y="58"/>
                    <a:pt x="100" y="57"/>
                  </a:cubicBezTo>
                  <a:cubicBezTo>
                    <a:pt x="100" y="57"/>
                    <a:pt x="99" y="56"/>
                    <a:pt x="98" y="55"/>
                  </a:cubicBezTo>
                  <a:cubicBezTo>
                    <a:pt x="97" y="54"/>
                    <a:pt x="97" y="53"/>
                    <a:pt x="96" y="53"/>
                  </a:cubicBezTo>
                  <a:cubicBezTo>
                    <a:pt x="95" y="51"/>
                    <a:pt x="95" y="49"/>
                    <a:pt x="95" y="47"/>
                  </a:cubicBezTo>
                  <a:cubicBezTo>
                    <a:pt x="95" y="47"/>
                    <a:pt x="95" y="46"/>
                    <a:pt x="95" y="46"/>
                  </a:cubicBezTo>
                  <a:cubicBezTo>
                    <a:pt x="92" y="44"/>
                    <a:pt x="91" y="41"/>
                    <a:pt x="91" y="38"/>
                  </a:cubicBezTo>
                  <a:cubicBezTo>
                    <a:pt x="90" y="37"/>
                    <a:pt x="90" y="36"/>
                    <a:pt x="90" y="35"/>
                  </a:cubicBezTo>
                  <a:cubicBezTo>
                    <a:pt x="87" y="32"/>
                    <a:pt x="88" y="29"/>
                    <a:pt x="88" y="27"/>
                  </a:cubicBezTo>
                  <a:cubicBezTo>
                    <a:pt x="89" y="27"/>
                    <a:pt x="89" y="26"/>
                    <a:pt x="89" y="26"/>
                  </a:cubicBezTo>
                  <a:cubicBezTo>
                    <a:pt x="89" y="25"/>
                    <a:pt x="90" y="23"/>
                    <a:pt x="90" y="22"/>
                  </a:cubicBezTo>
                  <a:cubicBezTo>
                    <a:pt x="91" y="19"/>
                    <a:pt x="93" y="15"/>
                    <a:pt x="93" y="10"/>
                  </a:cubicBezTo>
                  <a:cubicBezTo>
                    <a:pt x="94" y="3"/>
                    <a:pt x="94" y="3"/>
                    <a:pt x="94" y="3"/>
                  </a:cubicBezTo>
                  <a:cubicBezTo>
                    <a:pt x="97" y="1"/>
                    <a:pt x="97" y="1"/>
                    <a:pt x="97" y="1"/>
                  </a:cubicBezTo>
                  <a:cubicBezTo>
                    <a:pt x="95" y="0"/>
                    <a:pt x="95" y="0"/>
                    <a:pt x="95" y="0"/>
                  </a:cubicBezTo>
                  <a:cubicBezTo>
                    <a:pt x="95" y="0"/>
                    <a:pt x="95" y="0"/>
                    <a:pt x="95" y="0"/>
                  </a:cubicBezTo>
                  <a:cubicBezTo>
                    <a:pt x="94" y="0"/>
                    <a:pt x="94" y="0"/>
                    <a:pt x="94" y="0"/>
                  </a:cubicBezTo>
                  <a:cubicBezTo>
                    <a:pt x="93" y="1"/>
                    <a:pt x="93" y="1"/>
                    <a:pt x="93" y="1"/>
                  </a:cubicBezTo>
                  <a:cubicBezTo>
                    <a:pt x="93" y="1"/>
                    <a:pt x="89" y="0"/>
                    <a:pt x="87" y="1"/>
                  </a:cubicBezTo>
                  <a:cubicBezTo>
                    <a:pt x="86" y="1"/>
                    <a:pt x="85" y="1"/>
                    <a:pt x="85" y="1"/>
                  </a:cubicBezTo>
                  <a:cubicBezTo>
                    <a:pt x="85" y="1"/>
                    <a:pt x="82" y="1"/>
                    <a:pt x="81" y="2"/>
                  </a:cubicBezTo>
                  <a:cubicBezTo>
                    <a:pt x="79" y="2"/>
                    <a:pt x="76" y="3"/>
                    <a:pt x="76" y="3"/>
                  </a:cubicBezTo>
                  <a:cubicBezTo>
                    <a:pt x="72" y="4"/>
                    <a:pt x="72" y="4"/>
                    <a:pt x="72" y="4"/>
                  </a:cubicBezTo>
                  <a:cubicBezTo>
                    <a:pt x="69" y="2"/>
                    <a:pt x="69" y="2"/>
                    <a:pt x="69" y="2"/>
                  </a:cubicBezTo>
                  <a:cubicBezTo>
                    <a:pt x="65" y="1"/>
                    <a:pt x="65" y="1"/>
                    <a:pt x="65" y="1"/>
                  </a:cubicBezTo>
                  <a:cubicBezTo>
                    <a:pt x="63" y="3"/>
                    <a:pt x="63" y="3"/>
                    <a:pt x="63" y="3"/>
                  </a:cubicBezTo>
                  <a:cubicBezTo>
                    <a:pt x="59" y="2"/>
                    <a:pt x="59" y="2"/>
                    <a:pt x="59" y="2"/>
                  </a:cubicBezTo>
                  <a:cubicBezTo>
                    <a:pt x="59" y="2"/>
                    <a:pt x="58" y="2"/>
                    <a:pt x="57" y="1"/>
                  </a:cubicBezTo>
                  <a:cubicBezTo>
                    <a:pt x="56" y="1"/>
                    <a:pt x="56" y="2"/>
                    <a:pt x="55" y="2"/>
                  </a:cubicBezTo>
                  <a:cubicBezTo>
                    <a:pt x="55" y="2"/>
                    <a:pt x="53" y="2"/>
                    <a:pt x="53" y="2"/>
                  </a:cubicBezTo>
                  <a:cubicBezTo>
                    <a:pt x="52" y="1"/>
                    <a:pt x="52" y="1"/>
                    <a:pt x="52" y="1"/>
                  </a:cubicBezTo>
                  <a:cubicBezTo>
                    <a:pt x="50" y="3"/>
                    <a:pt x="50" y="3"/>
                    <a:pt x="50" y="3"/>
                  </a:cubicBezTo>
                  <a:cubicBezTo>
                    <a:pt x="47" y="4"/>
                    <a:pt x="47" y="4"/>
                    <a:pt x="47" y="4"/>
                  </a:cubicBezTo>
                  <a:cubicBezTo>
                    <a:pt x="47" y="4"/>
                    <a:pt x="45" y="2"/>
                    <a:pt x="45" y="1"/>
                  </a:cubicBezTo>
                  <a:cubicBezTo>
                    <a:pt x="44" y="1"/>
                    <a:pt x="44" y="2"/>
                    <a:pt x="44" y="2"/>
                  </a:cubicBezTo>
                  <a:cubicBezTo>
                    <a:pt x="44" y="2"/>
                    <a:pt x="45" y="4"/>
                    <a:pt x="45" y="5"/>
                  </a:cubicBezTo>
                  <a:cubicBezTo>
                    <a:pt x="44" y="6"/>
                    <a:pt x="43" y="5"/>
                    <a:pt x="43" y="5"/>
                  </a:cubicBezTo>
                  <a:cubicBezTo>
                    <a:pt x="42" y="5"/>
                    <a:pt x="41" y="3"/>
                    <a:pt x="41" y="3"/>
                  </a:cubicBezTo>
                  <a:cubicBezTo>
                    <a:pt x="41" y="2"/>
                    <a:pt x="40" y="4"/>
                    <a:pt x="40" y="4"/>
                  </a:cubicBezTo>
                  <a:cubicBezTo>
                    <a:pt x="42" y="7"/>
                    <a:pt x="42" y="7"/>
                    <a:pt x="42" y="7"/>
                  </a:cubicBezTo>
                  <a:cubicBezTo>
                    <a:pt x="41" y="9"/>
                    <a:pt x="41" y="9"/>
                    <a:pt x="41" y="9"/>
                  </a:cubicBezTo>
                  <a:cubicBezTo>
                    <a:pt x="41" y="9"/>
                    <a:pt x="39" y="10"/>
                    <a:pt x="38" y="10"/>
                  </a:cubicBezTo>
                  <a:cubicBezTo>
                    <a:pt x="37" y="10"/>
                    <a:pt x="34" y="10"/>
                    <a:pt x="34" y="10"/>
                  </a:cubicBezTo>
                  <a:cubicBezTo>
                    <a:pt x="32" y="10"/>
                    <a:pt x="32" y="10"/>
                    <a:pt x="32" y="10"/>
                  </a:cubicBezTo>
                  <a:cubicBezTo>
                    <a:pt x="30" y="12"/>
                    <a:pt x="30" y="12"/>
                    <a:pt x="30" y="12"/>
                  </a:cubicBezTo>
                  <a:cubicBezTo>
                    <a:pt x="28" y="13"/>
                    <a:pt x="28" y="13"/>
                    <a:pt x="28" y="13"/>
                  </a:cubicBezTo>
                  <a:cubicBezTo>
                    <a:pt x="28" y="13"/>
                    <a:pt x="26" y="11"/>
                    <a:pt x="26" y="10"/>
                  </a:cubicBezTo>
                  <a:cubicBezTo>
                    <a:pt x="25" y="9"/>
                    <a:pt x="25" y="12"/>
                    <a:pt x="25" y="12"/>
                  </a:cubicBezTo>
                  <a:cubicBezTo>
                    <a:pt x="25" y="12"/>
                    <a:pt x="27" y="13"/>
                    <a:pt x="27" y="14"/>
                  </a:cubicBezTo>
                  <a:cubicBezTo>
                    <a:pt x="27" y="15"/>
                    <a:pt x="25" y="15"/>
                    <a:pt x="25" y="15"/>
                  </a:cubicBezTo>
                  <a:cubicBezTo>
                    <a:pt x="25" y="15"/>
                    <a:pt x="23" y="16"/>
                    <a:pt x="22" y="16"/>
                  </a:cubicBezTo>
                  <a:cubicBezTo>
                    <a:pt x="21" y="16"/>
                    <a:pt x="22" y="16"/>
                    <a:pt x="19" y="16"/>
                  </a:cubicBezTo>
                  <a:cubicBezTo>
                    <a:pt x="17" y="16"/>
                    <a:pt x="17" y="17"/>
                    <a:pt x="17" y="17"/>
                  </a:cubicBezTo>
                  <a:cubicBezTo>
                    <a:pt x="17" y="17"/>
                    <a:pt x="17" y="18"/>
                    <a:pt x="17" y="19"/>
                  </a:cubicBezTo>
                  <a:cubicBezTo>
                    <a:pt x="17" y="20"/>
                    <a:pt x="14" y="20"/>
                    <a:pt x="14" y="20"/>
                  </a:cubicBezTo>
                  <a:cubicBezTo>
                    <a:pt x="15" y="22"/>
                    <a:pt x="15" y="22"/>
                    <a:pt x="15" y="22"/>
                  </a:cubicBezTo>
                  <a:cubicBezTo>
                    <a:pt x="15" y="22"/>
                    <a:pt x="13" y="21"/>
                    <a:pt x="13" y="21"/>
                  </a:cubicBezTo>
                  <a:cubicBezTo>
                    <a:pt x="12" y="21"/>
                    <a:pt x="11" y="21"/>
                    <a:pt x="10" y="21"/>
                  </a:cubicBezTo>
                  <a:cubicBezTo>
                    <a:pt x="9" y="22"/>
                    <a:pt x="11" y="23"/>
                    <a:pt x="12" y="24"/>
                  </a:cubicBezTo>
                  <a:cubicBezTo>
                    <a:pt x="13" y="25"/>
                    <a:pt x="13" y="26"/>
                    <a:pt x="13" y="26"/>
                  </a:cubicBezTo>
                  <a:cubicBezTo>
                    <a:pt x="13" y="27"/>
                    <a:pt x="12" y="26"/>
                    <a:pt x="11" y="26"/>
                  </a:cubicBezTo>
                  <a:cubicBezTo>
                    <a:pt x="11" y="26"/>
                    <a:pt x="10" y="27"/>
                    <a:pt x="10" y="27"/>
                  </a:cubicBezTo>
                  <a:cubicBezTo>
                    <a:pt x="9" y="27"/>
                    <a:pt x="7" y="27"/>
                    <a:pt x="6" y="27"/>
                  </a:cubicBezTo>
                  <a:cubicBezTo>
                    <a:pt x="5" y="27"/>
                    <a:pt x="5" y="29"/>
                    <a:pt x="5" y="29"/>
                  </a:cubicBezTo>
                  <a:cubicBezTo>
                    <a:pt x="4" y="30"/>
                    <a:pt x="4" y="30"/>
                    <a:pt x="4" y="30"/>
                  </a:cubicBezTo>
                  <a:cubicBezTo>
                    <a:pt x="4" y="30"/>
                    <a:pt x="2" y="30"/>
                    <a:pt x="1" y="31"/>
                  </a:cubicBezTo>
                  <a:cubicBezTo>
                    <a:pt x="0" y="31"/>
                    <a:pt x="0" y="32"/>
                    <a:pt x="0" y="32"/>
                  </a:cubicBezTo>
                  <a:cubicBezTo>
                    <a:pt x="1" y="34"/>
                    <a:pt x="1" y="34"/>
                    <a:pt x="1" y="34"/>
                  </a:cubicBezTo>
                  <a:cubicBezTo>
                    <a:pt x="2" y="34"/>
                    <a:pt x="2" y="34"/>
                    <a:pt x="2" y="34"/>
                  </a:cubicBezTo>
                  <a:cubicBezTo>
                    <a:pt x="2" y="36"/>
                    <a:pt x="2" y="36"/>
                    <a:pt x="2" y="36"/>
                  </a:cubicBezTo>
                  <a:cubicBezTo>
                    <a:pt x="1" y="38"/>
                    <a:pt x="1" y="38"/>
                    <a:pt x="1" y="38"/>
                  </a:cubicBezTo>
                  <a:cubicBezTo>
                    <a:pt x="1" y="40"/>
                    <a:pt x="1" y="40"/>
                    <a:pt x="1" y="40"/>
                  </a:cubicBezTo>
                  <a:cubicBezTo>
                    <a:pt x="1" y="41"/>
                    <a:pt x="1" y="41"/>
                    <a:pt x="1" y="41"/>
                  </a:cubicBezTo>
                  <a:cubicBezTo>
                    <a:pt x="4" y="41"/>
                    <a:pt x="4" y="41"/>
                    <a:pt x="4" y="41"/>
                  </a:cubicBezTo>
                  <a:cubicBezTo>
                    <a:pt x="4" y="40"/>
                    <a:pt x="4" y="40"/>
                    <a:pt x="4" y="40"/>
                  </a:cubicBezTo>
                  <a:cubicBezTo>
                    <a:pt x="6" y="39"/>
                    <a:pt x="6" y="39"/>
                    <a:pt x="6" y="39"/>
                  </a:cubicBezTo>
                  <a:cubicBezTo>
                    <a:pt x="6" y="42"/>
                    <a:pt x="6" y="42"/>
                    <a:pt x="6" y="42"/>
                  </a:cubicBezTo>
                  <a:cubicBezTo>
                    <a:pt x="4" y="43"/>
                    <a:pt x="4" y="43"/>
                    <a:pt x="4" y="43"/>
                  </a:cubicBezTo>
                  <a:cubicBezTo>
                    <a:pt x="3" y="43"/>
                    <a:pt x="3" y="43"/>
                    <a:pt x="3" y="43"/>
                  </a:cubicBezTo>
                  <a:cubicBezTo>
                    <a:pt x="2" y="44"/>
                    <a:pt x="2" y="44"/>
                    <a:pt x="2" y="44"/>
                  </a:cubicBezTo>
                  <a:cubicBezTo>
                    <a:pt x="3" y="46"/>
                    <a:pt x="3" y="46"/>
                    <a:pt x="3" y="46"/>
                  </a:cubicBezTo>
                  <a:cubicBezTo>
                    <a:pt x="3" y="47"/>
                    <a:pt x="3" y="47"/>
                    <a:pt x="3" y="47"/>
                  </a:cubicBezTo>
                  <a:cubicBezTo>
                    <a:pt x="4" y="48"/>
                    <a:pt x="4" y="48"/>
                    <a:pt x="4" y="48"/>
                  </a:cubicBezTo>
                  <a:cubicBezTo>
                    <a:pt x="3" y="51"/>
                    <a:pt x="3" y="51"/>
                    <a:pt x="3" y="51"/>
                  </a:cubicBezTo>
                  <a:cubicBezTo>
                    <a:pt x="6" y="50"/>
                    <a:pt x="6" y="50"/>
                    <a:pt x="6" y="50"/>
                  </a:cubicBezTo>
                  <a:cubicBezTo>
                    <a:pt x="6" y="50"/>
                    <a:pt x="11" y="48"/>
                    <a:pt x="12" y="48"/>
                  </a:cubicBezTo>
                  <a:cubicBezTo>
                    <a:pt x="12" y="48"/>
                    <a:pt x="12" y="49"/>
                    <a:pt x="12" y="49"/>
                  </a:cubicBezTo>
                  <a:cubicBezTo>
                    <a:pt x="13" y="50"/>
                    <a:pt x="12" y="51"/>
                    <a:pt x="12" y="51"/>
                  </a:cubicBezTo>
                  <a:cubicBezTo>
                    <a:pt x="12" y="51"/>
                    <a:pt x="11" y="51"/>
                    <a:pt x="11" y="51"/>
                  </a:cubicBezTo>
                  <a:cubicBezTo>
                    <a:pt x="10" y="51"/>
                    <a:pt x="10" y="50"/>
                    <a:pt x="9" y="50"/>
                  </a:cubicBezTo>
                  <a:cubicBezTo>
                    <a:pt x="8" y="50"/>
                    <a:pt x="8" y="52"/>
                    <a:pt x="8" y="52"/>
                  </a:cubicBezTo>
                  <a:cubicBezTo>
                    <a:pt x="7" y="52"/>
                    <a:pt x="6" y="51"/>
                    <a:pt x="6" y="51"/>
                  </a:cubicBezTo>
                  <a:cubicBezTo>
                    <a:pt x="5" y="51"/>
                    <a:pt x="6" y="52"/>
                    <a:pt x="6" y="54"/>
                  </a:cubicBezTo>
                  <a:cubicBezTo>
                    <a:pt x="6" y="55"/>
                    <a:pt x="6" y="57"/>
                    <a:pt x="6" y="58"/>
                  </a:cubicBezTo>
                  <a:cubicBezTo>
                    <a:pt x="7" y="58"/>
                    <a:pt x="7" y="59"/>
                    <a:pt x="7" y="60"/>
                  </a:cubicBezTo>
                  <a:cubicBezTo>
                    <a:pt x="7" y="60"/>
                    <a:pt x="8" y="58"/>
                    <a:pt x="8" y="58"/>
                  </a:cubicBezTo>
                  <a:cubicBezTo>
                    <a:pt x="9" y="58"/>
                    <a:pt x="9" y="60"/>
                    <a:pt x="9" y="60"/>
                  </a:cubicBezTo>
                  <a:cubicBezTo>
                    <a:pt x="9" y="60"/>
                    <a:pt x="12" y="64"/>
                    <a:pt x="13" y="65"/>
                  </a:cubicBezTo>
                  <a:cubicBezTo>
                    <a:pt x="14" y="67"/>
                    <a:pt x="14" y="67"/>
                    <a:pt x="15" y="67"/>
                  </a:cubicBezTo>
                  <a:cubicBezTo>
                    <a:pt x="16" y="67"/>
                    <a:pt x="16" y="67"/>
                    <a:pt x="16" y="67"/>
                  </a:cubicBezTo>
                  <a:cubicBezTo>
                    <a:pt x="16" y="67"/>
                    <a:pt x="18" y="67"/>
                    <a:pt x="18" y="67"/>
                  </a:cubicBezTo>
                  <a:cubicBezTo>
                    <a:pt x="19" y="67"/>
                    <a:pt x="21" y="68"/>
                    <a:pt x="21" y="68"/>
                  </a:cubicBezTo>
                  <a:cubicBezTo>
                    <a:pt x="24" y="71"/>
                    <a:pt x="24" y="71"/>
                    <a:pt x="24" y="71"/>
                  </a:cubicBezTo>
                  <a:cubicBezTo>
                    <a:pt x="24" y="71"/>
                    <a:pt x="24" y="68"/>
                    <a:pt x="25" y="68"/>
                  </a:cubicBezTo>
                  <a:cubicBezTo>
                    <a:pt x="25" y="68"/>
                    <a:pt x="26" y="68"/>
                    <a:pt x="27" y="67"/>
                  </a:cubicBezTo>
                  <a:cubicBezTo>
                    <a:pt x="27" y="66"/>
                    <a:pt x="26" y="65"/>
                    <a:pt x="26" y="65"/>
                  </a:cubicBezTo>
                  <a:cubicBezTo>
                    <a:pt x="28" y="62"/>
                    <a:pt x="28" y="62"/>
                    <a:pt x="28" y="62"/>
                  </a:cubicBezTo>
                  <a:cubicBezTo>
                    <a:pt x="30" y="62"/>
                    <a:pt x="30" y="62"/>
                    <a:pt x="30" y="62"/>
                  </a:cubicBezTo>
                  <a:cubicBezTo>
                    <a:pt x="32" y="63"/>
                    <a:pt x="32" y="63"/>
                    <a:pt x="32" y="63"/>
                  </a:cubicBezTo>
                  <a:cubicBezTo>
                    <a:pt x="33" y="66"/>
                    <a:pt x="33" y="66"/>
                    <a:pt x="33" y="66"/>
                  </a:cubicBezTo>
                  <a:cubicBezTo>
                    <a:pt x="31" y="68"/>
                    <a:pt x="31" y="68"/>
                    <a:pt x="31" y="68"/>
                  </a:cubicBezTo>
                  <a:cubicBezTo>
                    <a:pt x="31" y="68"/>
                    <a:pt x="32" y="70"/>
                    <a:pt x="32" y="72"/>
                  </a:cubicBezTo>
                  <a:cubicBezTo>
                    <a:pt x="33" y="74"/>
                    <a:pt x="33" y="75"/>
                    <a:pt x="33" y="76"/>
                  </a:cubicBezTo>
                  <a:cubicBezTo>
                    <a:pt x="33" y="76"/>
                    <a:pt x="32" y="78"/>
                    <a:pt x="32" y="79"/>
                  </a:cubicBezTo>
                  <a:cubicBezTo>
                    <a:pt x="31" y="81"/>
                    <a:pt x="31" y="83"/>
                    <a:pt x="31" y="83"/>
                  </a:cubicBezTo>
                  <a:cubicBezTo>
                    <a:pt x="32" y="84"/>
                    <a:pt x="32" y="84"/>
                    <a:pt x="32" y="84"/>
                  </a:cubicBezTo>
                  <a:cubicBezTo>
                    <a:pt x="33" y="83"/>
                    <a:pt x="36" y="81"/>
                    <a:pt x="36" y="81"/>
                  </a:cubicBezTo>
                  <a:cubicBezTo>
                    <a:pt x="40" y="77"/>
                    <a:pt x="40" y="77"/>
                    <a:pt x="40" y="77"/>
                  </a:cubicBezTo>
                  <a:cubicBezTo>
                    <a:pt x="44" y="74"/>
                    <a:pt x="44" y="74"/>
                    <a:pt x="44" y="74"/>
                  </a:cubicBezTo>
                  <a:cubicBezTo>
                    <a:pt x="47" y="72"/>
                    <a:pt x="47" y="72"/>
                    <a:pt x="47" y="72"/>
                  </a:cubicBezTo>
                  <a:cubicBezTo>
                    <a:pt x="51" y="74"/>
                    <a:pt x="51" y="74"/>
                    <a:pt x="51" y="74"/>
                  </a:cubicBezTo>
                  <a:cubicBezTo>
                    <a:pt x="54" y="73"/>
                    <a:pt x="54" y="73"/>
                    <a:pt x="54" y="73"/>
                  </a:cubicBezTo>
                  <a:cubicBezTo>
                    <a:pt x="57" y="75"/>
                    <a:pt x="57" y="75"/>
                    <a:pt x="57" y="75"/>
                  </a:cubicBezTo>
                  <a:cubicBezTo>
                    <a:pt x="62" y="75"/>
                    <a:pt x="62" y="75"/>
                    <a:pt x="62" y="75"/>
                  </a:cubicBezTo>
                  <a:cubicBezTo>
                    <a:pt x="65" y="76"/>
                    <a:pt x="65" y="76"/>
                    <a:pt x="65" y="76"/>
                  </a:cubicBezTo>
                  <a:cubicBezTo>
                    <a:pt x="69" y="77"/>
                    <a:pt x="69" y="77"/>
                    <a:pt x="69" y="77"/>
                  </a:cubicBezTo>
                  <a:cubicBezTo>
                    <a:pt x="76" y="82"/>
                    <a:pt x="76" y="82"/>
                    <a:pt x="76" y="82"/>
                  </a:cubicBezTo>
                  <a:cubicBezTo>
                    <a:pt x="78" y="85"/>
                    <a:pt x="78" y="85"/>
                    <a:pt x="78" y="85"/>
                  </a:cubicBezTo>
                  <a:cubicBezTo>
                    <a:pt x="81" y="86"/>
                    <a:pt x="81" y="86"/>
                    <a:pt x="81" y="86"/>
                  </a:cubicBezTo>
                  <a:cubicBezTo>
                    <a:pt x="81" y="86"/>
                    <a:pt x="83" y="88"/>
                    <a:pt x="85" y="87"/>
                  </a:cubicBezTo>
                  <a:cubicBezTo>
                    <a:pt x="85" y="87"/>
                    <a:pt x="86" y="86"/>
                    <a:pt x="87" y="86"/>
                  </a:cubicBezTo>
                  <a:cubicBezTo>
                    <a:pt x="88" y="84"/>
                    <a:pt x="89" y="83"/>
                    <a:pt x="89" y="83"/>
                  </a:cubicBezTo>
                  <a:cubicBezTo>
                    <a:pt x="90" y="83"/>
                    <a:pt x="90" y="83"/>
                    <a:pt x="90" y="83"/>
                  </a:cubicBezTo>
                  <a:cubicBezTo>
                    <a:pt x="93" y="81"/>
                    <a:pt x="93" y="81"/>
                    <a:pt x="93" y="81"/>
                  </a:cubicBezTo>
                  <a:cubicBezTo>
                    <a:pt x="98" y="82"/>
                    <a:pt x="98" y="82"/>
                    <a:pt x="98" y="82"/>
                  </a:cubicBezTo>
                  <a:cubicBezTo>
                    <a:pt x="102" y="82"/>
                    <a:pt x="102" y="82"/>
                    <a:pt x="102" y="82"/>
                  </a:cubicBezTo>
                  <a:cubicBezTo>
                    <a:pt x="102" y="82"/>
                    <a:pt x="102" y="82"/>
                    <a:pt x="102" y="82"/>
                  </a:cubicBezTo>
                  <a:cubicBezTo>
                    <a:pt x="101" y="82"/>
                    <a:pt x="101" y="81"/>
                    <a:pt x="101" y="81"/>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2" name="Freeform 230"/>
            <p:cNvSpPr>
              <a:spLocks/>
            </p:cNvSpPr>
            <p:nvPr/>
          </p:nvSpPr>
          <p:spPr bwMode="auto">
            <a:xfrm>
              <a:off x="6197478" y="3165575"/>
              <a:ext cx="98202" cy="92589"/>
            </a:xfrm>
            <a:custGeom>
              <a:avLst/>
              <a:gdLst>
                <a:gd name="T0" fmla="*/ 32 w 34"/>
                <a:gd name="T1" fmla="*/ 3 h 34"/>
                <a:gd name="T2" fmla="*/ 27 w 34"/>
                <a:gd name="T3" fmla="*/ 1 h 34"/>
                <a:gd name="T4" fmla="*/ 23 w 34"/>
                <a:gd name="T5" fmla="*/ 0 h 34"/>
                <a:gd name="T6" fmla="*/ 20 w 34"/>
                <a:gd name="T7" fmla="*/ 1 h 34"/>
                <a:gd name="T8" fmla="*/ 17 w 34"/>
                <a:gd name="T9" fmla="*/ 1 h 34"/>
                <a:gd name="T10" fmla="*/ 15 w 34"/>
                <a:gd name="T11" fmla="*/ 3 h 34"/>
                <a:gd name="T12" fmla="*/ 10 w 34"/>
                <a:gd name="T13" fmla="*/ 4 h 34"/>
                <a:gd name="T14" fmla="*/ 10 w 34"/>
                <a:gd name="T15" fmla="*/ 7 h 34"/>
                <a:gd name="T16" fmla="*/ 8 w 34"/>
                <a:gd name="T17" fmla="*/ 6 h 34"/>
                <a:gd name="T18" fmla="*/ 6 w 34"/>
                <a:gd name="T19" fmla="*/ 9 h 34"/>
                <a:gd name="T20" fmla="*/ 6 w 34"/>
                <a:gd name="T21" fmla="*/ 12 h 34"/>
                <a:gd name="T22" fmla="*/ 3 w 34"/>
                <a:gd name="T23" fmla="*/ 8 h 34"/>
                <a:gd name="T24" fmla="*/ 1 w 34"/>
                <a:gd name="T25" fmla="*/ 9 h 34"/>
                <a:gd name="T26" fmla="*/ 0 w 34"/>
                <a:gd name="T27" fmla="*/ 9 h 34"/>
                <a:gd name="T28" fmla="*/ 2 w 34"/>
                <a:gd name="T29" fmla="*/ 11 h 34"/>
                <a:gd name="T30" fmla="*/ 5 w 34"/>
                <a:gd name="T31" fmla="*/ 13 h 34"/>
                <a:gd name="T32" fmla="*/ 3 w 34"/>
                <a:gd name="T33" fmla="*/ 16 h 34"/>
                <a:gd name="T34" fmla="*/ 2 w 34"/>
                <a:gd name="T35" fmla="*/ 17 h 34"/>
                <a:gd name="T36" fmla="*/ 5 w 34"/>
                <a:gd name="T37" fmla="*/ 20 h 34"/>
                <a:gd name="T38" fmla="*/ 7 w 34"/>
                <a:gd name="T39" fmla="*/ 21 h 34"/>
                <a:gd name="T40" fmla="*/ 8 w 34"/>
                <a:gd name="T41" fmla="*/ 22 h 34"/>
                <a:gd name="T42" fmla="*/ 10 w 34"/>
                <a:gd name="T43" fmla="*/ 24 h 34"/>
                <a:gd name="T44" fmla="*/ 9 w 34"/>
                <a:gd name="T45" fmla="*/ 27 h 34"/>
                <a:gd name="T46" fmla="*/ 8 w 34"/>
                <a:gd name="T47" fmla="*/ 30 h 34"/>
                <a:gd name="T48" fmla="*/ 9 w 34"/>
                <a:gd name="T49" fmla="*/ 34 h 34"/>
                <a:gd name="T50" fmla="*/ 13 w 34"/>
                <a:gd name="T51" fmla="*/ 30 h 34"/>
                <a:gd name="T52" fmla="*/ 13 w 34"/>
                <a:gd name="T53" fmla="*/ 27 h 34"/>
                <a:gd name="T54" fmla="*/ 12 w 34"/>
                <a:gd name="T55" fmla="*/ 22 h 34"/>
                <a:gd name="T56" fmla="*/ 15 w 34"/>
                <a:gd name="T57" fmla="*/ 19 h 34"/>
                <a:gd name="T58" fmla="*/ 18 w 34"/>
                <a:gd name="T59" fmla="*/ 17 h 34"/>
                <a:gd name="T60" fmla="*/ 21 w 34"/>
                <a:gd name="T61" fmla="*/ 18 h 34"/>
                <a:gd name="T62" fmla="*/ 23 w 34"/>
                <a:gd name="T63" fmla="*/ 17 h 34"/>
                <a:gd name="T64" fmla="*/ 22 w 34"/>
                <a:gd name="T65" fmla="*/ 15 h 34"/>
                <a:gd name="T66" fmla="*/ 25 w 34"/>
                <a:gd name="T67" fmla="*/ 12 h 34"/>
                <a:gd name="T68" fmla="*/ 26 w 34"/>
                <a:gd name="T69" fmla="*/ 10 h 34"/>
                <a:gd name="T70" fmla="*/ 28 w 34"/>
                <a:gd name="T71" fmla="*/ 8 h 34"/>
                <a:gd name="T72" fmla="*/ 30 w 34"/>
                <a:gd name="T73" fmla="*/ 7 h 34"/>
                <a:gd name="T74" fmla="*/ 30 w 34"/>
                <a:gd name="T75" fmla="*/ 4 h 34"/>
                <a:gd name="T76" fmla="*/ 34 w 34"/>
                <a:gd name="T77"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 h="34">
                  <a:moveTo>
                    <a:pt x="33" y="4"/>
                  </a:moveTo>
                  <a:cubicBezTo>
                    <a:pt x="32" y="3"/>
                    <a:pt x="32" y="3"/>
                    <a:pt x="32" y="3"/>
                  </a:cubicBezTo>
                  <a:cubicBezTo>
                    <a:pt x="30" y="2"/>
                    <a:pt x="30" y="2"/>
                    <a:pt x="30" y="2"/>
                  </a:cubicBezTo>
                  <a:cubicBezTo>
                    <a:pt x="27" y="1"/>
                    <a:pt x="27" y="1"/>
                    <a:pt x="27" y="1"/>
                  </a:cubicBezTo>
                  <a:cubicBezTo>
                    <a:pt x="27" y="1"/>
                    <a:pt x="24" y="0"/>
                    <a:pt x="24" y="0"/>
                  </a:cubicBezTo>
                  <a:cubicBezTo>
                    <a:pt x="24" y="0"/>
                    <a:pt x="23" y="0"/>
                    <a:pt x="23" y="0"/>
                  </a:cubicBezTo>
                  <a:cubicBezTo>
                    <a:pt x="23" y="0"/>
                    <a:pt x="22" y="0"/>
                    <a:pt x="22" y="0"/>
                  </a:cubicBezTo>
                  <a:cubicBezTo>
                    <a:pt x="21" y="0"/>
                    <a:pt x="20" y="1"/>
                    <a:pt x="20" y="1"/>
                  </a:cubicBezTo>
                  <a:cubicBezTo>
                    <a:pt x="19" y="2"/>
                    <a:pt x="19" y="2"/>
                    <a:pt x="18" y="2"/>
                  </a:cubicBezTo>
                  <a:cubicBezTo>
                    <a:pt x="18" y="2"/>
                    <a:pt x="17" y="1"/>
                    <a:pt x="17" y="1"/>
                  </a:cubicBezTo>
                  <a:cubicBezTo>
                    <a:pt x="16" y="1"/>
                    <a:pt x="16" y="1"/>
                    <a:pt x="16" y="1"/>
                  </a:cubicBezTo>
                  <a:cubicBezTo>
                    <a:pt x="16" y="1"/>
                    <a:pt x="15" y="2"/>
                    <a:pt x="15" y="3"/>
                  </a:cubicBezTo>
                  <a:cubicBezTo>
                    <a:pt x="15" y="3"/>
                    <a:pt x="13" y="3"/>
                    <a:pt x="12" y="3"/>
                  </a:cubicBezTo>
                  <a:cubicBezTo>
                    <a:pt x="12" y="4"/>
                    <a:pt x="11" y="4"/>
                    <a:pt x="10" y="4"/>
                  </a:cubicBezTo>
                  <a:cubicBezTo>
                    <a:pt x="9" y="4"/>
                    <a:pt x="10" y="5"/>
                    <a:pt x="10" y="5"/>
                  </a:cubicBezTo>
                  <a:cubicBezTo>
                    <a:pt x="10" y="7"/>
                    <a:pt x="10" y="7"/>
                    <a:pt x="10" y="7"/>
                  </a:cubicBezTo>
                  <a:cubicBezTo>
                    <a:pt x="9" y="7"/>
                    <a:pt x="9" y="7"/>
                    <a:pt x="9" y="7"/>
                  </a:cubicBezTo>
                  <a:cubicBezTo>
                    <a:pt x="8" y="6"/>
                    <a:pt x="8" y="6"/>
                    <a:pt x="8" y="6"/>
                  </a:cubicBezTo>
                  <a:cubicBezTo>
                    <a:pt x="7" y="8"/>
                    <a:pt x="7" y="8"/>
                    <a:pt x="7" y="8"/>
                  </a:cubicBezTo>
                  <a:cubicBezTo>
                    <a:pt x="6" y="9"/>
                    <a:pt x="6" y="9"/>
                    <a:pt x="6" y="9"/>
                  </a:cubicBezTo>
                  <a:cubicBezTo>
                    <a:pt x="6" y="9"/>
                    <a:pt x="6" y="11"/>
                    <a:pt x="6" y="11"/>
                  </a:cubicBezTo>
                  <a:cubicBezTo>
                    <a:pt x="6" y="12"/>
                    <a:pt x="6" y="12"/>
                    <a:pt x="6" y="12"/>
                  </a:cubicBezTo>
                  <a:cubicBezTo>
                    <a:pt x="6" y="12"/>
                    <a:pt x="5" y="10"/>
                    <a:pt x="5" y="9"/>
                  </a:cubicBezTo>
                  <a:cubicBezTo>
                    <a:pt x="5" y="8"/>
                    <a:pt x="3" y="8"/>
                    <a:pt x="3" y="8"/>
                  </a:cubicBezTo>
                  <a:cubicBezTo>
                    <a:pt x="3" y="8"/>
                    <a:pt x="2" y="8"/>
                    <a:pt x="2" y="8"/>
                  </a:cubicBezTo>
                  <a:cubicBezTo>
                    <a:pt x="2" y="8"/>
                    <a:pt x="2" y="9"/>
                    <a:pt x="1" y="9"/>
                  </a:cubicBezTo>
                  <a:cubicBezTo>
                    <a:pt x="1" y="9"/>
                    <a:pt x="1" y="8"/>
                    <a:pt x="1" y="8"/>
                  </a:cubicBezTo>
                  <a:cubicBezTo>
                    <a:pt x="1" y="8"/>
                    <a:pt x="0" y="9"/>
                    <a:pt x="0" y="9"/>
                  </a:cubicBezTo>
                  <a:cubicBezTo>
                    <a:pt x="0" y="9"/>
                    <a:pt x="0" y="10"/>
                    <a:pt x="0" y="10"/>
                  </a:cubicBezTo>
                  <a:cubicBezTo>
                    <a:pt x="0" y="10"/>
                    <a:pt x="1" y="11"/>
                    <a:pt x="2" y="11"/>
                  </a:cubicBezTo>
                  <a:cubicBezTo>
                    <a:pt x="3" y="11"/>
                    <a:pt x="2" y="11"/>
                    <a:pt x="2" y="11"/>
                  </a:cubicBezTo>
                  <a:cubicBezTo>
                    <a:pt x="2" y="11"/>
                    <a:pt x="4" y="13"/>
                    <a:pt x="5" y="13"/>
                  </a:cubicBezTo>
                  <a:cubicBezTo>
                    <a:pt x="5" y="14"/>
                    <a:pt x="5" y="15"/>
                    <a:pt x="5" y="15"/>
                  </a:cubicBezTo>
                  <a:cubicBezTo>
                    <a:pt x="3" y="16"/>
                    <a:pt x="3" y="16"/>
                    <a:pt x="3" y="16"/>
                  </a:cubicBezTo>
                  <a:cubicBezTo>
                    <a:pt x="3" y="16"/>
                    <a:pt x="3" y="16"/>
                    <a:pt x="3" y="17"/>
                  </a:cubicBezTo>
                  <a:cubicBezTo>
                    <a:pt x="4" y="17"/>
                    <a:pt x="3" y="17"/>
                    <a:pt x="2" y="17"/>
                  </a:cubicBezTo>
                  <a:cubicBezTo>
                    <a:pt x="2" y="18"/>
                    <a:pt x="3" y="19"/>
                    <a:pt x="3" y="19"/>
                  </a:cubicBezTo>
                  <a:cubicBezTo>
                    <a:pt x="3" y="19"/>
                    <a:pt x="4" y="20"/>
                    <a:pt x="5" y="20"/>
                  </a:cubicBezTo>
                  <a:cubicBezTo>
                    <a:pt x="6" y="20"/>
                    <a:pt x="6" y="20"/>
                    <a:pt x="6" y="20"/>
                  </a:cubicBezTo>
                  <a:cubicBezTo>
                    <a:pt x="7" y="21"/>
                    <a:pt x="7" y="21"/>
                    <a:pt x="7" y="21"/>
                  </a:cubicBezTo>
                  <a:cubicBezTo>
                    <a:pt x="8" y="22"/>
                    <a:pt x="8" y="22"/>
                    <a:pt x="8" y="22"/>
                  </a:cubicBezTo>
                  <a:cubicBezTo>
                    <a:pt x="8" y="22"/>
                    <a:pt x="8" y="22"/>
                    <a:pt x="8" y="22"/>
                  </a:cubicBezTo>
                  <a:cubicBezTo>
                    <a:pt x="10" y="23"/>
                    <a:pt x="10" y="23"/>
                    <a:pt x="10" y="23"/>
                  </a:cubicBezTo>
                  <a:cubicBezTo>
                    <a:pt x="10" y="24"/>
                    <a:pt x="10" y="24"/>
                    <a:pt x="10" y="24"/>
                  </a:cubicBezTo>
                  <a:cubicBezTo>
                    <a:pt x="11" y="26"/>
                    <a:pt x="11" y="26"/>
                    <a:pt x="11" y="26"/>
                  </a:cubicBezTo>
                  <a:cubicBezTo>
                    <a:pt x="11" y="26"/>
                    <a:pt x="10" y="26"/>
                    <a:pt x="9" y="27"/>
                  </a:cubicBezTo>
                  <a:cubicBezTo>
                    <a:pt x="9" y="27"/>
                    <a:pt x="9" y="28"/>
                    <a:pt x="8" y="28"/>
                  </a:cubicBezTo>
                  <a:cubicBezTo>
                    <a:pt x="8" y="28"/>
                    <a:pt x="8" y="29"/>
                    <a:pt x="8" y="30"/>
                  </a:cubicBezTo>
                  <a:cubicBezTo>
                    <a:pt x="7" y="31"/>
                    <a:pt x="8" y="32"/>
                    <a:pt x="8" y="33"/>
                  </a:cubicBezTo>
                  <a:cubicBezTo>
                    <a:pt x="9" y="34"/>
                    <a:pt x="9" y="34"/>
                    <a:pt x="9" y="34"/>
                  </a:cubicBezTo>
                  <a:cubicBezTo>
                    <a:pt x="10" y="34"/>
                    <a:pt x="11" y="33"/>
                    <a:pt x="11" y="33"/>
                  </a:cubicBezTo>
                  <a:cubicBezTo>
                    <a:pt x="11" y="32"/>
                    <a:pt x="12" y="31"/>
                    <a:pt x="13" y="30"/>
                  </a:cubicBezTo>
                  <a:cubicBezTo>
                    <a:pt x="13" y="30"/>
                    <a:pt x="13" y="29"/>
                    <a:pt x="13" y="28"/>
                  </a:cubicBezTo>
                  <a:cubicBezTo>
                    <a:pt x="12" y="28"/>
                    <a:pt x="13" y="27"/>
                    <a:pt x="13" y="27"/>
                  </a:cubicBezTo>
                  <a:cubicBezTo>
                    <a:pt x="13" y="25"/>
                    <a:pt x="13" y="25"/>
                    <a:pt x="13" y="25"/>
                  </a:cubicBezTo>
                  <a:cubicBezTo>
                    <a:pt x="12" y="22"/>
                    <a:pt x="12" y="22"/>
                    <a:pt x="12" y="22"/>
                  </a:cubicBezTo>
                  <a:cubicBezTo>
                    <a:pt x="14" y="19"/>
                    <a:pt x="14" y="19"/>
                    <a:pt x="14" y="19"/>
                  </a:cubicBezTo>
                  <a:cubicBezTo>
                    <a:pt x="15" y="19"/>
                    <a:pt x="15" y="19"/>
                    <a:pt x="15" y="19"/>
                  </a:cubicBezTo>
                  <a:cubicBezTo>
                    <a:pt x="17" y="17"/>
                    <a:pt x="17" y="17"/>
                    <a:pt x="17" y="17"/>
                  </a:cubicBezTo>
                  <a:cubicBezTo>
                    <a:pt x="18" y="17"/>
                    <a:pt x="18" y="17"/>
                    <a:pt x="18" y="17"/>
                  </a:cubicBezTo>
                  <a:cubicBezTo>
                    <a:pt x="18" y="17"/>
                    <a:pt x="18" y="17"/>
                    <a:pt x="20" y="17"/>
                  </a:cubicBezTo>
                  <a:cubicBezTo>
                    <a:pt x="21" y="17"/>
                    <a:pt x="21" y="17"/>
                    <a:pt x="21" y="18"/>
                  </a:cubicBezTo>
                  <a:cubicBezTo>
                    <a:pt x="21" y="18"/>
                    <a:pt x="22" y="18"/>
                    <a:pt x="23" y="18"/>
                  </a:cubicBezTo>
                  <a:cubicBezTo>
                    <a:pt x="23" y="18"/>
                    <a:pt x="23" y="17"/>
                    <a:pt x="23" y="17"/>
                  </a:cubicBezTo>
                  <a:cubicBezTo>
                    <a:pt x="23" y="16"/>
                    <a:pt x="22" y="16"/>
                    <a:pt x="22" y="16"/>
                  </a:cubicBezTo>
                  <a:cubicBezTo>
                    <a:pt x="22" y="15"/>
                    <a:pt x="22" y="15"/>
                    <a:pt x="22" y="15"/>
                  </a:cubicBezTo>
                  <a:cubicBezTo>
                    <a:pt x="24" y="14"/>
                    <a:pt x="24" y="14"/>
                    <a:pt x="24" y="14"/>
                  </a:cubicBezTo>
                  <a:cubicBezTo>
                    <a:pt x="25" y="12"/>
                    <a:pt x="25" y="12"/>
                    <a:pt x="25" y="12"/>
                  </a:cubicBezTo>
                  <a:cubicBezTo>
                    <a:pt x="26" y="11"/>
                    <a:pt x="26" y="11"/>
                    <a:pt x="26" y="11"/>
                  </a:cubicBezTo>
                  <a:cubicBezTo>
                    <a:pt x="26" y="10"/>
                    <a:pt x="26" y="10"/>
                    <a:pt x="26" y="10"/>
                  </a:cubicBezTo>
                  <a:cubicBezTo>
                    <a:pt x="26" y="10"/>
                    <a:pt x="27" y="10"/>
                    <a:pt x="28" y="9"/>
                  </a:cubicBezTo>
                  <a:cubicBezTo>
                    <a:pt x="29" y="9"/>
                    <a:pt x="28" y="8"/>
                    <a:pt x="28" y="8"/>
                  </a:cubicBezTo>
                  <a:cubicBezTo>
                    <a:pt x="28" y="7"/>
                    <a:pt x="28" y="7"/>
                    <a:pt x="28" y="7"/>
                  </a:cubicBezTo>
                  <a:cubicBezTo>
                    <a:pt x="28" y="7"/>
                    <a:pt x="29" y="7"/>
                    <a:pt x="30" y="7"/>
                  </a:cubicBezTo>
                  <a:cubicBezTo>
                    <a:pt x="30" y="6"/>
                    <a:pt x="29" y="6"/>
                    <a:pt x="29" y="5"/>
                  </a:cubicBezTo>
                  <a:cubicBezTo>
                    <a:pt x="29" y="5"/>
                    <a:pt x="30" y="4"/>
                    <a:pt x="30" y="4"/>
                  </a:cubicBezTo>
                  <a:cubicBezTo>
                    <a:pt x="30" y="4"/>
                    <a:pt x="32" y="6"/>
                    <a:pt x="32" y="6"/>
                  </a:cubicBezTo>
                  <a:cubicBezTo>
                    <a:pt x="33" y="6"/>
                    <a:pt x="33" y="5"/>
                    <a:pt x="34" y="5"/>
                  </a:cubicBezTo>
                  <a:cubicBezTo>
                    <a:pt x="34" y="5"/>
                    <a:pt x="33" y="4"/>
                    <a:pt x="33" y="4"/>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3" name="Freeform 231"/>
            <p:cNvSpPr>
              <a:spLocks/>
            </p:cNvSpPr>
            <p:nvPr/>
          </p:nvSpPr>
          <p:spPr bwMode="auto">
            <a:xfrm>
              <a:off x="6275462" y="3151959"/>
              <a:ext cx="23106" cy="19062"/>
            </a:xfrm>
            <a:custGeom>
              <a:avLst/>
              <a:gdLst>
                <a:gd name="T0" fmla="*/ 6 w 8"/>
                <a:gd name="T1" fmla="*/ 3 h 7"/>
                <a:gd name="T2" fmla="*/ 5 w 8"/>
                <a:gd name="T3" fmla="*/ 1 h 7"/>
                <a:gd name="T4" fmla="*/ 3 w 8"/>
                <a:gd name="T5" fmla="*/ 0 h 7"/>
                <a:gd name="T6" fmla="*/ 1 w 8"/>
                <a:gd name="T7" fmla="*/ 1 h 7"/>
                <a:gd name="T8" fmla="*/ 1 w 8"/>
                <a:gd name="T9" fmla="*/ 3 h 7"/>
                <a:gd name="T10" fmla="*/ 0 w 8"/>
                <a:gd name="T11" fmla="*/ 4 h 7"/>
                <a:gd name="T12" fmla="*/ 1 w 8"/>
                <a:gd name="T13" fmla="*/ 5 h 7"/>
                <a:gd name="T14" fmla="*/ 3 w 8"/>
                <a:gd name="T15" fmla="*/ 5 h 7"/>
                <a:gd name="T16" fmla="*/ 7 w 8"/>
                <a:gd name="T17" fmla="*/ 5 h 7"/>
                <a:gd name="T18" fmla="*/ 7 w 8"/>
                <a:gd name="T19" fmla="*/ 4 h 7"/>
                <a:gd name="T20" fmla="*/ 6 w 8"/>
                <a:gd name="T2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7">
                  <a:moveTo>
                    <a:pt x="6" y="3"/>
                  </a:moveTo>
                  <a:cubicBezTo>
                    <a:pt x="6" y="2"/>
                    <a:pt x="6" y="2"/>
                    <a:pt x="5" y="1"/>
                  </a:cubicBezTo>
                  <a:cubicBezTo>
                    <a:pt x="4" y="0"/>
                    <a:pt x="4" y="1"/>
                    <a:pt x="3" y="0"/>
                  </a:cubicBezTo>
                  <a:cubicBezTo>
                    <a:pt x="2" y="0"/>
                    <a:pt x="1" y="1"/>
                    <a:pt x="1" y="1"/>
                  </a:cubicBezTo>
                  <a:cubicBezTo>
                    <a:pt x="0" y="1"/>
                    <a:pt x="1" y="3"/>
                    <a:pt x="1" y="3"/>
                  </a:cubicBezTo>
                  <a:cubicBezTo>
                    <a:pt x="1" y="3"/>
                    <a:pt x="0" y="4"/>
                    <a:pt x="0" y="4"/>
                  </a:cubicBezTo>
                  <a:cubicBezTo>
                    <a:pt x="1" y="5"/>
                    <a:pt x="1" y="5"/>
                    <a:pt x="1" y="5"/>
                  </a:cubicBezTo>
                  <a:cubicBezTo>
                    <a:pt x="1" y="5"/>
                    <a:pt x="2" y="5"/>
                    <a:pt x="3" y="5"/>
                  </a:cubicBezTo>
                  <a:cubicBezTo>
                    <a:pt x="6" y="6"/>
                    <a:pt x="6" y="7"/>
                    <a:pt x="7" y="5"/>
                  </a:cubicBezTo>
                  <a:cubicBezTo>
                    <a:pt x="8" y="5"/>
                    <a:pt x="7" y="5"/>
                    <a:pt x="7" y="4"/>
                  </a:cubicBezTo>
                  <a:cubicBezTo>
                    <a:pt x="7" y="4"/>
                    <a:pt x="6" y="3"/>
                    <a:pt x="6" y="3"/>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4" name="Freeform 232"/>
            <p:cNvSpPr>
              <a:spLocks/>
            </p:cNvSpPr>
            <p:nvPr/>
          </p:nvSpPr>
          <p:spPr bwMode="auto">
            <a:xfrm>
              <a:off x="6183036" y="3203700"/>
              <a:ext cx="495342" cy="276405"/>
            </a:xfrm>
            <a:custGeom>
              <a:avLst/>
              <a:gdLst>
                <a:gd name="T0" fmla="*/ 168 w 171"/>
                <a:gd name="T1" fmla="*/ 52 h 101"/>
                <a:gd name="T2" fmla="*/ 166 w 171"/>
                <a:gd name="T3" fmla="*/ 48 h 101"/>
                <a:gd name="T4" fmla="*/ 163 w 171"/>
                <a:gd name="T5" fmla="*/ 43 h 101"/>
                <a:gd name="T6" fmla="*/ 157 w 171"/>
                <a:gd name="T7" fmla="*/ 35 h 101"/>
                <a:gd name="T8" fmla="*/ 152 w 171"/>
                <a:gd name="T9" fmla="*/ 31 h 101"/>
                <a:gd name="T10" fmla="*/ 151 w 171"/>
                <a:gd name="T11" fmla="*/ 16 h 101"/>
                <a:gd name="T12" fmla="*/ 143 w 171"/>
                <a:gd name="T13" fmla="*/ 13 h 101"/>
                <a:gd name="T14" fmla="*/ 140 w 171"/>
                <a:gd name="T15" fmla="*/ 10 h 101"/>
                <a:gd name="T16" fmla="*/ 137 w 171"/>
                <a:gd name="T17" fmla="*/ 10 h 101"/>
                <a:gd name="T18" fmla="*/ 128 w 171"/>
                <a:gd name="T19" fmla="*/ 9 h 101"/>
                <a:gd name="T20" fmla="*/ 123 w 171"/>
                <a:gd name="T21" fmla="*/ 13 h 101"/>
                <a:gd name="T22" fmla="*/ 115 w 171"/>
                <a:gd name="T23" fmla="*/ 14 h 101"/>
                <a:gd name="T24" fmla="*/ 103 w 171"/>
                <a:gd name="T25" fmla="*/ 5 h 101"/>
                <a:gd name="T26" fmla="*/ 92 w 171"/>
                <a:gd name="T27" fmla="*/ 3 h 101"/>
                <a:gd name="T28" fmla="*/ 83 w 171"/>
                <a:gd name="T29" fmla="*/ 0 h 101"/>
                <a:gd name="T30" fmla="*/ 72 w 171"/>
                <a:gd name="T31" fmla="*/ 8 h 101"/>
                <a:gd name="T32" fmla="*/ 66 w 171"/>
                <a:gd name="T33" fmla="*/ 12 h 101"/>
                <a:gd name="T34" fmla="*/ 70 w 171"/>
                <a:gd name="T35" fmla="*/ 28 h 101"/>
                <a:gd name="T36" fmla="*/ 70 w 171"/>
                <a:gd name="T37" fmla="*/ 45 h 101"/>
                <a:gd name="T38" fmla="*/ 65 w 171"/>
                <a:gd name="T39" fmla="*/ 51 h 101"/>
                <a:gd name="T40" fmla="*/ 53 w 171"/>
                <a:gd name="T41" fmla="*/ 53 h 101"/>
                <a:gd name="T42" fmla="*/ 45 w 171"/>
                <a:gd name="T43" fmla="*/ 45 h 101"/>
                <a:gd name="T44" fmla="*/ 36 w 171"/>
                <a:gd name="T45" fmla="*/ 35 h 101"/>
                <a:gd name="T46" fmla="*/ 28 w 171"/>
                <a:gd name="T47" fmla="*/ 24 h 101"/>
                <a:gd name="T48" fmla="*/ 19 w 171"/>
                <a:gd name="T49" fmla="*/ 31 h 101"/>
                <a:gd name="T50" fmla="*/ 8 w 171"/>
                <a:gd name="T51" fmla="*/ 39 h 101"/>
                <a:gd name="T52" fmla="*/ 5 w 171"/>
                <a:gd name="T53" fmla="*/ 64 h 101"/>
                <a:gd name="T54" fmla="*/ 0 w 171"/>
                <a:gd name="T55" fmla="*/ 75 h 101"/>
                <a:gd name="T56" fmla="*/ 1 w 171"/>
                <a:gd name="T57" fmla="*/ 92 h 101"/>
                <a:gd name="T58" fmla="*/ 6 w 171"/>
                <a:gd name="T59" fmla="*/ 99 h 101"/>
                <a:gd name="T60" fmla="*/ 10 w 171"/>
                <a:gd name="T61" fmla="*/ 92 h 101"/>
                <a:gd name="T62" fmla="*/ 19 w 171"/>
                <a:gd name="T63" fmla="*/ 87 h 101"/>
                <a:gd name="T64" fmla="*/ 32 w 171"/>
                <a:gd name="T65" fmla="*/ 81 h 101"/>
                <a:gd name="T66" fmla="*/ 46 w 171"/>
                <a:gd name="T67" fmla="*/ 76 h 101"/>
                <a:gd name="T68" fmla="*/ 52 w 171"/>
                <a:gd name="T69" fmla="*/ 80 h 101"/>
                <a:gd name="T70" fmla="*/ 62 w 171"/>
                <a:gd name="T71" fmla="*/ 76 h 101"/>
                <a:gd name="T72" fmla="*/ 65 w 171"/>
                <a:gd name="T73" fmla="*/ 75 h 101"/>
                <a:gd name="T74" fmla="*/ 75 w 171"/>
                <a:gd name="T75" fmla="*/ 76 h 101"/>
                <a:gd name="T76" fmla="*/ 80 w 171"/>
                <a:gd name="T77" fmla="*/ 73 h 101"/>
                <a:gd name="T78" fmla="*/ 89 w 171"/>
                <a:gd name="T79" fmla="*/ 68 h 101"/>
                <a:gd name="T80" fmla="*/ 97 w 171"/>
                <a:gd name="T81" fmla="*/ 71 h 101"/>
                <a:gd name="T82" fmla="*/ 107 w 171"/>
                <a:gd name="T83" fmla="*/ 74 h 101"/>
                <a:gd name="T84" fmla="*/ 118 w 171"/>
                <a:gd name="T85" fmla="*/ 76 h 101"/>
                <a:gd name="T86" fmla="*/ 127 w 171"/>
                <a:gd name="T87" fmla="*/ 80 h 101"/>
                <a:gd name="T88" fmla="*/ 133 w 171"/>
                <a:gd name="T89" fmla="*/ 87 h 101"/>
                <a:gd name="T90" fmla="*/ 146 w 171"/>
                <a:gd name="T91" fmla="*/ 86 h 101"/>
                <a:gd name="T92" fmla="*/ 153 w 171"/>
                <a:gd name="T93" fmla="*/ 78 h 101"/>
                <a:gd name="T94" fmla="*/ 158 w 171"/>
                <a:gd name="T95" fmla="*/ 78 h 101"/>
                <a:gd name="T96" fmla="*/ 162 w 171"/>
                <a:gd name="T97" fmla="*/ 74 h 101"/>
                <a:gd name="T98" fmla="*/ 171 w 171"/>
                <a:gd name="T99" fmla="*/ 6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1" h="101">
                  <a:moveTo>
                    <a:pt x="171" y="58"/>
                  </a:moveTo>
                  <a:cubicBezTo>
                    <a:pt x="171" y="55"/>
                    <a:pt x="171" y="55"/>
                    <a:pt x="171" y="55"/>
                  </a:cubicBezTo>
                  <a:cubicBezTo>
                    <a:pt x="170" y="54"/>
                    <a:pt x="168" y="52"/>
                    <a:pt x="168" y="52"/>
                  </a:cubicBezTo>
                  <a:cubicBezTo>
                    <a:pt x="168" y="51"/>
                    <a:pt x="168" y="50"/>
                    <a:pt x="167" y="48"/>
                  </a:cubicBezTo>
                  <a:cubicBezTo>
                    <a:pt x="167" y="48"/>
                    <a:pt x="167" y="48"/>
                    <a:pt x="167" y="48"/>
                  </a:cubicBezTo>
                  <a:cubicBezTo>
                    <a:pt x="167" y="48"/>
                    <a:pt x="166" y="48"/>
                    <a:pt x="166" y="48"/>
                  </a:cubicBezTo>
                  <a:cubicBezTo>
                    <a:pt x="165" y="47"/>
                    <a:pt x="164" y="46"/>
                    <a:pt x="164" y="46"/>
                  </a:cubicBezTo>
                  <a:cubicBezTo>
                    <a:pt x="163" y="45"/>
                    <a:pt x="163" y="45"/>
                    <a:pt x="163" y="45"/>
                  </a:cubicBezTo>
                  <a:cubicBezTo>
                    <a:pt x="163" y="43"/>
                    <a:pt x="163" y="43"/>
                    <a:pt x="163" y="43"/>
                  </a:cubicBezTo>
                  <a:cubicBezTo>
                    <a:pt x="162" y="43"/>
                    <a:pt x="162" y="43"/>
                    <a:pt x="162" y="43"/>
                  </a:cubicBezTo>
                  <a:cubicBezTo>
                    <a:pt x="156" y="38"/>
                    <a:pt x="156" y="38"/>
                    <a:pt x="156" y="38"/>
                  </a:cubicBezTo>
                  <a:cubicBezTo>
                    <a:pt x="157" y="35"/>
                    <a:pt x="157" y="35"/>
                    <a:pt x="157" y="35"/>
                  </a:cubicBezTo>
                  <a:cubicBezTo>
                    <a:pt x="157" y="35"/>
                    <a:pt x="157" y="35"/>
                    <a:pt x="157" y="35"/>
                  </a:cubicBezTo>
                  <a:cubicBezTo>
                    <a:pt x="152" y="38"/>
                    <a:pt x="152" y="38"/>
                    <a:pt x="152" y="38"/>
                  </a:cubicBezTo>
                  <a:cubicBezTo>
                    <a:pt x="152" y="31"/>
                    <a:pt x="152" y="31"/>
                    <a:pt x="152" y="31"/>
                  </a:cubicBezTo>
                  <a:cubicBezTo>
                    <a:pt x="150" y="25"/>
                    <a:pt x="150" y="25"/>
                    <a:pt x="150" y="25"/>
                  </a:cubicBezTo>
                  <a:cubicBezTo>
                    <a:pt x="152" y="22"/>
                    <a:pt x="152" y="22"/>
                    <a:pt x="152" y="22"/>
                  </a:cubicBezTo>
                  <a:cubicBezTo>
                    <a:pt x="151" y="16"/>
                    <a:pt x="151" y="16"/>
                    <a:pt x="151" y="16"/>
                  </a:cubicBezTo>
                  <a:cubicBezTo>
                    <a:pt x="151" y="16"/>
                    <a:pt x="150" y="16"/>
                    <a:pt x="150" y="16"/>
                  </a:cubicBezTo>
                  <a:cubicBezTo>
                    <a:pt x="149" y="16"/>
                    <a:pt x="148" y="16"/>
                    <a:pt x="146" y="14"/>
                  </a:cubicBezTo>
                  <a:cubicBezTo>
                    <a:pt x="143" y="13"/>
                    <a:pt x="143" y="13"/>
                    <a:pt x="143" y="13"/>
                  </a:cubicBezTo>
                  <a:cubicBezTo>
                    <a:pt x="142" y="10"/>
                    <a:pt x="142" y="10"/>
                    <a:pt x="142" y="10"/>
                  </a:cubicBezTo>
                  <a:cubicBezTo>
                    <a:pt x="141" y="9"/>
                    <a:pt x="141" y="9"/>
                    <a:pt x="141" y="9"/>
                  </a:cubicBezTo>
                  <a:cubicBezTo>
                    <a:pt x="140" y="10"/>
                    <a:pt x="140" y="10"/>
                    <a:pt x="140" y="10"/>
                  </a:cubicBezTo>
                  <a:cubicBezTo>
                    <a:pt x="139" y="10"/>
                    <a:pt x="139" y="10"/>
                    <a:pt x="139" y="10"/>
                  </a:cubicBezTo>
                  <a:cubicBezTo>
                    <a:pt x="139" y="10"/>
                    <a:pt x="139" y="10"/>
                    <a:pt x="139" y="10"/>
                  </a:cubicBezTo>
                  <a:cubicBezTo>
                    <a:pt x="137" y="10"/>
                    <a:pt x="137" y="10"/>
                    <a:pt x="137" y="10"/>
                  </a:cubicBezTo>
                  <a:cubicBezTo>
                    <a:pt x="137" y="10"/>
                    <a:pt x="137" y="10"/>
                    <a:pt x="137" y="10"/>
                  </a:cubicBezTo>
                  <a:cubicBezTo>
                    <a:pt x="133" y="10"/>
                    <a:pt x="133" y="10"/>
                    <a:pt x="133" y="10"/>
                  </a:cubicBezTo>
                  <a:cubicBezTo>
                    <a:pt x="128" y="9"/>
                    <a:pt x="128" y="9"/>
                    <a:pt x="128" y="9"/>
                  </a:cubicBezTo>
                  <a:cubicBezTo>
                    <a:pt x="126" y="11"/>
                    <a:pt x="126" y="11"/>
                    <a:pt x="126" y="11"/>
                  </a:cubicBezTo>
                  <a:cubicBezTo>
                    <a:pt x="125" y="11"/>
                    <a:pt x="125" y="11"/>
                    <a:pt x="125" y="11"/>
                  </a:cubicBezTo>
                  <a:cubicBezTo>
                    <a:pt x="124" y="12"/>
                    <a:pt x="124" y="12"/>
                    <a:pt x="123" y="13"/>
                  </a:cubicBezTo>
                  <a:cubicBezTo>
                    <a:pt x="123" y="14"/>
                    <a:pt x="121" y="14"/>
                    <a:pt x="121" y="15"/>
                  </a:cubicBezTo>
                  <a:cubicBezTo>
                    <a:pt x="120" y="15"/>
                    <a:pt x="119" y="15"/>
                    <a:pt x="118" y="15"/>
                  </a:cubicBezTo>
                  <a:cubicBezTo>
                    <a:pt x="117" y="15"/>
                    <a:pt x="116" y="15"/>
                    <a:pt x="115" y="14"/>
                  </a:cubicBezTo>
                  <a:cubicBezTo>
                    <a:pt x="112" y="13"/>
                    <a:pt x="112" y="13"/>
                    <a:pt x="112" y="13"/>
                  </a:cubicBezTo>
                  <a:cubicBezTo>
                    <a:pt x="110" y="9"/>
                    <a:pt x="110" y="9"/>
                    <a:pt x="110" y="9"/>
                  </a:cubicBezTo>
                  <a:cubicBezTo>
                    <a:pt x="103" y="5"/>
                    <a:pt x="103" y="5"/>
                    <a:pt x="103" y="5"/>
                  </a:cubicBezTo>
                  <a:cubicBezTo>
                    <a:pt x="100" y="4"/>
                    <a:pt x="100" y="4"/>
                    <a:pt x="100" y="4"/>
                  </a:cubicBezTo>
                  <a:cubicBezTo>
                    <a:pt x="96" y="3"/>
                    <a:pt x="96" y="3"/>
                    <a:pt x="96" y="3"/>
                  </a:cubicBezTo>
                  <a:cubicBezTo>
                    <a:pt x="92" y="3"/>
                    <a:pt x="92" y="3"/>
                    <a:pt x="92" y="3"/>
                  </a:cubicBezTo>
                  <a:cubicBezTo>
                    <a:pt x="89" y="1"/>
                    <a:pt x="89" y="1"/>
                    <a:pt x="89" y="1"/>
                  </a:cubicBezTo>
                  <a:cubicBezTo>
                    <a:pt x="86" y="2"/>
                    <a:pt x="86" y="2"/>
                    <a:pt x="86" y="2"/>
                  </a:cubicBezTo>
                  <a:cubicBezTo>
                    <a:pt x="83" y="0"/>
                    <a:pt x="83" y="0"/>
                    <a:pt x="83" y="0"/>
                  </a:cubicBezTo>
                  <a:cubicBezTo>
                    <a:pt x="80" y="2"/>
                    <a:pt x="80" y="2"/>
                    <a:pt x="80" y="2"/>
                  </a:cubicBezTo>
                  <a:cubicBezTo>
                    <a:pt x="77" y="5"/>
                    <a:pt x="77" y="5"/>
                    <a:pt x="77" y="5"/>
                  </a:cubicBezTo>
                  <a:cubicBezTo>
                    <a:pt x="72" y="8"/>
                    <a:pt x="72" y="8"/>
                    <a:pt x="72" y="8"/>
                  </a:cubicBezTo>
                  <a:cubicBezTo>
                    <a:pt x="72" y="9"/>
                    <a:pt x="70" y="11"/>
                    <a:pt x="68" y="12"/>
                  </a:cubicBezTo>
                  <a:cubicBezTo>
                    <a:pt x="66" y="13"/>
                    <a:pt x="66" y="13"/>
                    <a:pt x="66" y="13"/>
                  </a:cubicBezTo>
                  <a:cubicBezTo>
                    <a:pt x="66" y="12"/>
                    <a:pt x="66" y="12"/>
                    <a:pt x="66" y="12"/>
                  </a:cubicBezTo>
                  <a:cubicBezTo>
                    <a:pt x="66" y="13"/>
                    <a:pt x="66" y="14"/>
                    <a:pt x="66" y="15"/>
                  </a:cubicBezTo>
                  <a:cubicBezTo>
                    <a:pt x="69" y="21"/>
                    <a:pt x="69" y="21"/>
                    <a:pt x="69" y="21"/>
                  </a:cubicBezTo>
                  <a:cubicBezTo>
                    <a:pt x="69" y="21"/>
                    <a:pt x="70" y="26"/>
                    <a:pt x="70" y="28"/>
                  </a:cubicBezTo>
                  <a:cubicBezTo>
                    <a:pt x="70" y="29"/>
                    <a:pt x="71" y="30"/>
                    <a:pt x="72" y="32"/>
                  </a:cubicBezTo>
                  <a:cubicBezTo>
                    <a:pt x="73" y="35"/>
                    <a:pt x="74" y="36"/>
                    <a:pt x="74" y="37"/>
                  </a:cubicBezTo>
                  <a:cubicBezTo>
                    <a:pt x="74" y="38"/>
                    <a:pt x="71" y="44"/>
                    <a:pt x="70" y="45"/>
                  </a:cubicBezTo>
                  <a:cubicBezTo>
                    <a:pt x="70" y="45"/>
                    <a:pt x="69" y="46"/>
                    <a:pt x="68" y="48"/>
                  </a:cubicBezTo>
                  <a:cubicBezTo>
                    <a:pt x="67" y="49"/>
                    <a:pt x="67" y="49"/>
                    <a:pt x="67" y="49"/>
                  </a:cubicBezTo>
                  <a:cubicBezTo>
                    <a:pt x="67" y="50"/>
                    <a:pt x="66" y="50"/>
                    <a:pt x="65" y="51"/>
                  </a:cubicBezTo>
                  <a:cubicBezTo>
                    <a:pt x="64" y="52"/>
                    <a:pt x="62" y="54"/>
                    <a:pt x="62" y="54"/>
                  </a:cubicBezTo>
                  <a:cubicBezTo>
                    <a:pt x="61" y="55"/>
                    <a:pt x="57" y="54"/>
                    <a:pt x="56" y="54"/>
                  </a:cubicBezTo>
                  <a:cubicBezTo>
                    <a:pt x="53" y="53"/>
                    <a:pt x="53" y="53"/>
                    <a:pt x="53" y="53"/>
                  </a:cubicBezTo>
                  <a:cubicBezTo>
                    <a:pt x="53" y="53"/>
                    <a:pt x="49" y="51"/>
                    <a:pt x="48" y="49"/>
                  </a:cubicBezTo>
                  <a:cubicBezTo>
                    <a:pt x="48" y="48"/>
                    <a:pt x="47" y="47"/>
                    <a:pt x="46" y="47"/>
                  </a:cubicBezTo>
                  <a:cubicBezTo>
                    <a:pt x="46" y="46"/>
                    <a:pt x="45" y="45"/>
                    <a:pt x="45" y="45"/>
                  </a:cubicBezTo>
                  <a:cubicBezTo>
                    <a:pt x="43" y="42"/>
                    <a:pt x="44" y="41"/>
                    <a:pt x="44" y="41"/>
                  </a:cubicBezTo>
                  <a:cubicBezTo>
                    <a:pt x="42" y="38"/>
                    <a:pt x="42" y="38"/>
                    <a:pt x="42" y="38"/>
                  </a:cubicBezTo>
                  <a:cubicBezTo>
                    <a:pt x="36" y="35"/>
                    <a:pt x="36" y="35"/>
                    <a:pt x="36" y="35"/>
                  </a:cubicBezTo>
                  <a:cubicBezTo>
                    <a:pt x="33" y="33"/>
                    <a:pt x="33" y="33"/>
                    <a:pt x="33" y="33"/>
                  </a:cubicBezTo>
                  <a:cubicBezTo>
                    <a:pt x="29" y="31"/>
                    <a:pt x="29" y="31"/>
                    <a:pt x="29" y="31"/>
                  </a:cubicBezTo>
                  <a:cubicBezTo>
                    <a:pt x="29" y="29"/>
                    <a:pt x="28" y="25"/>
                    <a:pt x="28" y="24"/>
                  </a:cubicBezTo>
                  <a:cubicBezTo>
                    <a:pt x="28" y="24"/>
                    <a:pt x="27" y="25"/>
                    <a:pt x="27" y="25"/>
                  </a:cubicBezTo>
                  <a:cubicBezTo>
                    <a:pt x="26" y="26"/>
                    <a:pt x="25" y="26"/>
                    <a:pt x="25" y="26"/>
                  </a:cubicBezTo>
                  <a:cubicBezTo>
                    <a:pt x="24" y="26"/>
                    <a:pt x="21" y="29"/>
                    <a:pt x="19" y="31"/>
                  </a:cubicBezTo>
                  <a:cubicBezTo>
                    <a:pt x="15" y="35"/>
                    <a:pt x="15" y="35"/>
                    <a:pt x="15" y="35"/>
                  </a:cubicBezTo>
                  <a:cubicBezTo>
                    <a:pt x="15" y="35"/>
                    <a:pt x="10" y="35"/>
                    <a:pt x="9" y="36"/>
                  </a:cubicBezTo>
                  <a:cubicBezTo>
                    <a:pt x="9" y="36"/>
                    <a:pt x="8" y="37"/>
                    <a:pt x="8" y="39"/>
                  </a:cubicBezTo>
                  <a:cubicBezTo>
                    <a:pt x="5" y="53"/>
                    <a:pt x="5" y="53"/>
                    <a:pt x="5" y="53"/>
                  </a:cubicBezTo>
                  <a:cubicBezTo>
                    <a:pt x="6" y="58"/>
                    <a:pt x="6" y="58"/>
                    <a:pt x="6" y="58"/>
                  </a:cubicBezTo>
                  <a:cubicBezTo>
                    <a:pt x="6" y="58"/>
                    <a:pt x="5" y="64"/>
                    <a:pt x="5" y="64"/>
                  </a:cubicBezTo>
                  <a:cubicBezTo>
                    <a:pt x="5" y="65"/>
                    <a:pt x="5" y="65"/>
                    <a:pt x="3" y="67"/>
                  </a:cubicBezTo>
                  <a:cubicBezTo>
                    <a:pt x="2" y="69"/>
                    <a:pt x="0" y="71"/>
                    <a:pt x="0" y="71"/>
                  </a:cubicBezTo>
                  <a:cubicBezTo>
                    <a:pt x="0" y="72"/>
                    <a:pt x="0" y="75"/>
                    <a:pt x="0" y="75"/>
                  </a:cubicBezTo>
                  <a:cubicBezTo>
                    <a:pt x="0" y="75"/>
                    <a:pt x="1" y="83"/>
                    <a:pt x="2" y="84"/>
                  </a:cubicBezTo>
                  <a:cubicBezTo>
                    <a:pt x="3" y="86"/>
                    <a:pt x="3" y="89"/>
                    <a:pt x="3" y="89"/>
                  </a:cubicBezTo>
                  <a:cubicBezTo>
                    <a:pt x="1" y="92"/>
                    <a:pt x="1" y="92"/>
                    <a:pt x="1" y="92"/>
                  </a:cubicBezTo>
                  <a:cubicBezTo>
                    <a:pt x="1" y="95"/>
                    <a:pt x="3" y="100"/>
                    <a:pt x="3" y="101"/>
                  </a:cubicBezTo>
                  <a:cubicBezTo>
                    <a:pt x="4" y="101"/>
                    <a:pt x="4" y="101"/>
                    <a:pt x="4" y="101"/>
                  </a:cubicBezTo>
                  <a:cubicBezTo>
                    <a:pt x="4" y="100"/>
                    <a:pt x="6" y="100"/>
                    <a:pt x="6" y="99"/>
                  </a:cubicBezTo>
                  <a:cubicBezTo>
                    <a:pt x="6" y="99"/>
                    <a:pt x="7" y="99"/>
                    <a:pt x="8" y="99"/>
                  </a:cubicBezTo>
                  <a:cubicBezTo>
                    <a:pt x="8" y="95"/>
                    <a:pt x="8" y="95"/>
                    <a:pt x="8" y="95"/>
                  </a:cubicBezTo>
                  <a:cubicBezTo>
                    <a:pt x="10" y="92"/>
                    <a:pt x="10" y="92"/>
                    <a:pt x="10" y="92"/>
                  </a:cubicBezTo>
                  <a:cubicBezTo>
                    <a:pt x="13" y="91"/>
                    <a:pt x="13" y="91"/>
                    <a:pt x="13" y="91"/>
                  </a:cubicBezTo>
                  <a:cubicBezTo>
                    <a:pt x="15" y="87"/>
                    <a:pt x="15" y="87"/>
                    <a:pt x="15" y="87"/>
                  </a:cubicBezTo>
                  <a:cubicBezTo>
                    <a:pt x="19" y="87"/>
                    <a:pt x="19" y="87"/>
                    <a:pt x="19" y="87"/>
                  </a:cubicBezTo>
                  <a:cubicBezTo>
                    <a:pt x="23" y="84"/>
                    <a:pt x="23" y="84"/>
                    <a:pt x="23" y="84"/>
                  </a:cubicBezTo>
                  <a:cubicBezTo>
                    <a:pt x="26" y="81"/>
                    <a:pt x="26" y="81"/>
                    <a:pt x="26" y="81"/>
                  </a:cubicBezTo>
                  <a:cubicBezTo>
                    <a:pt x="32" y="81"/>
                    <a:pt x="32" y="81"/>
                    <a:pt x="32" y="81"/>
                  </a:cubicBezTo>
                  <a:cubicBezTo>
                    <a:pt x="33" y="81"/>
                    <a:pt x="34" y="81"/>
                    <a:pt x="37" y="80"/>
                  </a:cubicBezTo>
                  <a:cubicBezTo>
                    <a:pt x="37" y="80"/>
                    <a:pt x="41" y="79"/>
                    <a:pt x="43" y="79"/>
                  </a:cubicBezTo>
                  <a:cubicBezTo>
                    <a:pt x="46" y="76"/>
                    <a:pt x="46" y="76"/>
                    <a:pt x="46" y="76"/>
                  </a:cubicBezTo>
                  <a:cubicBezTo>
                    <a:pt x="47" y="77"/>
                    <a:pt x="47" y="77"/>
                    <a:pt x="47" y="77"/>
                  </a:cubicBezTo>
                  <a:cubicBezTo>
                    <a:pt x="48" y="77"/>
                    <a:pt x="51" y="78"/>
                    <a:pt x="51" y="79"/>
                  </a:cubicBezTo>
                  <a:cubicBezTo>
                    <a:pt x="52" y="80"/>
                    <a:pt x="52" y="80"/>
                    <a:pt x="52" y="80"/>
                  </a:cubicBezTo>
                  <a:cubicBezTo>
                    <a:pt x="52" y="80"/>
                    <a:pt x="53" y="79"/>
                    <a:pt x="53" y="79"/>
                  </a:cubicBezTo>
                  <a:cubicBezTo>
                    <a:pt x="53" y="78"/>
                    <a:pt x="53" y="78"/>
                    <a:pt x="53" y="78"/>
                  </a:cubicBezTo>
                  <a:cubicBezTo>
                    <a:pt x="62" y="76"/>
                    <a:pt x="62" y="76"/>
                    <a:pt x="62" y="76"/>
                  </a:cubicBezTo>
                  <a:cubicBezTo>
                    <a:pt x="63" y="76"/>
                    <a:pt x="64" y="75"/>
                    <a:pt x="65" y="75"/>
                  </a:cubicBezTo>
                  <a:cubicBezTo>
                    <a:pt x="65" y="75"/>
                    <a:pt x="65" y="75"/>
                    <a:pt x="65" y="75"/>
                  </a:cubicBezTo>
                  <a:cubicBezTo>
                    <a:pt x="65" y="75"/>
                    <a:pt x="65" y="75"/>
                    <a:pt x="65" y="75"/>
                  </a:cubicBezTo>
                  <a:cubicBezTo>
                    <a:pt x="66" y="75"/>
                    <a:pt x="68" y="76"/>
                    <a:pt x="71" y="76"/>
                  </a:cubicBezTo>
                  <a:cubicBezTo>
                    <a:pt x="75" y="76"/>
                    <a:pt x="75" y="76"/>
                    <a:pt x="75" y="76"/>
                  </a:cubicBezTo>
                  <a:cubicBezTo>
                    <a:pt x="75" y="76"/>
                    <a:pt x="75" y="76"/>
                    <a:pt x="75" y="76"/>
                  </a:cubicBezTo>
                  <a:cubicBezTo>
                    <a:pt x="77" y="77"/>
                    <a:pt x="77" y="77"/>
                    <a:pt x="78" y="77"/>
                  </a:cubicBezTo>
                  <a:cubicBezTo>
                    <a:pt x="78" y="76"/>
                    <a:pt x="79" y="75"/>
                    <a:pt x="80" y="74"/>
                  </a:cubicBezTo>
                  <a:cubicBezTo>
                    <a:pt x="80" y="73"/>
                    <a:pt x="80" y="73"/>
                    <a:pt x="80" y="73"/>
                  </a:cubicBezTo>
                  <a:cubicBezTo>
                    <a:pt x="85" y="74"/>
                    <a:pt x="85" y="74"/>
                    <a:pt x="85" y="74"/>
                  </a:cubicBezTo>
                  <a:cubicBezTo>
                    <a:pt x="85" y="74"/>
                    <a:pt x="85" y="74"/>
                    <a:pt x="85" y="74"/>
                  </a:cubicBezTo>
                  <a:cubicBezTo>
                    <a:pt x="88" y="69"/>
                    <a:pt x="88" y="68"/>
                    <a:pt x="89" y="68"/>
                  </a:cubicBezTo>
                  <a:cubicBezTo>
                    <a:pt x="89" y="68"/>
                    <a:pt x="92" y="66"/>
                    <a:pt x="92" y="66"/>
                  </a:cubicBezTo>
                  <a:cubicBezTo>
                    <a:pt x="94" y="65"/>
                    <a:pt x="94" y="65"/>
                    <a:pt x="94" y="65"/>
                  </a:cubicBezTo>
                  <a:cubicBezTo>
                    <a:pt x="97" y="71"/>
                    <a:pt x="97" y="71"/>
                    <a:pt x="97" y="71"/>
                  </a:cubicBezTo>
                  <a:cubicBezTo>
                    <a:pt x="101" y="74"/>
                    <a:pt x="101" y="74"/>
                    <a:pt x="101" y="74"/>
                  </a:cubicBezTo>
                  <a:cubicBezTo>
                    <a:pt x="103" y="76"/>
                    <a:pt x="103" y="76"/>
                    <a:pt x="103" y="76"/>
                  </a:cubicBezTo>
                  <a:cubicBezTo>
                    <a:pt x="107" y="74"/>
                    <a:pt x="107" y="74"/>
                    <a:pt x="107" y="74"/>
                  </a:cubicBezTo>
                  <a:cubicBezTo>
                    <a:pt x="114" y="74"/>
                    <a:pt x="114" y="74"/>
                    <a:pt x="114" y="74"/>
                  </a:cubicBezTo>
                  <a:cubicBezTo>
                    <a:pt x="116" y="76"/>
                    <a:pt x="116" y="76"/>
                    <a:pt x="116" y="76"/>
                  </a:cubicBezTo>
                  <a:cubicBezTo>
                    <a:pt x="118" y="76"/>
                    <a:pt x="118" y="76"/>
                    <a:pt x="118" y="76"/>
                  </a:cubicBezTo>
                  <a:cubicBezTo>
                    <a:pt x="122" y="77"/>
                    <a:pt x="122" y="77"/>
                    <a:pt x="122" y="77"/>
                  </a:cubicBezTo>
                  <a:cubicBezTo>
                    <a:pt x="124" y="80"/>
                    <a:pt x="124" y="80"/>
                    <a:pt x="124" y="80"/>
                  </a:cubicBezTo>
                  <a:cubicBezTo>
                    <a:pt x="127" y="80"/>
                    <a:pt x="127" y="80"/>
                    <a:pt x="127" y="80"/>
                  </a:cubicBezTo>
                  <a:cubicBezTo>
                    <a:pt x="130" y="84"/>
                    <a:pt x="130" y="84"/>
                    <a:pt x="130" y="84"/>
                  </a:cubicBezTo>
                  <a:cubicBezTo>
                    <a:pt x="132" y="84"/>
                    <a:pt x="132" y="84"/>
                    <a:pt x="132" y="84"/>
                  </a:cubicBezTo>
                  <a:cubicBezTo>
                    <a:pt x="133" y="87"/>
                    <a:pt x="133" y="87"/>
                    <a:pt x="133" y="87"/>
                  </a:cubicBezTo>
                  <a:cubicBezTo>
                    <a:pt x="141" y="88"/>
                    <a:pt x="141" y="88"/>
                    <a:pt x="141" y="88"/>
                  </a:cubicBezTo>
                  <a:cubicBezTo>
                    <a:pt x="141" y="88"/>
                    <a:pt x="142" y="87"/>
                    <a:pt x="143" y="87"/>
                  </a:cubicBezTo>
                  <a:cubicBezTo>
                    <a:pt x="144" y="86"/>
                    <a:pt x="145" y="86"/>
                    <a:pt x="146" y="86"/>
                  </a:cubicBezTo>
                  <a:cubicBezTo>
                    <a:pt x="147" y="82"/>
                    <a:pt x="147" y="82"/>
                    <a:pt x="147" y="82"/>
                  </a:cubicBezTo>
                  <a:cubicBezTo>
                    <a:pt x="149" y="80"/>
                    <a:pt x="149" y="80"/>
                    <a:pt x="149" y="80"/>
                  </a:cubicBezTo>
                  <a:cubicBezTo>
                    <a:pt x="149" y="79"/>
                    <a:pt x="151" y="78"/>
                    <a:pt x="153" y="78"/>
                  </a:cubicBezTo>
                  <a:cubicBezTo>
                    <a:pt x="155" y="78"/>
                    <a:pt x="155" y="78"/>
                    <a:pt x="155" y="78"/>
                  </a:cubicBezTo>
                  <a:cubicBezTo>
                    <a:pt x="157" y="78"/>
                    <a:pt x="157" y="78"/>
                    <a:pt x="157" y="78"/>
                  </a:cubicBezTo>
                  <a:cubicBezTo>
                    <a:pt x="158" y="78"/>
                    <a:pt x="158" y="78"/>
                    <a:pt x="158" y="78"/>
                  </a:cubicBezTo>
                  <a:cubicBezTo>
                    <a:pt x="163" y="78"/>
                    <a:pt x="163" y="78"/>
                    <a:pt x="163" y="78"/>
                  </a:cubicBezTo>
                  <a:cubicBezTo>
                    <a:pt x="163" y="78"/>
                    <a:pt x="163" y="78"/>
                    <a:pt x="163" y="78"/>
                  </a:cubicBezTo>
                  <a:cubicBezTo>
                    <a:pt x="162" y="74"/>
                    <a:pt x="162" y="74"/>
                    <a:pt x="162" y="74"/>
                  </a:cubicBezTo>
                  <a:cubicBezTo>
                    <a:pt x="166" y="69"/>
                    <a:pt x="166" y="69"/>
                    <a:pt x="166" y="69"/>
                  </a:cubicBezTo>
                  <a:cubicBezTo>
                    <a:pt x="167" y="63"/>
                    <a:pt x="167" y="63"/>
                    <a:pt x="167" y="63"/>
                  </a:cubicBezTo>
                  <a:cubicBezTo>
                    <a:pt x="171" y="61"/>
                    <a:pt x="171" y="61"/>
                    <a:pt x="171" y="61"/>
                  </a:cubicBezTo>
                  <a:cubicBezTo>
                    <a:pt x="171" y="60"/>
                    <a:pt x="171" y="59"/>
                    <a:pt x="171" y="58"/>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5" name="Freeform 233"/>
            <p:cNvSpPr>
              <a:spLocks/>
            </p:cNvSpPr>
            <p:nvPr/>
          </p:nvSpPr>
          <p:spPr bwMode="auto">
            <a:xfrm>
              <a:off x="8158628" y="4531258"/>
              <a:ext cx="194961" cy="104844"/>
            </a:xfrm>
            <a:custGeom>
              <a:avLst/>
              <a:gdLst>
                <a:gd name="T0" fmla="*/ 64 w 67"/>
                <a:gd name="T1" fmla="*/ 30 h 38"/>
                <a:gd name="T2" fmla="*/ 66 w 67"/>
                <a:gd name="T3" fmla="*/ 27 h 38"/>
                <a:gd name="T4" fmla="*/ 67 w 67"/>
                <a:gd name="T5" fmla="*/ 24 h 38"/>
                <a:gd name="T6" fmla="*/ 65 w 67"/>
                <a:gd name="T7" fmla="*/ 22 h 38"/>
                <a:gd name="T8" fmla="*/ 65 w 67"/>
                <a:gd name="T9" fmla="*/ 20 h 38"/>
                <a:gd name="T10" fmla="*/ 64 w 67"/>
                <a:gd name="T11" fmla="*/ 16 h 38"/>
                <a:gd name="T12" fmla="*/ 62 w 67"/>
                <a:gd name="T13" fmla="*/ 12 h 38"/>
                <a:gd name="T14" fmla="*/ 61 w 67"/>
                <a:gd name="T15" fmla="*/ 12 h 38"/>
                <a:gd name="T16" fmla="*/ 61 w 67"/>
                <a:gd name="T17" fmla="*/ 11 h 38"/>
                <a:gd name="T18" fmla="*/ 65 w 67"/>
                <a:gd name="T19" fmla="*/ 8 h 38"/>
                <a:gd name="T20" fmla="*/ 67 w 67"/>
                <a:gd name="T21" fmla="*/ 5 h 38"/>
                <a:gd name="T22" fmla="*/ 66 w 67"/>
                <a:gd name="T23" fmla="*/ 3 h 38"/>
                <a:gd name="T24" fmla="*/ 65 w 67"/>
                <a:gd name="T25" fmla="*/ 4 h 38"/>
                <a:gd name="T26" fmla="*/ 62 w 67"/>
                <a:gd name="T27" fmla="*/ 4 h 38"/>
                <a:gd name="T28" fmla="*/ 57 w 67"/>
                <a:gd name="T29" fmla="*/ 5 h 38"/>
                <a:gd name="T30" fmla="*/ 55 w 67"/>
                <a:gd name="T31" fmla="*/ 5 h 38"/>
                <a:gd name="T32" fmla="*/ 53 w 67"/>
                <a:gd name="T33" fmla="*/ 5 h 38"/>
                <a:gd name="T34" fmla="*/ 47 w 67"/>
                <a:gd name="T35" fmla="*/ 4 h 38"/>
                <a:gd name="T36" fmla="*/ 43 w 67"/>
                <a:gd name="T37" fmla="*/ 3 h 38"/>
                <a:gd name="T38" fmla="*/ 37 w 67"/>
                <a:gd name="T39" fmla="*/ 3 h 38"/>
                <a:gd name="T40" fmla="*/ 31 w 67"/>
                <a:gd name="T41" fmla="*/ 4 h 38"/>
                <a:gd name="T42" fmla="*/ 20 w 67"/>
                <a:gd name="T43" fmla="*/ 0 h 38"/>
                <a:gd name="T44" fmla="*/ 17 w 67"/>
                <a:gd name="T45" fmla="*/ 2 h 38"/>
                <a:gd name="T46" fmla="*/ 11 w 67"/>
                <a:gd name="T47" fmla="*/ 1 h 38"/>
                <a:gd name="T48" fmla="*/ 4 w 67"/>
                <a:gd name="T49" fmla="*/ 1 h 38"/>
                <a:gd name="T50" fmla="*/ 3 w 67"/>
                <a:gd name="T51" fmla="*/ 6 h 38"/>
                <a:gd name="T52" fmla="*/ 0 w 67"/>
                <a:gd name="T53" fmla="*/ 7 h 38"/>
                <a:gd name="T54" fmla="*/ 5 w 67"/>
                <a:gd name="T55" fmla="*/ 10 h 38"/>
                <a:gd name="T56" fmla="*/ 10 w 67"/>
                <a:gd name="T57" fmla="*/ 14 h 38"/>
                <a:gd name="T58" fmla="*/ 13 w 67"/>
                <a:gd name="T59" fmla="*/ 16 h 38"/>
                <a:gd name="T60" fmla="*/ 14 w 67"/>
                <a:gd name="T61" fmla="*/ 15 h 38"/>
                <a:gd name="T62" fmla="*/ 16 w 67"/>
                <a:gd name="T63" fmla="*/ 16 h 38"/>
                <a:gd name="T64" fmla="*/ 18 w 67"/>
                <a:gd name="T65" fmla="*/ 16 h 38"/>
                <a:gd name="T66" fmla="*/ 23 w 67"/>
                <a:gd name="T67" fmla="*/ 17 h 38"/>
                <a:gd name="T68" fmla="*/ 31 w 67"/>
                <a:gd name="T69" fmla="*/ 17 h 38"/>
                <a:gd name="T70" fmla="*/ 32 w 67"/>
                <a:gd name="T71" fmla="*/ 19 h 38"/>
                <a:gd name="T72" fmla="*/ 35 w 67"/>
                <a:gd name="T73" fmla="*/ 18 h 38"/>
                <a:gd name="T74" fmla="*/ 37 w 67"/>
                <a:gd name="T75" fmla="*/ 20 h 38"/>
                <a:gd name="T76" fmla="*/ 40 w 67"/>
                <a:gd name="T77" fmla="*/ 24 h 38"/>
                <a:gd name="T78" fmla="*/ 43 w 67"/>
                <a:gd name="T79" fmla="*/ 24 h 38"/>
                <a:gd name="T80" fmla="*/ 46 w 67"/>
                <a:gd name="T81" fmla="*/ 24 h 38"/>
                <a:gd name="T82" fmla="*/ 49 w 67"/>
                <a:gd name="T83" fmla="*/ 25 h 38"/>
                <a:gd name="T84" fmla="*/ 53 w 67"/>
                <a:gd name="T85" fmla="*/ 27 h 38"/>
                <a:gd name="T86" fmla="*/ 58 w 67"/>
                <a:gd name="T87" fmla="*/ 37 h 38"/>
                <a:gd name="T88" fmla="*/ 60 w 67"/>
                <a:gd name="T89" fmla="*/ 37 h 38"/>
                <a:gd name="T90" fmla="*/ 61 w 67"/>
                <a:gd name="T91" fmla="*/ 34 h 38"/>
                <a:gd name="T92" fmla="*/ 63 w 67"/>
                <a:gd name="T93" fmla="*/ 3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7" h="38">
                  <a:moveTo>
                    <a:pt x="63" y="32"/>
                  </a:moveTo>
                  <a:cubicBezTo>
                    <a:pt x="63" y="32"/>
                    <a:pt x="63" y="31"/>
                    <a:pt x="64" y="30"/>
                  </a:cubicBezTo>
                  <a:cubicBezTo>
                    <a:pt x="64" y="29"/>
                    <a:pt x="65" y="29"/>
                    <a:pt x="65" y="28"/>
                  </a:cubicBezTo>
                  <a:cubicBezTo>
                    <a:pt x="66" y="27"/>
                    <a:pt x="66" y="27"/>
                    <a:pt x="66" y="27"/>
                  </a:cubicBezTo>
                  <a:cubicBezTo>
                    <a:pt x="66" y="26"/>
                    <a:pt x="67" y="26"/>
                    <a:pt x="67" y="26"/>
                  </a:cubicBezTo>
                  <a:cubicBezTo>
                    <a:pt x="67" y="26"/>
                    <a:pt x="67" y="25"/>
                    <a:pt x="67" y="24"/>
                  </a:cubicBezTo>
                  <a:cubicBezTo>
                    <a:pt x="67" y="24"/>
                    <a:pt x="67" y="24"/>
                    <a:pt x="66" y="24"/>
                  </a:cubicBezTo>
                  <a:cubicBezTo>
                    <a:pt x="66" y="24"/>
                    <a:pt x="65" y="22"/>
                    <a:pt x="65" y="22"/>
                  </a:cubicBezTo>
                  <a:cubicBezTo>
                    <a:pt x="65" y="22"/>
                    <a:pt x="65" y="21"/>
                    <a:pt x="65" y="21"/>
                  </a:cubicBezTo>
                  <a:cubicBezTo>
                    <a:pt x="65" y="21"/>
                    <a:pt x="65" y="20"/>
                    <a:pt x="65" y="20"/>
                  </a:cubicBezTo>
                  <a:cubicBezTo>
                    <a:pt x="65" y="20"/>
                    <a:pt x="64" y="19"/>
                    <a:pt x="63" y="19"/>
                  </a:cubicBezTo>
                  <a:cubicBezTo>
                    <a:pt x="63" y="18"/>
                    <a:pt x="63" y="17"/>
                    <a:pt x="64" y="16"/>
                  </a:cubicBezTo>
                  <a:cubicBezTo>
                    <a:pt x="63" y="14"/>
                    <a:pt x="63" y="14"/>
                    <a:pt x="63" y="14"/>
                  </a:cubicBezTo>
                  <a:cubicBezTo>
                    <a:pt x="63" y="14"/>
                    <a:pt x="62" y="13"/>
                    <a:pt x="62" y="12"/>
                  </a:cubicBezTo>
                  <a:cubicBezTo>
                    <a:pt x="61" y="12"/>
                    <a:pt x="61" y="12"/>
                    <a:pt x="61" y="12"/>
                  </a:cubicBezTo>
                  <a:cubicBezTo>
                    <a:pt x="61" y="12"/>
                    <a:pt x="61" y="12"/>
                    <a:pt x="61" y="12"/>
                  </a:cubicBezTo>
                  <a:cubicBezTo>
                    <a:pt x="61" y="12"/>
                    <a:pt x="61" y="12"/>
                    <a:pt x="61" y="12"/>
                  </a:cubicBezTo>
                  <a:cubicBezTo>
                    <a:pt x="61" y="11"/>
                    <a:pt x="61" y="11"/>
                    <a:pt x="61" y="11"/>
                  </a:cubicBezTo>
                  <a:cubicBezTo>
                    <a:pt x="61" y="11"/>
                    <a:pt x="62" y="10"/>
                    <a:pt x="62" y="9"/>
                  </a:cubicBezTo>
                  <a:cubicBezTo>
                    <a:pt x="63" y="8"/>
                    <a:pt x="64" y="8"/>
                    <a:pt x="65" y="8"/>
                  </a:cubicBezTo>
                  <a:cubicBezTo>
                    <a:pt x="65" y="8"/>
                    <a:pt x="65" y="8"/>
                    <a:pt x="65" y="7"/>
                  </a:cubicBezTo>
                  <a:cubicBezTo>
                    <a:pt x="66" y="7"/>
                    <a:pt x="66" y="6"/>
                    <a:pt x="67" y="5"/>
                  </a:cubicBezTo>
                  <a:cubicBezTo>
                    <a:pt x="67" y="4"/>
                    <a:pt x="67" y="4"/>
                    <a:pt x="67" y="3"/>
                  </a:cubicBezTo>
                  <a:cubicBezTo>
                    <a:pt x="66" y="3"/>
                    <a:pt x="66" y="3"/>
                    <a:pt x="66" y="3"/>
                  </a:cubicBezTo>
                  <a:cubicBezTo>
                    <a:pt x="65" y="4"/>
                    <a:pt x="65" y="4"/>
                    <a:pt x="65" y="4"/>
                  </a:cubicBezTo>
                  <a:cubicBezTo>
                    <a:pt x="65" y="4"/>
                    <a:pt x="65" y="4"/>
                    <a:pt x="65" y="4"/>
                  </a:cubicBezTo>
                  <a:cubicBezTo>
                    <a:pt x="64" y="4"/>
                    <a:pt x="64" y="4"/>
                    <a:pt x="63" y="4"/>
                  </a:cubicBezTo>
                  <a:cubicBezTo>
                    <a:pt x="63" y="4"/>
                    <a:pt x="62" y="4"/>
                    <a:pt x="62" y="4"/>
                  </a:cubicBezTo>
                  <a:cubicBezTo>
                    <a:pt x="62" y="4"/>
                    <a:pt x="62" y="4"/>
                    <a:pt x="62" y="4"/>
                  </a:cubicBezTo>
                  <a:cubicBezTo>
                    <a:pt x="61" y="4"/>
                    <a:pt x="59" y="5"/>
                    <a:pt x="57" y="5"/>
                  </a:cubicBezTo>
                  <a:cubicBezTo>
                    <a:pt x="57" y="5"/>
                    <a:pt x="57" y="5"/>
                    <a:pt x="57" y="5"/>
                  </a:cubicBezTo>
                  <a:cubicBezTo>
                    <a:pt x="56" y="5"/>
                    <a:pt x="55" y="5"/>
                    <a:pt x="55" y="5"/>
                  </a:cubicBezTo>
                  <a:cubicBezTo>
                    <a:pt x="55" y="5"/>
                    <a:pt x="54" y="5"/>
                    <a:pt x="54" y="5"/>
                  </a:cubicBezTo>
                  <a:cubicBezTo>
                    <a:pt x="54" y="5"/>
                    <a:pt x="54" y="5"/>
                    <a:pt x="53" y="5"/>
                  </a:cubicBezTo>
                  <a:cubicBezTo>
                    <a:pt x="53" y="5"/>
                    <a:pt x="52" y="6"/>
                    <a:pt x="51" y="6"/>
                  </a:cubicBezTo>
                  <a:cubicBezTo>
                    <a:pt x="49" y="6"/>
                    <a:pt x="48" y="5"/>
                    <a:pt x="47" y="4"/>
                  </a:cubicBezTo>
                  <a:cubicBezTo>
                    <a:pt x="44" y="4"/>
                    <a:pt x="44" y="4"/>
                    <a:pt x="44" y="4"/>
                  </a:cubicBezTo>
                  <a:cubicBezTo>
                    <a:pt x="43" y="3"/>
                    <a:pt x="43" y="3"/>
                    <a:pt x="43" y="3"/>
                  </a:cubicBezTo>
                  <a:cubicBezTo>
                    <a:pt x="42" y="3"/>
                    <a:pt x="41" y="3"/>
                    <a:pt x="40" y="3"/>
                  </a:cubicBezTo>
                  <a:cubicBezTo>
                    <a:pt x="39" y="3"/>
                    <a:pt x="38" y="3"/>
                    <a:pt x="37" y="3"/>
                  </a:cubicBezTo>
                  <a:cubicBezTo>
                    <a:pt x="37" y="3"/>
                    <a:pt x="36" y="2"/>
                    <a:pt x="36" y="2"/>
                  </a:cubicBezTo>
                  <a:cubicBezTo>
                    <a:pt x="31" y="4"/>
                    <a:pt x="31" y="4"/>
                    <a:pt x="31" y="4"/>
                  </a:cubicBezTo>
                  <a:cubicBezTo>
                    <a:pt x="24" y="1"/>
                    <a:pt x="24" y="1"/>
                    <a:pt x="24" y="1"/>
                  </a:cubicBezTo>
                  <a:cubicBezTo>
                    <a:pt x="20" y="0"/>
                    <a:pt x="20" y="0"/>
                    <a:pt x="20" y="0"/>
                  </a:cubicBezTo>
                  <a:cubicBezTo>
                    <a:pt x="18" y="0"/>
                    <a:pt x="18" y="0"/>
                    <a:pt x="18" y="0"/>
                  </a:cubicBezTo>
                  <a:cubicBezTo>
                    <a:pt x="17" y="2"/>
                    <a:pt x="17" y="2"/>
                    <a:pt x="17" y="2"/>
                  </a:cubicBezTo>
                  <a:cubicBezTo>
                    <a:pt x="11" y="2"/>
                    <a:pt x="11" y="2"/>
                    <a:pt x="11" y="2"/>
                  </a:cubicBezTo>
                  <a:cubicBezTo>
                    <a:pt x="11" y="1"/>
                    <a:pt x="11" y="1"/>
                    <a:pt x="11" y="1"/>
                  </a:cubicBezTo>
                  <a:cubicBezTo>
                    <a:pt x="9" y="1"/>
                    <a:pt x="7" y="1"/>
                    <a:pt x="6" y="1"/>
                  </a:cubicBezTo>
                  <a:cubicBezTo>
                    <a:pt x="5" y="1"/>
                    <a:pt x="5" y="1"/>
                    <a:pt x="4" y="1"/>
                  </a:cubicBezTo>
                  <a:cubicBezTo>
                    <a:pt x="4" y="1"/>
                    <a:pt x="3" y="2"/>
                    <a:pt x="3" y="2"/>
                  </a:cubicBezTo>
                  <a:cubicBezTo>
                    <a:pt x="3" y="3"/>
                    <a:pt x="3" y="4"/>
                    <a:pt x="3" y="6"/>
                  </a:cubicBezTo>
                  <a:cubicBezTo>
                    <a:pt x="2" y="6"/>
                    <a:pt x="1" y="7"/>
                    <a:pt x="0" y="7"/>
                  </a:cubicBezTo>
                  <a:cubicBezTo>
                    <a:pt x="0" y="7"/>
                    <a:pt x="0" y="7"/>
                    <a:pt x="0" y="7"/>
                  </a:cubicBezTo>
                  <a:cubicBezTo>
                    <a:pt x="0" y="8"/>
                    <a:pt x="0" y="9"/>
                    <a:pt x="0" y="9"/>
                  </a:cubicBezTo>
                  <a:cubicBezTo>
                    <a:pt x="5" y="10"/>
                    <a:pt x="5" y="10"/>
                    <a:pt x="5" y="10"/>
                  </a:cubicBezTo>
                  <a:cubicBezTo>
                    <a:pt x="8" y="11"/>
                    <a:pt x="8" y="11"/>
                    <a:pt x="8" y="11"/>
                  </a:cubicBezTo>
                  <a:cubicBezTo>
                    <a:pt x="10" y="14"/>
                    <a:pt x="10" y="14"/>
                    <a:pt x="10" y="14"/>
                  </a:cubicBezTo>
                  <a:cubicBezTo>
                    <a:pt x="11" y="15"/>
                    <a:pt x="12" y="16"/>
                    <a:pt x="12" y="16"/>
                  </a:cubicBezTo>
                  <a:cubicBezTo>
                    <a:pt x="12" y="16"/>
                    <a:pt x="13" y="16"/>
                    <a:pt x="13" y="16"/>
                  </a:cubicBezTo>
                  <a:cubicBezTo>
                    <a:pt x="13" y="16"/>
                    <a:pt x="13" y="15"/>
                    <a:pt x="13" y="15"/>
                  </a:cubicBezTo>
                  <a:cubicBezTo>
                    <a:pt x="14" y="15"/>
                    <a:pt x="14" y="15"/>
                    <a:pt x="14" y="15"/>
                  </a:cubicBezTo>
                  <a:cubicBezTo>
                    <a:pt x="15" y="16"/>
                    <a:pt x="15" y="16"/>
                    <a:pt x="16" y="16"/>
                  </a:cubicBezTo>
                  <a:cubicBezTo>
                    <a:pt x="16" y="16"/>
                    <a:pt x="16" y="16"/>
                    <a:pt x="16" y="16"/>
                  </a:cubicBezTo>
                  <a:cubicBezTo>
                    <a:pt x="16" y="16"/>
                    <a:pt x="16" y="16"/>
                    <a:pt x="17" y="16"/>
                  </a:cubicBezTo>
                  <a:cubicBezTo>
                    <a:pt x="17" y="16"/>
                    <a:pt x="18" y="16"/>
                    <a:pt x="18" y="16"/>
                  </a:cubicBezTo>
                  <a:cubicBezTo>
                    <a:pt x="19" y="16"/>
                    <a:pt x="20" y="16"/>
                    <a:pt x="21" y="17"/>
                  </a:cubicBezTo>
                  <a:cubicBezTo>
                    <a:pt x="21" y="17"/>
                    <a:pt x="22" y="17"/>
                    <a:pt x="23" y="17"/>
                  </a:cubicBezTo>
                  <a:cubicBezTo>
                    <a:pt x="23" y="16"/>
                    <a:pt x="24" y="16"/>
                    <a:pt x="24" y="16"/>
                  </a:cubicBezTo>
                  <a:cubicBezTo>
                    <a:pt x="26" y="15"/>
                    <a:pt x="29" y="15"/>
                    <a:pt x="31" y="17"/>
                  </a:cubicBezTo>
                  <a:cubicBezTo>
                    <a:pt x="31" y="18"/>
                    <a:pt x="31" y="18"/>
                    <a:pt x="32" y="19"/>
                  </a:cubicBezTo>
                  <a:cubicBezTo>
                    <a:pt x="32" y="19"/>
                    <a:pt x="32" y="19"/>
                    <a:pt x="32" y="19"/>
                  </a:cubicBezTo>
                  <a:cubicBezTo>
                    <a:pt x="33" y="19"/>
                    <a:pt x="33" y="19"/>
                    <a:pt x="33" y="19"/>
                  </a:cubicBezTo>
                  <a:cubicBezTo>
                    <a:pt x="33" y="18"/>
                    <a:pt x="34" y="18"/>
                    <a:pt x="35" y="18"/>
                  </a:cubicBezTo>
                  <a:cubicBezTo>
                    <a:pt x="35" y="18"/>
                    <a:pt x="36" y="18"/>
                    <a:pt x="36" y="19"/>
                  </a:cubicBezTo>
                  <a:cubicBezTo>
                    <a:pt x="37" y="19"/>
                    <a:pt x="37" y="19"/>
                    <a:pt x="37" y="20"/>
                  </a:cubicBezTo>
                  <a:cubicBezTo>
                    <a:pt x="38" y="20"/>
                    <a:pt x="38" y="21"/>
                    <a:pt x="39" y="22"/>
                  </a:cubicBezTo>
                  <a:cubicBezTo>
                    <a:pt x="39" y="23"/>
                    <a:pt x="39" y="23"/>
                    <a:pt x="40" y="24"/>
                  </a:cubicBezTo>
                  <a:cubicBezTo>
                    <a:pt x="41" y="25"/>
                    <a:pt x="41" y="25"/>
                    <a:pt x="42" y="25"/>
                  </a:cubicBezTo>
                  <a:cubicBezTo>
                    <a:pt x="43" y="25"/>
                    <a:pt x="43" y="24"/>
                    <a:pt x="43" y="24"/>
                  </a:cubicBezTo>
                  <a:cubicBezTo>
                    <a:pt x="43" y="24"/>
                    <a:pt x="44" y="24"/>
                    <a:pt x="44" y="24"/>
                  </a:cubicBezTo>
                  <a:cubicBezTo>
                    <a:pt x="45" y="24"/>
                    <a:pt x="45" y="24"/>
                    <a:pt x="46" y="24"/>
                  </a:cubicBezTo>
                  <a:cubicBezTo>
                    <a:pt x="46" y="25"/>
                    <a:pt x="47" y="25"/>
                    <a:pt x="47" y="25"/>
                  </a:cubicBezTo>
                  <a:cubicBezTo>
                    <a:pt x="48" y="25"/>
                    <a:pt x="49" y="25"/>
                    <a:pt x="49" y="25"/>
                  </a:cubicBezTo>
                  <a:cubicBezTo>
                    <a:pt x="51" y="25"/>
                    <a:pt x="52" y="25"/>
                    <a:pt x="52" y="26"/>
                  </a:cubicBezTo>
                  <a:cubicBezTo>
                    <a:pt x="53" y="27"/>
                    <a:pt x="53" y="27"/>
                    <a:pt x="53" y="27"/>
                  </a:cubicBezTo>
                  <a:cubicBezTo>
                    <a:pt x="54" y="29"/>
                    <a:pt x="55" y="30"/>
                    <a:pt x="55" y="32"/>
                  </a:cubicBezTo>
                  <a:cubicBezTo>
                    <a:pt x="56" y="34"/>
                    <a:pt x="57" y="36"/>
                    <a:pt x="58" y="37"/>
                  </a:cubicBezTo>
                  <a:cubicBezTo>
                    <a:pt x="58" y="38"/>
                    <a:pt x="58" y="38"/>
                    <a:pt x="58" y="38"/>
                  </a:cubicBezTo>
                  <a:cubicBezTo>
                    <a:pt x="60" y="37"/>
                    <a:pt x="60" y="37"/>
                    <a:pt x="60" y="37"/>
                  </a:cubicBezTo>
                  <a:cubicBezTo>
                    <a:pt x="60" y="35"/>
                    <a:pt x="60" y="35"/>
                    <a:pt x="60" y="35"/>
                  </a:cubicBezTo>
                  <a:cubicBezTo>
                    <a:pt x="60" y="35"/>
                    <a:pt x="60" y="35"/>
                    <a:pt x="61" y="34"/>
                  </a:cubicBezTo>
                  <a:cubicBezTo>
                    <a:pt x="62" y="33"/>
                    <a:pt x="62" y="33"/>
                    <a:pt x="62" y="33"/>
                  </a:cubicBezTo>
                  <a:cubicBezTo>
                    <a:pt x="63" y="33"/>
                    <a:pt x="63" y="32"/>
                    <a:pt x="63" y="32"/>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6" name="Freeform 234"/>
            <p:cNvSpPr>
              <a:spLocks/>
            </p:cNvSpPr>
            <p:nvPr/>
          </p:nvSpPr>
          <p:spPr bwMode="auto">
            <a:xfrm>
              <a:off x="8503779" y="4553044"/>
              <a:ext cx="106867" cy="66718"/>
            </a:xfrm>
            <a:custGeom>
              <a:avLst/>
              <a:gdLst>
                <a:gd name="T0" fmla="*/ 13 w 37"/>
                <a:gd name="T1" fmla="*/ 24 h 24"/>
                <a:gd name="T2" fmla="*/ 14 w 37"/>
                <a:gd name="T3" fmla="*/ 21 h 24"/>
                <a:gd name="T4" fmla="*/ 15 w 37"/>
                <a:gd name="T5" fmla="*/ 19 h 24"/>
                <a:gd name="T6" fmla="*/ 18 w 37"/>
                <a:gd name="T7" fmla="*/ 18 h 24"/>
                <a:gd name="T8" fmla="*/ 22 w 37"/>
                <a:gd name="T9" fmla="*/ 18 h 24"/>
                <a:gd name="T10" fmla="*/ 23 w 37"/>
                <a:gd name="T11" fmla="*/ 20 h 24"/>
                <a:gd name="T12" fmla="*/ 24 w 37"/>
                <a:gd name="T13" fmla="*/ 21 h 24"/>
                <a:gd name="T14" fmla="*/ 25 w 37"/>
                <a:gd name="T15" fmla="*/ 20 h 24"/>
                <a:gd name="T16" fmla="*/ 27 w 37"/>
                <a:gd name="T17" fmla="*/ 22 h 24"/>
                <a:gd name="T18" fmla="*/ 30 w 37"/>
                <a:gd name="T19" fmla="*/ 23 h 24"/>
                <a:gd name="T20" fmla="*/ 32 w 37"/>
                <a:gd name="T21" fmla="*/ 22 h 24"/>
                <a:gd name="T22" fmla="*/ 36 w 37"/>
                <a:gd name="T23" fmla="*/ 21 h 24"/>
                <a:gd name="T24" fmla="*/ 37 w 37"/>
                <a:gd name="T25" fmla="*/ 17 h 24"/>
                <a:gd name="T26" fmla="*/ 37 w 37"/>
                <a:gd name="T27" fmla="*/ 13 h 24"/>
                <a:gd name="T28" fmla="*/ 35 w 37"/>
                <a:gd name="T29" fmla="*/ 10 h 24"/>
                <a:gd name="T30" fmla="*/ 34 w 37"/>
                <a:gd name="T31" fmla="*/ 7 h 24"/>
                <a:gd name="T32" fmla="*/ 33 w 37"/>
                <a:gd name="T33" fmla="*/ 7 h 24"/>
                <a:gd name="T34" fmla="*/ 31 w 37"/>
                <a:gd name="T35" fmla="*/ 5 h 24"/>
                <a:gd name="T36" fmla="*/ 30 w 37"/>
                <a:gd name="T37" fmla="*/ 5 h 24"/>
                <a:gd name="T38" fmla="*/ 29 w 37"/>
                <a:gd name="T39" fmla="*/ 5 h 24"/>
                <a:gd name="T40" fmla="*/ 26 w 37"/>
                <a:gd name="T41" fmla="*/ 4 h 24"/>
                <a:gd name="T42" fmla="*/ 25 w 37"/>
                <a:gd name="T43" fmla="*/ 2 h 24"/>
                <a:gd name="T44" fmla="*/ 24 w 37"/>
                <a:gd name="T45" fmla="*/ 1 h 24"/>
                <a:gd name="T46" fmla="*/ 21 w 37"/>
                <a:gd name="T47" fmla="*/ 0 h 24"/>
                <a:gd name="T48" fmla="*/ 20 w 37"/>
                <a:gd name="T49" fmla="*/ 1 h 24"/>
                <a:gd name="T50" fmla="*/ 17 w 37"/>
                <a:gd name="T51" fmla="*/ 2 h 24"/>
                <a:gd name="T52" fmla="*/ 12 w 37"/>
                <a:gd name="T53" fmla="*/ 6 h 24"/>
                <a:gd name="T54" fmla="*/ 5 w 37"/>
                <a:gd name="T55" fmla="*/ 6 h 24"/>
                <a:gd name="T56" fmla="*/ 2 w 37"/>
                <a:gd name="T57" fmla="*/ 4 h 24"/>
                <a:gd name="T58" fmla="*/ 0 w 37"/>
                <a:gd name="T59" fmla="*/ 7 h 24"/>
                <a:gd name="T60" fmla="*/ 2 w 37"/>
                <a:gd name="T61" fmla="*/ 12 h 24"/>
                <a:gd name="T62" fmla="*/ 4 w 37"/>
                <a:gd name="T63" fmla="*/ 16 h 24"/>
                <a:gd name="T64" fmla="*/ 5 w 37"/>
                <a:gd name="T65" fmla="*/ 19 h 24"/>
                <a:gd name="T66" fmla="*/ 5 w 37"/>
                <a:gd name="T67" fmla="*/ 21 h 24"/>
                <a:gd name="T68" fmla="*/ 7 w 37"/>
                <a:gd name="T69" fmla="*/ 23 h 24"/>
                <a:gd name="T70" fmla="*/ 9 w 37"/>
                <a:gd name="T71" fmla="*/ 24 h 24"/>
                <a:gd name="T72" fmla="*/ 11 w 37"/>
                <a:gd name="T73" fmla="*/ 23 h 24"/>
                <a:gd name="T74" fmla="*/ 13 w 37"/>
                <a:gd name="T75" fmla="*/ 24 h 24"/>
                <a:gd name="T76" fmla="*/ 13 w 37"/>
                <a:gd name="T7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 h="24">
                  <a:moveTo>
                    <a:pt x="13" y="24"/>
                  </a:moveTo>
                  <a:cubicBezTo>
                    <a:pt x="13" y="24"/>
                    <a:pt x="13" y="24"/>
                    <a:pt x="13" y="24"/>
                  </a:cubicBezTo>
                  <a:cubicBezTo>
                    <a:pt x="13" y="24"/>
                    <a:pt x="14" y="23"/>
                    <a:pt x="14" y="23"/>
                  </a:cubicBezTo>
                  <a:cubicBezTo>
                    <a:pt x="14" y="22"/>
                    <a:pt x="14" y="22"/>
                    <a:pt x="14" y="21"/>
                  </a:cubicBezTo>
                  <a:cubicBezTo>
                    <a:pt x="15" y="21"/>
                    <a:pt x="16" y="21"/>
                    <a:pt x="16" y="21"/>
                  </a:cubicBezTo>
                  <a:cubicBezTo>
                    <a:pt x="15" y="20"/>
                    <a:pt x="15" y="19"/>
                    <a:pt x="15" y="19"/>
                  </a:cubicBezTo>
                  <a:cubicBezTo>
                    <a:pt x="16" y="19"/>
                    <a:pt x="16" y="18"/>
                    <a:pt x="17" y="18"/>
                  </a:cubicBezTo>
                  <a:cubicBezTo>
                    <a:pt x="17" y="18"/>
                    <a:pt x="18" y="18"/>
                    <a:pt x="18" y="18"/>
                  </a:cubicBezTo>
                  <a:cubicBezTo>
                    <a:pt x="18" y="17"/>
                    <a:pt x="20" y="17"/>
                    <a:pt x="20" y="17"/>
                  </a:cubicBezTo>
                  <a:cubicBezTo>
                    <a:pt x="21" y="17"/>
                    <a:pt x="22" y="17"/>
                    <a:pt x="22" y="18"/>
                  </a:cubicBezTo>
                  <a:cubicBezTo>
                    <a:pt x="22" y="18"/>
                    <a:pt x="23" y="19"/>
                    <a:pt x="23" y="19"/>
                  </a:cubicBezTo>
                  <a:cubicBezTo>
                    <a:pt x="23" y="19"/>
                    <a:pt x="23" y="19"/>
                    <a:pt x="23" y="20"/>
                  </a:cubicBezTo>
                  <a:cubicBezTo>
                    <a:pt x="23" y="21"/>
                    <a:pt x="23" y="21"/>
                    <a:pt x="23" y="21"/>
                  </a:cubicBezTo>
                  <a:cubicBezTo>
                    <a:pt x="24" y="21"/>
                    <a:pt x="24" y="21"/>
                    <a:pt x="24" y="21"/>
                  </a:cubicBezTo>
                  <a:cubicBezTo>
                    <a:pt x="24" y="20"/>
                    <a:pt x="24" y="20"/>
                    <a:pt x="24" y="20"/>
                  </a:cubicBezTo>
                  <a:cubicBezTo>
                    <a:pt x="24" y="20"/>
                    <a:pt x="25" y="20"/>
                    <a:pt x="25" y="20"/>
                  </a:cubicBezTo>
                  <a:cubicBezTo>
                    <a:pt x="25" y="20"/>
                    <a:pt x="26" y="20"/>
                    <a:pt x="26" y="20"/>
                  </a:cubicBezTo>
                  <a:cubicBezTo>
                    <a:pt x="27" y="21"/>
                    <a:pt x="27" y="22"/>
                    <a:pt x="27" y="22"/>
                  </a:cubicBezTo>
                  <a:cubicBezTo>
                    <a:pt x="28" y="22"/>
                    <a:pt x="29" y="23"/>
                    <a:pt x="29" y="23"/>
                  </a:cubicBezTo>
                  <a:cubicBezTo>
                    <a:pt x="30" y="23"/>
                    <a:pt x="30" y="23"/>
                    <a:pt x="30" y="23"/>
                  </a:cubicBezTo>
                  <a:cubicBezTo>
                    <a:pt x="31" y="23"/>
                    <a:pt x="31" y="22"/>
                    <a:pt x="31" y="22"/>
                  </a:cubicBezTo>
                  <a:cubicBezTo>
                    <a:pt x="31" y="22"/>
                    <a:pt x="31" y="22"/>
                    <a:pt x="32" y="22"/>
                  </a:cubicBezTo>
                  <a:cubicBezTo>
                    <a:pt x="35" y="21"/>
                    <a:pt x="35" y="21"/>
                    <a:pt x="35" y="21"/>
                  </a:cubicBezTo>
                  <a:cubicBezTo>
                    <a:pt x="35" y="21"/>
                    <a:pt x="36" y="21"/>
                    <a:pt x="36" y="21"/>
                  </a:cubicBezTo>
                  <a:cubicBezTo>
                    <a:pt x="36" y="20"/>
                    <a:pt x="36" y="19"/>
                    <a:pt x="36" y="19"/>
                  </a:cubicBezTo>
                  <a:cubicBezTo>
                    <a:pt x="36" y="18"/>
                    <a:pt x="37" y="18"/>
                    <a:pt x="37" y="17"/>
                  </a:cubicBezTo>
                  <a:cubicBezTo>
                    <a:pt x="37" y="14"/>
                    <a:pt x="37" y="14"/>
                    <a:pt x="37" y="14"/>
                  </a:cubicBezTo>
                  <a:cubicBezTo>
                    <a:pt x="37" y="14"/>
                    <a:pt x="37" y="13"/>
                    <a:pt x="37" y="13"/>
                  </a:cubicBezTo>
                  <a:cubicBezTo>
                    <a:pt x="37" y="12"/>
                    <a:pt x="37" y="12"/>
                    <a:pt x="37" y="12"/>
                  </a:cubicBezTo>
                  <a:cubicBezTo>
                    <a:pt x="35" y="10"/>
                    <a:pt x="35" y="10"/>
                    <a:pt x="35" y="10"/>
                  </a:cubicBezTo>
                  <a:cubicBezTo>
                    <a:pt x="35" y="10"/>
                    <a:pt x="35" y="9"/>
                    <a:pt x="35" y="8"/>
                  </a:cubicBezTo>
                  <a:cubicBezTo>
                    <a:pt x="35" y="7"/>
                    <a:pt x="35" y="7"/>
                    <a:pt x="34" y="7"/>
                  </a:cubicBezTo>
                  <a:cubicBezTo>
                    <a:pt x="34" y="7"/>
                    <a:pt x="34" y="7"/>
                    <a:pt x="34" y="7"/>
                  </a:cubicBezTo>
                  <a:cubicBezTo>
                    <a:pt x="33" y="7"/>
                    <a:pt x="33" y="7"/>
                    <a:pt x="33" y="7"/>
                  </a:cubicBezTo>
                  <a:cubicBezTo>
                    <a:pt x="32" y="6"/>
                    <a:pt x="32" y="6"/>
                    <a:pt x="32" y="6"/>
                  </a:cubicBezTo>
                  <a:cubicBezTo>
                    <a:pt x="31" y="6"/>
                    <a:pt x="31" y="5"/>
                    <a:pt x="31" y="5"/>
                  </a:cubicBezTo>
                  <a:cubicBezTo>
                    <a:pt x="30" y="5"/>
                    <a:pt x="30" y="5"/>
                    <a:pt x="29" y="5"/>
                  </a:cubicBezTo>
                  <a:cubicBezTo>
                    <a:pt x="30" y="5"/>
                    <a:pt x="30" y="5"/>
                    <a:pt x="30" y="5"/>
                  </a:cubicBezTo>
                  <a:cubicBezTo>
                    <a:pt x="30" y="5"/>
                    <a:pt x="30" y="5"/>
                    <a:pt x="29" y="5"/>
                  </a:cubicBezTo>
                  <a:cubicBezTo>
                    <a:pt x="30" y="6"/>
                    <a:pt x="30" y="6"/>
                    <a:pt x="29" y="5"/>
                  </a:cubicBezTo>
                  <a:cubicBezTo>
                    <a:pt x="30" y="6"/>
                    <a:pt x="31" y="6"/>
                    <a:pt x="28" y="5"/>
                  </a:cubicBezTo>
                  <a:cubicBezTo>
                    <a:pt x="27" y="5"/>
                    <a:pt x="27" y="4"/>
                    <a:pt x="26" y="4"/>
                  </a:cubicBezTo>
                  <a:cubicBezTo>
                    <a:pt x="26" y="4"/>
                    <a:pt x="25" y="4"/>
                    <a:pt x="25" y="3"/>
                  </a:cubicBezTo>
                  <a:cubicBezTo>
                    <a:pt x="25" y="3"/>
                    <a:pt x="25" y="3"/>
                    <a:pt x="25" y="2"/>
                  </a:cubicBezTo>
                  <a:cubicBezTo>
                    <a:pt x="25" y="2"/>
                    <a:pt x="25" y="2"/>
                    <a:pt x="25" y="2"/>
                  </a:cubicBezTo>
                  <a:cubicBezTo>
                    <a:pt x="25" y="1"/>
                    <a:pt x="25" y="1"/>
                    <a:pt x="24" y="1"/>
                  </a:cubicBezTo>
                  <a:cubicBezTo>
                    <a:pt x="23" y="1"/>
                    <a:pt x="23" y="1"/>
                    <a:pt x="23" y="1"/>
                  </a:cubicBezTo>
                  <a:cubicBezTo>
                    <a:pt x="22" y="1"/>
                    <a:pt x="21" y="0"/>
                    <a:pt x="21" y="0"/>
                  </a:cubicBezTo>
                  <a:cubicBezTo>
                    <a:pt x="21" y="0"/>
                    <a:pt x="21" y="0"/>
                    <a:pt x="21" y="0"/>
                  </a:cubicBezTo>
                  <a:cubicBezTo>
                    <a:pt x="20" y="1"/>
                    <a:pt x="20" y="1"/>
                    <a:pt x="20" y="1"/>
                  </a:cubicBezTo>
                  <a:cubicBezTo>
                    <a:pt x="17" y="2"/>
                    <a:pt x="17" y="2"/>
                    <a:pt x="17" y="2"/>
                  </a:cubicBezTo>
                  <a:cubicBezTo>
                    <a:pt x="17" y="2"/>
                    <a:pt x="17" y="2"/>
                    <a:pt x="17" y="2"/>
                  </a:cubicBezTo>
                  <a:cubicBezTo>
                    <a:pt x="16" y="3"/>
                    <a:pt x="16" y="4"/>
                    <a:pt x="16" y="4"/>
                  </a:cubicBezTo>
                  <a:cubicBezTo>
                    <a:pt x="15" y="5"/>
                    <a:pt x="14" y="6"/>
                    <a:pt x="12" y="6"/>
                  </a:cubicBezTo>
                  <a:cubicBezTo>
                    <a:pt x="9" y="5"/>
                    <a:pt x="9" y="5"/>
                    <a:pt x="9" y="5"/>
                  </a:cubicBezTo>
                  <a:cubicBezTo>
                    <a:pt x="5" y="6"/>
                    <a:pt x="5" y="6"/>
                    <a:pt x="5" y="6"/>
                  </a:cubicBezTo>
                  <a:cubicBezTo>
                    <a:pt x="3" y="3"/>
                    <a:pt x="3" y="3"/>
                    <a:pt x="3" y="3"/>
                  </a:cubicBezTo>
                  <a:cubicBezTo>
                    <a:pt x="2" y="4"/>
                    <a:pt x="2" y="4"/>
                    <a:pt x="2" y="4"/>
                  </a:cubicBezTo>
                  <a:cubicBezTo>
                    <a:pt x="2" y="4"/>
                    <a:pt x="1" y="4"/>
                    <a:pt x="1" y="5"/>
                  </a:cubicBezTo>
                  <a:cubicBezTo>
                    <a:pt x="1" y="5"/>
                    <a:pt x="0" y="6"/>
                    <a:pt x="0" y="7"/>
                  </a:cubicBezTo>
                  <a:cubicBezTo>
                    <a:pt x="1" y="9"/>
                    <a:pt x="1" y="9"/>
                    <a:pt x="1" y="9"/>
                  </a:cubicBezTo>
                  <a:cubicBezTo>
                    <a:pt x="2" y="12"/>
                    <a:pt x="2" y="12"/>
                    <a:pt x="2" y="12"/>
                  </a:cubicBezTo>
                  <a:cubicBezTo>
                    <a:pt x="2" y="13"/>
                    <a:pt x="2" y="14"/>
                    <a:pt x="3" y="14"/>
                  </a:cubicBezTo>
                  <a:cubicBezTo>
                    <a:pt x="4" y="15"/>
                    <a:pt x="4" y="16"/>
                    <a:pt x="4" y="16"/>
                  </a:cubicBezTo>
                  <a:cubicBezTo>
                    <a:pt x="5" y="17"/>
                    <a:pt x="5" y="17"/>
                    <a:pt x="5" y="17"/>
                  </a:cubicBezTo>
                  <a:cubicBezTo>
                    <a:pt x="5" y="17"/>
                    <a:pt x="5" y="19"/>
                    <a:pt x="5" y="19"/>
                  </a:cubicBezTo>
                  <a:cubicBezTo>
                    <a:pt x="5" y="20"/>
                    <a:pt x="5" y="20"/>
                    <a:pt x="5" y="20"/>
                  </a:cubicBezTo>
                  <a:cubicBezTo>
                    <a:pt x="5" y="20"/>
                    <a:pt x="5" y="21"/>
                    <a:pt x="5" y="21"/>
                  </a:cubicBezTo>
                  <a:cubicBezTo>
                    <a:pt x="6" y="21"/>
                    <a:pt x="6" y="22"/>
                    <a:pt x="6" y="22"/>
                  </a:cubicBezTo>
                  <a:cubicBezTo>
                    <a:pt x="6" y="22"/>
                    <a:pt x="7" y="23"/>
                    <a:pt x="7" y="23"/>
                  </a:cubicBezTo>
                  <a:cubicBezTo>
                    <a:pt x="8" y="23"/>
                    <a:pt x="8" y="23"/>
                    <a:pt x="8" y="23"/>
                  </a:cubicBezTo>
                  <a:cubicBezTo>
                    <a:pt x="9" y="23"/>
                    <a:pt x="9" y="24"/>
                    <a:pt x="9" y="24"/>
                  </a:cubicBezTo>
                  <a:cubicBezTo>
                    <a:pt x="9" y="23"/>
                    <a:pt x="10" y="23"/>
                    <a:pt x="10" y="23"/>
                  </a:cubicBezTo>
                  <a:cubicBezTo>
                    <a:pt x="10" y="23"/>
                    <a:pt x="11" y="23"/>
                    <a:pt x="11" y="23"/>
                  </a:cubicBezTo>
                  <a:cubicBezTo>
                    <a:pt x="11" y="23"/>
                    <a:pt x="12" y="23"/>
                    <a:pt x="12" y="23"/>
                  </a:cubicBezTo>
                  <a:cubicBezTo>
                    <a:pt x="12" y="23"/>
                    <a:pt x="13" y="24"/>
                    <a:pt x="13" y="24"/>
                  </a:cubicBezTo>
                  <a:cubicBezTo>
                    <a:pt x="13" y="24"/>
                    <a:pt x="13" y="24"/>
                    <a:pt x="13" y="24"/>
                  </a:cubicBezTo>
                  <a:cubicBezTo>
                    <a:pt x="13" y="24"/>
                    <a:pt x="13" y="24"/>
                    <a:pt x="13" y="24"/>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7" name="Freeform 235"/>
            <p:cNvSpPr>
              <a:spLocks/>
            </p:cNvSpPr>
            <p:nvPr/>
          </p:nvSpPr>
          <p:spPr bwMode="auto">
            <a:xfrm>
              <a:off x="6429986" y="3375260"/>
              <a:ext cx="657087" cy="580041"/>
            </a:xfrm>
            <a:custGeom>
              <a:avLst/>
              <a:gdLst>
                <a:gd name="T0" fmla="*/ 21 w 227"/>
                <a:gd name="T1" fmla="*/ 158 h 212"/>
                <a:gd name="T2" fmla="*/ 20 w 227"/>
                <a:gd name="T3" fmla="*/ 168 h 212"/>
                <a:gd name="T4" fmla="*/ 10 w 227"/>
                <a:gd name="T5" fmla="*/ 180 h 212"/>
                <a:gd name="T6" fmla="*/ 14 w 227"/>
                <a:gd name="T7" fmla="*/ 190 h 212"/>
                <a:gd name="T8" fmla="*/ 21 w 227"/>
                <a:gd name="T9" fmla="*/ 199 h 212"/>
                <a:gd name="T10" fmla="*/ 21 w 227"/>
                <a:gd name="T11" fmla="*/ 212 h 212"/>
                <a:gd name="T12" fmla="*/ 32 w 227"/>
                <a:gd name="T13" fmla="*/ 209 h 212"/>
                <a:gd name="T14" fmla="*/ 37 w 227"/>
                <a:gd name="T15" fmla="*/ 201 h 212"/>
                <a:gd name="T16" fmla="*/ 60 w 227"/>
                <a:gd name="T17" fmla="*/ 190 h 212"/>
                <a:gd name="T18" fmla="*/ 95 w 227"/>
                <a:gd name="T19" fmla="*/ 188 h 212"/>
                <a:gd name="T20" fmla="*/ 112 w 227"/>
                <a:gd name="T21" fmla="*/ 188 h 212"/>
                <a:gd name="T22" fmla="*/ 121 w 227"/>
                <a:gd name="T23" fmla="*/ 190 h 212"/>
                <a:gd name="T24" fmla="*/ 130 w 227"/>
                <a:gd name="T25" fmla="*/ 189 h 212"/>
                <a:gd name="T26" fmla="*/ 145 w 227"/>
                <a:gd name="T27" fmla="*/ 187 h 212"/>
                <a:gd name="T28" fmla="*/ 164 w 227"/>
                <a:gd name="T29" fmla="*/ 180 h 212"/>
                <a:gd name="T30" fmla="*/ 175 w 227"/>
                <a:gd name="T31" fmla="*/ 184 h 212"/>
                <a:gd name="T32" fmla="*/ 191 w 227"/>
                <a:gd name="T33" fmla="*/ 177 h 212"/>
                <a:gd name="T34" fmla="*/ 203 w 227"/>
                <a:gd name="T35" fmla="*/ 182 h 212"/>
                <a:gd name="T36" fmla="*/ 202 w 227"/>
                <a:gd name="T37" fmla="*/ 143 h 212"/>
                <a:gd name="T38" fmla="*/ 218 w 227"/>
                <a:gd name="T39" fmla="*/ 137 h 212"/>
                <a:gd name="T40" fmla="*/ 213 w 227"/>
                <a:gd name="T41" fmla="*/ 130 h 212"/>
                <a:gd name="T42" fmla="*/ 206 w 227"/>
                <a:gd name="T43" fmla="*/ 118 h 212"/>
                <a:gd name="T44" fmla="*/ 201 w 227"/>
                <a:gd name="T45" fmla="*/ 111 h 212"/>
                <a:gd name="T46" fmla="*/ 203 w 227"/>
                <a:gd name="T47" fmla="*/ 94 h 212"/>
                <a:gd name="T48" fmla="*/ 217 w 227"/>
                <a:gd name="T49" fmla="*/ 93 h 212"/>
                <a:gd name="T50" fmla="*/ 227 w 227"/>
                <a:gd name="T51" fmla="*/ 82 h 212"/>
                <a:gd name="T52" fmla="*/ 216 w 227"/>
                <a:gd name="T53" fmla="*/ 73 h 212"/>
                <a:gd name="T54" fmla="*/ 208 w 227"/>
                <a:gd name="T55" fmla="*/ 70 h 212"/>
                <a:gd name="T56" fmla="*/ 196 w 227"/>
                <a:gd name="T57" fmla="*/ 61 h 212"/>
                <a:gd name="T58" fmla="*/ 179 w 227"/>
                <a:gd name="T59" fmla="*/ 50 h 212"/>
                <a:gd name="T60" fmla="*/ 174 w 227"/>
                <a:gd name="T61" fmla="*/ 43 h 212"/>
                <a:gd name="T62" fmla="*/ 164 w 227"/>
                <a:gd name="T63" fmla="*/ 29 h 212"/>
                <a:gd name="T64" fmla="*/ 158 w 227"/>
                <a:gd name="T65" fmla="*/ 15 h 212"/>
                <a:gd name="T66" fmla="*/ 154 w 227"/>
                <a:gd name="T67" fmla="*/ 6 h 212"/>
                <a:gd name="T68" fmla="*/ 136 w 227"/>
                <a:gd name="T69" fmla="*/ 2 h 212"/>
                <a:gd name="T70" fmla="*/ 124 w 227"/>
                <a:gd name="T71" fmla="*/ 11 h 212"/>
                <a:gd name="T72" fmla="*/ 119 w 227"/>
                <a:gd name="T73" fmla="*/ 7 h 212"/>
                <a:gd name="T74" fmla="*/ 108 w 227"/>
                <a:gd name="T75" fmla="*/ 5 h 212"/>
                <a:gd name="T76" fmla="*/ 97 w 227"/>
                <a:gd name="T77" fmla="*/ 2 h 212"/>
                <a:gd name="T78" fmla="*/ 92 w 227"/>
                <a:gd name="T79" fmla="*/ 4 h 212"/>
                <a:gd name="T80" fmla="*/ 86 w 227"/>
                <a:gd name="T81" fmla="*/ 1 h 212"/>
                <a:gd name="T82" fmla="*/ 79 w 227"/>
                <a:gd name="T83" fmla="*/ 11 h 212"/>
                <a:gd name="T84" fmla="*/ 69 w 227"/>
                <a:gd name="T85" fmla="*/ 18 h 212"/>
                <a:gd name="T86" fmla="*/ 59 w 227"/>
                <a:gd name="T87" fmla="*/ 26 h 212"/>
                <a:gd name="T88" fmla="*/ 57 w 227"/>
                <a:gd name="T89" fmla="*/ 42 h 212"/>
                <a:gd name="T90" fmla="*/ 63 w 227"/>
                <a:gd name="T91" fmla="*/ 47 h 212"/>
                <a:gd name="T92" fmla="*/ 54 w 227"/>
                <a:gd name="T93" fmla="*/ 59 h 212"/>
                <a:gd name="T94" fmla="*/ 45 w 227"/>
                <a:gd name="T95" fmla="*/ 70 h 212"/>
                <a:gd name="T96" fmla="*/ 47 w 227"/>
                <a:gd name="T97" fmla="*/ 89 h 212"/>
                <a:gd name="T98" fmla="*/ 46 w 227"/>
                <a:gd name="T99" fmla="*/ 96 h 212"/>
                <a:gd name="T100" fmla="*/ 37 w 227"/>
                <a:gd name="T101" fmla="*/ 96 h 212"/>
                <a:gd name="T102" fmla="*/ 29 w 227"/>
                <a:gd name="T103" fmla="*/ 102 h 212"/>
                <a:gd name="T104" fmla="*/ 18 w 227"/>
                <a:gd name="T105" fmla="*/ 113 h 212"/>
                <a:gd name="T106" fmla="*/ 1 w 227"/>
                <a:gd name="T107" fmla="*/ 11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7" h="212">
                  <a:moveTo>
                    <a:pt x="11" y="138"/>
                  </a:moveTo>
                  <a:cubicBezTo>
                    <a:pt x="17" y="147"/>
                    <a:pt x="17" y="147"/>
                    <a:pt x="17" y="147"/>
                  </a:cubicBezTo>
                  <a:cubicBezTo>
                    <a:pt x="18" y="153"/>
                    <a:pt x="18" y="153"/>
                    <a:pt x="18" y="153"/>
                  </a:cubicBezTo>
                  <a:cubicBezTo>
                    <a:pt x="19" y="155"/>
                    <a:pt x="20" y="157"/>
                    <a:pt x="21" y="158"/>
                  </a:cubicBezTo>
                  <a:cubicBezTo>
                    <a:pt x="21" y="158"/>
                    <a:pt x="21" y="159"/>
                    <a:pt x="21" y="160"/>
                  </a:cubicBezTo>
                  <a:cubicBezTo>
                    <a:pt x="21" y="161"/>
                    <a:pt x="21" y="161"/>
                    <a:pt x="21" y="162"/>
                  </a:cubicBezTo>
                  <a:cubicBezTo>
                    <a:pt x="21" y="162"/>
                    <a:pt x="21" y="162"/>
                    <a:pt x="21" y="162"/>
                  </a:cubicBezTo>
                  <a:cubicBezTo>
                    <a:pt x="22" y="165"/>
                    <a:pt x="22" y="167"/>
                    <a:pt x="20" y="168"/>
                  </a:cubicBezTo>
                  <a:cubicBezTo>
                    <a:pt x="20" y="169"/>
                    <a:pt x="19" y="171"/>
                    <a:pt x="17" y="173"/>
                  </a:cubicBezTo>
                  <a:cubicBezTo>
                    <a:pt x="17" y="173"/>
                    <a:pt x="17" y="173"/>
                    <a:pt x="17" y="173"/>
                  </a:cubicBezTo>
                  <a:cubicBezTo>
                    <a:pt x="13" y="175"/>
                    <a:pt x="13" y="175"/>
                    <a:pt x="13" y="175"/>
                  </a:cubicBezTo>
                  <a:cubicBezTo>
                    <a:pt x="10" y="180"/>
                    <a:pt x="10" y="180"/>
                    <a:pt x="10" y="180"/>
                  </a:cubicBezTo>
                  <a:cubicBezTo>
                    <a:pt x="7" y="187"/>
                    <a:pt x="7" y="187"/>
                    <a:pt x="7" y="187"/>
                  </a:cubicBezTo>
                  <a:cubicBezTo>
                    <a:pt x="7" y="189"/>
                    <a:pt x="7" y="189"/>
                    <a:pt x="7" y="189"/>
                  </a:cubicBezTo>
                  <a:cubicBezTo>
                    <a:pt x="7" y="189"/>
                    <a:pt x="7" y="189"/>
                    <a:pt x="7" y="189"/>
                  </a:cubicBezTo>
                  <a:cubicBezTo>
                    <a:pt x="8" y="189"/>
                    <a:pt x="14" y="190"/>
                    <a:pt x="14" y="190"/>
                  </a:cubicBezTo>
                  <a:cubicBezTo>
                    <a:pt x="14" y="190"/>
                    <a:pt x="14" y="190"/>
                    <a:pt x="14" y="190"/>
                  </a:cubicBezTo>
                  <a:cubicBezTo>
                    <a:pt x="20" y="193"/>
                    <a:pt x="20" y="193"/>
                    <a:pt x="20" y="193"/>
                  </a:cubicBezTo>
                  <a:cubicBezTo>
                    <a:pt x="21" y="198"/>
                    <a:pt x="21" y="198"/>
                    <a:pt x="21" y="198"/>
                  </a:cubicBezTo>
                  <a:cubicBezTo>
                    <a:pt x="21" y="199"/>
                    <a:pt x="21" y="199"/>
                    <a:pt x="21" y="199"/>
                  </a:cubicBezTo>
                  <a:cubicBezTo>
                    <a:pt x="21" y="205"/>
                    <a:pt x="21" y="205"/>
                    <a:pt x="21" y="206"/>
                  </a:cubicBezTo>
                  <a:cubicBezTo>
                    <a:pt x="21" y="206"/>
                    <a:pt x="21" y="210"/>
                    <a:pt x="21" y="211"/>
                  </a:cubicBezTo>
                  <a:cubicBezTo>
                    <a:pt x="21" y="211"/>
                    <a:pt x="21" y="211"/>
                    <a:pt x="21" y="211"/>
                  </a:cubicBezTo>
                  <a:cubicBezTo>
                    <a:pt x="21" y="211"/>
                    <a:pt x="21" y="212"/>
                    <a:pt x="21" y="212"/>
                  </a:cubicBezTo>
                  <a:cubicBezTo>
                    <a:pt x="24" y="210"/>
                    <a:pt x="24" y="210"/>
                    <a:pt x="24" y="210"/>
                  </a:cubicBezTo>
                  <a:cubicBezTo>
                    <a:pt x="25" y="211"/>
                    <a:pt x="25" y="211"/>
                    <a:pt x="25" y="211"/>
                  </a:cubicBezTo>
                  <a:cubicBezTo>
                    <a:pt x="25" y="211"/>
                    <a:pt x="27" y="211"/>
                    <a:pt x="29" y="212"/>
                  </a:cubicBezTo>
                  <a:cubicBezTo>
                    <a:pt x="30" y="210"/>
                    <a:pt x="31" y="209"/>
                    <a:pt x="32" y="209"/>
                  </a:cubicBezTo>
                  <a:cubicBezTo>
                    <a:pt x="32" y="209"/>
                    <a:pt x="32" y="209"/>
                    <a:pt x="32" y="210"/>
                  </a:cubicBezTo>
                  <a:cubicBezTo>
                    <a:pt x="33" y="209"/>
                    <a:pt x="34" y="206"/>
                    <a:pt x="34" y="206"/>
                  </a:cubicBezTo>
                  <a:cubicBezTo>
                    <a:pt x="35" y="203"/>
                    <a:pt x="35" y="203"/>
                    <a:pt x="35" y="203"/>
                  </a:cubicBezTo>
                  <a:cubicBezTo>
                    <a:pt x="37" y="201"/>
                    <a:pt x="37" y="201"/>
                    <a:pt x="37" y="201"/>
                  </a:cubicBezTo>
                  <a:cubicBezTo>
                    <a:pt x="37" y="199"/>
                    <a:pt x="37" y="199"/>
                    <a:pt x="37" y="199"/>
                  </a:cubicBezTo>
                  <a:cubicBezTo>
                    <a:pt x="42" y="196"/>
                    <a:pt x="42" y="196"/>
                    <a:pt x="42" y="196"/>
                  </a:cubicBezTo>
                  <a:cubicBezTo>
                    <a:pt x="54" y="194"/>
                    <a:pt x="54" y="194"/>
                    <a:pt x="54" y="194"/>
                  </a:cubicBezTo>
                  <a:cubicBezTo>
                    <a:pt x="60" y="190"/>
                    <a:pt x="60" y="190"/>
                    <a:pt x="60" y="190"/>
                  </a:cubicBezTo>
                  <a:cubicBezTo>
                    <a:pt x="68" y="191"/>
                    <a:pt x="68" y="191"/>
                    <a:pt x="68" y="191"/>
                  </a:cubicBezTo>
                  <a:cubicBezTo>
                    <a:pt x="88" y="190"/>
                    <a:pt x="88" y="190"/>
                    <a:pt x="88" y="190"/>
                  </a:cubicBezTo>
                  <a:cubicBezTo>
                    <a:pt x="95" y="188"/>
                    <a:pt x="95" y="188"/>
                    <a:pt x="95" y="188"/>
                  </a:cubicBezTo>
                  <a:cubicBezTo>
                    <a:pt x="95" y="188"/>
                    <a:pt x="95" y="188"/>
                    <a:pt x="95" y="188"/>
                  </a:cubicBezTo>
                  <a:cubicBezTo>
                    <a:pt x="95" y="188"/>
                    <a:pt x="96" y="188"/>
                    <a:pt x="96" y="188"/>
                  </a:cubicBezTo>
                  <a:cubicBezTo>
                    <a:pt x="97" y="189"/>
                    <a:pt x="100" y="189"/>
                    <a:pt x="101" y="189"/>
                  </a:cubicBezTo>
                  <a:cubicBezTo>
                    <a:pt x="103" y="189"/>
                    <a:pt x="111" y="188"/>
                    <a:pt x="112" y="188"/>
                  </a:cubicBezTo>
                  <a:cubicBezTo>
                    <a:pt x="112" y="188"/>
                    <a:pt x="112" y="188"/>
                    <a:pt x="112" y="188"/>
                  </a:cubicBezTo>
                  <a:cubicBezTo>
                    <a:pt x="116" y="191"/>
                    <a:pt x="116" y="191"/>
                    <a:pt x="116" y="191"/>
                  </a:cubicBezTo>
                  <a:cubicBezTo>
                    <a:pt x="118" y="193"/>
                    <a:pt x="118" y="193"/>
                    <a:pt x="118" y="193"/>
                  </a:cubicBezTo>
                  <a:cubicBezTo>
                    <a:pt x="119" y="192"/>
                    <a:pt x="120" y="191"/>
                    <a:pt x="121" y="190"/>
                  </a:cubicBezTo>
                  <a:cubicBezTo>
                    <a:pt x="121" y="190"/>
                    <a:pt x="121" y="190"/>
                    <a:pt x="121" y="190"/>
                  </a:cubicBezTo>
                  <a:cubicBezTo>
                    <a:pt x="122" y="190"/>
                    <a:pt x="122" y="190"/>
                    <a:pt x="122" y="190"/>
                  </a:cubicBezTo>
                  <a:cubicBezTo>
                    <a:pt x="124" y="190"/>
                    <a:pt x="127" y="192"/>
                    <a:pt x="127" y="192"/>
                  </a:cubicBezTo>
                  <a:cubicBezTo>
                    <a:pt x="129" y="193"/>
                    <a:pt x="129" y="193"/>
                    <a:pt x="129" y="193"/>
                  </a:cubicBezTo>
                  <a:cubicBezTo>
                    <a:pt x="130" y="189"/>
                    <a:pt x="130" y="189"/>
                    <a:pt x="130" y="189"/>
                  </a:cubicBezTo>
                  <a:cubicBezTo>
                    <a:pt x="135" y="190"/>
                    <a:pt x="135" y="190"/>
                    <a:pt x="135" y="190"/>
                  </a:cubicBezTo>
                  <a:cubicBezTo>
                    <a:pt x="140" y="185"/>
                    <a:pt x="140" y="185"/>
                    <a:pt x="140" y="185"/>
                  </a:cubicBezTo>
                  <a:cubicBezTo>
                    <a:pt x="143" y="186"/>
                    <a:pt x="143" y="186"/>
                    <a:pt x="143" y="186"/>
                  </a:cubicBezTo>
                  <a:cubicBezTo>
                    <a:pt x="145" y="187"/>
                    <a:pt x="145" y="187"/>
                    <a:pt x="145" y="187"/>
                  </a:cubicBezTo>
                  <a:cubicBezTo>
                    <a:pt x="149" y="184"/>
                    <a:pt x="149" y="184"/>
                    <a:pt x="149" y="184"/>
                  </a:cubicBezTo>
                  <a:cubicBezTo>
                    <a:pt x="153" y="187"/>
                    <a:pt x="153" y="187"/>
                    <a:pt x="153" y="187"/>
                  </a:cubicBezTo>
                  <a:cubicBezTo>
                    <a:pt x="153" y="185"/>
                    <a:pt x="155" y="184"/>
                    <a:pt x="158" y="183"/>
                  </a:cubicBezTo>
                  <a:cubicBezTo>
                    <a:pt x="159" y="182"/>
                    <a:pt x="162" y="180"/>
                    <a:pt x="164" y="180"/>
                  </a:cubicBezTo>
                  <a:cubicBezTo>
                    <a:pt x="166" y="180"/>
                    <a:pt x="168" y="181"/>
                    <a:pt x="168" y="182"/>
                  </a:cubicBezTo>
                  <a:cubicBezTo>
                    <a:pt x="169" y="183"/>
                    <a:pt x="170" y="183"/>
                    <a:pt x="171" y="185"/>
                  </a:cubicBezTo>
                  <a:cubicBezTo>
                    <a:pt x="172" y="186"/>
                    <a:pt x="172" y="186"/>
                    <a:pt x="172" y="186"/>
                  </a:cubicBezTo>
                  <a:cubicBezTo>
                    <a:pt x="175" y="184"/>
                    <a:pt x="175" y="184"/>
                    <a:pt x="175" y="184"/>
                  </a:cubicBezTo>
                  <a:cubicBezTo>
                    <a:pt x="177" y="181"/>
                    <a:pt x="177" y="181"/>
                    <a:pt x="177" y="181"/>
                  </a:cubicBezTo>
                  <a:cubicBezTo>
                    <a:pt x="180" y="181"/>
                    <a:pt x="180" y="181"/>
                    <a:pt x="180" y="181"/>
                  </a:cubicBezTo>
                  <a:cubicBezTo>
                    <a:pt x="184" y="179"/>
                    <a:pt x="184" y="179"/>
                    <a:pt x="184" y="179"/>
                  </a:cubicBezTo>
                  <a:cubicBezTo>
                    <a:pt x="191" y="177"/>
                    <a:pt x="191" y="177"/>
                    <a:pt x="191" y="177"/>
                  </a:cubicBezTo>
                  <a:cubicBezTo>
                    <a:pt x="197" y="179"/>
                    <a:pt x="197" y="179"/>
                    <a:pt x="197" y="179"/>
                  </a:cubicBezTo>
                  <a:cubicBezTo>
                    <a:pt x="200" y="183"/>
                    <a:pt x="200" y="183"/>
                    <a:pt x="200" y="183"/>
                  </a:cubicBezTo>
                  <a:cubicBezTo>
                    <a:pt x="202" y="183"/>
                    <a:pt x="202" y="183"/>
                    <a:pt x="202" y="183"/>
                  </a:cubicBezTo>
                  <a:cubicBezTo>
                    <a:pt x="203" y="182"/>
                    <a:pt x="203" y="182"/>
                    <a:pt x="203" y="182"/>
                  </a:cubicBezTo>
                  <a:cubicBezTo>
                    <a:pt x="201" y="179"/>
                    <a:pt x="201" y="179"/>
                    <a:pt x="201" y="179"/>
                  </a:cubicBezTo>
                  <a:cubicBezTo>
                    <a:pt x="196" y="168"/>
                    <a:pt x="196" y="168"/>
                    <a:pt x="196" y="168"/>
                  </a:cubicBezTo>
                  <a:cubicBezTo>
                    <a:pt x="201" y="153"/>
                    <a:pt x="201" y="153"/>
                    <a:pt x="201" y="153"/>
                  </a:cubicBezTo>
                  <a:cubicBezTo>
                    <a:pt x="202" y="143"/>
                    <a:pt x="202" y="143"/>
                    <a:pt x="202" y="143"/>
                  </a:cubicBezTo>
                  <a:cubicBezTo>
                    <a:pt x="213" y="142"/>
                    <a:pt x="213" y="142"/>
                    <a:pt x="213" y="142"/>
                  </a:cubicBezTo>
                  <a:cubicBezTo>
                    <a:pt x="216" y="138"/>
                    <a:pt x="216" y="138"/>
                    <a:pt x="216" y="138"/>
                  </a:cubicBezTo>
                  <a:cubicBezTo>
                    <a:pt x="219" y="137"/>
                    <a:pt x="219" y="137"/>
                    <a:pt x="219" y="137"/>
                  </a:cubicBezTo>
                  <a:cubicBezTo>
                    <a:pt x="218" y="137"/>
                    <a:pt x="218" y="137"/>
                    <a:pt x="218" y="137"/>
                  </a:cubicBezTo>
                  <a:cubicBezTo>
                    <a:pt x="218" y="135"/>
                    <a:pt x="218" y="135"/>
                    <a:pt x="218" y="135"/>
                  </a:cubicBezTo>
                  <a:cubicBezTo>
                    <a:pt x="216" y="135"/>
                    <a:pt x="216" y="135"/>
                    <a:pt x="216" y="135"/>
                  </a:cubicBezTo>
                  <a:cubicBezTo>
                    <a:pt x="212" y="133"/>
                    <a:pt x="212" y="133"/>
                    <a:pt x="212" y="133"/>
                  </a:cubicBezTo>
                  <a:cubicBezTo>
                    <a:pt x="213" y="130"/>
                    <a:pt x="213" y="130"/>
                    <a:pt x="213" y="130"/>
                  </a:cubicBezTo>
                  <a:cubicBezTo>
                    <a:pt x="210" y="123"/>
                    <a:pt x="210" y="123"/>
                    <a:pt x="210" y="123"/>
                  </a:cubicBezTo>
                  <a:cubicBezTo>
                    <a:pt x="210" y="122"/>
                    <a:pt x="210" y="122"/>
                    <a:pt x="210" y="122"/>
                  </a:cubicBezTo>
                  <a:cubicBezTo>
                    <a:pt x="209" y="122"/>
                    <a:pt x="209" y="122"/>
                    <a:pt x="209" y="122"/>
                  </a:cubicBezTo>
                  <a:cubicBezTo>
                    <a:pt x="206" y="118"/>
                    <a:pt x="206" y="118"/>
                    <a:pt x="206" y="118"/>
                  </a:cubicBezTo>
                  <a:cubicBezTo>
                    <a:pt x="208" y="115"/>
                    <a:pt x="208" y="115"/>
                    <a:pt x="208" y="115"/>
                  </a:cubicBezTo>
                  <a:cubicBezTo>
                    <a:pt x="207" y="114"/>
                    <a:pt x="207" y="114"/>
                    <a:pt x="207" y="114"/>
                  </a:cubicBezTo>
                  <a:cubicBezTo>
                    <a:pt x="205" y="112"/>
                    <a:pt x="205" y="112"/>
                    <a:pt x="205" y="112"/>
                  </a:cubicBezTo>
                  <a:cubicBezTo>
                    <a:pt x="201" y="111"/>
                    <a:pt x="201" y="111"/>
                    <a:pt x="201" y="111"/>
                  </a:cubicBezTo>
                  <a:cubicBezTo>
                    <a:pt x="197" y="107"/>
                    <a:pt x="197" y="107"/>
                    <a:pt x="197" y="107"/>
                  </a:cubicBezTo>
                  <a:cubicBezTo>
                    <a:pt x="196" y="104"/>
                    <a:pt x="196" y="104"/>
                    <a:pt x="196" y="104"/>
                  </a:cubicBezTo>
                  <a:cubicBezTo>
                    <a:pt x="198" y="97"/>
                    <a:pt x="198" y="97"/>
                    <a:pt x="198" y="97"/>
                  </a:cubicBezTo>
                  <a:cubicBezTo>
                    <a:pt x="199" y="96"/>
                    <a:pt x="200" y="95"/>
                    <a:pt x="203" y="94"/>
                  </a:cubicBezTo>
                  <a:cubicBezTo>
                    <a:pt x="204" y="93"/>
                    <a:pt x="205" y="93"/>
                    <a:pt x="206" y="93"/>
                  </a:cubicBezTo>
                  <a:cubicBezTo>
                    <a:pt x="207" y="93"/>
                    <a:pt x="208" y="93"/>
                    <a:pt x="209" y="94"/>
                  </a:cubicBezTo>
                  <a:cubicBezTo>
                    <a:pt x="213" y="95"/>
                    <a:pt x="213" y="95"/>
                    <a:pt x="213" y="95"/>
                  </a:cubicBezTo>
                  <a:cubicBezTo>
                    <a:pt x="217" y="93"/>
                    <a:pt x="217" y="93"/>
                    <a:pt x="217" y="93"/>
                  </a:cubicBezTo>
                  <a:cubicBezTo>
                    <a:pt x="219" y="92"/>
                    <a:pt x="222" y="90"/>
                    <a:pt x="223" y="89"/>
                  </a:cubicBezTo>
                  <a:cubicBezTo>
                    <a:pt x="223" y="88"/>
                    <a:pt x="223" y="87"/>
                    <a:pt x="222" y="86"/>
                  </a:cubicBezTo>
                  <a:cubicBezTo>
                    <a:pt x="221" y="84"/>
                    <a:pt x="221" y="84"/>
                    <a:pt x="221" y="84"/>
                  </a:cubicBezTo>
                  <a:cubicBezTo>
                    <a:pt x="227" y="82"/>
                    <a:pt x="227" y="82"/>
                    <a:pt x="227" y="82"/>
                  </a:cubicBezTo>
                  <a:cubicBezTo>
                    <a:pt x="227" y="81"/>
                    <a:pt x="227" y="81"/>
                    <a:pt x="227" y="81"/>
                  </a:cubicBezTo>
                  <a:cubicBezTo>
                    <a:pt x="227" y="79"/>
                    <a:pt x="227" y="79"/>
                    <a:pt x="227" y="79"/>
                  </a:cubicBezTo>
                  <a:cubicBezTo>
                    <a:pt x="222" y="77"/>
                    <a:pt x="222" y="77"/>
                    <a:pt x="222" y="77"/>
                  </a:cubicBezTo>
                  <a:cubicBezTo>
                    <a:pt x="216" y="73"/>
                    <a:pt x="216" y="73"/>
                    <a:pt x="216" y="73"/>
                  </a:cubicBezTo>
                  <a:cubicBezTo>
                    <a:pt x="217" y="71"/>
                    <a:pt x="217" y="71"/>
                    <a:pt x="217" y="71"/>
                  </a:cubicBezTo>
                  <a:cubicBezTo>
                    <a:pt x="217" y="71"/>
                    <a:pt x="217" y="71"/>
                    <a:pt x="217" y="71"/>
                  </a:cubicBezTo>
                  <a:cubicBezTo>
                    <a:pt x="209" y="69"/>
                    <a:pt x="209" y="69"/>
                    <a:pt x="209" y="69"/>
                  </a:cubicBezTo>
                  <a:cubicBezTo>
                    <a:pt x="208" y="70"/>
                    <a:pt x="208" y="70"/>
                    <a:pt x="208" y="70"/>
                  </a:cubicBezTo>
                  <a:cubicBezTo>
                    <a:pt x="206" y="72"/>
                    <a:pt x="206" y="72"/>
                    <a:pt x="206" y="72"/>
                  </a:cubicBezTo>
                  <a:cubicBezTo>
                    <a:pt x="199" y="72"/>
                    <a:pt x="199" y="72"/>
                    <a:pt x="199" y="72"/>
                  </a:cubicBezTo>
                  <a:cubicBezTo>
                    <a:pt x="198" y="64"/>
                    <a:pt x="198" y="64"/>
                    <a:pt x="198" y="64"/>
                  </a:cubicBezTo>
                  <a:cubicBezTo>
                    <a:pt x="196" y="61"/>
                    <a:pt x="196" y="61"/>
                    <a:pt x="196" y="61"/>
                  </a:cubicBezTo>
                  <a:cubicBezTo>
                    <a:pt x="193" y="60"/>
                    <a:pt x="193" y="60"/>
                    <a:pt x="193" y="60"/>
                  </a:cubicBezTo>
                  <a:cubicBezTo>
                    <a:pt x="184" y="58"/>
                    <a:pt x="184" y="58"/>
                    <a:pt x="184" y="58"/>
                  </a:cubicBezTo>
                  <a:cubicBezTo>
                    <a:pt x="179" y="52"/>
                    <a:pt x="179" y="52"/>
                    <a:pt x="179" y="52"/>
                  </a:cubicBezTo>
                  <a:cubicBezTo>
                    <a:pt x="179" y="50"/>
                    <a:pt x="179" y="50"/>
                    <a:pt x="179" y="50"/>
                  </a:cubicBezTo>
                  <a:cubicBezTo>
                    <a:pt x="179" y="50"/>
                    <a:pt x="177" y="50"/>
                    <a:pt x="177" y="50"/>
                  </a:cubicBezTo>
                  <a:cubicBezTo>
                    <a:pt x="175" y="49"/>
                    <a:pt x="174" y="48"/>
                    <a:pt x="174" y="48"/>
                  </a:cubicBezTo>
                  <a:cubicBezTo>
                    <a:pt x="173" y="46"/>
                    <a:pt x="174" y="45"/>
                    <a:pt x="174" y="44"/>
                  </a:cubicBezTo>
                  <a:cubicBezTo>
                    <a:pt x="174" y="43"/>
                    <a:pt x="174" y="43"/>
                    <a:pt x="174" y="43"/>
                  </a:cubicBezTo>
                  <a:cubicBezTo>
                    <a:pt x="173" y="43"/>
                    <a:pt x="173" y="43"/>
                    <a:pt x="173" y="43"/>
                  </a:cubicBezTo>
                  <a:cubicBezTo>
                    <a:pt x="168" y="40"/>
                    <a:pt x="168" y="40"/>
                    <a:pt x="168" y="40"/>
                  </a:cubicBezTo>
                  <a:cubicBezTo>
                    <a:pt x="162" y="38"/>
                    <a:pt x="162" y="38"/>
                    <a:pt x="162" y="38"/>
                  </a:cubicBezTo>
                  <a:cubicBezTo>
                    <a:pt x="164" y="29"/>
                    <a:pt x="164" y="29"/>
                    <a:pt x="164" y="29"/>
                  </a:cubicBezTo>
                  <a:cubicBezTo>
                    <a:pt x="165" y="24"/>
                    <a:pt x="165" y="24"/>
                    <a:pt x="165" y="24"/>
                  </a:cubicBezTo>
                  <a:cubicBezTo>
                    <a:pt x="163" y="22"/>
                    <a:pt x="163" y="22"/>
                    <a:pt x="163" y="22"/>
                  </a:cubicBezTo>
                  <a:cubicBezTo>
                    <a:pt x="159" y="19"/>
                    <a:pt x="159" y="19"/>
                    <a:pt x="159" y="19"/>
                  </a:cubicBezTo>
                  <a:cubicBezTo>
                    <a:pt x="158" y="15"/>
                    <a:pt x="158" y="15"/>
                    <a:pt x="158" y="15"/>
                  </a:cubicBezTo>
                  <a:cubicBezTo>
                    <a:pt x="158" y="6"/>
                    <a:pt x="158" y="6"/>
                    <a:pt x="158" y="6"/>
                  </a:cubicBezTo>
                  <a:cubicBezTo>
                    <a:pt x="158" y="6"/>
                    <a:pt x="158" y="6"/>
                    <a:pt x="158" y="6"/>
                  </a:cubicBezTo>
                  <a:cubicBezTo>
                    <a:pt x="155" y="8"/>
                    <a:pt x="155" y="8"/>
                    <a:pt x="155" y="8"/>
                  </a:cubicBezTo>
                  <a:cubicBezTo>
                    <a:pt x="154" y="6"/>
                    <a:pt x="154" y="6"/>
                    <a:pt x="154" y="6"/>
                  </a:cubicBezTo>
                  <a:cubicBezTo>
                    <a:pt x="152" y="6"/>
                    <a:pt x="152" y="6"/>
                    <a:pt x="152" y="6"/>
                  </a:cubicBezTo>
                  <a:cubicBezTo>
                    <a:pt x="146" y="2"/>
                    <a:pt x="146" y="2"/>
                    <a:pt x="146" y="2"/>
                  </a:cubicBezTo>
                  <a:cubicBezTo>
                    <a:pt x="141" y="0"/>
                    <a:pt x="141" y="0"/>
                    <a:pt x="141" y="0"/>
                  </a:cubicBezTo>
                  <a:cubicBezTo>
                    <a:pt x="140" y="1"/>
                    <a:pt x="138" y="2"/>
                    <a:pt x="136" y="2"/>
                  </a:cubicBezTo>
                  <a:cubicBezTo>
                    <a:pt x="135" y="2"/>
                    <a:pt x="135" y="3"/>
                    <a:pt x="135" y="3"/>
                  </a:cubicBezTo>
                  <a:cubicBezTo>
                    <a:pt x="134" y="3"/>
                    <a:pt x="133" y="4"/>
                    <a:pt x="132" y="4"/>
                  </a:cubicBezTo>
                  <a:cubicBezTo>
                    <a:pt x="132" y="4"/>
                    <a:pt x="131" y="5"/>
                    <a:pt x="131" y="6"/>
                  </a:cubicBezTo>
                  <a:cubicBezTo>
                    <a:pt x="130" y="9"/>
                    <a:pt x="126" y="11"/>
                    <a:pt x="124" y="11"/>
                  </a:cubicBezTo>
                  <a:cubicBezTo>
                    <a:pt x="124" y="11"/>
                    <a:pt x="124" y="11"/>
                    <a:pt x="124" y="11"/>
                  </a:cubicBezTo>
                  <a:cubicBezTo>
                    <a:pt x="122" y="11"/>
                    <a:pt x="120" y="9"/>
                    <a:pt x="119" y="7"/>
                  </a:cubicBezTo>
                  <a:cubicBezTo>
                    <a:pt x="119" y="7"/>
                    <a:pt x="119" y="7"/>
                    <a:pt x="119" y="7"/>
                  </a:cubicBezTo>
                  <a:cubicBezTo>
                    <a:pt x="119" y="7"/>
                    <a:pt x="119" y="7"/>
                    <a:pt x="119" y="7"/>
                  </a:cubicBezTo>
                  <a:cubicBezTo>
                    <a:pt x="118" y="1"/>
                    <a:pt x="118" y="1"/>
                    <a:pt x="118" y="1"/>
                  </a:cubicBezTo>
                  <a:cubicBezTo>
                    <a:pt x="114" y="1"/>
                    <a:pt x="114" y="1"/>
                    <a:pt x="114" y="1"/>
                  </a:cubicBezTo>
                  <a:cubicBezTo>
                    <a:pt x="110" y="3"/>
                    <a:pt x="110" y="3"/>
                    <a:pt x="110" y="3"/>
                  </a:cubicBezTo>
                  <a:cubicBezTo>
                    <a:pt x="108" y="5"/>
                    <a:pt x="108" y="5"/>
                    <a:pt x="108" y="5"/>
                  </a:cubicBezTo>
                  <a:cubicBezTo>
                    <a:pt x="102" y="4"/>
                    <a:pt x="102" y="4"/>
                    <a:pt x="102" y="4"/>
                  </a:cubicBezTo>
                  <a:cubicBezTo>
                    <a:pt x="100" y="1"/>
                    <a:pt x="100" y="1"/>
                    <a:pt x="100" y="1"/>
                  </a:cubicBezTo>
                  <a:cubicBezTo>
                    <a:pt x="99" y="1"/>
                    <a:pt x="99" y="1"/>
                    <a:pt x="99" y="1"/>
                  </a:cubicBezTo>
                  <a:cubicBezTo>
                    <a:pt x="97" y="2"/>
                    <a:pt x="97" y="2"/>
                    <a:pt x="97" y="2"/>
                  </a:cubicBezTo>
                  <a:cubicBezTo>
                    <a:pt x="96" y="3"/>
                    <a:pt x="95" y="4"/>
                    <a:pt x="94" y="4"/>
                  </a:cubicBezTo>
                  <a:cubicBezTo>
                    <a:pt x="94" y="4"/>
                    <a:pt x="94" y="4"/>
                    <a:pt x="94" y="4"/>
                  </a:cubicBezTo>
                  <a:cubicBezTo>
                    <a:pt x="93" y="4"/>
                    <a:pt x="93" y="4"/>
                    <a:pt x="93" y="4"/>
                  </a:cubicBezTo>
                  <a:cubicBezTo>
                    <a:pt x="93" y="4"/>
                    <a:pt x="92" y="4"/>
                    <a:pt x="92" y="4"/>
                  </a:cubicBezTo>
                  <a:cubicBezTo>
                    <a:pt x="92" y="4"/>
                    <a:pt x="91" y="4"/>
                    <a:pt x="91" y="4"/>
                  </a:cubicBezTo>
                  <a:cubicBezTo>
                    <a:pt x="91" y="4"/>
                    <a:pt x="91" y="4"/>
                    <a:pt x="91" y="4"/>
                  </a:cubicBezTo>
                  <a:cubicBezTo>
                    <a:pt x="90" y="4"/>
                    <a:pt x="89" y="3"/>
                    <a:pt x="87" y="1"/>
                  </a:cubicBezTo>
                  <a:cubicBezTo>
                    <a:pt x="86" y="1"/>
                    <a:pt x="86" y="1"/>
                    <a:pt x="86" y="1"/>
                  </a:cubicBezTo>
                  <a:cubicBezTo>
                    <a:pt x="86" y="0"/>
                    <a:pt x="86" y="0"/>
                    <a:pt x="86" y="0"/>
                  </a:cubicBezTo>
                  <a:cubicBezTo>
                    <a:pt x="84" y="2"/>
                    <a:pt x="84" y="2"/>
                    <a:pt x="84" y="2"/>
                  </a:cubicBezTo>
                  <a:cubicBezTo>
                    <a:pt x="83" y="7"/>
                    <a:pt x="83" y="7"/>
                    <a:pt x="83" y="7"/>
                  </a:cubicBezTo>
                  <a:cubicBezTo>
                    <a:pt x="79" y="11"/>
                    <a:pt x="79" y="11"/>
                    <a:pt x="79" y="11"/>
                  </a:cubicBezTo>
                  <a:cubicBezTo>
                    <a:pt x="80" y="15"/>
                    <a:pt x="80" y="15"/>
                    <a:pt x="80" y="15"/>
                  </a:cubicBezTo>
                  <a:cubicBezTo>
                    <a:pt x="79" y="17"/>
                    <a:pt x="79" y="17"/>
                    <a:pt x="79" y="17"/>
                  </a:cubicBezTo>
                  <a:cubicBezTo>
                    <a:pt x="73" y="17"/>
                    <a:pt x="73" y="17"/>
                    <a:pt x="73" y="17"/>
                  </a:cubicBezTo>
                  <a:cubicBezTo>
                    <a:pt x="73" y="17"/>
                    <a:pt x="72" y="18"/>
                    <a:pt x="69" y="18"/>
                  </a:cubicBezTo>
                  <a:cubicBezTo>
                    <a:pt x="65" y="17"/>
                    <a:pt x="66" y="18"/>
                    <a:pt x="66" y="18"/>
                  </a:cubicBezTo>
                  <a:cubicBezTo>
                    <a:pt x="64" y="20"/>
                    <a:pt x="64" y="20"/>
                    <a:pt x="64" y="20"/>
                  </a:cubicBezTo>
                  <a:cubicBezTo>
                    <a:pt x="63" y="25"/>
                    <a:pt x="63" y="25"/>
                    <a:pt x="63" y="25"/>
                  </a:cubicBezTo>
                  <a:cubicBezTo>
                    <a:pt x="63" y="25"/>
                    <a:pt x="61" y="25"/>
                    <a:pt x="59" y="26"/>
                  </a:cubicBezTo>
                  <a:cubicBezTo>
                    <a:pt x="56" y="27"/>
                    <a:pt x="57" y="28"/>
                    <a:pt x="57" y="28"/>
                  </a:cubicBezTo>
                  <a:cubicBezTo>
                    <a:pt x="58" y="35"/>
                    <a:pt x="58" y="35"/>
                    <a:pt x="58" y="35"/>
                  </a:cubicBezTo>
                  <a:cubicBezTo>
                    <a:pt x="57" y="39"/>
                    <a:pt x="57" y="39"/>
                    <a:pt x="57" y="39"/>
                  </a:cubicBezTo>
                  <a:cubicBezTo>
                    <a:pt x="57" y="42"/>
                    <a:pt x="57" y="42"/>
                    <a:pt x="57" y="42"/>
                  </a:cubicBezTo>
                  <a:cubicBezTo>
                    <a:pt x="59" y="43"/>
                    <a:pt x="59" y="43"/>
                    <a:pt x="59" y="43"/>
                  </a:cubicBezTo>
                  <a:cubicBezTo>
                    <a:pt x="64" y="42"/>
                    <a:pt x="64" y="42"/>
                    <a:pt x="64" y="42"/>
                  </a:cubicBezTo>
                  <a:cubicBezTo>
                    <a:pt x="65" y="46"/>
                    <a:pt x="65" y="46"/>
                    <a:pt x="65" y="46"/>
                  </a:cubicBezTo>
                  <a:cubicBezTo>
                    <a:pt x="63" y="47"/>
                    <a:pt x="63" y="47"/>
                    <a:pt x="63" y="47"/>
                  </a:cubicBezTo>
                  <a:cubicBezTo>
                    <a:pt x="63" y="51"/>
                    <a:pt x="63" y="51"/>
                    <a:pt x="63" y="51"/>
                  </a:cubicBezTo>
                  <a:cubicBezTo>
                    <a:pt x="57" y="50"/>
                    <a:pt x="57" y="50"/>
                    <a:pt x="57" y="50"/>
                  </a:cubicBezTo>
                  <a:cubicBezTo>
                    <a:pt x="54" y="53"/>
                    <a:pt x="54" y="53"/>
                    <a:pt x="54" y="53"/>
                  </a:cubicBezTo>
                  <a:cubicBezTo>
                    <a:pt x="54" y="59"/>
                    <a:pt x="54" y="59"/>
                    <a:pt x="54" y="59"/>
                  </a:cubicBezTo>
                  <a:cubicBezTo>
                    <a:pt x="48" y="61"/>
                    <a:pt x="48" y="61"/>
                    <a:pt x="48" y="61"/>
                  </a:cubicBezTo>
                  <a:cubicBezTo>
                    <a:pt x="47" y="64"/>
                    <a:pt x="47" y="64"/>
                    <a:pt x="47" y="64"/>
                  </a:cubicBezTo>
                  <a:cubicBezTo>
                    <a:pt x="46" y="67"/>
                    <a:pt x="46" y="67"/>
                    <a:pt x="46" y="67"/>
                  </a:cubicBezTo>
                  <a:cubicBezTo>
                    <a:pt x="45" y="70"/>
                    <a:pt x="45" y="70"/>
                    <a:pt x="45" y="70"/>
                  </a:cubicBezTo>
                  <a:cubicBezTo>
                    <a:pt x="47" y="77"/>
                    <a:pt x="47" y="77"/>
                    <a:pt x="47" y="77"/>
                  </a:cubicBezTo>
                  <a:cubicBezTo>
                    <a:pt x="47" y="81"/>
                    <a:pt x="47" y="81"/>
                    <a:pt x="47" y="81"/>
                  </a:cubicBezTo>
                  <a:cubicBezTo>
                    <a:pt x="47" y="81"/>
                    <a:pt x="46" y="85"/>
                    <a:pt x="45" y="87"/>
                  </a:cubicBezTo>
                  <a:cubicBezTo>
                    <a:pt x="44" y="89"/>
                    <a:pt x="47" y="89"/>
                    <a:pt x="47" y="89"/>
                  </a:cubicBezTo>
                  <a:cubicBezTo>
                    <a:pt x="50" y="90"/>
                    <a:pt x="50" y="90"/>
                    <a:pt x="50" y="90"/>
                  </a:cubicBezTo>
                  <a:cubicBezTo>
                    <a:pt x="52" y="91"/>
                    <a:pt x="52" y="91"/>
                    <a:pt x="52" y="91"/>
                  </a:cubicBezTo>
                  <a:cubicBezTo>
                    <a:pt x="51" y="96"/>
                    <a:pt x="51" y="96"/>
                    <a:pt x="51" y="96"/>
                  </a:cubicBezTo>
                  <a:cubicBezTo>
                    <a:pt x="46" y="96"/>
                    <a:pt x="46" y="96"/>
                    <a:pt x="46" y="96"/>
                  </a:cubicBezTo>
                  <a:cubicBezTo>
                    <a:pt x="47" y="93"/>
                    <a:pt x="47" y="93"/>
                    <a:pt x="47" y="93"/>
                  </a:cubicBezTo>
                  <a:cubicBezTo>
                    <a:pt x="45" y="91"/>
                    <a:pt x="45" y="91"/>
                    <a:pt x="45" y="91"/>
                  </a:cubicBezTo>
                  <a:cubicBezTo>
                    <a:pt x="43" y="94"/>
                    <a:pt x="43" y="94"/>
                    <a:pt x="43" y="94"/>
                  </a:cubicBezTo>
                  <a:cubicBezTo>
                    <a:pt x="37" y="96"/>
                    <a:pt x="37" y="96"/>
                    <a:pt x="37" y="96"/>
                  </a:cubicBezTo>
                  <a:cubicBezTo>
                    <a:pt x="37" y="97"/>
                    <a:pt x="37" y="97"/>
                    <a:pt x="37" y="97"/>
                  </a:cubicBezTo>
                  <a:cubicBezTo>
                    <a:pt x="36" y="100"/>
                    <a:pt x="36" y="100"/>
                    <a:pt x="36" y="100"/>
                  </a:cubicBezTo>
                  <a:cubicBezTo>
                    <a:pt x="36" y="100"/>
                    <a:pt x="32" y="100"/>
                    <a:pt x="31" y="100"/>
                  </a:cubicBezTo>
                  <a:cubicBezTo>
                    <a:pt x="30" y="100"/>
                    <a:pt x="29" y="102"/>
                    <a:pt x="29" y="102"/>
                  </a:cubicBezTo>
                  <a:cubicBezTo>
                    <a:pt x="31" y="108"/>
                    <a:pt x="31" y="108"/>
                    <a:pt x="31" y="108"/>
                  </a:cubicBezTo>
                  <a:cubicBezTo>
                    <a:pt x="27" y="108"/>
                    <a:pt x="27" y="108"/>
                    <a:pt x="27" y="108"/>
                  </a:cubicBezTo>
                  <a:cubicBezTo>
                    <a:pt x="24" y="111"/>
                    <a:pt x="24" y="111"/>
                    <a:pt x="24" y="111"/>
                  </a:cubicBezTo>
                  <a:cubicBezTo>
                    <a:pt x="18" y="113"/>
                    <a:pt x="18" y="113"/>
                    <a:pt x="18" y="113"/>
                  </a:cubicBezTo>
                  <a:cubicBezTo>
                    <a:pt x="13" y="112"/>
                    <a:pt x="13" y="112"/>
                    <a:pt x="13" y="112"/>
                  </a:cubicBezTo>
                  <a:cubicBezTo>
                    <a:pt x="5" y="115"/>
                    <a:pt x="5" y="115"/>
                    <a:pt x="5" y="115"/>
                  </a:cubicBezTo>
                  <a:cubicBezTo>
                    <a:pt x="0" y="116"/>
                    <a:pt x="0" y="116"/>
                    <a:pt x="0" y="116"/>
                  </a:cubicBezTo>
                  <a:cubicBezTo>
                    <a:pt x="1" y="118"/>
                    <a:pt x="1" y="118"/>
                    <a:pt x="1" y="118"/>
                  </a:cubicBezTo>
                  <a:cubicBezTo>
                    <a:pt x="1" y="119"/>
                    <a:pt x="3" y="124"/>
                    <a:pt x="6" y="129"/>
                  </a:cubicBezTo>
                  <a:lnTo>
                    <a:pt x="11" y="138"/>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8" name="Freeform 236"/>
            <p:cNvSpPr>
              <a:spLocks/>
            </p:cNvSpPr>
            <p:nvPr/>
          </p:nvSpPr>
          <p:spPr bwMode="auto">
            <a:xfrm>
              <a:off x="5972191" y="1746789"/>
              <a:ext cx="34659" cy="32678"/>
            </a:xfrm>
            <a:custGeom>
              <a:avLst/>
              <a:gdLst>
                <a:gd name="T0" fmla="*/ 9 w 12"/>
                <a:gd name="T1" fmla="*/ 0 h 12"/>
                <a:gd name="T2" fmla="*/ 5 w 12"/>
                <a:gd name="T3" fmla="*/ 2 h 12"/>
                <a:gd name="T4" fmla="*/ 5 w 12"/>
                <a:gd name="T5" fmla="*/ 4 h 12"/>
                <a:gd name="T6" fmla="*/ 2 w 12"/>
                <a:gd name="T7" fmla="*/ 7 h 12"/>
                <a:gd name="T8" fmla="*/ 1 w 12"/>
                <a:gd name="T9" fmla="*/ 10 h 12"/>
                <a:gd name="T10" fmla="*/ 4 w 12"/>
                <a:gd name="T11" fmla="*/ 12 h 12"/>
                <a:gd name="T12" fmla="*/ 7 w 12"/>
                <a:gd name="T13" fmla="*/ 12 h 12"/>
                <a:gd name="T14" fmla="*/ 8 w 12"/>
                <a:gd name="T15" fmla="*/ 8 h 12"/>
                <a:gd name="T16" fmla="*/ 11 w 12"/>
                <a:gd name="T17" fmla="*/ 4 h 12"/>
                <a:gd name="T18" fmla="*/ 11 w 12"/>
                <a:gd name="T19" fmla="*/ 2 h 12"/>
                <a:gd name="T20" fmla="*/ 9 w 12"/>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2">
                  <a:moveTo>
                    <a:pt x="9" y="0"/>
                  </a:moveTo>
                  <a:cubicBezTo>
                    <a:pt x="7" y="0"/>
                    <a:pt x="6" y="1"/>
                    <a:pt x="5" y="2"/>
                  </a:cubicBezTo>
                  <a:cubicBezTo>
                    <a:pt x="4" y="2"/>
                    <a:pt x="5" y="4"/>
                    <a:pt x="5" y="4"/>
                  </a:cubicBezTo>
                  <a:cubicBezTo>
                    <a:pt x="5" y="5"/>
                    <a:pt x="3" y="6"/>
                    <a:pt x="2" y="7"/>
                  </a:cubicBezTo>
                  <a:cubicBezTo>
                    <a:pt x="0" y="8"/>
                    <a:pt x="1" y="10"/>
                    <a:pt x="1" y="10"/>
                  </a:cubicBezTo>
                  <a:cubicBezTo>
                    <a:pt x="4" y="12"/>
                    <a:pt x="4" y="12"/>
                    <a:pt x="4" y="12"/>
                  </a:cubicBezTo>
                  <a:cubicBezTo>
                    <a:pt x="4" y="12"/>
                    <a:pt x="6" y="12"/>
                    <a:pt x="7" y="12"/>
                  </a:cubicBezTo>
                  <a:cubicBezTo>
                    <a:pt x="7" y="12"/>
                    <a:pt x="7" y="10"/>
                    <a:pt x="8" y="8"/>
                  </a:cubicBezTo>
                  <a:cubicBezTo>
                    <a:pt x="8" y="6"/>
                    <a:pt x="10" y="5"/>
                    <a:pt x="11" y="4"/>
                  </a:cubicBezTo>
                  <a:cubicBezTo>
                    <a:pt x="12" y="4"/>
                    <a:pt x="11" y="4"/>
                    <a:pt x="11" y="2"/>
                  </a:cubicBezTo>
                  <a:cubicBezTo>
                    <a:pt x="11" y="1"/>
                    <a:pt x="11" y="0"/>
                    <a:pt x="9" y="0"/>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9" name="Freeform 237"/>
            <p:cNvSpPr>
              <a:spLocks/>
            </p:cNvSpPr>
            <p:nvPr/>
          </p:nvSpPr>
          <p:spPr bwMode="auto">
            <a:xfrm>
              <a:off x="5930310" y="1725003"/>
              <a:ext cx="79429" cy="46294"/>
            </a:xfrm>
            <a:custGeom>
              <a:avLst/>
              <a:gdLst>
                <a:gd name="T0" fmla="*/ 4 w 27"/>
                <a:gd name="T1" fmla="*/ 16 h 17"/>
                <a:gd name="T2" fmla="*/ 7 w 27"/>
                <a:gd name="T3" fmla="*/ 16 h 17"/>
                <a:gd name="T4" fmla="*/ 15 w 27"/>
                <a:gd name="T5" fmla="*/ 13 h 17"/>
                <a:gd name="T6" fmla="*/ 16 w 27"/>
                <a:gd name="T7" fmla="*/ 10 h 17"/>
                <a:gd name="T8" fmla="*/ 21 w 27"/>
                <a:gd name="T9" fmla="*/ 5 h 17"/>
                <a:gd name="T10" fmla="*/ 24 w 27"/>
                <a:gd name="T11" fmla="*/ 2 h 17"/>
                <a:gd name="T12" fmla="*/ 21 w 27"/>
                <a:gd name="T13" fmla="*/ 2 h 17"/>
                <a:gd name="T14" fmla="*/ 19 w 27"/>
                <a:gd name="T15" fmla="*/ 0 h 17"/>
                <a:gd name="T16" fmla="*/ 13 w 27"/>
                <a:gd name="T17" fmla="*/ 1 h 17"/>
                <a:gd name="T18" fmla="*/ 10 w 27"/>
                <a:gd name="T19" fmla="*/ 5 h 17"/>
                <a:gd name="T20" fmla="*/ 2 w 27"/>
                <a:gd name="T21" fmla="*/ 9 h 17"/>
                <a:gd name="T22" fmla="*/ 2 w 27"/>
                <a:gd name="T23" fmla="*/ 12 h 17"/>
                <a:gd name="T24" fmla="*/ 4 w 27"/>
                <a:gd name="T25"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17">
                  <a:moveTo>
                    <a:pt x="4" y="16"/>
                  </a:moveTo>
                  <a:cubicBezTo>
                    <a:pt x="4" y="17"/>
                    <a:pt x="6" y="16"/>
                    <a:pt x="7" y="16"/>
                  </a:cubicBezTo>
                  <a:cubicBezTo>
                    <a:pt x="9" y="16"/>
                    <a:pt x="14" y="13"/>
                    <a:pt x="15" y="13"/>
                  </a:cubicBezTo>
                  <a:cubicBezTo>
                    <a:pt x="16" y="12"/>
                    <a:pt x="15" y="11"/>
                    <a:pt x="16" y="10"/>
                  </a:cubicBezTo>
                  <a:cubicBezTo>
                    <a:pt x="16" y="8"/>
                    <a:pt x="20" y="5"/>
                    <a:pt x="21" y="5"/>
                  </a:cubicBezTo>
                  <a:cubicBezTo>
                    <a:pt x="21" y="4"/>
                    <a:pt x="22" y="4"/>
                    <a:pt x="24" y="2"/>
                  </a:cubicBezTo>
                  <a:cubicBezTo>
                    <a:pt x="27" y="0"/>
                    <a:pt x="23" y="2"/>
                    <a:pt x="21" y="2"/>
                  </a:cubicBezTo>
                  <a:cubicBezTo>
                    <a:pt x="19" y="1"/>
                    <a:pt x="19" y="0"/>
                    <a:pt x="19" y="0"/>
                  </a:cubicBezTo>
                  <a:cubicBezTo>
                    <a:pt x="19" y="0"/>
                    <a:pt x="14" y="0"/>
                    <a:pt x="13" y="1"/>
                  </a:cubicBezTo>
                  <a:cubicBezTo>
                    <a:pt x="12" y="1"/>
                    <a:pt x="10" y="5"/>
                    <a:pt x="10" y="5"/>
                  </a:cubicBezTo>
                  <a:cubicBezTo>
                    <a:pt x="10" y="5"/>
                    <a:pt x="4" y="8"/>
                    <a:pt x="2" y="9"/>
                  </a:cubicBezTo>
                  <a:cubicBezTo>
                    <a:pt x="0" y="10"/>
                    <a:pt x="2" y="12"/>
                    <a:pt x="2" y="12"/>
                  </a:cubicBezTo>
                  <a:cubicBezTo>
                    <a:pt x="2" y="13"/>
                    <a:pt x="3" y="15"/>
                    <a:pt x="4" y="16"/>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0" name="Freeform 238"/>
            <p:cNvSpPr>
              <a:spLocks/>
            </p:cNvSpPr>
            <p:nvPr/>
          </p:nvSpPr>
          <p:spPr bwMode="auto">
            <a:xfrm>
              <a:off x="5091262" y="1643307"/>
              <a:ext cx="1241965" cy="1669320"/>
            </a:xfrm>
            <a:custGeom>
              <a:avLst/>
              <a:gdLst>
                <a:gd name="T0" fmla="*/ 413 w 429"/>
                <a:gd name="T1" fmla="*/ 45 h 611"/>
                <a:gd name="T2" fmla="*/ 410 w 429"/>
                <a:gd name="T3" fmla="*/ 10 h 611"/>
                <a:gd name="T4" fmla="*/ 367 w 429"/>
                <a:gd name="T5" fmla="*/ 4 h 611"/>
                <a:gd name="T6" fmla="*/ 357 w 429"/>
                <a:gd name="T7" fmla="*/ 18 h 611"/>
                <a:gd name="T8" fmla="*/ 336 w 429"/>
                <a:gd name="T9" fmla="*/ 41 h 611"/>
                <a:gd name="T10" fmla="*/ 333 w 429"/>
                <a:gd name="T11" fmla="*/ 15 h 611"/>
                <a:gd name="T12" fmla="*/ 326 w 429"/>
                <a:gd name="T13" fmla="*/ 32 h 611"/>
                <a:gd name="T14" fmla="*/ 303 w 429"/>
                <a:gd name="T15" fmla="*/ 51 h 611"/>
                <a:gd name="T16" fmla="*/ 291 w 429"/>
                <a:gd name="T17" fmla="*/ 61 h 611"/>
                <a:gd name="T18" fmla="*/ 282 w 429"/>
                <a:gd name="T19" fmla="*/ 71 h 611"/>
                <a:gd name="T20" fmla="*/ 264 w 429"/>
                <a:gd name="T21" fmla="*/ 78 h 611"/>
                <a:gd name="T22" fmla="*/ 250 w 429"/>
                <a:gd name="T23" fmla="*/ 83 h 611"/>
                <a:gd name="T24" fmla="*/ 223 w 429"/>
                <a:gd name="T25" fmla="*/ 115 h 611"/>
                <a:gd name="T26" fmla="*/ 221 w 429"/>
                <a:gd name="T27" fmla="*/ 133 h 611"/>
                <a:gd name="T28" fmla="*/ 189 w 429"/>
                <a:gd name="T29" fmla="*/ 146 h 611"/>
                <a:gd name="T30" fmla="*/ 161 w 429"/>
                <a:gd name="T31" fmla="*/ 179 h 611"/>
                <a:gd name="T32" fmla="*/ 206 w 429"/>
                <a:gd name="T33" fmla="*/ 171 h 611"/>
                <a:gd name="T34" fmla="*/ 194 w 429"/>
                <a:gd name="T35" fmla="*/ 180 h 611"/>
                <a:gd name="T36" fmla="*/ 192 w 429"/>
                <a:gd name="T37" fmla="*/ 196 h 611"/>
                <a:gd name="T38" fmla="*/ 177 w 429"/>
                <a:gd name="T39" fmla="*/ 221 h 611"/>
                <a:gd name="T40" fmla="*/ 179 w 429"/>
                <a:gd name="T41" fmla="*/ 253 h 611"/>
                <a:gd name="T42" fmla="*/ 159 w 429"/>
                <a:gd name="T43" fmla="*/ 284 h 611"/>
                <a:gd name="T44" fmla="*/ 138 w 429"/>
                <a:gd name="T45" fmla="*/ 306 h 611"/>
                <a:gd name="T46" fmla="*/ 143 w 429"/>
                <a:gd name="T47" fmla="*/ 322 h 611"/>
                <a:gd name="T48" fmla="*/ 117 w 429"/>
                <a:gd name="T49" fmla="*/ 351 h 611"/>
                <a:gd name="T50" fmla="*/ 126 w 429"/>
                <a:gd name="T51" fmla="*/ 368 h 611"/>
                <a:gd name="T52" fmla="*/ 91 w 429"/>
                <a:gd name="T53" fmla="*/ 365 h 611"/>
                <a:gd name="T54" fmla="*/ 77 w 429"/>
                <a:gd name="T55" fmla="*/ 388 h 611"/>
                <a:gd name="T56" fmla="*/ 59 w 429"/>
                <a:gd name="T57" fmla="*/ 404 h 611"/>
                <a:gd name="T58" fmla="*/ 29 w 429"/>
                <a:gd name="T59" fmla="*/ 419 h 611"/>
                <a:gd name="T60" fmla="*/ 16 w 429"/>
                <a:gd name="T61" fmla="*/ 428 h 611"/>
                <a:gd name="T62" fmla="*/ 12 w 429"/>
                <a:gd name="T63" fmla="*/ 443 h 611"/>
                <a:gd name="T64" fmla="*/ 13 w 429"/>
                <a:gd name="T65" fmla="*/ 469 h 611"/>
                <a:gd name="T66" fmla="*/ 2 w 429"/>
                <a:gd name="T67" fmla="*/ 507 h 611"/>
                <a:gd name="T68" fmla="*/ 6 w 429"/>
                <a:gd name="T69" fmla="*/ 528 h 611"/>
                <a:gd name="T70" fmla="*/ 11 w 429"/>
                <a:gd name="T71" fmla="*/ 555 h 611"/>
                <a:gd name="T72" fmla="*/ 11 w 429"/>
                <a:gd name="T73" fmla="*/ 574 h 611"/>
                <a:gd name="T74" fmla="*/ 32 w 429"/>
                <a:gd name="T75" fmla="*/ 606 h 611"/>
                <a:gd name="T76" fmla="*/ 77 w 429"/>
                <a:gd name="T77" fmla="*/ 601 h 611"/>
                <a:gd name="T78" fmla="*/ 128 w 429"/>
                <a:gd name="T79" fmla="*/ 557 h 611"/>
                <a:gd name="T80" fmla="*/ 148 w 429"/>
                <a:gd name="T81" fmla="*/ 570 h 611"/>
                <a:gd name="T82" fmla="*/ 151 w 429"/>
                <a:gd name="T83" fmla="*/ 532 h 611"/>
                <a:gd name="T84" fmla="*/ 165 w 429"/>
                <a:gd name="T85" fmla="*/ 515 h 611"/>
                <a:gd name="T86" fmla="*/ 167 w 429"/>
                <a:gd name="T87" fmla="*/ 473 h 611"/>
                <a:gd name="T88" fmla="*/ 151 w 429"/>
                <a:gd name="T89" fmla="*/ 405 h 611"/>
                <a:gd name="T90" fmla="*/ 154 w 429"/>
                <a:gd name="T91" fmla="*/ 359 h 611"/>
                <a:gd name="T92" fmla="*/ 191 w 429"/>
                <a:gd name="T93" fmla="*/ 291 h 611"/>
                <a:gd name="T94" fmla="*/ 205 w 429"/>
                <a:gd name="T95" fmla="*/ 235 h 611"/>
                <a:gd name="T96" fmla="*/ 220 w 429"/>
                <a:gd name="T97" fmla="*/ 183 h 611"/>
                <a:gd name="T98" fmla="*/ 243 w 429"/>
                <a:gd name="T99" fmla="*/ 138 h 611"/>
                <a:gd name="T100" fmla="*/ 271 w 429"/>
                <a:gd name="T101" fmla="*/ 136 h 611"/>
                <a:gd name="T102" fmla="*/ 283 w 429"/>
                <a:gd name="T103" fmla="*/ 109 h 611"/>
                <a:gd name="T104" fmla="*/ 325 w 429"/>
                <a:gd name="T105" fmla="*/ 122 h 611"/>
                <a:gd name="T106" fmla="*/ 349 w 429"/>
                <a:gd name="T107" fmla="*/ 112 h 611"/>
                <a:gd name="T108" fmla="*/ 357 w 429"/>
                <a:gd name="T109" fmla="*/ 64 h 611"/>
                <a:gd name="T110" fmla="*/ 386 w 429"/>
                <a:gd name="T111" fmla="*/ 49 h 611"/>
                <a:gd name="T112" fmla="*/ 408 w 429"/>
                <a:gd name="T113" fmla="*/ 69 h 611"/>
                <a:gd name="T114" fmla="*/ 420 w 429"/>
                <a:gd name="T115" fmla="*/ 63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29" h="611">
                  <a:moveTo>
                    <a:pt x="429" y="54"/>
                  </a:moveTo>
                  <a:cubicBezTo>
                    <a:pt x="429" y="53"/>
                    <a:pt x="428" y="52"/>
                    <a:pt x="428" y="51"/>
                  </a:cubicBezTo>
                  <a:cubicBezTo>
                    <a:pt x="428" y="50"/>
                    <a:pt x="427" y="49"/>
                    <a:pt x="427" y="48"/>
                  </a:cubicBezTo>
                  <a:cubicBezTo>
                    <a:pt x="426" y="47"/>
                    <a:pt x="426" y="47"/>
                    <a:pt x="426" y="47"/>
                  </a:cubicBezTo>
                  <a:cubicBezTo>
                    <a:pt x="427" y="46"/>
                    <a:pt x="427" y="46"/>
                    <a:pt x="427" y="46"/>
                  </a:cubicBezTo>
                  <a:cubicBezTo>
                    <a:pt x="427" y="46"/>
                    <a:pt x="427" y="45"/>
                    <a:pt x="428" y="45"/>
                  </a:cubicBezTo>
                  <a:cubicBezTo>
                    <a:pt x="427" y="44"/>
                    <a:pt x="427" y="44"/>
                    <a:pt x="426" y="44"/>
                  </a:cubicBezTo>
                  <a:cubicBezTo>
                    <a:pt x="424" y="45"/>
                    <a:pt x="420" y="50"/>
                    <a:pt x="420" y="50"/>
                  </a:cubicBezTo>
                  <a:cubicBezTo>
                    <a:pt x="419" y="42"/>
                    <a:pt x="419" y="42"/>
                    <a:pt x="419" y="42"/>
                  </a:cubicBezTo>
                  <a:cubicBezTo>
                    <a:pt x="413" y="45"/>
                    <a:pt x="413" y="45"/>
                    <a:pt x="413" y="45"/>
                  </a:cubicBezTo>
                  <a:cubicBezTo>
                    <a:pt x="406" y="43"/>
                    <a:pt x="406" y="43"/>
                    <a:pt x="406" y="43"/>
                  </a:cubicBezTo>
                  <a:cubicBezTo>
                    <a:pt x="406" y="43"/>
                    <a:pt x="404" y="40"/>
                    <a:pt x="402" y="41"/>
                  </a:cubicBezTo>
                  <a:cubicBezTo>
                    <a:pt x="399" y="41"/>
                    <a:pt x="395" y="41"/>
                    <a:pt x="395" y="41"/>
                  </a:cubicBezTo>
                  <a:cubicBezTo>
                    <a:pt x="395" y="41"/>
                    <a:pt x="391" y="38"/>
                    <a:pt x="394" y="38"/>
                  </a:cubicBezTo>
                  <a:cubicBezTo>
                    <a:pt x="396" y="38"/>
                    <a:pt x="401" y="38"/>
                    <a:pt x="403" y="38"/>
                  </a:cubicBezTo>
                  <a:cubicBezTo>
                    <a:pt x="405" y="38"/>
                    <a:pt x="417" y="34"/>
                    <a:pt x="417" y="34"/>
                  </a:cubicBezTo>
                  <a:cubicBezTo>
                    <a:pt x="418" y="29"/>
                    <a:pt x="418" y="29"/>
                    <a:pt x="418" y="29"/>
                  </a:cubicBezTo>
                  <a:cubicBezTo>
                    <a:pt x="424" y="24"/>
                    <a:pt x="424" y="24"/>
                    <a:pt x="424" y="24"/>
                  </a:cubicBezTo>
                  <a:cubicBezTo>
                    <a:pt x="414" y="17"/>
                    <a:pt x="414" y="17"/>
                    <a:pt x="414" y="17"/>
                  </a:cubicBezTo>
                  <a:cubicBezTo>
                    <a:pt x="410" y="10"/>
                    <a:pt x="410" y="10"/>
                    <a:pt x="410" y="10"/>
                  </a:cubicBezTo>
                  <a:cubicBezTo>
                    <a:pt x="410" y="10"/>
                    <a:pt x="410" y="8"/>
                    <a:pt x="407" y="8"/>
                  </a:cubicBezTo>
                  <a:cubicBezTo>
                    <a:pt x="405" y="8"/>
                    <a:pt x="399" y="11"/>
                    <a:pt x="399" y="11"/>
                  </a:cubicBezTo>
                  <a:cubicBezTo>
                    <a:pt x="394" y="8"/>
                    <a:pt x="394" y="8"/>
                    <a:pt x="394" y="8"/>
                  </a:cubicBezTo>
                  <a:cubicBezTo>
                    <a:pt x="387" y="9"/>
                    <a:pt x="387" y="9"/>
                    <a:pt x="387" y="9"/>
                  </a:cubicBezTo>
                  <a:cubicBezTo>
                    <a:pt x="377" y="6"/>
                    <a:pt x="377" y="6"/>
                    <a:pt x="377" y="6"/>
                  </a:cubicBezTo>
                  <a:cubicBezTo>
                    <a:pt x="376" y="8"/>
                    <a:pt x="376" y="8"/>
                    <a:pt x="376" y="8"/>
                  </a:cubicBezTo>
                  <a:cubicBezTo>
                    <a:pt x="376" y="8"/>
                    <a:pt x="373" y="7"/>
                    <a:pt x="373" y="5"/>
                  </a:cubicBezTo>
                  <a:cubicBezTo>
                    <a:pt x="373" y="4"/>
                    <a:pt x="373" y="2"/>
                    <a:pt x="373" y="2"/>
                  </a:cubicBezTo>
                  <a:cubicBezTo>
                    <a:pt x="369" y="3"/>
                    <a:pt x="369" y="3"/>
                    <a:pt x="369" y="3"/>
                  </a:cubicBezTo>
                  <a:cubicBezTo>
                    <a:pt x="367" y="4"/>
                    <a:pt x="367" y="4"/>
                    <a:pt x="367" y="4"/>
                  </a:cubicBezTo>
                  <a:cubicBezTo>
                    <a:pt x="362" y="0"/>
                    <a:pt x="362" y="0"/>
                    <a:pt x="362" y="0"/>
                  </a:cubicBezTo>
                  <a:cubicBezTo>
                    <a:pt x="360" y="6"/>
                    <a:pt x="360" y="6"/>
                    <a:pt x="360" y="6"/>
                  </a:cubicBezTo>
                  <a:cubicBezTo>
                    <a:pt x="363" y="11"/>
                    <a:pt x="363" y="11"/>
                    <a:pt x="363" y="11"/>
                  </a:cubicBezTo>
                  <a:cubicBezTo>
                    <a:pt x="360" y="17"/>
                    <a:pt x="360" y="17"/>
                    <a:pt x="360" y="17"/>
                  </a:cubicBezTo>
                  <a:cubicBezTo>
                    <a:pt x="362" y="22"/>
                    <a:pt x="362" y="22"/>
                    <a:pt x="362" y="22"/>
                  </a:cubicBezTo>
                  <a:cubicBezTo>
                    <a:pt x="362" y="28"/>
                    <a:pt x="362" y="28"/>
                    <a:pt x="362" y="28"/>
                  </a:cubicBezTo>
                  <a:cubicBezTo>
                    <a:pt x="359" y="34"/>
                    <a:pt x="359" y="34"/>
                    <a:pt x="359" y="34"/>
                  </a:cubicBezTo>
                  <a:cubicBezTo>
                    <a:pt x="354" y="30"/>
                    <a:pt x="354" y="30"/>
                    <a:pt x="354" y="30"/>
                  </a:cubicBezTo>
                  <a:cubicBezTo>
                    <a:pt x="355" y="24"/>
                    <a:pt x="355" y="24"/>
                    <a:pt x="355" y="24"/>
                  </a:cubicBezTo>
                  <a:cubicBezTo>
                    <a:pt x="357" y="18"/>
                    <a:pt x="357" y="18"/>
                    <a:pt x="357" y="18"/>
                  </a:cubicBezTo>
                  <a:cubicBezTo>
                    <a:pt x="354" y="11"/>
                    <a:pt x="354" y="11"/>
                    <a:pt x="354" y="11"/>
                  </a:cubicBezTo>
                  <a:cubicBezTo>
                    <a:pt x="347" y="17"/>
                    <a:pt x="347" y="17"/>
                    <a:pt x="347" y="17"/>
                  </a:cubicBezTo>
                  <a:cubicBezTo>
                    <a:pt x="348" y="25"/>
                    <a:pt x="348" y="25"/>
                    <a:pt x="348" y="25"/>
                  </a:cubicBezTo>
                  <a:cubicBezTo>
                    <a:pt x="345" y="30"/>
                    <a:pt x="345" y="30"/>
                    <a:pt x="345" y="30"/>
                  </a:cubicBezTo>
                  <a:cubicBezTo>
                    <a:pt x="345" y="37"/>
                    <a:pt x="345" y="37"/>
                    <a:pt x="345" y="37"/>
                  </a:cubicBezTo>
                  <a:cubicBezTo>
                    <a:pt x="343" y="43"/>
                    <a:pt x="343" y="43"/>
                    <a:pt x="343" y="43"/>
                  </a:cubicBezTo>
                  <a:cubicBezTo>
                    <a:pt x="342" y="51"/>
                    <a:pt x="342" y="51"/>
                    <a:pt x="342" y="51"/>
                  </a:cubicBezTo>
                  <a:cubicBezTo>
                    <a:pt x="342" y="51"/>
                    <a:pt x="342" y="52"/>
                    <a:pt x="340" y="52"/>
                  </a:cubicBezTo>
                  <a:cubicBezTo>
                    <a:pt x="339" y="53"/>
                    <a:pt x="336" y="52"/>
                    <a:pt x="336" y="52"/>
                  </a:cubicBezTo>
                  <a:cubicBezTo>
                    <a:pt x="336" y="41"/>
                    <a:pt x="336" y="41"/>
                    <a:pt x="336" y="41"/>
                  </a:cubicBezTo>
                  <a:cubicBezTo>
                    <a:pt x="337" y="35"/>
                    <a:pt x="337" y="35"/>
                    <a:pt x="337" y="35"/>
                  </a:cubicBezTo>
                  <a:cubicBezTo>
                    <a:pt x="339" y="30"/>
                    <a:pt x="339" y="30"/>
                    <a:pt x="339" y="30"/>
                  </a:cubicBezTo>
                  <a:cubicBezTo>
                    <a:pt x="343" y="24"/>
                    <a:pt x="343" y="24"/>
                    <a:pt x="343" y="24"/>
                  </a:cubicBezTo>
                  <a:cubicBezTo>
                    <a:pt x="343" y="24"/>
                    <a:pt x="343" y="20"/>
                    <a:pt x="342" y="20"/>
                  </a:cubicBezTo>
                  <a:cubicBezTo>
                    <a:pt x="342" y="19"/>
                    <a:pt x="341" y="18"/>
                    <a:pt x="341" y="18"/>
                  </a:cubicBezTo>
                  <a:cubicBezTo>
                    <a:pt x="341" y="18"/>
                    <a:pt x="345" y="15"/>
                    <a:pt x="345" y="15"/>
                  </a:cubicBezTo>
                  <a:cubicBezTo>
                    <a:pt x="345" y="15"/>
                    <a:pt x="344" y="12"/>
                    <a:pt x="342" y="11"/>
                  </a:cubicBezTo>
                  <a:cubicBezTo>
                    <a:pt x="340" y="9"/>
                    <a:pt x="339" y="8"/>
                    <a:pt x="338" y="9"/>
                  </a:cubicBezTo>
                  <a:cubicBezTo>
                    <a:pt x="336" y="10"/>
                    <a:pt x="332" y="11"/>
                    <a:pt x="332" y="12"/>
                  </a:cubicBezTo>
                  <a:cubicBezTo>
                    <a:pt x="332" y="12"/>
                    <a:pt x="332" y="14"/>
                    <a:pt x="333" y="15"/>
                  </a:cubicBezTo>
                  <a:cubicBezTo>
                    <a:pt x="334" y="16"/>
                    <a:pt x="335" y="16"/>
                    <a:pt x="335" y="16"/>
                  </a:cubicBezTo>
                  <a:cubicBezTo>
                    <a:pt x="335" y="17"/>
                    <a:pt x="336" y="19"/>
                    <a:pt x="335" y="20"/>
                  </a:cubicBezTo>
                  <a:cubicBezTo>
                    <a:pt x="335" y="21"/>
                    <a:pt x="335" y="23"/>
                    <a:pt x="333" y="22"/>
                  </a:cubicBezTo>
                  <a:cubicBezTo>
                    <a:pt x="331" y="21"/>
                    <a:pt x="327" y="19"/>
                    <a:pt x="326" y="19"/>
                  </a:cubicBezTo>
                  <a:cubicBezTo>
                    <a:pt x="326" y="18"/>
                    <a:pt x="326" y="15"/>
                    <a:pt x="325" y="18"/>
                  </a:cubicBezTo>
                  <a:cubicBezTo>
                    <a:pt x="323" y="21"/>
                    <a:pt x="323" y="22"/>
                    <a:pt x="323" y="23"/>
                  </a:cubicBezTo>
                  <a:cubicBezTo>
                    <a:pt x="324" y="25"/>
                    <a:pt x="325" y="25"/>
                    <a:pt x="325" y="25"/>
                  </a:cubicBezTo>
                  <a:cubicBezTo>
                    <a:pt x="325" y="26"/>
                    <a:pt x="322" y="27"/>
                    <a:pt x="322" y="27"/>
                  </a:cubicBezTo>
                  <a:cubicBezTo>
                    <a:pt x="322" y="28"/>
                    <a:pt x="321" y="29"/>
                    <a:pt x="323" y="30"/>
                  </a:cubicBezTo>
                  <a:cubicBezTo>
                    <a:pt x="324" y="31"/>
                    <a:pt x="326" y="32"/>
                    <a:pt x="326" y="32"/>
                  </a:cubicBezTo>
                  <a:cubicBezTo>
                    <a:pt x="326" y="32"/>
                    <a:pt x="327" y="35"/>
                    <a:pt x="327" y="35"/>
                  </a:cubicBezTo>
                  <a:cubicBezTo>
                    <a:pt x="327" y="35"/>
                    <a:pt x="322" y="34"/>
                    <a:pt x="322" y="35"/>
                  </a:cubicBezTo>
                  <a:cubicBezTo>
                    <a:pt x="322" y="36"/>
                    <a:pt x="322" y="38"/>
                    <a:pt x="322" y="39"/>
                  </a:cubicBezTo>
                  <a:cubicBezTo>
                    <a:pt x="322" y="39"/>
                    <a:pt x="322" y="41"/>
                    <a:pt x="322" y="41"/>
                  </a:cubicBezTo>
                  <a:cubicBezTo>
                    <a:pt x="322" y="42"/>
                    <a:pt x="318" y="42"/>
                    <a:pt x="317" y="43"/>
                  </a:cubicBezTo>
                  <a:cubicBezTo>
                    <a:pt x="316" y="43"/>
                    <a:pt x="316" y="46"/>
                    <a:pt x="315" y="48"/>
                  </a:cubicBezTo>
                  <a:cubicBezTo>
                    <a:pt x="315" y="49"/>
                    <a:pt x="315" y="50"/>
                    <a:pt x="314" y="51"/>
                  </a:cubicBezTo>
                  <a:cubicBezTo>
                    <a:pt x="314" y="52"/>
                    <a:pt x="313" y="54"/>
                    <a:pt x="313" y="54"/>
                  </a:cubicBezTo>
                  <a:cubicBezTo>
                    <a:pt x="313" y="54"/>
                    <a:pt x="313" y="54"/>
                    <a:pt x="311" y="54"/>
                  </a:cubicBezTo>
                  <a:cubicBezTo>
                    <a:pt x="310" y="54"/>
                    <a:pt x="305" y="50"/>
                    <a:pt x="303" y="51"/>
                  </a:cubicBezTo>
                  <a:cubicBezTo>
                    <a:pt x="302" y="51"/>
                    <a:pt x="300" y="52"/>
                    <a:pt x="300" y="53"/>
                  </a:cubicBezTo>
                  <a:cubicBezTo>
                    <a:pt x="300" y="54"/>
                    <a:pt x="303" y="56"/>
                    <a:pt x="303" y="56"/>
                  </a:cubicBezTo>
                  <a:cubicBezTo>
                    <a:pt x="304" y="56"/>
                    <a:pt x="308" y="57"/>
                    <a:pt x="308" y="58"/>
                  </a:cubicBezTo>
                  <a:cubicBezTo>
                    <a:pt x="308" y="59"/>
                    <a:pt x="308" y="64"/>
                    <a:pt x="308" y="64"/>
                  </a:cubicBezTo>
                  <a:cubicBezTo>
                    <a:pt x="308" y="64"/>
                    <a:pt x="312" y="71"/>
                    <a:pt x="306" y="65"/>
                  </a:cubicBezTo>
                  <a:cubicBezTo>
                    <a:pt x="300" y="59"/>
                    <a:pt x="300" y="58"/>
                    <a:pt x="299" y="58"/>
                  </a:cubicBezTo>
                  <a:cubicBezTo>
                    <a:pt x="298" y="58"/>
                    <a:pt x="292" y="56"/>
                    <a:pt x="292" y="56"/>
                  </a:cubicBezTo>
                  <a:cubicBezTo>
                    <a:pt x="292" y="56"/>
                    <a:pt x="291" y="54"/>
                    <a:pt x="291" y="56"/>
                  </a:cubicBezTo>
                  <a:cubicBezTo>
                    <a:pt x="290" y="58"/>
                    <a:pt x="292" y="61"/>
                    <a:pt x="292" y="61"/>
                  </a:cubicBezTo>
                  <a:cubicBezTo>
                    <a:pt x="291" y="61"/>
                    <a:pt x="291" y="61"/>
                    <a:pt x="291" y="61"/>
                  </a:cubicBezTo>
                  <a:cubicBezTo>
                    <a:pt x="291" y="61"/>
                    <a:pt x="289" y="59"/>
                    <a:pt x="288" y="58"/>
                  </a:cubicBezTo>
                  <a:cubicBezTo>
                    <a:pt x="287" y="57"/>
                    <a:pt x="284" y="58"/>
                    <a:pt x="284" y="58"/>
                  </a:cubicBezTo>
                  <a:cubicBezTo>
                    <a:pt x="284" y="58"/>
                    <a:pt x="283" y="60"/>
                    <a:pt x="282" y="61"/>
                  </a:cubicBezTo>
                  <a:cubicBezTo>
                    <a:pt x="281" y="62"/>
                    <a:pt x="278" y="59"/>
                    <a:pt x="281" y="62"/>
                  </a:cubicBezTo>
                  <a:cubicBezTo>
                    <a:pt x="283" y="66"/>
                    <a:pt x="285" y="66"/>
                    <a:pt x="286" y="67"/>
                  </a:cubicBezTo>
                  <a:cubicBezTo>
                    <a:pt x="287" y="68"/>
                    <a:pt x="290" y="68"/>
                    <a:pt x="291" y="69"/>
                  </a:cubicBezTo>
                  <a:cubicBezTo>
                    <a:pt x="291" y="70"/>
                    <a:pt x="292" y="73"/>
                    <a:pt x="292" y="73"/>
                  </a:cubicBezTo>
                  <a:cubicBezTo>
                    <a:pt x="292" y="73"/>
                    <a:pt x="294" y="76"/>
                    <a:pt x="290" y="73"/>
                  </a:cubicBezTo>
                  <a:cubicBezTo>
                    <a:pt x="286" y="71"/>
                    <a:pt x="285" y="70"/>
                    <a:pt x="284" y="70"/>
                  </a:cubicBezTo>
                  <a:cubicBezTo>
                    <a:pt x="283" y="70"/>
                    <a:pt x="282" y="71"/>
                    <a:pt x="282" y="71"/>
                  </a:cubicBezTo>
                  <a:cubicBezTo>
                    <a:pt x="282" y="71"/>
                    <a:pt x="277" y="70"/>
                    <a:pt x="277" y="68"/>
                  </a:cubicBezTo>
                  <a:cubicBezTo>
                    <a:pt x="276" y="66"/>
                    <a:pt x="278" y="62"/>
                    <a:pt x="274" y="62"/>
                  </a:cubicBezTo>
                  <a:cubicBezTo>
                    <a:pt x="271" y="63"/>
                    <a:pt x="269" y="64"/>
                    <a:pt x="269" y="65"/>
                  </a:cubicBezTo>
                  <a:cubicBezTo>
                    <a:pt x="269" y="66"/>
                    <a:pt x="267" y="66"/>
                    <a:pt x="270" y="69"/>
                  </a:cubicBezTo>
                  <a:cubicBezTo>
                    <a:pt x="272" y="72"/>
                    <a:pt x="274" y="73"/>
                    <a:pt x="274" y="73"/>
                  </a:cubicBezTo>
                  <a:cubicBezTo>
                    <a:pt x="275" y="73"/>
                    <a:pt x="279" y="73"/>
                    <a:pt x="277" y="74"/>
                  </a:cubicBezTo>
                  <a:cubicBezTo>
                    <a:pt x="275" y="76"/>
                    <a:pt x="272" y="76"/>
                    <a:pt x="271" y="76"/>
                  </a:cubicBezTo>
                  <a:cubicBezTo>
                    <a:pt x="271" y="76"/>
                    <a:pt x="272" y="75"/>
                    <a:pt x="270" y="75"/>
                  </a:cubicBezTo>
                  <a:cubicBezTo>
                    <a:pt x="269" y="76"/>
                    <a:pt x="265" y="80"/>
                    <a:pt x="265" y="80"/>
                  </a:cubicBezTo>
                  <a:cubicBezTo>
                    <a:pt x="265" y="80"/>
                    <a:pt x="264" y="79"/>
                    <a:pt x="264" y="78"/>
                  </a:cubicBezTo>
                  <a:cubicBezTo>
                    <a:pt x="264" y="77"/>
                    <a:pt x="267" y="76"/>
                    <a:pt x="267" y="74"/>
                  </a:cubicBezTo>
                  <a:cubicBezTo>
                    <a:pt x="268" y="72"/>
                    <a:pt x="265" y="67"/>
                    <a:pt x="265" y="67"/>
                  </a:cubicBezTo>
                  <a:cubicBezTo>
                    <a:pt x="265" y="67"/>
                    <a:pt x="263" y="65"/>
                    <a:pt x="262" y="65"/>
                  </a:cubicBezTo>
                  <a:cubicBezTo>
                    <a:pt x="261" y="64"/>
                    <a:pt x="259" y="63"/>
                    <a:pt x="258" y="63"/>
                  </a:cubicBezTo>
                  <a:cubicBezTo>
                    <a:pt x="257" y="64"/>
                    <a:pt x="256" y="67"/>
                    <a:pt x="258" y="68"/>
                  </a:cubicBezTo>
                  <a:cubicBezTo>
                    <a:pt x="259" y="70"/>
                    <a:pt x="261" y="72"/>
                    <a:pt x="260" y="73"/>
                  </a:cubicBezTo>
                  <a:cubicBezTo>
                    <a:pt x="259" y="73"/>
                    <a:pt x="258" y="74"/>
                    <a:pt x="257" y="73"/>
                  </a:cubicBezTo>
                  <a:cubicBezTo>
                    <a:pt x="256" y="73"/>
                    <a:pt x="254" y="71"/>
                    <a:pt x="252" y="72"/>
                  </a:cubicBezTo>
                  <a:cubicBezTo>
                    <a:pt x="250" y="73"/>
                    <a:pt x="247" y="78"/>
                    <a:pt x="247" y="78"/>
                  </a:cubicBezTo>
                  <a:cubicBezTo>
                    <a:pt x="247" y="78"/>
                    <a:pt x="250" y="83"/>
                    <a:pt x="250" y="83"/>
                  </a:cubicBezTo>
                  <a:cubicBezTo>
                    <a:pt x="251" y="84"/>
                    <a:pt x="252" y="85"/>
                    <a:pt x="252" y="87"/>
                  </a:cubicBezTo>
                  <a:cubicBezTo>
                    <a:pt x="251" y="88"/>
                    <a:pt x="252" y="86"/>
                    <a:pt x="250" y="87"/>
                  </a:cubicBezTo>
                  <a:cubicBezTo>
                    <a:pt x="248" y="88"/>
                    <a:pt x="247" y="88"/>
                    <a:pt x="246" y="89"/>
                  </a:cubicBezTo>
                  <a:cubicBezTo>
                    <a:pt x="244" y="89"/>
                    <a:pt x="240" y="93"/>
                    <a:pt x="240" y="93"/>
                  </a:cubicBezTo>
                  <a:cubicBezTo>
                    <a:pt x="242" y="96"/>
                    <a:pt x="242" y="96"/>
                    <a:pt x="242" y="96"/>
                  </a:cubicBezTo>
                  <a:cubicBezTo>
                    <a:pt x="242" y="96"/>
                    <a:pt x="236" y="99"/>
                    <a:pt x="235" y="99"/>
                  </a:cubicBezTo>
                  <a:cubicBezTo>
                    <a:pt x="233" y="100"/>
                    <a:pt x="237" y="99"/>
                    <a:pt x="233" y="100"/>
                  </a:cubicBezTo>
                  <a:cubicBezTo>
                    <a:pt x="229" y="101"/>
                    <a:pt x="227" y="105"/>
                    <a:pt x="227" y="106"/>
                  </a:cubicBezTo>
                  <a:cubicBezTo>
                    <a:pt x="226" y="107"/>
                    <a:pt x="223" y="107"/>
                    <a:pt x="223" y="109"/>
                  </a:cubicBezTo>
                  <a:cubicBezTo>
                    <a:pt x="223" y="111"/>
                    <a:pt x="224" y="114"/>
                    <a:pt x="223" y="115"/>
                  </a:cubicBezTo>
                  <a:cubicBezTo>
                    <a:pt x="223" y="116"/>
                    <a:pt x="223" y="116"/>
                    <a:pt x="223" y="117"/>
                  </a:cubicBezTo>
                  <a:cubicBezTo>
                    <a:pt x="223" y="119"/>
                    <a:pt x="222" y="120"/>
                    <a:pt x="225" y="120"/>
                  </a:cubicBezTo>
                  <a:cubicBezTo>
                    <a:pt x="227" y="120"/>
                    <a:pt x="230" y="119"/>
                    <a:pt x="231" y="118"/>
                  </a:cubicBezTo>
                  <a:cubicBezTo>
                    <a:pt x="231" y="117"/>
                    <a:pt x="232" y="114"/>
                    <a:pt x="233" y="115"/>
                  </a:cubicBezTo>
                  <a:cubicBezTo>
                    <a:pt x="234" y="117"/>
                    <a:pt x="234" y="120"/>
                    <a:pt x="234" y="120"/>
                  </a:cubicBezTo>
                  <a:cubicBezTo>
                    <a:pt x="234" y="120"/>
                    <a:pt x="234" y="123"/>
                    <a:pt x="234" y="124"/>
                  </a:cubicBezTo>
                  <a:cubicBezTo>
                    <a:pt x="234" y="125"/>
                    <a:pt x="239" y="123"/>
                    <a:pt x="233" y="126"/>
                  </a:cubicBezTo>
                  <a:cubicBezTo>
                    <a:pt x="228" y="129"/>
                    <a:pt x="226" y="129"/>
                    <a:pt x="226" y="130"/>
                  </a:cubicBezTo>
                  <a:cubicBezTo>
                    <a:pt x="226" y="131"/>
                    <a:pt x="229" y="136"/>
                    <a:pt x="225" y="134"/>
                  </a:cubicBezTo>
                  <a:cubicBezTo>
                    <a:pt x="221" y="133"/>
                    <a:pt x="222" y="134"/>
                    <a:pt x="221" y="133"/>
                  </a:cubicBezTo>
                  <a:cubicBezTo>
                    <a:pt x="220" y="132"/>
                    <a:pt x="222" y="138"/>
                    <a:pt x="217" y="130"/>
                  </a:cubicBezTo>
                  <a:cubicBezTo>
                    <a:pt x="213" y="123"/>
                    <a:pt x="213" y="124"/>
                    <a:pt x="212" y="122"/>
                  </a:cubicBezTo>
                  <a:cubicBezTo>
                    <a:pt x="212" y="121"/>
                    <a:pt x="212" y="115"/>
                    <a:pt x="212" y="115"/>
                  </a:cubicBezTo>
                  <a:cubicBezTo>
                    <a:pt x="212" y="115"/>
                    <a:pt x="211" y="109"/>
                    <a:pt x="208" y="112"/>
                  </a:cubicBezTo>
                  <a:cubicBezTo>
                    <a:pt x="206" y="114"/>
                    <a:pt x="205" y="118"/>
                    <a:pt x="205" y="118"/>
                  </a:cubicBezTo>
                  <a:cubicBezTo>
                    <a:pt x="205" y="118"/>
                    <a:pt x="201" y="122"/>
                    <a:pt x="201" y="123"/>
                  </a:cubicBezTo>
                  <a:cubicBezTo>
                    <a:pt x="200" y="123"/>
                    <a:pt x="198" y="123"/>
                    <a:pt x="196" y="125"/>
                  </a:cubicBezTo>
                  <a:cubicBezTo>
                    <a:pt x="194" y="127"/>
                    <a:pt x="189" y="135"/>
                    <a:pt x="189" y="135"/>
                  </a:cubicBezTo>
                  <a:cubicBezTo>
                    <a:pt x="189" y="135"/>
                    <a:pt x="185" y="141"/>
                    <a:pt x="186" y="142"/>
                  </a:cubicBezTo>
                  <a:cubicBezTo>
                    <a:pt x="187" y="144"/>
                    <a:pt x="189" y="146"/>
                    <a:pt x="189" y="146"/>
                  </a:cubicBezTo>
                  <a:cubicBezTo>
                    <a:pt x="189" y="146"/>
                    <a:pt x="190" y="145"/>
                    <a:pt x="190" y="148"/>
                  </a:cubicBezTo>
                  <a:cubicBezTo>
                    <a:pt x="190" y="150"/>
                    <a:pt x="194" y="151"/>
                    <a:pt x="194" y="151"/>
                  </a:cubicBezTo>
                  <a:cubicBezTo>
                    <a:pt x="194" y="151"/>
                    <a:pt x="196" y="152"/>
                    <a:pt x="194" y="153"/>
                  </a:cubicBezTo>
                  <a:cubicBezTo>
                    <a:pt x="192" y="155"/>
                    <a:pt x="185" y="156"/>
                    <a:pt x="185" y="156"/>
                  </a:cubicBezTo>
                  <a:cubicBezTo>
                    <a:pt x="179" y="156"/>
                    <a:pt x="179" y="156"/>
                    <a:pt x="179" y="156"/>
                  </a:cubicBezTo>
                  <a:cubicBezTo>
                    <a:pt x="179" y="156"/>
                    <a:pt x="176" y="160"/>
                    <a:pt x="175" y="160"/>
                  </a:cubicBezTo>
                  <a:cubicBezTo>
                    <a:pt x="173" y="161"/>
                    <a:pt x="171" y="163"/>
                    <a:pt x="170" y="164"/>
                  </a:cubicBezTo>
                  <a:cubicBezTo>
                    <a:pt x="170" y="166"/>
                    <a:pt x="162" y="172"/>
                    <a:pt x="162" y="172"/>
                  </a:cubicBezTo>
                  <a:cubicBezTo>
                    <a:pt x="162" y="172"/>
                    <a:pt x="163" y="175"/>
                    <a:pt x="163" y="176"/>
                  </a:cubicBezTo>
                  <a:cubicBezTo>
                    <a:pt x="163" y="177"/>
                    <a:pt x="159" y="179"/>
                    <a:pt x="161" y="179"/>
                  </a:cubicBezTo>
                  <a:cubicBezTo>
                    <a:pt x="163" y="180"/>
                    <a:pt x="165" y="181"/>
                    <a:pt x="167" y="178"/>
                  </a:cubicBezTo>
                  <a:cubicBezTo>
                    <a:pt x="168" y="175"/>
                    <a:pt x="169" y="171"/>
                    <a:pt x="169" y="171"/>
                  </a:cubicBezTo>
                  <a:cubicBezTo>
                    <a:pt x="169" y="171"/>
                    <a:pt x="170" y="169"/>
                    <a:pt x="172" y="169"/>
                  </a:cubicBezTo>
                  <a:cubicBezTo>
                    <a:pt x="174" y="169"/>
                    <a:pt x="177" y="167"/>
                    <a:pt x="179" y="167"/>
                  </a:cubicBezTo>
                  <a:cubicBezTo>
                    <a:pt x="181" y="166"/>
                    <a:pt x="184" y="162"/>
                    <a:pt x="185" y="162"/>
                  </a:cubicBezTo>
                  <a:cubicBezTo>
                    <a:pt x="186" y="162"/>
                    <a:pt x="186" y="163"/>
                    <a:pt x="189" y="163"/>
                  </a:cubicBezTo>
                  <a:cubicBezTo>
                    <a:pt x="193" y="162"/>
                    <a:pt x="196" y="162"/>
                    <a:pt x="197" y="161"/>
                  </a:cubicBezTo>
                  <a:cubicBezTo>
                    <a:pt x="198" y="160"/>
                    <a:pt x="205" y="164"/>
                    <a:pt x="205" y="165"/>
                  </a:cubicBezTo>
                  <a:cubicBezTo>
                    <a:pt x="206" y="166"/>
                    <a:pt x="199" y="167"/>
                    <a:pt x="202" y="169"/>
                  </a:cubicBezTo>
                  <a:cubicBezTo>
                    <a:pt x="205" y="170"/>
                    <a:pt x="205" y="171"/>
                    <a:pt x="206" y="171"/>
                  </a:cubicBezTo>
                  <a:cubicBezTo>
                    <a:pt x="207" y="171"/>
                    <a:pt x="208" y="171"/>
                    <a:pt x="211" y="169"/>
                  </a:cubicBezTo>
                  <a:cubicBezTo>
                    <a:pt x="213" y="168"/>
                    <a:pt x="209" y="165"/>
                    <a:pt x="214" y="167"/>
                  </a:cubicBezTo>
                  <a:cubicBezTo>
                    <a:pt x="219" y="169"/>
                    <a:pt x="218" y="170"/>
                    <a:pt x="218" y="170"/>
                  </a:cubicBezTo>
                  <a:cubicBezTo>
                    <a:pt x="218" y="172"/>
                    <a:pt x="218" y="172"/>
                    <a:pt x="218" y="172"/>
                  </a:cubicBezTo>
                  <a:cubicBezTo>
                    <a:pt x="214" y="173"/>
                    <a:pt x="214" y="173"/>
                    <a:pt x="214" y="173"/>
                  </a:cubicBezTo>
                  <a:cubicBezTo>
                    <a:pt x="209" y="172"/>
                    <a:pt x="209" y="172"/>
                    <a:pt x="209" y="172"/>
                  </a:cubicBezTo>
                  <a:cubicBezTo>
                    <a:pt x="206" y="173"/>
                    <a:pt x="206" y="173"/>
                    <a:pt x="206" y="173"/>
                  </a:cubicBezTo>
                  <a:cubicBezTo>
                    <a:pt x="206" y="173"/>
                    <a:pt x="205" y="174"/>
                    <a:pt x="205" y="174"/>
                  </a:cubicBezTo>
                  <a:cubicBezTo>
                    <a:pt x="204" y="174"/>
                    <a:pt x="197" y="175"/>
                    <a:pt x="197" y="175"/>
                  </a:cubicBezTo>
                  <a:cubicBezTo>
                    <a:pt x="194" y="180"/>
                    <a:pt x="194" y="180"/>
                    <a:pt x="194" y="180"/>
                  </a:cubicBezTo>
                  <a:cubicBezTo>
                    <a:pt x="194" y="180"/>
                    <a:pt x="196" y="184"/>
                    <a:pt x="197" y="183"/>
                  </a:cubicBezTo>
                  <a:cubicBezTo>
                    <a:pt x="198" y="183"/>
                    <a:pt x="202" y="182"/>
                    <a:pt x="202" y="182"/>
                  </a:cubicBezTo>
                  <a:cubicBezTo>
                    <a:pt x="203" y="182"/>
                    <a:pt x="204" y="184"/>
                    <a:pt x="203" y="185"/>
                  </a:cubicBezTo>
                  <a:cubicBezTo>
                    <a:pt x="203" y="186"/>
                    <a:pt x="200" y="188"/>
                    <a:pt x="200" y="188"/>
                  </a:cubicBezTo>
                  <a:cubicBezTo>
                    <a:pt x="198" y="191"/>
                    <a:pt x="198" y="191"/>
                    <a:pt x="198" y="191"/>
                  </a:cubicBezTo>
                  <a:cubicBezTo>
                    <a:pt x="198" y="191"/>
                    <a:pt x="201" y="192"/>
                    <a:pt x="202" y="192"/>
                  </a:cubicBezTo>
                  <a:cubicBezTo>
                    <a:pt x="202" y="192"/>
                    <a:pt x="207" y="192"/>
                    <a:pt x="206" y="193"/>
                  </a:cubicBezTo>
                  <a:cubicBezTo>
                    <a:pt x="206" y="193"/>
                    <a:pt x="199" y="194"/>
                    <a:pt x="199" y="194"/>
                  </a:cubicBezTo>
                  <a:cubicBezTo>
                    <a:pt x="199" y="194"/>
                    <a:pt x="193" y="193"/>
                    <a:pt x="193" y="193"/>
                  </a:cubicBezTo>
                  <a:cubicBezTo>
                    <a:pt x="193" y="194"/>
                    <a:pt x="192" y="195"/>
                    <a:pt x="192" y="196"/>
                  </a:cubicBezTo>
                  <a:cubicBezTo>
                    <a:pt x="192" y="196"/>
                    <a:pt x="191" y="198"/>
                    <a:pt x="191" y="198"/>
                  </a:cubicBezTo>
                  <a:cubicBezTo>
                    <a:pt x="190" y="198"/>
                    <a:pt x="188" y="199"/>
                    <a:pt x="188" y="199"/>
                  </a:cubicBezTo>
                  <a:cubicBezTo>
                    <a:pt x="188" y="200"/>
                    <a:pt x="187" y="202"/>
                    <a:pt x="187" y="203"/>
                  </a:cubicBezTo>
                  <a:cubicBezTo>
                    <a:pt x="187" y="204"/>
                    <a:pt x="190" y="206"/>
                    <a:pt x="190" y="206"/>
                  </a:cubicBezTo>
                  <a:cubicBezTo>
                    <a:pt x="189" y="208"/>
                    <a:pt x="189" y="208"/>
                    <a:pt x="189" y="208"/>
                  </a:cubicBezTo>
                  <a:cubicBezTo>
                    <a:pt x="186" y="211"/>
                    <a:pt x="186" y="211"/>
                    <a:pt x="186" y="211"/>
                  </a:cubicBezTo>
                  <a:cubicBezTo>
                    <a:pt x="186" y="211"/>
                    <a:pt x="184" y="212"/>
                    <a:pt x="184" y="213"/>
                  </a:cubicBezTo>
                  <a:cubicBezTo>
                    <a:pt x="184" y="213"/>
                    <a:pt x="181" y="215"/>
                    <a:pt x="181" y="215"/>
                  </a:cubicBezTo>
                  <a:cubicBezTo>
                    <a:pt x="175" y="218"/>
                    <a:pt x="175" y="218"/>
                    <a:pt x="175" y="218"/>
                  </a:cubicBezTo>
                  <a:cubicBezTo>
                    <a:pt x="175" y="218"/>
                    <a:pt x="176" y="220"/>
                    <a:pt x="177" y="221"/>
                  </a:cubicBezTo>
                  <a:cubicBezTo>
                    <a:pt x="177" y="221"/>
                    <a:pt x="179" y="223"/>
                    <a:pt x="177" y="224"/>
                  </a:cubicBezTo>
                  <a:cubicBezTo>
                    <a:pt x="176" y="225"/>
                    <a:pt x="174" y="226"/>
                    <a:pt x="173" y="226"/>
                  </a:cubicBezTo>
                  <a:cubicBezTo>
                    <a:pt x="173" y="227"/>
                    <a:pt x="171" y="228"/>
                    <a:pt x="172" y="229"/>
                  </a:cubicBezTo>
                  <a:cubicBezTo>
                    <a:pt x="172" y="231"/>
                    <a:pt x="170" y="233"/>
                    <a:pt x="170" y="234"/>
                  </a:cubicBezTo>
                  <a:cubicBezTo>
                    <a:pt x="170" y="234"/>
                    <a:pt x="168" y="235"/>
                    <a:pt x="169" y="237"/>
                  </a:cubicBezTo>
                  <a:cubicBezTo>
                    <a:pt x="169" y="239"/>
                    <a:pt x="168" y="244"/>
                    <a:pt x="168" y="244"/>
                  </a:cubicBezTo>
                  <a:cubicBezTo>
                    <a:pt x="168" y="244"/>
                    <a:pt x="171" y="248"/>
                    <a:pt x="171" y="248"/>
                  </a:cubicBezTo>
                  <a:cubicBezTo>
                    <a:pt x="172" y="248"/>
                    <a:pt x="175" y="246"/>
                    <a:pt x="177" y="246"/>
                  </a:cubicBezTo>
                  <a:cubicBezTo>
                    <a:pt x="178" y="247"/>
                    <a:pt x="180" y="248"/>
                    <a:pt x="180" y="248"/>
                  </a:cubicBezTo>
                  <a:cubicBezTo>
                    <a:pt x="180" y="248"/>
                    <a:pt x="180" y="252"/>
                    <a:pt x="179" y="253"/>
                  </a:cubicBezTo>
                  <a:cubicBezTo>
                    <a:pt x="178" y="253"/>
                    <a:pt x="173" y="254"/>
                    <a:pt x="173" y="254"/>
                  </a:cubicBezTo>
                  <a:cubicBezTo>
                    <a:pt x="173" y="254"/>
                    <a:pt x="171" y="252"/>
                    <a:pt x="170" y="253"/>
                  </a:cubicBezTo>
                  <a:cubicBezTo>
                    <a:pt x="169" y="253"/>
                    <a:pt x="165" y="257"/>
                    <a:pt x="165" y="257"/>
                  </a:cubicBezTo>
                  <a:cubicBezTo>
                    <a:pt x="165" y="257"/>
                    <a:pt x="165" y="259"/>
                    <a:pt x="164" y="260"/>
                  </a:cubicBezTo>
                  <a:cubicBezTo>
                    <a:pt x="163" y="260"/>
                    <a:pt x="162" y="259"/>
                    <a:pt x="162" y="260"/>
                  </a:cubicBezTo>
                  <a:cubicBezTo>
                    <a:pt x="162" y="261"/>
                    <a:pt x="162" y="264"/>
                    <a:pt x="162" y="265"/>
                  </a:cubicBezTo>
                  <a:cubicBezTo>
                    <a:pt x="162" y="266"/>
                    <a:pt x="162" y="268"/>
                    <a:pt x="162" y="268"/>
                  </a:cubicBezTo>
                  <a:cubicBezTo>
                    <a:pt x="162" y="268"/>
                    <a:pt x="160" y="271"/>
                    <a:pt x="159" y="273"/>
                  </a:cubicBezTo>
                  <a:cubicBezTo>
                    <a:pt x="159" y="275"/>
                    <a:pt x="157" y="279"/>
                    <a:pt x="157" y="279"/>
                  </a:cubicBezTo>
                  <a:cubicBezTo>
                    <a:pt x="158" y="280"/>
                    <a:pt x="159" y="284"/>
                    <a:pt x="159" y="284"/>
                  </a:cubicBezTo>
                  <a:cubicBezTo>
                    <a:pt x="154" y="287"/>
                    <a:pt x="154" y="287"/>
                    <a:pt x="154" y="287"/>
                  </a:cubicBezTo>
                  <a:cubicBezTo>
                    <a:pt x="155" y="291"/>
                    <a:pt x="155" y="291"/>
                    <a:pt x="155" y="291"/>
                  </a:cubicBezTo>
                  <a:cubicBezTo>
                    <a:pt x="155" y="291"/>
                    <a:pt x="156" y="292"/>
                    <a:pt x="156" y="293"/>
                  </a:cubicBezTo>
                  <a:cubicBezTo>
                    <a:pt x="156" y="294"/>
                    <a:pt x="153" y="296"/>
                    <a:pt x="153" y="296"/>
                  </a:cubicBezTo>
                  <a:cubicBezTo>
                    <a:pt x="153" y="296"/>
                    <a:pt x="153" y="300"/>
                    <a:pt x="152" y="301"/>
                  </a:cubicBezTo>
                  <a:cubicBezTo>
                    <a:pt x="152" y="302"/>
                    <a:pt x="148" y="299"/>
                    <a:pt x="148" y="299"/>
                  </a:cubicBezTo>
                  <a:cubicBezTo>
                    <a:pt x="145" y="300"/>
                    <a:pt x="145" y="300"/>
                    <a:pt x="145" y="300"/>
                  </a:cubicBezTo>
                  <a:cubicBezTo>
                    <a:pt x="145" y="303"/>
                    <a:pt x="145" y="303"/>
                    <a:pt x="145" y="303"/>
                  </a:cubicBezTo>
                  <a:cubicBezTo>
                    <a:pt x="143" y="306"/>
                    <a:pt x="143" y="306"/>
                    <a:pt x="143" y="306"/>
                  </a:cubicBezTo>
                  <a:cubicBezTo>
                    <a:pt x="138" y="306"/>
                    <a:pt x="138" y="306"/>
                    <a:pt x="138" y="306"/>
                  </a:cubicBezTo>
                  <a:cubicBezTo>
                    <a:pt x="138" y="306"/>
                    <a:pt x="133" y="309"/>
                    <a:pt x="133" y="310"/>
                  </a:cubicBezTo>
                  <a:cubicBezTo>
                    <a:pt x="133" y="310"/>
                    <a:pt x="132" y="312"/>
                    <a:pt x="133" y="312"/>
                  </a:cubicBezTo>
                  <a:cubicBezTo>
                    <a:pt x="135" y="313"/>
                    <a:pt x="136" y="313"/>
                    <a:pt x="137" y="312"/>
                  </a:cubicBezTo>
                  <a:cubicBezTo>
                    <a:pt x="138" y="312"/>
                    <a:pt x="142" y="310"/>
                    <a:pt x="142" y="310"/>
                  </a:cubicBezTo>
                  <a:cubicBezTo>
                    <a:pt x="143" y="310"/>
                    <a:pt x="146" y="310"/>
                    <a:pt x="144" y="312"/>
                  </a:cubicBezTo>
                  <a:cubicBezTo>
                    <a:pt x="143" y="313"/>
                    <a:pt x="141" y="314"/>
                    <a:pt x="140" y="314"/>
                  </a:cubicBezTo>
                  <a:cubicBezTo>
                    <a:pt x="139" y="315"/>
                    <a:pt x="137" y="315"/>
                    <a:pt x="136" y="317"/>
                  </a:cubicBezTo>
                  <a:cubicBezTo>
                    <a:pt x="136" y="320"/>
                    <a:pt x="136" y="322"/>
                    <a:pt x="136" y="322"/>
                  </a:cubicBezTo>
                  <a:cubicBezTo>
                    <a:pt x="141" y="320"/>
                    <a:pt x="141" y="320"/>
                    <a:pt x="141" y="320"/>
                  </a:cubicBezTo>
                  <a:cubicBezTo>
                    <a:pt x="141" y="320"/>
                    <a:pt x="142" y="320"/>
                    <a:pt x="143" y="322"/>
                  </a:cubicBezTo>
                  <a:cubicBezTo>
                    <a:pt x="144" y="325"/>
                    <a:pt x="141" y="326"/>
                    <a:pt x="140" y="326"/>
                  </a:cubicBezTo>
                  <a:cubicBezTo>
                    <a:pt x="139" y="326"/>
                    <a:pt x="135" y="323"/>
                    <a:pt x="135" y="323"/>
                  </a:cubicBezTo>
                  <a:cubicBezTo>
                    <a:pt x="131" y="325"/>
                    <a:pt x="131" y="325"/>
                    <a:pt x="131" y="325"/>
                  </a:cubicBezTo>
                  <a:cubicBezTo>
                    <a:pt x="131" y="325"/>
                    <a:pt x="131" y="324"/>
                    <a:pt x="128" y="327"/>
                  </a:cubicBezTo>
                  <a:cubicBezTo>
                    <a:pt x="124" y="330"/>
                    <a:pt x="123" y="334"/>
                    <a:pt x="123" y="335"/>
                  </a:cubicBezTo>
                  <a:cubicBezTo>
                    <a:pt x="123" y="336"/>
                    <a:pt x="122" y="338"/>
                    <a:pt x="121" y="339"/>
                  </a:cubicBezTo>
                  <a:cubicBezTo>
                    <a:pt x="119" y="340"/>
                    <a:pt x="116" y="343"/>
                    <a:pt x="116" y="343"/>
                  </a:cubicBezTo>
                  <a:cubicBezTo>
                    <a:pt x="116" y="343"/>
                    <a:pt x="115" y="344"/>
                    <a:pt x="115" y="346"/>
                  </a:cubicBezTo>
                  <a:cubicBezTo>
                    <a:pt x="114" y="348"/>
                    <a:pt x="114" y="348"/>
                    <a:pt x="114" y="348"/>
                  </a:cubicBezTo>
                  <a:cubicBezTo>
                    <a:pt x="117" y="351"/>
                    <a:pt x="117" y="351"/>
                    <a:pt x="117" y="351"/>
                  </a:cubicBezTo>
                  <a:cubicBezTo>
                    <a:pt x="111" y="354"/>
                    <a:pt x="111" y="354"/>
                    <a:pt x="111" y="354"/>
                  </a:cubicBezTo>
                  <a:cubicBezTo>
                    <a:pt x="109" y="356"/>
                    <a:pt x="109" y="356"/>
                    <a:pt x="109" y="356"/>
                  </a:cubicBezTo>
                  <a:cubicBezTo>
                    <a:pt x="109" y="356"/>
                    <a:pt x="104" y="361"/>
                    <a:pt x="108" y="362"/>
                  </a:cubicBezTo>
                  <a:cubicBezTo>
                    <a:pt x="111" y="362"/>
                    <a:pt x="113" y="362"/>
                    <a:pt x="113" y="362"/>
                  </a:cubicBezTo>
                  <a:cubicBezTo>
                    <a:pt x="113" y="362"/>
                    <a:pt x="113" y="367"/>
                    <a:pt x="114" y="367"/>
                  </a:cubicBezTo>
                  <a:cubicBezTo>
                    <a:pt x="115" y="367"/>
                    <a:pt x="122" y="368"/>
                    <a:pt x="122" y="368"/>
                  </a:cubicBezTo>
                  <a:cubicBezTo>
                    <a:pt x="126" y="364"/>
                    <a:pt x="126" y="364"/>
                    <a:pt x="126" y="364"/>
                  </a:cubicBezTo>
                  <a:cubicBezTo>
                    <a:pt x="128" y="363"/>
                    <a:pt x="128" y="363"/>
                    <a:pt x="128" y="363"/>
                  </a:cubicBezTo>
                  <a:cubicBezTo>
                    <a:pt x="130" y="366"/>
                    <a:pt x="130" y="366"/>
                    <a:pt x="130" y="366"/>
                  </a:cubicBezTo>
                  <a:cubicBezTo>
                    <a:pt x="130" y="366"/>
                    <a:pt x="129" y="368"/>
                    <a:pt x="126" y="368"/>
                  </a:cubicBezTo>
                  <a:cubicBezTo>
                    <a:pt x="124" y="368"/>
                    <a:pt x="125" y="368"/>
                    <a:pt x="123" y="370"/>
                  </a:cubicBezTo>
                  <a:cubicBezTo>
                    <a:pt x="121" y="372"/>
                    <a:pt x="120" y="373"/>
                    <a:pt x="119" y="373"/>
                  </a:cubicBezTo>
                  <a:cubicBezTo>
                    <a:pt x="118" y="373"/>
                    <a:pt x="116" y="375"/>
                    <a:pt x="115" y="372"/>
                  </a:cubicBezTo>
                  <a:cubicBezTo>
                    <a:pt x="114" y="370"/>
                    <a:pt x="112" y="367"/>
                    <a:pt x="112" y="367"/>
                  </a:cubicBezTo>
                  <a:cubicBezTo>
                    <a:pt x="105" y="364"/>
                    <a:pt x="105" y="364"/>
                    <a:pt x="105" y="364"/>
                  </a:cubicBezTo>
                  <a:cubicBezTo>
                    <a:pt x="103" y="365"/>
                    <a:pt x="103" y="365"/>
                    <a:pt x="103" y="365"/>
                  </a:cubicBezTo>
                  <a:cubicBezTo>
                    <a:pt x="103" y="365"/>
                    <a:pt x="103" y="368"/>
                    <a:pt x="102" y="368"/>
                  </a:cubicBezTo>
                  <a:cubicBezTo>
                    <a:pt x="101" y="368"/>
                    <a:pt x="96" y="368"/>
                    <a:pt x="95" y="368"/>
                  </a:cubicBezTo>
                  <a:cubicBezTo>
                    <a:pt x="93" y="368"/>
                    <a:pt x="92" y="368"/>
                    <a:pt x="92" y="367"/>
                  </a:cubicBezTo>
                  <a:cubicBezTo>
                    <a:pt x="92" y="366"/>
                    <a:pt x="92" y="365"/>
                    <a:pt x="91" y="365"/>
                  </a:cubicBezTo>
                  <a:cubicBezTo>
                    <a:pt x="91" y="364"/>
                    <a:pt x="89" y="361"/>
                    <a:pt x="88" y="361"/>
                  </a:cubicBezTo>
                  <a:cubicBezTo>
                    <a:pt x="86" y="361"/>
                    <a:pt x="83" y="363"/>
                    <a:pt x="83" y="363"/>
                  </a:cubicBezTo>
                  <a:cubicBezTo>
                    <a:pt x="82" y="370"/>
                    <a:pt x="82" y="370"/>
                    <a:pt x="82" y="370"/>
                  </a:cubicBezTo>
                  <a:cubicBezTo>
                    <a:pt x="82" y="370"/>
                    <a:pt x="80" y="369"/>
                    <a:pt x="80" y="371"/>
                  </a:cubicBezTo>
                  <a:cubicBezTo>
                    <a:pt x="80" y="372"/>
                    <a:pt x="83" y="375"/>
                    <a:pt x="83" y="375"/>
                  </a:cubicBezTo>
                  <a:cubicBezTo>
                    <a:pt x="83" y="375"/>
                    <a:pt x="85" y="376"/>
                    <a:pt x="85" y="377"/>
                  </a:cubicBezTo>
                  <a:cubicBezTo>
                    <a:pt x="85" y="378"/>
                    <a:pt x="83" y="380"/>
                    <a:pt x="83" y="380"/>
                  </a:cubicBezTo>
                  <a:cubicBezTo>
                    <a:pt x="83" y="380"/>
                    <a:pt x="79" y="380"/>
                    <a:pt x="79" y="381"/>
                  </a:cubicBezTo>
                  <a:cubicBezTo>
                    <a:pt x="78" y="382"/>
                    <a:pt x="79" y="385"/>
                    <a:pt x="79" y="385"/>
                  </a:cubicBezTo>
                  <a:cubicBezTo>
                    <a:pt x="78" y="385"/>
                    <a:pt x="76" y="387"/>
                    <a:pt x="77" y="388"/>
                  </a:cubicBezTo>
                  <a:cubicBezTo>
                    <a:pt x="77" y="388"/>
                    <a:pt x="78" y="392"/>
                    <a:pt x="78" y="392"/>
                  </a:cubicBezTo>
                  <a:cubicBezTo>
                    <a:pt x="78" y="392"/>
                    <a:pt x="78" y="396"/>
                    <a:pt x="77" y="394"/>
                  </a:cubicBezTo>
                  <a:cubicBezTo>
                    <a:pt x="75" y="392"/>
                    <a:pt x="70" y="390"/>
                    <a:pt x="70" y="390"/>
                  </a:cubicBezTo>
                  <a:cubicBezTo>
                    <a:pt x="67" y="388"/>
                    <a:pt x="67" y="388"/>
                    <a:pt x="67" y="388"/>
                  </a:cubicBezTo>
                  <a:cubicBezTo>
                    <a:pt x="67" y="388"/>
                    <a:pt x="64" y="390"/>
                    <a:pt x="63" y="390"/>
                  </a:cubicBezTo>
                  <a:cubicBezTo>
                    <a:pt x="63" y="390"/>
                    <a:pt x="57" y="389"/>
                    <a:pt x="56" y="390"/>
                  </a:cubicBezTo>
                  <a:cubicBezTo>
                    <a:pt x="55" y="391"/>
                    <a:pt x="55" y="392"/>
                    <a:pt x="54" y="394"/>
                  </a:cubicBezTo>
                  <a:cubicBezTo>
                    <a:pt x="53" y="395"/>
                    <a:pt x="50" y="395"/>
                    <a:pt x="52" y="398"/>
                  </a:cubicBezTo>
                  <a:cubicBezTo>
                    <a:pt x="55" y="400"/>
                    <a:pt x="58" y="401"/>
                    <a:pt x="58" y="401"/>
                  </a:cubicBezTo>
                  <a:cubicBezTo>
                    <a:pt x="58" y="401"/>
                    <a:pt x="60" y="401"/>
                    <a:pt x="59" y="404"/>
                  </a:cubicBezTo>
                  <a:cubicBezTo>
                    <a:pt x="57" y="407"/>
                    <a:pt x="53" y="405"/>
                    <a:pt x="53" y="405"/>
                  </a:cubicBezTo>
                  <a:cubicBezTo>
                    <a:pt x="52" y="404"/>
                    <a:pt x="48" y="402"/>
                    <a:pt x="48" y="402"/>
                  </a:cubicBezTo>
                  <a:cubicBezTo>
                    <a:pt x="47" y="403"/>
                    <a:pt x="44" y="407"/>
                    <a:pt x="44" y="407"/>
                  </a:cubicBezTo>
                  <a:cubicBezTo>
                    <a:pt x="44" y="407"/>
                    <a:pt x="43" y="408"/>
                    <a:pt x="42" y="408"/>
                  </a:cubicBezTo>
                  <a:cubicBezTo>
                    <a:pt x="41" y="407"/>
                    <a:pt x="39" y="404"/>
                    <a:pt x="38" y="404"/>
                  </a:cubicBezTo>
                  <a:cubicBezTo>
                    <a:pt x="37" y="405"/>
                    <a:pt x="36" y="407"/>
                    <a:pt x="36" y="407"/>
                  </a:cubicBezTo>
                  <a:cubicBezTo>
                    <a:pt x="36" y="408"/>
                    <a:pt x="37" y="410"/>
                    <a:pt x="37" y="411"/>
                  </a:cubicBezTo>
                  <a:cubicBezTo>
                    <a:pt x="36" y="411"/>
                    <a:pt x="32" y="412"/>
                    <a:pt x="32" y="413"/>
                  </a:cubicBezTo>
                  <a:cubicBezTo>
                    <a:pt x="32" y="414"/>
                    <a:pt x="31" y="412"/>
                    <a:pt x="30" y="416"/>
                  </a:cubicBezTo>
                  <a:cubicBezTo>
                    <a:pt x="29" y="419"/>
                    <a:pt x="31" y="419"/>
                    <a:pt x="29" y="419"/>
                  </a:cubicBezTo>
                  <a:cubicBezTo>
                    <a:pt x="28" y="419"/>
                    <a:pt x="25" y="417"/>
                    <a:pt x="25" y="417"/>
                  </a:cubicBezTo>
                  <a:cubicBezTo>
                    <a:pt x="25" y="417"/>
                    <a:pt x="22" y="414"/>
                    <a:pt x="22" y="417"/>
                  </a:cubicBezTo>
                  <a:cubicBezTo>
                    <a:pt x="22" y="420"/>
                    <a:pt x="22" y="424"/>
                    <a:pt x="22" y="424"/>
                  </a:cubicBezTo>
                  <a:cubicBezTo>
                    <a:pt x="23" y="425"/>
                    <a:pt x="23" y="425"/>
                    <a:pt x="23" y="425"/>
                  </a:cubicBezTo>
                  <a:cubicBezTo>
                    <a:pt x="23" y="425"/>
                    <a:pt x="23" y="426"/>
                    <a:pt x="22" y="427"/>
                  </a:cubicBezTo>
                  <a:cubicBezTo>
                    <a:pt x="22" y="427"/>
                    <a:pt x="20" y="426"/>
                    <a:pt x="20" y="425"/>
                  </a:cubicBezTo>
                  <a:cubicBezTo>
                    <a:pt x="19" y="424"/>
                    <a:pt x="20" y="423"/>
                    <a:pt x="18" y="422"/>
                  </a:cubicBezTo>
                  <a:cubicBezTo>
                    <a:pt x="15" y="421"/>
                    <a:pt x="13" y="420"/>
                    <a:pt x="13" y="421"/>
                  </a:cubicBezTo>
                  <a:cubicBezTo>
                    <a:pt x="13" y="423"/>
                    <a:pt x="13" y="424"/>
                    <a:pt x="13" y="425"/>
                  </a:cubicBezTo>
                  <a:cubicBezTo>
                    <a:pt x="14" y="427"/>
                    <a:pt x="16" y="428"/>
                    <a:pt x="16" y="428"/>
                  </a:cubicBezTo>
                  <a:cubicBezTo>
                    <a:pt x="17" y="428"/>
                    <a:pt x="17" y="428"/>
                    <a:pt x="17" y="428"/>
                  </a:cubicBezTo>
                  <a:cubicBezTo>
                    <a:pt x="17" y="428"/>
                    <a:pt x="16" y="431"/>
                    <a:pt x="15" y="431"/>
                  </a:cubicBezTo>
                  <a:cubicBezTo>
                    <a:pt x="14" y="431"/>
                    <a:pt x="13" y="429"/>
                    <a:pt x="13" y="430"/>
                  </a:cubicBezTo>
                  <a:cubicBezTo>
                    <a:pt x="12" y="430"/>
                    <a:pt x="10" y="432"/>
                    <a:pt x="10" y="432"/>
                  </a:cubicBezTo>
                  <a:cubicBezTo>
                    <a:pt x="10" y="432"/>
                    <a:pt x="11" y="433"/>
                    <a:pt x="11" y="434"/>
                  </a:cubicBezTo>
                  <a:cubicBezTo>
                    <a:pt x="11" y="434"/>
                    <a:pt x="9" y="436"/>
                    <a:pt x="8" y="436"/>
                  </a:cubicBezTo>
                  <a:cubicBezTo>
                    <a:pt x="8" y="437"/>
                    <a:pt x="7" y="437"/>
                    <a:pt x="7" y="438"/>
                  </a:cubicBezTo>
                  <a:cubicBezTo>
                    <a:pt x="7" y="439"/>
                    <a:pt x="8" y="441"/>
                    <a:pt x="8" y="441"/>
                  </a:cubicBezTo>
                  <a:cubicBezTo>
                    <a:pt x="9" y="441"/>
                    <a:pt x="13" y="441"/>
                    <a:pt x="13" y="441"/>
                  </a:cubicBezTo>
                  <a:cubicBezTo>
                    <a:pt x="13" y="441"/>
                    <a:pt x="13" y="443"/>
                    <a:pt x="12" y="443"/>
                  </a:cubicBezTo>
                  <a:cubicBezTo>
                    <a:pt x="11" y="444"/>
                    <a:pt x="10" y="445"/>
                    <a:pt x="9" y="446"/>
                  </a:cubicBezTo>
                  <a:cubicBezTo>
                    <a:pt x="9" y="448"/>
                    <a:pt x="10" y="451"/>
                    <a:pt x="12" y="452"/>
                  </a:cubicBezTo>
                  <a:cubicBezTo>
                    <a:pt x="14" y="452"/>
                    <a:pt x="17" y="453"/>
                    <a:pt x="16" y="454"/>
                  </a:cubicBezTo>
                  <a:cubicBezTo>
                    <a:pt x="16" y="455"/>
                    <a:pt x="12" y="458"/>
                    <a:pt x="11" y="458"/>
                  </a:cubicBezTo>
                  <a:cubicBezTo>
                    <a:pt x="10" y="459"/>
                    <a:pt x="9" y="459"/>
                    <a:pt x="9" y="461"/>
                  </a:cubicBezTo>
                  <a:cubicBezTo>
                    <a:pt x="8" y="462"/>
                    <a:pt x="9" y="463"/>
                    <a:pt x="7" y="464"/>
                  </a:cubicBezTo>
                  <a:cubicBezTo>
                    <a:pt x="6" y="465"/>
                    <a:pt x="4" y="464"/>
                    <a:pt x="5" y="466"/>
                  </a:cubicBezTo>
                  <a:cubicBezTo>
                    <a:pt x="5" y="469"/>
                    <a:pt x="5" y="470"/>
                    <a:pt x="6" y="469"/>
                  </a:cubicBezTo>
                  <a:cubicBezTo>
                    <a:pt x="6" y="469"/>
                    <a:pt x="7" y="469"/>
                    <a:pt x="7" y="469"/>
                  </a:cubicBezTo>
                  <a:cubicBezTo>
                    <a:pt x="13" y="469"/>
                    <a:pt x="13" y="469"/>
                    <a:pt x="13" y="469"/>
                  </a:cubicBezTo>
                  <a:cubicBezTo>
                    <a:pt x="13" y="469"/>
                    <a:pt x="13" y="470"/>
                    <a:pt x="13" y="471"/>
                  </a:cubicBezTo>
                  <a:cubicBezTo>
                    <a:pt x="12" y="472"/>
                    <a:pt x="8" y="477"/>
                    <a:pt x="8" y="477"/>
                  </a:cubicBezTo>
                  <a:cubicBezTo>
                    <a:pt x="8" y="477"/>
                    <a:pt x="8" y="479"/>
                    <a:pt x="7" y="480"/>
                  </a:cubicBezTo>
                  <a:cubicBezTo>
                    <a:pt x="6" y="481"/>
                    <a:pt x="4" y="481"/>
                    <a:pt x="4" y="482"/>
                  </a:cubicBezTo>
                  <a:cubicBezTo>
                    <a:pt x="4" y="483"/>
                    <a:pt x="4" y="484"/>
                    <a:pt x="4" y="486"/>
                  </a:cubicBezTo>
                  <a:cubicBezTo>
                    <a:pt x="4" y="487"/>
                    <a:pt x="6" y="489"/>
                    <a:pt x="6" y="490"/>
                  </a:cubicBezTo>
                  <a:cubicBezTo>
                    <a:pt x="7" y="491"/>
                    <a:pt x="6" y="492"/>
                    <a:pt x="6" y="492"/>
                  </a:cubicBezTo>
                  <a:cubicBezTo>
                    <a:pt x="4" y="499"/>
                    <a:pt x="4" y="499"/>
                    <a:pt x="4" y="499"/>
                  </a:cubicBezTo>
                  <a:cubicBezTo>
                    <a:pt x="4" y="499"/>
                    <a:pt x="4" y="502"/>
                    <a:pt x="4" y="503"/>
                  </a:cubicBezTo>
                  <a:cubicBezTo>
                    <a:pt x="4" y="503"/>
                    <a:pt x="0" y="505"/>
                    <a:pt x="2" y="507"/>
                  </a:cubicBezTo>
                  <a:cubicBezTo>
                    <a:pt x="4" y="509"/>
                    <a:pt x="5" y="510"/>
                    <a:pt x="6" y="510"/>
                  </a:cubicBezTo>
                  <a:cubicBezTo>
                    <a:pt x="7" y="511"/>
                    <a:pt x="11" y="510"/>
                    <a:pt x="11" y="511"/>
                  </a:cubicBezTo>
                  <a:cubicBezTo>
                    <a:pt x="11" y="511"/>
                    <a:pt x="11" y="512"/>
                    <a:pt x="9" y="512"/>
                  </a:cubicBezTo>
                  <a:cubicBezTo>
                    <a:pt x="7" y="513"/>
                    <a:pt x="5" y="512"/>
                    <a:pt x="5" y="513"/>
                  </a:cubicBezTo>
                  <a:cubicBezTo>
                    <a:pt x="5" y="514"/>
                    <a:pt x="1" y="519"/>
                    <a:pt x="1" y="519"/>
                  </a:cubicBezTo>
                  <a:cubicBezTo>
                    <a:pt x="5" y="524"/>
                    <a:pt x="5" y="524"/>
                    <a:pt x="5" y="524"/>
                  </a:cubicBezTo>
                  <a:cubicBezTo>
                    <a:pt x="5" y="524"/>
                    <a:pt x="7" y="522"/>
                    <a:pt x="8" y="522"/>
                  </a:cubicBezTo>
                  <a:cubicBezTo>
                    <a:pt x="8" y="522"/>
                    <a:pt x="11" y="522"/>
                    <a:pt x="11" y="523"/>
                  </a:cubicBezTo>
                  <a:cubicBezTo>
                    <a:pt x="11" y="523"/>
                    <a:pt x="9" y="525"/>
                    <a:pt x="9" y="526"/>
                  </a:cubicBezTo>
                  <a:cubicBezTo>
                    <a:pt x="8" y="526"/>
                    <a:pt x="6" y="527"/>
                    <a:pt x="6" y="528"/>
                  </a:cubicBezTo>
                  <a:cubicBezTo>
                    <a:pt x="6" y="528"/>
                    <a:pt x="8" y="531"/>
                    <a:pt x="8" y="531"/>
                  </a:cubicBezTo>
                  <a:cubicBezTo>
                    <a:pt x="8" y="531"/>
                    <a:pt x="10" y="531"/>
                    <a:pt x="10" y="532"/>
                  </a:cubicBezTo>
                  <a:cubicBezTo>
                    <a:pt x="10" y="533"/>
                    <a:pt x="7" y="535"/>
                    <a:pt x="7" y="535"/>
                  </a:cubicBezTo>
                  <a:cubicBezTo>
                    <a:pt x="7" y="537"/>
                    <a:pt x="7" y="537"/>
                    <a:pt x="7" y="537"/>
                  </a:cubicBezTo>
                  <a:cubicBezTo>
                    <a:pt x="6" y="542"/>
                    <a:pt x="6" y="542"/>
                    <a:pt x="6" y="542"/>
                  </a:cubicBezTo>
                  <a:cubicBezTo>
                    <a:pt x="9" y="545"/>
                    <a:pt x="9" y="545"/>
                    <a:pt x="9" y="545"/>
                  </a:cubicBezTo>
                  <a:cubicBezTo>
                    <a:pt x="9" y="545"/>
                    <a:pt x="13" y="545"/>
                    <a:pt x="11" y="547"/>
                  </a:cubicBezTo>
                  <a:cubicBezTo>
                    <a:pt x="10" y="549"/>
                    <a:pt x="8" y="550"/>
                    <a:pt x="8" y="551"/>
                  </a:cubicBezTo>
                  <a:cubicBezTo>
                    <a:pt x="8" y="553"/>
                    <a:pt x="7" y="555"/>
                    <a:pt x="9" y="555"/>
                  </a:cubicBezTo>
                  <a:cubicBezTo>
                    <a:pt x="10" y="555"/>
                    <a:pt x="10" y="556"/>
                    <a:pt x="11" y="555"/>
                  </a:cubicBezTo>
                  <a:cubicBezTo>
                    <a:pt x="12" y="555"/>
                    <a:pt x="14" y="554"/>
                    <a:pt x="14" y="554"/>
                  </a:cubicBezTo>
                  <a:cubicBezTo>
                    <a:pt x="14" y="554"/>
                    <a:pt x="17" y="552"/>
                    <a:pt x="18" y="552"/>
                  </a:cubicBezTo>
                  <a:cubicBezTo>
                    <a:pt x="19" y="552"/>
                    <a:pt x="21" y="553"/>
                    <a:pt x="21" y="554"/>
                  </a:cubicBezTo>
                  <a:cubicBezTo>
                    <a:pt x="21" y="555"/>
                    <a:pt x="22" y="555"/>
                    <a:pt x="22" y="556"/>
                  </a:cubicBezTo>
                  <a:cubicBezTo>
                    <a:pt x="23" y="556"/>
                    <a:pt x="21" y="560"/>
                    <a:pt x="21" y="560"/>
                  </a:cubicBezTo>
                  <a:cubicBezTo>
                    <a:pt x="19" y="564"/>
                    <a:pt x="19" y="564"/>
                    <a:pt x="19" y="564"/>
                  </a:cubicBezTo>
                  <a:cubicBezTo>
                    <a:pt x="19" y="564"/>
                    <a:pt x="21" y="566"/>
                    <a:pt x="21" y="566"/>
                  </a:cubicBezTo>
                  <a:cubicBezTo>
                    <a:pt x="20" y="566"/>
                    <a:pt x="17" y="567"/>
                    <a:pt x="16" y="567"/>
                  </a:cubicBezTo>
                  <a:cubicBezTo>
                    <a:pt x="15" y="567"/>
                    <a:pt x="14" y="567"/>
                    <a:pt x="14" y="568"/>
                  </a:cubicBezTo>
                  <a:cubicBezTo>
                    <a:pt x="13" y="570"/>
                    <a:pt x="11" y="574"/>
                    <a:pt x="11" y="574"/>
                  </a:cubicBezTo>
                  <a:cubicBezTo>
                    <a:pt x="11" y="574"/>
                    <a:pt x="10" y="575"/>
                    <a:pt x="11" y="577"/>
                  </a:cubicBezTo>
                  <a:cubicBezTo>
                    <a:pt x="12" y="579"/>
                    <a:pt x="15" y="584"/>
                    <a:pt x="15" y="584"/>
                  </a:cubicBezTo>
                  <a:cubicBezTo>
                    <a:pt x="15" y="585"/>
                    <a:pt x="17" y="587"/>
                    <a:pt x="19" y="589"/>
                  </a:cubicBezTo>
                  <a:cubicBezTo>
                    <a:pt x="21" y="590"/>
                    <a:pt x="23" y="591"/>
                    <a:pt x="23" y="592"/>
                  </a:cubicBezTo>
                  <a:cubicBezTo>
                    <a:pt x="23" y="594"/>
                    <a:pt x="23" y="594"/>
                    <a:pt x="23" y="594"/>
                  </a:cubicBezTo>
                  <a:cubicBezTo>
                    <a:pt x="27" y="597"/>
                    <a:pt x="27" y="597"/>
                    <a:pt x="27" y="597"/>
                  </a:cubicBezTo>
                  <a:cubicBezTo>
                    <a:pt x="27" y="597"/>
                    <a:pt x="28" y="597"/>
                    <a:pt x="31" y="598"/>
                  </a:cubicBezTo>
                  <a:cubicBezTo>
                    <a:pt x="34" y="598"/>
                    <a:pt x="36" y="599"/>
                    <a:pt x="37" y="599"/>
                  </a:cubicBezTo>
                  <a:cubicBezTo>
                    <a:pt x="37" y="600"/>
                    <a:pt x="34" y="602"/>
                    <a:pt x="34" y="602"/>
                  </a:cubicBezTo>
                  <a:cubicBezTo>
                    <a:pt x="34" y="602"/>
                    <a:pt x="30" y="605"/>
                    <a:pt x="32" y="606"/>
                  </a:cubicBezTo>
                  <a:cubicBezTo>
                    <a:pt x="34" y="607"/>
                    <a:pt x="44" y="609"/>
                    <a:pt x="44" y="609"/>
                  </a:cubicBezTo>
                  <a:cubicBezTo>
                    <a:pt x="44" y="609"/>
                    <a:pt x="46" y="610"/>
                    <a:pt x="46" y="611"/>
                  </a:cubicBezTo>
                  <a:cubicBezTo>
                    <a:pt x="47" y="611"/>
                    <a:pt x="49" y="610"/>
                    <a:pt x="49" y="610"/>
                  </a:cubicBezTo>
                  <a:cubicBezTo>
                    <a:pt x="49" y="609"/>
                    <a:pt x="53" y="611"/>
                    <a:pt x="53" y="611"/>
                  </a:cubicBezTo>
                  <a:cubicBezTo>
                    <a:pt x="54" y="610"/>
                    <a:pt x="58" y="610"/>
                    <a:pt x="58" y="610"/>
                  </a:cubicBezTo>
                  <a:cubicBezTo>
                    <a:pt x="62" y="608"/>
                    <a:pt x="62" y="608"/>
                    <a:pt x="62" y="608"/>
                  </a:cubicBezTo>
                  <a:cubicBezTo>
                    <a:pt x="62" y="608"/>
                    <a:pt x="65" y="604"/>
                    <a:pt x="67" y="605"/>
                  </a:cubicBezTo>
                  <a:cubicBezTo>
                    <a:pt x="69" y="606"/>
                    <a:pt x="68" y="607"/>
                    <a:pt x="69" y="607"/>
                  </a:cubicBezTo>
                  <a:cubicBezTo>
                    <a:pt x="71" y="607"/>
                    <a:pt x="72" y="607"/>
                    <a:pt x="74" y="605"/>
                  </a:cubicBezTo>
                  <a:cubicBezTo>
                    <a:pt x="75" y="603"/>
                    <a:pt x="77" y="602"/>
                    <a:pt x="77" y="601"/>
                  </a:cubicBezTo>
                  <a:cubicBezTo>
                    <a:pt x="78" y="601"/>
                    <a:pt x="88" y="595"/>
                    <a:pt x="88" y="595"/>
                  </a:cubicBezTo>
                  <a:cubicBezTo>
                    <a:pt x="95" y="584"/>
                    <a:pt x="95" y="584"/>
                    <a:pt x="95" y="584"/>
                  </a:cubicBezTo>
                  <a:cubicBezTo>
                    <a:pt x="97" y="576"/>
                    <a:pt x="97" y="576"/>
                    <a:pt x="97" y="576"/>
                  </a:cubicBezTo>
                  <a:cubicBezTo>
                    <a:pt x="97" y="576"/>
                    <a:pt x="100" y="572"/>
                    <a:pt x="102" y="572"/>
                  </a:cubicBezTo>
                  <a:cubicBezTo>
                    <a:pt x="104" y="572"/>
                    <a:pt x="110" y="569"/>
                    <a:pt x="109" y="568"/>
                  </a:cubicBezTo>
                  <a:cubicBezTo>
                    <a:pt x="109" y="566"/>
                    <a:pt x="111" y="565"/>
                    <a:pt x="112" y="568"/>
                  </a:cubicBezTo>
                  <a:cubicBezTo>
                    <a:pt x="112" y="571"/>
                    <a:pt x="111" y="574"/>
                    <a:pt x="113" y="573"/>
                  </a:cubicBezTo>
                  <a:cubicBezTo>
                    <a:pt x="115" y="572"/>
                    <a:pt x="119" y="566"/>
                    <a:pt x="119" y="566"/>
                  </a:cubicBezTo>
                  <a:cubicBezTo>
                    <a:pt x="119" y="566"/>
                    <a:pt x="122" y="564"/>
                    <a:pt x="123" y="563"/>
                  </a:cubicBezTo>
                  <a:cubicBezTo>
                    <a:pt x="125" y="563"/>
                    <a:pt x="128" y="557"/>
                    <a:pt x="128" y="557"/>
                  </a:cubicBezTo>
                  <a:cubicBezTo>
                    <a:pt x="128" y="557"/>
                    <a:pt x="131" y="555"/>
                    <a:pt x="132" y="558"/>
                  </a:cubicBezTo>
                  <a:cubicBezTo>
                    <a:pt x="133" y="560"/>
                    <a:pt x="136" y="565"/>
                    <a:pt x="136" y="566"/>
                  </a:cubicBezTo>
                  <a:cubicBezTo>
                    <a:pt x="136" y="566"/>
                    <a:pt x="137" y="567"/>
                    <a:pt x="137" y="567"/>
                  </a:cubicBezTo>
                  <a:cubicBezTo>
                    <a:pt x="137" y="566"/>
                    <a:pt x="137" y="566"/>
                    <a:pt x="137" y="566"/>
                  </a:cubicBezTo>
                  <a:cubicBezTo>
                    <a:pt x="138" y="558"/>
                    <a:pt x="138" y="558"/>
                    <a:pt x="138" y="558"/>
                  </a:cubicBezTo>
                  <a:cubicBezTo>
                    <a:pt x="141" y="560"/>
                    <a:pt x="141" y="560"/>
                    <a:pt x="141" y="560"/>
                  </a:cubicBezTo>
                  <a:cubicBezTo>
                    <a:pt x="147" y="565"/>
                    <a:pt x="147" y="565"/>
                    <a:pt x="147" y="566"/>
                  </a:cubicBezTo>
                  <a:cubicBezTo>
                    <a:pt x="147" y="566"/>
                    <a:pt x="147" y="566"/>
                    <a:pt x="148" y="570"/>
                  </a:cubicBezTo>
                  <a:cubicBezTo>
                    <a:pt x="148" y="570"/>
                    <a:pt x="148" y="570"/>
                    <a:pt x="148" y="570"/>
                  </a:cubicBezTo>
                  <a:cubicBezTo>
                    <a:pt x="148" y="570"/>
                    <a:pt x="148" y="570"/>
                    <a:pt x="148" y="570"/>
                  </a:cubicBezTo>
                  <a:cubicBezTo>
                    <a:pt x="149" y="566"/>
                    <a:pt x="149" y="566"/>
                    <a:pt x="149" y="566"/>
                  </a:cubicBezTo>
                  <a:cubicBezTo>
                    <a:pt x="149" y="561"/>
                    <a:pt x="149" y="561"/>
                    <a:pt x="149" y="561"/>
                  </a:cubicBezTo>
                  <a:cubicBezTo>
                    <a:pt x="152" y="556"/>
                    <a:pt x="152" y="556"/>
                    <a:pt x="152" y="556"/>
                  </a:cubicBezTo>
                  <a:cubicBezTo>
                    <a:pt x="152" y="551"/>
                    <a:pt x="152" y="551"/>
                    <a:pt x="152" y="551"/>
                  </a:cubicBezTo>
                  <a:cubicBezTo>
                    <a:pt x="149" y="546"/>
                    <a:pt x="149" y="546"/>
                    <a:pt x="149" y="546"/>
                  </a:cubicBezTo>
                  <a:cubicBezTo>
                    <a:pt x="147" y="540"/>
                    <a:pt x="147" y="540"/>
                    <a:pt x="147" y="540"/>
                  </a:cubicBezTo>
                  <a:cubicBezTo>
                    <a:pt x="151" y="538"/>
                    <a:pt x="151" y="538"/>
                    <a:pt x="151" y="538"/>
                  </a:cubicBezTo>
                  <a:cubicBezTo>
                    <a:pt x="152" y="537"/>
                    <a:pt x="152" y="537"/>
                    <a:pt x="152" y="537"/>
                  </a:cubicBezTo>
                  <a:cubicBezTo>
                    <a:pt x="152" y="534"/>
                    <a:pt x="152" y="534"/>
                    <a:pt x="152" y="534"/>
                  </a:cubicBezTo>
                  <a:cubicBezTo>
                    <a:pt x="151" y="532"/>
                    <a:pt x="151" y="532"/>
                    <a:pt x="151" y="532"/>
                  </a:cubicBezTo>
                  <a:cubicBezTo>
                    <a:pt x="152" y="529"/>
                    <a:pt x="152" y="529"/>
                    <a:pt x="152" y="529"/>
                  </a:cubicBezTo>
                  <a:cubicBezTo>
                    <a:pt x="152" y="528"/>
                    <a:pt x="152" y="528"/>
                    <a:pt x="152" y="528"/>
                  </a:cubicBezTo>
                  <a:cubicBezTo>
                    <a:pt x="152" y="527"/>
                    <a:pt x="153" y="526"/>
                    <a:pt x="154" y="526"/>
                  </a:cubicBezTo>
                  <a:cubicBezTo>
                    <a:pt x="154" y="526"/>
                    <a:pt x="155" y="525"/>
                    <a:pt x="156" y="525"/>
                  </a:cubicBezTo>
                  <a:cubicBezTo>
                    <a:pt x="156" y="525"/>
                    <a:pt x="157" y="526"/>
                    <a:pt x="157" y="526"/>
                  </a:cubicBezTo>
                  <a:cubicBezTo>
                    <a:pt x="159" y="525"/>
                    <a:pt x="159" y="525"/>
                    <a:pt x="159" y="525"/>
                  </a:cubicBezTo>
                  <a:cubicBezTo>
                    <a:pt x="161" y="523"/>
                    <a:pt x="161" y="523"/>
                    <a:pt x="161" y="523"/>
                  </a:cubicBezTo>
                  <a:cubicBezTo>
                    <a:pt x="162" y="522"/>
                    <a:pt x="163" y="521"/>
                    <a:pt x="163" y="520"/>
                  </a:cubicBezTo>
                  <a:cubicBezTo>
                    <a:pt x="163" y="520"/>
                    <a:pt x="164" y="519"/>
                    <a:pt x="165" y="518"/>
                  </a:cubicBezTo>
                  <a:cubicBezTo>
                    <a:pt x="165" y="515"/>
                    <a:pt x="165" y="515"/>
                    <a:pt x="165" y="515"/>
                  </a:cubicBezTo>
                  <a:cubicBezTo>
                    <a:pt x="163" y="510"/>
                    <a:pt x="163" y="510"/>
                    <a:pt x="163" y="510"/>
                  </a:cubicBezTo>
                  <a:cubicBezTo>
                    <a:pt x="165" y="507"/>
                    <a:pt x="165" y="507"/>
                    <a:pt x="165" y="507"/>
                  </a:cubicBezTo>
                  <a:cubicBezTo>
                    <a:pt x="167" y="503"/>
                    <a:pt x="167" y="503"/>
                    <a:pt x="167" y="503"/>
                  </a:cubicBezTo>
                  <a:cubicBezTo>
                    <a:pt x="166" y="499"/>
                    <a:pt x="166" y="499"/>
                    <a:pt x="166" y="499"/>
                  </a:cubicBezTo>
                  <a:cubicBezTo>
                    <a:pt x="161" y="493"/>
                    <a:pt x="161" y="493"/>
                    <a:pt x="161" y="493"/>
                  </a:cubicBezTo>
                  <a:cubicBezTo>
                    <a:pt x="158" y="486"/>
                    <a:pt x="158" y="486"/>
                    <a:pt x="158" y="486"/>
                  </a:cubicBezTo>
                  <a:cubicBezTo>
                    <a:pt x="157" y="480"/>
                    <a:pt x="157" y="480"/>
                    <a:pt x="157" y="480"/>
                  </a:cubicBezTo>
                  <a:cubicBezTo>
                    <a:pt x="162" y="474"/>
                    <a:pt x="162" y="474"/>
                    <a:pt x="162" y="474"/>
                  </a:cubicBezTo>
                  <a:cubicBezTo>
                    <a:pt x="167" y="473"/>
                    <a:pt x="167" y="473"/>
                    <a:pt x="167" y="473"/>
                  </a:cubicBezTo>
                  <a:cubicBezTo>
                    <a:pt x="167" y="473"/>
                    <a:pt x="167" y="473"/>
                    <a:pt x="167" y="473"/>
                  </a:cubicBezTo>
                  <a:cubicBezTo>
                    <a:pt x="167" y="473"/>
                    <a:pt x="167" y="473"/>
                    <a:pt x="168" y="473"/>
                  </a:cubicBezTo>
                  <a:cubicBezTo>
                    <a:pt x="168" y="473"/>
                    <a:pt x="169" y="473"/>
                    <a:pt x="169" y="473"/>
                  </a:cubicBezTo>
                  <a:cubicBezTo>
                    <a:pt x="169" y="472"/>
                    <a:pt x="170" y="470"/>
                    <a:pt x="170" y="468"/>
                  </a:cubicBezTo>
                  <a:cubicBezTo>
                    <a:pt x="170" y="462"/>
                    <a:pt x="170" y="462"/>
                    <a:pt x="170" y="462"/>
                  </a:cubicBezTo>
                  <a:cubicBezTo>
                    <a:pt x="165" y="458"/>
                    <a:pt x="165" y="458"/>
                    <a:pt x="165" y="458"/>
                  </a:cubicBezTo>
                  <a:cubicBezTo>
                    <a:pt x="159" y="454"/>
                    <a:pt x="159" y="454"/>
                    <a:pt x="159" y="454"/>
                  </a:cubicBezTo>
                  <a:cubicBezTo>
                    <a:pt x="157" y="447"/>
                    <a:pt x="157" y="447"/>
                    <a:pt x="157" y="447"/>
                  </a:cubicBezTo>
                  <a:cubicBezTo>
                    <a:pt x="156" y="422"/>
                    <a:pt x="156" y="422"/>
                    <a:pt x="156" y="422"/>
                  </a:cubicBezTo>
                  <a:cubicBezTo>
                    <a:pt x="150" y="412"/>
                    <a:pt x="150" y="411"/>
                    <a:pt x="150" y="410"/>
                  </a:cubicBezTo>
                  <a:cubicBezTo>
                    <a:pt x="150" y="410"/>
                    <a:pt x="150" y="407"/>
                    <a:pt x="151" y="405"/>
                  </a:cubicBezTo>
                  <a:cubicBezTo>
                    <a:pt x="151" y="405"/>
                    <a:pt x="151" y="404"/>
                    <a:pt x="151" y="404"/>
                  </a:cubicBezTo>
                  <a:cubicBezTo>
                    <a:pt x="150" y="398"/>
                    <a:pt x="150" y="398"/>
                    <a:pt x="150" y="398"/>
                  </a:cubicBezTo>
                  <a:cubicBezTo>
                    <a:pt x="152" y="395"/>
                    <a:pt x="152" y="395"/>
                    <a:pt x="152" y="395"/>
                  </a:cubicBezTo>
                  <a:cubicBezTo>
                    <a:pt x="152" y="391"/>
                    <a:pt x="152" y="391"/>
                    <a:pt x="152" y="391"/>
                  </a:cubicBezTo>
                  <a:cubicBezTo>
                    <a:pt x="148" y="384"/>
                    <a:pt x="148" y="384"/>
                    <a:pt x="148" y="384"/>
                  </a:cubicBezTo>
                  <a:cubicBezTo>
                    <a:pt x="148" y="384"/>
                    <a:pt x="148" y="384"/>
                    <a:pt x="148" y="384"/>
                  </a:cubicBezTo>
                  <a:cubicBezTo>
                    <a:pt x="148" y="384"/>
                    <a:pt x="148" y="379"/>
                    <a:pt x="148" y="378"/>
                  </a:cubicBezTo>
                  <a:cubicBezTo>
                    <a:pt x="149" y="377"/>
                    <a:pt x="149" y="376"/>
                    <a:pt x="152" y="373"/>
                  </a:cubicBezTo>
                  <a:cubicBezTo>
                    <a:pt x="152" y="368"/>
                    <a:pt x="152" y="368"/>
                    <a:pt x="152" y="368"/>
                  </a:cubicBezTo>
                  <a:cubicBezTo>
                    <a:pt x="154" y="359"/>
                    <a:pt x="154" y="359"/>
                    <a:pt x="154" y="359"/>
                  </a:cubicBezTo>
                  <a:cubicBezTo>
                    <a:pt x="165" y="345"/>
                    <a:pt x="165" y="345"/>
                    <a:pt x="165" y="345"/>
                  </a:cubicBezTo>
                  <a:cubicBezTo>
                    <a:pt x="184" y="343"/>
                    <a:pt x="184" y="343"/>
                    <a:pt x="184" y="343"/>
                  </a:cubicBezTo>
                  <a:cubicBezTo>
                    <a:pt x="185" y="343"/>
                    <a:pt x="185" y="343"/>
                    <a:pt x="185" y="343"/>
                  </a:cubicBezTo>
                  <a:cubicBezTo>
                    <a:pt x="187" y="338"/>
                    <a:pt x="187" y="338"/>
                    <a:pt x="187" y="338"/>
                  </a:cubicBezTo>
                  <a:cubicBezTo>
                    <a:pt x="186" y="327"/>
                    <a:pt x="186" y="327"/>
                    <a:pt x="186" y="327"/>
                  </a:cubicBezTo>
                  <a:cubicBezTo>
                    <a:pt x="179" y="326"/>
                    <a:pt x="179" y="326"/>
                    <a:pt x="179" y="326"/>
                  </a:cubicBezTo>
                  <a:cubicBezTo>
                    <a:pt x="176" y="319"/>
                    <a:pt x="176" y="319"/>
                    <a:pt x="176" y="319"/>
                  </a:cubicBezTo>
                  <a:cubicBezTo>
                    <a:pt x="189" y="299"/>
                    <a:pt x="189" y="299"/>
                    <a:pt x="189" y="299"/>
                  </a:cubicBezTo>
                  <a:cubicBezTo>
                    <a:pt x="188" y="293"/>
                    <a:pt x="188" y="293"/>
                    <a:pt x="188" y="293"/>
                  </a:cubicBezTo>
                  <a:cubicBezTo>
                    <a:pt x="191" y="291"/>
                    <a:pt x="191" y="291"/>
                    <a:pt x="191" y="291"/>
                  </a:cubicBezTo>
                  <a:cubicBezTo>
                    <a:pt x="191" y="290"/>
                    <a:pt x="190" y="289"/>
                    <a:pt x="190" y="288"/>
                  </a:cubicBezTo>
                  <a:cubicBezTo>
                    <a:pt x="190" y="288"/>
                    <a:pt x="189" y="287"/>
                    <a:pt x="190" y="281"/>
                  </a:cubicBezTo>
                  <a:cubicBezTo>
                    <a:pt x="191" y="275"/>
                    <a:pt x="191" y="275"/>
                    <a:pt x="191" y="275"/>
                  </a:cubicBezTo>
                  <a:cubicBezTo>
                    <a:pt x="193" y="269"/>
                    <a:pt x="193" y="269"/>
                    <a:pt x="193" y="269"/>
                  </a:cubicBezTo>
                  <a:cubicBezTo>
                    <a:pt x="189" y="255"/>
                    <a:pt x="189" y="255"/>
                    <a:pt x="189" y="255"/>
                  </a:cubicBezTo>
                  <a:cubicBezTo>
                    <a:pt x="193" y="251"/>
                    <a:pt x="193" y="251"/>
                    <a:pt x="193" y="251"/>
                  </a:cubicBezTo>
                  <a:cubicBezTo>
                    <a:pt x="200" y="250"/>
                    <a:pt x="200" y="250"/>
                    <a:pt x="200" y="250"/>
                  </a:cubicBezTo>
                  <a:cubicBezTo>
                    <a:pt x="204" y="246"/>
                    <a:pt x="204" y="246"/>
                    <a:pt x="204" y="246"/>
                  </a:cubicBezTo>
                  <a:cubicBezTo>
                    <a:pt x="205" y="243"/>
                    <a:pt x="205" y="243"/>
                    <a:pt x="205" y="243"/>
                  </a:cubicBezTo>
                  <a:cubicBezTo>
                    <a:pt x="205" y="235"/>
                    <a:pt x="205" y="235"/>
                    <a:pt x="205" y="235"/>
                  </a:cubicBezTo>
                  <a:cubicBezTo>
                    <a:pt x="209" y="224"/>
                    <a:pt x="209" y="224"/>
                    <a:pt x="209" y="224"/>
                  </a:cubicBezTo>
                  <a:cubicBezTo>
                    <a:pt x="209" y="223"/>
                    <a:pt x="209" y="223"/>
                    <a:pt x="209" y="223"/>
                  </a:cubicBezTo>
                  <a:cubicBezTo>
                    <a:pt x="212" y="220"/>
                    <a:pt x="216" y="215"/>
                    <a:pt x="216" y="214"/>
                  </a:cubicBezTo>
                  <a:cubicBezTo>
                    <a:pt x="217" y="213"/>
                    <a:pt x="218" y="209"/>
                    <a:pt x="219" y="208"/>
                  </a:cubicBezTo>
                  <a:cubicBezTo>
                    <a:pt x="218" y="205"/>
                    <a:pt x="218" y="202"/>
                    <a:pt x="217" y="202"/>
                  </a:cubicBezTo>
                  <a:cubicBezTo>
                    <a:pt x="216" y="201"/>
                    <a:pt x="214" y="197"/>
                    <a:pt x="213" y="195"/>
                  </a:cubicBezTo>
                  <a:cubicBezTo>
                    <a:pt x="213" y="195"/>
                    <a:pt x="213" y="195"/>
                    <a:pt x="213" y="195"/>
                  </a:cubicBezTo>
                  <a:cubicBezTo>
                    <a:pt x="213" y="189"/>
                    <a:pt x="213" y="189"/>
                    <a:pt x="213" y="189"/>
                  </a:cubicBezTo>
                  <a:cubicBezTo>
                    <a:pt x="218" y="186"/>
                    <a:pt x="218" y="186"/>
                    <a:pt x="218" y="186"/>
                  </a:cubicBezTo>
                  <a:cubicBezTo>
                    <a:pt x="220" y="183"/>
                    <a:pt x="220" y="183"/>
                    <a:pt x="220" y="183"/>
                  </a:cubicBezTo>
                  <a:cubicBezTo>
                    <a:pt x="220" y="182"/>
                    <a:pt x="219" y="179"/>
                    <a:pt x="219" y="178"/>
                  </a:cubicBezTo>
                  <a:cubicBezTo>
                    <a:pt x="219" y="177"/>
                    <a:pt x="219" y="177"/>
                    <a:pt x="220" y="174"/>
                  </a:cubicBezTo>
                  <a:cubicBezTo>
                    <a:pt x="221" y="173"/>
                    <a:pt x="221" y="173"/>
                    <a:pt x="221" y="173"/>
                  </a:cubicBezTo>
                  <a:cubicBezTo>
                    <a:pt x="221" y="172"/>
                    <a:pt x="221" y="171"/>
                    <a:pt x="225" y="167"/>
                  </a:cubicBezTo>
                  <a:cubicBezTo>
                    <a:pt x="229" y="159"/>
                    <a:pt x="229" y="159"/>
                    <a:pt x="229" y="159"/>
                  </a:cubicBezTo>
                  <a:cubicBezTo>
                    <a:pt x="238" y="164"/>
                    <a:pt x="238" y="164"/>
                    <a:pt x="238" y="164"/>
                  </a:cubicBezTo>
                  <a:cubicBezTo>
                    <a:pt x="240" y="164"/>
                    <a:pt x="240" y="164"/>
                    <a:pt x="240" y="164"/>
                  </a:cubicBezTo>
                  <a:cubicBezTo>
                    <a:pt x="241" y="163"/>
                    <a:pt x="241" y="163"/>
                    <a:pt x="241" y="163"/>
                  </a:cubicBezTo>
                  <a:cubicBezTo>
                    <a:pt x="240" y="159"/>
                    <a:pt x="239" y="144"/>
                    <a:pt x="242" y="139"/>
                  </a:cubicBezTo>
                  <a:cubicBezTo>
                    <a:pt x="243" y="138"/>
                    <a:pt x="243" y="138"/>
                    <a:pt x="243" y="138"/>
                  </a:cubicBezTo>
                  <a:cubicBezTo>
                    <a:pt x="244" y="139"/>
                    <a:pt x="244" y="139"/>
                    <a:pt x="244" y="139"/>
                  </a:cubicBezTo>
                  <a:cubicBezTo>
                    <a:pt x="244" y="139"/>
                    <a:pt x="250" y="139"/>
                    <a:pt x="254" y="139"/>
                  </a:cubicBezTo>
                  <a:cubicBezTo>
                    <a:pt x="255" y="139"/>
                    <a:pt x="256" y="139"/>
                    <a:pt x="256" y="139"/>
                  </a:cubicBezTo>
                  <a:cubicBezTo>
                    <a:pt x="256" y="139"/>
                    <a:pt x="256" y="139"/>
                    <a:pt x="257" y="139"/>
                  </a:cubicBezTo>
                  <a:cubicBezTo>
                    <a:pt x="259" y="139"/>
                    <a:pt x="263" y="141"/>
                    <a:pt x="264" y="141"/>
                  </a:cubicBezTo>
                  <a:cubicBezTo>
                    <a:pt x="264" y="142"/>
                    <a:pt x="266" y="142"/>
                    <a:pt x="268" y="143"/>
                  </a:cubicBezTo>
                  <a:cubicBezTo>
                    <a:pt x="272" y="142"/>
                    <a:pt x="272" y="142"/>
                    <a:pt x="272" y="142"/>
                  </a:cubicBezTo>
                  <a:cubicBezTo>
                    <a:pt x="273" y="140"/>
                    <a:pt x="273" y="140"/>
                    <a:pt x="273" y="140"/>
                  </a:cubicBezTo>
                  <a:cubicBezTo>
                    <a:pt x="270" y="137"/>
                    <a:pt x="270" y="137"/>
                    <a:pt x="270" y="137"/>
                  </a:cubicBezTo>
                  <a:cubicBezTo>
                    <a:pt x="271" y="136"/>
                    <a:pt x="271" y="136"/>
                    <a:pt x="271" y="136"/>
                  </a:cubicBezTo>
                  <a:cubicBezTo>
                    <a:pt x="274" y="132"/>
                    <a:pt x="274" y="127"/>
                    <a:pt x="273" y="127"/>
                  </a:cubicBezTo>
                  <a:cubicBezTo>
                    <a:pt x="273" y="126"/>
                    <a:pt x="272" y="124"/>
                    <a:pt x="272" y="121"/>
                  </a:cubicBezTo>
                  <a:cubicBezTo>
                    <a:pt x="271" y="119"/>
                    <a:pt x="271" y="118"/>
                    <a:pt x="270" y="117"/>
                  </a:cubicBezTo>
                  <a:cubicBezTo>
                    <a:pt x="270" y="117"/>
                    <a:pt x="270" y="115"/>
                    <a:pt x="272" y="113"/>
                  </a:cubicBezTo>
                  <a:cubicBezTo>
                    <a:pt x="273" y="113"/>
                    <a:pt x="273" y="113"/>
                    <a:pt x="273" y="113"/>
                  </a:cubicBezTo>
                  <a:cubicBezTo>
                    <a:pt x="276" y="113"/>
                    <a:pt x="276" y="113"/>
                    <a:pt x="276" y="113"/>
                  </a:cubicBezTo>
                  <a:cubicBezTo>
                    <a:pt x="279" y="110"/>
                    <a:pt x="279" y="110"/>
                    <a:pt x="279" y="110"/>
                  </a:cubicBezTo>
                  <a:cubicBezTo>
                    <a:pt x="279" y="110"/>
                    <a:pt x="279" y="110"/>
                    <a:pt x="279" y="110"/>
                  </a:cubicBezTo>
                  <a:cubicBezTo>
                    <a:pt x="279" y="110"/>
                    <a:pt x="279" y="110"/>
                    <a:pt x="280" y="110"/>
                  </a:cubicBezTo>
                  <a:cubicBezTo>
                    <a:pt x="280" y="110"/>
                    <a:pt x="281" y="109"/>
                    <a:pt x="283" y="109"/>
                  </a:cubicBezTo>
                  <a:cubicBezTo>
                    <a:pt x="283" y="109"/>
                    <a:pt x="283" y="109"/>
                    <a:pt x="284" y="109"/>
                  </a:cubicBezTo>
                  <a:cubicBezTo>
                    <a:pt x="283" y="109"/>
                    <a:pt x="283" y="108"/>
                    <a:pt x="283" y="108"/>
                  </a:cubicBezTo>
                  <a:cubicBezTo>
                    <a:pt x="282" y="105"/>
                    <a:pt x="283" y="103"/>
                    <a:pt x="284" y="101"/>
                  </a:cubicBezTo>
                  <a:cubicBezTo>
                    <a:pt x="285" y="99"/>
                    <a:pt x="287" y="98"/>
                    <a:pt x="289" y="98"/>
                  </a:cubicBezTo>
                  <a:cubicBezTo>
                    <a:pt x="291" y="98"/>
                    <a:pt x="292" y="99"/>
                    <a:pt x="293" y="100"/>
                  </a:cubicBezTo>
                  <a:cubicBezTo>
                    <a:pt x="297" y="100"/>
                    <a:pt x="297" y="100"/>
                    <a:pt x="297" y="100"/>
                  </a:cubicBezTo>
                  <a:cubicBezTo>
                    <a:pt x="302" y="108"/>
                    <a:pt x="302" y="108"/>
                    <a:pt x="302" y="108"/>
                  </a:cubicBezTo>
                  <a:cubicBezTo>
                    <a:pt x="308" y="113"/>
                    <a:pt x="308" y="113"/>
                    <a:pt x="308" y="113"/>
                  </a:cubicBezTo>
                  <a:cubicBezTo>
                    <a:pt x="311" y="116"/>
                    <a:pt x="315" y="119"/>
                    <a:pt x="316" y="119"/>
                  </a:cubicBezTo>
                  <a:cubicBezTo>
                    <a:pt x="317" y="119"/>
                    <a:pt x="323" y="121"/>
                    <a:pt x="325" y="122"/>
                  </a:cubicBezTo>
                  <a:cubicBezTo>
                    <a:pt x="327" y="120"/>
                    <a:pt x="327" y="120"/>
                    <a:pt x="327" y="120"/>
                  </a:cubicBezTo>
                  <a:cubicBezTo>
                    <a:pt x="329" y="118"/>
                    <a:pt x="329" y="118"/>
                    <a:pt x="329" y="118"/>
                  </a:cubicBezTo>
                  <a:cubicBezTo>
                    <a:pt x="328" y="116"/>
                    <a:pt x="328" y="116"/>
                    <a:pt x="328" y="116"/>
                  </a:cubicBezTo>
                  <a:cubicBezTo>
                    <a:pt x="335" y="112"/>
                    <a:pt x="335" y="112"/>
                    <a:pt x="335" y="112"/>
                  </a:cubicBezTo>
                  <a:cubicBezTo>
                    <a:pt x="339" y="115"/>
                    <a:pt x="339" y="115"/>
                    <a:pt x="339" y="115"/>
                  </a:cubicBezTo>
                  <a:cubicBezTo>
                    <a:pt x="347" y="117"/>
                    <a:pt x="347" y="117"/>
                    <a:pt x="347" y="117"/>
                  </a:cubicBezTo>
                  <a:cubicBezTo>
                    <a:pt x="350" y="119"/>
                    <a:pt x="350" y="119"/>
                    <a:pt x="350" y="119"/>
                  </a:cubicBezTo>
                  <a:cubicBezTo>
                    <a:pt x="350" y="119"/>
                    <a:pt x="350" y="119"/>
                    <a:pt x="350" y="119"/>
                  </a:cubicBezTo>
                  <a:cubicBezTo>
                    <a:pt x="350" y="118"/>
                    <a:pt x="350" y="116"/>
                    <a:pt x="350" y="114"/>
                  </a:cubicBezTo>
                  <a:cubicBezTo>
                    <a:pt x="349" y="114"/>
                    <a:pt x="349" y="113"/>
                    <a:pt x="349" y="112"/>
                  </a:cubicBezTo>
                  <a:cubicBezTo>
                    <a:pt x="349" y="111"/>
                    <a:pt x="349" y="110"/>
                    <a:pt x="351" y="108"/>
                  </a:cubicBezTo>
                  <a:cubicBezTo>
                    <a:pt x="356" y="104"/>
                    <a:pt x="356" y="104"/>
                    <a:pt x="356" y="104"/>
                  </a:cubicBezTo>
                  <a:cubicBezTo>
                    <a:pt x="357" y="103"/>
                    <a:pt x="357" y="103"/>
                    <a:pt x="357" y="103"/>
                  </a:cubicBezTo>
                  <a:cubicBezTo>
                    <a:pt x="357" y="103"/>
                    <a:pt x="358" y="103"/>
                    <a:pt x="358" y="102"/>
                  </a:cubicBezTo>
                  <a:cubicBezTo>
                    <a:pt x="358" y="100"/>
                    <a:pt x="356" y="96"/>
                    <a:pt x="356" y="94"/>
                  </a:cubicBezTo>
                  <a:cubicBezTo>
                    <a:pt x="355" y="93"/>
                    <a:pt x="354" y="89"/>
                    <a:pt x="354" y="87"/>
                  </a:cubicBezTo>
                  <a:cubicBezTo>
                    <a:pt x="355" y="83"/>
                    <a:pt x="354" y="79"/>
                    <a:pt x="354" y="76"/>
                  </a:cubicBezTo>
                  <a:cubicBezTo>
                    <a:pt x="353" y="72"/>
                    <a:pt x="352" y="69"/>
                    <a:pt x="356" y="68"/>
                  </a:cubicBezTo>
                  <a:cubicBezTo>
                    <a:pt x="358" y="66"/>
                    <a:pt x="358" y="66"/>
                    <a:pt x="358" y="66"/>
                  </a:cubicBezTo>
                  <a:cubicBezTo>
                    <a:pt x="358" y="66"/>
                    <a:pt x="358" y="65"/>
                    <a:pt x="357" y="64"/>
                  </a:cubicBezTo>
                  <a:cubicBezTo>
                    <a:pt x="356" y="62"/>
                    <a:pt x="355" y="60"/>
                    <a:pt x="356" y="58"/>
                  </a:cubicBezTo>
                  <a:cubicBezTo>
                    <a:pt x="357" y="57"/>
                    <a:pt x="358" y="56"/>
                    <a:pt x="361" y="56"/>
                  </a:cubicBezTo>
                  <a:cubicBezTo>
                    <a:pt x="363" y="54"/>
                    <a:pt x="363" y="54"/>
                    <a:pt x="363" y="54"/>
                  </a:cubicBezTo>
                  <a:cubicBezTo>
                    <a:pt x="369" y="54"/>
                    <a:pt x="369" y="54"/>
                    <a:pt x="369" y="54"/>
                  </a:cubicBezTo>
                  <a:cubicBezTo>
                    <a:pt x="370" y="51"/>
                    <a:pt x="370" y="51"/>
                    <a:pt x="370" y="51"/>
                  </a:cubicBezTo>
                  <a:cubicBezTo>
                    <a:pt x="375" y="46"/>
                    <a:pt x="375" y="46"/>
                    <a:pt x="375" y="46"/>
                  </a:cubicBezTo>
                  <a:cubicBezTo>
                    <a:pt x="376" y="46"/>
                    <a:pt x="376" y="46"/>
                    <a:pt x="376" y="46"/>
                  </a:cubicBezTo>
                  <a:cubicBezTo>
                    <a:pt x="377" y="46"/>
                    <a:pt x="378" y="45"/>
                    <a:pt x="380" y="45"/>
                  </a:cubicBezTo>
                  <a:cubicBezTo>
                    <a:pt x="382" y="45"/>
                    <a:pt x="383" y="46"/>
                    <a:pt x="384" y="47"/>
                  </a:cubicBezTo>
                  <a:cubicBezTo>
                    <a:pt x="385" y="48"/>
                    <a:pt x="386" y="48"/>
                    <a:pt x="386" y="49"/>
                  </a:cubicBezTo>
                  <a:cubicBezTo>
                    <a:pt x="387" y="50"/>
                    <a:pt x="387" y="50"/>
                    <a:pt x="388" y="51"/>
                  </a:cubicBezTo>
                  <a:cubicBezTo>
                    <a:pt x="398" y="54"/>
                    <a:pt x="398" y="54"/>
                    <a:pt x="398" y="54"/>
                  </a:cubicBezTo>
                  <a:cubicBezTo>
                    <a:pt x="404" y="55"/>
                    <a:pt x="404" y="55"/>
                    <a:pt x="404" y="55"/>
                  </a:cubicBezTo>
                  <a:cubicBezTo>
                    <a:pt x="407" y="57"/>
                    <a:pt x="407" y="57"/>
                    <a:pt x="407" y="57"/>
                  </a:cubicBezTo>
                  <a:cubicBezTo>
                    <a:pt x="407" y="58"/>
                    <a:pt x="407" y="58"/>
                    <a:pt x="407" y="58"/>
                  </a:cubicBezTo>
                  <a:cubicBezTo>
                    <a:pt x="407" y="60"/>
                    <a:pt x="407" y="61"/>
                    <a:pt x="407" y="62"/>
                  </a:cubicBezTo>
                  <a:cubicBezTo>
                    <a:pt x="407" y="63"/>
                    <a:pt x="408" y="65"/>
                    <a:pt x="409" y="65"/>
                  </a:cubicBezTo>
                  <a:cubicBezTo>
                    <a:pt x="409" y="66"/>
                    <a:pt x="409" y="66"/>
                    <a:pt x="409" y="66"/>
                  </a:cubicBezTo>
                  <a:cubicBezTo>
                    <a:pt x="409" y="66"/>
                    <a:pt x="409" y="66"/>
                    <a:pt x="409" y="66"/>
                  </a:cubicBezTo>
                  <a:cubicBezTo>
                    <a:pt x="409" y="67"/>
                    <a:pt x="409" y="67"/>
                    <a:pt x="408" y="69"/>
                  </a:cubicBezTo>
                  <a:cubicBezTo>
                    <a:pt x="408" y="70"/>
                    <a:pt x="407" y="71"/>
                    <a:pt x="407" y="71"/>
                  </a:cubicBezTo>
                  <a:cubicBezTo>
                    <a:pt x="407" y="72"/>
                    <a:pt x="407" y="73"/>
                    <a:pt x="407" y="74"/>
                  </a:cubicBezTo>
                  <a:cubicBezTo>
                    <a:pt x="407" y="75"/>
                    <a:pt x="407" y="75"/>
                    <a:pt x="407" y="75"/>
                  </a:cubicBezTo>
                  <a:cubicBezTo>
                    <a:pt x="407" y="75"/>
                    <a:pt x="407" y="76"/>
                    <a:pt x="407" y="76"/>
                  </a:cubicBezTo>
                  <a:cubicBezTo>
                    <a:pt x="407" y="76"/>
                    <a:pt x="407" y="77"/>
                    <a:pt x="407" y="77"/>
                  </a:cubicBezTo>
                  <a:cubicBezTo>
                    <a:pt x="407" y="78"/>
                    <a:pt x="407" y="80"/>
                    <a:pt x="408" y="81"/>
                  </a:cubicBezTo>
                  <a:cubicBezTo>
                    <a:pt x="408" y="81"/>
                    <a:pt x="410" y="82"/>
                    <a:pt x="411" y="83"/>
                  </a:cubicBezTo>
                  <a:cubicBezTo>
                    <a:pt x="411" y="81"/>
                    <a:pt x="412" y="78"/>
                    <a:pt x="412" y="77"/>
                  </a:cubicBezTo>
                  <a:cubicBezTo>
                    <a:pt x="410" y="73"/>
                    <a:pt x="414" y="69"/>
                    <a:pt x="415" y="68"/>
                  </a:cubicBezTo>
                  <a:cubicBezTo>
                    <a:pt x="420" y="63"/>
                    <a:pt x="420" y="63"/>
                    <a:pt x="420" y="63"/>
                  </a:cubicBezTo>
                  <a:cubicBezTo>
                    <a:pt x="418" y="56"/>
                    <a:pt x="418" y="56"/>
                    <a:pt x="418" y="56"/>
                  </a:cubicBezTo>
                  <a:cubicBezTo>
                    <a:pt x="427" y="56"/>
                    <a:pt x="427" y="56"/>
                    <a:pt x="427" y="56"/>
                  </a:cubicBezTo>
                  <a:cubicBezTo>
                    <a:pt x="428" y="55"/>
                    <a:pt x="429" y="54"/>
                    <a:pt x="429" y="54"/>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1" name="Freeform 239"/>
            <p:cNvSpPr>
              <a:spLocks/>
            </p:cNvSpPr>
            <p:nvPr/>
          </p:nvSpPr>
          <p:spPr bwMode="auto">
            <a:xfrm>
              <a:off x="8330485" y="4520366"/>
              <a:ext cx="504006" cy="219218"/>
            </a:xfrm>
            <a:custGeom>
              <a:avLst/>
              <a:gdLst>
                <a:gd name="T0" fmla="*/ 81 w 174"/>
                <a:gd name="T1" fmla="*/ 66 h 80"/>
                <a:gd name="T2" fmla="*/ 91 w 174"/>
                <a:gd name="T3" fmla="*/ 60 h 80"/>
                <a:gd name="T4" fmla="*/ 103 w 174"/>
                <a:gd name="T5" fmla="*/ 57 h 80"/>
                <a:gd name="T6" fmla="*/ 110 w 174"/>
                <a:gd name="T7" fmla="*/ 51 h 80"/>
                <a:gd name="T8" fmla="*/ 120 w 174"/>
                <a:gd name="T9" fmla="*/ 47 h 80"/>
                <a:gd name="T10" fmla="*/ 128 w 174"/>
                <a:gd name="T11" fmla="*/ 51 h 80"/>
                <a:gd name="T12" fmla="*/ 132 w 174"/>
                <a:gd name="T13" fmla="*/ 51 h 80"/>
                <a:gd name="T14" fmla="*/ 133 w 174"/>
                <a:gd name="T15" fmla="*/ 51 h 80"/>
                <a:gd name="T16" fmla="*/ 133 w 174"/>
                <a:gd name="T17" fmla="*/ 51 h 80"/>
                <a:gd name="T18" fmla="*/ 134 w 174"/>
                <a:gd name="T19" fmla="*/ 51 h 80"/>
                <a:gd name="T20" fmla="*/ 134 w 174"/>
                <a:gd name="T21" fmla="*/ 51 h 80"/>
                <a:gd name="T22" fmla="*/ 136 w 174"/>
                <a:gd name="T23" fmla="*/ 51 h 80"/>
                <a:gd name="T24" fmla="*/ 137 w 174"/>
                <a:gd name="T25" fmla="*/ 51 h 80"/>
                <a:gd name="T26" fmla="*/ 138 w 174"/>
                <a:gd name="T27" fmla="*/ 51 h 80"/>
                <a:gd name="T28" fmla="*/ 139 w 174"/>
                <a:gd name="T29" fmla="*/ 51 h 80"/>
                <a:gd name="T30" fmla="*/ 140 w 174"/>
                <a:gd name="T31" fmla="*/ 51 h 80"/>
                <a:gd name="T32" fmla="*/ 140 w 174"/>
                <a:gd name="T33" fmla="*/ 50 h 80"/>
                <a:gd name="T34" fmla="*/ 156 w 174"/>
                <a:gd name="T35" fmla="*/ 54 h 80"/>
                <a:gd name="T36" fmla="*/ 156 w 174"/>
                <a:gd name="T37" fmla="*/ 54 h 80"/>
                <a:gd name="T38" fmla="*/ 156 w 174"/>
                <a:gd name="T39" fmla="*/ 54 h 80"/>
                <a:gd name="T40" fmla="*/ 157 w 174"/>
                <a:gd name="T41" fmla="*/ 54 h 80"/>
                <a:gd name="T42" fmla="*/ 158 w 174"/>
                <a:gd name="T43" fmla="*/ 53 h 80"/>
                <a:gd name="T44" fmla="*/ 158 w 174"/>
                <a:gd name="T45" fmla="*/ 53 h 80"/>
                <a:gd name="T46" fmla="*/ 158 w 174"/>
                <a:gd name="T47" fmla="*/ 53 h 80"/>
                <a:gd name="T48" fmla="*/ 159 w 174"/>
                <a:gd name="T49" fmla="*/ 53 h 80"/>
                <a:gd name="T50" fmla="*/ 159 w 174"/>
                <a:gd name="T51" fmla="*/ 53 h 80"/>
                <a:gd name="T52" fmla="*/ 159 w 174"/>
                <a:gd name="T53" fmla="*/ 52 h 80"/>
                <a:gd name="T54" fmla="*/ 159 w 174"/>
                <a:gd name="T55" fmla="*/ 52 h 80"/>
                <a:gd name="T56" fmla="*/ 160 w 174"/>
                <a:gd name="T57" fmla="*/ 52 h 80"/>
                <a:gd name="T58" fmla="*/ 160 w 174"/>
                <a:gd name="T59" fmla="*/ 52 h 80"/>
                <a:gd name="T60" fmla="*/ 160 w 174"/>
                <a:gd name="T61" fmla="*/ 52 h 80"/>
                <a:gd name="T62" fmla="*/ 161 w 174"/>
                <a:gd name="T63" fmla="*/ 52 h 80"/>
                <a:gd name="T64" fmla="*/ 173 w 174"/>
                <a:gd name="T65" fmla="*/ 55 h 80"/>
                <a:gd name="T66" fmla="*/ 162 w 174"/>
                <a:gd name="T67" fmla="*/ 42 h 80"/>
                <a:gd name="T68" fmla="*/ 153 w 174"/>
                <a:gd name="T69" fmla="*/ 21 h 80"/>
                <a:gd name="T70" fmla="*/ 127 w 174"/>
                <a:gd name="T71" fmla="*/ 9 h 80"/>
                <a:gd name="T72" fmla="*/ 107 w 174"/>
                <a:gd name="T73" fmla="*/ 1 h 80"/>
                <a:gd name="T74" fmla="*/ 83 w 174"/>
                <a:gd name="T75" fmla="*/ 8 h 80"/>
                <a:gd name="T76" fmla="*/ 87 w 174"/>
                <a:gd name="T77" fmla="*/ 14 h 80"/>
                <a:gd name="T78" fmla="*/ 94 w 174"/>
                <a:gd name="T79" fmla="*/ 17 h 80"/>
                <a:gd name="T80" fmla="*/ 99 w 174"/>
                <a:gd name="T81" fmla="*/ 29 h 80"/>
                <a:gd name="T82" fmla="*/ 91 w 174"/>
                <a:gd name="T83" fmla="*/ 37 h 80"/>
                <a:gd name="T84" fmla="*/ 85 w 174"/>
                <a:gd name="T85" fmla="*/ 34 h 80"/>
                <a:gd name="T86" fmla="*/ 79 w 174"/>
                <a:gd name="T87" fmla="*/ 31 h 80"/>
                <a:gd name="T88" fmla="*/ 74 w 174"/>
                <a:gd name="T89" fmla="*/ 38 h 80"/>
                <a:gd name="T90" fmla="*/ 66 w 174"/>
                <a:gd name="T91" fmla="*/ 37 h 80"/>
                <a:gd name="T92" fmla="*/ 62 w 174"/>
                <a:gd name="T93" fmla="*/ 29 h 80"/>
                <a:gd name="T94" fmla="*/ 57 w 174"/>
                <a:gd name="T95" fmla="*/ 18 h 80"/>
                <a:gd name="T96" fmla="*/ 46 w 174"/>
                <a:gd name="T97" fmla="*/ 8 h 80"/>
                <a:gd name="T98" fmla="*/ 11 w 174"/>
                <a:gd name="T99" fmla="*/ 5 h 80"/>
                <a:gd name="T100" fmla="*/ 6 w 174"/>
                <a:gd name="T101" fmla="*/ 14 h 80"/>
                <a:gd name="T102" fmla="*/ 6 w 174"/>
                <a:gd name="T103" fmla="*/ 22 h 80"/>
                <a:gd name="T104" fmla="*/ 9 w 174"/>
                <a:gd name="T105" fmla="*/ 32 h 80"/>
                <a:gd name="T106" fmla="*/ 2 w 174"/>
                <a:gd name="T107" fmla="*/ 42 h 80"/>
                <a:gd name="T108" fmla="*/ 7 w 174"/>
                <a:gd name="T109" fmla="*/ 77 h 80"/>
                <a:gd name="T110" fmla="*/ 38 w 174"/>
                <a:gd name="T111" fmla="*/ 73 h 80"/>
                <a:gd name="T112" fmla="*/ 61 w 174"/>
                <a:gd name="T113" fmla="*/ 7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4" h="80">
                  <a:moveTo>
                    <a:pt x="66" y="74"/>
                  </a:moveTo>
                  <a:cubicBezTo>
                    <a:pt x="71" y="70"/>
                    <a:pt x="71" y="70"/>
                    <a:pt x="71" y="70"/>
                  </a:cubicBezTo>
                  <a:cubicBezTo>
                    <a:pt x="71" y="70"/>
                    <a:pt x="71" y="70"/>
                    <a:pt x="71" y="70"/>
                  </a:cubicBezTo>
                  <a:cubicBezTo>
                    <a:pt x="72" y="70"/>
                    <a:pt x="72" y="70"/>
                    <a:pt x="72" y="70"/>
                  </a:cubicBezTo>
                  <a:cubicBezTo>
                    <a:pt x="73" y="70"/>
                    <a:pt x="74" y="69"/>
                    <a:pt x="74" y="69"/>
                  </a:cubicBezTo>
                  <a:cubicBezTo>
                    <a:pt x="75" y="69"/>
                    <a:pt x="78" y="68"/>
                    <a:pt x="80" y="68"/>
                  </a:cubicBezTo>
                  <a:cubicBezTo>
                    <a:pt x="81" y="66"/>
                    <a:pt x="81" y="66"/>
                    <a:pt x="81" y="66"/>
                  </a:cubicBezTo>
                  <a:cubicBezTo>
                    <a:pt x="81" y="66"/>
                    <a:pt x="81" y="66"/>
                    <a:pt x="81" y="66"/>
                  </a:cubicBezTo>
                  <a:cubicBezTo>
                    <a:pt x="81" y="66"/>
                    <a:pt x="83" y="65"/>
                    <a:pt x="84" y="64"/>
                  </a:cubicBezTo>
                  <a:cubicBezTo>
                    <a:pt x="84" y="64"/>
                    <a:pt x="86" y="64"/>
                    <a:pt x="86" y="64"/>
                  </a:cubicBezTo>
                  <a:cubicBezTo>
                    <a:pt x="86" y="64"/>
                    <a:pt x="86" y="63"/>
                    <a:pt x="86" y="63"/>
                  </a:cubicBezTo>
                  <a:cubicBezTo>
                    <a:pt x="87" y="62"/>
                    <a:pt x="88" y="62"/>
                    <a:pt x="88" y="61"/>
                  </a:cubicBezTo>
                  <a:cubicBezTo>
                    <a:pt x="89" y="61"/>
                    <a:pt x="89" y="61"/>
                    <a:pt x="90" y="61"/>
                  </a:cubicBezTo>
                  <a:cubicBezTo>
                    <a:pt x="90" y="61"/>
                    <a:pt x="90" y="61"/>
                    <a:pt x="90" y="61"/>
                  </a:cubicBezTo>
                  <a:cubicBezTo>
                    <a:pt x="90" y="61"/>
                    <a:pt x="90" y="61"/>
                    <a:pt x="90" y="61"/>
                  </a:cubicBezTo>
                  <a:cubicBezTo>
                    <a:pt x="90" y="61"/>
                    <a:pt x="91" y="60"/>
                    <a:pt x="91" y="60"/>
                  </a:cubicBezTo>
                  <a:cubicBezTo>
                    <a:pt x="91" y="60"/>
                    <a:pt x="91" y="60"/>
                    <a:pt x="91" y="60"/>
                  </a:cubicBezTo>
                  <a:cubicBezTo>
                    <a:pt x="91" y="58"/>
                    <a:pt x="94" y="58"/>
                    <a:pt x="94" y="58"/>
                  </a:cubicBezTo>
                  <a:cubicBezTo>
                    <a:pt x="94" y="58"/>
                    <a:pt x="95" y="58"/>
                    <a:pt x="96" y="58"/>
                  </a:cubicBezTo>
                  <a:cubicBezTo>
                    <a:pt x="96" y="58"/>
                    <a:pt x="96" y="58"/>
                    <a:pt x="97" y="58"/>
                  </a:cubicBezTo>
                  <a:cubicBezTo>
                    <a:pt x="97" y="58"/>
                    <a:pt x="97" y="58"/>
                    <a:pt x="97" y="58"/>
                  </a:cubicBezTo>
                  <a:cubicBezTo>
                    <a:pt x="98" y="57"/>
                    <a:pt x="99" y="57"/>
                    <a:pt x="99" y="57"/>
                  </a:cubicBezTo>
                  <a:cubicBezTo>
                    <a:pt x="100" y="57"/>
                    <a:pt x="101" y="57"/>
                    <a:pt x="101" y="57"/>
                  </a:cubicBezTo>
                  <a:cubicBezTo>
                    <a:pt x="101" y="57"/>
                    <a:pt x="103" y="57"/>
                    <a:pt x="103" y="57"/>
                  </a:cubicBezTo>
                  <a:cubicBezTo>
                    <a:pt x="103" y="57"/>
                    <a:pt x="103" y="56"/>
                    <a:pt x="104" y="56"/>
                  </a:cubicBezTo>
                  <a:cubicBezTo>
                    <a:pt x="104" y="56"/>
                    <a:pt x="105" y="56"/>
                    <a:pt x="105" y="56"/>
                  </a:cubicBezTo>
                  <a:cubicBezTo>
                    <a:pt x="105" y="56"/>
                    <a:pt x="105" y="56"/>
                    <a:pt x="105" y="56"/>
                  </a:cubicBezTo>
                  <a:cubicBezTo>
                    <a:pt x="105" y="55"/>
                    <a:pt x="105" y="55"/>
                    <a:pt x="105" y="55"/>
                  </a:cubicBezTo>
                  <a:cubicBezTo>
                    <a:pt x="106" y="55"/>
                    <a:pt x="106" y="55"/>
                    <a:pt x="106" y="55"/>
                  </a:cubicBezTo>
                  <a:cubicBezTo>
                    <a:pt x="107" y="54"/>
                    <a:pt x="108" y="54"/>
                    <a:pt x="109" y="54"/>
                  </a:cubicBezTo>
                  <a:cubicBezTo>
                    <a:pt x="110" y="54"/>
                    <a:pt x="110" y="54"/>
                    <a:pt x="111" y="53"/>
                  </a:cubicBezTo>
                  <a:cubicBezTo>
                    <a:pt x="110" y="52"/>
                    <a:pt x="110" y="51"/>
                    <a:pt x="110" y="51"/>
                  </a:cubicBezTo>
                  <a:cubicBezTo>
                    <a:pt x="111" y="49"/>
                    <a:pt x="113" y="49"/>
                    <a:pt x="113" y="49"/>
                  </a:cubicBezTo>
                  <a:cubicBezTo>
                    <a:pt x="113" y="49"/>
                    <a:pt x="114" y="49"/>
                    <a:pt x="114" y="49"/>
                  </a:cubicBezTo>
                  <a:cubicBezTo>
                    <a:pt x="114" y="49"/>
                    <a:pt x="116" y="49"/>
                    <a:pt x="116" y="49"/>
                  </a:cubicBezTo>
                  <a:cubicBezTo>
                    <a:pt x="116" y="49"/>
                    <a:pt x="117" y="49"/>
                    <a:pt x="117" y="49"/>
                  </a:cubicBezTo>
                  <a:cubicBezTo>
                    <a:pt x="118" y="48"/>
                    <a:pt x="118" y="48"/>
                    <a:pt x="118" y="48"/>
                  </a:cubicBezTo>
                  <a:cubicBezTo>
                    <a:pt x="118" y="48"/>
                    <a:pt x="119" y="48"/>
                    <a:pt x="119" y="47"/>
                  </a:cubicBezTo>
                  <a:cubicBezTo>
                    <a:pt x="120" y="47"/>
                    <a:pt x="120" y="47"/>
                    <a:pt x="120" y="47"/>
                  </a:cubicBezTo>
                  <a:cubicBezTo>
                    <a:pt x="120" y="47"/>
                    <a:pt x="120" y="47"/>
                    <a:pt x="120" y="47"/>
                  </a:cubicBezTo>
                  <a:cubicBezTo>
                    <a:pt x="122" y="47"/>
                    <a:pt x="123" y="49"/>
                    <a:pt x="124" y="49"/>
                  </a:cubicBezTo>
                  <a:cubicBezTo>
                    <a:pt x="125" y="50"/>
                    <a:pt x="125" y="50"/>
                    <a:pt x="125" y="50"/>
                  </a:cubicBezTo>
                  <a:cubicBezTo>
                    <a:pt x="125" y="50"/>
                    <a:pt x="125" y="50"/>
                    <a:pt x="125" y="50"/>
                  </a:cubicBezTo>
                  <a:cubicBezTo>
                    <a:pt x="125" y="50"/>
                    <a:pt x="126" y="50"/>
                    <a:pt x="126" y="50"/>
                  </a:cubicBezTo>
                  <a:cubicBezTo>
                    <a:pt x="126" y="50"/>
                    <a:pt x="126" y="50"/>
                    <a:pt x="126" y="50"/>
                  </a:cubicBezTo>
                  <a:cubicBezTo>
                    <a:pt x="127" y="50"/>
                    <a:pt x="127" y="50"/>
                    <a:pt x="127" y="50"/>
                  </a:cubicBezTo>
                  <a:cubicBezTo>
                    <a:pt x="129" y="50"/>
                    <a:pt x="129" y="50"/>
                    <a:pt x="129" y="50"/>
                  </a:cubicBezTo>
                  <a:cubicBezTo>
                    <a:pt x="128" y="51"/>
                    <a:pt x="128" y="51"/>
                    <a:pt x="128" y="51"/>
                  </a:cubicBezTo>
                  <a:cubicBezTo>
                    <a:pt x="129" y="51"/>
                    <a:pt x="130" y="51"/>
                    <a:pt x="131" y="51"/>
                  </a:cubicBezTo>
                  <a:cubicBezTo>
                    <a:pt x="131" y="51"/>
                    <a:pt x="131" y="51"/>
                    <a:pt x="131" y="51"/>
                  </a:cubicBezTo>
                  <a:cubicBezTo>
                    <a:pt x="131" y="51"/>
                    <a:pt x="131" y="51"/>
                    <a:pt x="131" y="51"/>
                  </a:cubicBezTo>
                  <a:cubicBezTo>
                    <a:pt x="131" y="51"/>
                    <a:pt x="131" y="51"/>
                    <a:pt x="131" y="51"/>
                  </a:cubicBezTo>
                  <a:cubicBezTo>
                    <a:pt x="131" y="51"/>
                    <a:pt x="131" y="51"/>
                    <a:pt x="131" y="51"/>
                  </a:cubicBezTo>
                  <a:cubicBezTo>
                    <a:pt x="131" y="51"/>
                    <a:pt x="131" y="51"/>
                    <a:pt x="131" y="51"/>
                  </a:cubicBezTo>
                  <a:cubicBezTo>
                    <a:pt x="132" y="51"/>
                    <a:pt x="132" y="51"/>
                    <a:pt x="132" y="51"/>
                  </a:cubicBezTo>
                  <a:cubicBezTo>
                    <a:pt x="132" y="51"/>
                    <a:pt x="132" y="51"/>
                    <a:pt x="132" y="51"/>
                  </a:cubicBezTo>
                  <a:cubicBezTo>
                    <a:pt x="132" y="51"/>
                    <a:pt x="132" y="51"/>
                    <a:pt x="132" y="51"/>
                  </a:cubicBezTo>
                  <a:cubicBezTo>
                    <a:pt x="132" y="51"/>
                    <a:pt x="132" y="51"/>
                    <a:pt x="132" y="51"/>
                  </a:cubicBezTo>
                  <a:cubicBezTo>
                    <a:pt x="132" y="51"/>
                    <a:pt x="132" y="51"/>
                    <a:pt x="132" y="51"/>
                  </a:cubicBezTo>
                  <a:cubicBezTo>
                    <a:pt x="132" y="51"/>
                    <a:pt x="132" y="51"/>
                    <a:pt x="132" y="51"/>
                  </a:cubicBezTo>
                  <a:cubicBezTo>
                    <a:pt x="132" y="51"/>
                    <a:pt x="132" y="51"/>
                    <a:pt x="132" y="51"/>
                  </a:cubicBezTo>
                  <a:cubicBezTo>
                    <a:pt x="132" y="51"/>
                    <a:pt x="132" y="51"/>
                    <a:pt x="132" y="51"/>
                  </a:cubicBezTo>
                  <a:cubicBezTo>
                    <a:pt x="132" y="51"/>
                    <a:pt x="132" y="51"/>
                    <a:pt x="132" y="51"/>
                  </a:cubicBezTo>
                  <a:cubicBezTo>
                    <a:pt x="133" y="51"/>
                    <a:pt x="133" y="51"/>
                    <a:pt x="133" y="51"/>
                  </a:cubicBezTo>
                  <a:cubicBezTo>
                    <a:pt x="133" y="51"/>
                    <a:pt x="133" y="51"/>
                    <a:pt x="133" y="51"/>
                  </a:cubicBezTo>
                  <a:cubicBezTo>
                    <a:pt x="133" y="51"/>
                    <a:pt x="133" y="51"/>
                    <a:pt x="133" y="51"/>
                  </a:cubicBezTo>
                  <a:cubicBezTo>
                    <a:pt x="133" y="51"/>
                    <a:pt x="133" y="51"/>
                    <a:pt x="133" y="51"/>
                  </a:cubicBezTo>
                  <a:cubicBezTo>
                    <a:pt x="133" y="51"/>
                    <a:pt x="133" y="51"/>
                    <a:pt x="133" y="51"/>
                  </a:cubicBezTo>
                  <a:cubicBezTo>
                    <a:pt x="133" y="51"/>
                    <a:pt x="133" y="51"/>
                    <a:pt x="133" y="51"/>
                  </a:cubicBezTo>
                  <a:cubicBezTo>
                    <a:pt x="133" y="51"/>
                    <a:pt x="133" y="51"/>
                    <a:pt x="133" y="51"/>
                  </a:cubicBezTo>
                  <a:cubicBezTo>
                    <a:pt x="133" y="51"/>
                    <a:pt x="133" y="51"/>
                    <a:pt x="133" y="51"/>
                  </a:cubicBezTo>
                  <a:cubicBezTo>
                    <a:pt x="133" y="51"/>
                    <a:pt x="133" y="51"/>
                    <a:pt x="133" y="51"/>
                  </a:cubicBezTo>
                  <a:cubicBezTo>
                    <a:pt x="133" y="51"/>
                    <a:pt x="133" y="51"/>
                    <a:pt x="133" y="51"/>
                  </a:cubicBezTo>
                  <a:cubicBezTo>
                    <a:pt x="133" y="51"/>
                    <a:pt x="133" y="51"/>
                    <a:pt x="133" y="51"/>
                  </a:cubicBezTo>
                  <a:cubicBezTo>
                    <a:pt x="133" y="51"/>
                    <a:pt x="133" y="51"/>
                    <a:pt x="133" y="51"/>
                  </a:cubicBezTo>
                  <a:cubicBezTo>
                    <a:pt x="133" y="51"/>
                    <a:pt x="133" y="51"/>
                    <a:pt x="133" y="51"/>
                  </a:cubicBezTo>
                  <a:cubicBezTo>
                    <a:pt x="133" y="51"/>
                    <a:pt x="133" y="51"/>
                    <a:pt x="133" y="51"/>
                  </a:cubicBezTo>
                  <a:cubicBezTo>
                    <a:pt x="133" y="51"/>
                    <a:pt x="133" y="51"/>
                    <a:pt x="133" y="51"/>
                  </a:cubicBezTo>
                  <a:cubicBezTo>
                    <a:pt x="133" y="51"/>
                    <a:pt x="133" y="51"/>
                    <a:pt x="133" y="51"/>
                  </a:cubicBezTo>
                  <a:cubicBezTo>
                    <a:pt x="134" y="51"/>
                    <a:pt x="134" y="51"/>
                    <a:pt x="134" y="51"/>
                  </a:cubicBezTo>
                  <a:cubicBezTo>
                    <a:pt x="134" y="51"/>
                    <a:pt x="134" y="51"/>
                    <a:pt x="134" y="51"/>
                  </a:cubicBezTo>
                  <a:cubicBezTo>
                    <a:pt x="134" y="51"/>
                    <a:pt x="134" y="51"/>
                    <a:pt x="134" y="51"/>
                  </a:cubicBezTo>
                  <a:cubicBezTo>
                    <a:pt x="134" y="51"/>
                    <a:pt x="134" y="51"/>
                    <a:pt x="134" y="51"/>
                  </a:cubicBezTo>
                  <a:cubicBezTo>
                    <a:pt x="134" y="51"/>
                    <a:pt x="134" y="51"/>
                    <a:pt x="134" y="51"/>
                  </a:cubicBezTo>
                  <a:cubicBezTo>
                    <a:pt x="134" y="51"/>
                    <a:pt x="134" y="51"/>
                    <a:pt x="134" y="51"/>
                  </a:cubicBezTo>
                  <a:cubicBezTo>
                    <a:pt x="134" y="51"/>
                    <a:pt x="134" y="51"/>
                    <a:pt x="134" y="51"/>
                  </a:cubicBezTo>
                  <a:cubicBezTo>
                    <a:pt x="134" y="51"/>
                    <a:pt x="134" y="51"/>
                    <a:pt x="134" y="51"/>
                  </a:cubicBezTo>
                  <a:cubicBezTo>
                    <a:pt x="134" y="51"/>
                    <a:pt x="134" y="51"/>
                    <a:pt x="134" y="51"/>
                  </a:cubicBezTo>
                  <a:cubicBezTo>
                    <a:pt x="135" y="51"/>
                    <a:pt x="135" y="51"/>
                    <a:pt x="135" y="51"/>
                  </a:cubicBezTo>
                  <a:cubicBezTo>
                    <a:pt x="135" y="51"/>
                    <a:pt x="135" y="51"/>
                    <a:pt x="135" y="51"/>
                  </a:cubicBezTo>
                  <a:cubicBezTo>
                    <a:pt x="135" y="51"/>
                    <a:pt x="135" y="51"/>
                    <a:pt x="135" y="51"/>
                  </a:cubicBezTo>
                  <a:cubicBezTo>
                    <a:pt x="135" y="51"/>
                    <a:pt x="135" y="51"/>
                    <a:pt x="135" y="51"/>
                  </a:cubicBezTo>
                  <a:cubicBezTo>
                    <a:pt x="135" y="51"/>
                    <a:pt x="135" y="51"/>
                    <a:pt x="135" y="51"/>
                  </a:cubicBezTo>
                  <a:cubicBezTo>
                    <a:pt x="135" y="51"/>
                    <a:pt x="135" y="51"/>
                    <a:pt x="135" y="51"/>
                  </a:cubicBezTo>
                  <a:cubicBezTo>
                    <a:pt x="135" y="51"/>
                    <a:pt x="135" y="51"/>
                    <a:pt x="135" y="51"/>
                  </a:cubicBezTo>
                  <a:cubicBezTo>
                    <a:pt x="136" y="51"/>
                    <a:pt x="136" y="51"/>
                    <a:pt x="136" y="51"/>
                  </a:cubicBezTo>
                  <a:cubicBezTo>
                    <a:pt x="136" y="51"/>
                    <a:pt x="136" y="51"/>
                    <a:pt x="136" y="51"/>
                  </a:cubicBezTo>
                  <a:cubicBezTo>
                    <a:pt x="136" y="51"/>
                    <a:pt x="136" y="51"/>
                    <a:pt x="136" y="51"/>
                  </a:cubicBezTo>
                  <a:cubicBezTo>
                    <a:pt x="136" y="51"/>
                    <a:pt x="136" y="51"/>
                    <a:pt x="136" y="51"/>
                  </a:cubicBezTo>
                  <a:cubicBezTo>
                    <a:pt x="136" y="51"/>
                    <a:pt x="136" y="51"/>
                    <a:pt x="136" y="51"/>
                  </a:cubicBezTo>
                  <a:cubicBezTo>
                    <a:pt x="136" y="51"/>
                    <a:pt x="136" y="51"/>
                    <a:pt x="136" y="51"/>
                  </a:cubicBezTo>
                  <a:cubicBezTo>
                    <a:pt x="136" y="51"/>
                    <a:pt x="136" y="51"/>
                    <a:pt x="136" y="51"/>
                  </a:cubicBezTo>
                  <a:cubicBezTo>
                    <a:pt x="137" y="51"/>
                    <a:pt x="137" y="51"/>
                    <a:pt x="137" y="51"/>
                  </a:cubicBezTo>
                  <a:cubicBezTo>
                    <a:pt x="137" y="51"/>
                    <a:pt x="137" y="51"/>
                    <a:pt x="137" y="51"/>
                  </a:cubicBezTo>
                  <a:cubicBezTo>
                    <a:pt x="137" y="51"/>
                    <a:pt x="137" y="51"/>
                    <a:pt x="137" y="51"/>
                  </a:cubicBezTo>
                  <a:cubicBezTo>
                    <a:pt x="137" y="51"/>
                    <a:pt x="137" y="51"/>
                    <a:pt x="137" y="51"/>
                  </a:cubicBezTo>
                  <a:cubicBezTo>
                    <a:pt x="137" y="51"/>
                    <a:pt x="137" y="51"/>
                    <a:pt x="137" y="51"/>
                  </a:cubicBezTo>
                  <a:cubicBezTo>
                    <a:pt x="137" y="51"/>
                    <a:pt x="137" y="51"/>
                    <a:pt x="137" y="51"/>
                  </a:cubicBezTo>
                  <a:cubicBezTo>
                    <a:pt x="138" y="51"/>
                    <a:pt x="138" y="51"/>
                    <a:pt x="138" y="51"/>
                  </a:cubicBezTo>
                  <a:cubicBezTo>
                    <a:pt x="138" y="51"/>
                    <a:pt x="138" y="51"/>
                    <a:pt x="138" y="51"/>
                  </a:cubicBezTo>
                  <a:cubicBezTo>
                    <a:pt x="138" y="51"/>
                    <a:pt x="138" y="51"/>
                    <a:pt x="138" y="51"/>
                  </a:cubicBezTo>
                  <a:cubicBezTo>
                    <a:pt x="138" y="51"/>
                    <a:pt x="138" y="51"/>
                    <a:pt x="138" y="51"/>
                  </a:cubicBezTo>
                  <a:cubicBezTo>
                    <a:pt x="138" y="51"/>
                    <a:pt x="138" y="51"/>
                    <a:pt x="138" y="51"/>
                  </a:cubicBezTo>
                  <a:cubicBezTo>
                    <a:pt x="138" y="51"/>
                    <a:pt x="138" y="51"/>
                    <a:pt x="138" y="51"/>
                  </a:cubicBezTo>
                  <a:cubicBezTo>
                    <a:pt x="138" y="51"/>
                    <a:pt x="138" y="51"/>
                    <a:pt x="138" y="51"/>
                  </a:cubicBezTo>
                  <a:cubicBezTo>
                    <a:pt x="139" y="51"/>
                    <a:pt x="139" y="51"/>
                    <a:pt x="139" y="51"/>
                  </a:cubicBezTo>
                  <a:cubicBezTo>
                    <a:pt x="139" y="51"/>
                    <a:pt x="139" y="51"/>
                    <a:pt x="139" y="51"/>
                  </a:cubicBezTo>
                  <a:cubicBezTo>
                    <a:pt x="139" y="51"/>
                    <a:pt x="139" y="51"/>
                    <a:pt x="139" y="51"/>
                  </a:cubicBezTo>
                  <a:cubicBezTo>
                    <a:pt x="139" y="51"/>
                    <a:pt x="139" y="51"/>
                    <a:pt x="139" y="51"/>
                  </a:cubicBezTo>
                  <a:cubicBezTo>
                    <a:pt x="139" y="51"/>
                    <a:pt x="139" y="51"/>
                    <a:pt x="139" y="51"/>
                  </a:cubicBezTo>
                  <a:cubicBezTo>
                    <a:pt x="139" y="51"/>
                    <a:pt x="139" y="51"/>
                    <a:pt x="139" y="51"/>
                  </a:cubicBezTo>
                  <a:cubicBezTo>
                    <a:pt x="139" y="51"/>
                    <a:pt x="139" y="51"/>
                    <a:pt x="139" y="51"/>
                  </a:cubicBezTo>
                  <a:cubicBezTo>
                    <a:pt x="139" y="51"/>
                    <a:pt x="139" y="51"/>
                    <a:pt x="139" y="51"/>
                  </a:cubicBezTo>
                  <a:cubicBezTo>
                    <a:pt x="140" y="51"/>
                    <a:pt x="140" y="51"/>
                    <a:pt x="140" y="51"/>
                  </a:cubicBezTo>
                  <a:cubicBezTo>
                    <a:pt x="140" y="51"/>
                    <a:pt x="140" y="51"/>
                    <a:pt x="140" y="51"/>
                  </a:cubicBezTo>
                  <a:cubicBezTo>
                    <a:pt x="140" y="51"/>
                    <a:pt x="140" y="51"/>
                    <a:pt x="140" y="51"/>
                  </a:cubicBezTo>
                  <a:cubicBezTo>
                    <a:pt x="140" y="51"/>
                    <a:pt x="140" y="51"/>
                    <a:pt x="140" y="51"/>
                  </a:cubicBezTo>
                  <a:cubicBezTo>
                    <a:pt x="140" y="51"/>
                    <a:pt x="140" y="51"/>
                    <a:pt x="140" y="51"/>
                  </a:cubicBezTo>
                  <a:cubicBezTo>
                    <a:pt x="140" y="51"/>
                    <a:pt x="140" y="51"/>
                    <a:pt x="140" y="51"/>
                  </a:cubicBezTo>
                  <a:cubicBezTo>
                    <a:pt x="140" y="51"/>
                    <a:pt x="140" y="51"/>
                    <a:pt x="140" y="51"/>
                  </a:cubicBezTo>
                  <a:cubicBezTo>
                    <a:pt x="140" y="51"/>
                    <a:pt x="140" y="51"/>
                    <a:pt x="140" y="51"/>
                  </a:cubicBezTo>
                  <a:cubicBezTo>
                    <a:pt x="140" y="51"/>
                    <a:pt x="140" y="51"/>
                    <a:pt x="140" y="51"/>
                  </a:cubicBezTo>
                  <a:cubicBezTo>
                    <a:pt x="140" y="50"/>
                    <a:pt x="140" y="50"/>
                    <a:pt x="140" y="50"/>
                  </a:cubicBezTo>
                  <a:cubicBezTo>
                    <a:pt x="140" y="50"/>
                    <a:pt x="140" y="50"/>
                    <a:pt x="140" y="50"/>
                  </a:cubicBezTo>
                  <a:cubicBezTo>
                    <a:pt x="140" y="50"/>
                    <a:pt x="140" y="50"/>
                    <a:pt x="140" y="50"/>
                  </a:cubicBezTo>
                  <a:cubicBezTo>
                    <a:pt x="140" y="50"/>
                    <a:pt x="140" y="50"/>
                    <a:pt x="140" y="50"/>
                  </a:cubicBezTo>
                  <a:cubicBezTo>
                    <a:pt x="141" y="50"/>
                    <a:pt x="141" y="50"/>
                    <a:pt x="141" y="50"/>
                  </a:cubicBezTo>
                  <a:cubicBezTo>
                    <a:pt x="141" y="50"/>
                    <a:pt x="141" y="50"/>
                    <a:pt x="141" y="50"/>
                  </a:cubicBezTo>
                  <a:cubicBezTo>
                    <a:pt x="141" y="50"/>
                    <a:pt x="141" y="50"/>
                    <a:pt x="141" y="50"/>
                  </a:cubicBezTo>
                  <a:cubicBezTo>
                    <a:pt x="141" y="50"/>
                    <a:pt x="141" y="50"/>
                    <a:pt x="141" y="50"/>
                  </a:cubicBezTo>
                  <a:cubicBezTo>
                    <a:pt x="141" y="50"/>
                    <a:pt x="141" y="50"/>
                    <a:pt x="141" y="50"/>
                  </a:cubicBezTo>
                  <a:cubicBezTo>
                    <a:pt x="142" y="53"/>
                    <a:pt x="142" y="53"/>
                    <a:pt x="142" y="53"/>
                  </a:cubicBezTo>
                  <a:cubicBezTo>
                    <a:pt x="156" y="54"/>
                    <a:pt x="156" y="54"/>
                    <a:pt x="156" y="54"/>
                  </a:cubicBezTo>
                  <a:cubicBezTo>
                    <a:pt x="156" y="54"/>
                    <a:pt x="156" y="54"/>
                    <a:pt x="156" y="54"/>
                  </a:cubicBezTo>
                  <a:cubicBezTo>
                    <a:pt x="156" y="54"/>
                    <a:pt x="156" y="54"/>
                    <a:pt x="156" y="54"/>
                  </a:cubicBezTo>
                  <a:cubicBezTo>
                    <a:pt x="156" y="54"/>
                    <a:pt x="156" y="54"/>
                    <a:pt x="156" y="54"/>
                  </a:cubicBezTo>
                  <a:cubicBezTo>
                    <a:pt x="156" y="54"/>
                    <a:pt x="156" y="54"/>
                    <a:pt x="156" y="54"/>
                  </a:cubicBezTo>
                  <a:cubicBezTo>
                    <a:pt x="156" y="54"/>
                    <a:pt x="156" y="54"/>
                    <a:pt x="156" y="54"/>
                  </a:cubicBezTo>
                  <a:cubicBezTo>
                    <a:pt x="156" y="54"/>
                    <a:pt x="156" y="54"/>
                    <a:pt x="156" y="54"/>
                  </a:cubicBezTo>
                  <a:cubicBezTo>
                    <a:pt x="156" y="54"/>
                    <a:pt x="156" y="54"/>
                    <a:pt x="156" y="54"/>
                  </a:cubicBezTo>
                  <a:cubicBezTo>
                    <a:pt x="156" y="54"/>
                    <a:pt x="156" y="54"/>
                    <a:pt x="156" y="54"/>
                  </a:cubicBezTo>
                  <a:cubicBezTo>
                    <a:pt x="156" y="54"/>
                    <a:pt x="156" y="54"/>
                    <a:pt x="156" y="54"/>
                  </a:cubicBezTo>
                  <a:cubicBezTo>
                    <a:pt x="156" y="54"/>
                    <a:pt x="156" y="54"/>
                    <a:pt x="156" y="54"/>
                  </a:cubicBezTo>
                  <a:cubicBezTo>
                    <a:pt x="156" y="54"/>
                    <a:pt x="156" y="54"/>
                    <a:pt x="156" y="54"/>
                  </a:cubicBezTo>
                  <a:cubicBezTo>
                    <a:pt x="156" y="54"/>
                    <a:pt x="156" y="54"/>
                    <a:pt x="156" y="54"/>
                  </a:cubicBezTo>
                  <a:cubicBezTo>
                    <a:pt x="156" y="54"/>
                    <a:pt x="156" y="54"/>
                    <a:pt x="156" y="54"/>
                  </a:cubicBezTo>
                  <a:cubicBezTo>
                    <a:pt x="156" y="54"/>
                    <a:pt x="156" y="54"/>
                    <a:pt x="156" y="54"/>
                  </a:cubicBezTo>
                  <a:cubicBezTo>
                    <a:pt x="156" y="54"/>
                    <a:pt x="156" y="54"/>
                    <a:pt x="156" y="54"/>
                  </a:cubicBezTo>
                  <a:cubicBezTo>
                    <a:pt x="156" y="54"/>
                    <a:pt x="156" y="54"/>
                    <a:pt x="156" y="54"/>
                  </a:cubicBezTo>
                  <a:cubicBezTo>
                    <a:pt x="156" y="54"/>
                    <a:pt x="156" y="54"/>
                    <a:pt x="156" y="54"/>
                  </a:cubicBezTo>
                  <a:cubicBezTo>
                    <a:pt x="156" y="54"/>
                    <a:pt x="156" y="54"/>
                    <a:pt x="156" y="54"/>
                  </a:cubicBezTo>
                  <a:cubicBezTo>
                    <a:pt x="157" y="54"/>
                    <a:pt x="157" y="54"/>
                    <a:pt x="157" y="54"/>
                  </a:cubicBezTo>
                  <a:cubicBezTo>
                    <a:pt x="157" y="54"/>
                    <a:pt x="157" y="54"/>
                    <a:pt x="157" y="54"/>
                  </a:cubicBezTo>
                  <a:cubicBezTo>
                    <a:pt x="157" y="54"/>
                    <a:pt x="157" y="54"/>
                    <a:pt x="157" y="54"/>
                  </a:cubicBezTo>
                  <a:cubicBezTo>
                    <a:pt x="157" y="54"/>
                    <a:pt x="157" y="54"/>
                    <a:pt x="157" y="54"/>
                  </a:cubicBezTo>
                  <a:cubicBezTo>
                    <a:pt x="157" y="54"/>
                    <a:pt x="157" y="54"/>
                    <a:pt x="157" y="54"/>
                  </a:cubicBezTo>
                  <a:cubicBezTo>
                    <a:pt x="157" y="54"/>
                    <a:pt x="157" y="54"/>
                    <a:pt x="157" y="54"/>
                  </a:cubicBezTo>
                  <a:cubicBezTo>
                    <a:pt x="157" y="54"/>
                    <a:pt x="157" y="54"/>
                    <a:pt x="157" y="54"/>
                  </a:cubicBezTo>
                  <a:cubicBezTo>
                    <a:pt x="157" y="54"/>
                    <a:pt x="157" y="54"/>
                    <a:pt x="157" y="54"/>
                  </a:cubicBezTo>
                  <a:cubicBezTo>
                    <a:pt x="157" y="54"/>
                    <a:pt x="157" y="54"/>
                    <a:pt x="157" y="54"/>
                  </a:cubicBezTo>
                  <a:cubicBezTo>
                    <a:pt x="157" y="54"/>
                    <a:pt x="157" y="54"/>
                    <a:pt x="157" y="54"/>
                  </a:cubicBezTo>
                  <a:cubicBezTo>
                    <a:pt x="157" y="54"/>
                    <a:pt x="157" y="54"/>
                    <a:pt x="157" y="54"/>
                  </a:cubicBezTo>
                  <a:cubicBezTo>
                    <a:pt x="157" y="54"/>
                    <a:pt x="157" y="54"/>
                    <a:pt x="157" y="54"/>
                  </a:cubicBezTo>
                  <a:cubicBezTo>
                    <a:pt x="157" y="54"/>
                    <a:pt x="157" y="54"/>
                    <a:pt x="157" y="54"/>
                  </a:cubicBezTo>
                  <a:cubicBezTo>
                    <a:pt x="157" y="54"/>
                    <a:pt x="157" y="54"/>
                    <a:pt x="157" y="54"/>
                  </a:cubicBezTo>
                  <a:cubicBezTo>
                    <a:pt x="158" y="53"/>
                    <a:pt x="158" y="53"/>
                    <a:pt x="158" y="53"/>
                  </a:cubicBezTo>
                  <a:cubicBezTo>
                    <a:pt x="158" y="53"/>
                    <a:pt x="158" y="53"/>
                    <a:pt x="158" y="53"/>
                  </a:cubicBezTo>
                  <a:cubicBezTo>
                    <a:pt x="158" y="53"/>
                    <a:pt x="158" y="53"/>
                    <a:pt x="158" y="53"/>
                  </a:cubicBezTo>
                  <a:cubicBezTo>
                    <a:pt x="158" y="53"/>
                    <a:pt x="158" y="53"/>
                    <a:pt x="158" y="53"/>
                  </a:cubicBezTo>
                  <a:cubicBezTo>
                    <a:pt x="158" y="53"/>
                    <a:pt x="158" y="53"/>
                    <a:pt x="158" y="53"/>
                  </a:cubicBezTo>
                  <a:cubicBezTo>
                    <a:pt x="158" y="53"/>
                    <a:pt x="158" y="53"/>
                    <a:pt x="158" y="53"/>
                  </a:cubicBezTo>
                  <a:cubicBezTo>
                    <a:pt x="158" y="53"/>
                    <a:pt x="158" y="53"/>
                    <a:pt x="158" y="53"/>
                  </a:cubicBezTo>
                  <a:cubicBezTo>
                    <a:pt x="158" y="53"/>
                    <a:pt x="158" y="53"/>
                    <a:pt x="158" y="53"/>
                  </a:cubicBezTo>
                  <a:cubicBezTo>
                    <a:pt x="158" y="53"/>
                    <a:pt x="158" y="53"/>
                    <a:pt x="158" y="53"/>
                  </a:cubicBezTo>
                  <a:cubicBezTo>
                    <a:pt x="158" y="53"/>
                    <a:pt x="158" y="53"/>
                    <a:pt x="158" y="53"/>
                  </a:cubicBezTo>
                  <a:cubicBezTo>
                    <a:pt x="158" y="53"/>
                    <a:pt x="158" y="53"/>
                    <a:pt x="158" y="53"/>
                  </a:cubicBezTo>
                  <a:cubicBezTo>
                    <a:pt x="158" y="53"/>
                    <a:pt x="158" y="53"/>
                    <a:pt x="158" y="53"/>
                  </a:cubicBezTo>
                  <a:cubicBezTo>
                    <a:pt x="158" y="53"/>
                    <a:pt x="158" y="53"/>
                    <a:pt x="158" y="53"/>
                  </a:cubicBezTo>
                  <a:cubicBezTo>
                    <a:pt x="158" y="53"/>
                    <a:pt x="158" y="53"/>
                    <a:pt x="158" y="53"/>
                  </a:cubicBezTo>
                  <a:cubicBezTo>
                    <a:pt x="158" y="53"/>
                    <a:pt x="158" y="53"/>
                    <a:pt x="158" y="53"/>
                  </a:cubicBezTo>
                  <a:cubicBezTo>
                    <a:pt x="158" y="53"/>
                    <a:pt x="158" y="53"/>
                    <a:pt x="158" y="53"/>
                  </a:cubicBezTo>
                  <a:cubicBezTo>
                    <a:pt x="158" y="53"/>
                    <a:pt x="158" y="53"/>
                    <a:pt x="158" y="53"/>
                  </a:cubicBezTo>
                  <a:cubicBezTo>
                    <a:pt x="158" y="53"/>
                    <a:pt x="158" y="53"/>
                    <a:pt x="158" y="53"/>
                  </a:cubicBezTo>
                  <a:cubicBezTo>
                    <a:pt x="158" y="53"/>
                    <a:pt x="158" y="53"/>
                    <a:pt x="158" y="53"/>
                  </a:cubicBezTo>
                  <a:cubicBezTo>
                    <a:pt x="158" y="53"/>
                    <a:pt x="158" y="53"/>
                    <a:pt x="158" y="53"/>
                  </a:cubicBezTo>
                  <a:cubicBezTo>
                    <a:pt x="158" y="53"/>
                    <a:pt x="158" y="53"/>
                    <a:pt x="158" y="53"/>
                  </a:cubicBezTo>
                  <a:cubicBezTo>
                    <a:pt x="159" y="53"/>
                    <a:pt x="159" y="53"/>
                    <a:pt x="159" y="53"/>
                  </a:cubicBezTo>
                  <a:cubicBezTo>
                    <a:pt x="159" y="53"/>
                    <a:pt x="159" y="53"/>
                    <a:pt x="159" y="53"/>
                  </a:cubicBezTo>
                  <a:cubicBezTo>
                    <a:pt x="159" y="53"/>
                    <a:pt x="159" y="53"/>
                    <a:pt x="159" y="53"/>
                  </a:cubicBezTo>
                  <a:cubicBezTo>
                    <a:pt x="159" y="53"/>
                    <a:pt x="159" y="53"/>
                    <a:pt x="159" y="53"/>
                  </a:cubicBezTo>
                  <a:cubicBezTo>
                    <a:pt x="159" y="53"/>
                    <a:pt x="159" y="53"/>
                    <a:pt x="159" y="53"/>
                  </a:cubicBezTo>
                  <a:cubicBezTo>
                    <a:pt x="159" y="53"/>
                    <a:pt x="159" y="53"/>
                    <a:pt x="159" y="53"/>
                  </a:cubicBezTo>
                  <a:cubicBezTo>
                    <a:pt x="159" y="53"/>
                    <a:pt x="159" y="53"/>
                    <a:pt x="159" y="53"/>
                  </a:cubicBezTo>
                  <a:cubicBezTo>
                    <a:pt x="159" y="53"/>
                    <a:pt x="159" y="53"/>
                    <a:pt x="159" y="53"/>
                  </a:cubicBezTo>
                  <a:cubicBezTo>
                    <a:pt x="159" y="53"/>
                    <a:pt x="159" y="53"/>
                    <a:pt x="159" y="53"/>
                  </a:cubicBezTo>
                  <a:cubicBezTo>
                    <a:pt x="159" y="53"/>
                    <a:pt x="159" y="53"/>
                    <a:pt x="159" y="53"/>
                  </a:cubicBezTo>
                  <a:cubicBezTo>
                    <a:pt x="159" y="53"/>
                    <a:pt x="159" y="53"/>
                    <a:pt x="159" y="53"/>
                  </a:cubicBezTo>
                  <a:cubicBezTo>
                    <a:pt x="159" y="53"/>
                    <a:pt x="159" y="53"/>
                    <a:pt x="159" y="53"/>
                  </a:cubicBezTo>
                  <a:cubicBezTo>
                    <a:pt x="159" y="53"/>
                    <a:pt x="159" y="53"/>
                    <a:pt x="159" y="53"/>
                  </a:cubicBezTo>
                  <a:cubicBezTo>
                    <a:pt x="159" y="53"/>
                    <a:pt x="159" y="53"/>
                    <a:pt x="159" y="53"/>
                  </a:cubicBezTo>
                  <a:cubicBezTo>
                    <a:pt x="159" y="53"/>
                    <a:pt x="159" y="53"/>
                    <a:pt x="159" y="53"/>
                  </a:cubicBezTo>
                  <a:cubicBezTo>
                    <a:pt x="159" y="53"/>
                    <a:pt x="159" y="53"/>
                    <a:pt x="159" y="53"/>
                  </a:cubicBezTo>
                  <a:cubicBezTo>
                    <a:pt x="159" y="53"/>
                    <a:pt x="159" y="53"/>
                    <a:pt x="159" y="53"/>
                  </a:cubicBezTo>
                  <a:cubicBezTo>
                    <a:pt x="159" y="53"/>
                    <a:pt x="159" y="53"/>
                    <a:pt x="159" y="53"/>
                  </a:cubicBezTo>
                  <a:cubicBezTo>
                    <a:pt x="159" y="53"/>
                    <a:pt x="159" y="53"/>
                    <a:pt x="159" y="53"/>
                  </a:cubicBezTo>
                  <a:cubicBezTo>
                    <a:pt x="159" y="52"/>
                    <a:pt x="159" y="52"/>
                    <a:pt x="159" y="52"/>
                  </a:cubicBezTo>
                  <a:cubicBezTo>
                    <a:pt x="159" y="52"/>
                    <a:pt x="159" y="52"/>
                    <a:pt x="159" y="52"/>
                  </a:cubicBezTo>
                  <a:cubicBezTo>
                    <a:pt x="159" y="52"/>
                    <a:pt x="159" y="52"/>
                    <a:pt x="159" y="52"/>
                  </a:cubicBezTo>
                  <a:cubicBezTo>
                    <a:pt x="159" y="52"/>
                    <a:pt x="159" y="52"/>
                    <a:pt x="159" y="52"/>
                  </a:cubicBezTo>
                  <a:cubicBezTo>
                    <a:pt x="159" y="52"/>
                    <a:pt x="159" y="52"/>
                    <a:pt x="159" y="52"/>
                  </a:cubicBezTo>
                  <a:cubicBezTo>
                    <a:pt x="159" y="52"/>
                    <a:pt x="159" y="52"/>
                    <a:pt x="159" y="52"/>
                  </a:cubicBezTo>
                  <a:cubicBezTo>
                    <a:pt x="159" y="52"/>
                    <a:pt x="159" y="52"/>
                    <a:pt x="159" y="52"/>
                  </a:cubicBezTo>
                  <a:cubicBezTo>
                    <a:pt x="159" y="52"/>
                    <a:pt x="159" y="52"/>
                    <a:pt x="159" y="52"/>
                  </a:cubicBezTo>
                  <a:cubicBezTo>
                    <a:pt x="159" y="52"/>
                    <a:pt x="159" y="52"/>
                    <a:pt x="159"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1" y="52"/>
                    <a:pt x="161" y="52"/>
                    <a:pt x="161" y="52"/>
                  </a:cubicBezTo>
                  <a:cubicBezTo>
                    <a:pt x="161" y="52"/>
                    <a:pt x="161" y="52"/>
                    <a:pt x="161" y="52"/>
                  </a:cubicBezTo>
                  <a:cubicBezTo>
                    <a:pt x="161" y="52"/>
                    <a:pt x="161" y="52"/>
                    <a:pt x="161" y="52"/>
                  </a:cubicBezTo>
                  <a:cubicBezTo>
                    <a:pt x="161" y="52"/>
                    <a:pt x="161" y="52"/>
                    <a:pt x="161" y="52"/>
                  </a:cubicBezTo>
                  <a:cubicBezTo>
                    <a:pt x="161" y="52"/>
                    <a:pt x="161" y="52"/>
                    <a:pt x="161" y="52"/>
                  </a:cubicBezTo>
                  <a:cubicBezTo>
                    <a:pt x="161" y="52"/>
                    <a:pt x="161" y="52"/>
                    <a:pt x="161" y="52"/>
                  </a:cubicBezTo>
                  <a:cubicBezTo>
                    <a:pt x="161" y="52"/>
                    <a:pt x="161" y="52"/>
                    <a:pt x="161" y="52"/>
                  </a:cubicBezTo>
                  <a:cubicBezTo>
                    <a:pt x="162" y="52"/>
                    <a:pt x="161" y="53"/>
                    <a:pt x="163" y="53"/>
                  </a:cubicBezTo>
                  <a:cubicBezTo>
                    <a:pt x="165" y="54"/>
                    <a:pt x="167" y="55"/>
                    <a:pt x="169" y="55"/>
                  </a:cubicBezTo>
                  <a:cubicBezTo>
                    <a:pt x="173" y="55"/>
                    <a:pt x="173" y="55"/>
                    <a:pt x="173" y="55"/>
                  </a:cubicBezTo>
                  <a:cubicBezTo>
                    <a:pt x="173" y="53"/>
                    <a:pt x="173" y="53"/>
                    <a:pt x="173" y="53"/>
                  </a:cubicBezTo>
                  <a:cubicBezTo>
                    <a:pt x="174" y="54"/>
                    <a:pt x="173" y="49"/>
                    <a:pt x="172" y="46"/>
                  </a:cubicBezTo>
                  <a:cubicBezTo>
                    <a:pt x="172" y="47"/>
                    <a:pt x="172" y="47"/>
                    <a:pt x="172" y="47"/>
                  </a:cubicBezTo>
                  <a:cubicBezTo>
                    <a:pt x="171" y="45"/>
                    <a:pt x="171" y="45"/>
                    <a:pt x="171" y="45"/>
                  </a:cubicBezTo>
                  <a:cubicBezTo>
                    <a:pt x="170" y="45"/>
                    <a:pt x="170" y="44"/>
                    <a:pt x="170" y="43"/>
                  </a:cubicBezTo>
                  <a:cubicBezTo>
                    <a:pt x="170" y="43"/>
                    <a:pt x="169" y="43"/>
                    <a:pt x="169" y="43"/>
                  </a:cubicBezTo>
                  <a:cubicBezTo>
                    <a:pt x="169" y="43"/>
                    <a:pt x="168" y="43"/>
                    <a:pt x="166" y="43"/>
                  </a:cubicBezTo>
                  <a:cubicBezTo>
                    <a:pt x="162" y="42"/>
                    <a:pt x="162" y="42"/>
                    <a:pt x="162" y="42"/>
                  </a:cubicBezTo>
                  <a:cubicBezTo>
                    <a:pt x="159" y="41"/>
                    <a:pt x="159" y="41"/>
                    <a:pt x="159" y="41"/>
                  </a:cubicBezTo>
                  <a:cubicBezTo>
                    <a:pt x="157" y="37"/>
                    <a:pt x="157" y="37"/>
                    <a:pt x="157" y="37"/>
                  </a:cubicBezTo>
                  <a:cubicBezTo>
                    <a:pt x="154" y="35"/>
                    <a:pt x="154" y="35"/>
                    <a:pt x="154" y="35"/>
                  </a:cubicBezTo>
                  <a:cubicBezTo>
                    <a:pt x="151" y="30"/>
                    <a:pt x="151" y="30"/>
                    <a:pt x="151" y="30"/>
                  </a:cubicBezTo>
                  <a:cubicBezTo>
                    <a:pt x="152" y="27"/>
                    <a:pt x="152" y="27"/>
                    <a:pt x="152" y="27"/>
                  </a:cubicBezTo>
                  <a:cubicBezTo>
                    <a:pt x="156" y="24"/>
                    <a:pt x="156" y="24"/>
                    <a:pt x="156" y="24"/>
                  </a:cubicBezTo>
                  <a:cubicBezTo>
                    <a:pt x="156" y="24"/>
                    <a:pt x="156" y="24"/>
                    <a:pt x="156" y="23"/>
                  </a:cubicBezTo>
                  <a:cubicBezTo>
                    <a:pt x="155" y="22"/>
                    <a:pt x="154" y="22"/>
                    <a:pt x="153" y="21"/>
                  </a:cubicBezTo>
                  <a:cubicBezTo>
                    <a:pt x="153" y="21"/>
                    <a:pt x="152" y="22"/>
                    <a:pt x="151" y="22"/>
                  </a:cubicBezTo>
                  <a:cubicBezTo>
                    <a:pt x="151" y="22"/>
                    <a:pt x="151" y="22"/>
                    <a:pt x="151" y="22"/>
                  </a:cubicBezTo>
                  <a:cubicBezTo>
                    <a:pt x="140" y="22"/>
                    <a:pt x="140" y="22"/>
                    <a:pt x="140" y="22"/>
                  </a:cubicBezTo>
                  <a:cubicBezTo>
                    <a:pt x="136" y="18"/>
                    <a:pt x="136" y="18"/>
                    <a:pt x="136" y="18"/>
                  </a:cubicBezTo>
                  <a:cubicBezTo>
                    <a:pt x="132" y="17"/>
                    <a:pt x="132" y="17"/>
                    <a:pt x="132" y="17"/>
                  </a:cubicBezTo>
                  <a:cubicBezTo>
                    <a:pt x="128" y="15"/>
                    <a:pt x="128" y="15"/>
                    <a:pt x="128" y="15"/>
                  </a:cubicBezTo>
                  <a:cubicBezTo>
                    <a:pt x="127" y="15"/>
                    <a:pt x="127" y="15"/>
                    <a:pt x="127" y="15"/>
                  </a:cubicBezTo>
                  <a:cubicBezTo>
                    <a:pt x="127" y="14"/>
                    <a:pt x="127" y="14"/>
                    <a:pt x="127" y="9"/>
                  </a:cubicBezTo>
                  <a:cubicBezTo>
                    <a:pt x="127" y="8"/>
                    <a:pt x="127" y="7"/>
                    <a:pt x="126" y="6"/>
                  </a:cubicBezTo>
                  <a:cubicBezTo>
                    <a:pt x="126" y="6"/>
                    <a:pt x="126" y="5"/>
                    <a:pt x="126" y="4"/>
                  </a:cubicBezTo>
                  <a:cubicBezTo>
                    <a:pt x="126" y="4"/>
                    <a:pt x="126" y="4"/>
                    <a:pt x="126" y="4"/>
                  </a:cubicBezTo>
                  <a:cubicBezTo>
                    <a:pt x="123" y="4"/>
                    <a:pt x="122" y="4"/>
                    <a:pt x="122" y="4"/>
                  </a:cubicBezTo>
                  <a:cubicBezTo>
                    <a:pt x="122" y="4"/>
                    <a:pt x="121" y="5"/>
                    <a:pt x="120" y="5"/>
                  </a:cubicBezTo>
                  <a:cubicBezTo>
                    <a:pt x="119" y="5"/>
                    <a:pt x="117" y="4"/>
                    <a:pt x="117" y="4"/>
                  </a:cubicBezTo>
                  <a:cubicBezTo>
                    <a:pt x="111" y="3"/>
                    <a:pt x="109" y="2"/>
                    <a:pt x="109" y="1"/>
                  </a:cubicBezTo>
                  <a:cubicBezTo>
                    <a:pt x="108" y="1"/>
                    <a:pt x="108" y="1"/>
                    <a:pt x="107" y="1"/>
                  </a:cubicBezTo>
                  <a:cubicBezTo>
                    <a:pt x="105" y="1"/>
                    <a:pt x="103" y="1"/>
                    <a:pt x="103" y="1"/>
                  </a:cubicBezTo>
                  <a:cubicBezTo>
                    <a:pt x="102" y="1"/>
                    <a:pt x="102" y="1"/>
                    <a:pt x="102" y="1"/>
                  </a:cubicBezTo>
                  <a:cubicBezTo>
                    <a:pt x="100" y="0"/>
                    <a:pt x="100" y="0"/>
                    <a:pt x="100" y="0"/>
                  </a:cubicBezTo>
                  <a:cubicBezTo>
                    <a:pt x="101" y="10"/>
                    <a:pt x="101" y="10"/>
                    <a:pt x="101" y="10"/>
                  </a:cubicBezTo>
                  <a:cubicBezTo>
                    <a:pt x="96" y="5"/>
                    <a:pt x="96" y="5"/>
                    <a:pt x="96" y="5"/>
                  </a:cubicBezTo>
                  <a:cubicBezTo>
                    <a:pt x="90" y="4"/>
                    <a:pt x="90" y="4"/>
                    <a:pt x="90" y="4"/>
                  </a:cubicBezTo>
                  <a:cubicBezTo>
                    <a:pt x="86" y="7"/>
                    <a:pt x="86" y="7"/>
                    <a:pt x="86" y="7"/>
                  </a:cubicBezTo>
                  <a:cubicBezTo>
                    <a:pt x="83" y="8"/>
                    <a:pt x="83" y="8"/>
                    <a:pt x="83" y="8"/>
                  </a:cubicBezTo>
                  <a:cubicBezTo>
                    <a:pt x="83" y="9"/>
                    <a:pt x="83" y="9"/>
                    <a:pt x="83" y="9"/>
                  </a:cubicBezTo>
                  <a:cubicBezTo>
                    <a:pt x="82" y="11"/>
                    <a:pt x="82" y="11"/>
                    <a:pt x="82" y="11"/>
                  </a:cubicBezTo>
                  <a:cubicBezTo>
                    <a:pt x="83" y="11"/>
                    <a:pt x="83" y="11"/>
                    <a:pt x="84" y="11"/>
                  </a:cubicBezTo>
                  <a:cubicBezTo>
                    <a:pt x="85" y="11"/>
                    <a:pt x="85" y="11"/>
                    <a:pt x="85" y="11"/>
                  </a:cubicBezTo>
                  <a:cubicBezTo>
                    <a:pt x="86" y="12"/>
                    <a:pt x="86" y="12"/>
                    <a:pt x="86" y="12"/>
                  </a:cubicBezTo>
                  <a:cubicBezTo>
                    <a:pt x="87" y="12"/>
                    <a:pt x="87" y="12"/>
                    <a:pt x="87" y="12"/>
                  </a:cubicBezTo>
                  <a:cubicBezTo>
                    <a:pt x="87" y="13"/>
                    <a:pt x="87" y="14"/>
                    <a:pt x="87" y="14"/>
                  </a:cubicBezTo>
                  <a:cubicBezTo>
                    <a:pt x="87" y="14"/>
                    <a:pt x="87" y="14"/>
                    <a:pt x="87" y="14"/>
                  </a:cubicBezTo>
                  <a:cubicBezTo>
                    <a:pt x="87" y="14"/>
                    <a:pt x="87" y="14"/>
                    <a:pt x="87" y="14"/>
                  </a:cubicBezTo>
                  <a:cubicBezTo>
                    <a:pt x="88" y="15"/>
                    <a:pt x="88" y="15"/>
                    <a:pt x="89" y="15"/>
                  </a:cubicBezTo>
                  <a:cubicBezTo>
                    <a:pt x="89" y="15"/>
                    <a:pt x="89" y="15"/>
                    <a:pt x="89" y="15"/>
                  </a:cubicBezTo>
                  <a:cubicBezTo>
                    <a:pt x="89" y="15"/>
                    <a:pt x="90" y="15"/>
                    <a:pt x="90" y="15"/>
                  </a:cubicBezTo>
                  <a:cubicBezTo>
                    <a:pt x="92" y="15"/>
                    <a:pt x="92" y="15"/>
                    <a:pt x="92" y="15"/>
                  </a:cubicBezTo>
                  <a:cubicBezTo>
                    <a:pt x="93" y="16"/>
                    <a:pt x="93" y="16"/>
                    <a:pt x="93" y="16"/>
                  </a:cubicBezTo>
                  <a:cubicBezTo>
                    <a:pt x="93" y="16"/>
                    <a:pt x="93" y="17"/>
                    <a:pt x="94" y="17"/>
                  </a:cubicBezTo>
                  <a:cubicBezTo>
                    <a:pt x="94" y="17"/>
                    <a:pt x="94" y="17"/>
                    <a:pt x="94" y="17"/>
                  </a:cubicBezTo>
                  <a:cubicBezTo>
                    <a:pt x="95" y="16"/>
                    <a:pt x="95" y="16"/>
                    <a:pt x="95" y="16"/>
                  </a:cubicBezTo>
                  <a:cubicBezTo>
                    <a:pt x="96" y="17"/>
                    <a:pt x="96" y="17"/>
                    <a:pt x="96" y="17"/>
                  </a:cubicBezTo>
                  <a:cubicBezTo>
                    <a:pt x="96" y="18"/>
                    <a:pt x="97" y="18"/>
                    <a:pt x="97" y="19"/>
                  </a:cubicBezTo>
                  <a:cubicBezTo>
                    <a:pt x="97" y="20"/>
                    <a:pt x="97" y="20"/>
                    <a:pt x="97" y="20"/>
                  </a:cubicBezTo>
                  <a:cubicBezTo>
                    <a:pt x="100" y="24"/>
                    <a:pt x="100" y="24"/>
                    <a:pt x="100" y="24"/>
                  </a:cubicBezTo>
                  <a:cubicBezTo>
                    <a:pt x="99" y="25"/>
                    <a:pt x="99" y="25"/>
                    <a:pt x="99" y="25"/>
                  </a:cubicBezTo>
                  <a:cubicBezTo>
                    <a:pt x="99" y="25"/>
                    <a:pt x="99" y="25"/>
                    <a:pt x="99" y="25"/>
                  </a:cubicBezTo>
                  <a:cubicBezTo>
                    <a:pt x="99" y="26"/>
                    <a:pt x="99" y="27"/>
                    <a:pt x="99" y="29"/>
                  </a:cubicBezTo>
                  <a:cubicBezTo>
                    <a:pt x="98" y="30"/>
                    <a:pt x="98" y="31"/>
                    <a:pt x="98" y="32"/>
                  </a:cubicBezTo>
                  <a:cubicBezTo>
                    <a:pt x="98" y="32"/>
                    <a:pt x="98" y="32"/>
                    <a:pt x="98" y="32"/>
                  </a:cubicBezTo>
                  <a:cubicBezTo>
                    <a:pt x="98" y="33"/>
                    <a:pt x="98" y="33"/>
                    <a:pt x="98" y="33"/>
                  </a:cubicBezTo>
                  <a:cubicBezTo>
                    <a:pt x="97" y="34"/>
                    <a:pt x="97" y="34"/>
                    <a:pt x="97" y="34"/>
                  </a:cubicBezTo>
                  <a:cubicBezTo>
                    <a:pt x="97" y="35"/>
                    <a:pt x="96" y="35"/>
                    <a:pt x="95" y="35"/>
                  </a:cubicBezTo>
                  <a:cubicBezTo>
                    <a:pt x="92" y="36"/>
                    <a:pt x="92" y="36"/>
                    <a:pt x="92" y="36"/>
                  </a:cubicBezTo>
                  <a:cubicBezTo>
                    <a:pt x="92" y="36"/>
                    <a:pt x="92" y="36"/>
                    <a:pt x="91" y="37"/>
                  </a:cubicBezTo>
                  <a:cubicBezTo>
                    <a:pt x="91" y="37"/>
                    <a:pt x="91" y="37"/>
                    <a:pt x="91" y="37"/>
                  </a:cubicBezTo>
                  <a:cubicBezTo>
                    <a:pt x="89" y="38"/>
                    <a:pt x="89" y="38"/>
                    <a:pt x="89" y="38"/>
                  </a:cubicBezTo>
                  <a:cubicBezTo>
                    <a:pt x="88" y="37"/>
                    <a:pt x="88" y="37"/>
                    <a:pt x="88" y="37"/>
                  </a:cubicBezTo>
                  <a:cubicBezTo>
                    <a:pt x="86" y="35"/>
                    <a:pt x="86" y="35"/>
                    <a:pt x="86" y="35"/>
                  </a:cubicBezTo>
                  <a:cubicBezTo>
                    <a:pt x="86" y="35"/>
                    <a:pt x="86" y="35"/>
                    <a:pt x="86" y="35"/>
                  </a:cubicBezTo>
                  <a:cubicBezTo>
                    <a:pt x="85" y="34"/>
                    <a:pt x="85" y="34"/>
                    <a:pt x="85" y="34"/>
                  </a:cubicBezTo>
                  <a:cubicBezTo>
                    <a:pt x="85" y="34"/>
                    <a:pt x="85" y="34"/>
                    <a:pt x="85" y="34"/>
                  </a:cubicBezTo>
                  <a:cubicBezTo>
                    <a:pt x="85" y="34"/>
                    <a:pt x="85" y="34"/>
                    <a:pt x="85" y="34"/>
                  </a:cubicBezTo>
                  <a:cubicBezTo>
                    <a:pt x="85" y="34"/>
                    <a:pt x="85" y="34"/>
                    <a:pt x="85" y="34"/>
                  </a:cubicBezTo>
                  <a:cubicBezTo>
                    <a:pt x="84" y="35"/>
                    <a:pt x="84" y="35"/>
                    <a:pt x="84" y="35"/>
                  </a:cubicBezTo>
                  <a:cubicBezTo>
                    <a:pt x="82" y="35"/>
                    <a:pt x="82" y="35"/>
                    <a:pt x="82" y="35"/>
                  </a:cubicBezTo>
                  <a:cubicBezTo>
                    <a:pt x="81" y="32"/>
                    <a:pt x="81" y="32"/>
                    <a:pt x="81" y="32"/>
                  </a:cubicBezTo>
                  <a:cubicBezTo>
                    <a:pt x="81" y="32"/>
                    <a:pt x="81" y="32"/>
                    <a:pt x="81" y="32"/>
                  </a:cubicBezTo>
                  <a:cubicBezTo>
                    <a:pt x="81" y="32"/>
                    <a:pt x="81" y="32"/>
                    <a:pt x="81" y="32"/>
                  </a:cubicBezTo>
                  <a:cubicBezTo>
                    <a:pt x="81" y="32"/>
                    <a:pt x="81" y="31"/>
                    <a:pt x="81" y="31"/>
                  </a:cubicBezTo>
                  <a:cubicBezTo>
                    <a:pt x="81" y="31"/>
                    <a:pt x="80" y="31"/>
                    <a:pt x="80" y="31"/>
                  </a:cubicBezTo>
                  <a:cubicBezTo>
                    <a:pt x="80" y="31"/>
                    <a:pt x="79" y="31"/>
                    <a:pt x="79" y="31"/>
                  </a:cubicBezTo>
                  <a:cubicBezTo>
                    <a:pt x="79" y="32"/>
                    <a:pt x="78" y="32"/>
                    <a:pt x="78" y="32"/>
                  </a:cubicBezTo>
                  <a:cubicBezTo>
                    <a:pt x="78" y="33"/>
                    <a:pt x="78" y="33"/>
                    <a:pt x="78" y="33"/>
                  </a:cubicBezTo>
                  <a:cubicBezTo>
                    <a:pt x="77" y="34"/>
                    <a:pt x="77" y="34"/>
                    <a:pt x="77" y="34"/>
                  </a:cubicBezTo>
                  <a:cubicBezTo>
                    <a:pt x="77" y="34"/>
                    <a:pt x="77" y="35"/>
                    <a:pt x="76" y="35"/>
                  </a:cubicBezTo>
                  <a:cubicBezTo>
                    <a:pt x="76" y="35"/>
                    <a:pt x="76" y="36"/>
                    <a:pt x="76" y="36"/>
                  </a:cubicBezTo>
                  <a:cubicBezTo>
                    <a:pt x="75" y="36"/>
                    <a:pt x="75" y="36"/>
                    <a:pt x="75" y="36"/>
                  </a:cubicBezTo>
                  <a:cubicBezTo>
                    <a:pt x="75" y="37"/>
                    <a:pt x="75" y="37"/>
                    <a:pt x="75" y="37"/>
                  </a:cubicBezTo>
                  <a:cubicBezTo>
                    <a:pt x="74" y="38"/>
                    <a:pt x="74" y="38"/>
                    <a:pt x="74" y="38"/>
                  </a:cubicBezTo>
                  <a:cubicBezTo>
                    <a:pt x="73" y="38"/>
                    <a:pt x="73" y="38"/>
                    <a:pt x="73" y="38"/>
                  </a:cubicBezTo>
                  <a:cubicBezTo>
                    <a:pt x="71" y="38"/>
                    <a:pt x="71" y="38"/>
                    <a:pt x="71" y="38"/>
                  </a:cubicBezTo>
                  <a:cubicBezTo>
                    <a:pt x="71" y="37"/>
                    <a:pt x="71" y="37"/>
                    <a:pt x="71" y="37"/>
                  </a:cubicBezTo>
                  <a:cubicBezTo>
                    <a:pt x="71" y="37"/>
                    <a:pt x="71" y="37"/>
                    <a:pt x="71" y="37"/>
                  </a:cubicBezTo>
                  <a:cubicBezTo>
                    <a:pt x="71" y="37"/>
                    <a:pt x="70" y="38"/>
                    <a:pt x="70" y="38"/>
                  </a:cubicBezTo>
                  <a:cubicBezTo>
                    <a:pt x="69" y="38"/>
                    <a:pt x="69" y="38"/>
                    <a:pt x="69" y="38"/>
                  </a:cubicBezTo>
                  <a:cubicBezTo>
                    <a:pt x="68" y="37"/>
                    <a:pt x="68" y="37"/>
                    <a:pt x="67" y="37"/>
                  </a:cubicBezTo>
                  <a:cubicBezTo>
                    <a:pt x="66" y="37"/>
                    <a:pt x="66" y="37"/>
                    <a:pt x="66" y="37"/>
                  </a:cubicBezTo>
                  <a:cubicBezTo>
                    <a:pt x="66" y="36"/>
                    <a:pt x="66" y="36"/>
                    <a:pt x="66" y="36"/>
                  </a:cubicBezTo>
                  <a:cubicBezTo>
                    <a:pt x="66" y="36"/>
                    <a:pt x="65" y="35"/>
                    <a:pt x="64" y="35"/>
                  </a:cubicBezTo>
                  <a:cubicBezTo>
                    <a:pt x="64" y="35"/>
                    <a:pt x="64" y="34"/>
                    <a:pt x="64" y="34"/>
                  </a:cubicBezTo>
                  <a:cubicBezTo>
                    <a:pt x="63" y="33"/>
                    <a:pt x="63" y="33"/>
                    <a:pt x="63" y="33"/>
                  </a:cubicBezTo>
                  <a:cubicBezTo>
                    <a:pt x="63" y="33"/>
                    <a:pt x="63" y="32"/>
                    <a:pt x="63" y="31"/>
                  </a:cubicBezTo>
                  <a:cubicBezTo>
                    <a:pt x="63" y="31"/>
                    <a:pt x="63" y="31"/>
                    <a:pt x="63" y="30"/>
                  </a:cubicBezTo>
                  <a:cubicBezTo>
                    <a:pt x="63" y="30"/>
                    <a:pt x="63" y="30"/>
                    <a:pt x="63" y="30"/>
                  </a:cubicBezTo>
                  <a:cubicBezTo>
                    <a:pt x="62" y="29"/>
                    <a:pt x="62" y="29"/>
                    <a:pt x="62" y="29"/>
                  </a:cubicBezTo>
                  <a:cubicBezTo>
                    <a:pt x="62" y="29"/>
                    <a:pt x="62" y="29"/>
                    <a:pt x="62" y="29"/>
                  </a:cubicBezTo>
                  <a:cubicBezTo>
                    <a:pt x="62" y="29"/>
                    <a:pt x="62" y="29"/>
                    <a:pt x="62" y="29"/>
                  </a:cubicBezTo>
                  <a:cubicBezTo>
                    <a:pt x="62" y="29"/>
                    <a:pt x="62" y="28"/>
                    <a:pt x="62" y="28"/>
                  </a:cubicBezTo>
                  <a:cubicBezTo>
                    <a:pt x="60" y="27"/>
                    <a:pt x="60" y="25"/>
                    <a:pt x="60" y="25"/>
                  </a:cubicBezTo>
                  <a:cubicBezTo>
                    <a:pt x="59" y="21"/>
                    <a:pt x="59" y="21"/>
                    <a:pt x="59" y="21"/>
                  </a:cubicBezTo>
                  <a:cubicBezTo>
                    <a:pt x="58" y="20"/>
                    <a:pt x="58" y="20"/>
                    <a:pt x="58" y="20"/>
                  </a:cubicBezTo>
                  <a:cubicBezTo>
                    <a:pt x="58" y="20"/>
                    <a:pt x="58" y="18"/>
                    <a:pt x="58" y="18"/>
                  </a:cubicBezTo>
                  <a:cubicBezTo>
                    <a:pt x="57" y="18"/>
                    <a:pt x="57" y="18"/>
                    <a:pt x="57" y="18"/>
                  </a:cubicBezTo>
                  <a:cubicBezTo>
                    <a:pt x="59" y="15"/>
                    <a:pt x="59" y="15"/>
                    <a:pt x="59" y="15"/>
                  </a:cubicBezTo>
                  <a:cubicBezTo>
                    <a:pt x="59" y="15"/>
                    <a:pt x="61" y="14"/>
                    <a:pt x="61" y="14"/>
                  </a:cubicBezTo>
                  <a:cubicBezTo>
                    <a:pt x="63" y="12"/>
                    <a:pt x="63" y="12"/>
                    <a:pt x="63" y="12"/>
                  </a:cubicBezTo>
                  <a:cubicBezTo>
                    <a:pt x="63" y="12"/>
                    <a:pt x="63" y="12"/>
                    <a:pt x="63" y="12"/>
                  </a:cubicBezTo>
                  <a:cubicBezTo>
                    <a:pt x="63" y="11"/>
                    <a:pt x="63" y="11"/>
                    <a:pt x="63" y="11"/>
                  </a:cubicBezTo>
                  <a:cubicBezTo>
                    <a:pt x="61" y="11"/>
                    <a:pt x="61" y="11"/>
                    <a:pt x="61" y="11"/>
                  </a:cubicBezTo>
                  <a:cubicBezTo>
                    <a:pt x="56" y="9"/>
                    <a:pt x="56" y="9"/>
                    <a:pt x="56" y="9"/>
                  </a:cubicBezTo>
                  <a:cubicBezTo>
                    <a:pt x="46" y="8"/>
                    <a:pt x="46" y="8"/>
                    <a:pt x="46" y="8"/>
                  </a:cubicBezTo>
                  <a:cubicBezTo>
                    <a:pt x="39" y="7"/>
                    <a:pt x="39" y="7"/>
                    <a:pt x="39" y="7"/>
                  </a:cubicBezTo>
                  <a:cubicBezTo>
                    <a:pt x="35" y="2"/>
                    <a:pt x="35" y="2"/>
                    <a:pt x="35" y="2"/>
                  </a:cubicBezTo>
                  <a:cubicBezTo>
                    <a:pt x="30" y="1"/>
                    <a:pt x="30" y="1"/>
                    <a:pt x="30" y="1"/>
                  </a:cubicBezTo>
                  <a:cubicBezTo>
                    <a:pt x="25" y="5"/>
                    <a:pt x="25" y="5"/>
                    <a:pt x="25" y="5"/>
                  </a:cubicBezTo>
                  <a:cubicBezTo>
                    <a:pt x="24" y="5"/>
                    <a:pt x="24" y="5"/>
                    <a:pt x="24" y="5"/>
                  </a:cubicBezTo>
                  <a:cubicBezTo>
                    <a:pt x="24" y="5"/>
                    <a:pt x="23" y="5"/>
                    <a:pt x="22" y="4"/>
                  </a:cubicBezTo>
                  <a:cubicBezTo>
                    <a:pt x="21" y="4"/>
                    <a:pt x="18" y="3"/>
                    <a:pt x="17" y="3"/>
                  </a:cubicBezTo>
                  <a:cubicBezTo>
                    <a:pt x="15" y="3"/>
                    <a:pt x="11" y="4"/>
                    <a:pt x="11" y="5"/>
                  </a:cubicBezTo>
                  <a:cubicBezTo>
                    <a:pt x="11" y="5"/>
                    <a:pt x="10" y="5"/>
                    <a:pt x="10" y="5"/>
                  </a:cubicBezTo>
                  <a:cubicBezTo>
                    <a:pt x="10" y="6"/>
                    <a:pt x="10" y="6"/>
                    <a:pt x="10" y="6"/>
                  </a:cubicBezTo>
                  <a:cubicBezTo>
                    <a:pt x="10" y="6"/>
                    <a:pt x="10" y="6"/>
                    <a:pt x="10" y="6"/>
                  </a:cubicBezTo>
                  <a:cubicBezTo>
                    <a:pt x="10" y="6"/>
                    <a:pt x="10" y="6"/>
                    <a:pt x="9" y="6"/>
                  </a:cubicBezTo>
                  <a:cubicBezTo>
                    <a:pt x="10" y="7"/>
                    <a:pt x="10" y="7"/>
                    <a:pt x="10" y="7"/>
                  </a:cubicBezTo>
                  <a:cubicBezTo>
                    <a:pt x="10" y="8"/>
                    <a:pt x="10" y="9"/>
                    <a:pt x="9" y="9"/>
                  </a:cubicBezTo>
                  <a:cubicBezTo>
                    <a:pt x="9" y="11"/>
                    <a:pt x="9" y="12"/>
                    <a:pt x="8" y="13"/>
                  </a:cubicBezTo>
                  <a:cubicBezTo>
                    <a:pt x="8" y="13"/>
                    <a:pt x="7" y="13"/>
                    <a:pt x="6" y="14"/>
                  </a:cubicBezTo>
                  <a:cubicBezTo>
                    <a:pt x="6" y="14"/>
                    <a:pt x="5" y="14"/>
                    <a:pt x="5" y="15"/>
                  </a:cubicBezTo>
                  <a:cubicBezTo>
                    <a:pt x="4" y="15"/>
                    <a:pt x="4" y="15"/>
                    <a:pt x="4" y="15"/>
                  </a:cubicBezTo>
                  <a:cubicBezTo>
                    <a:pt x="4" y="15"/>
                    <a:pt x="4" y="15"/>
                    <a:pt x="4" y="15"/>
                  </a:cubicBezTo>
                  <a:cubicBezTo>
                    <a:pt x="5" y="16"/>
                    <a:pt x="5" y="16"/>
                    <a:pt x="5" y="16"/>
                  </a:cubicBezTo>
                  <a:cubicBezTo>
                    <a:pt x="5" y="16"/>
                    <a:pt x="5" y="17"/>
                    <a:pt x="6" y="17"/>
                  </a:cubicBezTo>
                  <a:cubicBezTo>
                    <a:pt x="7" y="20"/>
                    <a:pt x="7" y="20"/>
                    <a:pt x="7" y="20"/>
                  </a:cubicBezTo>
                  <a:cubicBezTo>
                    <a:pt x="7" y="20"/>
                    <a:pt x="7" y="20"/>
                    <a:pt x="7" y="20"/>
                  </a:cubicBezTo>
                  <a:cubicBezTo>
                    <a:pt x="7" y="21"/>
                    <a:pt x="6" y="21"/>
                    <a:pt x="6" y="22"/>
                  </a:cubicBezTo>
                  <a:cubicBezTo>
                    <a:pt x="7" y="23"/>
                    <a:pt x="7" y="23"/>
                    <a:pt x="7" y="23"/>
                  </a:cubicBezTo>
                  <a:cubicBezTo>
                    <a:pt x="8" y="24"/>
                    <a:pt x="8" y="24"/>
                    <a:pt x="8" y="24"/>
                  </a:cubicBezTo>
                  <a:cubicBezTo>
                    <a:pt x="8" y="25"/>
                    <a:pt x="8" y="25"/>
                    <a:pt x="8" y="25"/>
                  </a:cubicBezTo>
                  <a:cubicBezTo>
                    <a:pt x="8" y="25"/>
                    <a:pt x="9" y="26"/>
                    <a:pt x="9" y="26"/>
                  </a:cubicBezTo>
                  <a:cubicBezTo>
                    <a:pt x="9" y="27"/>
                    <a:pt x="9" y="27"/>
                    <a:pt x="10" y="27"/>
                  </a:cubicBezTo>
                  <a:cubicBezTo>
                    <a:pt x="10" y="27"/>
                    <a:pt x="10" y="27"/>
                    <a:pt x="10" y="27"/>
                  </a:cubicBezTo>
                  <a:cubicBezTo>
                    <a:pt x="10" y="29"/>
                    <a:pt x="10" y="29"/>
                    <a:pt x="10" y="29"/>
                  </a:cubicBezTo>
                  <a:cubicBezTo>
                    <a:pt x="10" y="29"/>
                    <a:pt x="10" y="31"/>
                    <a:pt x="9" y="32"/>
                  </a:cubicBezTo>
                  <a:cubicBezTo>
                    <a:pt x="9" y="32"/>
                    <a:pt x="9" y="32"/>
                    <a:pt x="9" y="32"/>
                  </a:cubicBezTo>
                  <a:cubicBezTo>
                    <a:pt x="8" y="33"/>
                    <a:pt x="8" y="33"/>
                    <a:pt x="8" y="33"/>
                  </a:cubicBezTo>
                  <a:cubicBezTo>
                    <a:pt x="7" y="34"/>
                    <a:pt x="7" y="34"/>
                    <a:pt x="7" y="35"/>
                  </a:cubicBezTo>
                  <a:cubicBezTo>
                    <a:pt x="6" y="36"/>
                    <a:pt x="6" y="37"/>
                    <a:pt x="6" y="37"/>
                  </a:cubicBezTo>
                  <a:cubicBezTo>
                    <a:pt x="5" y="38"/>
                    <a:pt x="5" y="38"/>
                    <a:pt x="4" y="38"/>
                  </a:cubicBezTo>
                  <a:cubicBezTo>
                    <a:pt x="4" y="39"/>
                    <a:pt x="4" y="39"/>
                    <a:pt x="3" y="39"/>
                  </a:cubicBezTo>
                  <a:cubicBezTo>
                    <a:pt x="3" y="40"/>
                    <a:pt x="3" y="40"/>
                    <a:pt x="3" y="40"/>
                  </a:cubicBezTo>
                  <a:cubicBezTo>
                    <a:pt x="2" y="42"/>
                    <a:pt x="2" y="42"/>
                    <a:pt x="2" y="42"/>
                  </a:cubicBezTo>
                  <a:cubicBezTo>
                    <a:pt x="0" y="43"/>
                    <a:pt x="0" y="43"/>
                    <a:pt x="0" y="43"/>
                  </a:cubicBezTo>
                  <a:cubicBezTo>
                    <a:pt x="1" y="44"/>
                    <a:pt x="2" y="45"/>
                    <a:pt x="2" y="45"/>
                  </a:cubicBezTo>
                  <a:cubicBezTo>
                    <a:pt x="3" y="46"/>
                    <a:pt x="5" y="51"/>
                    <a:pt x="6" y="52"/>
                  </a:cubicBezTo>
                  <a:cubicBezTo>
                    <a:pt x="6" y="54"/>
                    <a:pt x="8" y="57"/>
                    <a:pt x="9" y="60"/>
                  </a:cubicBezTo>
                  <a:cubicBezTo>
                    <a:pt x="10" y="63"/>
                    <a:pt x="11" y="65"/>
                    <a:pt x="11" y="65"/>
                  </a:cubicBezTo>
                  <a:cubicBezTo>
                    <a:pt x="11" y="69"/>
                    <a:pt x="11" y="69"/>
                    <a:pt x="11" y="69"/>
                  </a:cubicBezTo>
                  <a:cubicBezTo>
                    <a:pt x="11" y="69"/>
                    <a:pt x="8" y="74"/>
                    <a:pt x="7" y="77"/>
                  </a:cubicBezTo>
                  <a:cubicBezTo>
                    <a:pt x="7" y="77"/>
                    <a:pt x="7" y="77"/>
                    <a:pt x="7" y="77"/>
                  </a:cubicBezTo>
                  <a:cubicBezTo>
                    <a:pt x="8" y="78"/>
                    <a:pt x="8" y="78"/>
                    <a:pt x="8" y="78"/>
                  </a:cubicBezTo>
                  <a:cubicBezTo>
                    <a:pt x="8" y="78"/>
                    <a:pt x="9" y="80"/>
                    <a:pt x="10" y="80"/>
                  </a:cubicBezTo>
                  <a:cubicBezTo>
                    <a:pt x="10" y="80"/>
                    <a:pt x="10" y="80"/>
                    <a:pt x="10" y="80"/>
                  </a:cubicBezTo>
                  <a:cubicBezTo>
                    <a:pt x="12" y="80"/>
                    <a:pt x="16" y="79"/>
                    <a:pt x="18" y="78"/>
                  </a:cubicBezTo>
                  <a:cubicBezTo>
                    <a:pt x="22" y="76"/>
                    <a:pt x="22" y="76"/>
                    <a:pt x="22" y="76"/>
                  </a:cubicBezTo>
                  <a:cubicBezTo>
                    <a:pt x="26" y="75"/>
                    <a:pt x="26" y="75"/>
                    <a:pt x="26" y="75"/>
                  </a:cubicBezTo>
                  <a:cubicBezTo>
                    <a:pt x="32" y="75"/>
                    <a:pt x="36" y="74"/>
                    <a:pt x="37" y="74"/>
                  </a:cubicBezTo>
                  <a:cubicBezTo>
                    <a:pt x="37" y="73"/>
                    <a:pt x="38" y="73"/>
                    <a:pt x="38" y="73"/>
                  </a:cubicBezTo>
                  <a:cubicBezTo>
                    <a:pt x="37" y="70"/>
                    <a:pt x="37" y="70"/>
                    <a:pt x="37" y="70"/>
                  </a:cubicBezTo>
                  <a:cubicBezTo>
                    <a:pt x="38" y="69"/>
                    <a:pt x="38" y="69"/>
                    <a:pt x="38" y="69"/>
                  </a:cubicBezTo>
                  <a:cubicBezTo>
                    <a:pt x="39" y="68"/>
                    <a:pt x="45" y="65"/>
                    <a:pt x="46" y="65"/>
                  </a:cubicBezTo>
                  <a:cubicBezTo>
                    <a:pt x="46" y="65"/>
                    <a:pt x="47" y="65"/>
                    <a:pt x="47" y="65"/>
                  </a:cubicBezTo>
                  <a:cubicBezTo>
                    <a:pt x="49" y="65"/>
                    <a:pt x="51" y="66"/>
                    <a:pt x="51" y="66"/>
                  </a:cubicBezTo>
                  <a:cubicBezTo>
                    <a:pt x="54" y="69"/>
                    <a:pt x="54" y="69"/>
                    <a:pt x="54" y="69"/>
                  </a:cubicBezTo>
                  <a:cubicBezTo>
                    <a:pt x="57" y="71"/>
                    <a:pt x="57" y="71"/>
                    <a:pt x="57" y="71"/>
                  </a:cubicBezTo>
                  <a:cubicBezTo>
                    <a:pt x="61" y="72"/>
                    <a:pt x="61" y="72"/>
                    <a:pt x="61" y="72"/>
                  </a:cubicBezTo>
                  <a:cubicBezTo>
                    <a:pt x="61" y="73"/>
                    <a:pt x="61" y="73"/>
                    <a:pt x="61" y="73"/>
                  </a:cubicBezTo>
                  <a:cubicBezTo>
                    <a:pt x="61" y="73"/>
                    <a:pt x="64" y="75"/>
                    <a:pt x="65" y="77"/>
                  </a:cubicBezTo>
                  <a:cubicBezTo>
                    <a:pt x="68" y="77"/>
                    <a:pt x="68" y="77"/>
                    <a:pt x="68" y="77"/>
                  </a:cubicBezTo>
                  <a:cubicBezTo>
                    <a:pt x="68" y="76"/>
                    <a:pt x="68" y="76"/>
                    <a:pt x="68" y="76"/>
                  </a:cubicBezTo>
                  <a:lnTo>
                    <a:pt x="66" y="74"/>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2" name="Freeform 240"/>
            <p:cNvSpPr>
              <a:spLocks/>
            </p:cNvSpPr>
            <p:nvPr/>
          </p:nvSpPr>
          <p:spPr bwMode="auto">
            <a:xfrm>
              <a:off x="8716071" y="4894809"/>
              <a:ext cx="190627" cy="104844"/>
            </a:xfrm>
            <a:custGeom>
              <a:avLst/>
              <a:gdLst>
                <a:gd name="T0" fmla="*/ 63 w 66"/>
                <a:gd name="T1" fmla="*/ 33 h 38"/>
                <a:gd name="T2" fmla="*/ 60 w 66"/>
                <a:gd name="T3" fmla="*/ 29 h 38"/>
                <a:gd name="T4" fmla="*/ 55 w 66"/>
                <a:gd name="T5" fmla="*/ 23 h 38"/>
                <a:gd name="T6" fmla="*/ 54 w 66"/>
                <a:gd name="T7" fmla="*/ 21 h 38"/>
                <a:gd name="T8" fmla="*/ 55 w 66"/>
                <a:gd name="T9" fmla="*/ 18 h 38"/>
                <a:gd name="T10" fmla="*/ 55 w 66"/>
                <a:gd name="T11" fmla="*/ 16 h 38"/>
                <a:gd name="T12" fmla="*/ 51 w 66"/>
                <a:gd name="T13" fmla="*/ 15 h 38"/>
                <a:gd name="T14" fmla="*/ 47 w 66"/>
                <a:gd name="T15" fmla="*/ 16 h 38"/>
                <a:gd name="T16" fmla="*/ 45 w 66"/>
                <a:gd name="T17" fmla="*/ 15 h 38"/>
                <a:gd name="T18" fmla="*/ 44 w 66"/>
                <a:gd name="T19" fmla="*/ 13 h 38"/>
                <a:gd name="T20" fmla="*/ 45 w 66"/>
                <a:gd name="T21" fmla="*/ 10 h 38"/>
                <a:gd name="T22" fmla="*/ 44 w 66"/>
                <a:gd name="T23" fmla="*/ 7 h 38"/>
                <a:gd name="T24" fmla="*/ 41 w 66"/>
                <a:gd name="T25" fmla="*/ 4 h 38"/>
                <a:gd name="T26" fmla="*/ 34 w 66"/>
                <a:gd name="T27" fmla="*/ 7 h 38"/>
                <a:gd name="T28" fmla="*/ 30 w 66"/>
                <a:gd name="T29" fmla="*/ 11 h 38"/>
                <a:gd name="T30" fmla="*/ 27 w 66"/>
                <a:gd name="T31" fmla="*/ 8 h 38"/>
                <a:gd name="T32" fmla="*/ 21 w 66"/>
                <a:gd name="T33" fmla="*/ 7 h 38"/>
                <a:gd name="T34" fmla="*/ 19 w 66"/>
                <a:gd name="T35" fmla="*/ 9 h 38"/>
                <a:gd name="T36" fmla="*/ 17 w 66"/>
                <a:gd name="T37" fmla="*/ 8 h 38"/>
                <a:gd name="T38" fmla="*/ 18 w 66"/>
                <a:gd name="T39" fmla="*/ 4 h 38"/>
                <a:gd name="T40" fmla="*/ 13 w 66"/>
                <a:gd name="T41" fmla="*/ 1 h 38"/>
                <a:gd name="T42" fmla="*/ 10 w 66"/>
                <a:gd name="T43" fmla="*/ 0 h 38"/>
                <a:gd name="T44" fmla="*/ 6 w 66"/>
                <a:gd name="T45" fmla="*/ 4 h 38"/>
                <a:gd name="T46" fmla="*/ 0 w 66"/>
                <a:gd name="T47" fmla="*/ 5 h 38"/>
                <a:gd name="T48" fmla="*/ 0 w 66"/>
                <a:gd name="T49" fmla="*/ 8 h 38"/>
                <a:gd name="T50" fmla="*/ 5 w 66"/>
                <a:gd name="T51" fmla="*/ 9 h 38"/>
                <a:gd name="T52" fmla="*/ 8 w 66"/>
                <a:gd name="T53" fmla="*/ 12 h 38"/>
                <a:gd name="T54" fmla="*/ 10 w 66"/>
                <a:gd name="T55" fmla="*/ 17 h 38"/>
                <a:gd name="T56" fmla="*/ 12 w 66"/>
                <a:gd name="T57" fmla="*/ 18 h 38"/>
                <a:gd name="T58" fmla="*/ 15 w 66"/>
                <a:gd name="T59" fmla="*/ 19 h 38"/>
                <a:gd name="T60" fmla="*/ 18 w 66"/>
                <a:gd name="T61" fmla="*/ 22 h 38"/>
                <a:gd name="T62" fmla="*/ 18 w 66"/>
                <a:gd name="T63" fmla="*/ 24 h 38"/>
                <a:gd name="T64" fmla="*/ 21 w 66"/>
                <a:gd name="T65" fmla="*/ 27 h 38"/>
                <a:gd name="T66" fmla="*/ 27 w 66"/>
                <a:gd name="T67" fmla="*/ 28 h 38"/>
                <a:gd name="T68" fmla="*/ 33 w 66"/>
                <a:gd name="T69" fmla="*/ 33 h 38"/>
                <a:gd name="T70" fmla="*/ 37 w 66"/>
                <a:gd name="T71" fmla="*/ 37 h 38"/>
                <a:gd name="T72" fmla="*/ 43 w 66"/>
                <a:gd name="T73" fmla="*/ 37 h 38"/>
                <a:gd name="T74" fmla="*/ 49 w 66"/>
                <a:gd name="T75" fmla="*/ 37 h 38"/>
                <a:gd name="T76" fmla="*/ 53 w 66"/>
                <a:gd name="T77" fmla="*/ 38 h 38"/>
                <a:gd name="T78" fmla="*/ 56 w 66"/>
                <a:gd name="T79" fmla="*/ 38 h 38"/>
                <a:gd name="T80" fmla="*/ 66 w 66"/>
                <a:gd name="T81" fmla="*/ 36 h 38"/>
                <a:gd name="T82" fmla="*/ 63 w 66"/>
                <a:gd name="T83" fmla="*/ 3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 h="38">
                  <a:moveTo>
                    <a:pt x="63" y="33"/>
                  </a:moveTo>
                  <a:cubicBezTo>
                    <a:pt x="63" y="33"/>
                    <a:pt x="60" y="29"/>
                    <a:pt x="60" y="29"/>
                  </a:cubicBezTo>
                  <a:cubicBezTo>
                    <a:pt x="60" y="29"/>
                    <a:pt x="55" y="23"/>
                    <a:pt x="55" y="23"/>
                  </a:cubicBezTo>
                  <a:cubicBezTo>
                    <a:pt x="54" y="23"/>
                    <a:pt x="54" y="22"/>
                    <a:pt x="54" y="21"/>
                  </a:cubicBezTo>
                  <a:cubicBezTo>
                    <a:pt x="53" y="20"/>
                    <a:pt x="54" y="19"/>
                    <a:pt x="55" y="18"/>
                  </a:cubicBezTo>
                  <a:cubicBezTo>
                    <a:pt x="55" y="16"/>
                    <a:pt x="55" y="16"/>
                    <a:pt x="55" y="16"/>
                  </a:cubicBezTo>
                  <a:cubicBezTo>
                    <a:pt x="55" y="16"/>
                    <a:pt x="53" y="15"/>
                    <a:pt x="51" y="15"/>
                  </a:cubicBezTo>
                  <a:cubicBezTo>
                    <a:pt x="50" y="15"/>
                    <a:pt x="48" y="16"/>
                    <a:pt x="47" y="16"/>
                  </a:cubicBezTo>
                  <a:cubicBezTo>
                    <a:pt x="46" y="16"/>
                    <a:pt x="45" y="15"/>
                    <a:pt x="45" y="15"/>
                  </a:cubicBezTo>
                  <a:cubicBezTo>
                    <a:pt x="44" y="16"/>
                    <a:pt x="44" y="13"/>
                    <a:pt x="44" y="13"/>
                  </a:cubicBezTo>
                  <a:cubicBezTo>
                    <a:pt x="45" y="10"/>
                    <a:pt x="45" y="10"/>
                    <a:pt x="45" y="10"/>
                  </a:cubicBezTo>
                  <a:cubicBezTo>
                    <a:pt x="44" y="7"/>
                    <a:pt x="44" y="7"/>
                    <a:pt x="44" y="7"/>
                  </a:cubicBezTo>
                  <a:cubicBezTo>
                    <a:pt x="41" y="4"/>
                    <a:pt x="41" y="4"/>
                    <a:pt x="41" y="4"/>
                  </a:cubicBezTo>
                  <a:cubicBezTo>
                    <a:pt x="41" y="4"/>
                    <a:pt x="35" y="6"/>
                    <a:pt x="34" y="7"/>
                  </a:cubicBezTo>
                  <a:cubicBezTo>
                    <a:pt x="34" y="7"/>
                    <a:pt x="30" y="10"/>
                    <a:pt x="30" y="11"/>
                  </a:cubicBezTo>
                  <a:cubicBezTo>
                    <a:pt x="29" y="11"/>
                    <a:pt x="27" y="8"/>
                    <a:pt x="27" y="8"/>
                  </a:cubicBezTo>
                  <a:cubicBezTo>
                    <a:pt x="21" y="7"/>
                    <a:pt x="21" y="7"/>
                    <a:pt x="21" y="7"/>
                  </a:cubicBezTo>
                  <a:cubicBezTo>
                    <a:pt x="21" y="7"/>
                    <a:pt x="20" y="8"/>
                    <a:pt x="19" y="9"/>
                  </a:cubicBezTo>
                  <a:cubicBezTo>
                    <a:pt x="18" y="9"/>
                    <a:pt x="17" y="9"/>
                    <a:pt x="17" y="8"/>
                  </a:cubicBezTo>
                  <a:cubicBezTo>
                    <a:pt x="17" y="7"/>
                    <a:pt x="18" y="4"/>
                    <a:pt x="18" y="4"/>
                  </a:cubicBezTo>
                  <a:cubicBezTo>
                    <a:pt x="13" y="1"/>
                    <a:pt x="13" y="1"/>
                    <a:pt x="13" y="1"/>
                  </a:cubicBezTo>
                  <a:cubicBezTo>
                    <a:pt x="10" y="0"/>
                    <a:pt x="10" y="0"/>
                    <a:pt x="10" y="0"/>
                  </a:cubicBezTo>
                  <a:cubicBezTo>
                    <a:pt x="6" y="4"/>
                    <a:pt x="6" y="4"/>
                    <a:pt x="6" y="4"/>
                  </a:cubicBezTo>
                  <a:cubicBezTo>
                    <a:pt x="6" y="4"/>
                    <a:pt x="1" y="5"/>
                    <a:pt x="0" y="5"/>
                  </a:cubicBezTo>
                  <a:cubicBezTo>
                    <a:pt x="0" y="8"/>
                    <a:pt x="0" y="8"/>
                    <a:pt x="0" y="8"/>
                  </a:cubicBezTo>
                  <a:cubicBezTo>
                    <a:pt x="5" y="9"/>
                    <a:pt x="5" y="9"/>
                    <a:pt x="5" y="9"/>
                  </a:cubicBezTo>
                  <a:cubicBezTo>
                    <a:pt x="8" y="12"/>
                    <a:pt x="8" y="12"/>
                    <a:pt x="8" y="12"/>
                  </a:cubicBezTo>
                  <a:cubicBezTo>
                    <a:pt x="8" y="12"/>
                    <a:pt x="9" y="16"/>
                    <a:pt x="10" y="17"/>
                  </a:cubicBezTo>
                  <a:cubicBezTo>
                    <a:pt x="10" y="18"/>
                    <a:pt x="12" y="18"/>
                    <a:pt x="12" y="18"/>
                  </a:cubicBezTo>
                  <a:cubicBezTo>
                    <a:pt x="13" y="18"/>
                    <a:pt x="15" y="19"/>
                    <a:pt x="15" y="19"/>
                  </a:cubicBezTo>
                  <a:cubicBezTo>
                    <a:pt x="15" y="19"/>
                    <a:pt x="17" y="21"/>
                    <a:pt x="18" y="22"/>
                  </a:cubicBezTo>
                  <a:cubicBezTo>
                    <a:pt x="18" y="22"/>
                    <a:pt x="18" y="24"/>
                    <a:pt x="18" y="24"/>
                  </a:cubicBezTo>
                  <a:cubicBezTo>
                    <a:pt x="21" y="27"/>
                    <a:pt x="21" y="27"/>
                    <a:pt x="21" y="27"/>
                  </a:cubicBezTo>
                  <a:cubicBezTo>
                    <a:pt x="27" y="28"/>
                    <a:pt x="27" y="28"/>
                    <a:pt x="27" y="28"/>
                  </a:cubicBezTo>
                  <a:cubicBezTo>
                    <a:pt x="27" y="28"/>
                    <a:pt x="33" y="32"/>
                    <a:pt x="33" y="33"/>
                  </a:cubicBezTo>
                  <a:cubicBezTo>
                    <a:pt x="34" y="34"/>
                    <a:pt x="37" y="37"/>
                    <a:pt x="37" y="37"/>
                  </a:cubicBezTo>
                  <a:cubicBezTo>
                    <a:pt x="37" y="37"/>
                    <a:pt x="42" y="37"/>
                    <a:pt x="43" y="37"/>
                  </a:cubicBezTo>
                  <a:cubicBezTo>
                    <a:pt x="43" y="37"/>
                    <a:pt x="49" y="37"/>
                    <a:pt x="49" y="37"/>
                  </a:cubicBezTo>
                  <a:cubicBezTo>
                    <a:pt x="53" y="38"/>
                    <a:pt x="53" y="38"/>
                    <a:pt x="53" y="38"/>
                  </a:cubicBezTo>
                  <a:cubicBezTo>
                    <a:pt x="56" y="38"/>
                    <a:pt x="56" y="38"/>
                    <a:pt x="56" y="38"/>
                  </a:cubicBezTo>
                  <a:cubicBezTo>
                    <a:pt x="66" y="36"/>
                    <a:pt x="66" y="36"/>
                    <a:pt x="66" y="36"/>
                  </a:cubicBezTo>
                  <a:cubicBezTo>
                    <a:pt x="66" y="36"/>
                    <a:pt x="64" y="34"/>
                    <a:pt x="63" y="33"/>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3" name="Freeform 241"/>
            <p:cNvSpPr>
              <a:spLocks/>
            </p:cNvSpPr>
            <p:nvPr/>
          </p:nvSpPr>
          <p:spPr bwMode="auto">
            <a:xfrm>
              <a:off x="8707404" y="4509480"/>
              <a:ext cx="619540" cy="484730"/>
            </a:xfrm>
            <a:custGeom>
              <a:avLst/>
              <a:gdLst>
                <a:gd name="T0" fmla="*/ 191 w 214"/>
                <a:gd name="T1" fmla="*/ 51 h 177"/>
                <a:gd name="T2" fmla="*/ 173 w 214"/>
                <a:gd name="T3" fmla="*/ 43 h 177"/>
                <a:gd name="T4" fmla="*/ 155 w 214"/>
                <a:gd name="T5" fmla="*/ 27 h 177"/>
                <a:gd name="T6" fmla="*/ 120 w 214"/>
                <a:gd name="T7" fmla="*/ 9 h 177"/>
                <a:gd name="T8" fmla="*/ 120 w 214"/>
                <a:gd name="T9" fmla="*/ 19 h 177"/>
                <a:gd name="T10" fmla="*/ 107 w 214"/>
                <a:gd name="T11" fmla="*/ 41 h 177"/>
                <a:gd name="T12" fmla="*/ 86 w 214"/>
                <a:gd name="T13" fmla="*/ 44 h 177"/>
                <a:gd name="T14" fmla="*/ 76 w 214"/>
                <a:gd name="T15" fmla="*/ 39 h 177"/>
                <a:gd name="T16" fmla="*/ 67 w 214"/>
                <a:gd name="T17" fmla="*/ 32 h 177"/>
                <a:gd name="T18" fmla="*/ 55 w 214"/>
                <a:gd name="T19" fmla="*/ 24 h 177"/>
                <a:gd name="T20" fmla="*/ 48 w 214"/>
                <a:gd name="T21" fmla="*/ 25 h 177"/>
                <a:gd name="T22" fmla="*/ 37 w 214"/>
                <a:gd name="T23" fmla="*/ 30 h 177"/>
                <a:gd name="T24" fmla="*/ 45 w 214"/>
                <a:gd name="T25" fmla="*/ 40 h 177"/>
                <a:gd name="T26" fmla="*/ 61 w 214"/>
                <a:gd name="T27" fmla="*/ 46 h 177"/>
                <a:gd name="T28" fmla="*/ 60 w 214"/>
                <a:gd name="T29" fmla="*/ 52 h 177"/>
                <a:gd name="T30" fmla="*/ 45 w 214"/>
                <a:gd name="T31" fmla="*/ 50 h 177"/>
                <a:gd name="T32" fmla="*/ 44 w 214"/>
                <a:gd name="T33" fmla="*/ 61 h 177"/>
                <a:gd name="T34" fmla="*/ 30 w 214"/>
                <a:gd name="T35" fmla="*/ 58 h 177"/>
                <a:gd name="T36" fmla="*/ 29 w 214"/>
                <a:gd name="T37" fmla="*/ 59 h 177"/>
                <a:gd name="T38" fmla="*/ 28 w 214"/>
                <a:gd name="T39" fmla="*/ 60 h 177"/>
                <a:gd name="T40" fmla="*/ 26 w 214"/>
                <a:gd name="T41" fmla="*/ 60 h 177"/>
                <a:gd name="T42" fmla="*/ 8 w 214"/>
                <a:gd name="T43" fmla="*/ 55 h 177"/>
                <a:gd name="T44" fmla="*/ 6 w 214"/>
                <a:gd name="T45" fmla="*/ 57 h 177"/>
                <a:gd name="T46" fmla="*/ 4 w 214"/>
                <a:gd name="T47" fmla="*/ 55 h 177"/>
                <a:gd name="T48" fmla="*/ 2 w 214"/>
                <a:gd name="T49" fmla="*/ 57 h 177"/>
                <a:gd name="T50" fmla="*/ 4 w 214"/>
                <a:gd name="T51" fmla="*/ 60 h 177"/>
                <a:gd name="T52" fmla="*/ 7 w 214"/>
                <a:gd name="T53" fmla="*/ 59 h 177"/>
                <a:gd name="T54" fmla="*/ 15 w 214"/>
                <a:gd name="T55" fmla="*/ 64 h 177"/>
                <a:gd name="T56" fmla="*/ 20 w 214"/>
                <a:gd name="T57" fmla="*/ 66 h 177"/>
                <a:gd name="T58" fmla="*/ 17 w 214"/>
                <a:gd name="T59" fmla="*/ 72 h 177"/>
                <a:gd name="T60" fmla="*/ 15 w 214"/>
                <a:gd name="T61" fmla="*/ 78 h 177"/>
                <a:gd name="T62" fmla="*/ 28 w 214"/>
                <a:gd name="T63" fmla="*/ 85 h 177"/>
                <a:gd name="T64" fmla="*/ 37 w 214"/>
                <a:gd name="T65" fmla="*/ 88 h 177"/>
                <a:gd name="T66" fmla="*/ 41 w 214"/>
                <a:gd name="T67" fmla="*/ 95 h 177"/>
                <a:gd name="T68" fmla="*/ 38 w 214"/>
                <a:gd name="T69" fmla="*/ 102 h 177"/>
                <a:gd name="T70" fmla="*/ 36 w 214"/>
                <a:gd name="T71" fmla="*/ 104 h 177"/>
                <a:gd name="T72" fmla="*/ 53 w 214"/>
                <a:gd name="T73" fmla="*/ 112 h 177"/>
                <a:gd name="T74" fmla="*/ 61 w 214"/>
                <a:gd name="T75" fmla="*/ 112 h 177"/>
                <a:gd name="T76" fmla="*/ 68 w 214"/>
                <a:gd name="T77" fmla="*/ 111 h 177"/>
                <a:gd name="T78" fmla="*/ 69 w 214"/>
                <a:gd name="T79" fmla="*/ 122 h 177"/>
                <a:gd name="T80" fmla="*/ 76 w 214"/>
                <a:gd name="T81" fmla="*/ 129 h 177"/>
                <a:gd name="T82" fmla="*/ 77 w 214"/>
                <a:gd name="T83" fmla="*/ 139 h 177"/>
                <a:gd name="T84" fmla="*/ 73 w 214"/>
                <a:gd name="T85" fmla="*/ 147 h 177"/>
                <a:gd name="T86" fmla="*/ 74 w 214"/>
                <a:gd name="T87" fmla="*/ 157 h 177"/>
                <a:gd name="T88" fmla="*/ 94 w 214"/>
                <a:gd name="T89" fmla="*/ 156 h 177"/>
                <a:gd name="T90" fmla="*/ 117 w 214"/>
                <a:gd name="T91" fmla="*/ 126 h 177"/>
                <a:gd name="T92" fmla="*/ 147 w 214"/>
                <a:gd name="T93" fmla="*/ 124 h 177"/>
                <a:gd name="T94" fmla="*/ 150 w 214"/>
                <a:gd name="T95" fmla="*/ 143 h 177"/>
                <a:gd name="T96" fmla="*/ 152 w 214"/>
                <a:gd name="T97" fmla="*/ 161 h 177"/>
                <a:gd name="T98" fmla="*/ 165 w 214"/>
                <a:gd name="T99" fmla="*/ 167 h 177"/>
                <a:gd name="T100" fmla="*/ 180 w 214"/>
                <a:gd name="T101" fmla="*/ 162 h 177"/>
                <a:gd name="T102" fmla="*/ 174 w 214"/>
                <a:gd name="T103" fmla="*/ 143 h 177"/>
                <a:gd name="T104" fmla="*/ 179 w 214"/>
                <a:gd name="T105" fmla="*/ 130 h 177"/>
                <a:gd name="T106" fmla="*/ 185 w 214"/>
                <a:gd name="T107" fmla="*/ 138 h 177"/>
                <a:gd name="T108" fmla="*/ 190 w 214"/>
                <a:gd name="T109" fmla="*/ 119 h 177"/>
                <a:gd name="T110" fmla="*/ 185 w 214"/>
                <a:gd name="T111" fmla="*/ 101 h 177"/>
                <a:gd name="T112" fmla="*/ 182 w 214"/>
                <a:gd name="T113" fmla="*/ 85 h 177"/>
                <a:gd name="T114" fmla="*/ 188 w 214"/>
                <a:gd name="T115" fmla="*/ 69 h 177"/>
                <a:gd name="T116" fmla="*/ 205 w 214"/>
                <a:gd name="T117" fmla="*/ 5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4" h="177">
                  <a:moveTo>
                    <a:pt x="213" y="58"/>
                  </a:moveTo>
                  <a:cubicBezTo>
                    <a:pt x="209" y="54"/>
                    <a:pt x="209" y="54"/>
                    <a:pt x="209" y="54"/>
                  </a:cubicBezTo>
                  <a:cubicBezTo>
                    <a:pt x="204" y="52"/>
                    <a:pt x="204" y="52"/>
                    <a:pt x="204" y="52"/>
                  </a:cubicBezTo>
                  <a:cubicBezTo>
                    <a:pt x="199" y="50"/>
                    <a:pt x="199" y="50"/>
                    <a:pt x="199" y="50"/>
                  </a:cubicBezTo>
                  <a:cubicBezTo>
                    <a:pt x="199" y="50"/>
                    <a:pt x="193" y="51"/>
                    <a:pt x="191" y="51"/>
                  </a:cubicBezTo>
                  <a:cubicBezTo>
                    <a:pt x="190" y="52"/>
                    <a:pt x="189" y="52"/>
                    <a:pt x="187" y="52"/>
                  </a:cubicBezTo>
                  <a:cubicBezTo>
                    <a:pt x="184" y="52"/>
                    <a:pt x="183" y="51"/>
                    <a:pt x="183" y="51"/>
                  </a:cubicBezTo>
                  <a:cubicBezTo>
                    <a:pt x="183" y="51"/>
                    <a:pt x="178" y="51"/>
                    <a:pt x="177" y="51"/>
                  </a:cubicBezTo>
                  <a:cubicBezTo>
                    <a:pt x="176" y="52"/>
                    <a:pt x="175" y="49"/>
                    <a:pt x="175" y="48"/>
                  </a:cubicBezTo>
                  <a:cubicBezTo>
                    <a:pt x="174" y="47"/>
                    <a:pt x="174" y="44"/>
                    <a:pt x="173" y="43"/>
                  </a:cubicBezTo>
                  <a:cubicBezTo>
                    <a:pt x="172" y="42"/>
                    <a:pt x="172" y="43"/>
                    <a:pt x="172" y="43"/>
                  </a:cubicBezTo>
                  <a:cubicBezTo>
                    <a:pt x="172" y="43"/>
                    <a:pt x="165" y="40"/>
                    <a:pt x="164" y="39"/>
                  </a:cubicBezTo>
                  <a:cubicBezTo>
                    <a:pt x="162" y="39"/>
                    <a:pt x="158" y="35"/>
                    <a:pt x="157" y="35"/>
                  </a:cubicBezTo>
                  <a:cubicBezTo>
                    <a:pt x="155" y="34"/>
                    <a:pt x="155" y="31"/>
                    <a:pt x="155" y="31"/>
                  </a:cubicBezTo>
                  <a:cubicBezTo>
                    <a:pt x="155" y="27"/>
                    <a:pt x="155" y="27"/>
                    <a:pt x="155" y="27"/>
                  </a:cubicBezTo>
                  <a:cubicBezTo>
                    <a:pt x="155" y="27"/>
                    <a:pt x="150" y="21"/>
                    <a:pt x="149" y="20"/>
                  </a:cubicBezTo>
                  <a:cubicBezTo>
                    <a:pt x="148" y="19"/>
                    <a:pt x="142" y="15"/>
                    <a:pt x="141" y="15"/>
                  </a:cubicBezTo>
                  <a:cubicBezTo>
                    <a:pt x="140" y="15"/>
                    <a:pt x="124" y="0"/>
                    <a:pt x="124" y="0"/>
                  </a:cubicBezTo>
                  <a:cubicBezTo>
                    <a:pt x="123" y="2"/>
                    <a:pt x="123" y="2"/>
                    <a:pt x="123" y="2"/>
                  </a:cubicBezTo>
                  <a:cubicBezTo>
                    <a:pt x="123" y="2"/>
                    <a:pt x="121" y="9"/>
                    <a:pt x="120" y="9"/>
                  </a:cubicBezTo>
                  <a:cubicBezTo>
                    <a:pt x="119" y="10"/>
                    <a:pt x="119" y="15"/>
                    <a:pt x="119" y="15"/>
                  </a:cubicBezTo>
                  <a:cubicBezTo>
                    <a:pt x="119" y="16"/>
                    <a:pt x="119" y="16"/>
                    <a:pt x="119" y="16"/>
                  </a:cubicBezTo>
                  <a:cubicBezTo>
                    <a:pt x="119" y="17"/>
                    <a:pt x="119" y="17"/>
                    <a:pt x="119" y="17"/>
                  </a:cubicBezTo>
                  <a:cubicBezTo>
                    <a:pt x="120" y="18"/>
                    <a:pt x="120" y="18"/>
                    <a:pt x="120" y="18"/>
                  </a:cubicBezTo>
                  <a:cubicBezTo>
                    <a:pt x="120" y="19"/>
                    <a:pt x="120" y="19"/>
                    <a:pt x="120" y="19"/>
                  </a:cubicBezTo>
                  <a:cubicBezTo>
                    <a:pt x="119" y="21"/>
                    <a:pt x="114" y="26"/>
                    <a:pt x="113" y="27"/>
                  </a:cubicBezTo>
                  <a:cubicBezTo>
                    <a:pt x="112" y="27"/>
                    <a:pt x="111" y="27"/>
                    <a:pt x="111" y="28"/>
                  </a:cubicBezTo>
                  <a:cubicBezTo>
                    <a:pt x="112" y="31"/>
                    <a:pt x="111" y="32"/>
                    <a:pt x="110" y="32"/>
                  </a:cubicBezTo>
                  <a:cubicBezTo>
                    <a:pt x="109" y="33"/>
                    <a:pt x="108" y="35"/>
                    <a:pt x="108" y="35"/>
                  </a:cubicBezTo>
                  <a:cubicBezTo>
                    <a:pt x="109" y="37"/>
                    <a:pt x="107" y="40"/>
                    <a:pt x="107" y="41"/>
                  </a:cubicBezTo>
                  <a:cubicBezTo>
                    <a:pt x="106" y="41"/>
                    <a:pt x="102" y="46"/>
                    <a:pt x="98" y="46"/>
                  </a:cubicBezTo>
                  <a:cubicBezTo>
                    <a:pt x="97" y="46"/>
                    <a:pt x="97" y="46"/>
                    <a:pt x="97" y="46"/>
                  </a:cubicBezTo>
                  <a:cubicBezTo>
                    <a:pt x="94" y="46"/>
                    <a:pt x="91" y="46"/>
                    <a:pt x="89" y="45"/>
                  </a:cubicBezTo>
                  <a:cubicBezTo>
                    <a:pt x="88" y="44"/>
                    <a:pt x="88" y="44"/>
                    <a:pt x="88" y="44"/>
                  </a:cubicBezTo>
                  <a:cubicBezTo>
                    <a:pt x="87" y="44"/>
                    <a:pt x="87" y="44"/>
                    <a:pt x="86" y="44"/>
                  </a:cubicBezTo>
                  <a:cubicBezTo>
                    <a:pt x="86" y="44"/>
                    <a:pt x="86" y="44"/>
                    <a:pt x="86" y="44"/>
                  </a:cubicBezTo>
                  <a:cubicBezTo>
                    <a:pt x="85" y="44"/>
                    <a:pt x="85" y="44"/>
                    <a:pt x="85" y="44"/>
                  </a:cubicBezTo>
                  <a:cubicBezTo>
                    <a:pt x="85" y="44"/>
                    <a:pt x="82" y="44"/>
                    <a:pt x="79" y="43"/>
                  </a:cubicBezTo>
                  <a:cubicBezTo>
                    <a:pt x="78" y="42"/>
                    <a:pt x="76" y="41"/>
                    <a:pt x="76" y="39"/>
                  </a:cubicBezTo>
                  <a:cubicBezTo>
                    <a:pt x="76" y="39"/>
                    <a:pt x="76" y="39"/>
                    <a:pt x="76" y="39"/>
                  </a:cubicBezTo>
                  <a:cubicBezTo>
                    <a:pt x="74" y="37"/>
                    <a:pt x="74" y="37"/>
                    <a:pt x="74" y="37"/>
                  </a:cubicBezTo>
                  <a:cubicBezTo>
                    <a:pt x="71" y="33"/>
                    <a:pt x="71" y="33"/>
                    <a:pt x="71" y="33"/>
                  </a:cubicBezTo>
                  <a:cubicBezTo>
                    <a:pt x="71" y="33"/>
                    <a:pt x="70" y="32"/>
                    <a:pt x="70" y="32"/>
                  </a:cubicBezTo>
                  <a:cubicBezTo>
                    <a:pt x="70" y="32"/>
                    <a:pt x="69" y="32"/>
                    <a:pt x="69" y="32"/>
                  </a:cubicBezTo>
                  <a:cubicBezTo>
                    <a:pt x="68" y="32"/>
                    <a:pt x="68" y="32"/>
                    <a:pt x="67" y="32"/>
                  </a:cubicBezTo>
                  <a:cubicBezTo>
                    <a:pt x="66" y="32"/>
                    <a:pt x="66" y="32"/>
                    <a:pt x="65" y="31"/>
                  </a:cubicBezTo>
                  <a:cubicBezTo>
                    <a:pt x="63" y="30"/>
                    <a:pt x="63" y="29"/>
                    <a:pt x="62" y="28"/>
                  </a:cubicBezTo>
                  <a:cubicBezTo>
                    <a:pt x="62" y="27"/>
                    <a:pt x="61" y="27"/>
                    <a:pt x="59" y="26"/>
                  </a:cubicBezTo>
                  <a:cubicBezTo>
                    <a:pt x="57" y="26"/>
                    <a:pt x="57" y="25"/>
                    <a:pt x="56" y="25"/>
                  </a:cubicBezTo>
                  <a:cubicBezTo>
                    <a:pt x="56" y="25"/>
                    <a:pt x="56" y="25"/>
                    <a:pt x="55" y="24"/>
                  </a:cubicBezTo>
                  <a:cubicBezTo>
                    <a:pt x="53" y="24"/>
                    <a:pt x="52" y="24"/>
                    <a:pt x="52" y="23"/>
                  </a:cubicBezTo>
                  <a:cubicBezTo>
                    <a:pt x="52" y="23"/>
                    <a:pt x="52" y="23"/>
                    <a:pt x="52" y="23"/>
                  </a:cubicBezTo>
                  <a:cubicBezTo>
                    <a:pt x="51" y="23"/>
                    <a:pt x="51" y="23"/>
                    <a:pt x="51" y="23"/>
                  </a:cubicBezTo>
                  <a:cubicBezTo>
                    <a:pt x="51" y="24"/>
                    <a:pt x="50" y="25"/>
                    <a:pt x="48" y="25"/>
                  </a:cubicBezTo>
                  <a:cubicBezTo>
                    <a:pt x="48" y="25"/>
                    <a:pt x="48" y="25"/>
                    <a:pt x="48" y="25"/>
                  </a:cubicBezTo>
                  <a:cubicBezTo>
                    <a:pt x="47" y="25"/>
                    <a:pt x="47" y="25"/>
                    <a:pt x="47" y="25"/>
                  </a:cubicBezTo>
                  <a:cubicBezTo>
                    <a:pt x="45" y="25"/>
                    <a:pt x="44" y="23"/>
                    <a:pt x="44" y="21"/>
                  </a:cubicBezTo>
                  <a:cubicBezTo>
                    <a:pt x="43" y="21"/>
                    <a:pt x="43" y="21"/>
                    <a:pt x="43" y="21"/>
                  </a:cubicBezTo>
                  <a:cubicBezTo>
                    <a:pt x="40" y="28"/>
                    <a:pt x="40" y="28"/>
                    <a:pt x="40" y="28"/>
                  </a:cubicBezTo>
                  <a:cubicBezTo>
                    <a:pt x="37" y="30"/>
                    <a:pt x="37" y="30"/>
                    <a:pt x="37" y="30"/>
                  </a:cubicBezTo>
                  <a:cubicBezTo>
                    <a:pt x="38" y="33"/>
                    <a:pt x="38" y="33"/>
                    <a:pt x="38" y="33"/>
                  </a:cubicBezTo>
                  <a:cubicBezTo>
                    <a:pt x="38" y="33"/>
                    <a:pt x="38" y="34"/>
                    <a:pt x="39" y="34"/>
                  </a:cubicBezTo>
                  <a:cubicBezTo>
                    <a:pt x="40" y="34"/>
                    <a:pt x="42" y="36"/>
                    <a:pt x="44" y="37"/>
                  </a:cubicBezTo>
                  <a:cubicBezTo>
                    <a:pt x="45" y="38"/>
                    <a:pt x="45" y="38"/>
                    <a:pt x="46" y="38"/>
                  </a:cubicBezTo>
                  <a:cubicBezTo>
                    <a:pt x="45" y="40"/>
                    <a:pt x="45" y="40"/>
                    <a:pt x="45" y="40"/>
                  </a:cubicBezTo>
                  <a:cubicBezTo>
                    <a:pt x="46" y="39"/>
                    <a:pt x="46" y="39"/>
                    <a:pt x="46" y="39"/>
                  </a:cubicBezTo>
                  <a:cubicBezTo>
                    <a:pt x="48" y="39"/>
                    <a:pt x="49" y="39"/>
                    <a:pt x="51" y="40"/>
                  </a:cubicBezTo>
                  <a:cubicBezTo>
                    <a:pt x="54" y="41"/>
                    <a:pt x="54" y="41"/>
                    <a:pt x="54" y="41"/>
                  </a:cubicBezTo>
                  <a:cubicBezTo>
                    <a:pt x="56" y="42"/>
                    <a:pt x="57" y="42"/>
                    <a:pt x="58" y="43"/>
                  </a:cubicBezTo>
                  <a:cubicBezTo>
                    <a:pt x="59" y="44"/>
                    <a:pt x="59" y="45"/>
                    <a:pt x="61" y="46"/>
                  </a:cubicBezTo>
                  <a:cubicBezTo>
                    <a:pt x="63" y="47"/>
                    <a:pt x="64" y="48"/>
                    <a:pt x="64" y="50"/>
                  </a:cubicBezTo>
                  <a:cubicBezTo>
                    <a:pt x="63" y="51"/>
                    <a:pt x="63" y="51"/>
                    <a:pt x="63" y="51"/>
                  </a:cubicBezTo>
                  <a:cubicBezTo>
                    <a:pt x="61" y="52"/>
                    <a:pt x="61" y="52"/>
                    <a:pt x="61" y="52"/>
                  </a:cubicBezTo>
                  <a:cubicBezTo>
                    <a:pt x="61" y="52"/>
                    <a:pt x="61" y="52"/>
                    <a:pt x="61" y="52"/>
                  </a:cubicBezTo>
                  <a:cubicBezTo>
                    <a:pt x="60" y="52"/>
                    <a:pt x="60" y="52"/>
                    <a:pt x="60" y="52"/>
                  </a:cubicBezTo>
                  <a:cubicBezTo>
                    <a:pt x="59" y="53"/>
                    <a:pt x="58" y="53"/>
                    <a:pt x="57" y="53"/>
                  </a:cubicBezTo>
                  <a:cubicBezTo>
                    <a:pt x="56" y="53"/>
                    <a:pt x="55" y="53"/>
                    <a:pt x="53" y="52"/>
                  </a:cubicBezTo>
                  <a:cubicBezTo>
                    <a:pt x="53" y="52"/>
                    <a:pt x="51" y="51"/>
                    <a:pt x="50" y="51"/>
                  </a:cubicBezTo>
                  <a:cubicBezTo>
                    <a:pt x="50" y="51"/>
                    <a:pt x="49" y="51"/>
                    <a:pt x="48" y="51"/>
                  </a:cubicBezTo>
                  <a:cubicBezTo>
                    <a:pt x="47" y="51"/>
                    <a:pt x="46" y="50"/>
                    <a:pt x="45" y="50"/>
                  </a:cubicBezTo>
                  <a:cubicBezTo>
                    <a:pt x="45" y="50"/>
                    <a:pt x="45" y="50"/>
                    <a:pt x="44" y="50"/>
                  </a:cubicBezTo>
                  <a:cubicBezTo>
                    <a:pt x="44" y="50"/>
                    <a:pt x="44" y="50"/>
                    <a:pt x="44" y="50"/>
                  </a:cubicBezTo>
                  <a:cubicBezTo>
                    <a:pt x="45" y="51"/>
                    <a:pt x="45" y="53"/>
                    <a:pt x="45" y="54"/>
                  </a:cubicBezTo>
                  <a:cubicBezTo>
                    <a:pt x="45" y="56"/>
                    <a:pt x="45" y="57"/>
                    <a:pt x="45" y="58"/>
                  </a:cubicBezTo>
                  <a:cubicBezTo>
                    <a:pt x="44" y="61"/>
                    <a:pt x="44" y="61"/>
                    <a:pt x="44" y="61"/>
                  </a:cubicBezTo>
                  <a:cubicBezTo>
                    <a:pt x="39" y="61"/>
                    <a:pt x="39" y="61"/>
                    <a:pt x="39" y="61"/>
                  </a:cubicBezTo>
                  <a:cubicBezTo>
                    <a:pt x="32" y="59"/>
                    <a:pt x="32" y="59"/>
                    <a:pt x="32" y="59"/>
                  </a:cubicBezTo>
                  <a:cubicBezTo>
                    <a:pt x="32" y="59"/>
                    <a:pt x="31" y="59"/>
                    <a:pt x="31" y="58"/>
                  </a:cubicBezTo>
                  <a:cubicBezTo>
                    <a:pt x="30" y="58"/>
                    <a:pt x="30" y="58"/>
                    <a:pt x="30" y="58"/>
                  </a:cubicBezTo>
                  <a:cubicBezTo>
                    <a:pt x="30" y="58"/>
                    <a:pt x="30" y="58"/>
                    <a:pt x="30" y="58"/>
                  </a:cubicBezTo>
                  <a:cubicBezTo>
                    <a:pt x="30" y="58"/>
                    <a:pt x="30" y="58"/>
                    <a:pt x="30" y="58"/>
                  </a:cubicBezTo>
                  <a:cubicBezTo>
                    <a:pt x="30" y="58"/>
                    <a:pt x="30" y="58"/>
                    <a:pt x="30" y="58"/>
                  </a:cubicBezTo>
                  <a:cubicBezTo>
                    <a:pt x="30" y="59"/>
                    <a:pt x="30" y="59"/>
                    <a:pt x="30" y="59"/>
                  </a:cubicBezTo>
                  <a:cubicBezTo>
                    <a:pt x="29" y="59"/>
                    <a:pt x="29" y="59"/>
                    <a:pt x="29" y="59"/>
                  </a:cubicBezTo>
                  <a:cubicBezTo>
                    <a:pt x="29" y="59"/>
                    <a:pt x="29" y="59"/>
                    <a:pt x="29" y="59"/>
                  </a:cubicBezTo>
                  <a:cubicBezTo>
                    <a:pt x="29" y="59"/>
                    <a:pt x="29" y="59"/>
                    <a:pt x="29" y="59"/>
                  </a:cubicBezTo>
                  <a:cubicBezTo>
                    <a:pt x="29" y="59"/>
                    <a:pt x="29" y="59"/>
                    <a:pt x="29" y="59"/>
                  </a:cubicBezTo>
                  <a:cubicBezTo>
                    <a:pt x="29" y="59"/>
                    <a:pt x="29" y="59"/>
                    <a:pt x="29" y="59"/>
                  </a:cubicBezTo>
                  <a:cubicBezTo>
                    <a:pt x="29" y="59"/>
                    <a:pt x="29" y="59"/>
                    <a:pt x="29" y="59"/>
                  </a:cubicBezTo>
                  <a:cubicBezTo>
                    <a:pt x="28" y="60"/>
                    <a:pt x="28" y="60"/>
                    <a:pt x="28" y="60"/>
                  </a:cubicBezTo>
                  <a:cubicBezTo>
                    <a:pt x="27" y="60"/>
                    <a:pt x="27" y="60"/>
                    <a:pt x="27" y="60"/>
                  </a:cubicBezTo>
                  <a:cubicBezTo>
                    <a:pt x="27" y="60"/>
                    <a:pt x="27" y="60"/>
                    <a:pt x="27" y="60"/>
                  </a:cubicBezTo>
                  <a:cubicBezTo>
                    <a:pt x="27" y="60"/>
                    <a:pt x="27" y="60"/>
                    <a:pt x="27" y="60"/>
                  </a:cubicBezTo>
                  <a:cubicBezTo>
                    <a:pt x="26" y="60"/>
                    <a:pt x="26" y="60"/>
                    <a:pt x="26" y="60"/>
                  </a:cubicBezTo>
                  <a:cubicBezTo>
                    <a:pt x="26" y="60"/>
                    <a:pt x="26" y="60"/>
                    <a:pt x="26" y="60"/>
                  </a:cubicBezTo>
                  <a:cubicBezTo>
                    <a:pt x="11" y="59"/>
                    <a:pt x="11" y="59"/>
                    <a:pt x="11" y="59"/>
                  </a:cubicBezTo>
                  <a:cubicBezTo>
                    <a:pt x="9" y="56"/>
                    <a:pt x="9" y="56"/>
                    <a:pt x="9" y="56"/>
                  </a:cubicBezTo>
                  <a:cubicBezTo>
                    <a:pt x="9" y="57"/>
                    <a:pt x="9" y="57"/>
                    <a:pt x="9" y="57"/>
                  </a:cubicBezTo>
                  <a:cubicBezTo>
                    <a:pt x="8" y="57"/>
                    <a:pt x="8" y="57"/>
                    <a:pt x="8" y="57"/>
                  </a:cubicBezTo>
                  <a:cubicBezTo>
                    <a:pt x="8" y="55"/>
                    <a:pt x="8" y="55"/>
                    <a:pt x="8" y="55"/>
                  </a:cubicBezTo>
                  <a:cubicBezTo>
                    <a:pt x="8" y="57"/>
                    <a:pt x="8" y="57"/>
                    <a:pt x="8" y="57"/>
                  </a:cubicBezTo>
                  <a:cubicBezTo>
                    <a:pt x="7" y="57"/>
                    <a:pt x="7" y="57"/>
                    <a:pt x="7" y="57"/>
                  </a:cubicBezTo>
                  <a:cubicBezTo>
                    <a:pt x="7" y="55"/>
                    <a:pt x="7" y="55"/>
                    <a:pt x="7" y="55"/>
                  </a:cubicBezTo>
                  <a:cubicBezTo>
                    <a:pt x="7" y="57"/>
                    <a:pt x="7" y="57"/>
                    <a:pt x="7" y="57"/>
                  </a:cubicBezTo>
                  <a:cubicBezTo>
                    <a:pt x="6" y="57"/>
                    <a:pt x="6" y="57"/>
                    <a:pt x="6" y="57"/>
                  </a:cubicBezTo>
                  <a:cubicBezTo>
                    <a:pt x="5" y="55"/>
                    <a:pt x="5" y="55"/>
                    <a:pt x="5" y="55"/>
                  </a:cubicBezTo>
                  <a:cubicBezTo>
                    <a:pt x="5" y="57"/>
                    <a:pt x="5" y="57"/>
                    <a:pt x="5" y="57"/>
                  </a:cubicBezTo>
                  <a:cubicBezTo>
                    <a:pt x="5" y="57"/>
                    <a:pt x="5" y="57"/>
                    <a:pt x="5" y="57"/>
                  </a:cubicBezTo>
                  <a:cubicBezTo>
                    <a:pt x="4" y="57"/>
                    <a:pt x="4" y="57"/>
                    <a:pt x="4" y="57"/>
                  </a:cubicBezTo>
                  <a:cubicBezTo>
                    <a:pt x="4" y="55"/>
                    <a:pt x="4" y="55"/>
                    <a:pt x="4" y="55"/>
                  </a:cubicBezTo>
                  <a:cubicBezTo>
                    <a:pt x="4" y="57"/>
                    <a:pt x="4" y="57"/>
                    <a:pt x="4" y="57"/>
                  </a:cubicBezTo>
                  <a:cubicBezTo>
                    <a:pt x="2" y="57"/>
                    <a:pt x="2" y="57"/>
                    <a:pt x="2" y="57"/>
                  </a:cubicBezTo>
                  <a:cubicBezTo>
                    <a:pt x="2" y="57"/>
                    <a:pt x="2" y="57"/>
                    <a:pt x="2" y="57"/>
                  </a:cubicBezTo>
                  <a:cubicBezTo>
                    <a:pt x="2" y="57"/>
                    <a:pt x="2" y="57"/>
                    <a:pt x="2" y="57"/>
                  </a:cubicBezTo>
                  <a:cubicBezTo>
                    <a:pt x="2" y="57"/>
                    <a:pt x="2" y="57"/>
                    <a:pt x="2" y="57"/>
                  </a:cubicBezTo>
                  <a:cubicBezTo>
                    <a:pt x="2" y="57"/>
                    <a:pt x="2" y="57"/>
                    <a:pt x="2" y="57"/>
                  </a:cubicBezTo>
                  <a:cubicBezTo>
                    <a:pt x="0" y="60"/>
                    <a:pt x="0" y="60"/>
                    <a:pt x="0" y="60"/>
                  </a:cubicBezTo>
                  <a:cubicBezTo>
                    <a:pt x="1" y="60"/>
                    <a:pt x="1" y="60"/>
                    <a:pt x="2" y="60"/>
                  </a:cubicBezTo>
                  <a:cubicBezTo>
                    <a:pt x="2" y="60"/>
                    <a:pt x="2" y="60"/>
                    <a:pt x="2" y="60"/>
                  </a:cubicBezTo>
                  <a:cubicBezTo>
                    <a:pt x="3" y="60"/>
                    <a:pt x="3" y="60"/>
                    <a:pt x="4" y="60"/>
                  </a:cubicBezTo>
                  <a:cubicBezTo>
                    <a:pt x="4" y="60"/>
                    <a:pt x="4" y="60"/>
                    <a:pt x="4" y="60"/>
                  </a:cubicBezTo>
                  <a:cubicBezTo>
                    <a:pt x="4" y="60"/>
                    <a:pt x="4" y="60"/>
                    <a:pt x="4" y="60"/>
                  </a:cubicBezTo>
                  <a:cubicBezTo>
                    <a:pt x="5" y="60"/>
                    <a:pt x="5" y="60"/>
                    <a:pt x="6" y="60"/>
                  </a:cubicBezTo>
                  <a:cubicBezTo>
                    <a:pt x="6" y="60"/>
                    <a:pt x="6" y="60"/>
                    <a:pt x="6" y="60"/>
                  </a:cubicBezTo>
                  <a:cubicBezTo>
                    <a:pt x="7" y="59"/>
                    <a:pt x="7" y="59"/>
                    <a:pt x="7" y="59"/>
                  </a:cubicBezTo>
                  <a:cubicBezTo>
                    <a:pt x="8" y="59"/>
                    <a:pt x="8" y="59"/>
                    <a:pt x="8" y="59"/>
                  </a:cubicBezTo>
                  <a:cubicBezTo>
                    <a:pt x="9" y="59"/>
                    <a:pt x="10" y="60"/>
                    <a:pt x="11" y="61"/>
                  </a:cubicBezTo>
                  <a:cubicBezTo>
                    <a:pt x="11" y="62"/>
                    <a:pt x="11" y="62"/>
                    <a:pt x="11" y="62"/>
                  </a:cubicBezTo>
                  <a:cubicBezTo>
                    <a:pt x="12" y="62"/>
                    <a:pt x="14" y="63"/>
                    <a:pt x="14" y="64"/>
                  </a:cubicBezTo>
                  <a:cubicBezTo>
                    <a:pt x="15" y="64"/>
                    <a:pt x="15" y="64"/>
                    <a:pt x="15" y="64"/>
                  </a:cubicBezTo>
                  <a:cubicBezTo>
                    <a:pt x="16" y="64"/>
                    <a:pt x="16" y="64"/>
                    <a:pt x="16" y="64"/>
                  </a:cubicBezTo>
                  <a:cubicBezTo>
                    <a:pt x="16" y="64"/>
                    <a:pt x="17" y="64"/>
                    <a:pt x="17" y="64"/>
                  </a:cubicBezTo>
                  <a:cubicBezTo>
                    <a:pt x="17" y="64"/>
                    <a:pt x="19" y="64"/>
                    <a:pt x="19" y="65"/>
                  </a:cubicBezTo>
                  <a:cubicBezTo>
                    <a:pt x="20" y="66"/>
                    <a:pt x="20" y="66"/>
                    <a:pt x="20" y="66"/>
                  </a:cubicBezTo>
                  <a:cubicBezTo>
                    <a:pt x="20" y="66"/>
                    <a:pt x="20" y="66"/>
                    <a:pt x="20" y="66"/>
                  </a:cubicBezTo>
                  <a:cubicBezTo>
                    <a:pt x="20" y="68"/>
                    <a:pt x="19" y="70"/>
                    <a:pt x="19" y="70"/>
                  </a:cubicBezTo>
                  <a:cubicBezTo>
                    <a:pt x="19" y="71"/>
                    <a:pt x="18" y="72"/>
                    <a:pt x="17" y="72"/>
                  </a:cubicBezTo>
                  <a:cubicBezTo>
                    <a:pt x="17" y="72"/>
                    <a:pt x="17" y="72"/>
                    <a:pt x="17" y="72"/>
                  </a:cubicBezTo>
                  <a:cubicBezTo>
                    <a:pt x="17" y="72"/>
                    <a:pt x="17" y="72"/>
                    <a:pt x="17" y="72"/>
                  </a:cubicBezTo>
                  <a:cubicBezTo>
                    <a:pt x="17" y="72"/>
                    <a:pt x="17" y="72"/>
                    <a:pt x="17" y="72"/>
                  </a:cubicBezTo>
                  <a:cubicBezTo>
                    <a:pt x="16" y="73"/>
                    <a:pt x="16" y="73"/>
                    <a:pt x="16" y="73"/>
                  </a:cubicBezTo>
                  <a:cubicBezTo>
                    <a:pt x="16" y="73"/>
                    <a:pt x="16" y="73"/>
                    <a:pt x="16" y="73"/>
                  </a:cubicBezTo>
                  <a:cubicBezTo>
                    <a:pt x="16" y="73"/>
                    <a:pt x="15" y="74"/>
                    <a:pt x="15" y="74"/>
                  </a:cubicBezTo>
                  <a:cubicBezTo>
                    <a:pt x="15" y="75"/>
                    <a:pt x="15" y="76"/>
                    <a:pt x="14" y="76"/>
                  </a:cubicBezTo>
                  <a:cubicBezTo>
                    <a:pt x="15" y="77"/>
                    <a:pt x="15" y="77"/>
                    <a:pt x="15" y="78"/>
                  </a:cubicBezTo>
                  <a:cubicBezTo>
                    <a:pt x="17" y="79"/>
                    <a:pt x="17" y="79"/>
                    <a:pt x="17" y="79"/>
                  </a:cubicBezTo>
                  <a:cubicBezTo>
                    <a:pt x="18" y="80"/>
                    <a:pt x="18" y="80"/>
                    <a:pt x="18" y="80"/>
                  </a:cubicBezTo>
                  <a:cubicBezTo>
                    <a:pt x="22" y="83"/>
                    <a:pt x="22" y="83"/>
                    <a:pt x="22" y="83"/>
                  </a:cubicBezTo>
                  <a:cubicBezTo>
                    <a:pt x="23" y="84"/>
                    <a:pt x="24" y="84"/>
                    <a:pt x="25" y="84"/>
                  </a:cubicBezTo>
                  <a:cubicBezTo>
                    <a:pt x="26" y="85"/>
                    <a:pt x="28" y="85"/>
                    <a:pt x="28" y="85"/>
                  </a:cubicBezTo>
                  <a:cubicBezTo>
                    <a:pt x="29" y="85"/>
                    <a:pt x="29" y="85"/>
                    <a:pt x="29" y="85"/>
                  </a:cubicBezTo>
                  <a:cubicBezTo>
                    <a:pt x="31" y="87"/>
                    <a:pt x="31" y="87"/>
                    <a:pt x="31" y="87"/>
                  </a:cubicBezTo>
                  <a:cubicBezTo>
                    <a:pt x="32" y="87"/>
                    <a:pt x="32" y="87"/>
                    <a:pt x="33" y="88"/>
                  </a:cubicBezTo>
                  <a:cubicBezTo>
                    <a:pt x="33" y="88"/>
                    <a:pt x="34" y="88"/>
                    <a:pt x="35" y="88"/>
                  </a:cubicBezTo>
                  <a:cubicBezTo>
                    <a:pt x="37" y="88"/>
                    <a:pt x="37" y="88"/>
                    <a:pt x="37" y="88"/>
                  </a:cubicBezTo>
                  <a:cubicBezTo>
                    <a:pt x="37" y="88"/>
                    <a:pt x="37" y="88"/>
                    <a:pt x="37" y="88"/>
                  </a:cubicBezTo>
                  <a:cubicBezTo>
                    <a:pt x="38" y="88"/>
                    <a:pt x="39" y="88"/>
                    <a:pt x="40" y="90"/>
                  </a:cubicBezTo>
                  <a:cubicBezTo>
                    <a:pt x="40" y="91"/>
                    <a:pt x="41" y="92"/>
                    <a:pt x="41" y="93"/>
                  </a:cubicBezTo>
                  <a:cubicBezTo>
                    <a:pt x="41" y="93"/>
                    <a:pt x="41" y="94"/>
                    <a:pt x="41" y="94"/>
                  </a:cubicBezTo>
                  <a:cubicBezTo>
                    <a:pt x="41" y="95"/>
                    <a:pt x="41" y="95"/>
                    <a:pt x="41" y="95"/>
                  </a:cubicBezTo>
                  <a:cubicBezTo>
                    <a:pt x="41" y="96"/>
                    <a:pt x="41" y="96"/>
                    <a:pt x="41" y="96"/>
                  </a:cubicBezTo>
                  <a:cubicBezTo>
                    <a:pt x="41" y="96"/>
                    <a:pt x="40" y="98"/>
                    <a:pt x="40" y="99"/>
                  </a:cubicBezTo>
                  <a:cubicBezTo>
                    <a:pt x="40" y="99"/>
                    <a:pt x="40" y="99"/>
                    <a:pt x="40" y="99"/>
                  </a:cubicBezTo>
                  <a:cubicBezTo>
                    <a:pt x="40" y="100"/>
                    <a:pt x="40" y="100"/>
                    <a:pt x="40" y="100"/>
                  </a:cubicBezTo>
                  <a:cubicBezTo>
                    <a:pt x="40" y="101"/>
                    <a:pt x="39" y="102"/>
                    <a:pt x="38" y="102"/>
                  </a:cubicBezTo>
                  <a:cubicBezTo>
                    <a:pt x="38" y="102"/>
                    <a:pt x="31" y="104"/>
                    <a:pt x="31" y="104"/>
                  </a:cubicBezTo>
                  <a:cubicBezTo>
                    <a:pt x="31" y="104"/>
                    <a:pt x="31" y="104"/>
                    <a:pt x="31" y="104"/>
                  </a:cubicBezTo>
                  <a:cubicBezTo>
                    <a:pt x="31" y="104"/>
                    <a:pt x="32" y="104"/>
                    <a:pt x="32" y="104"/>
                  </a:cubicBezTo>
                  <a:cubicBezTo>
                    <a:pt x="32" y="104"/>
                    <a:pt x="33" y="104"/>
                    <a:pt x="34" y="104"/>
                  </a:cubicBezTo>
                  <a:cubicBezTo>
                    <a:pt x="35" y="104"/>
                    <a:pt x="35" y="104"/>
                    <a:pt x="36" y="104"/>
                  </a:cubicBezTo>
                  <a:cubicBezTo>
                    <a:pt x="37" y="105"/>
                    <a:pt x="38" y="106"/>
                    <a:pt x="38" y="106"/>
                  </a:cubicBezTo>
                  <a:cubicBezTo>
                    <a:pt x="41" y="108"/>
                    <a:pt x="41" y="108"/>
                    <a:pt x="41" y="108"/>
                  </a:cubicBezTo>
                  <a:cubicBezTo>
                    <a:pt x="46" y="108"/>
                    <a:pt x="46" y="108"/>
                    <a:pt x="46" y="108"/>
                  </a:cubicBezTo>
                  <a:cubicBezTo>
                    <a:pt x="49" y="112"/>
                    <a:pt x="49" y="112"/>
                    <a:pt x="49" y="112"/>
                  </a:cubicBezTo>
                  <a:cubicBezTo>
                    <a:pt x="53" y="112"/>
                    <a:pt x="53" y="112"/>
                    <a:pt x="53" y="112"/>
                  </a:cubicBezTo>
                  <a:cubicBezTo>
                    <a:pt x="54" y="114"/>
                    <a:pt x="54" y="114"/>
                    <a:pt x="54" y="114"/>
                  </a:cubicBezTo>
                  <a:cubicBezTo>
                    <a:pt x="54" y="114"/>
                    <a:pt x="54" y="114"/>
                    <a:pt x="54" y="114"/>
                  </a:cubicBezTo>
                  <a:cubicBezTo>
                    <a:pt x="55" y="113"/>
                    <a:pt x="56" y="113"/>
                    <a:pt x="56" y="112"/>
                  </a:cubicBezTo>
                  <a:cubicBezTo>
                    <a:pt x="57" y="112"/>
                    <a:pt x="58" y="111"/>
                    <a:pt x="59" y="111"/>
                  </a:cubicBezTo>
                  <a:cubicBezTo>
                    <a:pt x="60" y="111"/>
                    <a:pt x="60" y="111"/>
                    <a:pt x="61" y="112"/>
                  </a:cubicBezTo>
                  <a:cubicBezTo>
                    <a:pt x="61" y="112"/>
                    <a:pt x="61" y="112"/>
                    <a:pt x="61" y="112"/>
                  </a:cubicBezTo>
                  <a:cubicBezTo>
                    <a:pt x="61" y="112"/>
                    <a:pt x="61" y="112"/>
                    <a:pt x="61" y="112"/>
                  </a:cubicBezTo>
                  <a:cubicBezTo>
                    <a:pt x="62" y="112"/>
                    <a:pt x="63" y="112"/>
                    <a:pt x="63" y="112"/>
                  </a:cubicBezTo>
                  <a:cubicBezTo>
                    <a:pt x="64" y="111"/>
                    <a:pt x="64" y="111"/>
                    <a:pt x="64" y="111"/>
                  </a:cubicBezTo>
                  <a:cubicBezTo>
                    <a:pt x="68" y="111"/>
                    <a:pt x="68" y="111"/>
                    <a:pt x="68" y="111"/>
                  </a:cubicBezTo>
                  <a:cubicBezTo>
                    <a:pt x="69" y="116"/>
                    <a:pt x="69" y="116"/>
                    <a:pt x="69" y="116"/>
                  </a:cubicBezTo>
                  <a:cubicBezTo>
                    <a:pt x="68" y="120"/>
                    <a:pt x="68" y="120"/>
                    <a:pt x="68" y="120"/>
                  </a:cubicBezTo>
                  <a:cubicBezTo>
                    <a:pt x="66" y="121"/>
                    <a:pt x="66" y="121"/>
                    <a:pt x="66" y="121"/>
                  </a:cubicBezTo>
                  <a:cubicBezTo>
                    <a:pt x="66" y="121"/>
                    <a:pt x="66" y="121"/>
                    <a:pt x="66" y="121"/>
                  </a:cubicBezTo>
                  <a:cubicBezTo>
                    <a:pt x="69" y="122"/>
                    <a:pt x="69" y="122"/>
                    <a:pt x="69" y="122"/>
                  </a:cubicBezTo>
                  <a:cubicBezTo>
                    <a:pt x="72" y="124"/>
                    <a:pt x="72" y="124"/>
                    <a:pt x="72" y="124"/>
                  </a:cubicBezTo>
                  <a:cubicBezTo>
                    <a:pt x="72" y="125"/>
                    <a:pt x="72" y="125"/>
                    <a:pt x="72" y="125"/>
                  </a:cubicBezTo>
                  <a:cubicBezTo>
                    <a:pt x="72" y="125"/>
                    <a:pt x="72" y="126"/>
                    <a:pt x="72" y="126"/>
                  </a:cubicBezTo>
                  <a:cubicBezTo>
                    <a:pt x="76" y="127"/>
                    <a:pt x="76" y="127"/>
                    <a:pt x="76" y="127"/>
                  </a:cubicBezTo>
                  <a:cubicBezTo>
                    <a:pt x="76" y="129"/>
                    <a:pt x="76" y="129"/>
                    <a:pt x="76" y="129"/>
                  </a:cubicBezTo>
                  <a:cubicBezTo>
                    <a:pt x="75" y="130"/>
                    <a:pt x="74" y="132"/>
                    <a:pt x="72" y="133"/>
                  </a:cubicBezTo>
                  <a:cubicBezTo>
                    <a:pt x="72" y="133"/>
                    <a:pt x="73" y="133"/>
                    <a:pt x="73" y="133"/>
                  </a:cubicBezTo>
                  <a:cubicBezTo>
                    <a:pt x="73" y="133"/>
                    <a:pt x="73" y="134"/>
                    <a:pt x="73" y="134"/>
                  </a:cubicBezTo>
                  <a:cubicBezTo>
                    <a:pt x="74" y="134"/>
                    <a:pt x="75" y="134"/>
                    <a:pt x="76" y="135"/>
                  </a:cubicBezTo>
                  <a:cubicBezTo>
                    <a:pt x="77" y="136"/>
                    <a:pt x="77" y="137"/>
                    <a:pt x="77" y="139"/>
                  </a:cubicBezTo>
                  <a:cubicBezTo>
                    <a:pt x="77" y="139"/>
                    <a:pt x="77" y="140"/>
                    <a:pt x="76" y="141"/>
                  </a:cubicBezTo>
                  <a:cubicBezTo>
                    <a:pt x="76" y="141"/>
                    <a:pt x="76" y="141"/>
                    <a:pt x="76" y="142"/>
                  </a:cubicBezTo>
                  <a:cubicBezTo>
                    <a:pt x="77" y="143"/>
                    <a:pt x="77" y="143"/>
                    <a:pt x="77" y="143"/>
                  </a:cubicBezTo>
                  <a:cubicBezTo>
                    <a:pt x="74" y="147"/>
                    <a:pt x="74" y="147"/>
                    <a:pt x="74" y="147"/>
                  </a:cubicBezTo>
                  <a:cubicBezTo>
                    <a:pt x="73" y="147"/>
                    <a:pt x="73" y="147"/>
                    <a:pt x="73" y="147"/>
                  </a:cubicBezTo>
                  <a:cubicBezTo>
                    <a:pt x="73" y="148"/>
                    <a:pt x="74" y="148"/>
                    <a:pt x="76" y="150"/>
                  </a:cubicBezTo>
                  <a:cubicBezTo>
                    <a:pt x="79" y="152"/>
                    <a:pt x="77" y="150"/>
                    <a:pt x="81" y="151"/>
                  </a:cubicBezTo>
                  <a:cubicBezTo>
                    <a:pt x="84" y="152"/>
                    <a:pt x="83" y="152"/>
                    <a:pt x="81" y="154"/>
                  </a:cubicBezTo>
                  <a:cubicBezTo>
                    <a:pt x="79" y="156"/>
                    <a:pt x="78" y="154"/>
                    <a:pt x="75" y="154"/>
                  </a:cubicBezTo>
                  <a:cubicBezTo>
                    <a:pt x="72" y="154"/>
                    <a:pt x="74" y="157"/>
                    <a:pt x="74" y="157"/>
                  </a:cubicBezTo>
                  <a:cubicBezTo>
                    <a:pt x="74" y="157"/>
                    <a:pt x="75" y="158"/>
                    <a:pt x="77" y="159"/>
                  </a:cubicBezTo>
                  <a:cubicBezTo>
                    <a:pt x="79" y="160"/>
                    <a:pt x="79" y="161"/>
                    <a:pt x="81" y="167"/>
                  </a:cubicBezTo>
                  <a:cubicBezTo>
                    <a:pt x="83" y="177"/>
                    <a:pt x="85" y="166"/>
                    <a:pt x="88" y="163"/>
                  </a:cubicBezTo>
                  <a:cubicBezTo>
                    <a:pt x="91" y="161"/>
                    <a:pt x="88" y="160"/>
                    <a:pt x="88" y="159"/>
                  </a:cubicBezTo>
                  <a:cubicBezTo>
                    <a:pt x="88" y="157"/>
                    <a:pt x="93" y="156"/>
                    <a:pt x="94" y="156"/>
                  </a:cubicBezTo>
                  <a:cubicBezTo>
                    <a:pt x="95" y="155"/>
                    <a:pt x="97" y="153"/>
                    <a:pt x="98" y="152"/>
                  </a:cubicBezTo>
                  <a:cubicBezTo>
                    <a:pt x="98" y="151"/>
                    <a:pt x="99" y="149"/>
                    <a:pt x="99" y="148"/>
                  </a:cubicBezTo>
                  <a:cubicBezTo>
                    <a:pt x="98" y="147"/>
                    <a:pt x="103" y="144"/>
                    <a:pt x="104" y="141"/>
                  </a:cubicBezTo>
                  <a:cubicBezTo>
                    <a:pt x="106" y="138"/>
                    <a:pt x="108" y="132"/>
                    <a:pt x="108" y="132"/>
                  </a:cubicBezTo>
                  <a:cubicBezTo>
                    <a:pt x="108" y="132"/>
                    <a:pt x="116" y="126"/>
                    <a:pt x="117" y="126"/>
                  </a:cubicBezTo>
                  <a:cubicBezTo>
                    <a:pt x="117" y="126"/>
                    <a:pt x="121" y="122"/>
                    <a:pt x="123" y="121"/>
                  </a:cubicBezTo>
                  <a:cubicBezTo>
                    <a:pt x="124" y="120"/>
                    <a:pt x="127" y="116"/>
                    <a:pt x="128" y="115"/>
                  </a:cubicBezTo>
                  <a:cubicBezTo>
                    <a:pt x="129" y="114"/>
                    <a:pt x="131" y="116"/>
                    <a:pt x="131" y="116"/>
                  </a:cubicBezTo>
                  <a:cubicBezTo>
                    <a:pt x="132" y="116"/>
                    <a:pt x="134" y="118"/>
                    <a:pt x="139" y="121"/>
                  </a:cubicBezTo>
                  <a:cubicBezTo>
                    <a:pt x="144" y="124"/>
                    <a:pt x="144" y="123"/>
                    <a:pt x="147" y="124"/>
                  </a:cubicBezTo>
                  <a:cubicBezTo>
                    <a:pt x="149" y="126"/>
                    <a:pt x="147" y="128"/>
                    <a:pt x="145" y="130"/>
                  </a:cubicBezTo>
                  <a:cubicBezTo>
                    <a:pt x="143" y="131"/>
                    <a:pt x="143" y="129"/>
                    <a:pt x="142" y="133"/>
                  </a:cubicBezTo>
                  <a:cubicBezTo>
                    <a:pt x="141" y="136"/>
                    <a:pt x="141" y="137"/>
                    <a:pt x="142" y="138"/>
                  </a:cubicBezTo>
                  <a:cubicBezTo>
                    <a:pt x="142" y="140"/>
                    <a:pt x="146" y="142"/>
                    <a:pt x="147" y="142"/>
                  </a:cubicBezTo>
                  <a:cubicBezTo>
                    <a:pt x="148" y="143"/>
                    <a:pt x="149" y="143"/>
                    <a:pt x="150" y="143"/>
                  </a:cubicBezTo>
                  <a:cubicBezTo>
                    <a:pt x="150" y="143"/>
                    <a:pt x="153" y="145"/>
                    <a:pt x="152" y="147"/>
                  </a:cubicBezTo>
                  <a:cubicBezTo>
                    <a:pt x="151" y="148"/>
                    <a:pt x="146" y="150"/>
                    <a:pt x="146" y="150"/>
                  </a:cubicBezTo>
                  <a:cubicBezTo>
                    <a:pt x="142" y="152"/>
                    <a:pt x="144" y="154"/>
                    <a:pt x="143" y="156"/>
                  </a:cubicBezTo>
                  <a:cubicBezTo>
                    <a:pt x="139" y="161"/>
                    <a:pt x="145" y="161"/>
                    <a:pt x="148" y="161"/>
                  </a:cubicBezTo>
                  <a:cubicBezTo>
                    <a:pt x="151" y="160"/>
                    <a:pt x="151" y="161"/>
                    <a:pt x="152" y="161"/>
                  </a:cubicBezTo>
                  <a:cubicBezTo>
                    <a:pt x="152" y="161"/>
                    <a:pt x="153" y="163"/>
                    <a:pt x="154" y="164"/>
                  </a:cubicBezTo>
                  <a:cubicBezTo>
                    <a:pt x="156" y="165"/>
                    <a:pt x="157" y="166"/>
                    <a:pt x="158" y="166"/>
                  </a:cubicBezTo>
                  <a:cubicBezTo>
                    <a:pt x="158" y="166"/>
                    <a:pt x="159" y="167"/>
                    <a:pt x="160" y="167"/>
                  </a:cubicBezTo>
                  <a:cubicBezTo>
                    <a:pt x="161" y="167"/>
                    <a:pt x="162" y="165"/>
                    <a:pt x="162" y="165"/>
                  </a:cubicBezTo>
                  <a:cubicBezTo>
                    <a:pt x="162" y="165"/>
                    <a:pt x="164" y="166"/>
                    <a:pt x="165" y="167"/>
                  </a:cubicBezTo>
                  <a:cubicBezTo>
                    <a:pt x="165" y="168"/>
                    <a:pt x="169" y="171"/>
                    <a:pt x="170" y="171"/>
                  </a:cubicBezTo>
                  <a:cubicBezTo>
                    <a:pt x="171" y="172"/>
                    <a:pt x="173" y="174"/>
                    <a:pt x="174" y="175"/>
                  </a:cubicBezTo>
                  <a:cubicBezTo>
                    <a:pt x="174" y="175"/>
                    <a:pt x="175" y="174"/>
                    <a:pt x="176" y="173"/>
                  </a:cubicBezTo>
                  <a:cubicBezTo>
                    <a:pt x="177" y="172"/>
                    <a:pt x="181" y="168"/>
                    <a:pt x="181" y="168"/>
                  </a:cubicBezTo>
                  <a:cubicBezTo>
                    <a:pt x="181" y="168"/>
                    <a:pt x="180" y="162"/>
                    <a:pt x="180" y="162"/>
                  </a:cubicBezTo>
                  <a:cubicBezTo>
                    <a:pt x="179" y="161"/>
                    <a:pt x="177" y="155"/>
                    <a:pt x="177" y="155"/>
                  </a:cubicBezTo>
                  <a:cubicBezTo>
                    <a:pt x="175" y="152"/>
                    <a:pt x="175" y="152"/>
                    <a:pt x="175" y="152"/>
                  </a:cubicBezTo>
                  <a:cubicBezTo>
                    <a:pt x="175" y="152"/>
                    <a:pt x="175" y="148"/>
                    <a:pt x="175" y="148"/>
                  </a:cubicBezTo>
                  <a:cubicBezTo>
                    <a:pt x="175" y="147"/>
                    <a:pt x="174" y="146"/>
                    <a:pt x="173" y="145"/>
                  </a:cubicBezTo>
                  <a:cubicBezTo>
                    <a:pt x="172" y="144"/>
                    <a:pt x="174" y="143"/>
                    <a:pt x="174" y="143"/>
                  </a:cubicBezTo>
                  <a:cubicBezTo>
                    <a:pt x="175" y="143"/>
                    <a:pt x="176" y="143"/>
                    <a:pt x="176" y="143"/>
                  </a:cubicBezTo>
                  <a:cubicBezTo>
                    <a:pt x="175" y="140"/>
                    <a:pt x="175" y="140"/>
                    <a:pt x="175" y="140"/>
                  </a:cubicBezTo>
                  <a:cubicBezTo>
                    <a:pt x="174" y="135"/>
                    <a:pt x="174" y="135"/>
                    <a:pt x="174" y="135"/>
                  </a:cubicBezTo>
                  <a:cubicBezTo>
                    <a:pt x="176" y="131"/>
                    <a:pt x="176" y="131"/>
                    <a:pt x="176" y="131"/>
                  </a:cubicBezTo>
                  <a:cubicBezTo>
                    <a:pt x="179" y="130"/>
                    <a:pt x="179" y="130"/>
                    <a:pt x="179" y="130"/>
                  </a:cubicBezTo>
                  <a:cubicBezTo>
                    <a:pt x="181" y="134"/>
                    <a:pt x="181" y="134"/>
                    <a:pt x="181" y="134"/>
                  </a:cubicBezTo>
                  <a:cubicBezTo>
                    <a:pt x="183" y="133"/>
                    <a:pt x="183" y="133"/>
                    <a:pt x="183" y="133"/>
                  </a:cubicBezTo>
                  <a:cubicBezTo>
                    <a:pt x="184" y="136"/>
                    <a:pt x="184" y="136"/>
                    <a:pt x="184" y="136"/>
                  </a:cubicBezTo>
                  <a:cubicBezTo>
                    <a:pt x="180" y="139"/>
                    <a:pt x="180" y="139"/>
                    <a:pt x="180" y="139"/>
                  </a:cubicBezTo>
                  <a:cubicBezTo>
                    <a:pt x="182" y="141"/>
                    <a:pt x="183" y="140"/>
                    <a:pt x="185" y="138"/>
                  </a:cubicBezTo>
                  <a:cubicBezTo>
                    <a:pt x="187" y="137"/>
                    <a:pt x="186" y="134"/>
                    <a:pt x="186" y="134"/>
                  </a:cubicBezTo>
                  <a:cubicBezTo>
                    <a:pt x="185" y="129"/>
                    <a:pt x="185" y="129"/>
                    <a:pt x="185" y="129"/>
                  </a:cubicBezTo>
                  <a:cubicBezTo>
                    <a:pt x="185" y="129"/>
                    <a:pt x="184" y="125"/>
                    <a:pt x="184" y="124"/>
                  </a:cubicBezTo>
                  <a:cubicBezTo>
                    <a:pt x="184" y="123"/>
                    <a:pt x="184" y="121"/>
                    <a:pt x="184" y="121"/>
                  </a:cubicBezTo>
                  <a:cubicBezTo>
                    <a:pt x="184" y="121"/>
                    <a:pt x="189" y="120"/>
                    <a:pt x="190" y="119"/>
                  </a:cubicBezTo>
                  <a:cubicBezTo>
                    <a:pt x="190" y="118"/>
                    <a:pt x="189" y="116"/>
                    <a:pt x="189" y="116"/>
                  </a:cubicBezTo>
                  <a:cubicBezTo>
                    <a:pt x="189" y="116"/>
                    <a:pt x="184" y="114"/>
                    <a:pt x="183" y="113"/>
                  </a:cubicBezTo>
                  <a:cubicBezTo>
                    <a:pt x="182" y="112"/>
                    <a:pt x="183" y="110"/>
                    <a:pt x="183" y="110"/>
                  </a:cubicBezTo>
                  <a:cubicBezTo>
                    <a:pt x="183" y="110"/>
                    <a:pt x="182" y="106"/>
                    <a:pt x="181" y="105"/>
                  </a:cubicBezTo>
                  <a:cubicBezTo>
                    <a:pt x="181" y="104"/>
                    <a:pt x="182" y="104"/>
                    <a:pt x="185" y="101"/>
                  </a:cubicBezTo>
                  <a:cubicBezTo>
                    <a:pt x="187" y="98"/>
                    <a:pt x="184" y="98"/>
                    <a:pt x="184" y="98"/>
                  </a:cubicBezTo>
                  <a:cubicBezTo>
                    <a:pt x="183" y="95"/>
                    <a:pt x="183" y="95"/>
                    <a:pt x="183" y="95"/>
                  </a:cubicBezTo>
                  <a:cubicBezTo>
                    <a:pt x="185" y="92"/>
                    <a:pt x="185" y="92"/>
                    <a:pt x="185" y="92"/>
                  </a:cubicBezTo>
                  <a:cubicBezTo>
                    <a:pt x="181" y="89"/>
                    <a:pt x="181" y="89"/>
                    <a:pt x="181" y="89"/>
                  </a:cubicBezTo>
                  <a:cubicBezTo>
                    <a:pt x="182" y="85"/>
                    <a:pt x="182" y="85"/>
                    <a:pt x="182" y="85"/>
                  </a:cubicBezTo>
                  <a:cubicBezTo>
                    <a:pt x="180" y="83"/>
                    <a:pt x="180" y="83"/>
                    <a:pt x="180" y="83"/>
                  </a:cubicBezTo>
                  <a:cubicBezTo>
                    <a:pt x="180" y="83"/>
                    <a:pt x="182" y="81"/>
                    <a:pt x="183" y="81"/>
                  </a:cubicBezTo>
                  <a:cubicBezTo>
                    <a:pt x="184" y="80"/>
                    <a:pt x="181" y="78"/>
                    <a:pt x="181" y="78"/>
                  </a:cubicBezTo>
                  <a:cubicBezTo>
                    <a:pt x="182" y="73"/>
                    <a:pt x="182" y="73"/>
                    <a:pt x="182" y="73"/>
                  </a:cubicBezTo>
                  <a:cubicBezTo>
                    <a:pt x="188" y="69"/>
                    <a:pt x="188" y="69"/>
                    <a:pt x="188" y="69"/>
                  </a:cubicBezTo>
                  <a:cubicBezTo>
                    <a:pt x="192" y="65"/>
                    <a:pt x="192" y="65"/>
                    <a:pt x="192" y="65"/>
                  </a:cubicBezTo>
                  <a:cubicBezTo>
                    <a:pt x="194" y="62"/>
                    <a:pt x="194" y="62"/>
                    <a:pt x="194" y="62"/>
                  </a:cubicBezTo>
                  <a:cubicBezTo>
                    <a:pt x="197" y="61"/>
                    <a:pt x="197" y="61"/>
                    <a:pt x="197" y="61"/>
                  </a:cubicBezTo>
                  <a:cubicBezTo>
                    <a:pt x="200" y="60"/>
                    <a:pt x="200" y="60"/>
                    <a:pt x="200" y="60"/>
                  </a:cubicBezTo>
                  <a:cubicBezTo>
                    <a:pt x="200" y="60"/>
                    <a:pt x="204" y="59"/>
                    <a:pt x="205" y="58"/>
                  </a:cubicBezTo>
                  <a:cubicBezTo>
                    <a:pt x="206" y="58"/>
                    <a:pt x="207" y="58"/>
                    <a:pt x="208" y="58"/>
                  </a:cubicBezTo>
                  <a:cubicBezTo>
                    <a:pt x="209" y="57"/>
                    <a:pt x="214" y="61"/>
                    <a:pt x="214" y="61"/>
                  </a:cubicBezTo>
                  <a:lnTo>
                    <a:pt x="213" y="58"/>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4" name="Freeform 130"/>
            <p:cNvSpPr>
              <a:spLocks/>
            </p:cNvSpPr>
            <p:nvPr/>
          </p:nvSpPr>
          <p:spPr bwMode="auto">
            <a:xfrm>
              <a:off x="5126276" y="3678503"/>
              <a:ext cx="714852" cy="908186"/>
            </a:xfrm>
            <a:custGeom>
              <a:avLst/>
              <a:gdLst>
                <a:gd name="T0" fmla="*/ 233 w 247"/>
                <a:gd name="T1" fmla="*/ 133 h 332"/>
                <a:gd name="T2" fmla="*/ 230 w 247"/>
                <a:gd name="T3" fmla="*/ 100 h 332"/>
                <a:gd name="T4" fmla="*/ 219 w 247"/>
                <a:gd name="T5" fmla="*/ 59 h 332"/>
                <a:gd name="T6" fmla="*/ 211 w 247"/>
                <a:gd name="T7" fmla="*/ 41 h 332"/>
                <a:gd name="T8" fmla="*/ 190 w 247"/>
                <a:gd name="T9" fmla="*/ 29 h 332"/>
                <a:gd name="T10" fmla="*/ 195 w 247"/>
                <a:gd name="T11" fmla="*/ 17 h 332"/>
                <a:gd name="T12" fmla="*/ 189 w 247"/>
                <a:gd name="T13" fmla="*/ 13 h 332"/>
                <a:gd name="T14" fmla="*/ 184 w 247"/>
                <a:gd name="T15" fmla="*/ 15 h 332"/>
                <a:gd name="T16" fmla="*/ 170 w 247"/>
                <a:gd name="T17" fmla="*/ 23 h 332"/>
                <a:gd name="T18" fmla="*/ 166 w 247"/>
                <a:gd name="T19" fmla="*/ 24 h 332"/>
                <a:gd name="T20" fmla="*/ 143 w 247"/>
                <a:gd name="T21" fmla="*/ 40 h 332"/>
                <a:gd name="T22" fmla="*/ 126 w 247"/>
                <a:gd name="T23" fmla="*/ 40 h 332"/>
                <a:gd name="T24" fmla="*/ 134 w 247"/>
                <a:gd name="T25" fmla="*/ 25 h 332"/>
                <a:gd name="T26" fmla="*/ 133 w 247"/>
                <a:gd name="T27" fmla="*/ 24 h 332"/>
                <a:gd name="T28" fmla="*/ 114 w 247"/>
                <a:gd name="T29" fmla="*/ 23 h 332"/>
                <a:gd name="T30" fmla="*/ 106 w 247"/>
                <a:gd name="T31" fmla="*/ 8 h 332"/>
                <a:gd name="T32" fmla="*/ 86 w 247"/>
                <a:gd name="T33" fmla="*/ 4 h 332"/>
                <a:gd name="T34" fmla="*/ 75 w 247"/>
                <a:gd name="T35" fmla="*/ 12 h 332"/>
                <a:gd name="T36" fmla="*/ 81 w 247"/>
                <a:gd name="T37" fmla="*/ 19 h 332"/>
                <a:gd name="T38" fmla="*/ 78 w 247"/>
                <a:gd name="T39" fmla="*/ 33 h 332"/>
                <a:gd name="T40" fmla="*/ 85 w 247"/>
                <a:gd name="T41" fmla="*/ 44 h 332"/>
                <a:gd name="T42" fmla="*/ 69 w 247"/>
                <a:gd name="T43" fmla="*/ 52 h 332"/>
                <a:gd name="T44" fmla="*/ 62 w 247"/>
                <a:gd name="T45" fmla="*/ 63 h 332"/>
                <a:gd name="T46" fmla="*/ 52 w 247"/>
                <a:gd name="T47" fmla="*/ 49 h 332"/>
                <a:gd name="T48" fmla="*/ 33 w 247"/>
                <a:gd name="T49" fmla="*/ 54 h 332"/>
                <a:gd name="T50" fmla="*/ 33 w 247"/>
                <a:gd name="T51" fmla="*/ 70 h 332"/>
                <a:gd name="T52" fmla="*/ 36 w 247"/>
                <a:gd name="T53" fmla="*/ 86 h 332"/>
                <a:gd name="T54" fmla="*/ 23 w 247"/>
                <a:gd name="T55" fmla="*/ 104 h 332"/>
                <a:gd name="T56" fmla="*/ 31 w 247"/>
                <a:gd name="T57" fmla="*/ 119 h 332"/>
                <a:gd name="T58" fmla="*/ 25 w 247"/>
                <a:gd name="T59" fmla="*/ 126 h 332"/>
                <a:gd name="T60" fmla="*/ 6 w 247"/>
                <a:gd name="T61" fmla="*/ 133 h 332"/>
                <a:gd name="T62" fmla="*/ 7 w 247"/>
                <a:gd name="T63" fmla="*/ 143 h 332"/>
                <a:gd name="T64" fmla="*/ 4 w 247"/>
                <a:gd name="T65" fmla="*/ 158 h 332"/>
                <a:gd name="T66" fmla="*/ 2 w 247"/>
                <a:gd name="T67" fmla="*/ 169 h 332"/>
                <a:gd name="T68" fmla="*/ 3 w 247"/>
                <a:gd name="T69" fmla="*/ 178 h 332"/>
                <a:gd name="T70" fmla="*/ 10 w 247"/>
                <a:gd name="T71" fmla="*/ 189 h 332"/>
                <a:gd name="T72" fmla="*/ 4 w 247"/>
                <a:gd name="T73" fmla="*/ 201 h 332"/>
                <a:gd name="T74" fmla="*/ 11 w 247"/>
                <a:gd name="T75" fmla="*/ 217 h 332"/>
                <a:gd name="T76" fmla="*/ 15 w 247"/>
                <a:gd name="T77" fmla="*/ 241 h 332"/>
                <a:gd name="T78" fmla="*/ 43 w 247"/>
                <a:gd name="T79" fmla="*/ 252 h 332"/>
                <a:gd name="T80" fmla="*/ 45 w 247"/>
                <a:gd name="T81" fmla="*/ 277 h 332"/>
                <a:gd name="T82" fmla="*/ 38 w 247"/>
                <a:gd name="T83" fmla="*/ 311 h 332"/>
                <a:gd name="T84" fmla="*/ 51 w 247"/>
                <a:gd name="T85" fmla="*/ 316 h 332"/>
                <a:gd name="T86" fmla="*/ 60 w 247"/>
                <a:gd name="T87" fmla="*/ 313 h 332"/>
                <a:gd name="T88" fmla="*/ 74 w 247"/>
                <a:gd name="T89" fmla="*/ 307 h 332"/>
                <a:gd name="T90" fmla="*/ 87 w 247"/>
                <a:gd name="T91" fmla="*/ 311 h 332"/>
                <a:gd name="T92" fmla="*/ 99 w 247"/>
                <a:gd name="T93" fmla="*/ 318 h 332"/>
                <a:gd name="T94" fmla="*/ 113 w 247"/>
                <a:gd name="T95" fmla="*/ 327 h 332"/>
                <a:gd name="T96" fmla="*/ 122 w 247"/>
                <a:gd name="T97" fmla="*/ 321 h 332"/>
                <a:gd name="T98" fmla="*/ 141 w 247"/>
                <a:gd name="T99" fmla="*/ 325 h 332"/>
                <a:gd name="T100" fmla="*/ 165 w 247"/>
                <a:gd name="T101" fmla="*/ 316 h 332"/>
                <a:gd name="T102" fmla="*/ 185 w 247"/>
                <a:gd name="T103" fmla="*/ 313 h 332"/>
                <a:gd name="T104" fmla="*/ 199 w 247"/>
                <a:gd name="T105" fmla="*/ 313 h 332"/>
                <a:gd name="T106" fmla="*/ 190 w 247"/>
                <a:gd name="T107" fmla="*/ 296 h 332"/>
                <a:gd name="T108" fmla="*/ 203 w 247"/>
                <a:gd name="T109" fmla="*/ 283 h 332"/>
                <a:gd name="T110" fmla="*/ 218 w 247"/>
                <a:gd name="T111" fmla="*/ 270 h 332"/>
                <a:gd name="T112" fmla="*/ 206 w 247"/>
                <a:gd name="T113" fmla="*/ 254 h 332"/>
                <a:gd name="T114" fmla="*/ 183 w 247"/>
                <a:gd name="T115" fmla="*/ 234 h 332"/>
                <a:gd name="T116" fmla="*/ 167 w 247"/>
                <a:gd name="T117" fmla="*/ 200 h 332"/>
                <a:gd name="T118" fmla="*/ 190 w 247"/>
                <a:gd name="T119" fmla="*/ 193 h 332"/>
                <a:gd name="T120" fmla="*/ 216 w 247"/>
                <a:gd name="T121" fmla="*/ 172 h 332"/>
                <a:gd name="T122" fmla="*/ 236 w 247"/>
                <a:gd name="T123" fmla="*/ 171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32">
                  <a:moveTo>
                    <a:pt x="247" y="154"/>
                  </a:moveTo>
                  <a:cubicBezTo>
                    <a:pt x="247" y="154"/>
                    <a:pt x="245" y="151"/>
                    <a:pt x="244" y="151"/>
                  </a:cubicBezTo>
                  <a:cubicBezTo>
                    <a:pt x="244" y="151"/>
                    <a:pt x="242" y="148"/>
                    <a:pt x="242" y="147"/>
                  </a:cubicBezTo>
                  <a:cubicBezTo>
                    <a:pt x="242" y="147"/>
                    <a:pt x="242" y="145"/>
                    <a:pt x="242" y="145"/>
                  </a:cubicBezTo>
                  <a:cubicBezTo>
                    <a:pt x="242" y="145"/>
                    <a:pt x="240" y="144"/>
                    <a:pt x="239" y="144"/>
                  </a:cubicBezTo>
                  <a:cubicBezTo>
                    <a:pt x="239" y="143"/>
                    <a:pt x="236" y="143"/>
                    <a:pt x="236" y="143"/>
                  </a:cubicBezTo>
                  <a:cubicBezTo>
                    <a:pt x="236" y="140"/>
                    <a:pt x="236" y="140"/>
                    <a:pt x="236" y="140"/>
                  </a:cubicBezTo>
                  <a:cubicBezTo>
                    <a:pt x="237" y="136"/>
                    <a:pt x="237" y="136"/>
                    <a:pt x="237" y="136"/>
                  </a:cubicBezTo>
                  <a:cubicBezTo>
                    <a:pt x="233" y="133"/>
                    <a:pt x="233" y="133"/>
                    <a:pt x="233" y="133"/>
                  </a:cubicBezTo>
                  <a:cubicBezTo>
                    <a:pt x="232" y="130"/>
                    <a:pt x="232" y="130"/>
                    <a:pt x="232" y="130"/>
                  </a:cubicBezTo>
                  <a:cubicBezTo>
                    <a:pt x="232" y="130"/>
                    <a:pt x="233" y="128"/>
                    <a:pt x="233" y="127"/>
                  </a:cubicBezTo>
                  <a:cubicBezTo>
                    <a:pt x="234" y="126"/>
                    <a:pt x="235" y="123"/>
                    <a:pt x="235" y="123"/>
                  </a:cubicBezTo>
                  <a:cubicBezTo>
                    <a:pt x="233" y="120"/>
                    <a:pt x="233" y="120"/>
                    <a:pt x="233" y="120"/>
                  </a:cubicBezTo>
                  <a:cubicBezTo>
                    <a:pt x="233" y="120"/>
                    <a:pt x="232" y="119"/>
                    <a:pt x="233" y="118"/>
                  </a:cubicBezTo>
                  <a:cubicBezTo>
                    <a:pt x="233" y="118"/>
                    <a:pt x="232" y="113"/>
                    <a:pt x="232" y="113"/>
                  </a:cubicBezTo>
                  <a:cubicBezTo>
                    <a:pt x="232" y="113"/>
                    <a:pt x="232" y="109"/>
                    <a:pt x="230" y="109"/>
                  </a:cubicBezTo>
                  <a:cubicBezTo>
                    <a:pt x="229" y="109"/>
                    <a:pt x="228" y="106"/>
                    <a:pt x="228" y="106"/>
                  </a:cubicBezTo>
                  <a:cubicBezTo>
                    <a:pt x="230" y="100"/>
                    <a:pt x="230" y="100"/>
                    <a:pt x="230" y="100"/>
                  </a:cubicBezTo>
                  <a:cubicBezTo>
                    <a:pt x="230" y="100"/>
                    <a:pt x="231" y="96"/>
                    <a:pt x="228" y="95"/>
                  </a:cubicBezTo>
                  <a:cubicBezTo>
                    <a:pt x="225" y="94"/>
                    <a:pt x="221" y="92"/>
                    <a:pt x="220" y="91"/>
                  </a:cubicBezTo>
                  <a:cubicBezTo>
                    <a:pt x="220" y="90"/>
                    <a:pt x="218" y="88"/>
                    <a:pt x="217" y="87"/>
                  </a:cubicBezTo>
                  <a:cubicBezTo>
                    <a:pt x="216" y="87"/>
                    <a:pt x="216" y="87"/>
                    <a:pt x="216" y="87"/>
                  </a:cubicBezTo>
                  <a:cubicBezTo>
                    <a:pt x="217" y="80"/>
                    <a:pt x="217" y="80"/>
                    <a:pt x="217" y="80"/>
                  </a:cubicBezTo>
                  <a:cubicBezTo>
                    <a:pt x="221" y="77"/>
                    <a:pt x="221" y="77"/>
                    <a:pt x="221" y="77"/>
                  </a:cubicBezTo>
                  <a:cubicBezTo>
                    <a:pt x="221" y="70"/>
                    <a:pt x="221" y="70"/>
                    <a:pt x="221" y="70"/>
                  </a:cubicBezTo>
                  <a:cubicBezTo>
                    <a:pt x="221" y="63"/>
                    <a:pt x="221" y="63"/>
                    <a:pt x="221" y="63"/>
                  </a:cubicBezTo>
                  <a:cubicBezTo>
                    <a:pt x="221" y="63"/>
                    <a:pt x="222" y="61"/>
                    <a:pt x="219" y="59"/>
                  </a:cubicBezTo>
                  <a:cubicBezTo>
                    <a:pt x="217" y="56"/>
                    <a:pt x="217" y="53"/>
                    <a:pt x="217" y="52"/>
                  </a:cubicBezTo>
                  <a:cubicBezTo>
                    <a:pt x="217" y="52"/>
                    <a:pt x="216" y="49"/>
                    <a:pt x="216" y="48"/>
                  </a:cubicBezTo>
                  <a:cubicBezTo>
                    <a:pt x="216" y="47"/>
                    <a:pt x="215" y="47"/>
                    <a:pt x="215" y="46"/>
                  </a:cubicBezTo>
                  <a:cubicBezTo>
                    <a:pt x="212" y="46"/>
                    <a:pt x="208" y="47"/>
                    <a:pt x="208" y="47"/>
                  </a:cubicBezTo>
                  <a:cubicBezTo>
                    <a:pt x="208" y="47"/>
                    <a:pt x="207" y="46"/>
                    <a:pt x="206" y="46"/>
                  </a:cubicBezTo>
                  <a:cubicBezTo>
                    <a:pt x="206" y="46"/>
                    <a:pt x="204" y="44"/>
                    <a:pt x="204" y="44"/>
                  </a:cubicBezTo>
                  <a:cubicBezTo>
                    <a:pt x="206" y="44"/>
                    <a:pt x="206" y="44"/>
                    <a:pt x="206" y="44"/>
                  </a:cubicBezTo>
                  <a:cubicBezTo>
                    <a:pt x="209" y="43"/>
                    <a:pt x="209" y="43"/>
                    <a:pt x="209" y="43"/>
                  </a:cubicBezTo>
                  <a:cubicBezTo>
                    <a:pt x="211" y="41"/>
                    <a:pt x="211" y="41"/>
                    <a:pt x="211" y="41"/>
                  </a:cubicBezTo>
                  <a:cubicBezTo>
                    <a:pt x="212" y="40"/>
                    <a:pt x="212" y="40"/>
                    <a:pt x="212" y="40"/>
                  </a:cubicBezTo>
                  <a:cubicBezTo>
                    <a:pt x="211" y="36"/>
                    <a:pt x="211" y="36"/>
                    <a:pt x="211" y="36"/>
                  </a:cubicBezTo>
                  <a:cubicBezTo>
                    <a:pt x="210" y="36"/>
                    <a:pt x="210" y="36"/>
                    <a:pt x="210" y="36"/>
                  </a:cubicBezTo>
                  <a:cubicBezTo>
                    <a:pt x="210" y="36"/>
                    <a:pt x="206" y="34"/>
                    <a:pt x="206" y="33"/>
                  </a:cubicBezTo>
                  <a:cubicBezTo>
                    <a:pt x="206" y="33"/>
                    <a:pt x="205" y="31"/>
                    <a:pt x="205" y="31"/>
                  </a:cubicBezTo>
                  <a:cubicBezTo>
                    <a:pt x="203" y="31"/>
                    <a:pt x="203" y="31"/>
                    <a:pt x="203" y="31"/>
                  </a:cubicBezTo>
                  <a:cubicBezTo>
                    <a:pt x="203" y="31"/>
                    <a:pt x="197" y="31"/>
                    <a:pt x="197" y="31"/>
                  </a:cubicBezTo>
                  <a:cubicBezTo>
                    <a:pt x="197" y="32"/>
                    <a:pt x="193" y="31"/>
                    <a:pt x="193" y="31"/>
                  </a:cubicBezTo>
                  <a:cubicBezTo>
                    <a:pt x="193" y="31"/>
                    <a:pt x="191" y="30"/>
                    <a:pt x="190" y="29"/>
                  </a:cubicBezTo>
                  <a:cubicBezTo>
                    <a:pt x="190" y="28"/>
                    <a:pt x="190" y="27"/>
                    <a:pt x="190" y="26"/>
                  </a:cubicBezTo>
                  <a:cubicBezTo>
                    <a:pt x="190" y="25"/>
                    <a:pt x="190" y="26"/>
                    <a:pt x="192" y="25"/>
                  </a:cubicBezTo>
                  <a:cubicBezTo>
                    <a:pt x="193" y="24"/>
                    <a:pt x="194" y="24"/>
                    <a:pt x="195" y="24"/>
                  </a:cubicBezTo>
                  <a:cubicBezTo>
                    <a:pt x="195" y="23"/>
                    <a:pt x="195" y="23"/>
                    <a:pt x="195" y="23"/>
                  </a:cubicBezTo>
                  <a:cubicBezTo>
                    <a:pt x="195" y="23"/>
                    <a:pt x="199" y="23"/>
                    <a:pt x="199" y="23"/>
                  </a:cubicBezTo>
                  <a:cubicBezTo>
                    <a:pt x="199" y="23"/>
                    <a:pt x="199" y="21"/>
                    <a:pt x="199" y="21"/>
                  </a:cubicBezTo>
                  <a:cubicBezTo>
                    <a:pt x="197" y="20"/>
                    <a:pt x="197" y="20"/>
                    <a:pt x="197" y="20"/>
                  </a:cubicBezTo>
                  <a:cubicBezTo>
                    <a:pt x="197" y="20"/>
                    <a:pt x="195" y="18"/>
                    <a:pt x="195" y="18"/>
                  </a:cubicBezTo>
                  <a:cubicBezTo>
                    <a:pt x="195" y="17"/>
                    <a:pt x="195" y="17"/>
                    <a:pt x="195" y="17"/>
                  </a:cubicBezTo>
                  <a:cubicBezTo>
                    <a:pt x="195" y="17"/>
                    <a:pt x="197" y="15"/>
                    <a:pt x="197" y="15"/>
                  </a:cubicBezTo>
                  <a:cubicBezTo>
                    <a:pt x="198" y="14"/>
                    <a:pt x="197" y="13"/>
                    <a:pt x="197" y="13"/>
                  </a:cubicBezTo>
                  <a:cubicBezTo>
                    <a:pt x="197" y="13"/>
                    <a:pt x="196" y="12"/>
                    <a:pt x="195" y="12"/>
                  </a:cubicBezTo>
                  <a:cubicBezTo>
                    <a:pt x="195" y="12"/>
                    <a:pt x="194" y="14"/>
                    <a:pt x="194" y="14"/>
                  </a:cubicBezTo>
                  <a:cubicBezTo>
                    <a:pt x="193" y="14"/>
                    <a:pt x="193" y="16"/>
                    <a:pt x="193" y="16"/>
                  </a:cubicBezTo>
                  <a:cubicBezTo>
                    <a:pt x="193" y="16"/>
                    <a:pt x="191" y="17"/>
                    <a:pt x="191" y="17"/>
                  </a:cubicBezTo>
                  <a:cubicBezTo>
                    <a:pt x="190" y="16"/>
                    <a:pt x="191" y="16"/>
                    <a:pt x="191" y="15"/>
                  </a:cubicBezTo>
                  <a:cubicBezTo>
                    <a:pt x="191" y="15"/>
                    <a:pt x="190" y="14"/>
                    <a:pt x="190" y="14"/>
                  </a:cubicBezTo>
                  <a:cubicBezTo>
                    <a:pt x="190" y="14"/>
                    <a:pt x="189" y="13"/>
                    <a:pt x="189" y="13"/>
                  </a:cubicBezTo>
                  <a:cubicBezTo>
                    <a:pt x="189" y="12"/>
                    <a:pt x="190" y="12"/>
                    <a:pt x="191" y="12"/>
                  </a:cubicBezTo>
                  <a:cubicBezTo>
                    <a:pt x="191" y="11"/>
                    <a:pt x="191" y="10"/>
                    <a:pt x="191" y="10"/>
                  </a:cubicBezTo>
                  <a:cubicBezTo>
                    <a:pt x="191" y="10"/>
                    <a:pt x="191" y="9"/>
                    <a:pt x="190" y="9"/>
                  </a:cubicBezTo>
                  <a:cubicBezTo>
                    <a:pt x="190" y="8"/>
                    <a:pt x="189" y="9"/>
                    <a:pt x="189" y="9"/>
                  </a:cubicBezTo>
                  <a:cubicBezTo>
                    <a:pt x="189" y="9"/>
                    <a:pt x="187" y="11"/>
                    <a:pt x="187" y="11"/>
                  </a:cubicBezTo>
                  <a:cubicBezTo>
                    <a:pt x="187" y="11"/>
                    <a:pt x="186" y="12"/>
                    <a:pt x="186" y="12"/>
                  </a:cubicBezTo>
                  <a:cubicBezTo>
                    <a:pt x="186" y="12"/>
                    <a:pt x="186" y="14"/>
                    <a:pt x="186" y="14"/>
                  </a:cubicBezTo>
                  <a:cubicBezTo>
                    <a:pt x="186" y="14"/>
                    <a:pt x="184" y="15"/>
                    <a:pt x="184" y="15"/>
                  </a:cubicBezTo>
                  <a:cubicBezTo>
                    <a:pt x="184" y="15"/>
                    <a:pt x="184" y="15"/>
                    <a:pt x="184" y="15"/>
                  </a:cubicBezTo>
                  <a:cubicBezTo>
                    <a:pt x="184" y="15"/>
                    <a:pt x="183" y="17"/>
                    <a:pt x="183" y="17"/>
                  </a:cubicBezTo>
                  <a:cubicBezTo>
                    <a:pt x="183" y="17"/>
                    <a:pt x="183" y="19"/>
                    <a:pt x="183" y="19"/>
                  </a:cubicBezTo>
                  <a:cubicBezTo>
                    <a:pt x="183" y="19"/>
                    <a:pt x="182" y="20"/>
                    <a:pt x="181" y="21"/>
                  </a:cubicBezTo>
                  <a:cubicBezTo>
                    <a:pt x="180" y="21"/>
                    <a:pt x="180" y="22"/>
                    <a:pt x="180" y="22"/>
                  </a:cubicBezTo>
                  <a:cubicBezTo>
                    <a:pt x="180" y="23"/>
                    <a:pt x="180" y="23"/>
                    <a:pt x="180" y="23"/>
                  </a:cubicBezTo>
                  <a:cubicBezTo>
                    <a:pt x="177" y="24"/>
                    <a:pt x="177" y="24"/>
                    <a:pt x="177" y="24"/>
                  </a:cubicBezTo>
                  <a:cubicBezTo>
                    <a:pt x="177" y="24"/>
                    <a:pt x="175" y="23"/>
                    <a:pt x="175" y="23"/>
                  </a:cubicBezTo>
                  <a:cubicBezTo>
                    <a:pt x="175" y="23"/>
                    <a:pt x="173" y="23"/>
                    <a:pt x="173" y="23"/>
                  </a:cubicBezTo>
                  <a:cubicBezTo>
                    <a:pt x="173" y="23"/>
                    <a:pt x="170" y="23"/>
                    <a:pt x="170" y="23"/>
                  </a:cubicBezTo>
                  <a:cubicBezTo>
                    <a:pt x="170" y="23"/>
                    <a:pt x="169" y="24"/>
                    <a:pt x="169" y="24"/>
                  </a:cubicBezTo>
                  <a:cubicBezTo>
                    <a:pt x="168" y="26"/>
                    <a:pt x="168" y="26"/>
                    <a:pt x="168" y="26"/>
                  </a:cubicBezTo>
                  <a:cubicBezTo>
                    <a:pt x="168" y="26"/>
                    <a:pt x="168" y="24"/>
                    <a:pt x="168" y="24"/>
                  </a:cubicBezTo>
                  <a:cubicBezTo>
                    <a:pt x="169" y="23"/>
                    <a:pt x="170" y="22"/>
                    <a:pt x="170" y="22"/>
                  </a:cubicBezTo>
                  <a:cubicBezTo>
                    <a:pt x="171" y="22"/>
                    <a:pt x="171" y="21"/>
                    <a:pt x="171" y="20"/>
                  </a:cubicBezTo>
                  <a:cubicBezTo>
                    <a:pt x="171" y="20"/>
                    <a:pt x="170" y="19"/>
                    <a:pt x="170" y="19"/>
                  </a:cubicBezTo>
                  <a:cubicBezTo>
                    <a:pt x="168" y="20"/>
                    <a:pt x="168" y="20"/>
                    <a:pt x="168" y="20"/>
                  </a:cubicBezTo>
                  <a:cubicBezTo>
                    <a:pt x="168" y="20"/>
                    <a:pt x="167" y="22"/>
                    <a:pt x="167" y="23"/>
                  </a:cubicBezTo>
                  <a:cubicBezTo>
                    <a:pt x="167" y="24"/>
                    <a:pt x="166" y="24"/>
                    <a:pt x="166" y="24"/>
                  </a:cubicBezTo>
                  <a:cubicBezTo>
                    <a:pt x="164" y="26"/>
                    <a:pt x="164" y="26"/>
                    <a:pt x="164" y="26"/>
                  </a:cubicBezTo>
                  <a:cubicBezTo>
                    <a:pt x="163" y="28"/>
                    <a:pt x="163" y="28"/>
                    <a:pt x="163" y="28"/>
                  </a:cubicBezTo>
                  <a:cubicBezTo>
                    <a:pt x="163" y="28"/>
                    <a:pt x="160" y="31"/>
                    <a:pt x="159" y="31"/>
                  </a:cubicBezTo>
                  <a:cubicBezTo>
                    <a:pt x="159" y="32"/>
                    <a:pt x="156" y="33"/>
                    <a:pt x="156" y="33"/>
                  </a:cubicBezTo>
                  <a:cubicBezTo>
                    <a:pt x="156" y="33"/>
                    <a:pt x="151" y="33"/>
                    <a:pt x="150" y="33"/>
                  </a:cubicBezTo>
                  <a:cubicBezTo>
                    <a:pt x="149" y="33"/>
                    <a:pt x="148" y="35"/>
                    <a:pt x="148" y="35"/>
                  </a:cubicBezTo>
                  <a:cubicBezTo>
                    <a:pt x="148" y="35"/>
                    <a:pt x="147" y="36"/>
                    <a:pt x="147" y="37"/>
                  </a:cubicBezTo>
                  <a:cubicBezTo>
                    <a:pt x="146" y="37"/>
                    <a:pt x="145" y="38"/>
                    <a:pt x="145" y="38"/>
                  </a:cubicBezTo>
                  <a:cubicBezTo>
                    <a:pt x="144" y="39"/>
                    <a:pt x="143" y="40"/>
                    <a:pt x="143" y="40"/>
                  </a:cubicBezTo>
                  <a:cubicBezTo>
                    <a:pt x="143" y="40"/>
                    <a:pt x="142" y="42"/>
                    <a:pt x="142" y="42"/>
                  </a:cubicBezTo>
                  <a:cubicBezTo>
                    <a:pt x="142" y="43"/>
                    <a:pt x="139" y="42"/>
                    <a:pt x="139" y="42"/>
                  </a:cubicBezTo>
                  <a:cubicBezTo>
                    <a:pt x="138" y="41"/>
                    <a:pt x="138" y="41"/>
                    <a:pt x="138" y="41"/>
                  </a:cubicBezTo>
                  <a:cubicBezTo>
                    <a:pt x="135" y="40"/>
                    <a:pt x="135" y="40"/>
                    <a:pt x="135" y="40"/>
                  </a:cubicBezTo>
                  <a:cubicBezTo>
                    <a:pt x="132" y="40"/>
                    <a:pt x="132" y="40"/>
                    <a:pt x="132" y="40"/>
                  </a:cubicBezTo>
                  <a:cubicBezTo>
                    <a:pt x="131" y="41"/>
                    <a:pt x="131" y="41"/>
                    <a:pt x="131" y="41"/>
                  </a:cubicBezTo>
                  <a:cubicBezTo>
                    <a:pt x="130" y="42"/>
                    <a:pt x="130" y="42"/>
                    <a:pt x="130" y="42"/>
                  </a:cubicBezTo>
                  <a:cubicBezTo>
                    <a:pt x="128" y="42"/>
                    <a:pt x="128" y="42"/>
                    <a:pt x="128" y="42"/>
                  </a:cubicBezTo>
                  <a:cubicBezTo>
                    <a:pt x="126" y="40"/>
                    <a:pt x="126" y="40"/>
                    <a:pt x="126" y="40"/>
                  </a:cubicBezTo>
                  <a:cubicBezTo>
                    <a:pt x="125" y="38"/>
                    <a:pt x="125" y="38"/>
                    <a:pt x="125" y="38"/>
                  </a:cubicBezTo>
                  <a:cubicBezTo>
                    <a:pt x="126" y="37"/>
                    <a:pt x="126" y="37"/>
                    <a:pt x="126" y="37"/>
                  </a:cubicBezTo>
                  <a:cubicBezTo>
                    <a:pt x="129" y="37"/>
                    <a:pt x="129" y="37"/>
                    <a:pt x="129" y="37"/>
                  </a:cubicBezTo>
                  <a:cubicBezTo>
                    <a:pt x="131" y="35"/>
                    <a:pt x="131" y="35"/>
                    <a:pt x="131" y="35"/>
                  </a:cubicBezTo>
                  <a:cubicBezTo>
                    <a:pt x="131" y="34"/>
                    <a:pt x="131" y="34"/>
                    <a:pt x="131" y="34"/>
                  </a:cubicBezTo>
                  <a:cubicBezTo>
                    <a:pt x="131" y="34"/>
                    <a:pt x="133" y="33"/>
                    <a:pt x="133" y="33"/>
                  </a:cubicBezTo>
                  <a:cubicBezTo>
                    <a:pt x="134" y="33"/>
                    <a:pt x="134" y="31"/>
                    <a:pt x="134" y="31"/>
                  </a:cubicBezTo>
                  <a:cubicBezTo>
                    <a:pt x="134" y="28"/>
                    <a:pt x="134" y="28"/>
                    <a:pt x="134" y="28"/>
                  </a:cubicBezTo>
                  <a:cubicBezTo>
                    <a:pt x="134" y="25"/>
                    <a:pt x="134" y="25"/>
                    <a:pt x="134" y="25"/>
                  </a:cubicBezTo>
                  <a:cubicBezTo>
                    <a:pt x="135" y="23"/>
                    <a:pt x="135" y="23"/>
                    <a:pt x="135" y="23"/>
                  </a:cubicBezTo>
                  <a:cubicBezTo>
                    <a:pt x="138" y="22"/>
                    <a:pt x="138" y="22"/>
                    <a:pt x="138" y="22"/>
                  </a:cubicBezTo>
                  <a:cubicBezTo>
                    <a:pt x="138" y="20"/>
                    <a:pt x="138" y="20"/>
                    <a:pt x="138" y="20"/>
                  </a:cubicBezTo>
                  <a:cubicBezTo>
                    <a:pt x="137" y="17"/>
                    <a:pt x="137" y="17"/>
                    <a:pt x="137" y="17"/>
                  </a:cubicBezTo>
                  <a:cubicBezTo>
                    <a:pt x="137" y="17"/>
                    <a:pt x="133" y="17"/>
                    <a:pt x="133" y="17"/>
                  </a:cubicBezTo>
                  <a:cubicBezTo>
                    <a:pt x="132" y="17"/>
                    <a:pt x="131" y="18"/>
                    <a:pt x="131" y="18"/>
                  </a:cubicBezTo>
                  <a:cubicBezTo>
                    <a:pt x="131" y="21"/>
                    <a:pt x="131" y="21"/>
                    <a:pt x="131" y="21"/>
                  </a:cubicBezTo>
                  <a:cubicBezTo>
                    <a:pt x="133" y="23"/>
                    <a:pt x="133" y="23"/>
                    <a:pt x="133" y="23"/>
                  </a:cubicBezTo>
                  <a:cubicBezTo>
                    <a:pt x="133" y="24"/>
                    <a:pt x="133" y="24"/>
                    <a:pt x="133" y="24"/>
                  </a:cubicBezTo>
                  <a:cubicBezTo>
                    <a:pt x="131" y="25"/>
                    <a:pt x="131" y="25"/>
                    <a:pt x="131" y="25"/>
                  </a:cubicBezTo>
                  <a:cubicBezTo>
                    <a:pt x="129" y="24"/>
                    <a:pt x="129" y="24"/>
                    <a:pt x="129" y="24"/>
                  </a:cubicBezTo>
                  <a:cubicBezTo>
                    <a:pt x="128" y="26"/>
                    <a:pt x="128" y="26"/>
                    <a:pt x="128" y="26"/>
                  </a:cubicBezTo>
                  <a:cubicBezTo>
                    <a:pt x="127" y="28"/>
                    <a:pt x="127" y="28"/>
                    <a:pt x="127" y="28"/>
                  </a:cubicBezTo>
                  <a:cubicBezTo>
                    <a:pt x="123" y="27"/>
                    <a:pt x="123" y="27"/>
                    <a:pt x="123" y="27"/>
                  </a:cubicBezTo>
                  <a:cubicBezTo>
                    <a:pt x="120" y="25"/>
                    <a:pt x="120" y="25"/>
                    <a:pt x="120" y="25"/>
                  </a:cubicBezTo>
                  <a:cubicBezTo>
                    <a:pt x="118" y="23"/>
                    <a:pt x="118" y="23"/>
                    <a:pt x="118" y="23"/>
                  </a:cubicBezTo>
                  <a:cubicBezTo>
                    <a:pt x="115" y="23"/>
                    <a:pt x="115" y="23"/>
                    <a:pt x="115" y="23"/>
                  </a:cubicBezTo>
                  <a:cubicBezTo>
                    <a:pt x="114" y="23"/>
                    <a:pt x="114" y="23"/>
                    <a:pt x="114" y="23"/>
                  </a:cubicBezTo>
                  <a:cubicBezTo>
                    <a:pt x="111" y="23"/>
                    <a:pt x="111" y="23"/>
                    <a:pt x="111" y="23"/>
                  </a:cubicBezTo>
                  <a:cubicBezTo>
                    <a:pt x="110" y="22"/>
                    <a:pt x="110" y="22"/>
                    <a:pt x="110" y="22"/>
                  </a:cubicBezTo>
                  <a:cubicBezTo>
                    <a:pt x="109" y="21"/>
                    <a:pt x="109" y="21"/>
                    <a:pt x="109" y="21"/>
                  </a:cubicBezTo>
                  <a:cubicBezTo>
                    <a:pt x="107" y="21"/>
                    <a:pt x="107" y="21"/>
                    <a:pt x="107" y="21"/>
                  </a:cubicBezTo>
                  <a:cubicBezTo>
                    <a:pt x="105" y="20"/>
                    <a:pt x="105" y="20"/>
                    <a:pt x="105" y="20"/>
                  </a:cubicBezTo>
                  <a:cubicBezTo>
                    <a:pt x="105" y="18"/>
                    <a:pt x="105" y="18"/>
                    <a:pt x="105" y="18"/>
                  </a:cubicBezTo>
                  <a:cubicBezTo>
                    <a:pt x="105" y="18"/>
                    <a:pt x="106" y="15"/>
                    <a:pt x="106" y="14"/>
                  </a:cubicBezTo>
                  <a:cubicBezTo>
                    <a:pt x="107" y="14"/>
                    <a:pt x="107" y="12"/>
                    <a:pt x="107" y="12"/>
                  </a:cubicBezTo>
                  <a:cubicBezTo>
                    <a:pt x="106" y="8"/>
                    <a:pt x="106" y="8"/>
                    <a:pt x="106" y="8"/>
                  </a:cubicBezTo>
                  <a:cubicBezTo>
                    <a:pt x="99" y="1"/>
                    <a:pt x="99" y="1"/>
                    <a:pt x="99" y="1"/>
                  </a:cubicBezTo>
                  <a:cubicBezTo>
                    <a:pt x="99" y="3"/>
                    <a:pt x="99" y="3"/>
                    <a:pt x="99" y="3"/>
                  </a:cubicBezTo>
                  <a:cubicBezTo>
                    <a:pt x="97" y="4"/>
                    <a:pt x="97" y="4"/>
                    <a:pt x="97" y="4"/>
                  </a:cubicBezTo>
                  <a:cubicBezTo>
                    <a:pt x="96" y="2"/>
                    <a:pt x="96" y="2"/>
                    <a:pt x="96" y="2"/>
                  </a:cubicBezTo>
                  <a:cubicBezTo>
                    <a:pt x="96" y="2"/>
                    <a:pt x="95" y="1"/>
                    <a:pt x="95" y="2"/>
                  </a:cubicBezTo>
                  <a:cubicBezTo>
                    <a:pt x="94" y="2"/>
                    <a:pt x="91" y="4"/>
                    <a:pt x="91" y="4"/>
                  </a:cubicBezTo>
                  <a:cubicBezTo>
                    <a:pt x="91" y="4"/>
                    <a:pt x="90" y="4"/>
                    <a:pt x="89" y="4"/>
                  </a:cubicBezTo>
                  <a:cubicBezTo>
                    <a:pt x="89" y="4"/>
                    <a:pt x="88" y="5"/>
                    <a:pt x="88" y="5"/>
                  </a:cubicBezTo>
                  <a:cubicBezTo>
                    <a:pt x="86" y="4"/>
                    <a:pt x="86" y="4"/>
                    <a:pt x="86" y="4"/>
                  </a:cubicBezTo>
                  <a:cubicBezTo>
                    <a:pt x="83" y="2"/>
                    <a:pt x="83" y="2"/>
                    <a:pt x="83" y="2"/>
                  </a:cubicBezTo>
                  <a:cubicBezTo>
                    <a:pt x="83" y="2"/>
                    <a:pt x="81" y="2"/>
                    <a:pt x="80" y="2"/>
                  </a:cubicBezTo>
                  <a:cubicBezTo>
                    <a:pt x="79" y="2"/>
                    <a:pt x="76" y="0"/>
                    <a:pt x="76" y="0"/>
                  </a:cubicBezTo>
                  <a:cubicBezTo>
                    <a:pt x="74" y="0"/>
                    <a:pt x="74" y="0"/>
                    <a:pt x="74" y="0"/>
                  </a:cubicBezTo>
                  <a:cubicBezTo>
                    <a:pt x="71" y="1"/>
                    <a:pt x="71" y="1"/>
                    <a:pt x="71" y="1"/>
                  </a:cubicBezTo>
                  <a:cubicBezTo>
                    <a:pt x="72" y="7"/>
                    <a:pt x="72" y="7"/>
                    <a:pt x="72" y="7"/>
                  </a:cubicBezTo>
                  <a:cubicBezTo>
                    <a:pt x="73" y="9"/>
                    <a:pt x="73" y="9"/>
                    <a:pt x="73" y="9"/>
                  </a:cubicBezTo>
                  <a:cubicBezTo>
                    <a:pt x="74" y="11"/>
                    <a:pt x="74" y="11"/>
                    <a:pt x="74" y="11"/>
                  </a:cubicBezTo>
                  <a:cubicBezTo>
                    <a:pt x="75" y="12"/>
                    <a:pt x="75" y="12"/>
                    <a:pt x="75" y="12"/>
                  </a:cubicBezTo>
                  <a:cubicBezTo>
                    <a:pt x="77" y="14"/>
                    <a:pt x="77" y="14"/>
                    <a:pt x="77" y="14"/>
                  </a:cubicBezTo>
                  <a:cubicBezTo>
                    <a:pt x="79" y="17"/>
                    <a:pt x="79" y="17"/>
                    <a:pt x="79" y="17"/>
                  </a:cubicBezTo>
                  <a:cubicBezTo>
                    <a:pt x="80" y="19"/>
                    <a:pt x="80" y="19"/>
                    <a:pt x="80" y="19"/>
                  </a:cubicBezTo>
                  <a:cubicBezTo>
                    <a:pt x="79" y="19"/>
                    <a:pt x="79" y="19"/>
                    <a:pt x="79" y="19"/>
                  </a:cubicBezTo>
                  <a:cubicBezTo>
                    <a:pt x="77" y="19"/>
                    <a:pt x="77" y="19"/>
                    <a:pt x="77" y="19"/>
                  </a:cubicBezTo>
                  <a:cubicBezTo>
                    <a:pt x="77" y="21"/>
                    <a:pt x="77" y="21"/>
                    <a:pt x="77" y="21"/>
                  </a:cubicBezTo>
                  <a:cubicBezTo>
                    <a:pt x="77" y="21"/>
                    <a:pt x="78" y="21"/>
                    <a:pt x="78" y="21"/>
                  </a:cubicBezTo>
                  <a:cubicBezTo>
                    <a:pt x="79" y="21"/>
                    <a:pt x="80" y="20"/>
                    <a:pt x="80" y="20"/>
                  </a:cubicBezTo>
                  <a:cubicBezTo>
                    <a:pt x="81" y="19"/>
                    <a:pt x="81" y="19"/>
                    <a:pt x="81" y="19"/>
                  </a:cubicBezTo>
                  <a:cubicBezTo>
                    <a:pt x="82" y="21"/>
                    <a:pt x="82" y="21"/>
                    <a:pt x="82" y="21"/>
                  </a:cubicBezTo>
                  <a:cubicBezTo>
                    <a:pt x="76" y="23"/>
                    <a:pt x="76" y="23"/>
                    <a:pt x="76" y="23"/>
                  </a:cubicBezTo>
                  <a:cubicBezTo>
                    <a:pt x="72" y="24"/>
                    <a:pt x="72" y="24"/>
                    <a:pt x="72" y="24"/>
                  </a:cubicBezTo>
                  <a:cubicBezTo>
                    <a:pt x="71" y="27"/>
                    <a:pt x="71" y="27"/>
                    <a:pt x="71" y="27"/>
                  </a:cubicBezTo>
                  <a:cubicBezTo>
                    <a:pt x="73" y="29"/>
                    <a:pt x="73" y="29"/>
                    <a:pt x="73" y="29"/>
                  </a:cubicBezTo>
                  <a:cubicBezTo>
                    <a:pt x="75" y="29"/>
                    <a:pt x="75" y="29"/>
                    <a:pt x="75" y="29"/>
                  </a:cubicBezTo>
                  <a:cubicBezTo>
                    <a:pt x="78" y="29"/>
                    <a:pt x="78" y="29"/>
                    <a:pt x="78" y="29"/>
                  </a:cubicBezTo>
                  <a:cubicBezTo>
                    <a:pt x="78" y="29"/>
                    <a:pt x="78" y="30"/>
                    <a:pt x="77" y="31"/>
                  </a:cubicBezTo>
                  <a:cubicBezTo>
                    <a:pt x="77" y="33"/>
                    <a:pt x="78" y="33"/>
                    <a:pt x="78" y="33"/>
                  </a:cubicBezTo>
                  <a:cubicBezTo>
                    <a:pt x="80" y="33"/>
                    <a:pt x="80" y="33"/>
                    <a:pt x="80" y="33"/>
                  </a:cubicBezTo>
                  <a:cubicBezTo>
                    <a:pt x="80" y="33"/>
                    <a:pt x="80" y="34"/>
                    <a:pt x="79" y="35"/>
                  </a:cubicBezTo>
                  <a:cubicBezTo>
                    <a:pt x="78" y="35"/>
                    <a:pt x="78" y="38"/>
                    <a:pt x="78" y="38"/>
                  </a:cubicBezTo>
                  <a:cubicBezTo>
                    <a:pt x="81" y="40"/>
                    <a:pt x="81" y="40"/>
                    <a:pt x="81" y="40"/>
                  </a:cubicBezTo>
                  <a:cubicBezTo>
                    <a:pt x="80" y="41"/>
                    <a:pt x="80" y="41"/>
                    <a:pt x="80" y="41"/>
                  </a:cubicBezTo>
                  <a:cubicBezTo>
                    <a:pt x="79" y="43"/>
                    <a:pt x="79" y="43"/>
                    <a:pt x="79" y="43"/>
                  </a:cubicBezTo>
                  <a:cubicBezTo>
                    <a:pt x="79" y="43"/>
                    <a:pt x="81" y="45"/>
                    <a:pt x="81" y="46"/>
                  </a:cubicBezTo>
                  <a:cubicBezTo>
                    <a:pt x="81" y="46"/>
                    <a:pt x="84" y="46"/>
                    <a:pt x="84" y="46"/>
                  </a:cubicBezTo>
                  <a:cubicBezTo>
                    <a:pt x="84" y="46"/>
                    <a:pt x="85" y="44"/>
                    <a:pt x="85" y="44"/>
                  </a:cubicBezTo>
                  <a:cubicBezTo>
                    <a:pt x="85" y="44"/>
                    <a:pt x="87" y="45"/>
                    <a:pt x="87" y="45"/>
                  </a:cubicBezTo>
                  <a:cubicBezTo>
                    <a:pt x="88" y="45"/>
                    <a:pt x="89" y="47"/>
                    <a:pt x="89" y="47"/>
                  </a:cubicBezTo>
                  <a:cubicBezTo>
                    <a:pt x="86" y="47"/>
                    <a:pt x="86" y="47"/>
                    <a:pt x="86" y="47"/>
                  </a:cubicBezTo>
                  <a:cubicBezTo>
                    <a:pt x="84" y="48"/>
                    <a:pt x="84" y="48"/>
                    <a:pt x="84" y="48"/>
                  </a:cubicBezTo>
                  <a:cubicBezTo>
                    <a:pt x="79" y="48"/>
                    <a:pt x="79" y="48"/>
                    <a:pt x="79" y="48"/>
                  </a:cubicBezTo>
                  <a:cubicBezTo>
                    <a:pt x="75" y="48"/>
                    <a:pt x="75" y="48"/>
                    <a:pt x="75" y="48"/>
                  </a:cubicBezTo>
                  <a:cubicBezTo>
                    <a:pt x="73" y="47"/>
                    <a:pt x="73" y="47"/>
                    <a:pt x="73" y="47"/>
                  </a:cubicBezTo>
                  <a:cubicBezTo>
                    <a:pt x="70" y="49"/>
                    <a:pt x="70" y="49"/>
                    <a:pt x="70" y="49"/>
                  </a:cubicBezTo>
                  <a:cubicBezTo>
                    <a:pt x="69" y="52"/>
                    <a:pt x="69" y="52"/>
                    <a:pt x="69" y="52"/>
                  </a:cubicBezTo>
                  <a:cubicBezTo>
                    <a:pt x="68" y="56"/>
                    <a:pt x="68" y="56"/>
                    <a:pt x="68" y="56"/>
                  </a:cubicBezTo>
                  <a:cubicBezTo>
                    <a:pt x="68" y="56"/>
                    <a:pt x="70" y="60"/>
                    <a:pt x="71" y="60"/>
                  </a:cubicBezTo>
                  <a:cubicBezTo>
                    <a:pt x="71" y="60"/>
                    <a:pt x="68" y="61"/>
                    <a:pt x="68" y="61"/>
                  </a:cubicBezTo>
                  <a:cubicBezTo>
                    <a:pt x="66" y="60"/>
                    <a:pt x="66" y="60"/>
                    <a:pt x="66" y="60"/>
                  </a:cubicBezTo>
                  <a:cubicBezTo>
                    <a:pt x="66" y="60"/>
                    <a:pt x="64" y="58"/>
                    <a:pt x="63" y="58"/>
                  </a:cubicBezTo>
                  <a:cubicBezTo>
                    <a:pt x="62" y="57"/>
                    <a:pt x="61" y="58"/>
                    <a:pt x="61" y="58"/>
                  </a:cubicBezTo>
                  <a:cubicBezTo>
                    <a:pt x="60" y="61"/>
                    <a:pt x="60" y="61"/>
                    <a:pt x="60" y="61"/>
                  </a:cubicBezTo>
                  <a:cubicBezTo>
                    <a:pt x="61" y="61"/>
                    <a:pt x="61" y="61"/>
                    <a:pt x="61" y="61"/>
                  </a:cubicBezTo>
                  <a:cubicBezTo>
                    <a:pt x="62" y="63"/>
                    <a:pt x="62" y="63"/>
                    <a:pt x="62" y="63"/>
                  </a:cubicBezTo>
                  <a:cubicBezTo>
                    <a:pt x="62" y="65"/>
                    <a:pt x="62" y="65"/>
                    <a:pt x="62" y="65"/>
                  </a:cubicBezTo>
                  <a:cubicBezTo>
                    <a:pt x="60" y="66"/>
                    <a:pt x="60" y="66"/>
                    <a:pt x="60" y="66"/>
                  </a:cubicBezTo>
                  <a:cubicBezTo>
                    <a:pt x="60" y="66"/>
                    <a:pt x="59" y="65"/>
                    <a:pt x="59" y="64"/>
                  </a:cubicBezTo>
                  <a:cubicBezTo>
                    <a:pt x="59" y="64"/>
                    <a:pt x="58" y="61"/>
                    <a:pt x="58" y="61"/>
                  </a:cubicBezTo>
                  <a:cubicBezTo>
                    <a:pt x="58" y="60"/>
                    <a:pt x="58" y="58"/>
                    <a:pt x="58" y="58"/>
                  </a:cubicBezTo>
                  <a:cubicBezTo>
                    <a:pt x="58" y="58"/>
                    <a:pt x="57" y="56"/>
                    <a:pt x="57" y="56"/>
                  </a:cubicBezTo>
                  <a:cubicBezTo>
                    <a:pt x="58" y="55"/>
                    <a:pt x="56" y="54"/>
                    <a:pt x="56" y="53"/>
                  </a:cubicBezTo>
                  <a:cubicBezTo>
                    <a:pt x="56" y="53"/>
                    <a:pt x="54" y="51"/>
                    <a:pt x="54" y="51"/>
                  </a:cubicBezTo>
                  <a:cubicBezTo>
                    <a:pt x="52" y="49"/>
                    <a:pt x="52" y="49"/>
                    <a:pt x="52" y="49"/>
                  </a:cubicBezTo>
                  <a:cubicBezTo>
                    <a:pt x="49" y="51"/>
                    <a:pt x="49" y="51"/>
                    <a:pt x="49" y="51"/>
                  </a:cubicBezTo>
                  <a:cubicBezTo>
                    <a:pt x="44" y="50"/>
                    <a:pt x="44" y="50"/>
                    <a:pt x="44" y="50"/>
                  </a:cubicBezTo>
                  <a:cubicBezTo>
                    <a:pt x="41" y="52"/>
                    <a:pt x="41" y="52"/>
                    <a:pt x="41" y="52"/>
                  </a:cubicBezTo>
                  <a:cubicBezTo>
                    <a:pt x="41" y="53"/>
                    <a:pt x="41" y="53"/>
                    <a:pt x="41" y="53"/>
                  </a:cubicBezTo>
                  <a:cubicBezTo>
                    <a:pt x="37" y="54"/>
                    <a:pt x="37" y="54"/>
                    <a:pt x="37" y="54"/>
                  </a:cubicBezTo>
                  <a:cubicBezTo>
                    <a:pt x="37" y="54"/>
                    <a:pt x="36" y="54"/>
                    <a:pt x="36" y="54"/>
                  </a:cubicBezTo>
                  <a:cubicBezTo>
                    <a:pt x="35" y="54"/>
                    <a:pt x="35" y="54"/>
                    <a:pt x="34" y="54"/>
                  </a:cubicBezTo>
                  <a:cubicBezTo>
                    <a:pt x="33" y="54"/>
                    <a:pt x="33" y="54"/>
                    <a:pt x="33" y="54"/>
                  </a:cubicBezTo>
                  <a:cubicBezTo>
                    <a:pt x="33" y="54"/>
                    <a:pt x="33" y="54"/>
                    <a:pt x="33" y="54"/>
                  </a:cubicBezTo>
                  <a:cubicBezTo>
                    <a:pt x="32" y="54"/>
                    <a:pt x="32" y="54"/>
                    <a:pt x="32" y="54"/>
                  </a:cubicBezTo>
                  <a:cubicBezTo>
                    <a:pt x="32" y="54"/>
                    <a:pt x="32" y="54"/>
                    <a:pt x="32" y="54"/>
                  </a:cubicBezTo>
                  <a:cubicBezTo>
                    <a:pt x="30" y="56"/>
                    <a:pt x="30" y="56"/>
                    <a:pt x="30" y="56"/>
                  </a:cubicBezTo>
                  <a:cubicBezTo>
                    <a:pt x="32" y="59"/>
                    <a:pt x="32" y="59"/>
                    <a:pt x="32" y="59"/>
                  </a:cubicBezTo>
                  <a:cubicBezTo>
                    <a:pt x="32" y="62"/>
                    <a:pt x="32" y="62"/>
                    <a:pt x="32" y="62"/>
                  </a:cubicBezTo>
                  <a:cubicBezTo>
                    <a:pt x="32" y="62"/>
                    <a:pt x="30" y="64"/>
                    <a:pt x="29" y="64"/>
                  </a:cubicBezTo>
                  <a:cubicBezTo>
                    <a:pt x="29" y="64"/>
                    <a:pt x="29" y="65"/>
                    <a:pt x="28" y="67"/>
                  </a:cubicBezTo>
                  <a:cubicBezTo>
                    <a:pt x="29" y="68"/>
                    <a:pt x="29" y="68"/>
                    <a:pt x="29" y="68"/>
                  </a:cubicBezTo>
                  <a:cubicBezTo>
                    <a:pt x="33" y="70"/>
                    <a:pt x="33" y="70"/>
                    <a:pt x="33" y="70"/>
                  </a:cubicBezTo>
                  <a:cubicBezTo>
                    <a:pt x="33" y="70"/>
                    <a:pt x="33" y="72"/>
                    <a:pt x="33" y="72"/>
                  </a:cubicBezTo>
                  <a:cubicBezTo>
                    <a:pt x="34" y="72"/>
                    <a:pt x="36" y="73"/>
                    <a:pt x="36" y="73"/>
                  </a:cubicBezTo>
                  <a:cubicBezTo>
                    <a:pt x="36" y="75"/>
                    <a:pt x="36" y="75"/>
                    <a:pt x="36" y="75"/>
                  </a:cubicBezTo>
                  <a:cubicBezTo>
                    <a:pt x="36" y="76"/>
                    <a:pt x="36" y="76"/>
                    <a:pt x="36" y="76"/>
                  </a:cubicBezTo>
                  <a:cubicBezTo>
                    <a:pt x="36" y="76"/>
                    <a:pt x="36" y="76"/>
                    <a:pt x="36" y="77"/>
                  </a:cubicBezTo>
                  <a:cubicBezTo>
                    <a:pt x="36" y="77"/>
                    <a:pt x="36" y="79"/>
                    <a:pt x="36" y="79"/>
                  </a:cubicBezTo>
                  <a:cubicBezTo>
                    <a:pt x="36" y="80"/>
                    <a:pt x="36" y="85"/>
                    <a:pt x="36" y="85"/>
                  </a:cubicBezTo>
                  <a:cubicBezTo>
                    <a:pt x="36" y="86"/>
                    <a:pt x="36" y="86"/>
                    <a:pt x="36" y="86"/>
                  </a:cubicBezTo>
                  <a:cubicBezTo>
                    <a:pt x="36" y="86"/>
                    <a:pt x="36" y="86"/>
                    <a:pt x="36" y="86"/>
                  </a:cubicBezTo>
                  <a:cubicBezTo>
                    <a:pt x="36" y="86"/>
                    <a:pt x="34" y="89"/>
                    <a:pt x="33" y="91"/>
                  </a:cubicBezTo>
                  <a:cubicBezTo>
                    <a:pt x="33" y="92"/>
                    <a:pt x="33" y="92"/>
                    <a:pt x="33" y="93"/>
                  </a:cubicBezTo>
                  <a:cubicBezTo>
                    <a:pt x="33" y="93"/>
                    <a:pt x="33" y="93"/>
                    <a:pt x="33" y="93"/>
                  </a:cubicBezTo>
                  <a:cubicBezTo>
                    <a:pt x="32" y="98"/>
                    <a:pt x="32" y="98"/>
                    <a:pt x="32" y="98"/>
                  </a:cubicBezTo>
                  <a:cubicBezTo>
                    <a:pt x="32" y="99"/>
                    <a:pt x="31" y="103"/>
                    <a:pt x="29" y="103"/>
                  </a:cubicBezTo>
                  <a:cubicBezTo>
                    <a:pt x="28" y="103"/>
                    <a:pt x="28" y="103"/>
                    <a:pt x="28" y="103"/>
                  </a:cubicBezTo>
                  <a:cubicBezTo>
                    <a:pt x="28" y="103"/>
                    <a:pt x="28" y="103"/>
                    <a:pt x="28" y="103"/>
                  </a:cubicBezTo>
                  <a:cubicBezTo>
                    <a:pt x="28" y="103"/>
                    <a:pt x="27" y="103"/>
                    <a:pt x="27" y="102"/>
                  </a:cubicBezTo>
                  <a:cubicBezTo>
                    <a:pt x="23" y="104"/>
                    <a:pt x="23" y="104"/>
                    <a:pt x="23" y="104"/>
                  </a:cubicBezTo>
                  <a:cubicBezTo>
                    <a:pt x="23" y="105"/>
                    <a:pt x="23" y="105"/>
                    <a:pt x="23" y="105"/>
                  </a:cubicBezTo>
                  <a:cubicBezTo>
                    <a:pt x="23" y="105"/>
                    <a:pt x="24" y="105"/>
                    <a:pt x="24" y="105"/>
                  </a:cubicBezTo>
                  <a:cubicBezTo>
                    <a:pt x="25" y="105"/>
                    <a:pt x="25" y="105"/>
                    <a:pt x="25" y="105"/>
                  </a:cubicBezTo>
                  <a:cubicBezTo>
                    <a:pt x="27" y="106"/>
                    <a:pt x="27" y="106"/>
                    <a:pt x="27" y="106"/>
                  </a:cubicBezTo>
                  <a:cubicBezTo>
                    <a:pt x="28" y="106"/>
                    <a:pt x="28" y="106"/>
                    <a:pt x="28" y="106"/>
                  </a:cubicBezTo>
                  <a:cubicBezTo>
                    <a:pt x="32" y="111"/>
                    <a:pt x="32" y="111"/>
                    <a:pt x="32" y="111"/>
                  </a:cubicBezTo>
                  <a:cubicBezTo>
                    <a:pt x="31" y="114"/>
                    <a:pt x="31" y="114"/>
                    <a:pt x="31" y="114"/>
                  </a:cubicBezTo>
                  <a:cubicBezTo>
                    <a:pt x="31" y="114"/>
                    <a:pt x="31" y="115"/>
                    <a:pt x="31" y="116"/>
                  </a:cubicBezTo>
                  <a:cubicBezTo>
                    <a:pt x="32" y="117"/>
                    <a:pt x="32" y="118"/>
                    <a:pt x="31" y="119"/>
                  </a:cubicBezTo>
                  <a:cubicBezTo>
                    <a:pt x="31" y="119"/>
                    <a:pt x="31" y="119"/>
                    <a:pt x="31" y="119"/>
                  </a:cubicBezTo>
                  <a:cubicBezTo>
                    <a:pt x="30" y="119"/>
                    <a:pt x="30" y="119"/>
                    <a:pt x="30" y="119"/>
                  </a:cubicBezTo>
                  <a:cubicBezTo>
                    <a:pt x="29" y="119"/>
                    <a:pt x="29" y="120"/>
                    <a:pt x="29" y="120"/>
                  </a:cubicBezTo>
                  <a:cubicBezTo>
                    <a:pt x="29" y="120"/>
                    <a:pt x="29" y="120"/>
                    <a:pt x="29" y="120"/>
                  </a:cubicBezTo>
                  <a:cubicBezTo>
                    <a:pt x="28" y="121"/>
                    <a:pt x="28" y="121"/>
                    <a:pt x="28" y="121"/>
                  </a:cubicBezTo>
                  <a:cubicBezTo>
                    <a:pt x="28" y="121"/>
                    <a:pt x="27" y="122"/>
                    <a:pt x="25" y="123"/>
                  </a:cubicBezTo>
                  <a:cubicBezTo>
                    <a:pt x="25" y="123"/>
                    <a:pt x="24" y="124"/>
                    <a:pt x="22" y="124"/>
                  </a:cubicBezTo>
                  <a:cubicBezTo>
                    <a:pt x="22" y="124"/>
                    <a:pt x="22" y="124"/>
                    <a:pt x="22" y="124"/>
                  </a:cubicBezTo>
                  <a:cubicBezTo>
                    <a:pt x="25" y="126"/>
                    <a:pt x="25" y="126"/>
                    <a:pt x="25" y="126"/>
                  </a:cubicBezTo>
                  <a:cubicBezTo>
                    <a:pt x="24" y="130"/>
                    <a:pt x="24" y="130"/>
                    <a:pt x="24" y="130"/>
                  </a:cubicBezTo>
                  <a:cubicBezTo>
                    <a:pt x="21" y="131"/>
                    <a:pt x="21" y="131"/>
                    <a:pt x="21" y="131"/>
                  </a:cubicBezTo>
                  <a:cubicBezTo>
                    <a:pt x="20" y="133"/>
                    <a:pt x="20" y="133"/>
                    <a:pt x="20" y="133"/>
                  </a:cubicBezTo>
                  <a:cubicBezTo>
                    <a:pt x="17" y="133"/>
                    <a:pt x="17" y="133"/>
                    <a:pt x="17" y="133"/>
                  </a:cubicBezTo>
                  <a:cubicBezTo>
                    <a:pt x="14" y="134"/>
                    <a:pt x="14" y="134"/>
                    <a:pt x="14" y="134"/>
                  </a:cubicBezTo>
                  <a:cubicBezTo>
                    <a:pt x="13" y="134"/>
                    <a:pt x="13" y="134"/>
                    <a:pt x="13" y="134"/>
                  </a:cubicBezTo>
                  <a:cubicBezTo>
                    <a:pt x="12" y="137"/>
                    <a:pt x="12" y="137"/>
                    <a:pt x="12" y="137"/>
                  </a:cubicBezTo>
                  <a:cubicBezTo>
                    <a:pt x="8" y="134"/>
                    <a:pt x="8" y="134"/>
                    <a:pt x="8" y="134"/>
                  </a:cubicBezTo>
                  <a:cubicBezTo>
                    <a:pt x="6" y="133"/>
                    <a:pt x="6" y="133"/>
                    <a:pt x="6" y="133"/>
                  </a:cubicBezTo>
                  <a:cubicBezTo>
                    <a:pt x="4" y="134"/>
                    <a:pt x="4" y="134"/>
                    <a:pt x="4" y="134"/>
                  </a:cubicBezTo>
                  <a:cubicBezTo>
                    <a:pt x="3" y="134"/>
                    <a:pt x="3" y="134"/>
                    <a:pt x="3" y="134"/>
                  </a:cubicBezTo>
                  <a:cubicBezTo>
                    <a:pt x="3" y="134"/>
                    <a:pt x="3" y="134"/>
                    <a:pt x="3" y="134"/>
                  </a:cubicBezTo>
                  <a:cubicBezTo>
                    <a:pt x="3" y="135"/>
                    <a:pt x="4" y="135"/>
                    <a:pt x="4" y="135"/>
                  </a:cubicBezTo>
                  <a:cubicBezTo>
                    <a:pt x="5" y="136"/>
                    <a:pt x="5" y="136"/>
                    <a:pt x="5" y="136"/>
                  </a:cubicBezTo>
                  <a:cubicBezTo>
                    <a:pt x="4" y="138"/>
                    <a:pt x="4" y="138"/>
                    <a:pt x="4" y="138"/>
                  </a:cubicBezTo>
                  <a:cubicBezTo>
                    <a:pt x="6" y="140"/>
                    <a:pt x="6" y="140"/>
                    <a:pt x="6" y="140"/>
                  </a:cubicBezTo>
                  <a:cubicBezTo>
                    <a:pt x="6" y="141"/>
                    <a:pt x="6" y="141"/>
                    <a:pt x="6" y="141"/>
                  </a:cubicBezTo>
                  <a:cubicBezTo>
                    <a:pt x="7" y="143"/>
                    <a:pt x="7" y="143"/>
                    <a:pt x="7" y="143"/>
                  </a:cubicBezTo>
                  <a:cubicBezTo>
                    <a:pt x="7" y="145"/>
                    <a:pt x="7" y="145"/>
                    <a:pt x="7" y="145"/>
                  </a:cubicBezTo>
                  <a:cubicBezTo>
                    <a:pt x="9" y="148"/>
                    <a:pt x="9" y="148"/>
                    <a:pt x="9" y="148"/>
                  </a:cubicBezTo>
                  <a:cubicBezTo>
                    <a:pt x="8" y="151"/>
                    <a:pt x="8" y="151"/>
                    <a:pt x="8" y="151"/>
                  </a:cubicBezTo>
                  <a:cubicBezTo>
                    <a:pt x="8" y="152"/>
                    <a:pt x="8" y="153"/>
                    <a:pt x="8" y="154"/>
                  </a:cubicBezTo>
                  <a:cubicBezTo>
                    <a:pt x="8" y="154"/>
                    <a:pt x="8" y="154"/>
                    <a:pt x="8" y="154"/>
                  </a:cubicBezTo>
                  <a:cubicBezTo>
                    <a:pt x="7" y="154"/>
                    <a:pt x="7" y="154"/>
                    <a:pt x="7" y="154"/>
                  </a:cubicBezTo>
                  <a:cubicBezTo>
                    <a:pt x="7" y="155"/>
                    <a:pt x="6" y="156"/>
                    <a:pt x="6" y="156"/>
                  </a:cubicBezTo>
                  <a:cubicBezTo>
                    <a:pt x="4" y="158"/>
                    <a:pt x="4" y="158"/>
                    <a:pt x="4" y="158"/>
                  </a:cubicBezTo>
                  <a:cubicBezTo>
                    <a:pt x="4" y="158"/>
                    <a:pt x="4" y="158"/>
                    <a:pt x="4" y="158"/>
                  </a:cubicBezTo>
                  <a:cubicBezTo>
                    <a:pt x="6" y="159"/>
                    <a:pt x="8" y="160"/>
                    <a:pt x="7" y="162"/>
                  </a:cubicBezTo>
                  <a:cubicBezTo>
                    <a:pt x="7" y="163"/>
                    <a:pt x="7" y="163"/>
                    <a:pt x="7" y="163"/>
                  </a:cubicBezTo>
                  <a:cubicBezTo>
                    <a:pt x="7" y="163"/>
                    <a:pt x="7" y="163"/>
                    <a:pt x="7" y="163"/>
                  </a:cubicBezTo>
                  <a:cubicBezTo>
                    <a:pt x="5" y="164"/>
                    <a:pt x="4" y="164"/>
                    <a:pt x="2" y="164"/>
                  </a:cubicBezTo>
                  <a:cubicBezTo>
                    <a:pt x="1" y="164"/>
                    <a:pt x="1" y="164"/>
                    <a:pt x="1" y="164"/>
                  </a:cubicBezTo>
                  <a:cubicBezTo>
                    <a:pt x="1" y="165"/>
                    <a:pt x="1" y="165"/>
                    <a:pt x="1" y="165"/>
                  </a:cubicBezTo>
                  <a:cubicBezTo>
                    <a:pt x="0" y="166"/>
                    <a:pt x="0" y="166"/>
                    <a:pt x="0" y="166"/>
                  </a:cubicBezTo>
                  <a:cubicBezTo>
                    <a:pt x="0" y="166"/>
                    <a:pt x="2" y="167"/>
                    <a:pt x="2" y="167"/>
                  </a:cubicBezTo>
                  <a:cubicBezTo>
                    <a:pt x="2" y="167"/>
                    <a:pt x="2" y="169"/>
                    <a:pt x="2" y="169"/>
                  </a:cubicBezTo>
                  <a:cubicBezTo>
                    <a:pt x="3" y="169"/>
                    <a:pt x="3" y="170"/>
                    <a:pt x="3" y="170"/>
                  </a:cubicBezTo>
                  <a:cubicBezTo>
                    <a:pt x="4" y="170"/>
                    <a:pt x="4" y="170"/>
                    <a:pt x="4" y="170"/>
                  </a:cubicBezTo>
                  <a:cubicBezTo>
                    <a:pt x="4" y="171"/>
                    <a:pt x="4" y="171"/>
                    <a:pt x="4" y="171"/>
                  </a:cubicBezTo>
                  <a:cubicBezTo>
                    <a:pt x="4" y="171"/>
                    <a:pt x="4" y="173"/>
                    <a:pt x="3" y="174"/>
                  </a:cubicBezTo>
                  <a:cubicBezTo>
                    <a:pt x="3" y="175"/>
                    <a:pt x="3" y="176"/>
                    <a:pt x="1" y="177"/>
                  </a:cubicBezTo>
                  <a:cubicBezTo>
                    <a:pt x="1" y="177"/>
                    <a:pt x="1" y="177"/>
                    <a:pt x="1" y="177"/>
                  </a:cubicBezTo>
                  <a:cubicBezTo>
                    <a:pt x="1" y="177"/>
                    <a:pt x="1" y="177"/>
                    <a:pt x="1" y="177"/>
                  </a:cubicBezTo>
                  <a:cubicBezTo>
                    <a:pt x="2" y="177"/>
                    <a:pt x="2" y="178"/>
                    <a:pt x="3" y="178"/>
                  </a:cubicBezTo>
                  <a:cubicBezTo>
                    <a:pt x="3" y="178"/>
                    <a:pt x="3" y="178"/>
                    <a:pt x="3" y="178"/>
                  </a:cubicBezTo>
                  <a:cubicBezTo>
                    <a:pt x="4" y="180"/>
                    <a:pt x="4" y="180"/>
                    <a:pt x="4" y="180"/>
                  </a:cubicBezTo>
                  <a:cubicBezTo>
                    <a:pt x="4" y="180"/>
                    <a:pt x="4" y="180"/>
                    <a:pt x="4" y="180"/>
                  </a:cubicBezTo>
                  <a:cubicBezTo>
                    <a:pt x="4" y="180"/>
                    <a:pt x="6" y="181"/>
                    <a:pt x="6" y="181"/>
                  </a:cubicBezTo>
                  <a:cubicBezTo>
                    <a:pt x="7" y="182"/>
                    <a:pt x="7" y="182"/>
                    <a:pt x="7" y="182"/>
                  </a:cubicBezTo>
                  <a:cubicBezTo>
                    <a:pt x="7" y="183"/>
                    <a:pt x="7" y="183"/>
                    <a:pt x="7" y="183"/>
                  </a:cubicBezTo>
                  <a:cubicBezTo>
                    <a:pt x="7" y="183"/>
                    <a:pt x="7" y="185"/>
                    <a:pt x="6" y="186"/>
                  </a:cubicBezTo>
                  <a:cubicBezTo>
                    <a:pt x="7" y="187"/>
                    <a:pt x="7" y="187"/>
                    <a:pt x="7" y="187"/>
                  </a:cubicBezTo>
                  <a:cubicBezTo>
                    <a:pt x="7" y="187"/>
                    <a:pt x="8" y="187"/>
                    <a:pt x="10" y="188"/>
                  </a:cubicBezTo>
                  <a:cubicBezTo>
                    <a:pt x="10" y="189"/>
                    <a:pt x="10" y="189"/>
                    <a:pt x="10" y="189"/>
                  </a:cubicBezTo>
                  <a:cubicBezTo>
                    <a:pt x="10" y="189"/>
                    <a:pt x="10" y="189"/>
                    <a:pt x="10" y="189"/>
                  </a:cubicBezTo>
                  <a:cubicBezTo>
                    <a:pt x="10" y="189"/>
                    <a:pt x="11" y="191"/>
                    <a:pt x="11" y="192"/>
                  </a:cubicBezTo>
                  <a:cubicBezTo>
                    <a:pt x="11" y="193"/>
                    <a:pt x="10" y="194"/>
                    <a:pt x="10" y="195"/>
                  </a:cubicBezTo>
                  <a:cubicBezTo>
                    <a:pt x="10" y="196"/>
                    <a:pt x="10" y="196"/>
                    <a:pt x="10" y="196"/>
                  </a:cubicBezTo>
                  <a:cubicBezTo>
                    <a:pt x="10" y="197"/>
                    <a:pt x="10" y="198"/>
                    <a:pt x="8" y="199"/>
                  </a:cubicBezTo>
                  <a:cubicBezTo>
                    <a:pt x="8" y="199"/>
                    <a:pt x="7" y="200"/>
                    <a:pt x="7" y="200"/>
                  </a:cubicBezTo>
                  <a:cubicBezTo>
                    <a:pt x="7" y="201"/>
                    <a:pt x="6" y="201"/>
                    <a:pt x="5" y="201"/>
                  </a:cubicBezTo>
                  <a:cubicBezTo>
                    <a:pt x="5" y="201"/>
                    <a:pt x="5" y="201"/>
                    <a:pt x="5" y="201"/>
                  </a:cubicBezTo>
                  <a:cubicBezTo>
                    <a:pt x="5" y="201"/>
                    <a:pt x="5" y="201"/>
                    <a:pt x="4" y="201"/>
                  </a:cubicBezTo>
                  <a:cubicBezTo>
                    <a:pt x="4" y="203"/>
                    <a:pt x="4" y="203"/>
                    <a:pt x="4" y="203"/>
                  </a:cubicBezTo>
                  <a:cubicBezTo>
                    <a:pt x="3" y="204"/>
                    <a:pt x="3" y="204"/>
                    <a:pt x="3" y="204"/>
                  </a:cubicBezTo>
                  <a:cubicBezTo>
                    <a:pt x="3" y="204"/>
                    <a:pt x="3" y="204"/>
                    <a:pt x="3" y="204"/>
                  </a:cubicBezTo>
                  <a:cubicBezTo>
                    <a:pt x="2" y="207"/>
                    <a:pt x="2" y="207"/>
                    <a:pt x="2" y="207"/>
                  </a:cubicBezTo>
                  <a:cubicBezTo>
                    <a:pt x="3" y="210"/>
                    <a:pt x="3" y="210"/>
                    <a:pt x="3" y="210"/>
                  </a:cubicBezTo>
                  <a:cubicBezTo>
                    <a:pt x="5" y="215"/>
                    <a:pt x="5" y="215"/>
                    <a:pt x="5" y="215"/>
                  </a:cubicBezTo>
                  <a:cubicBezTo>
                    <a:pt x="5" y="215"/>
                    <a:pt x="6" y="215"/>
                    <a:pt x="6" y="216"/>
                  </a:cubicBezTo>
                  <a:cubicBezTo>
                    <a:pt x="7" y="216"/>
                    <a:pt x="7" y="216"/>
                    <a:pt x="8" y="217"/>
                  </a:cubicBezTo>
                  <a:cubicBezTo>
                    <a:pt x="8" y="217"/>
                    <a:pt x="9" y="217"/>
                    <a:pt x="11" y="217"/>
                  </a:cubicBezTo>
                  <a:cubicBezTo>
                    <a:pt x="12" y="218"/>
                    <a:pt x="12" y="218"/>
                    <a:pt x="12" y="218"/>
                  </a:cubicBezTo>
                  <a:cubicBezTo>
                    <a:pt x="13" y="222"/>
                    <a:pt x="13" y="222"/>
                    <a:pt x="13" y="222"/>
                  </a:cubicBezTo>
                  <a:cubicBezTo>
                    <a:pt x="12" y="226"/>
                    <a:pt x="12" y="226"/>
                    <a:pt x="12" y="226"/>
                  </a:cubicBezTo>
                  <a:cubicBezTo>
                    <a:pt x="10" y="228"/>
                    <a:pt x="10" y="228"/>
                    <a:pt x="10" y="228"/>
                  </a:cubicBezTo>
                  <a:cubicBezTo>
                    <a:pt x="8" y="230"/>
                    <a:pt x="8" y="230"/>
                    <a:pt x="8" y="230"/>
                  </a:cubicBezTo>
                  <a:cubicBezTo>
                    <a:pt x="9" y="232"/>
                    <a:pt x="9" y="232"/>
                    <a:pt x="9" y="232"/>
                  </a:cubicBezTo>
                  <a:cubicBezTo>
                    <a:pt x="9" y="232"/>
                    <a:pt x="9" y="232"/>
                    <a:pt x="9" y="232"/>
                  </a:cubicBezTo>
                  <a:cubicBezTo>
                    <a:pt x="14" y="237"/>
                    <a:pt x="14" y="237"/>
                    <a:pt x="14" y="237"/>
                  </a:cubicBezTo>
                  <a:cubicBezTo>
                    <a:pt x="15" y="241"/>
                    <a:pt x="15" y="241"/>
                    <a:pt x="15" y="241"/>
                  </a:cubicBezTo>
                  <a:cubicBezTo>
                    <a:pt x="17" y="244"/>
                    <a:pt x="17" y="244"/>
                    <a:pt x="17" y="244"/>
                  </a:cubicBezTo>
                  <a:cubicBezTo>
                    <a:pt x="18" y="245"/>
                    <a:pt x="18" y="245"/>
                    <a:pt x="18" y="245"/>
                  </a:cubicBezTo>
                  <a:cubicBezTo>
                    <a:pt x="21" y="243"/>
                    <a:pt x="21" y="243"/>
                    <a:pt x="21" y="243"/>
                  </a:cubicBezTo>
                  <a:cubicBezTo>
                    <a:pt x="27" y="247"/>
                    <a:pt x="27" y="247"/>
                    <a:pt x="27" y="247"/>
                  </a:cubicBezTo>
                  <a:cubicBezTo>
                    <a:pt x="30" y="248"/>
                    <a:pt x="30" y="248"/>
                    <a:pt x="30" y="248"/>
                  </a:cubicBezTo>
                  <a:cubicBezTo>
                    <a:pt x="32" y="247"/>
                    <a:pt x="32" y="247"/>
                    <a:pt x="32" y="247"/>
                  </a:cubicBezTo>
                  <a:cubicBezTo>
                    <a:pt x="37" y="245"/>
                    <a:pt x="37" y="245"/>
                    <a:pt x="37" y="245"/>
                  </a:cubicBezTo>
                  <a:cubicBezTo>
                    <a:pt x="40" y="250"/>
                    <a:pt x="40" y="250"/>
                    <a:pt x="40" y="250"/>
                  </a:cubicBezTo>
                  <a:cubicBezTo>
                    <a:pt x="43" y="252"/>
                    <a:pt x="43" y="252"/>
                    <a:pt x="43" y="252"/>
                  </a:cubicBezTo>
                  <a:cubicBezTo>
                    <a:pt x="49" y="252"/>
                    <a:pt x="49" y="252"/>
                    <a:pt x="49" y="252"/>
                  </a:cubicBezTo>
                  <a:cubicBezTo>
                    <a:pt x="62" y="256"/>
                    <a:pt x="62" y="256"/>
                    <a:pt x="62" y="256"/>
                  </a:cubicBezTo>
                  <a:cubicBezTo>
                    <a:pt x="54" y="265"/>
                    <a:pt x="54" y="265"/>
                    <a:pt x="54" y="265"/>
                  </a:cubicBezTo>
                  <a:cubicBezTo>
                    <a:pt x="54" y="265"/>
                    <a:pt x="48" y="273"/>
                    <a:pt x="45" y="275"/>
                  </a:cubicBezTo>
                  <a:cubicBezTo>
                    <a:pt x="44" y="275"/>
                    <a:pt x="44" y="275"/>
                    <a:pt x="44" y="275"/>
                  </a:cubicBezTo>
                  <a:cubicBezTo>
                    <a:pt x="44" y="275"/>
                    <a:pt x="44" y="275"/>
                    <a:pt x="44" y="275"/>
                  </a:cubicBezTo>
                  <a:cubicBezTo>
                    <a:pt x="44" y="275"/>
                    <a:pt x="44" y="275"/>
                    <a:pt x="44" y="276"/>
                  </a:cubicBezTo>
                  <a:cubicBezTo>
                    <a:pt x="45" y="276"/>
                    <a:pt x="45" y="276"/>
                    <a:pt x="45" y="276"/>
                  </a:cubicBezTo>
                  <a:cubicBezTo>
                    <a:pt x="45" y="277"/>
                    <a:pt x="45" y="277"/>
                    <a:pt x="45" y="277"/>
                  </a:cubicBezTo>
                  <a:cubicBezTo>
                    <a:pt x="45" y="286"/>
                    <a:pt x="45" y="286"/>
                    <a:pt x="45" y="286"/>
                  </a:cubicBezTo>
                  <a:cubicBezTo>
                    <a:pt x="44" y="286"/>
                    <a:pt x="44" y="286"/>
                    <a:pt x="44" y="286"/>
                  </a:cubicBezTo>
                  <a:cubicBezTo>
                    <a:pt x="44" y="286"/>
                    <a:pt x="42" y="291"/>
                    <a:pt x="40" y="294"/>
                  </a:cubicBezTo>
                  <a:cubicBezTo>
                    <a:pt x="40" y="294"/>
                    <a:pt x="40" y="294"/>
                    <a:pt x="39" y="294"/>
                  </a:cubicBezTo>
                  <a:cubicBezTo>
                    <a:pt x="40" y="294"/>
                    <a:pt x="40" y="294"/>
                    <a:pt x="40" y="294"/>
                  </a:cubicBezTo>
                  <a:cubicBezTo>
                    <a:pt x="41" y="295"/>
                    <a:pt x="41" y="301"/>
                    <a:pt x="41" y="301"/>
                  </a:cubicBezTo>
                  <a:cubicBezTo>
                    <a:pt x="41" y="303"/>
                    <a:pt x="40" y="308"/>
                    <a:pt x="40" y="309"/>
                  </a:cubicBezTo>
                  <a:cubicBezTo>
                    <a:pt x="40" y="309"/>
                    <a:pt x="40" y="309"/>
                    <a:pt x="40" y="309"/>
                  </a:cubicBezTo>
                  <a:cubicBezTo>
                    <a:pt x="38" y="311"/>
                    <a:pt x="38" y="311"/>
                    <a:pt x="38" y="311"/>
                  </a:cubicBezTo>
                  <a:cubicBezTo>
                    <a:pt x="39" y="312"/>
                    <a:pt x="41" y="313"/>
                    <a:pt x="42" y="315"/>
                  </a:cubicBezTo>
                  <a:cubicBezTo>
                    <a:pt x="42" y="315"/>
                    <a:pt x="42" y="315"/>
                    <a:pt x="42" y="315"/>
                  </a:cubicBezTo>
                  <a:cubicBezTo>
                    <a:pt x="42" y="316"/>
                    <a:pt x="42" y="316"/>
                    <a:pt x="42" y="316"/>
                  </a:cubicBezTo>
                  <a:cubicBezTo>
                    <a:pt x="43" y="315"/>
                    <a:pt x="43" y="315"/>
                    <a:pt x="44" y="315"/>
                  </a:cubicBezTo>
                  <a:cubicBezTo>
                    <a:pt x="45" y="314"/>
                    <a:pt x="46" y="313"/>
                    <a:pt x="47" y="313"/>
                  </a:cubicBezTo>
                  <a:cubicBezTo>
                    <a:pt x="48" y="313"/>
                    <a:pt x="48" y="313"/>
                    <a:pt x="48" y="313"/>
                  </a:cubicBezTo>
                  <a:cubicBezTo>
                    <a:pt x="48" y="314"/>
                    <a:pt x="48" y="314"/>
                    <a:pt x="48" y="314"/>
                  </a:cubicBezTo>
                  <a:cubicBezTo>
                    <a:pt x="49" y="314"/>
                    <a:pt x="49" y="315"/>
                    <a:pt x="50" y="316"/>
                  </a:cubicBezTo>
                  <a:cubicBezTo>
                    <a:pt x="51" y="316"/>
                    <a:pt x="51" y="316"/>
                    <a:pt x="51" y="316"/>
                  </a:cubicBezTo>
                  <a:cubicBezTo>
                    <a:pt x="52" y="316"/>
                    <a:pt x="52" y="316"/>
                    <a:pt x="52" y="316"/>
                  </a:cubicBezTo>
                  <a:cubicBezTo>
                    <a:pt x="53" y="316"/>
                    <a:pt x="53" y="316"/>
                    <a:pt x="53" y="316"/>
                  </a:cubicBezTo>
                  <a:cubicBezTo>
                    <a:pt x="54" y="315"/>
                    <a:pt x="54" y="315"/>
                    <a:pt x="55" y="314"/>
                  </a:cubicBezTo>
                  <a:cubicBezTo>
                    <a:pt x="55" y="314"/>
                    <a:pt x="56" y="313"/>
                    <a:pt x="57" y="313"/>
                  </a:cubicBezTo>
                  <a:cubicBezTo>
                    <a:pt x="58" y="313"/>
                    <a:pt x="59" y="314"/>
                    <a:pt x="59" y="314"/>
                  </a:cubicBezTo>
                  <a:cubicBezTo>
                    <a:pt x="60" y="314"/>
                    <a:pt x="60" y="314"/>
                    <a:pt x="60" y="314"/>
                  </a:cubicBezTo>
                  <a:cubicBezTo>
                    <a:pt x="60" y="314"/>
                    <a:pt x="60" y="314"/>
                    <a:pt x="60" y="314"/>
                  </a:cubicBezTo>
                  <a:cubicBezTo>
                    <a:pt x="61" y="315"/>
                    <a:pt x="61" y="315"/>
                    <a:pt x="61" y="315"/>
                  </a:cubicBezTo>
                  <a:cubicBezTo>
                    <a:pt x="61" y="314"/>
                    <a:pt x="60" y="314"/>
                    <a:pt x="60" y="313"/>
                  </a:cubicBezTo>
                  <a:cubicBezTo>
                    <a:pt x="60" y="312"/>
                    <a:pt x="59" y="311"/>
                    <a:pt x="61" y="310"/>
                  </a:cubicBezTo>
                  <a:cubicBezTo>
                    <a:pt x="61" y="310"/>
                    <a:pt x="61" y="310"/>
                    <a:pt x="61" y="310"/>
                  </a:cubicBezTo>
                  <a:cubicBezTo>
                    <a:pt x="61" y="309"/>
                    <a:pt x="62" y="308"/>
                    <a:pt x="63" y="307"/>
                  </a:cubicBezTo>
                  <a:cubicBezTo>
                    <a:pt x="63" y="307"/>
                    <a:pt x="64" y="307"/>
                    <a:pt x="64" y="307"/>
                  </a:cubicBezTo>
                  <a:cubicBezTo>
                    <a:pt x="64" y="306"/>
                    <a:pt x="64" y="306"/>
                    <a:pt x="64" y="306"/>
                  </a:cubicBezTo>
                  <a:cubicBezTo>
                    <a:pt x="70" y="305"/>
                    <a:pt x="70" y="305"/>
                    <a:pt x="70" y="305"/>
                  </a:cubicBezTo>
                  <a:cubicBezTo>
                    <a:pt x="70" y="306"/>
                    <a:pt x="70" y="306"/>
                    <a:pt x="70" y="306"/>
                  </a:cubicBezTo>
                  <a:cubicBezTo>
                    <a:pt x="71" y="306"/>
                    <a:pt x="72" y="306"/>
                    <a:pt x="73" y="307"/>
                  </a:cubicBezTo>
                  <a:cubicBezTo>
                    <a:pt x="73" y="307"/>
                    <a:pt x="74" y="307"/>
                    <a:pt x="74" y="307"/>
                  </a:cubicBezTo>
                  <a:cubicBezTo>
                    <a:pt x="74" y="307"/>
                    <a:pt x="74" y="308"/>
                    <a:pt x="74" y="308"/>
                  </a:cubicBezTo>
                  <a:cubicBezTo>
                    <a:pt x="74" y="308"/>
                    <a:pt x="74" y="308"/>
                    <a:pt x="74" y="308"/>
                  </a:cubicBezTo>
                  <a:cubicBezTo>
                    <a:pt x="75" y="308"/>
                    <a:pt x="75" y="309"/>
                    <a:pt x="76" y="309"/>
                  </a:cubicBezTo>
                  <a:cubicBezTo>
                    <a:pt x="76" y="309"/>
                    <a:pt x="77" y="310"/>
                    <a:pt x="78" y="311"/>
                  </a:cubicBezTo>
                  <a:cubicBezTo>
                    <a:pt x="79" y="311"/>
                    <a:pt x="79" y="311"/>
                    <a:pt x="80" y="310"/>
                  </a:cubicBezTo>
                  <a:cubicBezTo>
                    <a:pt x="81" y="310"/>
                    <a:pt x="81" y="310"/>
                    <a:pt x="81" y="310"/>
                  </a:cubicBezTo>
                  <a:cubicBezTo>
                    <a:pt x="82" y="310"/>
                    <a:pt x="83" y="310"/>
                    <a:pt x="83" y="311"/>
                  </a:cubicBezTo>
                  <a:cubicBezTo>
                    <a:pt x="84" y="311"/>
                    <a:pt x="84" y="311"/>
                    <a:pt x="85" y="311"/>
                  </a:cubicBezTo>
                  <a:cubicBezTo>
                    <a:pt x="87" y="311"/>
                    <a:pt x="87" y="311"/>
                    <a:pt x="87" y="311"/>
                  </a:cubicBezTo>
                  <a:cubicBezTo>
                    <a:pt x="87" y="311"/>
                    <a:pt x="88" y="311"/>
                    <a:pt x="88" y="311"/>
                  </a:cubicBezTo>
                  <a:cubicBezTo>
                    <a:pt x="89" y="311"/>
                    <a:pt x="89" y="312"/>
                    <a:pt x="90" y="312"/>
                  </a:cubicBezTo>
                  <a:cubicBezTo>
                    <a:pt x="91" y="313"/>
                    <a:pt x="91" y="313"/>
                    <a:pt x="91" y="313"/>
                  </a:cubicBezTo>
                  <a:cubicBezTo>
                    <a:pt x="91" y="313"/>
                    <a:pt x="92" y="313"/>
                    <a:pt x="92" y="313"/>
                  </a:cubicBezTo>
                  <a:cubicBezTo>
                    <a:pt x="93" y="314"/>
                    <a:pt x="93" y="314"/>
                    <a:pt x="94" y="314"/>
                  </a:cubicBezTo>
                  <a:cubicBezTo>
                    <a:pt x="94" y="314"/>
                    <a:pt x="94" y="314"/>
                    <a:pt x="95" y="315"/>
                  </a:cubicBezTo>
                  <a:cubicBezTo>
                    <a:pt x="96" y="315"/>
                    <a:pt x="96" y="315"/>
                    <a:pt x="96" y="315"/>
                  </a:cubicBezTo>
                  <a:cubicBezTo>
                    <a:pt x="97" y="316"/>
                    <a:pt x="97" y="316"/>
                    <a:pt x="98" y="316"/>
                  </a:cubicBezTo>
                  <a:cubicBezTo>
                    <a:pt x="99" y="317"/>
                    <a:pt x="99" y="318"/>
                    <a:pt x="99" y="318"/>
                  </a:cubicBezTo>
                  <a:cubicBezTo>
                    <a:pt x="99" y="319"/>
                    <a:pt x="100" y="319"/>
                    <a:pt x="100" y="319"/>
                  </a:cubicBezTo>
                  <a:cubicBezTo>
                    <a:pt x="100" y="319"/>
                    <a:pt x="100" y="319"/>
                    <a:pt x="100" y="319"/>
                  </a:cubicBezTo>
                  <a:cubicBezTo>
                    <a:pt x="101" y="318"/>
                    <a:pt x="102" y="318"/>
                    <a:pt x="102" y="318"/>
                  </a:cubicBezTo>
                  <a:cubicBezTo>
                    <a:pt x="102" y="318"/>
                    <a:pt x="104" y="316"/>
                    <a:pt x="105" y="317"/>
                  </a:cubicBezTo>
                  <a:cubicBezTo>
                    <a:pt x="106" y="318"/>
                    <a:pt x="108" y="320"/>
                    <a:pt x="108" y="320"/>
                  </a:cubicBezTo>
                  <a:cubicBezTo>
                    <a:pt x="108" y="320"/>
                    <a:pt x="109" y="321"/>
                    <a:pt x="110" y="321"/>
                  </a:cubicBezTo>
                  <a:cubicBezTo>
                    <a:pt x="110" y="321"/>
                    <a:pt x="111" y="322"/>
                    <a:pt x="112" y="322"/>
                  </a:cubicBezTo>
                  <a:cubicBezTo>
                    <a:pt x="112" y="323"/>
                    <a:pt x="112" y="322"/>
                    <a:pt x="112" y="324"/>
                  </a:cubicBezTo>
                  <a:cubicBezTo>
                    <a:pt x="112" y="325"/>
                    <a:pt x="111" y="327"/>
                    <a:pt x="113" y="327"/>
                  </a:cubicBezTo>
                  <a:cubicBezTo>
                    <a:pt x="114" y="326"/>
                    <a:pt x="114" y="326"/>
                    <a:pt x="115" y="326"/>
                  </a:cubicBezTo>
                  <a:cubicBezTo>
                    <a:pt x="115" y="327"/>
                    <a:pt x="116" y="326"/>
                    <a:pt x="115" y="328"/>
                  </a:cubicBezTo>
                  <a:cubicBezTo>
                    <a:pt x="115" y="330"/>
                    <a:pt x="114" y="330"/>
                    <a:pt x="115" y="330"/>
                  </a:cubicBezTo>
                  <a:cubicBezTo>
                    <a:pt x="117" y="331"/>
                    <a:pt x="118" y="332"/>
                    <a:pt x="119" y="331"/>
                  </a:cubicBezTo>
                  <a:cubicBezTo>
                    <a:pt x="119" y="329"/>
                    <a:pt x="119" y="331"/>
                    <a:pt x="120" y="329"/>
                  </a:cubicBezTo>
                  <a:cubicBezTo>
                    <a:pt x="121" y="327"/>
                    <a:pt x="120" y="327"/>
                    <a:pt x="121" y="327"/>
                  </a:cubicBezTo>
                  <a:cubicBezTo>
                    <a:pt x="122" y="326"/>
                    <a:pt x="121" y="326"/>
                    <a:pt x="122" y="325"/>
                  </a:cubicBezTo>
                  <a:cubicBezTo>
                    <a:pt x="122" y="323"/>
                    <a:pt x="123" y="324"/>
                    <a:pt x="122" y="323"/>
                  </a:cubicBezTo>
                  <a:cubicBezTo>
                    <a:pt x="122" y="323"/>
                    <a:pt x="122" y="322"/>
                    <a:pt x="122" y="321"/>
                  </a:cubicBezTo>
                  <a:cubicBezTo>
                    <a:pt x="121" y="320"/>
                    <a:pt x="120" y="320"/>
                    <a:pt x="122" y="320"/>
                  </a:cubicBezTo>
                  <a:cubicBezTo>
                    <a:pt x="124" y="319"/>
                    <a:pt x="124" y="319"/>
                    <a:pt x="124" y="319"/>
                  </a:cubicBezTo>
                  <a:cubicBezTo>
                    <a:pt x="125" y="318"/>
                    <a:pt x="127" y="318"/>
                    <a:pt x="127" y="318"/>
                  </a:cubicBezTo>
                  <a:cubicBezTo>
                    <a:pt x="127" y="318"/>
                    <a:pt x="129" y="318"/>
                    <a:pt x="130" y="318"/>
                  </a:cubicBezTo>
                  <a:cubicBezTo>
                    <a:pt x="130" y="318"/>
                    <a:pt x="133" y="318"/>
                    <a:pt x="133" y="319"/>
                  </a:cubicBezTo>
                  <a:cubicBezTo>
                    <a:pt x="133" y="320"/>
                    <a:pt x="135" y="320"/>
                    <a:pt x="135" y="320"/>
                  </a:cubicBezTo>
                  <a:cubicBezTo>
                    <a:pt x="135" y="320"/>
                    <a:pt x="137" y="320"/>
                    <a:pt x="137" y="322"/>
                  </a:cubicBezTo>
                  <a:cubicBezTo>
                    <a:pt x="138" y="323"/>
                    <a:pt x="138" y="325"/>
                    <a:pt x="138" y="325"/>
                  </a:cubicBezTo>
                  <a:cubicBezTo>
                    <a:pt x="139" y="325"/>
                    <a:pt x="140" y="326"/>
                    <a:pt x="141" y="325"/>
                  </a:cubicBezTo>
                  <a:cubicBezTo>
                    <a:pt x="142" y="324"/>
                    <a:pt x="142" y="324"/>
                    <a:pt x="143" y="324"/>
                  </a:cubicBezTo>
                  <a:cubicBezTo>
                    <a:pt x="144" y="323"/>
                    <a:pt x="142" y="323"/>
                    <a:pt x="145" y="323"/>
                  </a:cubicBezTo>
                  <a:cubicBezTo>
                    <a:pt x="148" y="324"/>
                    <a:pt x="147" y="324"/>
                    <a:pt x="148" y="323"/>
                  </a:cubicBezTo>
                  <a:cubicBezTo>
                    <a:pt x="150" y="321"/>
                    <a:pt x="150" y="321"/>
                    <a:pt x="151" y="320"/>
                  </a:cubicBezTo>
                  <a:cubicBezTo>
                    <a:pt x="152" y="320"/>
                    <a:pt x="152" y="319"/>
                    <a:pt x="152" y="319"/>
                  </a:cubicBezTo>
                  <a:cubicBezTo>
                    <a:pt x="153" y="319"/>
                    <a:pt x="155" y="319"/>
                    <a:pt x="156" y="319"/>
                  </a:cubicBezTo>
                  <a:cubicBezTo>
                    <a:pt x="157" y="318"/>
                    <a:pt x="157" y="316"/>
                    <a:pt x="158" y="316"/>
                  </a:cubicBezTo>
                  <a:cubicBezTo>
                    <a:pt x="158" y="316"/>
                    <a:pt x="161" y="316"/>
                    <a:pt x="162" y="316"/>
                  </a:cubicBezTo>
                  <a:cubicBezTo>
                    <a:pt x="163" y="316"/>
                    <a:pt x="165" y="316"/>
                    <a:pt x="165" y="316"/>
                  </a:cubicBezTo>
                  <a:cubicBezTo>
                    <a:pt x="165" y="315"/>
                    <a:pt x="165" y="314"/>
                    <a:pt x="167" y="314"/>
                  </a:cubicBezTo>
                  <a:cubicBezTo>
                    <a:pt x="168" y="314"/>
                    <a:pt x="169" y="314"/>
                    <a:pt x="170" y="314"/>
                  </a:cubicBezTo>
                  <a:cubicBezTo>
                    <a:pt x="172" y="314"/>
                    <a:pt x="172" y="314"/>
                    <a:pt x="172" y="314"/>
                  </a:cubicBezTo>
                  <a:cubicBezTo>
                    <a:pt x="173" y="314"/>
                    <a:pt x="174" y="316"/>
                    <a:pt x="174" y="313"/>
                  </a:cubicBezTo>
                  <a:cubicBezTo>
                    <a:pt x="173" y="311"/>
                    <a:pt x="173" y="311"/>
                    <a:pt x="174" y="310"/>
                  </a:cubicBezTo>
                  <a:cubicBezTo>
                    <a:pt x="175" y="310"/>
                    <a:pt x="177" y="310"/>
                    <a:pt x="177" y="310"/>
                  </a:cubicBezTo>
                  <a:cubicBezTo>
                    <a:pt x="177" y="310"/>
                    <a:pt x="181" y="311"/>
                    <a:pt x="181" y="311"/>
                  </a:cubicBezTo>
                  <a:cubicBezTo>
                    <a:pt x="181" y="311"/>
                    <a:pt x="182" y="312"/>
                    <a:pt x="183" y="312"/>
                  </a:cubicBezTo>
                  <a:cubicBezTo>
                    <a:pt x="183" y="312"/>
                    <a:pt x="184" y="313"/>
                    <a:pt x="185" y="313"/>
                  </a:cubicBezTo>
                  <a:cubicBezTo>
                    <a:pt x="185" y="312"/>
                    <a:pt x="186" y="311"/>
                    <a:pt x="186" y="311"/>
                  </a:cubicBezTo>
                  <a:cubicBezTo>
                    <a:pt x="187" y="311"/>
                    <a:pt x="190" y="310"/>
                    <a:pt x="190" y="311"/>
                  </a:cubicBezTo>
                  <a:cubicBezTo>
                    <a:pt x="190" y="311"/>
                    <a:pt x="193" y="312"/>
                    <a:pt x="193" y="312"/>
                  </a:cubicBezTo>
                  <a:cubicBezTo>
                    <a:pt x="192" y="312"/>
                    <a:pt x="192" y="313"/>
                    <a:pt x="192" y="314"/>
                  </a:cubicBezTo>
                  <a:cubicBezTo>
                    <a:pt x="192" y="315"/>
                    <a:pt x="192" y="316"/>
                    <a:pt x="192" y="316"/>
                  </a:cubicBezTo>
                  <a:cubicBezTo>
                    <a:pt x="193" y="317"/>
                    <a:pt x="194" y="318"/>
                    <a:pt x="194" y="318"/>
                  </a:cubicBezTo>
                  <a:cubicBezTo>
                    <a:pt x="195" y="318"/>
                    <a:pt x="198" y="319"/>
                    <a:pt x="198" y="319"/>
                  </a:cubicBezTo>
                  <a:cubicBezTo>
                    <a:pt x="198" y="319"/>
                    <a:pt x="199" y="321"/>
                    <a:pt x="199" y="317"/>
                  </a:cubicBezTo>
                  <a:cubicBezTo>
                    <a:pt x="199" y="314"/>
                    <a:pt x="199" y="313"/>
                    <a:pt x="199" y="313"/>
                  </a:cubicBezTo>
                  <a:cubicBezTo>
                    <a:pt x="199" y="310"/>
                    <a:pt x="199" y="310"/>
                    <a:pt x="199" y="310"/>
                  </a:cubicBezTo>
                  <a:cubicBezTo>
                    <a:pt x="199" y="310"/>
                    <a:pt x="199" y="309"/>
                    <a:pt x="199" y="309"/>
                  </a:cubicBezTo>
                  <a:cubicBezTo>
                    <a:pt x="198" y="309"/>
                    <a:pt x="198" y="309"/>
                    <a:pt x="198" y="309"/>
                  </a:cubicBezTo>
                  <a:cubicBezTo>
                    <a:pt x="197" y="309"/>
                    <a:pt x="194" y="309"/>
                    <a:pt x="194" y="308"/>
                  </a:cubicBezTo>
                  <a:cubicBezTo>
                    <a:pt x="193" y="308"/>
                    <a:pt x="193" y="307"/>
                    <a:pt x="193" y="306"/>
                  </a:cubicBezTo>
                  <a:cubicBezTo>
                    <a:pt x="193" y="306"/>
                    <a:pt x="195" y="304"/>
                    <a:pt x="195" y="304"/>
                  </a:cubicBezTo>
                  <a:cubicBezTo>
                    <a:pt x="195" y="302"/>
                    <a:pt x="195" y="302"/>
                    <a:pt x="195" y="302"/>
                  </a:cubicBezTo>
                  <a:cubicBezTo>
                    <a:pt x="193" y="298"/>
                    <a:pt x="193" y="298"/>
                    <a:pt x="193" y="298"/>
                  </a:cubicBezTo>
                  <a:cubicBezTo>
                    <a:pt x="190" y="296"/>
                    <a:pt x="190" y="296"/>
                    <a:pt x="190" y="296"/>
                  </a:cubicBezTo>
                  <a:cubicBezTo>
                    <a:pt x="189" y="292"/>
                    <a:pt x="189" y="292"/>
                    <a:pt x="189" y="292"/>
                  </a:cubicBezTo>
                  <a:cubicBezTo>
                    <a:pt x="189" y="292"/>
                    <a:pt x="189" y="292"/>
                    <a:pt x="189" y="292"/>
                  </a:cubicBezTo>
                  <a:cubicBezTo>
                    <a:pt x="189" y="291"/>
                    <a:pt x="189" y="291"/>
                    <a:pt x="189" y="291"/>
                  </a:cubicBezTo>
                  <a:cubicBezTo>
                    <a:pt x="191" y="290"/>
                    <a:pt x="191" y="290"/>
                    <a:pt x="191" y="290"/>
                  </a:cubicBezTo>
                  <a:cubicBezTo>
                    <a:pt x="193" y="289"/>
                    <a:pt x="195" y="287"/>
                    <a:pt x="195" y="287"/>
                  </a:cubicBezTo>
                  <a:cubicBezTo>
                    <a:pt x="195" y="287"/>
                    <a:pt x="195" y="287"/>
                    <a:pt x="196" y="286"/>
                  </a:cubicBezTo>
                  <a:cubicBezTo>
                    <a:pt x="197" y="285"/>
                    <a:pt x="197" y="285"/>
                    <a:pt x="197" y="285"/>
                  </a:cubicBezTo>
                  <a:cubicBezTo>
                    <a:pt x="197" y="285"/>
                    <a:pt x="201" y="283"/>
                    <a:pt x="202" y="283"/>
                  </a:cubicBezTo>
                  <a:cubicBezTo>
                    <a:pt x="202" y="283"/>
                    <a:pt x="202" y="283"/>
                    <a:pt x="203" y="283"/>
                  </a:cubicBezTo>
                  <a:cubicBezTo>
                    <a:pt x="203" y="283"/>
                    <a:pt x="203" y="283"/>
                    <a:pt x="203" y="283"/>
                  </a:cubicBezTo>
                  <a:cubicBezTo>
                    <a:pt x="207" y="279"/>
                    <a:pt x="207" y="279"/>
                    <a:pt x="207" y="279"/>
                  </a:cubicBezTo>
                  <a:cubicBezTo>
                    <a:pt x="207" y="275"/>
                    <a:pt x="207" y="275"/>
                    <a:pt x="207" y="275"/>
                  </a:cubicBezTo>
                  <a:cubicBezTo>
                    <a:pt x="208" y="273"/>
                    <a:pt x="208" y="273"/>
                    <a:pt x="208" y="273"/>
                  </a:cubicBezTo>
                  <a:cubicBezTo>
                    <a:pt x="208" y="272"/>
                    <a:pt x="208" y="271"/>
                    <a:pt x="208" y="271"/>
                  </a:cubicBezTo>
                  <a:cubicBezTo>
                    <a:pt x="213" y="270"/>
                    <a:pt x="213" y="270"/>
                    <a:pt x="213" y="270"/>
                  </a:cubicBezTo>
                  <a:cubicBezTo>
                    <a:pt x="213" y="270"/>
                    <a:pt x="213" y="271"/>
                    <a:pt x="214" y="272"/>
                  </a:cubicBezTo>
                  <a:cubicBezTo>
                    <a:pt x="215" y="272"/>
                    <a:pt x="216" y="271"/>
                    <a:pt x="216" y="271"/>
                  </a:cubicBezTo>
                  <a:cubicBezTo>
                    <a:pt x="217" y="271"/>
                    <a:pt x="218" y="270"/>
                    <a:pt x="218" y="270"/>
                  </a:cubicBezTo>
                  <a:cubicBezTo>
                    <a:pt x="218" y="267"/>
                    <a:pt x="218" y="267"/>
                    <a:pt x="218" y="267"/>
                  </a:cubicBezTo>
                  <a:cubicBezTo>
                    <a:pt x="217" y="263"/>
                    <a:pt x="217" y="263"/>
                    <a:pt x="217" y="263"/>
                  </a:cubicBezTo>
                  <a:cubicBezTo>
                    <a:pt x="217" y="261"/>
                    <a:pt x="217" y="261"/>
                    <a:pt x="217" y="261"/>
                  </a:cubicBezTo>
                  <a:cubicBezTo>
                    <a:pt x="217" y="261"/>
                    <a:pt x="217" y="261"/>
                    <a:pt x="217" y="261"/>
                  </a:cubicBezTo>
                  <a:cubicBezTo>
                    <a:pt x="217" y="261"/>
                    <a:pt x="217" y="260"/>
                    <a:pt x="217" y="260"/>
                  </a:cubicBezTo>
                  <a:cubicBezTo>
                    <a:pt x="215" y="258"/>
                    <a:pt x="216" y="259"/>
                    <a:pt x="215" y="258"/>
                  </a:cubicBezTo>
                  <a:cubicBezTo>
                    <a:pt x="213" y="257"/>
                    <a:pt x="212" y="257"/>
                    <a:pt x="211" y="256"/>
                  </a:cubicBezTo>
                  <a:cubicBezTo>
                    <a:pt x="211" y="255"/>
                    <a:pt x="212" y="254"/>
                    <a:pt x="210" y="254"/>
                  </a:cubicBezTo>
                  <a:cubicBezTo>
                    <a:pt x="208" y="254"/>
                    <a:pt x="207" y="255"/>
                    <a:pt x="206" y="254"/>
                  </a:cubicBezTo>
                  <a:cubicBezTo>
                    <a:pt x="205" y="253"/>
                    <a:pt x="205" y="253"/>
                    <a:pt x="204" y="252"/>
                  </a:cubicBezTo>
                  <a:cubicBezTo>
                    <a:pt x="204" y="250"/>
                    <a:pt x="204" y="248"/>
                    <a:pt x="203" y="248"/>
                  </a:cubicBezTo>
                  <a:cubicBezTo>
                    <a:pt x="201" y="248"/>
                    <a:pt x="200" y="248"/>
                    <a:pt x="200" y="248"/>
                  </a:cubicBezTo>
                  <a:cubicBezTo>
                    <a:pt x="200" y="248"/>
                    <a:pt x="199" y="248"/>
                    <a:pt x="199" y="246"/>
                  </a:cubicBezTo>
                  <a:cubicBezTo>
                    <a:pt x="198" y="244"/>
                    <a:pt x="200" y="245"/>
                    <a:pt x="197" y="243"/>
                  </a:cubicBezTo>
                  <a:cubicBezTo>
                    <a:pt x="195" y="240"/>
                    <a:pt x="196" y="241"/>
                    <a:pt x="194" y="239"/>
                  </a:cubicBezTo>
                  <a:cubicBezTo>
                    <a:pt x="192" y="238"/>
                    <a:pt x="187" y="239"/>
                    <a:pt x="187" y="239"/>
                  </a:cubicBezTo>
                  <a:cubicBezTo>
                    <a:pt x="187" y="239"/>
                    <a:pt x="187" y="238"/>
                    <a:pt x="186" y="237"/>
                  </a:cubicBezTo>
                  <a:cubicBezTo>
                    <a:pt x="184" y="235"/>
                    <a:pt x="185" y="236"/>
                    <a:pt x="183" y="234"/>
                  </a:cubicBezTo>
                  <a:cubicBezTo>
                    <a:pt x="181" y="232"/>
                    <a:pt x="182" y="233"/>
                    <a:pt x="181" y="231"/>
                  </a:cubicBezTo>
                  <a:cubicBezTo>
                    <a:pt x="181" y="228"/>
                    <a:pt x="181" y="227"/>
                    <a:pt x="180" y="226"/>
                  </a:cubicBezTo>
                  <a:cubicBezTo>
                    <a:pt x="178" y="224"/>
                    <a:pt x="177" y="223"/>
                    <a:pt x="177" y="223"/>
                  </a:cubicBezTo>
                  <a:cubicBezTo>
                    <a:pt x="177" y="223"/>
                    <a:pt x="176" y="220"/>
                    <a:pt x="177" y="219"/>
                  </a:cubicBezTo>
                  <a:cubicBezTo>
                    <a:pt x="179" y="217"/>
                    <a:pt x="179" y="216"/>
                    <a:pt x="179" y="216"/>
                  </a:cubicBezTo>
                  <a:cubicBezTo>
                    <a:pt x="179" y="215"/>
                    <a:pt x="180" y="213"/>
                    <a:pt x="178" y="211"/>
                  </a:cubicBezTo>
                  <a:cubicBezTo>
                    <a:pt x="175" y="210"/>
                    <a:pt x="175" y="209"/>
                    <a:pt x="173" y="208"/>
                  </a:cubicBezTo>
                  <a:cubicBezTo>
                    <a:pt x="171" y="207"/>
                    <a:pt x="170" y="207"/>
                    <a:pt x="169" y="206"/>
                  </a:cubicBezTo>
                  <a:cubicBezTo>
                    <a:pt x="169" y="205"/>
                    <a:pt x="167" y="200"/>
                    <a:pt x="167" y="200"/>
                  </a:cubicBezTo>
                  <a:cubicBezTo>
                    <a:pt x="166" y="198"/>
                    <a:pt x="166" y="198"/>
                    <a:pt x="166" y="198"/>
                  </a:cubicBezTo>
                  <a:cubicBezTo>
                    <a:pt x="170" y="198"/>
                    <a:pt x="170" y="198"/>
                    <a:pt x="170" y="198"/>
                  </a:cubicBezTo>
                  <a:cubicBezTo>
                    <a:pt x="171" y="200"/>
                    <a:pt x="171" y="200"/>
                    <a:pt x="171" y="200"/>
                  </a:cubicBezTo>
                  <a:cubicBezTo>
                    <a:pt x="172" y="203"/>
                    <a:pt x="172" y="203"/>
                    <a:pt x="172" y="203"/>
                  </a:cubicBezTo>
                  <a:cubicBezTo>
                    <a:pt x="174" y="198"/>
                    <a:pt x="174" y="198"/>
                    <a:pt x="174" y="198"/>
                  </a:cubicBezTo>
                  <a:cubicBezTo>
                    <a:pt x="178" y="195"/>
                    <a:pt x="178" y="195"/>
                    <a:pt x="178" y="195"/>
                  </a:cubicBezTo>
                  <a:cubicBezTo>
                    <a:pt x="178" y="195"/>
                    <a:pt x="177" y="195"/>
                    <a:pt x="180" y="194"/>
                  </a:cubicBezTo>
                  <a:cubicBezTo>
                    <a:pt x="182" y="194"/>
                    <a:pt x="184" y="193"/>
                    <a:pt x="185" y="193"/>
                  </a:cubicBezTo>
                  <a:cubicBezTo>
                    <a:pt x="186" y="193"/>
                    <a:pt x="188" y="194"/>
                    <a:pt x="190" y="193"/>
                  </a:cubicBezTo>
                  <a:cubicBezTo>
                    <a:pt x="191" y="193"/>
                    <a:pt x="192" y="193"/>
                    <a:pt x="192" y="191"/>
                  </a:cubicBezTo>
                  <a:cubicBezTo>
                    <a:pt x="192" y="190"/>
                    <a:pt x="191" y="189"/>
                    <a:pt x="194" y="188"/>
                  </a:cubicBezTo>
                  <a:cubicBezTo>
                    <a:pt x="197" y="187"/>
                    <a:pt x="197" y="186"/>
                    <a:pt x="197" y="186"/>
                  </a:cubicBezTo>
                  <a:cubicBezTo>
                    <a:pt x="200" y="184"/>
                    <a:pt x="200" y="184"/>
                    <a:pt x="200" y="184"/>
                  </a:cubicBezTo>
                  <a:cubicBezTo>
                    <a:pt x="202" y="184"/>
                    <a:pt x="206" y="180"/>
                    <a:pt x="206" y="180"/>
                  </a:cubicBezTo>
                  <a:cubicBezTo>
                    <a:pt x="211" y="178"/>
                    <a:pt x="211" y="178"/>
                    <a:pt x="211" y="178"/>
                  </a:cubicBezTo>
                  <a:cubicBezTo>
                    <a:pt x="213" y="177"/>
                    <a:pt x="213" y="177"/>
                    <a:pt x="213" y="177"/>
                  </a:cubicBezTo>
                  <a:cubicBezTo>
                    <a:pt x="214" y="173"/>
                    <a:pt x="214" y="173"/>
                    <a:pt x="214" y="173"/>
                  </a:cubicBezTo>
                  <a:cubicBezTo>
                    <a:pt x="214" y="173"/>
                    <a:pt x="213" y="172"/>
                    <a:pt x="216" y="172"/>
                  </a:cubicBezTo>
                  <a:cubicBezTo>
                    <a:pt x="218" y="172"/>
                    <a:pt x="226" y="170"/>
                    <a:pt x="226" y="170"/>
                  </a:cubicBezTo>
                  <a:cubicBezTo>
                    <a:pt x="227" y="168"/>
                    <a:pt x="227" y="168"/>
                    <a:pt x="227" y="168"/>
                  </a:cubicBezTo>
                  <a:cubicBezTo>
                    <a:pt x="224" y="166"/>
                    <a:pt x="224" y="166"/>
                    <a:pt x="224" y="166"/>
                  </a:cubicBezTo>
                  <a:cubicBezTo>
                    <a:pt x="224" y="166"/>
                    <a:pt x="225" y="163"/>
                    <a:pt x="225" y="163"/>
                  </a:cubicBezTo>
                  <a:cubicBezTo>
                    <a:pt x="226" y="163"/>
                    <a:pt x="229" y="162"/>
                    <a:pt x="230" y="162"/>
                  </a:cubicBezTo>
                  <a:cubicBezTo>
                    <a:pt x="232" y="163"/>
                    <a:pt x="234" y="164"/>
                    <a:pt x="234" y="165"/>
                  </a:cubicBezTo>
                  <a:cubicBezTo>
                    <a:pt x="234" y="166"/>
                    <a:pt x="235" y="165"/>
                    <a:pt x="235" y="166"/>
                  </a:cubicBezTo>
                  <a:cubicBezTo>
                    <a:pt x="234" y="168"/>
                    <a:pt x="235" y="169"/>
                    <a:pt x="235" y="169"/>
                  </a:cubicBezTo>
                  <a:cubicBezTo>
                    <a:pt x="235" y="169"/>
                    <a:pt x="235" y="170"/>
                    <a:pt x="236" y="171"/>
                  </a:cubicBezTo>
                  <a:cubicBezTo>
                    <a:pt x="237" y="171"/>
                    <a:pt x="238" y="171"/>
                    <a:pt x="238" y="171"/>
                  </a:cubicBezTo>
                  <a:cubicBezTo>
                    <a:pt x="238" y="171"/>
                    <a:pt x="239" y="171"/>
                    <a:pt x="239" y="171"/>
                  </a:cubicBezTo>
                  <a:cubicBezTo>
                    <a:pt x="241" y="168"/>
                    <a:pt x="241" y="168"/>
                    <a:pt x="241" y="168"/>
                  </a:cubicBezTo>
                  <a:cubicBezTo>
                    <a:pt x="242" y="167"/>
                    <a:pt x="243" y="165"/>
                    <a:pt x="243" y="165"/>
                  </a:cubicBezTo>
                  <a:cubicBezTo>
                    <a:pt x="243" y="165"/>
                    <a:pt x="244" y="164"/>
                    <a:pt x="244" y="164"/>
                  </a:cubicBezTo>
                  <a:cubicBezTo>
                    <a:pt x="244" y="164"/>
                    <a:pt x="244" y="162"/>
                    <a:pt x="244" y="161"/>
                  </a:cubicBezTo>
                  <a:cubicBezTo>
                    <a:pt x="244" y="161"/>
                    <a:pt x="242" y="160"/>
                    <a:pt x="244" y="158"/>
                  </a:cubicBezTo>
                  <a:cubicBezTo>
                    <a:pt x="247" y="156"/>
                    <a:pt x="247" y="154"/>
                    <a:pt x="247" y="154"/>
                  </a:cubicBezTo>
                  <a:close/>
                </a:path>
              </a:pathLst>
            </a:custGeom>
            <a:solidFill>
              <a:srgbClr val="A31973"/>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265" name="Freeform 72"/>
            <p:cNvSpPr>
              <a:spLocks noEditPoints="1"/>
            </p:cNvSpPr>
            <p:nvPr/>
          </p:nvSpPr>
          <p:spPr bwMode="auto">
            <a:xfrm>
              <a:off x="4202262" y="4105828"/>
              <a:ext cx="1094663" cy="1041623"/>
            </a:xfrm>
            <a:custGeom>
              <a:avLst/>
              <a:gdLst>
                <a:gd name="T0" fmla="*/ 335 w 378"/>
                <a:gd name="T1" fmla="*/ 89 h 381"/>
                <a:gd name="T2" fmla="*/ 321 w 378"/>
                <a:gd name="T3" fmla="*/ 75 h 381"/>
                <a:gd name="T4" fmla="*/ 314 w 378"/>
                <a:gd name="T5" fmla="*/ 76 h 381"/>
                <a:gd name="T6" fmla="*/ 311 w 378"/>
                <a:gd name="T7" fmla="*/ 72 h 381"/>
                <a:gd name="T8" fmla="*/ 300 w 378"/>
                <a:gd name="T9" fmla="*/ 69 h 381"/>
                <a:gd name="T10" fmla="*/ 288 w 378"/>
                <a:gd name="T11" fmla="*/ 61 h 381"/>
                <a:gd name="T12" fmla="*/ 284 w 378"/>
                <a:gd name="T13" fmla="*/ 44 h 381"/>
                <a:gd name="T14" fmla="*/ 269 w 378"/>
                <a:gd name="T15" fmla="*/ 52 h 381"/>
                <a:gd name="T16" fmla="*/ 268 w 378"/>
                <a:gd name="T17" fmla="*/ 39 h 381"/>
                <a:gd name="T18" fmla="*/ 253 w 378"/>
                <a:gd name="T19" fmla="*/ 34 h 381"/>
                <a:gd name="T20" fmla="*/ 243 w 378"/>
                <a:gd name="T21" fmla="*/ 23 h 381"/>
                <a:gd name="T22" fmla="*/ 229 w 378"/>
                <a:gd name="T23" fmla="*/ 14 h 381"/>
                <a:gd name="T24" fmla="*/ 227 w 378"/>
                <a:gd name="T25" fmla="*/ 0 h 381"/>
                <a:gd name="T26" fmla="*/ 190 w 378"/>
                <a:gd name="T27" fmla="*/ 37 h 381"/>
                <a:gd name="T28" fmla="*/ 138 w 378"/>
                <a:gd name="T29" fmla="*/ 70 h 381"/>
                <a:gd name="T30" fmla="*/ 99 w 378"/>
                <a:gd name="T31" fmla="*/ 48 h 381"/>
                <a:gd name="T32" fmla="*/ 97 w 378"/>
                <a:gd name="T33" fmla="*/ 67 h 381"/>
                <a:gd name="T34" fmla="*/ 71 w 378"/>
                <a:gd name="T35" fmla="*/ 89 h 381"/>
                <a:gd name="T36" fmla="*/ 37 w 378"/>
                <a:gd name="T37" fmla="*/ 79 h 381"/>
                <a:gd name="T38" fmla="*/ 3 w 378"/>
                <a:gd name="T39" fmla="*/ 90 h 381"/>
                <a:gd name="T40" fmla="*/ 4 w 378"/>
                <a:gd name="T41" fmla="*/ 106 h 381"/>
                <a:gd name="T42" fmla="*/ 28 w 378"/>
                <a:gd name="T43" fmla="*/ 121 h 381"/>
                <a:gd name="T44" fmla="*/ 65 w 378"/>
                <a:gd name="T45" fmla="*/ 138 h 381"/>
                <a:gd name="T46" fmla="*/ 72 w 378"/>
                <a:gd name="T47" fmla="*/ 162 h 381"/>
                <a:gd name="T48" fmla="*/ 75 w 378"/>
                <a:gd name="T49" fmla="*/ 181 h 381"/>
                <a:gd name="T50" fmla="*/ 83 w 378"/>
                <a:gd name="T51" fmla="*/ 195 h 381"/>
                <a:gd name="T52" fmla="*/ 89 w 378"/>
                <a:gd name="T53" fmla="*/ 208 h 381"/>
                <a:gd name="T54" fmla="*/ 93 w 378"/>
                <a:gd name="T55" fmla="*/ 224 h 381"/>
                <a:gd name="T56" fmla="*/ 89 w 378"/>
                <a:gd name="T57" fmla="*/ 232 h 381"/>
                <a:gd name="T58" fmla="*/ 74 w 378"/>
                <a:gd name="T59" fmla="*/ 297 h 381"/>
                <a:gd name="T60" fmla="*/ 108 w 378"/>
                <a:gd name="T61" fmla="*/ 354 h 381"/>
                <a:gd name="T62" fmla="*/ 154 w 378"/>
                <a:gd name="T63" fmla="*/ 366 h 381"/>
                <a:gd name="T64" fmla="*/ 154 w 378"/>
                <a:gd name="T65" fmla="*/ 370 h 381"/>
                <a:gd name="T66" fmla="*/ 158 w 378"/>
                <a:gd name="T67" fmla="*/ 371 h 381"/>
                <a:gd name="T68" fmla="*/ 209 w 378"/>
                <a:gd name="T69" fmla="*/ 375 h 381"/>
                <a:gd name="T70" fmla="*/ 216 w 378"/>
                <a:gd name="T71" fmla="*/ 341 h 381"/>
                <a:gd name="T72" fmla="*/ 256 w 378"/>
                <a:gd name="T73" fmla="*/ 335 h 381"/>
                <a:gd name="T74" fmla="*/ 298 w 378"/>
                <a:gd name="T75" fmla="*/ 351 h 381"/>
                <a:gd name="T76" fmla="*/ 339 w 378"/>
                <a:gd name="T77" fmla="*/ 332 h 381"/>
                <a:gd name="T78" fmla="*/ 347 w 378"/>
                <a:gd name="T79" fmla="*/ 327 h 381"/>
                <a:gd name="T80" fmla="*/ 349 w 378"/>
                <a:gd name="T81" fmla="*/ 327 h 381"/>
                <a:gd name="T82" fmla="*/ 350 w 378"/>
                <a:gd name="T83" fmla="*/ 326 h 381"/>
                <a:gd name="T84" fmla="*/ 351 w 378"/>
                <a:gd name="T85" fmla="*/ 326 h 381"/>
                <a:gd name="T86" fmla="*/ 349 w 378"/>
                <a:gd name="T87" fmla="*/ 310 h 381"/>
                <a:gd name="T88" fmla="*/ 328 w 378"/>
                <a:gd name="T89" fmla="*/ 271 h 381"/>
                <a:gd name="T90" fmla="*/ 332 w 378"/>
                <a:gd name="T91" fmla="*/ 238 h 381"/>
                <a:gd name="T92" fmla="*/ 336 w 378"/>
                <a:gd name="T93" fmla="*/ 224 h 381"/>
                <a:gd name="T94" fmla="*/ 334 w 378"/>
                <a:gd name="T95" fmla="*/ 213 h 381"/>
                <a:gd name="T96" fmla="*/ 318 w 378"/>
                <a:gd name="T97" fmla="*/ 212 h 381"/>
                <a:gd name="T98" fmla="*/ 313 w 378"/>
                <a:gd name="T99" fmla="*/ 223 h 381"/>
                <a:gd name="T100" fmla="*/ 313 w 378"/>
                <a:gd name="T101" fmla="*/ 218 h 381"/>
                <a:gd name="T102" fmla="*/ 313 w 378"/>
                <a:gd name="T103" fmla="*/ 206 h 381"/>
                <a:gd name="T104" fmla="*/ 323 w 378"/>
                <a:gd name="T105" fmla="*/ 195 h 381"/>
                <a:gd name="T106" fmla="*/ 328 w 378"/>
                <a:gd name="T107" fmla="*/ 187 h 381"/>
                <a:gd name="T108" fmla="*/ 335 w 378"/>
                <a:gd name="T109" fmla="*/ 179 h 381"/>
                <a:gd name="T110" fmla="*/ 342 w 378"/>
                <a:gd name="T111" fmla="*/ 169 h 381"/>
                <a:gd name="T112" fmla="*/ 341 w 378"/>
                <a:gd name="T113" fmla="*/ 166 h 381"/>
                <a:gd name="T114" fmla="*/ 349 w 378"/>
                <a:gd name="T115" fmla="*/ 167 h 381"/>
                <a:gd name="T116" fmla="*/ 356 w 378"/>
                <a:gd name="T117" fmla="*/ 162 h 381"/>
                <a:gd name="T118" fmla="*/ 357 w 378"/>
                <a:gd name="T119" fmla="*/ 151 h 381"/>
                <a:gd name="T120" fmla="*/ 368 w 378"/>
                <a:gd name="T121" fmla="*/ 97 h 381"/>
                <a:gd name="T122" fmla="*/ 158 w 378"/>
                <a:gd name="T123" fmla="*/ 371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8" h="381">
                  <a:moveTo>
                    <a:pt x="362" y="97"/>
                  </a:moveTo>
                  <a:cubicBezTo>
                    <a:pt x="359" y="95"/>
                    <a:pt x="359" y="95"/>
                    <a:pt x="359" y="95"/>
                  </a:cubicBezTo>
                  <a:cubicBezTo>
                    <a:pt x="356" y="91"/>
                    <a:pt x="356" y="91"/>
                    <a:pt x="356" y="91"/>
                  </a:cubicBezTo>
                  <a:cubicBezTo>
                    <a:pt x="353" y="92"/>
                    <a:pt x="353" y="92"/>
                    <a:pt x="353" y="92"/>
                  </a:cubicBezTo>
                  <a:cubicBezTo>
                    <a:pt x="351" y="94"/>
                    <a:pt x="351" y="94"/>
                    <a:pt x="351" y="94"/>
                  </a:cubicBezTo>
                  <a:cubicBezTo>
                    <a:pt x="345" y="92"/>
                    <a:pt x="345" y="92"/>
                    <a:pt x="345" y="92"/>
                  </a:cubicBezTo>
                  <a:cubicBezTo>
                    <a:pt x="341" y="89"/>
                    <a:pt x="341" y="89"/>
                    <a:pt x="341" y="89"/>
                  </a:cubicBezTo>
                  <a:cubicBezTo>
                    <a:pt x="338" y="91"/>
                    <a:pt x="338" y="91"/>
                    <a:pt x="338" y="91"/>
                  </a:cubicBezTo>
                  <a:cubicBezTo>
                    <a:pt x="335" y="89"/>
                    <a:pt x="335" y="89"/>
                    <a:pt x="335" y="89"/>
                  </a:cubicBezTo>
                  <a:cubicBezTo>
                    <a:pt x="333" y="85"/>
                    <a:pt x="333" y="85"/>
                    <a:pt x="333" y="85"/>
                  </a:cubicBezTo>
                  <a:cubicBezTo>
                    <a:pt x="332" y="81"/>
                    <a:pt x="332" y="81"/>
                    <a:pt x="332" y="81"/>
                  </a:cubicBezTo>
                  <a:cubicBezTo>
                    <a:pt x="328" y="77"/>
                    <a:pt x="328" y="77"/>
                    <a:pt x="328" y="77"/>
                  </a:cubicBezTo>
                  <a:cubicBezTo>
                    <a:pt x="326" y="78"/>
                    <a:pt x="326" y="78"/>
                    <a:pt x="326" y="78"/>
                  </a:cubicBezTo>
                  <a:cubicBezTo>
                    <a:pt x="326" y="78"/>
                    <a:pt x="326" y="78"/>
                    <a:pt x="326" y="78"/>
                  </a:cubicBezTo>
                  <a:cubicBezTo>
                    <a:pt x="325" y="78"/>
                    <a:pt x="323" y="77"/>
                    <a:pt x="323" y="77"/>
                  </a:cubicBezTo>
                  <a:cubicBezTo>
                    <a:pt x="323" y="76"/>
                    <a:pt x="323" y="76"/>
                    <a:pt x="323" y="76"/>
                  </a:cubicBezTo>
                  <a:cubicBezTo>
                    <a:pt x="322" y="75"/>
                    <a:pt x="322" y="75"/>
                    <a:pt x="322" y="75"/>
                  </a:cubicBezTo>
                  <a:cubicBezTo>
                    <a:pt x="321" y="75"/>
                    <a:pt x="321" y="75"/>
                    <a:pt x="321" y="75"/>
                  </a:cubicBezTo>
                  <a:cubicBezTo>
                    <a:pt x="319" y="76"/>
                    <a:pt x="319" y="76"/>
                    <a:pt x="319" y="76"/>
                  </a:cubicBezTo>
                  <a:cubicBezTo>
                    <a:pt x="319" y="77"/>
                    <a:pt x="319" y="77"/>
                    <a:pt x="319" y="77"/>
                  </a:cubicBezTo>
                  <a:cubicBezTo>
                    <a:pt x="318" y="77"/>
                    <a:pt x="318" y="77"/>
                    <a:pt x="318" y="77"/>
                  </a:cubicBezTo>
                  <a:cubicBezTo>
                    <a:pt x="317" y="78"/>
                    <a:pt x="317" y="78"/>
                    <a:pt x="317" y="78"/>
                  </a:cubicBezTo>
                  <a:cubicBezTo>
                    <a:pt x="317" y="77"/>
                    <a:pt x="317" y="77"/>
                    <a:pt x="317" y="77"/>
                  </a:cubicBezTo>
                  <a:cubicBezTo>
                    <a:pt x="317" y="77"/>
                    <a:pt x="317" y="78"/>
                    <a:pt x="317" y="78"/>
                  </a:cubicBezTo>
                  <a:cubicBezTo>
                    <a:pt x="316" y="78"/>
                    <a:pt x="315" y="78"/>
                    <a:pt x="315" y="78"/>
                  </a:cubicBezTo>
                  <a:cubicBezTo>
                    <a:pt x="314" y="78"/>
                    <a:pt x="314" y="78"/>
                    <a:pt x="314" y="78"/>
                  </a:cubicBezTo>
                  <a:cubicBezTo>
                    <a:pt x="314" y="76"/>
                    <a:pt x="314" y="76"/>
                    <a:pt x="314" y="76"/>
                  </a:cubicBezTo>
                  <a:cubicBezTo>
                    <a:pt x="314" y="76"/>
                    <a:pt x="314" y="76"/>
                    <a:pt x="314" y="76"/>
                  </a:cubicBezTo>
                  <a:cubicBezTo>
                    <a:pt x="313" y="75"/>
                    <a:pt x="313" y="75"/>
                    <a:pt x="313" y="75"/>
                  </a:cubicBezTo>
                  <a:cubicBezTo>
                    <a:pt x="312" y="75"/>
                    <a:pt x="312" y="75"/>
                    <a:pt x="312" y="75"/>
                  </a:cubicBezTo>
                  <a:cubicBezTo>
                    <a:pt x="312" y="75"/>
                    <a:pt x="311" y="74"/>
                    <a:pt x="311" y="74"/>
                  </a:cubicBezTo>
                  <a:cubicBezTo>
                    <a:pt x="311" y="74"/>
                    <a:pt x="310" y="74"/>
                    <a:pt x="310" y="74"/>
                  </a:cubicBezTo>
                  <a:cubicBezTo>
                    <a:pt x="309" y="73"/>
                    <a:pt x="309" y="73"/>
                    <a:pt x="309" y="73"/>
                  </a:cubicBezTo>
                  <a:cubicBezTo>
                    <a:pt x="311" y="73"/>
                    <a:pt x="311" y="73"/>
                    <a:pt x="311" y="73"/>
                  </a:cubicBezTo>
                  <a:cubicBezTo>
                    <a:pt x="311" y="73"/>
                    <a:pt x="311" y="72"/>
                    <a:pt x="311" y="72"/>
                  </a:cubicBezTo>
                  <a:cubicBezTo>
                    <a:pt x="311" y="72"/>
                    <a:pt x="311" y="72"/>
                    <a:pt x="311" y="72"/>
                  </a:cubicBezTo>
                  <a:cubicBezTo>
                    <a:pt x="311" y="72"/>
                    <a:pt x="310" y="72"/>
                    <a:pt x="310" y="72"/>
                  </a:cubicBezTo>
                  <a:cubicBezTo>
                    <a:pt x="308" y="72"/>
                    <a:pt x="308" y="72"/>
                    <a:pt x="308" y="72"/>
                  </a:cubicBezTo>
                  <a:cubicBezTo>
                    <a:pt x="308" y="73"/>
                    <a:pt x="308" y="73"/>
                    <a:pt x="308" y="73"/>
                  </a:cubicBezTo>
                  <a:cubicBezTo>
                    <a:pt x="306" y="73"/>
                    <a:pt x="306" y="73"/>
                    <a:pt x="306" y="73"/>
                  </a:cubicBezTo>
                  <a:cubicBezTo>
                    <a:pt x="305" y="73"/>
                    <a:pt x="305" y="73"/>
                    <a:pt x="305" y="73"/>
                  </a:cubicBezTo>
                  <a:cubicBezTo>
                    <a:pt x="302" y="73"/>
                    <a:pt x="302" y="73"/>
                    <a:pt x="302" y="73"/>
                  </a:cubicBezTo>
                  <a:cubicBezTo>
                    <a:pt x="301" y="72"/>
                    <a:pt x="301" y="72"/>
                    <a:pt x="301" y="72"/>
                  </a:cubicBezTo>
                  <a:cubicBezTo>
                    <a:pt x="301" y="70"/>
                    <a:pt x="301" y="70"/>
                    <a:pt x="301" y="70"/>
                  </a:cubicBezTo>
                  <a:cubicBezTo>
                    <a:pt x="300" y="69"/>
                    <a:pt x="300" y="69"/>
                    <a:pt x="300" y="69"/>
                  </a:cubicBezTo>
                  <a:cubicBezTo>
                    <a:pt x="299" y="69"/>
                    <a:pt x="299" y="69"/>
                    <a:pt x="299" y="69"/>
                  </a:cubicBezTo>
                  <a:cubicBezTo>
                    <a:pt x="297" y="69"/>
                    <a:pt x="297" y="69"/>
                    <a:pt x="297" y="69"/>
                  </a:cubicBezTo>
                  <a:cubicBezTo>
                    <a:pt x="297" y="67"/>
                    <a:pt x="297" y="67"/>
                    <a:pt x="297" y="67"/>
                  </a:cubicBezTo>
                  <a:cubicBezTo>
                    <a:pt x="297" y="67"/>
                    <a:pt x="297" y="65"/>
                    <a:pt x="296" y="65"/>
                  </a:cubicBezTo>
                  <a:cubicBezTo>
                    <a:pt x="296" y="65"/>
                    <a:pt x="295" y="66"/>
                    <a:pt x="295" y="66"/>
                  </a:cubicBezTo>
                  <a:cubicBezTo>
                    <a:pt x="293" y="63"/>
                    <a:pt x="293" y="63"/>
                    <a:pt x="293" y="63"/>
                  </a:cubicBezTo>
                  <a:cubicBezTo>
                    <a:pt x="293" y="63"/>
                    <a:pt x="293" y="63"/>
                    <a:pt x="293" y="63"/>
                  </a:cubicBezTo>
                  <a:cubicBezTo>
                    <a:pt x="292" y="62"/>
                    <a:pt x="291" y="61"/>
                    <a:pt x="291" y="61"/>
                  </a:cubicBezTo>
                  <a:cubicBezTo>
                    <a:pt x="290" y="61"/>
                    <a:pt x="288" y="61"/>
                    <a:pt x="288" y="61"/>
                  </a:cubicBezTo>
                  <a:cubicBezTo>
                    <a:pt x="288" y="61"/>
                    <a:pt x="288" y="60"/>
                    <a:pt x="287" y="60"/>
                  </a:cubicBezTo>
                  <a:cubicBezTo>
                    <a:pt x="287" y="60"/>
                    <a:pt x="284" y="60"/>
                    <a:pt x="284" y="60"/>
                  </a:cubicBezTo>
                  <a:cubicBezTo>
                    <a:pt x="284" y="60"/>
                    <a:pt x="284" y="58"/>
                    <a:pt x="285" y="57"/>
                  </a:cubicBezTo>
                  <a:cubicBezTo>
                    <a:pt x="285" y="57"/>
                    <a:pt x="285" y="54"/>
                    <a:pt x="285" y="54"/>
                  </a:cubicBezTo>
                  <a:cubicBezTo>
                    <a:pt x="284" y="53"/>
                    <a:pt x="284" y="53"/>
                    <a:pt x="284" y="53"/>
                  </a:cubicBezTo>
                  <a:cubicBezTo>
                    <a:pt x="284" y="53"/>
                    <a:pt x="284" y="53"/>
                    <a:pt x="284" y="51"/>
                  </a:cubicBezTo>
                  <a:cubicBezTo>
                    <a:pt x="285" y="50"/>
                    <a:pt x="285" y="50"/>
                    <a:pt x="285" y="48"/>
                  </a:cubicBezTo>
                  <a:cubicBezTo>
                    <a:pt x="286" y="46"/>
                    <a:pt x="286" y="45"/>
                    <a:pt x="286" y="45"/>
                  </a:cubicBezTo>
                  <a:cubicBezTo>
                    <a:pt x="284" y="44"/>
                    <a:pt x="284" y="44"/>
                    <a:pt x="284" y="44"/>
                  </a:cubicBezTo>
                  <a:cubicBezTo>
                    <a:pt x="284" y="44"/>
                    <a:pt x="284" y="44"/>
                    <a:pt x="283" y="45"/>
                  </a:cubicBezTo>
                  <a:cubicBezTo>
                    <a:pt x="283" y="46"/>
                    <a:pt x="282" y="46"/>
                    <a:pt x="282" y="46"/>
                  </a:cubicBezTo>
                  <a:cubicBezTo>
                    <a:pt x="281" y="48"/>
                    <a:pt x="281" y="48"/>
                    <a:pt x="281" y="48"/>
                  </a:cubicBezTo>
                  <a:cubicBezTo>
                    <a:pt x="280" y="51"/>
                    <a:pt x="280" y="51"/>
                    <a:pt x="280" y="51"/>
                  </a:cubicBezTo>
                  <a:cubicBezTo>
                    <a:pt x="280" y="51"/>
                    <a:pt x="281" y="52"/>
                    <a:pt x="279" y="52"/>
                  </a:cubicBezTo>
                  <a:cubicBezTo>
                    <a:pt x="277" y="52"/>
                    <a:pt x="276" y="52"/>
                    <a:pt x="276" y="52"/>
                  </a:cubicBezTo>
                  <a:cubicBezTo>
                    <a:pt x="276" y="52"/>
                    <a:pt x="277" y="53"/>
                    <a:pt x="275" y="53"/>
                  </a:cubicBezTo>
                  <a:cubicBezTo>
                    <a:pt x="273" y="53"/>
                    <a:pt x="271" y="53"/>
                    <a:pt x="271" y="53"/>
                  </a:cubicBezTo>
                  <a:cubicBezTo>
                    <a:pt x="269" y="52"/>
                    <a:pt x="269" y="52"/>
                    <a:pt x="269" y="52"/>
                  </a:cubicBezTo>
                  <a:cubicBezTo>
                    <a:pt x="266" y="52"/>
                    <a:pt x="266" y="52"/>
                    <a:pt x="266" y="52"/>
                  </a:cubicBezTo>
                  <a:cubicBezTo>
                    <a:pt x="266" y="52"/>
                    <a:pt x="266" y="52"/>
                    <a:pt x="266" y="50"/>
                  </a:cubicBezTo>
                  <a:cubicBezTo>
                    <a:pt x="266" y="49"/>
                    <a:pt x="265" y="48"/>
                    <a:pt x="266" y="48"/>
                  </a:cubicBezTo>
                  <a:cubicBezTo>
                    <a:pt x="267" y="48"/>
                    <a:pt x="268" y="47"/>
                    <a:pt x="268" y="47"/>
                  </a:cubicBezTo>
                  <a:cubicBezTo>
                    <a:pt x="267" y="45"/>
                    <a:pt x="267" y="45"/>
                    <a:pt x="267" y="45"/>
                  </a:cubicBezTo>
                  <a:cubicBezTo>
                    <a:pt x="267" y="45"/>
                    <a:pt x="267" y="45"/>
                    <a:pt x="267" y="45"/>
                  </a:cubicBezTo>
                  <a:cubicBezTo>
                    <a:pt x="267" y="45"/>
                    <a:pt x="266" y="44"/>
                    <a:pt x="266" y="44"/>
                  </a:cubicBezTo>
                  <a:cubicBezTo>
                    <a:pt x="266" y="43"/>
                    <a:pt x="267" y="41"/>
                    <a:pt x="267" y="41"/>
                  </a:cubicBezTo>
                  <a:cubicBezTo>
                    <a:pt x="268" y="41"/>
                    <a:pt x="268" y="39"/>
                    <a:pt x="268" y="39"/>
                  </a:cubicBezTo>
                  <a:cubicBezTo>
                    <a:pt x="267" y="39"/>
                    <a:pt x="267" y="39"/>
                    <a:pt x="267" y="39"/>
                  </a:cubicBezTo>
                  <a:cubicBezTo>
                    <a:pt x="267" y="39"/>
                    <a:pt x="266" y="40"/>
                    <a:pt x="265" y="38"/>
                  </a:cubicBezTo>
                  <a:cubicBezTo>
                    <a:pt x="265" y="37"/>
                    <a:pt x="264" y="35"/>
                    <a:pt x="264" y="35"/>
                  </a:cubicBezTo>
                  <a:cubicBezTo>
                    <a:pt x="264" y="35"/>
                    <a:pt x="263" y="35"/>
                    <a:pt x="263" y="35"/>
                  </a:cubicBezTo>
                  <a:cubicBezTo>
                    <a:pt x="262" y="35"/>
                    <a:pt x="262" y="35"/>
                    <a:pt x="261" y="35"/>
                  </a:cubicBezTo>
                  <a:cubicBezTo>
                    <a:pt x="261" y="36"/>
                    <a:pt x="258" y="35"/>
                    <a:pt x="258" y="35"/>
                  </a:cubicBezTo>
                  <a:cubicBezTo>
                    <a:pt x="258" y="35"/>
                    <a:pt x="257" y="35"/>
                    <a:pt x="256" y="35"/>
                  </a:cubicBezTo>
                  <a:cubicBezTo>
                    <a:pt x="256" y="35"/>
                    <a:pt x="255" y="36"/>
                    <a:pt x="255" y="36"/>
                  </a:cubicBezTo>
                  <a:cubicBezTo>
                    <a:pt x="253" y="34"/>
                    <a:pt x="253" y="34"/>
                    <a:pt x="253" y="34"/>
                  </a:cubicBezTo>
                  <a:cubicBezTo>
                    <a:pt x="254" y="32"/>
                    <a:pt x="254" y="32"/>
                    <a:pt x="254" y="32"/>
                  </a:cubicBezTo>
                  <a:cubicBezTo>
                    <a:pt x="254" y="32"/>
                    <a:pt x="252" y="30"/>
                    <a:pt x="252" y="30"/>
                  </a:cubicBezTo>
                  <a:cubicBezTo>
                    <a:pt x="252" y="29"/>
                    <a:pt x="251" y="28"/>
                    <a:pt x="251" y="28"/>
                  </a:cubicBezTo>
                  <a:cubicBezTo>
                    <a:pt x="250" y="28"/>
                    <a:pt x="250" y="28"/>
                    <a:pt x="250" y="28"/>
                  </a:cubicBezTo>
                  <a:cubicBezTo>
                    <a:pt x="249" y="26"/>
                    <a:pt x="249" y="26"/>
                    <a:pt x="249" y="26"/>
                  </a:cubicBezTo>
                  <a:cubicBezTo>
                    <a:pt x="249" y="26"/>
                    <a:pt x="247" y="27"/>
                    <a:pt x="247" y="27"/>
                  </a:cubicBezTo>
                  <a:cubicBezTo>
                    <a:pt x="246" y="27"/>
                    <a:pt x="246" y="27"/>
                    <a:pt x="245" y="27"/>
                  </a:cubicBezTo>
                  <a:cubicBezTo>
                    <a:pt x="245" y="27"/>
                    <a:pt x="244" y="26"/>
                    <a:pt x="244" y="25"/>
                  </a:cubicBezTo>
                  <a:cubicBezTo>
                    <a:pt x="244" y="24"/>
                    <a:pt x="244" y="24"/>
                    <a:pt x="243" y="23"/>
                  </a:cubicBezTo>
                  <a:cubicBezTo>
                    <a:pt x="243" y="22"/>
                    <a:pt x="242" y="20"/>
                    <a:pt x="242" y="20"/>
                  </a:cubicBezTo>
                  <a:cubicBezTo>
                    <a:pt x="242" y="19"/>
                    <a:pt x="243" y="18"/>
                    <a:pt x="242" y="18"/>
                  </a:cubicBezTo>
                  <a:cubicBezTo>
                    <a:pt x="242" y="17"/>
                    <a:pt x="241" y="16"/>
                    <a:pt x="241" y="16"/>
                  </a:cubicBezTo>
                  <a:cubicBezTo>
                    <a:pt x="239" y="14"/>
                    <a:pt x="239" y="14"/>
                    <a:pt x="239" y="14"/>
                  </a:cubicBezTo>
                  <a:cubicBezTo>
                    <a:pt x="239" y="14"/>
                    <a:pt x="237" y="15"/>
                    <a:pt x="236" y="15"/>
                  </a:cubicBezTo>
                  <a:cubicBezTo>
                    <a:pt x="236" y="15"/>
                    <a:pt x="234" y="15"/>
                    <a:pt x="234" y="15"/>
                  </a:cubicBezTo>
                  <a:cubicBezTo>
                    <a:pt x="234" y="16"/>
                    <a:pt x="234" y="17"/>
                    <a:pt x="234" y="17"/>
                  </a:cubicBezTo>
                  <a:cubicBezTo>
                    <a:pt x="233" y="18"/>
                    <a:pt x="231" y="17"/>
                    <a:pt x="231" y="16"/>
                  </a:cubicBezTo>
                  <a:cubicBezTo>
                    <a:pt x="230" y="16"/>
                    <a:pt x="230" y="15"/>
                    <a:pt x="229" y="14"/>
                  </a:cubicBezTo>
                  <a:cubicBezTo>
                    <a:pt x="229" y="14"/>
                    <a:pt x="229" y="13"/>
                    <a:pt x="228" y="13"/>
                  </a:cubicBezTo>
                  <a:cubicBezTo>
                    <a:pt x="228" y="13"/>
                    <a:pt x="226" y="13"/>
                    <a:pt x="226" y="12"/>
                  </a:cubicBezTo>
                  <a:cubicBezTo>
                    <a:pt x="226" y="11"/>
                    <a:pt x="227" y="9"/>
                    <a:pt x="227" y="9"/>
                  </a:cubicBezTo>
                  <a:cubicBezTo>
                    <a:pt x="226" y="7"/>
                    <a:pt x="226" y="7"/>
                    <a:pt x="226" y="7"/>
                  </a:cubicBezTo>
                  <a:cubicBezTo>
                    <a:pt x="226" y="7"/>
                    <a:pt x="227" y="5"/>
                    <a:pt x="226" y="5"/>
                  </a:cubicBezTo>
                  <a:cubicBezTo>
                    <a:pt x="226" y="4"/>
                    <a:pt x="225" y="3"/>
                    <a:pt x="225" y="3"/>
                  </a:cubicBezTo>
                  <a:cubicBezTo>
                    <a:pt x="225" y="1"/>
                    <a:pt x="225" y="1"/>
                    <a:pt x="225" y="1"/>
                  </a:cubicBezTo>
                  <a:cubicBezTo>
                    <a:pt x="226" y="0"/>
                    <a:pt x="226" y="0"/>
                    <a:pt x="226" y="0"/>
                  </a:cubicBezTo>
                  <a:cubicBezTo>
                    <a:pt x="226" y="0"/>
                    <a:pt x="226" y="0"/>
                    <a:pt x="227" y="0"/>
                  </a:cubicBezTo>
                  <a:cubicBezTo>
                    <a:pt x="209" y="3"/>
                    <a:pt x="209" y="3"/>
                    <a:pt x="209" y="3"/>
                  </a:cubicBezTo>
                  <a:cubicBezTo>
                    <a:pt x="200" y="3"/>
                    <a:pt x="200" y="3"/>
                    <a:pt x="200" y="3"/>
                  </a:cubicBezTo>
                  <a:cubicBezTo>
                    <a:pt x="197" y="7"/>
                    <a:pt x="197" y="7"/>
                    <a:pt x="197" y="7"/>
                  </a:cubicBezTo>
                  <a:cubicBezTo>
                    <a:pt x="196" y="11"/>
                    <a:pt x="196" y="11"/>
                    <a:pt x="196" y="11"/>
                  </a:cubicBezTo>
                  <a:cubicBezTo>
                    <a:pt x="196" y="18"/>
                    <a:pt x="196" y="18"/>
                    <a:pt x="196" y="18"/>
                  </a:cubicBezTo>
                  <a:cubicBezTo>
                    <a:pt x="194" y="22"/>
                    <a:pt x="194" y="22"/>
                    <a:pt x="194" y="22"/>
                  </a:cubicBezTo>
                  <a:cubicBezTo>
                    <a:pt x="194" y="27"/>
                    <a:pt x="194" y="27"/>
                    <a:pt x="194" y="27"/>
                  </a:cubicBezTo>
                  <a:cubicBezTo>
                    <a:pt x="193" y="34"/>
                    <a:pt x="193" y="34"/>
                    <a:pt x="193" y="34"/>
                  </a:cubicBezTo>
                  <a:cubicBezTo>
                    <a:pt x="190" y="37"/>
                    <a:pt x="190" y="37"/>
                    <a:pt x="190" y="37"/>
                  </a:cubicBezTo>
                  <a:cubicBezTo>
                    <a:pt x="184" y="42"/>
                    <a:pt x="184" y="42"/>
                    <a:pt x="184" y="42"/>
                  </a:cubicBezTo>
                  <a:cubicBezTo>
                    <a:pt x="176" y="45"/>
                    <a:pt x="176" y="45"/>
                    <a:pt x="176" y="45"/>
                  </a:cubicBezTo>
                  <a:cubicBezTo>
                    <a:pt x="166" y="48"/>
                    <a:pt x="166" y="48"/>
                    <a:pt x="166" y="48"/>
                  </a:cubicBezTo>
                  <a:cubicBezTo>
                    <a:pt x="157" y="50"/>
                    <a:pt x="157" y="50"/>
                    <a:pt x="157" y="50"/>
                  </a:cubicBezTo>
                  <a:cubicBezTo>
                    <a:pt x="151" y="54"/>
                    <a:pt x="151" y="54"/>
                    <a:pt x="151" y="54"/>
                  </a:cubicBezTo>
                  <a:cubicBezTo>
                    <a:pt x="149" y="60"/>
                    <a:pt x="149" y="60"/>
                    <a:pt x="149" y="60"/>
                  </a:cubicBezTo>
                  <a:cubicBezTo>
                    <a:pt x="148" y="67"/>
                    <a:pt x="148" y="67"/>
                    <a:pt x="148" y="67"/>
                  </a:cubicBezTo>
                  <a:cubicBezTo>
                    <a:pt x="143" y="69"/>
                    <a:pt x="143" y="69"/>
                    <a:pt x="143" y="69"/>
                  </a:cubicBezTo>
                  <a:cubicBezTo>
                    <a:pt x="143" y="69"/>
                    <a:pt x="140" y="71"/>
                    <a:pt x="138" y="70"/>
                  </a:cubicBezTo>
                  <a:cubicBezTo>
                    <a:pt x="136" y="70"/>
                    <a:pt x="131" y="68"/>
                    <a:pt x="131" y="68"/>
                  </a:cubicBezTo>
                  <a:cubicBezTo>
                    <a:pt x="131" y="68"/>
                    <a:pt x="125" y="65"/>
                    <a:pt x="123" y="65"/>
                  </a:cubicBezTo>
                  <a:cubicBezTo>
                    <a:pt x="121" y="65"/>
                    <a:pt x="117" y="60"/>
                    <a:pt x="117" y="60"/>
                  </a:cubicBezTo>
                  <a:cubicBezTo>
                    <a:pt x="113" y="64"/>
                    <a:pt x="113" y="64"/>
                    <a:pt x="113" y="64"/>
                  </a:cubicBezTo>
                  <a:cubicBezTo>
                    <a:pt x="113" y="64"/>
                    <a:pt x="110" y="62"/>
                    <a:pt x="110" y="60"/>
                  </a:cubicBezTo>
                  <a:cubicBezTo>
                    <a:pt x="110" y="59"/>
                    <a:pt x="110" y="59"/>
                    <a:pt x="110" y="57"/>
                  </a:cubicBezTo>
                  <a:cubicBezTo>
                    <a:pt x="110" y="55"/>
                    <a:pt x="110" y="51"/>
                    <a:pt x="110" y="51"/>
                  </a:cubicBezTo>
                  <a:cubicBezTo>
                    <a:pt x="104" y="49"/>
                    <a:pt x="104" y="49"/>
                    <a:pt x="104" y="49"/>
                  </a:cubicBezTo>
                  <a:cubicBezTo>
                    <a:pt x="99" y="48"/>
                    <a:pt x="99" y="48"/>
                    <a:pt x="99" y="48"/>
                  </a:cubicBezTo>
                  <a:cubicBezTo>
                    <a:pt x="99" y="48"/>
                    <a:pt x="99" y="49"/>
                    <a:pt x="97" y="48"/>
                  </a:cubicBezTo>
                  <a:cubicBezTo>
                    <a:pt x="95" y="46"/>
                    <a:pt x="95" y="43"/>
                    <a:pt x="95" y="43"/>
                  </a:cubicBezTo>
                  <a:cubicBezTo>
                    <a:pt x="90" y="41"/>
                    <a:pt x="90" y="41"/>
                    <a:pt x="90" y="41"/>
                  </a:cubicBezTo>
                  <a:cubicBezTo>
                    <a:pt x="88" y="47"/>
                    <a:pt x="88" y="47"/>
                    <a:pt x="88" y="47"/>
                  </a:cubicBezTo>
                  <a:cubicBezTo>
                    <a:pt x="94" y="52"/>
                    <a:pt x="94" y="52"/>
                    <a:pt x="94" y="52"/>
                  </a:cubicBezTo>
                  <a:cubicBezTo>
                    <a:pt x="96" y="55"/>
                    <a:pt x="96" y="55"/>
                    <a:pt x="96" y="55"/>
                  </a:cubicBezTo>
                  <a:cubicBezTo>
                    <a:pt x="94" y="60"/>
                    <a:pt x="94" y="60"/>
                    <a:pt x="94" y="60"/>
                  </a:cubicBezTo>
                  <a:cubicBezTo>
                    <a:pt x="96" y="64"/>
                    <a:pt x="96" y="64"/>
                    <a:pt x="96" y="64"/>
                  </a:cubicBezTo>
                  <a:cubicBezTo>
                    <a:pt x="97" y="67"/>
                    <a:pt x="97" y="67"/>
                    <a:pt x="97" y="67"/>
                  </a:cubicBezTo>
                  <a:cubicBezTo>
                    <a:pt x="97" y="67"/>
                    <a:pt x="98" y="67"/>
                    <a:pt x="97" y="69"/>
                  </a:cubicBezTo>
                  <a:cubicBezTo>
                    <a:pt x="97" y="71"/>
                    <a:pt x="96" y="79"/>
                    <a:pt x="96" y="79"/>
                  </a:cubicBezTo>
                  <a:cubicBezTo>
                    <a:pt x="97" y="86"/>
                    <a:pt x="97" y="86"/>
                    <a:pt x="97" y="86"/>
                  </a:cubicBezTo>
                  <a:cubicBezTo>
                    <a:pt x="99" y="92"/>
                    <a:pt x="99" y="92"/>
                    <a:pt x="99" y="92"/>
                  </a:cubicBezTo>
                  <a:cubicBezTo>
                    <a:pt x="99" y="92"/>
                    <a:pt x="95" y="94"/>
                    <a:pt x="93" y="94"/>
                  </a:cubicBezTo>
                  <a:cubicBezTo>
                    <a:pt x="92" y="94"/>
                    <a:pt x="88" y="93"/>
                    <a:pt x="88" y="93"/>
                  </a:cubicBezTo>
                  <a:cubicBezTo>
                    <a:pt x="86" y="88"/>
                    <a:pt x="86" y="88"/>
                    <a:pt x="86" y="88"/>
                  </a:cubicBezTo>
                  <a:cubicBezTo>
                    <a:pt x="77" y="89"/>
                    <a:pt x="77" y="89"/>
                    <a:pt x="77" y="89"/>
                  </a:cubicBezTo>
                  <a:cubicBezTo>
                    <a:pt x="71" y="89"/>
                    <a:pt x="71" y="89"/>
                    <a:pt x="71" y="89"/>
                  </a:cubicBezTo>
                  <a:cubicBezTo>
                    <a:pt x="66" y="92"/>
                    <a:pt x="66" y="92"/>
                    <a:pt x="66" y="92"/>
                  </a:cubicBezTo>
                  <a:cubicBezTo>
                    <a:pt x="63" y="91"/>
                    <a:pt x="63" y="91"/>
                    <a:pt x="63" y="91"/>
                  </a:cubicBezTo>
                  <a:cubicBezTo>
                    <a:pt x="60" y="88"/>
                    <a:pt x="60" y="88"/>
                    <a:pt x="60" y="88"/>
                  </a:cubicBezTo>
                  <a:cubicBezTo>
                    <a:pt x="59" y="83"/>
                    <a:pt x="59" y="83"/>
                    <a:pt x="59" y="83"/>
                  </a:cubicBezTo>
                  <a:cubicBezTo>
                    <a:pt x="57" y="79"/>
                    <a:pt x="57" y="79"/>
                    <a:pt x="57" y="79"/>
                  </a:cubicBezTo>
                  <a:cubicBezTo>
                    <a:pt x="54" y="75"/>
                    <a:pt x="54" y="75"/>
                    <a:pt x="54" y="75"/>
                  </a:cubicBezTo>
                  <a:cubicBezTo>
                    <a:pt x="43" y="76"/>
                    <a:pt x="43" y="76"/>
                    <a:pt x="43" y="76"/>
                  </a:cubicBezTo>
                  <a:cubicBezTo>
                    <a:pt x="40" y="76"/>
                    <a:pt x="40" y="76"/>
                    <a:pt x="40" y="76"/>
                  </a:cubicBezTo>
                  <a:cubicBezTo>
                    <a:pt x="37" y="79"/>
                    <a:pt x="37" y="79"/>
                    <a:pt x="37" y="79"/>
                  </a:cubicBezTo>
                  <a:cubicBezTo>
                    <a:pt x="32" y="78"/>
                    <a:pt x="32" y="78"/>
                    <a:pt x="32" y="78"/>
                  </a:cubicBezTo>
                  <a:cubicBezTo>
                    <a:pt x="31" y="81"/>
                    <a:pt x="31" y="81"/>
                    <a:pt x="31" y="81"/>
                  </a:cubicBezTo>
                  <a:cubicBezTo>
                    <a:pt x="25" y="79"/>
                    <a:pt x="25" y="79"/>
                    <a:pt x="25" y="79"/>
                  </a:cubicBezTo>
                  <a:cubicBezTo>
                    <a:pt x="20" y="79"/>
                    <a:pt x="20" y="79"/>
                    <a:pt x="20" y="79"/>
                  </a:cubicBezTo>
                  <a:cubicBezTo>
                    <a:pt x="15" y="79"/>
                    <a:pt x="15" y="79"/>
                    <a:pt x="15" y="79"/>
                  </a:cubicBezTo>
                  <a:cubicBezTo>
                    <a:pt x="8" y="81"/>
                    <a:pt x="8" y="81"/>
                    <a:pt x="8" y="81"/>
                  </a:cubicBezTo>
                  <a:cubicBezTo>
                    <a:pt x="4" y="84"/>
                    <a:pt x="4" y="84"/>
                    <a:pt x="4" y="84"/>
                  </a:cubicBezTo>
                  <a:cubicBezTo>
                    <a:pt x="0" y="90"/>
                    <a:pt x="0" y="90"/>
                    <a:pt x="0" y="90"/>
                  </a:cubicBezTo>
                  <a:cubicBezTo>
                    <a:pt x="0" y="90"/>
                    <a:pt x="2" y="90"/>
                    <a:pt x="3" y="90"/>
                  </a:cubicBezTo>
                  <a:cubicBezTo>
                    <a:pt x="4" y="91"/>
                    <a:pt x="11" y="91"/>
                    <a:pt x="11" y="91"/>
                  </a:cubicBezTo>
                  <a:cubicBezTo>
                    <a:pt x="13" y="93"/>
                    <a:pt x="13" y="93"/>
                    <a:pt x="13" y="93"/>
                  </a:cubicBezTo>
                  <a:cubicBezTo>
                    <a:pt x="8" y="96"/>
                    <a:pt x="8" y="96"/>
                    <a:pt x="8" y="96"/>
                  </a:cubicBezTo>
                  <a:cubicBezTo>
                    <a:pt x="12" y="97"/>
                    <a:pt x="12" y="97"/>
                    <a:pt x="12" y="97"/>
                  </a:cubicBezTo>
                  <a:cubicBezTo>
                    <a:pt x="13" y="99"/>
                    <a:pt x="13" y="99"/>
                    <a:pt x="13" y="99"/>
                  </a:cubicBezTo>
                  <a:cubicBezTo>
                    <a:pt x="13" y="102"/>
                    <a:pt x="13" y="102"/>
                    <a:pt x="13" y="102"/>
                  </a:cubicBezTo>
                  <a:cubicBezTo>
                    <a:pt x="4" y="103"/>
                    <a:pt x="4" y="103"/>
                    <a:pt x="4" y="103"/>
                  </a:cubicBezTo>
                  <a:cubicBezTo>
                    <a:pt x="4" y="103"/>
                    <a:pt x="2" y="102"/>
                    <a:pt x="1" y="103"/>
                  </a:cubicBezTo>
                  <a:cubicBezTo>
                    <a:pt x="1" y="105"/>
                    <a:pt x="4" y="106"/>
                    <a:pt x="4" y="106"/>
                  </a:cubicBezTo>
                  <a:cubicBezTo>
                    <a:pt x="8" y="108"/>
                    <a:pt x="8" y="108"/>
                    <a:pt x="8" y="108"/>
                  </a:cubicBezTo>
                  <a:cubicBezTo>
                    <a:pt x="7" y="116"/>
                    <a:pt x="7" y="116"/>
                    <a:pt x="7" y="116"/>
                  </a:cubicBezTo>
                  <a:cubicBezTo>
                    <a:pt x="11" y="116"/>
                    <a:pt x="11" y="116"/>
                    <a:pt x="11" y="116"/>
                  </a:cubicBezTo>
                  <a:cubicBezTo>
                    <a:pt x="15" y="116"/>
                    <a:pt x="15" y="116"/>
                    <a:pt x="15" y="116"/>
                  </a:cubicBezTo>
                  <a:cubicBezTo>
                    <a:pt x="15" y="116"/>
                    <a:pt x="16" y="114"/>
                    <a:pt x="18" y="114"/>
                  </a:cubicBezTo>
                  <a:cubicBezTo>
                    <a:pt x="21" y="113"/>
                    <a:pt x="23" y="114"/>
                    <a:pt x="23" y="114"/>
                  </a:cubicBezTo>
                  <a:cubicBezTo>
                    <a:pt x="23" y="114"/>
                    <a:pt x="23" y="113"/>
                    <a:pt x="24" y="117"/>
                  </a:cubicBezTo>
                  <a:cubicBezTo>
                    <a:pt x="25" y="120"/>
                    <a:pt x="25" y="120"/>
                    <a:pt x="25" y="120"/>
                  </a:cubicBezTo>
                  <a:cubicBezTo>
                    <a:pt x="28" y="121"/>
                    <a:pt x="28" y="121"/>
                    <a:pt x="28" y="121"/>
                  </a:cubicBezTo>
                  <a:cubicBezTo>
                    <a:pt x="30" y="121"/>
                    <a:pt x="30" y="121"/>
                    <a:pt x="30" y="121"/>
                  </a:cubicBezTo>
                  <a:cubicBezTo>
                    <a:pt x="30" y="121"/>
                    <a:pt x="33" y="124"/>
                    <a:pt x="34" y="124"/>
                  </a:cubicBezTo>
                  <a:cubicBezTo>
                    <a:pt x="36" y="125"/>
                    <a:pt x="40" y="128"/>
                    <a:pt x="40" y="128"/>
                  </a:cubicBezTo>
                  <a:cubicBezTo>
                    <a:pt x="41" y="129"/>
                    <a:pt x="41" y="129"/>
                    <a:pt x="41" y="129"/>
                  </a:cubicBezTo>
                  <a:cubicBezTo>
                    <a:pt x="41" y="133"/>
                    <a:pt x="41" y="133"/>
                    <a:pt x="41" y="133"/>
                  </a:cubicBezTo>
                  <a:cubicBezTo>
                    <a:pt x="41" y="133"/>
                    <a:pt x="45" y="134"/>
                    <a:pt x="47" y="134"/>
                  </a:cubicBezTo>
                  <a:cubicBezTo>
                    <a:pt x="49" y="134"/>
                    <a:pt x="54" y="133"/>
                    <a:pt x="54" y="133"/>
                  </a:cubicBezTo>
                  <a:cubicBezTo>
                    <a:pt x="56" y="136"/>
                    <a:pt x="56" y="136"/>
                    <a:pt x="56" y="136"/>
                  </a:cubicBezTo>
                  <a:cubicBezTo>
                    <a:pt x="58" y="136"/>
                    <a:pt x="65" y="138"/>
                    <a:pt x="65" y="138"/>
                  </a:cubicBezTo>
                  <a:cubicBezTo>
                    <a:pt x="63" y="141"/>
                    <a:pt x="63" y="141"/>
                    <a:pt x="63" y="141"/>
                  </a:cubicBezTo>
                  <a:cubicBezTo>
                    <a:pt x="60" y="144"/>
                    <a:pt x="60" y="144"/>
                    <a:pt x="60" y="144"/>
                  </a:cubicBezTo>
                  <a:cubicBezTo>
                    <a:pt x="60" y="147"/>
                    <a:pt x="60" y="147"/>
                    <a:pt x="60" y="147"/>
                  </a:cubicBezTo>
                  <a:cubicBezTo>
                    <a:pt x="60" y="147"/>
                    <a:pt x="60" y="146"/>
                    <a:pt x="63" y="147"/>
                  </a:cubicBezTo>
                  <a:cubicBezTo>
                    <a:pt x="66" y="148"/>
                    <a:pt x="69" y="150"/>
                    <a:pt x="69" y="150"/>
                  </a:cubicBezTo>
                  <a:cubicBezTo>
                    <a:pt x="68" y="154"/>
                    <a:pt x="68" y="154"/>
                    <a:pt x="68" y="154"/>
                  </a:cubicBezTo>
                  <a:cubicBezTo>
                    <a:pt x="71" y="157"/>
                    <a:pt x="71" y="157"/>
                    <a:pt x="71" y="157"/>
                  </a:cubicBezTo>
                  <a:cubicBezTo>
                    <a:pt x="71" y="157"/>
                    <a:pt x="73" y="159"/>
                    <a:pt x="73" y="160"/>
                  </a:cubicBezTo>
                  <a:cubicBezTo>
                    <a:pt x="73" y="161"/>
                    <a:pt x="72" y="162"/>
                    <a:pt x="72" y="162"/>
                  </a:cubicBezTo>
                  <a:cubicBezTo>
                    <a:pt x="70" y="162"/>
                    <a:pt x="70" y="162"/>
                    <a:pt x="70" y="162"/>
                  </a:cubicBezTo>
                  <a:cubicBezTo>
                    <a:pt x="70" y="162"/>
                    <a:pt x="70" y="163"/>
                    <a:pt x="69" y="162"/>
                  </a:cubicBezTo>
                  <a:cubicBezTo>
                    <a:pt x="68" y="160"/>
                    <a:pt x="66" y="159"/>
                    <a:pt x="66" y="159"/>
                  </a:cubicBezTo>
                  <a:cubicBezTo>
                    <a:pt x="66" y="161"/>
                    <a:pt x="66" y="161"/>
                    <a:pt x="66" y="161"/>
                  </a:cubicBezTo>
                  <a:cubicBezTo>
                    <a:pt x="66" y="161"/>
                    <a:pt x="67" y="165"/>
                    <a:pt x="68" y="166"/>
                  </a:cubicBezTo>
                  <a:cubicBezTo>
                    <a:pt x="69" y="166"/>
                    <a:pt x="70" y="165"/>
                    <a:pt x="69" y="167"/>
                  </a:cubicBezTo>
                  <a:cubicBezTo>
                    <a:pt x="69" y="169"/>
                    <a:pt x="70" y="173"/>
                    <a:pt x="71" y="174"/>
                  </a:cubicBezTo>
                  <a:cubicBezTo>
                    <a:pt x="71" y="176"/>
                    <a:pt x="71" y="179"/>
                    <a:pt x="73" y="180"/>
                  </a:cubicBezTo>
                  <a:cubicBezTo>
                    <a:pt x="74" y="180"/>
                    <a:pt x="75" y="181"/>
                    <a:pt x="75" y="181"/>
                  </a:cubicBezTo>
                  <a:cubicBezTo>
                    <a:pt x="76" y="183"/>
                    <a:pt x="76" y="183"/>
                    <a:pt x="76" y="183"/>
                  </a:cubicBezTo>
                  <a:cubicBezTo>
                    <a:pt x="81" y="187"/>
                    <a:pt x="81" y="187"/>
                    <a:pt x="81" y="187"/>
                  </a:cubicBezTo>
                  <a:cubicBezTo>
                    <a:pt x="81" y="187"/>
                    <a:pt x="84" y="189"/>
                    <a:pt x="86" y="190"/>
                  </a:cubicBezTo>
                  <a:cubicBezTo>
                    <a:pt x="88" y="191"/>
                    <a:pt x="89" y="191"/>
                    <a:pt x="89" y="191"/>
                  </a:cubicBezTo>
                  <a:cubicBezTo>
                    <a:pt x="92" y="195"/>
                    <a:pt x="92" y="195"/>
                    <a:pt x="92" y="195"/>
                  </a:cubicBezTo>
                  <a:cubicBezTo>
                    <a:pt x="92" y="195"/>
                    <a:pt x="95" y="199"/>
                    <a:pt x="94" y="199"/>
                  </a:cubicBezTo>
                  <a:cubicBezTo>
                    <a:pt x="93" y="199"/>
                    <a:pt x="94" y="199"/>
                    <a:pt x="92" y="199"/>
                  </a:cubicBezTo>
                  <a:cubicBezTo>
                    <a:pt x="90" y="200"/>
                    <a:pt x="91" y="201"/>
                    <a:pt x="89" y="200"/>
                  </a:cubicBezTo>
                  <a:cubicBezTo>
                    <a:pt x="87" y="198"/>
                    <a:pt x="86" y="195"/>
                    <a:pt x="83" y="195"/>
                  </a:cubicBezTo>
                  <a:cubicBezTo>
                    <a:pt x="81" y="196"/>
                    <a:pt x="81" y="196"/>
                    <a:pt x="81" y="196"/>
                  </a:cubicBezTo>
                  <a:cubicBezTo>
                    <a:pt x="85" y="200"/>
                    <a:pt x="85" y="200"/>
                    <a:pt x="85" y="200"/>
                  </a:cubicBezTo>
                  <a:cubicBezTo>
                    <a:pt x="87" y="201"/>
                    <a:pt x="87" y="201"/>
                    <a:pt x="87" y="201"/>
                  </a:cubicBezTo>
                  <a:cubicBezTo>
                    <a:pt x="91" y="203"/>
                    <a:pt x="91" y="203"/>
                    <a:pt x="91" y="203"/>
                  </a:cubicBezTo>
                  <a:cubicBezTo>
                    <a:pt x="92" y="203"/>
                    <a:pt x="92" y="203"/>
                    <a:pt x="92" y="203"/>
                  </a:cubicBezTo>
                  <a:cubicBezTo>
                    <a:pt x="92" y="203"/>
                    <a:pt x="92" y="206"/>
                    <a:pt x="92" y="206"/>
                  </a:cubicBezTo>
                  <a:cubicBezTo>
                    <a:pt x="92" y="207"/>
                    <a:pt x="91" y="209"/>
                    <a:pt x="91" y="210"/>
                  </a:cubicBezTo>
                  <a:cubicBezTo>
                    <a:pt x="91" y="212"/>
                    <a:pt x="91" y="213"/>
                    <a:pt x="91" y="213"/>
                  </a:cubicBezTo>
                  <a:cubicBezTo>
                    <a:pt x="89" y="208"/>
                    <a:pt x="89" y="208"/>
                    <a:pt x="89" y="208"/>
                  </a:cubicBezTo>
                  <a:cubicBezTo>
                    <a:pt x="89" y="208"/>
                    <a:pt x="89" y="206"/>
                    <a:pt x="87" y="206"/>
                  </a:cubicBezTo>
                  <a:cubicBezTo>
                    <a:pt x="86" y="205"/>
                    <a:pt x="84" y="206"/>
                    <a:pt x="84" y="206"/>
                  </a:cubicBezTo>
                  <a:cubicBezTo>
                    <a:pt x="84" y="206"/>
                    <a:pt x="84" y="208"/>
                    <a:pt x="85" y="209"/>
                  </a:cubicBezTo>
                  <a:cubicBezTo>
                    <a:pt x="86" y="209"/>
                    <a:pt x="87" y="210"/>
                    <a:pt x="87" y="211"/>
                  </a:cubicBezTo>
                  <a:cubicBezTo>
                    <a:pt x="87" y="212"/>
                    <a:pt x="88" y="212"/>
                    <a:pt x="88" y="212"/>
                  </a:cubicBezTo>
                  <a:cubicBezTo>
                    <a:pt x="88" y="212"/>
                    <a:pt x="89" y="213"/>
                    <a:pt x="89" y="214"/>
                  </a:cubicBezTo>
                  <a:cubicBezTo>
                    <a:pt x="90" y="216"/>
                    <a:pt x="89" y="219"/>
                    <a:pt x="89" y="219"/>
                  </a:cubicBezTo>
                  <a:cubicBezTo>
                    <a:pt x="89" y="219"/>
                    <a:pt x="87" y="219"/>
                    <a:pt x="89" y="220"/>
                  </a:cubicBezTo>
                  <a:cubicBezTo>
                    <a:pt x="91" y="222"/>
                    <a:pt x="92" y="223"/>
                    <a:pt x="93" y="224"/>
                  </a:cubicBezTo>
                  <a:cubicBezTo>
                    <a:pt x="94" y="224"/>
                    <a:pt x="97" y="228"/>
                    <a:pt x="97" y="228"/>
                  </a:cubicBezTo>
                  <a:cubicBezTo>
                    <a:pt x="100" y="232"/>
                    <a:pt x="100" y="232"/>
                    <a:pt x="100" y="232"/>
                  </a:cubicBezTo>
                  <a:cubicBezTo>
                    <a:pt x="100" y="232"/>
                    <a:pt x="100" y="233"/>
                    <a:pt x="99" y="233"/>
                  </a:cubicBezTo>
                  <a:cubicBezTo>
                    <a:pt x="99" y="233"/>
                    <a:pt x="98" y="234"/>
                    <a:pt x="98" y="234"/>
                  </a:cubicBezTo>
                  <a:cubicBezTo>
                    <a:pt x="98" y="234"/>
                    <a:pt x="96" y="233"/>
                    <a:pt x="96" y="232"/>
                  </a:cubicBezTo>
                  <a:cubicBezTo>
                    <a:pt x="95" y="231"/>
                    <a:pt x="93" y="228"/>
                    <a:pt x="93" y="228"/>
                  </a:cubicBezTo>
                  <a:cubicBezTo>
                    <a:pt x="91" y="228"/>
                    <a:pt x="91" y="228"/>
                    <a:pt x="91" y="228"/>
                  </a:cubicBezTo>
                  <a:cubicBezTo>
                    <a:pt x="90" y="228"/>
                    <a:pt x="90" y="228"/>
                    <a:pt x="90" y="228"/>
                  </a:cubicBezTo>
                  <a:cubicBezTo>
                    <a:pt x="90" y="228"/>
                    <a:pt x="89" y="231"/>
                    <a:pt x="89" y="232"/>
                  </a:cubicBezTo>
                  <a:cubicBezTo>
                    <a:pt x="89" y="233"/>
                    <a:pt x="86" y="237"/>
                    <a:pt x="86" y="237"/>
                  </a:cubicBezTo>
                  <a:cubicBezTo>
                    <a:pt x="84" y="247"/>
                    <a:pt x="84" y="247"/>
                    <a:pt x="84" y="247"/>
                  </a:cubicBezTo>
                  <a:cubicBezTo>
                    <a:pt x="84" y="247"/>
                    <a:pt x="84" y="258"/>
                    <a:pt x="84" y="259"/>
                  </a:cubicBezTo>
                  <a:cubicBezTo>
                    <a:pt x="84" y="260"/>
                    <a:pt x="81" y="268"/>
                    <a:pt x="81" y="268"/>
                  </a:cubicBezTo>
                  <a:cubicBezTo>
                    <a:pt x="81" y="268"/>
                    <a:pt x="80" y="268"/>
                    <a:pt x="80" y="271"/>
                  </a:cubicBezTo>
                  <a:cubicBezTo>
                    <a:pt x="80" y="273"/>
                    <a:pt x="79" y="278"/>
                    <a:pt x="79" y="278"/>
                  </a:cubicBezTo>
                  <a:cubicBezTo>
                    <a:pt x="79" y="278"/>
                    <a:pt x="78" y="281"/>
                    <a:pt x="78" y="282"/>
                  </a:cubicBezTo>
                  <a:cubicBezTo>
                    <a:pt x="78" y="284"/>
                    <a:pt x="75" y="290"/>
                    <a:pt x="75" y="290"/>
                  </a:cubicBezTo>
                  <a:cubicBezTo>
                    <a:pt x="74" y="297"/>
                    <a:pt x="74" y="297"/>
                    <a:pt x="74" y="297"/>
                  </a:cubicBezTo>
                  <a:cubicBezTo>
                    <a:pt x="68" y="311"/>
                    <a:pt x="68" y="311"/>
                    <a:pt x="68" y="311"/>
                  </a:cubicBezTo>
                  <a:cubicBezTo>
                    <a:pt x="63" y="315"/>
                    <a:pt x="63" y="315"/>
                    <a:pt x="63" y="315"/>
                  </a:cubicBezTo>
                  <a:cubicBezTo>
                    <a:pt x="60" y="317"/>
                    <a:pt x="60" y="317"/>
                    <a:pt x="60" y="317"/>
                  </a:cubicBezTo>
                  <a:cubicBezTo>
                    <a:pt x="62" y="318"/>
                    <a:pt x="65" y="319"/>
                    <a:pt x="65" y="321"/>
                  </a:cubicBezTo>
                  <a:cubicBezTo>
                    <a:pt x="67" y="325"/>
                    <a:pt x="70" y="332"/>
                    <a:pt x="70" y="332"/>
                  </a:cubicBezTo>
                  <a:cubicBezTo>
                    <a:pt x="80" y="335"/>
                    <a:pt x="80" y="335"/>
                    <a:pt x="80" y="335"/>
                  </a:cubicBezTo>
                  <a:cubicBezTo>
                    <a:pt x="80" y="335"/>
                    <a:pt x="86" y="340"/>
                    <a:pt x="87" y="341"/>
                  </a:cubicBezTo>
                  <a:cubicBezTo>
                    <a:pt x="88" y="342"/>
                    <a:pt x="100" y="347"/>
                    <a:pt x="100" y="347"/>
                  </a:cubicBezTo>
                  <a:cubicBezTo>
                    <a:pt x="108" y="354"/>
                    <a:pt x="108" y="354"/>
                    <a:pt x="108" y="354"/>
                  </a:cubicBezTo>
                  <a:cubicBezTo>
                    <a:pt x="120" y="354"/>
                    <a:pt x="120" y="354"/>
                    <a:pt x="120" y="354"/>
                  </a:cubicBezTo>
                  <a:cubicBezTo>
                    <a:pt x="128" y="356"/>
                    <a:pt x="128" y="356"/>
                    <a:pt x="128" y="356"/>
                  </a:cubicBezTo>
                  <a:cubicBezTo>
                    <a:pt x="132" y="351"/>
                    <a:pt x="132" y="351"/>
                    <a:pt x="132" y="351"/>
                  </a:cubicBezTo>
                  <a:cubicBezTo>
                    <a:pt x="132" y="351"/>
                    <a:pt x="152" y="360"/>
                    <a:pt x="153" y="360"/>
                  </a:cubicBezTo>
                  <a:cubicBezTo>
                    <a:pt x="153" y="360"/>
                    <a:pt x="154" y="363"/>
                    <a:pt x="154" y="365"/>
                  </a:cubicBezTo>
                  <a:cubicBezTo>
                    <a:pt x="154" y="365"/>
                    <a:pt x="154" y="365"/>
                    <a:pt x="154" y="365"/>
                  </a:cubicBezTo>
                  <a:cubicBezTo>
                    <a:pt x="154" y="366"/>
                    <a:pt x="154" y="366"/>
                    <a:pt x="154" y="366"/>
                  </a:cubicBezTo>
                  <a:cubicBezTo>
                    <a:pt x="154" y="366"/>
                    <a:pt x="154" y="366"/>
                    <a:pt x="154" y="366"/>
                  </a:cubicBezTo>
                  <a:cubicBezTo>
                    <a:pt x="154" y="366"/>
                    <a:pt x="154" y="366"/>
                    <a:pt x="154" y="366"/>
                  </a:cubicBezTo>
                  <a:cubicBezTo>
                    <a:pt x="155" y="368"/>
                    <a:pt x="155" y="368"/>
                    <a:pt x="155" y="368"/>
                  </a:cubicBezTo>
                  <a:cubicBezTo>
                    <a:pt x="154" y="368"/>
                    <a:pt x="154" y="368"/>
                    <a:pt x="154" y="368"/>
                  </a:cubicBezTo>
                  <a:cubicBezTo>
                    <a:pt x="154" y="368"/>
                    <a:pt x="154" y="368"/>
                    <a:pt x="154" y="368"/>
                  </a:cubicBezTo>
                  <a:cubicBezTo>
                    <a:pt x="154" y="368"/>
                    <a:pt x="153" y="369"/>
                    <a:pt x="154" y="369"/>
                  </a:cubicBezTo>
                  <a:cubicBezTo>
                    <a:pt x="154" y="369"/>
                    <a:pt x="154" y="369"/>
                    <a:pt x="154" y="369"/>
                  </a:cubicBezTo>
                  <a:cubicBezTo>
                    <a:pt x="154" y="369"/>
                    <a:pt x="154" y="369"/>
                    <a:pt x="154" y="369"/>
                  </a:cubicBezTo>
                  <a:cubicBezTo>
                    <a:pt x="154" y="369"/>
                    <a:pt x="154" y="369"/>
                    <a:pt x="154" y="369"/>
                  </a:cubicBezTo>
                  <a:cubicBezTo>
                    <a:pt x="154" y="370"/>
                    <a:pt x="154" y="370"/>
                    <a:pt x="154" y="370"/>
                  </a:cubicBezTo>
                  <a:cubicBezTo>
                    <a:pt x="154" y="370"/>
                    <a:pt x="154" y="370"/>
                    <a:pt x="154" y="370"/>
                  </a:cubicBezTo>
                  <a:cubicBezTo>
                    <a:pt x="154" y="371"/>
                    <a:pt x="154" y="371"/>
                    <a:pt x="154" y="371"/>
                  </a:cubicBezTo>
                  <a:cubicBezTo>
                    <a:pt x="154" y="371"/>
                    <a:pt x="155" y="371"/>
                    <a:pt x="155" y="371"/>
                  </a:cubicBezTo>
                  <a:cubicBezTo>
                    <a:pt x="155" y="371"/>
                    <a:pt x="156" y="372"/>
                    <a:pt x="156" y="372"/>
                  </a:cubicBezTo>
                  <a:cubicBezTo>
                    <a:pt x="156" y="372"/>
                    <a:pt x="157" y="372"/>
                    <a:pt x="157" y="372"/>
                  </a:cubicBezTo>
                  <a:cubicBezTo>
                    <a:pt x="157" y="372"/>
                    <a:pt x="157" y="372"/>
                    <a:pt x="157" y="372"/>
                  </a:cubicBezTo>
                  <a:cubicBezTo>
                    <a:pt x="157" y="372"/>
                    <a:pt x="157" y="372"/>
                    <a:pt x="157" y="372"/>
                  </a:cubicBezTo>
                  <a:cubicBezTo>
                    <a:pt x="158" y="372"/>
                    <a:pt x="158" y="372"/>
                    <a:pt x="158" y="372"/>
                  </a:cubicBezTo>
                  <a:cubicBezTo>
                    <a:pt x="158" y="372"/>
                    <a:pt x="158" y="371"/>
                    <a:pt x="158" y="371"/>
                  </a:cubicBezTo>
                  <a:cubicBezTo>
                    <a:pt x="158" y="371"/>
                    <a:pt x="158" y="371"/>
                    <a:pt x="158" y="371"/>
                  </a:cubicBezTo>
                  <a:cubicBezTo>
                    <a:pt x="169" y="373"/>
                    <a:pt x="169" y="373"/>
                    <a:pt x="169" y="373"/>
                  </a:cubicBezTo>
                  <a:cubicBezTo>
                    <a:pt x="171" y="374"/>
                    <a:pt x="171" y="376"/>
                    <a:pt x="174" y="377"/>
                  </a:cubicBezTo>
                  <a:cubicBezTo>
                    <a:pt x="180" y="375"/>
                    <a:pt x="180" y="375"/>
                    <a:pt x="180" y="375"/>
                  </a:cubicBezTo>
                  <a:cubicBezTo>
                    <a:pt x="188" y="381"/>
                    <a:pt x="188" y="381"/>
                    <a:pt x="188" y="381"/>
                  </a:cubicBezTo>
                  <a:cubicBezTo>
                    <a:pt x="195" y="378"/>
                    <a:pt x="195" y="378"/>
                    <a:pt x="195" y="378"/>
                  </a:cubicBezTo>
                  <a:cubicBezTo>
                    <a:pt x="203" y="378"/>
                    <a:pt x="203" y="378"/>
                    <a:pt x="203" y="378"/>
                  </a:cubicBezTo>
                  <a:cubicBezTo>
                    <a:pt x="203" y="377"/>
                    <a:pt x="206" y="377"/>
                    <a:pt x="208" y="378"/>
                  </a:cubicBezTo>
                  <a:cubicBezTo>
                    <a:pt x="208" y="378"/>
                    <a:pt x="208" y="378"/>
                    <a:pt x="208" y="378"/>
                  </a:cubicBezTo>
                  <a:cubicBezTo>
                    <a:pt x="209" y="375"/>
                    <a:pt x="209" y="375"/>
                    <a:pt x="209" y="375"/>
                  </a:cubicBezTo>
                  <a:cubicBezTo>
                    <a:pt x="209" y="375"/>
                    <a:pt x="209" y="371"/>
                    <a:pt x="208" y="370"/>
                  </a:cubicBezTo>
                  <a:cubicBezTo>
                    <a:pt x="208" y="369"/>
                    <a:pt x="206" y="368"/>
                    <a:pt x="206" y="368"/>
                  </a:cubicBezTo>
                  <a:cubicBezTo>
                    <a:pt x="206" y="368"/>
                    <a:pt x="207" y="365"/>
                    <a:pt x="207" y="364"/>
                  </a:cubicBezTo>
                  <a:cubicBezTo>
                    <a:pt x="207" y="362"/>
                    <a:pt x="207" y="359"/>
                    <a:pt x="207" y="359"/>
                  </a:cubicBezTo>
                  <a:cubicBezTo>
                    <a:pt x="207" y="358"/>
                    <a:pt x="207" y="355"/>
                    <a:pt x="208" y="354"/>
                  </a:cubicBezTo>
                  <a:cubicBezTo>
                    <a:pt x="208" y="354"/>
                    <a:pt x="207" y="354"/>
                    <a:pt x="208" y="352"/>
                  </a:cubicBezTo>
                  <a:cubicBezTo>
                    <a:pt x="210" y="350"/>
                    <a:pt x="210" y="349"/>
                    <a:pt x="210" y="349"/>
                  </a:cubicBezTo>
                  <a:cubicBezTo>
                    <a:pt x="213" y="344"/>
                    <a:pt x="213" y="344"/>
                    <a:pt x="213" y="344"/>
                  </a:cubicBezTo>
                  <a:cubicBezTo>
                    <a:pt x="213" y="344"/>
                    <a:pt x="215" y="341"/>
                    <a:pt x="216" y="341"/>
                  </a:cubicBezTo>
                  <a:cubicBezTo>
                    <a:pt x="217" y="341"/>
                    <a:pt x="220" y="340"/>
                    <a:pt x="221" y="340"/>
                  </a:cubicBezTo>
                  <a:cubicBezTo>
                    <a:pt x="222" y="340"/>
                    <a:pt x="225" y="343"/>
                    <a:pt x="227" y="340"/>
                  </a:cubicBezTo>
                  <a:cubicBezTo>
                    <a:pt x="228" y="338"/>
                    <a:pt x="229" y="336"/>
                    <a:pt x="229" y="335"/>
                  </a:cubicBezTo>
                  <a:cubicBezTo>
                    <a:pt x="230" y="334"/>
                    <a:pt x="231" y="332"/>
                    <a:pt x="233" y="332"/>
                  </a:cubicBezTo>
                  <a:cubicBezTo>
                    <a:pt x="235" y="332"/>
                    <a:pt x="241" y="331"/>
                    <a:pt x="241" y="331"/>
                  </a:cubicBezTo>
                  <a:cubicBezTo>
                    <a:pt x="244" y="332"/>
                    <a:pt x="244" y="332"/>
                    <a:pt x="244" y="332"/>
                  </a:cubicBezTo>
                  <a:cubicBezTo>
                    <a:pt x="250" y="335"/>
                    <a:pt x="250" y="335"/>
                    <a:pt x="250" y="335"/>
                  </a:cubicBezTo>
                  <a:cubicBezTo>
                    <a:pt x="250" y="335"/>
                    <a:pt x="253" y="335"/>
                    <a:pt x="254" y="335"/>
                  </a:cubicBezTo>
                  <a:cubicBezTo>
                    <a:pt x="255" y="335"/>
                    <a:pt x="256" y="335"/>
                    <a:pt x="256" y="335"/>
                  </a:cubicBezTo>
                  <a:cubicBezTo>
                    <a:pt x="258" y="338"/>
                    <a:pt x="258" y="338"/>
                    <a:pt x="258" y="338"/>
                  </a:cubicBezTo>
                  <a:cubicBezTo>
                    <a:pt x="258" y="338"/>
                    <a:pt x="261" y="339"/>
                    <a:pt x="262" y="339"/>
                  </a:cubicBezTo>
                  <a:cubicBezTo>
                    <a:pt x="263" y="339"/>
                    <a:pt x="269" y="338"/>
                    <a:pt x="269" y="338"/>
                  </a:cubicBezTo>
                  <a:cubicBezTo>
                    <a:pt x="269" y="338"/>
                    <a:pt x="272" y="337"/>
                    <a:pt x="272" y="338"/>
                  </a:cubicBezTo>
                  <a:cubicBezTo>
                    <a:pt x="273" y="338"/>
                    <a:pt x="276" y="340"/>
                    <a:pt x="276" y="340"/>
                  </a:cubicBezTo>
                  <a:cubicBezTo>
                    <a:pt x="276" y="341"/>
                    <a:pt x="283" y="344"/>
                    <a:pt x="284" y="345"/>
                  </a:cubicBezTo>
                  <a:cubicBezTo>
                    <a:pt x="285" y="346"/>
                    <a:pt x="288" y="345"/>
                    <a:pt x="288" y="345"/>
                  </a:cubicBezTo>
                  <a:cubicBezTo>
                    <a:pt x="290" y="349"/>
                    <a:pt x="290" y="349"/>
                    <a:pt x="290" y="349"/>
                  </a:cubicBezTo>
                  <a:cubicBezTo>
                    <a:pt x="298" y="351"/>
                    <a:pt x="298" y="351"/>
                    <a:pt x="298" y="351"/>
                  </a:cubicBezTo>
                  <a:cubicBezTo>
                    <a:pt x="302" y="351"/>
                    <a:pt x="302" y="351"/>
                    <a:pt x="302" y="351"/>
                  </a:cubicBezTo>
                  <a:cubicBezTo>
                    <a:pt x="313" y="356"/>
                    <a:pt x="313" y="356"/>
                    <a:pt x="313" y="356"/>
                  </a:cubicBezTo>
                  <a:cubicBezTo>
                    <a:pt x="320" y="350"/>
                    <a:pt x="320" y="350"/>
                    <a:pt x="320" y="350"/>
                  </a:cubicBezTo>
                  <a:cubicBezTo>
                    <a:pt x="320" y="350"/>
                    <a:pt x="322" y="350"/>
                    <a:pt x="323" y="350"/>
                  </a:cubicBezTo>
                  <a:cubicBezTo>
                    <a:pt x="323" y="351"/>
                    <a:pt x="325" y="344"/>
                    <a:pt x="325" y="344"/>
                  </a:cubicBezTo>
                  <a:cubicBezTo>
                    <a:pt x="325" y="344"/>
                    <a:pt x="324" y="343"/>
                    <a:pt x="326" y="343"/>
                  </a:cubicBezTo>
                  <a:cubicBezTo>
                    <a:pt x="327" y="343"/>
                    <a:pt x="333" y="341"/>
                    <a:pt x="333" y="340"/>
                  </a:cubicBezTo>
                  <a:cubicBezTo>
                    <a:pt x="333" y="339"/>
                    <a:pt x="332" y="336"/>
                    <a:pt x="334" y="335"/>
                  </a:cubicBezTo>
                  <a:cubicBezTo>
                    <a:pt x="336" y="335"/>
                    <a:pt x="339" y="332"/>
                    <a:pt x="339" y="332"/>
                  </a:cubicBezTo>
                  <a:cubicBezTo>
                    <a:pt x="340" y="331"/>
                    <a:pt x="339" y="330"/>
                    <a:pt x="341" y="329"/>
                  </a:cubicBezTo>
                  <a:cubicBezTo>
                    <a:pt x="342" y="329"/>
                    <a:pt x="345" y="328"/>
                    <a:pt x="346" y="328"/>
                  </a:cubicBezTo>
                  <a:cubicBezTo>
                    <a:pt x="346" y="328"/>
                    <a:pt x="346" y="328"/>
                    <a:pt x="346" y="328"/>
                  </a:cubicBezTo>
                  <a:cubicBezTo>
                    <a:pt x="347" y="328"/>
                    <a:pt x="347" y="328"/>
                    <a:pt x="347" y="328"/>
                  </a:cubicBezTo>
                  <a:cubicBezTo>
                    <a:pt x="347" y="328"/>
                    <a:pt x="347" y="328"/>
                    <a:pt x="347" y="328"/>
                  </a:cubicBezTo>
                  <a:cubicBezTo>
                    <a:pt x="347" y="328"/>
                    <a:pt x="347" y="328"/>
                    <a:pt x="347" y="328"/>
                  </a:cubicBezTo>
                  <a:cubicBezTo>
                    <a:pt x="347" y="328"/>
                    <a:pt x="347" y="328"/>
                    <a:pt x="347" y="328"/>
                  </a:cubicBezTo>
                  <a:cubicBezTo>
                    <a:pt x="347" y="328"/>
                    <a:pt x="347" y="328"/>
                    <a:pt x="347" y="327"/>
                  </a:cubicBezTo>
                  <a:cubicBezTo>
                    <a:pt x="347" y="327"/>
                    <a:pt x="347" y="327"/>
                    <a:pt x="347" y="327"/>
                  </a:cubicBezTo>
                  <a:cubicBezTo>
                    <a:pt x="347" y="327"/>
                    <a:pt x="347" y="327"/>
                    <a:pt x="347" y="327"/>
                  </a:cubicBezTo>
                  <a:cubicBezTo>
                    <a:pt x="347" y="327"/>
                    <a:pt x="347" y="327"/>
                    <a:pt x="347" y="327"/>
                  </a:cubicBezTo>
                  <a:cubicBezTo>
                    <a:pt x="348" y="327"/>
                    <a:pt x="348" y="327"/>
                    <a:pt x="348" y="327"/>
                  </a:cubicBezTo>
                  <a:cubicBezTo>
                    <a:pt x="348" y="327"/>
                    <a:pt x="348" y="327"/>
                    <a:pt x="348" y="327"/>
                  </a:cubicBezTo>
                  <a:cubicBezTo>
                    <a:pt x="348" y="327"/>
                    <a:pt x="348" y="327"/>
                    <a:pt x="348" y="327"/>
                  </a:cubicBezTo>
                  <a:cubicBezTo>
                    <a:pt x="348" y="327"/>
                    <a:pt x="348" y="327"/>
                    <a:pt x="348" y="327"/>
                  </a:cubicBezTo>
                  <a:cubicBezTo>
                    <a:pt x="348" y="327"/>
                    <a:pt x="349" y="327"/>
                    <a:pt x="349" y="327"/>
                  </a:cubicBezTo>
                  <a:cubicBezTo>
                    <a:pt x="349" y="327"/>
                    <a:pt x="349" y="327"/>
                    <a:pt x="349" y="327"/>
                  </a:cubicBezTo>
                  <a:cubicBezTo>
                    <a:pt x="349" y="327"/>
                    <a:pt x="349" y="327"/>
                    <a:pt x="349" y="327"/>
                  </a:cubicBezTo>
                  <a:cubicBezTo>
                    <a:pt x="349" y="327"/>
                    <a:pt x="349" y="327"/>
                    <a:pt x="349" y="327"/>
                  </a:cubicBezTo>
                  <a:cubicBezTo>
                    <a:pt x="349" y="327"/>
                    <a:pt x="349" y="327"/>
                    <a:pt x="349" y="327"/>
                  </a:cubicBezTo>
                  <a:cubicBezTo>
                    <a:pt x="349" y="327"/>
                    <a:pt x="349" y="327"/>
                    <a:pt x="349" y="327"/>
                  </a:cubicBezTo>
                  <a:cubicBezTo>
                    <a:pt x="349" y="327"/>
                    <a:pt x="349" y="327"/>
                    <a:pt x="349" y="327"/>
                  </a:cubicBezTo>
                  <a:cubicBezTo>
                    <a:pt x="349" y="326"/>
                    <a:pt x="349" y="326"/>
                    <a:pt x="349" y="326"/>
                  </a:cubicBezTo>
                  <a:cubicBezTo>
                    <a:pt x="349" y="326"/>
                    <a:pt x="349" y="326"/>
                    <a:pt x="349" y="326"/>
                  </a:cubicBezTo>
                  <a:cubicBezTo>
                    <a:pt x="349" y="326"/>
                    <a:pt x="349" y="326"/>
                    <a:pt x="349" y="326"/>
                  </a:cubicBezTo>
                  <a:cubicBezTo>
                    <a:pt x="349" y="326"/>
                    <a:pt x="349" y="326"/>
                    <a:pt x="349" y="326"/>
                  </a:cubicBezTo>
                  <a:cubicBezTo>
                    <a:pt x="350" y="326"/>
                    <a:pt x="350" y="326"/>
                    <a:pt x="350" y="326"/>
                  </a:cubicBezTo>
                  <a:cubicBezTo>
                    <a:pt x="350" y="326"/>
                    <a:pt x="350" y="326"/>
                    <a:pt x="350" y="326"/>
                  </a:cubicBezTo>
                  <a:cubicBezTo>
                    <a:pt x="350" y="326"/>
                    <a:pt x="350" y="326"/>
                    <a:pt x="350" y="326"/>
                  </a:cubicBezTo>
                  <a:cubicBezTo>
                    <a:pt x="350" y="326"/>
                    <a:pt x="350" y="326"/>
                    <a:pt x="350" y="326"/>
                  </a:cubicBezTo>
                  <a:cubicBezTo>
                    <a:pt x="350" y="326"/>
                    <a:pt x="350" y="326"/>
                    <a:pt x="350" y="326"/>
                  </a:cubicBezTo>
                  <a:cubicBezTo>
                    <a:pt x="350" y="326"/>
                    <a:pt x="350" y="326"/>
                    <a:pt x="350" y="326"/>
                  </a:cubicBezTo>
                  <a:cubicBezTo>
                    <a:pt x="350" y="326"/>
                    <a:pt x="350" y="326"/>
                    <a:pt x="350" y="326"/>
                  </a:cubicBezTo>
                  <a:cubicBezTo>
                    <a:pt x="350" y="326"/>
                    <a:pt x="350" y="326"/>
                    <a:pt x="350" y="326"/>
                  </a:cubicBezTo>
                  <a:cubicBezTo>
                    <a:pt x="350" y="326"/>
                    <a:pt x="350" y="326"/>
                    <a:pt x="350" y="326"/>
                  </a:cubicBezTo>
                  <a:cubicBezTo>
                    <a:pt x="351" y="326"/>
                    <a:pt x="351" y="326"/>
                    <a:pt x="351" y="326"/>
                  </a:cubicBezTo>
                  <a:cubicBezTo>
                    <a:pt x="351" y="326"/>
                    <a:pt x="351" y="326"/>
                    <a:pt x="351" y="326"/>
                  </a:cubicBezTo>
                  <a:cubicBezTo>
                    <a:pt x="351" y="326"/>
                    <a:pt x="351" y="326"/>
                    <a:pt x="351" y="326"/>
                  </a:cubicBezTo>
                  <a:cubicBezTo>
                    <a:pt x="351" y="326"/>
                    <a:pt x="351" y="326"/>
                    <a:pt x="351" y="326"/>
                  </a:cubicBezTo>
                  <a:cubicBezTo>
                    <a:pt x="351" y="326"/>
                    <a:pt x="351" y="326"/>
                    <a:pt x="351" y="326"/>
                  </a:cubicBezTo>
                  <a:cubicBezTo>
                    <a:pt x="352" y="325"/>
                    <a:pt x="352" y="325"/>
                    <a:pt x="352" y="325"/>
                  </a:cubicBezTo>
                  <a:cubicBezTo>
                    <a:pt x="357" y="321"/>
                    <a:pt x="357" y="321"/>
                    <a:pt x="357" y="321"/>
                  </a:cubicBezTo>
                  <a:cubicBezTo>
                    <a:pt x="359" y="312"/>
                    <a:pt x="359" y="312"/>
                    <a:pt x="359" y="312"/>
                  </a:cubicBezTo>
                  <a:cubicBezTo>
                    <a:pt x="356" y="309"/>
                    <a:pt x="356" y="309"/>
                    <a:pt x="356" y="309"/>
                  </a:cubicBezTo>
                  <a:cubicBezTo>
                    <a:pt x="349" y="310"/>
                    <a:pt x="349" y="310"/>
                    <a:pt x="349" y="310"/>
                  </a:cubicBezTo>
                  <a:cubicBezTo>
                    <a:pt x="341" y="306"/>
                    <a:pt x="341" y="306"/>
                    <a:pt x="341" y="306"/>
                  </a:cubicBezTo>
                  <a:cubicBezTo>
                    <a:pt x="337" y="300"/>
                    <a:pt x="337" y="300"/>
                    <a:pt x="337" y="300"/>
                  </a:cubicBezTo>
                  <a:cubicBezTo>
                    <a:pt x="334" y="300"/>
                    <a:pt x="334" y="300"/>
                    <a:pt x="334" y="300"/>
                  </a:cubicBezTo>
                  <a:cubicBezTo>
                    <a:pt x="334" y="294"/>
                    <a:pt x="332" y="297"/>
                    <a:pt x="335" y="293"/>
                  </a:cubicBezTo>
                  <a:cubicBezTo>
                    <a:pt x="338" y="288"/>
                    <a:pt x="338" y="288"/>
                    <a:pt x="338" y="288"/>
                  </a:cubicBezTo>
                  <a:cubicBezTo>
                    <a:pt x="338" y="280"/>
                    <a:pt x="338" y="280"/>
                    <a:pt x="338" y="280"/>
                  </a:cubicBezTo>
                  <a:cubicBezTo>
                    <a:pt x="335" y="277"/>
                    <a:pt x="335" y="277"/>
                    <a:pt x="335" y="277"/>
                  </a:cubicBezTo>
                  <a:cubicBezTo>
                    <a:pt x="331" y="276"/>
                    <a:pt x="331" y="276"/>
                    <a:pt x="331" y="276"/>
                  </a:cubicBezTo>
                  <a:cubicBezTo>
                    <a:pt x="331" y="276"/>
                    <a:pt x="328" y="272"/>
                    <a:pt x="328" y="271"/>
                  </a:cubicBezTo>
                  <a:cubicBezTo>
                    <a:pt x="328" y="271"/>
                    <a:pt x="328" y="270"/>
                    <a:pt x="328" y="269"/>
                  </a:cubicBezTo>
                  <a:cubicBezTo>
                    <a:pt x="327" y="269"/>
                    <a:pt x="330" y="269"/>
                    <a:pt x="331" y="269"/>
                  </a:cubicBezTo>
                  <a:cubicBezTo>
                    <a:pt x="331" y="269"/>
                    <a:pt x="334" y="268"/>
                    <a:pt x="334" y="268"/>
                  </a:cubicBezTo>
                  <a:cubicBezTo>
                    <a:pt x="335" y="268"/>
                    <a:pt x="338" y="265"/>
                    <a:pt x="338" y="265"/>
                  </a:cubicBezTo>
                  <a:cubicBezTo>
                    <a:pt x="338" y="265"/>
                    <a:pt x="340" y="262"/>
                    <a:pt x="342" y="261"/>
                  </a:cubicBezTo>
                  <a:cubicBezTo>
                    <a:pt x="343" y="260"/>
                    <a:pt x="344" y="253"/>
                    <a:pt x="344" y="253"/>
                  </a:cubicBezTo>
                  <a:cubicBezTo>
                    <a:pt x="344" y="252"/>
                    <a:pt x="342" y="249"/>
                    <a:pt x="342" y="249"/>
                  </a:cubicBezTo>
                  <a:cubicBezTo>
                    <a:pt x="335" y="245"/>
                    <a:pt x="336" y="244"/>
                    <a:pt x="332" y="242"/>
                  </a:cubicBezTo>
                  <a:cubicBezTo>
                    <a:pt x="332" y="238"/>
                    <a:pt x="332" y="238"/>
                    <a:pt x="332" y="238"/>
                  </a:cubicBezTo>
                  <a:cubicBezTo>
                    <a:pt x="337" y="235"/>
                    <a:pt x="337" y="235"/>
                    <a:pt x="337" y="235"/>
                  </a:cubicBezTo>
                  <a:cubicBezTo>
                    <a:pt x="338" y="234"/>
                    <a:pt x="339" y="234"/>
                    <a:pt x="340" y="233"/>
                  </a:cubicBezTo>
                  <a:cubicBezTo>
                    <a:pt x="340" y="232"/>
                    <a:pt x="340" y="232"/>
                    <a:pt x="340" y="232"/>
                  </a:cubicBezTo>
                  <a:cubicBezTo>
                    <a:pt x="340" y="232"/>
                    <a:pt x="339" y="230"/>
                    <a:pt x="339" y="230"/>
                  </a:cubicBezTo>
                  <a:cubicBezTo>
                    <a:pt x="339" y="230"/>
                    <a:pt x="338" y="229"/>
                    <a:pt x="338" y="229"/>
                  </a:cubicBezTo>
                  <a:cubicBezTo>
                    <a:pt x="337" y="229"/>
                    <a:pt x="337" y="228"/>
                    <a:pt x="337" y="228"/>
                  </a:cubicBezTo>
                  <a:cubicBezTo>
                    <a:pt x="337" y="228"/>
                    <a:pt x="336" y="228"/>
                    <a:pt x="335" y="228"/>
                  </a:cubicBezTo>
                  <a:cubicBezTo>
                    <a:pt x="335" y="228"/>
                    <a:pt x="336" y="226"/>
                    <a:pt x="336" y="226"/>
                  </a:cubicBezTo>
                  <a:cubicBezTo>
                    <a:pt x="336" y="226"/>
                    <a:pt x="336" y="224"/>
                    <a:pt x="336" y="224"/>
                  </a:cubicBezTo>
                  <a:cubicBezTo>
                    <a:pt x="336" y="224"/>
                    <a:pt x="334" y="224"/>
                    <a:pt x="333" y="223"/>
                  </a:cubicBezTo>
                  <a:cubicBezTo>
                    <a:pt x="333" y="223"/>
                    <a:pt x="333" y="223"/>
                    <a:pt x="333" y="223"/>
                  </a:cubicBezTo>
                  <a:cubicBezTo>
                    <a:pt x="333" y="223"/>
                    <a:pt x="333" y="221"/>
                    <a:pt x="334" y="220"/>
                  </a:cubicBezTo>
                  <a:cubicBezTo>
                    <a:pt x="335" y="220"/>
                    <a:pt x="334" y="219"/>
                    <a:pt x="334" y="219"/>
                  </a:cubicBezTo>
                  <a:cubicBezTo>
                    <a:pt x="334" y="219"/>
                    <a:pt x="334" y="218"/>
                    <a:pt x="335" y="217"/>
                  </a:cubicBezTo>
                  <a:cubicBezTo>
                    <a:pt x="335" y="216"/>
                    <a:pt x="335" y="216"/>
                    <a:pt x="335" y="216"/>
                  </a:cubicBezTo>
                  <a:cubicBezTo>
                    <a:pt x="335" y="216"/>
                    <a:pt x="333" y="215"/>
                    <a:pt x="333" y="215"/>
                  </a:cubicBezTo>
                  <a:cubicBezTo>
                    <a:pt x="332" y="215"/>
                    <a:pt x="332" y="215"/>
                    <a:pt x="333" y="214"/>
                  </a:cubicBezTo>
                  <a:cubicBezTo>
                    <a:pt x="334" y="213"/>
                    <a:pt x="334" y="213"/>
                    <a:pt x="334" y="213"/>
                  </a:cubicBezTo>
                  <a:cubicBezTo>
                    <a:pt x="334" y="211"/>
                    <a:pt x="334" y="211"/>
                    <a:pt x="334" y="211"/>
                  </a:cubicBezTo>
                  <a:cubicBezTo>
                    <a:pt x="332" y="211"/>
                    <a:pt x="332" y="211"/>
                    <a:pt x="332" y="211"/>
                  </a:cubicBezTo>
                  <a:cubicBezTo>
                    <a:pt x="330" y="210"/>
                    <a:pt x="330" y="210"/>
                    <a:pt x="330" y="210"/>
                  </a:cubicBezTo>
                  <a:cubicBezTo>
                    <a:pt x="330" y="210"/>
                    <a:pt x="327" y="210"/>
                    <a:pt x="327" y="210"/>
                  </a:cubicBezTo>
                  <a:cubicBezTo>
                    <a:pt x="327" y="210"/>
                    <a:pt x="325" y="210"/>
                    <a:pt x="325" y="210"/>
                  </a:cubicBezTo>
                  <a:cubicBezTo>
                    <a:pt x="323" y="210"/>
                    <a:pt x="323" y="210"/>
                    <a:pt x="323" y="210"/>
                  </a:cubicBezTo>
                  <a:cubicBezTo>
                    <a:pt x="322" y="211"/>
                    <a:pt x="322" y="211"/>
                    <a:pt x="322" y="211"/>
                  </a:cubicBezTo>
                  <a:cubicBezTo>
                    <a:pt x="320" y="212"/>
                    <a:pt x="320" y="212"/>
                    <a:pt x="320" y="212"/>
                  </a:cubicBezTo>
                  <a:cubicBezTo>
                    <a:pt x="318" y="212"/>
                    <a:pt x="318" y="212"/>
                    <a:pt x="318" y="212"/>
                  </a:cubicBezTo>
                  <a:cubicBezTo>
                    <a:pt x="318" y="212"/>
                    <a:pt x="317" y="214"/>
                    <a:pt x="316" y="214"/>
                  </a:cubicBezTo>
                  <a:cubicBezTo>
                    <a:pt x="316" y="215"/>
                    <a:pt x="316" y="216"/>
                    <a:pt x="316" y="216"/>
                  </a:cubicBezTo>
                  <a:cubicBezTo>
                    <a:pt x="317" y="217"/>
                    <a:pt x="317" y="217"/>
                    <a:pt x="317" y="217"/>
                  </a:cubicBezTo>
                  <a:cubicBezTo>
                    <a:pt x="317" y="218"/>
                    <a:pt x="317" y="218"/>
                    <a:pt x="317" y="218"/>
                  </a:cubicBezTo>
                  <a:cubicBezTo>
                    <a:pt x="318" y="218"/>
                    <a:pt x="318" y="218"/>
                    <a:pt x="318" y="218"/>
                  </a:cubicBezTo>
                  <a:cubicBezTo>
                    <a:pt x="318" y="219"/>
                    <a:pt x="318" y="219"/>
                    <a:pt x="318" y="219"/>
                  </a:cubicBezTo>
                  <a:cubicBezTo>
                    <a:pt x="318" y="219"/>
                    <a:pt x="316" y="220"/>
                    <a:pt x="316" y="221"/>
                  </a:cubicBezTo>
                  <a:cubicBezTo>
                    <a:pt x="315" y="221"/>
                    <a:pt x="315" y="222"/>
                    <a:pt x="315" y="222"/>
                  </a:cubicBezTo>
                  <a:cubicBezTo>
                    <a:pt x="313" y="223"/>
                    <a:pt x="313" y="223"/>
                    <a:pt x="313" y="223"/>
                  </a:cubicBezTo>
                  <a:cubicBezTo>
                    <a:pt x="311" y="222"/>
                    <a:pt x="311" y="222"/>
                    <a:pt x="311" y="222"/>
                  </a:cubicBezTo>
                  <a:cubicBezTo>
                    <a:pt x="310" y="223"/>
                    <a:pt x="310" y="223"/>
                    <a:pt x="310" y="223"/>
                  </a:cubicBezTo>
                  <a:cubicBezTo>
                    <a:pt x="309" y="223"/>
                    <a:pt x="309" y="223"/>
                    <a:pt x="309" y="223"/>
                  </a:cubicBezTo>
                  <a:cubicBezTo>
                    <a:pt x="309" y="221"/>
                    <a:pt x="309" y="221"/>
                    <a:pt x="309" y="221"/>
                  </a:cubicBezTo>
                  <a:cubicBezTo>
                    <a:pt x="308" y="221"/>
                    <a:pt x="308" y="221"/>
                    <a:pt x="308" y="221"/>
                  </a:cubicBezTo>
                  <a:cubicBezTo>
                    <a:pt x="308" y="220"/>
                    <a:pt x="308" y="220"/>
                    <a:pt x="308" y="220"/>
                  </a:cubicBezTo>
                  <a:cubicBezTo>
                    <a:pt x="308" y="220"/>
                    <a:pt x="309" y="219"/>
                    <a:pt x="310" y="219"/>
                  </a:cubicBezTo>
                  <a:cubicBezTo>
                    <a:pt x="310" y="219"/>
                    <a:pt x="311" y="218"/>
                    <a:pt x="311" y="218"/>
                  </a:cubicBezTo>
                  <a:cubicBezTo>
                    <a:pt x="313" y="218"/>
                    <a:pt x="313" y="218"/>
                    <a:pt x="313" y="218"/>
                  </a:cubicBezTo>
                  <a:cubicBezTo>
                    <a:pt x="313" y="217"/>
                    <a:pt x="313" y="217"/>
                    <a:pt x="313" y="217"/>
                  </a:cubicBezTo>
                  <a:cubicBezTo>
                    <a:pt x="313" y="215"/>
                    <a:pt x="313" y="215"/>
                    <a:pt x="313" y="215"/>
                  </a:cubicBezTo>
                  <a:cubicBezTo>
                    <a:pt x="314" y="213"/>
                    <a:pt x="314" y="213"/>
                    <a:pt x="314" y="213"/>
                  </a:cubicBezTo>
                  <a:cubicBezTo>
                    <a:pt x="313" y="212"/>
                    <a:pt x="313" y="212"/>
                    <a:pt x="313" y="212"/>
                  </a:cubicBezTo>
                  <a:cubicBezTo>
                    <a:pt x="312" y="211"/>
                    <a:pt x="312" y="211"/>
                    <a:pt x="312" y="211"/>
                  </a:cubicBezTo>
                  <a:cubicBezTo>
                    <a:pt x="312" y="210"/>
                    <a:pt x="312" y="210"/>
                    <a:pt x="312" y="210"/>
                  </a:cubicBezTo>
                  <a:cubicBezTo>
                    <a:pt x="312" y="208"/>
                    <a:pt x="312" y="208"/>
                    <a:pt x="312" y="208"/>
                  </a:cubicBezTo>
                  <a:cubicBezTo>
                    <a:pt x="312" y="207"/>
                    <a:pt x="312" y="207"/>
                    <a:pt x="312" y="207"/>
                  </a:cubicBezTo>
                  <a:cubicBezTo>
                    <a:pt x="312" y="207"/>
                    <a:pt x="313" y="207"/>
                    <a:pt x="313" y="206"/>
                  </a:cubicBezTo>
                  <a:cubicBezTo>
                    <a:pt x="314" y="206"/>
                    <a:pt x="314" y="205"/>
                    <a:pt x="314" y="204"/>
                  </a:cubicBezTo>
                  <a:cubicBezTo>
                    <a:pt x="314" y="204"/>
                    <a:pt x="313" y="204"/>
                    <a:pt x="313" y="204"/>
                  </a:cubicBezTo>
                  <a:cubicBezTo>
                    <a:pt x="316" y="201"/>
                    <a:pt x="316" y="201"/>
                    <a:pt x="316" y="201"/>
                  </a:cubicBezTo>
                  <a:cubicBezTo>
                    <a:pt x="319" y="199"/>
                    <a:pt x="319" y="199"/>
                    <a:pt x="319" y="199"/>
                  </a:cubicBezTo>
                  <a:cubicBezTo>
                    <a:pt x="319" y="199"/>
                    <a:pt x="320" y="198"/>
                    <a:pt x="320" y="198"/>
                  </a:cubicBezTo>
                  <a:cubicBezTo>
                    <a:pt x="320" y="198"/>
                    <a:pt x="322" y="198"/>
                    <a:pt x="322" y="198"/>
                  </a:cubicBezTo>
                  <a:cubicBezTo>
                    <a:pt x="322" y="198"/>
                    <a:pt x="322" y="197"/>
                    <a:pt x="323" y="197"/>
                  </a:cubicBezTo>
                  <a:cubicBezTo>
                    <a:pt x="323" y="197"/>
                    <a:pt x="323" y="196"/>
                    <a:pt x="323" y="196"/>
                  </a:cubicBezTo>
                  <a:cubicBezTo>
                    <a:pt x="323" y="196"/>
                    <a:pt x="323" y="195"/>
                    <a:pt x="323" y="195"/>
                  </a:cubicBezTo>
                  <a:cubicBezTo>
                    <a:pt x="323" y="195"/>
                    <a:pt x="323" y="194"/>
                    <a:pt x="323" y="194"/>
                  </a:cubicBezTo>
                  <a:cubicBezTo>
                    <a:pt x="323" y="194"/>
                    <a:pt x="323" y="193"/>
                    <a:pt x="323" y="193"/>
                  </a:cubicBezTo>
                  <a:cubicBezTo>
                    <a:pt x="323" y="193"/>
                    <a:pt x="324" y="192"/>
                    <a:pt x="324" y="192"/>
                  </a:cubicBezTo>
                  <a:cubicBezTo>
                    <a:pt x="324" y="191"/>
                    <a:pt x="324" y="191"/>
                    <a:pt x="324" y="191"/>
                  </a:cubicBezTo>
                  <a:cubicBezTo>
                    <a:pt x="324" y="191"/>
                    <a:pt x="323" y="190"/>
                    <a:pt x="323" y="189"/>
                  </a:cubicBezTo>
                  <a:cubicBezTo>
                    <a:pt x="323" y="189"/>
                    <a:pt x="323" y="189"/>
                    <a:pt x="323" y="188"/>
                  </a:cubicBezTo>
                  <a:cubicBezTo>
                    <a:pt x="324" y="188"/>
                    <a:pt x="324" y="187"/>
                    <a:pt x="324" y="187"/>
                  </a:cubicBezTo>
                  <a:cubicBezTo>
                    <a:pt x="326" y="187"/>
                    <a:pt x="326" y="187"/>
                    <a:pt x="326" y="187"/>
                  </a:cubicBezTo>
                  <a:cubicBezTo>
                    <a:pt x="326" y="187"/>
                    <a:pt x="327" y="187"/>
                    <a:pt x="328" y="187"/>
                  </a:cubicBezTo>
                  <a:cubicBezTo>
                    <a:pt x="328" y="186"/>
                    <a:pt x="329" y="186"/>
                    <a:pt x="329" y="186"/>
                  </a:cubicBezTo>
                  <a:cubicBezTo>
                    <a:pt x="330" y="185"/>
                    <a:pt x="330" y="185"/>
                    <a:pt x="330" y="185"/>
                  </a:cubicBezTo>
                  <a:cubicBezTo>
                    <a:pt x="331" y="184"/>
                    <a:pt x="331" y="184"/>
                    <a:pt x="331" y="184"/>
                  </a:cubicBezTo>
                  <a:cubicBezTo>
                    <a:pt x="331" y="183"/>
                    <a:pt x="331" y="183"/>
                    <a:pt x="331" y="183"/>
                  </a:cubicBezTo>
                  <a:cubicBezTo>
                    <a:pt x="331" y="182"/>
                    <a:pt x="331" y="182"/>
                    <a:pt x="331" y="182"/>
                  </a:cubicBezTo>
                  <a:cubicBezTo>
                    <a:pt x="333" y="181"/>
                    <a:pt x="333" y="181"/>
                    <a:pt x="333" y="181"/>
                  </a:cubicBezTo>
                  <a:cubicBezTo>
                    <a:pt x="333" y="180"/>
                    <a:pt x="333" y="180"/>
                    <a:pt x="333" y="180"/>
                  </a:cubicBezTo>
                  <a:cubicBezTo>
                    <a:pt x="334" y="180"/>
                    <a:pt x="334" y="180"/>
                    <a:pt x="334" y="180"/>
                  </a:cubicBezTo>
                  <a:cubicBezTo>
                    <a:pt x="335" y="179"/>
                    <a:pt x="335" y="179"/>
                    <a:pt x="335" y="179"/>
                  </a:cubicBezTo>
                  <a:cubicBezTo>
                    <a:pt x="336" y="178"/>
                    <a:pt x="336" y="178"/>
                    <a:pt x="336" y="178"/>
                  </a:cubicBezTo>
                  <a:cubicBezTo>
                    <a:pt x="337" y="177"/>
                    <a:pt x="337" y="177"/>
                    <a:pt x="337" y="177"/>
                  </a:cubicBezTo>
                  <a:cubicBezTo>
                    <a:pt x="337" y="177"/>
                    <a:pt x="339" y="175"/>
                    <a:pt x="339" y="175"/>
                  </a:cubicBezTo>
                  <a:cubicBezTo>
                    <a:pt x="339" y="174"/>
                    <a:pt x="339" y="174"/>
                    <a:pt x="339" y="173"/>
                  </a:cubicBezTo>
                  <a:cubicBezTo>
                    <a:pt x="339" y="173"/>
                    <a:pt x="340" y="173"/>
                    <a:pt x="340" y="172"/>
                  </a:cubicBezTo>
                  <a:cubicBezTo>
                    <a:pt x="341" y="172"/>
                    <a:pt x="341" y="171"/>
                    <a:pt x="341" y="171"/>
                  </a:cubicBezTo>
                  <a:cubicBezTo>
                    <a:pt x="342" y="171"/>
                    <a:pt x="342" y="171"/>
                    <a:pt x="342" y="171"/>
                  </a:cubicBezTo>
                  <a:cubicBezTo>
                    <a:pt x="342" y="170"/>
                    <a:pt x="342" y="170"/>
                    <a:pt x="342" y="170"/>
                  </a:cubicBezTo>
                  <a:cubicBezTo>
                    <a:pt x="342" y="169"/>
                    <a:pt x="342" y="169"/>
                    <a:pt x="342" y="169"/>
                  </a:cubicBezTo>
                  <a:cubicBezTo>
                    <a:pt x="342" y="169"/>
                    <a:pt x="340" y="170"/>
                    <a:pt x="340" y="170"/>
                  </a:cubicBezTo>
                  <a:cubicBezTo>
                    <a:pt x="340" y="170"/>
                    <a:pt x="339" y="170"/>
                    <a:pt x="339" y="170"/>
                  </a:cubicBezTo>
                  <a:cubicBezTo>
                    <a:pt x="338" y="170"/>
                    <a:pt x="337" y="170"/>
                    <a:pt x="337" y="170"/>
                  </a:cubicBezTo>
                  <a:cubicBezTo>
                    <a:pt x="336" y="169"/>
                    <a:pt x="337" y="169"/>
                    <a:pt x="337" y="169"/>
                  </a:cubicBezTo>
                  <a:cubicBezTo>
                    <a:pt x="337" y="169"/>
                    <a:pt x="338" y="169"/>
                    <a:pt x="338" y="168"/>
                  </a:cubicBezTo>
                  <a:cubicBezTo>
                    <a:pt x="338" y="168"/>
                    <a:pt x="338" y="167"/>
                    <a:pt x="338" y="167"/>
                  </a:cubicBezTo>
                  <a:cubicBezTo>
                    <a:pt x="339" y="167"/>
                    <a:pt x="339" y="167"/>
                    <a:pt x="339" y="167"/>
                  </a:cubicBezTo>
                  <a:cubicBezTo>
                    <a:pt x="340" y="166"/>
                    <a:pt x="340" y="166"/>
                    <a:pt x="340" y="166"/>
                  </a:cubicBezTo>
                  <a:cubicBezTo>
                    <a:pt x="340" y="166"/>
                    <a:pt x="340" y="166"/>
                    <a:pt x="341" y="166"/>
                  </a:cubicBezTo>
                  <a:cubicBezTo>
                    <a:pt x="341" y="166"/>
                    <a:pt x="340" y="165"/>
                    <a:pt x="340" y="165"/>
                  </a:cubicBezTo>
                  <a:cubicBezTo>
                    <a:pt x="340" y="164"/>
                    <a:pt x="340" y="164"/>
                    <a:pt x="340" y="164"/>
                  </a:cubicBezTo>
                  <a:cubicBezTo>
                    <a:pt x="342" y="164"/>
                    <a:pt x="342" y="164"/>
                    <a:pt x="342" y="164"/>
                  </a:cubicBezTo>
                  <a:cubicBezTo>
                    <a:pt x="344" y="164"/>
                    <a:pt x="344" y="164"/>
                    <a:pt x="344" y="164"/>
                  </a:cubicBezTo>
                  <a:cubicBezTo>
                    <a:pt x="345" y="164"/>
                    <a:pt x="345" y="164"/>
                    <a:pt x="345" y="164"/>
                  </a:cubicBezTo>
                  <a:cubicBezTo>
                    <a:pt x="345" y="164"/>
                    <a:pt x="346" y="165"/>
                    <a:pt x="346" y="165"/>
                  </a:cubicBezTo>
                  <a:cubicBezTo>
                    <a:pt x="345" y="166"/>
                    <a:pt x="346" y="166"/>
                    <a:pt x="346" y="166"/>
                  </a:cubicBezTo>
                  <a:cubicBezTo>
                    <a:pt x="346" y="167"/>
                    <a:pt x="348" y="167"/>
                    <a:pt x="348" y="167"/>
                  </a:cubicBezTo>
                  <a:cubicBezTo>
                    <a:pt x="348" y="167"/>
                    <a:pt x="348" y="167"/>
                    <a:pt x="349" y="167"/>
                  </a:cubicBezTo>
                  <a:cubicBezTo>
                    <a:pt x="349" y="167"/>
                    <a:pt x="350" y="167"/>
                    <a:pt x="350" y="167"/>
                  </a:cubicBezTo>
                  <a:cubicBezTo>
                    <a:pt x="350" y="167"/>
                    <a:pt x="351" y="167"/>
                    <a:pt x="351" y="167"/>
                  </a:cubicBezTo>
                  <a:cubicBezTo>
                    <a:pt x="351" y="167"/>
                    <a:pt x="352" y="166"/>
                    <a:pt x="353" y="166"/>
                  </a:cubicBezTo>
                  <a:cubicBezTo>
                    <a:pt x="353" y="166"/>
                    <a:pt x="353" y="166"/>
                    <a:pt x="353" y="166"/>
                  </a:cubicBezTo>
                  <a:cubicBezTo>
                    <a:pt x="353" y="166"/>
                    <a:pt x="353" y="165"/>
                    <a:pt x="353" y="165"/>
                  </a:cubicBezTo>
                  <a:cubicBezTo>
                    <a:pt x="353" y="165"/>
                    <a:pt x="354" y="164"/>
                    <a:pt x="354" y="164"/>
                  </a:cubicBezTo>
                  <a:cubicBezTo>
                    <a:pt x="354" y="164"/>
                    <a:pt x="355" y="164"/>
                    <a:pt x="355" y="164"/>
                  </a:cubicBezTo>
                  <a:cubicBezTo>
                    <a:pt x="355" y="164"/>
                    <a:pt x="355" y="164"/>
                    <a:pt x="355" y="163"/>
                  </a:cubicBezTo>
                  <a:cubicBezTo>
                    <a:pt x="355" y="163"/>
                    <a:pt x="356" y="163"/>
                    <a:pt x="356" y="162"/>
                  </a:cubicBezTo>
                  <a:cubicBezTo>
                    <a:pt x="356" y="162"/>
                    <a:pt x="355" y="162"/>
                    <a:pt x="355" y="162"/>
                  </a:cubicBezTo>
                  <a:cubicBezTo>
                    <a:pt x="355" y="162"/>
                    <a:pt x="356" y="162"/>
                    <a:pt x="356" y="162"/>
                  </a:cubicBezTo>
                  <a:cubicBezTo>
                    <a:pt x="356" y="161"/>
                    <a:pt x="356" y="161"/>
                    <a:pt x="356" y="161"/>
                  </a:cubicBezTo>
                  <a:cubicBezTo>
                    <a:pt x="356" y="161"/>
                    <a:pt x="358" y="160"/>
                    <a:pt x="358" y="160"/>
                  </a:cubicBezTo>
                  <a:cubicBezTo>
                    <a:pt x="358" y="160"/>
                    <a:pt x="358" y="160"/>
                    <a:pt x="358" y="160"/>
                  </a:cubicBezTo>
                  <a:cubicBezTo>
                    <a:pt x="360" y="159"/>
                    <a:pt x="360" y="159"/>
                    <a:pt x="360" y="159"/>
                  </a:cubicBezTo>
                  <a:cubicBezTo>
                    <a:pt x="360" y="159"/>
                    <a:pt x="360" y="160"/>
                    <a:pt x="360" y="160"/>
                  </a:cubicBezTo>
                  <a:cubicBezTo>
                    <a:pt x="359" y="158"/>
                    <a:pt x="356" y="155"/>
                    <a:pt x="356" y="155"/>
                  </a:cubicBezTo>
                  <a:cubicBezTo>
                    <a:pt x="357" y="151"/>
                    <a:pt x="357" y="151"/>
                    <a:pt x="357" y="151"/>
                  </a:cubicBezTo>
                  <a:cubicBezTo>
                    <a:pt x="357" y="151"/>
                    <a:pt x="359" y="145"/>
                    <a:pt x="359" y="144"/>
                  </a:cubicBezTo>
                  <a:cubicBezTo>
                    <a:pt x="359" y="143"/>
                    <a:pt x="358" y="139"/>
                    <a:pt x="358" y="139"/>
                  </a:cubicBezTo>
                  <a:cubicBezTo>
                    <a:pt x="358" y="139"/>
                    <a:pt x="356" y="138"/>
                    <a:pt x="358" y="135"/>
                  </a:cubicBezTo>
                  <a:cubicBezTo>
                    <a:pt x="360" y="132"/>
                    <a:pt x="362" y="128"/>
                    <a:pt x="362" y="128"/>
                  </a:cubicBezTo>
                  <a:cubicBezTo>
                    <a:pt x="363" y="120"/>
                    <a:pt x="363" y="120"/>
                    <a:pt x="363" y="120"/>
                  </a:cubicBezTo>
                  <a:cubicBezTo>
                    <a:pt x="363" y="120"/>
                    <a:pt x="360" y="118"/>
                    <a:pt x="363" y="116"/>
                  </a:cubicBezTo>
                  <a:cubicBezTo>
                    <a:pt x="366" y="114"/>
                    <a:pt x="372" y="106"/>
                    <a:pt x="372" y="106"/>
                  </a:cubicBezTo>
                  <a:cubicBezTo>
                    <a:pt x="378" y="100"/>
                    <a:pt x="378" y="100"/>
                    <a:pt x="378" y="100"/>
                  </a:cubicBezTo>
                  <a:cubicBezTo>
                    <a:pt x="368" y="97"/>
                    <a:pt x="368" y="97"/>
                    <a:pt x="368" y="97"/>
                  </a:cubicBezTo>
                  <a:lnTo>
                    <a:pt x="362" y="97"/>
                  </a:lnTo>
                  <a:close/>
                  <a:moveTo>
                    <a:pt x="157" y="372"/>
                  </a:moveTo>
                  <a:cubicBezTo>
                    <a:pt x="157" y="372"/>
                    <a:pt x="157" y="372"/>
                    <a:pt x="157" y="372"/>
                  </a:cubicBezTo>
                  <a:cubicBezTo>
                    <a:pt x="157" y="372"/>
                    <a:pt x="157" y="372"/>
                    <a:pt x="157" y="372"/>
                  </a:cubicBezTo>
                  <a:close/>
                  <a:moveTo>
                    <a:pt x="158" y="371"/>
                  </a:moveTo>
                  <a:cubicBezTo>
                    <a:pt x="158" y="371"/>
                    <a:pt x="158" y="371"/>
                    <a:pt x="158" y="371"/>
                  </a:cubicBezTo>
                  <a:cubicBezTo>
                    <a:pt x="158" y="371"/>
                    <a:pt x="158" y="371"/>
                    <a:pt x="158" y="371"/>
                  </a:cubicBezTo>
                  <a:cubicBezTo>
                    <a:pt x="158" y="371"/>
                    <a:pt x="158" y="371"/>
                    <a:pt x="158" y="371"/>
                  </a:cubicBezTo>
                  <a:cubicBezTo>
                    <a:pt x="158" y="371"/>
                    <a:pt x="158" y="371"/>
                    <a:pt x="158" y="371"/>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6" name="Freeform 7"/>
            <p:cNvSpPr>
              <a:spLocks/>
            </p:cNvSpPr>
            <p:nvPr/>
          </p:nvSpPr>
          <p:spPr bwMode="auto">
            <a:xfrm>
              <a:off x="5524815" y="1963129"/>
              <a:ext cx="652754" cy="1672043"/>
            </a:xfrm>
            <a:custGeom>
              <a:avLst/>
              <a:gdLst>
                <a:gd name="T0" fmla="*/ 169 w 225"/>
                <a:gd name="T1" fmla="*/ 413 h 612"/>
                <a:gd name="T2" fmla="*/ 175 w 225"/>
                <a:gd name="T3" fmla="*/ 405 h 612"/>
                <a:gd name="T4" fmla="*/ 160 w 225"/>
                <a:gd name="T5" fmla="*/ 389 h 612"/>
                <a:gd name="T6" fmla="*/ 140 w 225"/>
                <a:gd name="T7" fmla="*/ 374 h 612"/>
                <a:gd name="T8" fmla="*/ 129 w 225"/>
                <a:gd name="T9" fmla="*/ 366 h 612"/>
                <a:gd name="T10" fmla="*/ 121 w 225"/>
                <a:gd name="T11" fmla="*/ 341 h 612"/>
                <a:gd name="T12" fmla="*/ 128 w 225"/>
                <a:gd name="T13" fmla="*/ 329 h 612"/>
                <a:gd name="T14" fmla="*/ 125 w 225"/>
                <a:gd name="T15" fmla="*/ 302 h 612"/>
                <a:gd name="T16" fmla="*/ 131 w 225"/>
                <a:gd name="T17" fmla="*/ 283 h 612"/>
                <a:gd name="T18" fmla="*/ 141 w 225"/>
                <a:gd name="T19" fmla="*/ 268 h 612"/>
                <a:gd name="T20" fmla="*/ 150 w 225"/>
                <a:gd name="T21" fmla="*/ 255 h 612"/>
                <a:gd name="T22" fmla="*/ 159 w 225"/>
                <a:gd name="T23" fmla="*/ 245 h 612"/>
                <a:gd name="T24" fmla="*/ 170 w 225"/>
                <a:gd name="T25" fmla="*/ 233 h 612"/>
                <a:gd name="T26" fmla="*/ 180 w 225"/>
                <a:gd name="T27" fmla="*/ 211 h 612"/>
                <a:gd name="T28" fmla="*/ 187 w 225"/>
                <a:gd name="T29" fmla="*/ 191 h 612"/>
                <a:gd name="T30" fmla="*/ 178 w 225"/>
                <a:gd name="T31" fmla="*/ 177 h 612"/>
                <a:gd name="T32" fmla="*/ 185 w 225"/>
                <a:gd name="T33" fmla="*/ 161 h 612"/>
                <a:gd name="T34" fmla="*/ 188 w 225"/>
                <a:gd name="T35" fmla="*/ 148 h 612"/>
                <a:gd name="T36" fmla="*/ 196 w 225"/>
                <a:gd name="T37" fmla="*/ 140 h 612"/>
                <a:gd name="T38" fmla="*/ 210 w 225"/>
                <a:gd name="T39" fmla="*/ 133 h 612"/>
                <a:gd name="T40" fmla="*/ 216 w 225"/>
                <a:gd name="T41" fmla="*/ 138 h 612"/>
                <a:gd name="T42" fmla="*/ 221 w 225"/>
                <a:gd name="T43" fmla="*/ 133 h 612"/>
                <a:gd name="T44" fmla="*/ 224 w 225"/>
                <a:gd name="T45" fmla="*/ 130 h 612"/>
                <a:gd name="T46" fmla="*/ 212 w 225"/>
                <a:gd name="T47" fmla="*/ 97 h 612"/>
                <a:gd name="T48" fmla="*/ 199 w 225"/>
                <a:gd name="T49" fmla="*/ 63 h 612"/>
                <a:gd name="T50" fmla="*/ 188 w 225"/>
                <a:gd name="T51" fmla="*/ 34 h 612"/>
                <a:gd name="T52" fmla="*/ 162 w 225"/>
                <a:gd name="T53" fmla="*/ 21 h 612"/>
                <a:gd name="T54" fmla="*/ 145 w 225"/>
                <a:gd name="T55" fmla="*/ 4 h 612"/>
                <a:gd name="T56" fmla="*/ 134 w 225"/>
                <a:gd name="T57" fmla="*/ 23 h 612"/>
                <a:gd name="T58" fmla="*/ 103 w 225"/>
                <a:gd name="T59" fmla="*/ 52 h 612"/>
                <a:gd name="T60" fmla="*/ 76 w 225"/>
                <a:gd name="T61" fmla="*/ 76 h 612"/>
                <a:gd name="T62" fmla="*/ 67 w 225"/>
                <a:gd name="T63" fmla="*/ 133 h 612"/>
                <a:gd name="T64" fmla="*/ 54 w 225"/>
                <a:gd name="T65" fmla="*/ 178 h 612"/>
                <a:gd name="T66" fmla="*/ 46 w 225"/>
                <a:gd name="T67" fmla="*/ 231 h 612"/>
                <a:gd name="T68" fmla="*/ 15 w 225"/>
                <a:gd name="T69" fmla="*/ 281 h 612"/>
                <a:gd name="T70" fmla="*/ 28 w 225"/>
                <a:gd name="T71" fmla="*/ 343 h 612"/>
                <a:gd name="T72" fmla="*/ 24 w 225"/>
                <a:gd name="T73" fmla="*/ 378 h 612"/>
                <a:gd name="T74" fmla="*/ 23 w 225"/>
                <a:gd name="T75" fmla="*/ 410 h 612"/>
                <a:gd name="T76" fmla="*/ 13 w 225"/>
                <a:gd name="T77" fmla="*/ 426 h 612"/>
                <a:gd name="T78" fmla="*/ 10 w 225"/>
                <a:gd name="T79" fmla="*/ 458 h 612"/>
                <a:gd name="T80" fmla="*/ 2 w 225"/>
                <a:gd name="T81" fmla="*/ 474 h 612"/>
                <a:gd name="T82" fmla="*/ 11 w 225"/>
                <a:gd name="T83" fmla="*/ 483 h 612"/>
                <a:gd name="T84" fmla="*/ 13 w 225"/>
                <a:gd name="T85" fmla="*/ 498 h 612"/>
                <a:gd name="T86" fmla="*/ 18 w 225"/>
                <a:gd name="T87" fmla="*/ 510 h 612"/>
                <a:gd name="T88" fmla="*/ 24 w 225"/>
                <a:gd name="T89" fmla="*/ 523 h 612"/>
                <a:gd name="T90" fmla="*/ 40 w 225"/>
                <a:gd name="T91" fmla="*/ 553 h 612"/>
                <a:gd name="T92" fmla="*/ 40 w 225"/>
                <a:gd name="T93" fmla="*/ 563 h 612"/>
                <a:gd name="T94" fmla="*/ 45 w 225"/>
                <a:gd name="T95" fmla="*/ 586 h 612"/>
                <a:gd name="T96" fmla="*/ 49 w 225"/>
                <a:gd name="T97" fmla="*/ 608 h 612"/>
                <a:gd name="T98" fmla="*/ 67 w 225"/>
                <a:gd name="T99" fmla="*/ 606 h 612"/>
                <a:gd name="T100" fmla="*/ 84 w 225"/>
                <a:gd name="T101" fmla="*/ 604 h 612"/>
                <a:gd name="T102" fmla="*/ 82 w 225"/>
                <a:gd name="T103" fmla="*/ 588 h 612"/>
                <a:gd name="T104" fmla="*/ 96 w 225"/>
                <a:gd name="T105" fmla="*/ 583 h 612"/>
                <a:gd name="T106" fmla="*/ 105 w 225"/>
                <a:gd name="T107" fmla="*/ 573 h 612"/>
                <a:gd name="T108" fmla="*/ 129 w 225"/>
                <a:gd name="T109" fmla="*/ 547 h 612"/>
                <a:gd name="T110" fmla="*/ 132 w 225"/>
                <a:gd name="T111" fmla="*/ 502 h 612"/>
                <a:gd name="T112" fmla="*/ 129 w 225"/>
                <a:gd name="T113" fmla="*/ 472 h 612"/>
                <a:gd name="T114" fmla="*/ 145 w 225"/>
                <a:gd name="T115" fmla="*/ 452 h 612"/>
                <a:gd name="T116" fmla="*/ 151 w 225"/>
                <a:gd name="T117" fmla="*/ 449 h 612"/>
                <a:gd name="T118" fmla="*/ 164 w 225"/>
                <a:gd name="T119" fmla="*/ 433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5" h="612">
                  <a:moveTo>
                    <a:pt x="162" y="432"/>
                  </a:moveTo>
                  <a:cubicBezTo>
                    <a:pt x="161" y="430"/>
                    <a:pt x="161" y="430"/>
                    <a:pt x="161" y="430"/>
                  </a:cubicBezTo>
                  <a:cubicBezTo>
                    <a:pt x="161" y="430"/>
                    <a:pt x="162" y="428"/>
                    <a:pt x="162" y="429"/>
                  </a:cubicBezTo>
                  <a:cubicBezTo>
                    <a:pt x="163" y="430"/>
                    <a:pt x="164" y="432"/>
                    <a:pt x="164" y="432"/>
                  </a:cubicBezTo>
                  <a:cubicBezTo>
                    <a:pt x="165" y="431"/>
                    <a:pt x="167" y="429"/>
                    <a:pt x="167" y="429"/>
                  </a:cubicBezTo>
                  <a:cubicBezTo>
                    <a:pt x="168" y="427"/>
                    <a:pt x="162" y="424"/>
                    <a:pt x="160" y="423"/>
                  </a:cubicBezTo>
                  <a:cubicBezTo>
                    <a:pt x="160" y="420"/>
                    <a:pt x="168" y="416"/>
                    <a:pt x="169" y="415"/>
                  </a:cubicBezTo>
                  <a:cubicBezTo>
                    <a:pt x="169" y="414"/>
                    <a:pt x="169" y="413"/>
                    <a:pt x="169" y="413"/>
                  </a:cubicBezTo>
                  <a:cubicBezTo>
                    <a:pt x="169" y="412"/>
                    <a:pt x="168" y="412"/>
                    <a:pt x="168" y="412"/>
                  </a:cubicBezTo>
                  <a:cubicBezTo>
                    <a:pt x="167" y="413"/>
                    <a:pt x="167" y="414"/>
                    <a:pt x="166" y="414"/>
                  </a:cubicBezTo>
                  <a:cubicBezTo>
                    <a:pt x="166" y="414"/>
                    <a:pt x="165" y="414"/>
                    <a:pt x="165" y="414"/>
                  </a:cubicBezTo>
                  <a:cubicBezTo>
                    <a:pt x="165" y="414"/>
                    <a:pt x="164" y="412"/>
                    <a:pt x="165" y="412"/>
                  </a:cubicBezTo>
                  <a:cubicBezTo>
                    <a:pt x="165" y="411"/>
                    <a:pt x="164" y="411"/>
                    <a:pt x="166" y="410"/>
                  </a:cubicBezTo>
                  <a:cubicBezTo>
                    <a:pt x="167" y="409"/>
                    <a:pt x="167" y="409"/>
                    <a:pt x="168" y="409"/>
                  </a:cubicBezTo>
                  <a:cubicBezTo>
                    <a:pt x="169" y="408"/>
                    <a:pt x="169" y="408"/>
                    <a:pt x="170" y="408"/>
                  </a:cubicBezTo>
                  <a:cubicBezTo>
                    <a:pt x="171" y="408"/>
                    <a:pt x="175" y="405"/>
                    <a:pt x="175" y="405"/>
                  </a:cubicBezTo>
                  <a:cubicBezTo>
                    <a:pt x="175" y="403"/>
                    <a:pt x="175" y="403"/>
                    <a:pt x="175" y="403"/>
                  </a:cubicBezTo>
                  <a:cubicBezTo>
                    <a:pt x="175" y="403"/>
                    <a:pt x="174" y="401"/>
                    <a:pt x="173" y="401"/>
                  </a:cubicBezTo>
                  <a:cubicBezTo>
                    <a:pt x="173" y="401"/>
                    <a:pt x="169" y="398"/>
                    <a:pt x="169" y="398"/>
                  </a:cubicBezTo>
                  <a:cubicBezTo>
                    <a:pt x="169" y="398"/>
                    <a:pt x="168" y="398"/>
                    <a:pt x="168" y="397"/>
                  </a:cubicBezTo>
                  <a:cubicBezTo>
                    <a:pt x="167" y="397"/>
                    <a:pt x="166" y="395"/>
                    <a:pt x="166" y="395"/>
                  </a:cubicBezTo>
                  <a:cubicBezTo>
                    <a:pt x="164" y="392"/>
                    <a:pt x="163" y="394"/>
                    <a:pt x="160" y="393"/>
                  </a:cubicBezTo>
                  <a:cubicBezTo>
                    <a:pt x="159" y="393"/>
                    <a:pt x="158" y="390"/>
                    <a:pt x="158" y="390"/>
                  </a:cubicBezTo>
                  <a:cubicBezTo>
                    <a:pt x="158" y="390"/>
                    <a:pt x="160" y="390"/>
                    <a:pt x="160" y="389"/>
                  </a:cubicBezTo>
                  <a:cubicBezTo>
                    <a:pt x="160" y="388"/>
                    <a:pt x="158" y="386"/>
                    <a:pt x="158" y="386"/>
                  </a:cubicBezTo>
                  <a:cubicBezTo>
                    <a:pt x="156" y="384"/>
                    <a:pt x="156" y="384"/>
                    <a:pt x="156" y="384"/>
                  </a:cubicBezTo>
                  <a:cubicBezTo>
                    <a:pt x="154" y="381"/>
                    <a:pt x="154" y="388"/>
                    <a:pt x="151" y="382"/>
                  </a:cubicBezTo>
                  <a:cubicBezTo>
                    <a:pt x="151" y="382"/>
                    <a:pt x="151" y="382"/>
                    <a:pt x="150" y="380"/>
                  </a:cubicBezTo>
                  <a:cubicBezTo>
                    <a:pt x="149" y="379"/>
                    <a:pt x="146" y="377"/>
                    <a:pt x="146" y="377"/>
                  </a:cubicBezTo>
                  <a:cubicBezTo>
                    <a:pt x="146" y="377"/>
                    <a:pt x="146" y="375"/>
                    <a:pt x="145" y="374"/>
                  </a:cubicBezTo>
                  <a:cubicBezTo>
                    <a:pt x="145" y="374"/>
                    <a:pt x="144" y="372"/>
                    <a:pt x="144" y="372"/>
                  </a:cubicBezTo>
                  <a:cubicBezTo>
                    <a:pt x="140" y="374"/>
                    <a:pt x="140" y="374"/>
                    <a:pt x="140" y="374"/>
                  </a:cubicBezTo>
                  <a:cubicBezTo>
                    <a:pt x="138" y="377"/>
                    <a:pt x="138" y="377"/>
                    <a:pt x="138" y="377"/>
                  </a:cubicBezTo>
                  <a:cubicBezTo>
                    <a:pt x="138" y="377"/>
                    <a:pt x="137" y="376"/>
                    <a:pt x="137" y="375"/>
                  </a:cubicBezTo>
                  <a:cubicBezTo>
                    <a:pt x="137" y="375"/>
                    <a:pt x="137" y="372"/>
                    <a:pt x="137" y="372"/>
                  </a:cubicBezTo>
                  <a:cubicBezTo>
                    <a:pt x="137" y="372"/>
                    <a:pt x="135" y="371"/>
                    <a:pt x="134" y="371"/>
                  </a:cubicBezTo>
                  <a:cubicBezTo>
                    <a:pt x="134" y="371"/>
                    <a:pt x="131" y="371"/>
                    <a:pt x="131" y="371"/>
                  </a:cubicBezTo>
                  <a:cubicBezTo>
                    <a:pt x="128" y="370"/>
                    <a:pt x="128" y="370"/>
                    <a:pt x="128" y="370"/>
                  </a:cubicBezTo>
                  <a:cubicBezTo>
                    <a:pt x="128" y="368"/>
                    <a:pt x="128" y="368"/>
                    <a:pt x="128" y="368"/>
                  </a:cubicBezTo>
                  <a:cubicBezTo>
                    <a:pt x="128" y="368"/>
                    <a:pt x="129" y="367"/>
                    <a:pt x="129" y="366"/>
                  </a:cubicBezTo>
                  <a:cubicBezTo>
                    <a:pt x="129" y="365"/>
                    <a:pt x="127" y="363"/>
                    <a:pt x="127" y="363"/>
                  </a:cubicBezTo>
                  <a:cubicBezTo>
                    <a:pt x="127" y="361"/>
                    <a:pt x="127" y="361"/>
                    <a:pt x="127" y="361"/>
                  </a:cubicBezTo>
                  <a:cubicBezTo>
                    <a:pt x="124" y="359"/>
                    <a:pt x="124" y="359"/>
                    <a:pt x="124" y="359"/>
                  </a:cubicBezTo>
                  <a:cubicBezTo>
                    <a:pt x="124" y="359"/>
                    <a:pt x="125" y="356"/>
                    <a:pt x="125" y="356"/>
                  </a:cubicBezTo>
                  <a:cubicBezTo>
                    <a:pt x="125" y="355"/>
                    <a:pt x="123" y="348"/>
                    <a:pt x="123" y="348"/>
                  </a:cubicBezTo>
                  <a:cubicBezTo>
                    <a:pt x="123" y="348"/>
                    <a:pt x="124" y="344"/>
                    <a:pt x="124" y="344"/>
                  </a:cubicBezTo>
                  <a:cubicBezTo>
                    <a:pt x="124" y="344"/>
                    <a:pt x="123" y="341"/>
                    <a:pt x="123" y="341"/>
                  </a:cubicBezTo>
                  <a:cubicBezTo>
                    <a:pt x="121" y="341"/>
                    <a:pt x="121" y="341"/>
                    <a:pt x="121" y="341"/>
                  </a:cubicBezTo>
                  <a:cubicBezTo>
                    <a:pt x="121" y="337"/>
                    <a:pt x="121" y="337"/>
                    <a:pt x="121" y="337"/>
                  </a:cubicBezTo>
                  <a:cubicBezTo>
                    <a:pt x="121" y="335"/>
                    <a:pt x="121" y="335"/>
                    <a:pt x="121" y="335"/>
                  </a:cubicBezTo>
                  <a:cubicBezTo>
                    <a:pt x="120" y="333"/>
                    <a:pt x="120" y="333"/>
                    <a:pt x="120" y="333"/>
                  </a:cubicBezTo>
                  <a:cubicBezTo>
                    <a:pt x="120" y="333"/>
                    <a:pt x="121" y="332"/>
                    <a:pt x="122" y="332"/>
                  </a:cubicBezTo>
                  <a:cubicBezTo>
                    <a:pt x="122" y="332"/>
                    <a:pt x="122" y="329"/>
                    <a:pt x="122" y="329"/>
                  </a:cubicBezTo>
                  <a:cubicBezTo>
                    <a:pt x="122" y="329"/>
                    <a:pt x="123" y="327"/>
                    <a:pt x="123" y="327"/>
                  </a:cubicBezTo>
                  <a:cubicBezTo>
                    <a:pt x="123" y="327"/>
                    <a:pt x="126" y="329"/>
                    <a:pt x="126" y="329"/>
                  </a:cubicBezTo>
                  <a:cubicBezTo>
                    <a:pt x="126" y="329"/>
                    <a:pt x="128" y="330"/>
                    <a:pt x="128" y="329"/>
                  </a:cubicBezTo>
                  <a:cubicBezTo>
                    <a:pt x="128" y="328"/>
                    <a:pt x="128" y="326"/>
                    <a:pt x="128" y="326"/>
                  </a:cubicBezTo>
                  <a:cubicBezTo>
                    <a:pt x="128" y="326"/>
                    <a:pt x="126" y="324"/>
                    <a:pt x="125" y="324"/>
                  </a:cubicBezTo>
                  <a:cubicBezTo>
                    <a:pt x="125" y="323"/>
                    <a:pt x="125" y="319"/>
                    <a:pt x="125" y="319"/>
                  </a:cubicBezTo>
                  <a:cubicBezTo>
                    <a:pt x="125" y="319"/>
                    <a:pt x="124" y="316"/>
                    <a:pt x="124" y="316"/>
                  </a:cubicBezTo>
                  <a:cubicBezTo>
                    <a:pt x="124" y="316"/>
                    <a:pt x="125" y="314"/>
                    <a:pt x="125" y="314"/>
                  </a:cubicBezTo>
                  <a:cubicBezTo>
                    <a:pt x="126" y="308"/>
                    <a:pt x="126" y="308"/>
                    <a:pt x="126" y="308"/>
                  </a:cubicBezTo>
                  <a:cubicBezTo>
                    <a:pt x="126" y="304"/>
                    <a:pt x="126" y="304"/>
                    <a:pt x="126" y="304"/>
                  </a:cubicBezTo>
                  <a:cubicBezTo>
                    <a:pt x="125" y="302"/>
                    <a:pt x="125" y="302"/>
                    <a:pt x="125" y="302"/>
                  </a:cubicBezTo>
                  <a:cubicBezTo>
                    <a:pt x="124" y="300"/>
                    <a:pt x="124" y="300"/>
                    <a:pt x="124" y="300"/>
                  </a:cubicBezTo>
                  <a:cubicBezTo>
                    <a:pt x="122" y="298"/>
                    <a:pt x="122" y="298"/>
                    <a:pt x="122" y="298"/>
                  </a:cubicBezTo>
                  <a:cubicBezTo>
                    <a:pt x="124" y="294"/>
                    <a:pt x="124" y="294"/>
                    <a:pt x="124" y="294"/>
                  </a:cubicBezTo>
                  <a:cubicBezTo>
                    <a:pt x="126" y="293"/>
                    <a:pt x="126" y="293"/>
                    <a:pt x="126" y="293"/>
                  </a:cubicBezTo>
                  <a:cubicBezTo>
                    <a:pt x="128" y="291"/>
                    <a:pt x="128" y="291"/>
                    <a:pt x="128" y="291"/>
                  </a:cubicBezTo>
                  <a:cubicBezTo>
                    <a:pt x="128" y="291"/>
                    <a:pt x="131" y="289"/>
                    <a:pt x="131" y="289"/>
                  </a:cubicBezTo>
                  <a:cubicBezTo>
                    <a:pt x="131" y="288"/>
                    <a:pt x="131" y="285"/>
                    <a:pt x="131" y="285"/>
                  </a:cubicBezTo>
                  <a:cubicBezTo>
                    <a:pt x="131" y="283"/>
                    <a:pt x="131" y="283"/>
                    <a:pt x="131" y="283"/>
                  </a:cubicBezTo>
                  <a:cubicBezTo>
                    <a:pt x="133" y="284"/>
                    <a:pt x="133" y="284"/>
                    <a:pt x="133" y="284"/>
                  </a:cubicBezTo>
                  <a:cubicBezTo>
                    <a:pt x="132" y="281"/>
                    <a:pt x="132" y="281"/>
                    <a:pt x="132" y="281"/>
                  </a:cubicBezTo>
                  <a:cubicBezTo>
                    <a:pt x="132" y="281"/>
                    <a:pt x="133" y="279"/>
                    <a:pt x="133" y="279"/>
                  </a:cubicBezTo>
                  <a:cubicBezTo>
                    <a:pt x="134" y="279"/>
                    <a:pt x="135" y="278"/>
                    <a:pt x="135" y="278"/>
                  </a:cubicBezTo>
                  <a:cubicBezTo>
                    <a:pt x="135" y="278"/>
                    <a:pt x="136" y="275"/>
                    <a:pt x="136" y="275"/>
                  </a:cubicBezTo>
                  <a:cubicBezTo>
                    <a:pt x="136" y="275"/>
                    <a:pt x="137" y="276"/>
                    <a:pt x="138" y="275"/>
                  </a:cubicBezTo>
                  <a:cubicBezTo>
                    <a:pt x="139" y="274"/>
                    <a:pt x="139" y="274"/>
                    <a:pt x="139" y="273"/>
                  </a:cubicBezTo>
                  <a:cubicBezTo>
                    <a:pt x="139" y="272"/>
                    <a:pt x="141" y="268"/>
                    <a:pt x="141" y="268"/>
                  </a:cubicBezTo>
                  <a:cubicBezTo>
                    <a:pt x="141" y="268"/>
                    <a:pt x="141" y="267"/>
                    <a:pt x="141" y="267"/>
                  </a:cubicBezTo>
                  <a:cubicBezTo>
                    <a:pt x="142" y="267"/>
                    <a:pt x="144" y="267"/>
                    <a:pt x="143" y="266"/>
                  </a:cubicBezTo>
                  <a:cubicBezTo>
                    <a:pt x="143" y="265"/>
                    <a:pt x="141" y="263"/>
                    <a:pt x="141" y="263"/>
                  </a:cubicBezTo>
                  <a:cubicBezTo>
                    <a:pt x="143" y="260"/>
                    <a:pt x="143" y="260"/>
                    <a:pt x="143" y="260"/>
                  </a:cubicBezTo>
                  <a:cubicBezTo>
                    <a:pt x="143" y="260"/>
                    <a:pt x="146" y="258"/>
                    <a:pt x="146" y="258"/>
                  </a:cubicBezTo>
                  <a:cubicBezTo>
                    <a:pt x="146" y="258"/>
                    <a:pt x="147" y="259"/>
                    <a:pt x="147" y="258"/>
                  </a:cubicBezTo>
                  <a:cubicBezTo>
                    <a:pt x="148" y="258"/>
                    <a:pt x="148" y="257"/>
                    <a:pt x="149" y="257"/>
                  </a:cubicBezTo>
                  <a:cubicBezTo>
                    <a:pt x="149" y="257"/>
                    <a:pt x="150" y="256"/>
                    <a:pt x="150" y="255"/>
                  </a:cubicBezTo>
                  <a:cubicBezTo>
                    <a:pt x="151" y="255"/>
                    <a:pt x="152" y="253"/>
                    <a:pt x="152" y="253"/>
                  </a:cubicBezTo>
                  <a:cubicBezTo>
                    <a:pt x="152" y="252"/>
                    <a:pt x="153" y="248"/>
                    <a:pt x="153" y="248"/>
                  </a:cubicBezTo>
                  <a:cubicBezTo>
                    <a:pt x="153" y="246"/>
                    <a:pt x="153" y="246"/>
                    <a:pt x="153" y="246"/>
                  </a:cubicBezTo>
                  <a:cubicBezTo>
                    <a:pt x="154" y="245"/>
                    <a:pt x="154" y="245"/>
                    <a:pt x="154" y="245"/>
                  </a:cubicBezTo>
                  <a:cubicBezTo>
                    <a:pt x="156" y="243"/>
                    <a:pt x="156" y="243"/>
                    <a:pt x="156" y="243"/>
                  </a:cubicBezTo>
                  <a:cubicBezTo>
                    <a:pt x="156" y="243"/>
                    <a:pt x="157" y="243"/>
                    <a:pt x="157" y="243"/>
                  </a:cubicBezTo>
                  <a:cubicBezTo>
                    <a:pt x="157" y="244"/>
                    <a:pt x="157" y="245"/>
                    <a:pt x="157" y="245"/>
                  </a:cubicBezTo>
                  <a:cubicBezTo>
                    <a:pt x="159" y="245"/>
                    <a:pt x="159" y="245"/>
                    <a:pt x="159" y="245"/>
                  </a:cubicBezTo>
                  <a:cubicBezTo>
                    <a:pt x="159" y="245"/>
                    <a:pt x="159" y="244"/>
                    <a:pt x="159" y="244"/>
                  </a:cubicBezTo>
                  <a:cubicBezTo>
                    <a:pt x="159" y="245"/>
                    <a:pt x="160" y="245"/>
                    <a:pt x="160" y="245"/>
                  </a:cubicBezTo>
                  <a:cubicBezTo>
                    <a:pt x="160" y="245"/>
                    <a:pt x="161" y="243"/>
                    <a:pt x="161" y="243"/>
                  </a:cubicBezTo>
                  <a:cubicBezTo>
                    <a:pt x="161" y="240"/>
                    <a:pt x="161" y="240"/>
                    <a:pt x="161" y="240"/>
                  </a:cubicBezTo>
                  <a:cubicBezTo>
                    <a:pt x="161" y="240"/>
                    <a:pt x="163" y="239"/>
                    <a:pt x="163" y="238"/>
                  </a:cubicBezTo>
                  <a:cubicBezTo>
                    <a:pt x="164" y="237"/>
                    <a:pt x="166" y="234"/>
                    <a:pt x="166" y="234"/>
                  </a:cubicBezTo>
                  <a:cubicBezTo>
                    <a:pt x="168" y="234"/>
                    <a:pt x="168" y="234"/>
                    <a:pt x="168" y="234"/>
                  </a:cubicBezTo>
                  <a:cubicBezTo>
                    <a:pt x="168" y="234"/>
                    <a:pt x="169" y="233"/>
                    <a:pt x="170" y="233"/>
                  </a:cubicBezTo>
                  <a:cubicBezTo>
                    <a:pt x="170" y="233"/>
                    <a:pt x="173" y="230"/>
                    <a:pt x="173" y="230"/>
                  </a:cubicBezTo>
                  <a:cubicBezTo>
                    <a:pt x="173" y="230"/>
                    <a:pt x="173" y="229"/>
                    <a:pt x="173" y="228"/>
                  </a:cubicBezTo>
                  <a:cubicBezTo>
                    <a:pt x="174" y="228"/>
                    <a:pt x="175" y="227"/>
                    <a:pt x="175" y="227"/>
                  </a:cubicBezTo>
                  <a:cubicBezTo>
                    <a:pt x="175" y="227"/>
                    <a:pt x="177" y="223"/>
                    <a:pt x="177" y="223"/>
                  </a:cubicBezTo>
                  <a:cubicBezTo>
                    <a:pt x="178" y="223"/>
                    <a:pt x="178" y="223"/>
                    <a:pt x="178" y="222"/>
                  </a:cubicBezTo>
                  <a:cubicBezTo>
                    <a:pt x="178" y="221"/>
                    <a:pt x="179" y="218"/>
                    <a:pt x="179" y="218"/>
                  </a:cubicBezTo>
                  <a:cubicBezTo>
                    <a:pt x="180" y="216"/>
                    <a:pt x="180" y="216"/>
                    <a:pt x="180" y="216"/>
                  </a:cubicBezTo>
                  <a:cubicBezTo>
                    <a:pt x="180" y="211"/>
                    <a:pt x="180" y="211"/>
                    <a:pt x="180" y="211"/>
                  </a:cubicBezTo>
                  <a:cubicBezTo>
                    <a:pt x="182" y="207"/>
                    <a:pt x="182" y="207"/>
                    <a:pt x="182" y="207"/>
                  </a:cubicBezTo>
                  <a:cubicBezTo>
                    <a:pt x="182" y="207"/>
                    <a:pt x="183" y="205"/>
                    <a:pt x="183" y="205"/>
                  </a:cubicBezTo>
                  <a:cubicBezTo>
                    <a:pt x="183" y="205"/>
                    <a:pt x="184" y="203"/>
                    <a:pt x="185" y="203"/>
                  </a:cubicBezTo>
                  <a:cubicBezTo>
                    <a:pt x="185" y="202"/>
                    <a:pt x="187" y="199"/>
                    <a:pt x="187" y="199"/>
                  </a:cubicBezTo>
                  <a:cubicBezTo>
                    <a:pt x="187" y="199"/>
                    <a:pt x="188" y="197"/>
                    <a:pt x="188" y="196"/>
                  </a:cubicBezTo>
                  <a:cubicBezTo>
                    <a:pt x="188" y="196"/>
                    <a:pt x="188" y="196"/>
                    <a:pt x="188" y="196"/>
                  </a:cubicBezTo>
                  <a:cubicBezTo>
                    <a:pt x="188" y="194"/>
                    <a:pt x="188" y="194"/>
                    <a:pt x="188" y="194"/>
                  </a:cubicBezTo>
                  <a:cubicBezTo>
                    <a:pt x="187" y="191"/>
                    <a:pt x="187" y="191"/>
                    <a:pt x="187" y="191"/>
                  </a:cubicBezTo>
                  <a:cubicBezTo>
                    <a:pt x="183" y="188"/>
                    <a:pt x="183" y="188"/>
                    <a:pt x="183" y="188"/>
                  </a:cubicBezTo>
                  <a:cubicBezTo>
                    <a:pt x="181" y="188"/>
                    <a:pt x="181" y="188"/>
                    <a:pt x="181" y="188"/>
                  </a:cubicBezTo>
                  <a:cubicBezTo>
                    <a:pt x="180" y="186"/>
                    <a:pt x="180" y="186"/>
                    <a:pt x="180" y="186"/>
                  </a:cubicBezTo>
                  <a:cubicBezTo>
                    <a:pt x="181" y="185"/>
                    <a:pt x="181" y="185"/>
                    <a:pt x="181" y="185"/>
                  </a:cubicBezTo>
                  <a:cubicBezTo>
                    <a:pt x="179" y="182"/>
                    <a:pt x="179" y="182"/>
                    <a:pt x="179" y="182"/>
                  </a:cubicBezTo>
                  <a:cubicBezTo>
                    <a:pt x="178" y="181"/>
                    <a:pt x="178" y="181"/>
                    <a:pt x="178" y="181"/>
                  </a:cubicBezTo>
                  <a:cubicBezTo>
                    <a:pt x="177" y="179"/>
                    <a:pt x="177" y="179"/>
                    <a:pt x="177" y="179"/>
                  </a:cubicBezTo>
                  <a:cubicBezTo>
                    <a:pt x="177" y="179"/>
                    <a:pt x="178" y="177"/>
                    <a:pt x="178" y="177"/>
                  </a:cubicBezTo>
                  <a:cubicBezTo>
                    <a:pt x="178" y="177"/>
                    <a:pt x="179" y="176"/>
                    <a:pt x="179" y="175"/>
                  </a:cubicBezTo>
                  <a:cubicBezTo>
                    <a:pt x="179" y="175"/>
                    <a:pt x="181" y="173"/>
                    <a:pt x="181" y="173"/>
                  </a:cubicBezTo>
                  <a:cubicBezTo>
                    <a:pt x="181" y="173"/>
                    <a:pt x="182" y="171"/>
                    <a:pt x="182" y="170"/>
                  </a:cubicBezTo>
                  <a:cubicBezTo>
                    <a:pt x="182" y="170"/>
                    <a:pt x="183" y="170"/>
                    <a:pt x="183" y="169"/>
                  </a:cubicBezTo>
                  <a:cubicBezTo>
                    <a:pt x="183" y="168"/>
                    <a:pt x="182" y="165"/>
                    <a:pt x="182" y="165"/>
                  </a:cubicBezTo>
                  <a:cubicBezTo>
                    <a:pt x="182" y="165"/>
                    <a:pt x="182" y="163"/>
                    <a:pt x="183" y="162"/>
                  </a:cubicBezTo>
                  <a:cubicBezTo>
                    <a:pt x="183" y="162"/>
                    <a:pt x="183" y="161"/>
                    <a:pt x="183" y="161"/>
                  </a:cubicBezTo>
                  <a:cubicBezTo>
                    <a:pt x="183" y="161"/>
                    <a:pt x="185" y="161"/>
                    <a:pt x="185" y="161"/>
                  </a:cubicBezTo>
                  <a:cubicBezTo>
                    <a:pt x="186" y="162"/>
                    <a:pt x="186" y="160"/>
                    <a:pt x="186" y="160"/>
                  </a:cubicBezTo>
                  <a:cubicBezTo>
                    <a:pt x="186" y="160"/>
                    <a:pt x="186" y="157"/>
                    <a:pt x="185" y="157"/>
                  </a:cubicBezTo>
                  <a:cubicBezTo>
                    <a:pt x="185" y="157"/>
                    <a:pt x="184" y="156"/>
                    <a:pt x="184" y="156"/>
                  </a:cubicBezTo>
                  <a:cubicBezTo>
                    <a:pt x="184" y="156"/>
                    <a:pt x="184" y="155"/>
                    <a:pt x="184" y="155"/>
                  </a:cubicBezTo>
                  <a:cubicBezTo>
                    <a:pt x="185" y="155"/>
                    <a:pt x="186" y="154"/>
                    <a:pt x="186" y="154"/>
                  </a:cubicBezTo>
                  <a:cubicBezTo>
                    <a:pt x="189" y="153"/>
                    <a:pt x="189" y="153"/>
                    <a:pt x="189" y="153"/>
                  </a:cubicBezTo>
                  <a:cubicBezTo>
                    <a:pt x="188" y="150"/>
                    <a:pt x="188" y="150"/>
                    <a:pt x="188" y="150"/>
                  </a:cubicBezTo>
                  <a:cubicBezTo>
                    <a:pt x="188" y="148"/>
                    <a:pt x="188" y="148"/>
                    <a:pt x="188" y="148"/>
                  </a:cubicBezTo>
                  <a:cubicBezTo>
                    <a:pt x="188" y="148"/>
                    <a:pt x="191" y="149"/>
                    <a:pt x="191" y="149"/>
                  </a:cubicBezTo>
                  <a:cubicBezTo>
                    <a:pt x="191" y="149"/>
                    <a:pt x="191" y="151"/>
                    <a:pt x="192" y="151"/>
                  </a:cubicBezTo>
                  <a:cubicBezTo>
                    <a:pt x="193" y="150"/>
                    <a:pt x="193" y="149"/>
                    <a:pt x="193" y="149"/>
                  </a:cubicBezTo>
                  <a:cubicBezTo>
                    <a:pt x="193" y="149"/>
                    <a:pt x="193" y="147"/>
                    <a:pt x="194" y="147"/>
                  </a:cubicBezTo>
                  <a:cubicBezTo>
                    <a:pt x="196" y="148"/>
                    <a:pt x="197" y="146"/>
                    <a:pt x="197" y="146"/>
                  </a:cubicBezTo>
                  <a:cubicBezTo>
                    <a:pt x="197" y="146"/>
                    <a:pt x="199" y="144"/>
                    <a:pt x="199" y="144"/>
                  </a:cubicBezTo>
                  <a:cubicBezTo>
                    <a:pt x="199" y="144"/>
                    <a:pt x="199" y="141"/>
                    <a:pt x="198" y="141"/>
                  </a:cubicBezTo>
                  <a:cubicBezTo>
                    <a:pt x="197" y="141"/>
                    <a:pt x="197" y="141"/>
                    <a:pt x="196" y="140"/>
                  </a:cubicBezTo>
                  <a:cubicBezTo>
                    <a:pt x="196" y="139"/>
                    <a:pt x="197" y="139"/>
                    <a:pt x="198" y="138"/>
                  </a:cubicBezTo>
                  <a:cubicBezTo>
                    <a:pt x="199" y="138"/>
                    <a:pt x="199" y="139"/>
                    <a:pt x="200" y="138"/>
                  </a:cubicBezTo>
                  <a:cubicBezTo>
                    <a:pt x="201" y="137"/>
                    <a:pt x="202" y="136"/>
                    <a:pt x="202" y="136"/>
                  </a:cubicBezTo>
                  <a:cubicBezTo>
                    <a:pt x="202" y="135"/>
                    <a:pt x="204" y="135"/>
                    <a:pt x="204" y="135"/>
                  </a:cubicBezTo>
                  <a:cubicBezTo>
                    <a:pt x="207" y="134"/>
                    <a:pt x="207" y="134"/>
                    <a:pt x="207" y="134"/>
                  </a:cubicBezTo>
                  <a:cubicBezTo>
                    <a:pt x="207" y="132"/>
                    <a:pt x="207" y="132"/>
                    <a:pt x="207" y="132"/>
                  </a:cubicBezTo>
                  <a:cubicBezTo>
                    <a:pt x="207" y="132"/>
                    <a:pt x="209" y="132"/>
                    <a:pt x="209" y="132"/>
                  </a:cubicBezTo>
                  <a:cubicBezTo>
                    <a:pt x="209" y="132"/>
                    <a:pt x="210" y="133"/>
                    <a:pt x="210" y="133"/>
                  </a:cubicBezTo>
                  <a:cubicBezTo>
                    <a:pt x="210" y="133"/>
                    <a:pt x="211" y="133"/>
                    <a:pt x="212" y="132"/>
                  </a:cubicBezTo>
                  <a:cubicBezTo>
                    <a:pt x="212" y="132"/>
                    <a:pt x="211" y="131"/>
                    <a:pt x="212" y="131"/>
                  </a:cubicBezTo>
                  <a:cubicBezTo>
                    <a:pt x="213" y="132"/>
                    <a:pt x="213" y="132"/>
                    <a:pt x="213" y="132"/>
                  </a:cubicBezTo>
                  <a:cubicBezTo>
                    <a:pt x="213" y="133"/>
                    <a:pt x="214" y="133"/>
                    <a:pt x="214" y="133"/>
                  </a:cubicBezTo>
                  <a:cubicBezTo>
                    <a:pt x="214" y="133"/>
                    <a:pt x="215" y="134"/>
                    <a:pt x="215" y="134"/>
                  </a:cubicBezTo>
                  <a:cubicBezTo>
                    <a:pt x="216" y="134"/>
                    <a:pt x="216" y="135"/>
                    <a:pt x="216" y="136"/>
                  </a:cubicBezTo>
                  <a:cubicBezTo>
                    <a:pt x="216" y="136"/>
                    <a:pt x="216" y="136"/>
                    <a:pt x="216" y="137"/>
                  </a:cubicBezTo>
                  <a:cubicBezTo>
                    <a:pt x="216" y="138"/>
                    <a:pt x="216" y="138"/>
                    <a:pt x="216" y="138"/>
                  </a:cubicBezTo>
                  <a:cubicBezTo>
                    <a:pt x="216" y="138"/>
                    <a:pt x="218" y="140"/>
                    <a:pt x="218" y="139"/>
                  </a:cubicBezTo>
                  <a:cubicBezTo>
                    <a:pt x="218" y="139"/>
                    <a:pt x="218" y="139"/>
                    <a:pt x="218" y="138"/>
                  </a:cubicBezTo>
                  <a:cubicBezTo>
                    <a:pt x="218" y="136"/>
                    <a:pt x="218" y="136"/>
                    <a:pt x="218" y="135"/>
                  </a:cubicBezTo>
                  <a:cubicBezTo>
                    <a:pt x="218" y="134"/>
                    <a:pt x="216" y="132"/>
                    <a:pt x="217" y="132"/>
                  </a:cubicBezTo>
                  <a:cubicBezTo>
                    <a:pt x="217" y="132"/>
                    <a:pt x="217" y="131"/>
                    <a:pt x="218" y="131"/>
                  </a:cubicBezTo>
                  <a:cubicBezTo>
                    <a:pt x="219" y="131"/>
                    <a:pt x="218" y="130"/>
                    <a:pt x="219" y="131"/>
                  </a:cubicBezTo>
                  <a:cubicBezTo>
                    <a:pt x="220" y="132"/>
                    <a:pt x="220" y="132"/>
                    <a:pt x="221" y="133"/>
                  </a:cubicBezTo>
                  <a:cubicBezTo>
                    <a:pt x="221" y="133"/>
                    <a:pt x="221" y="132"/>
                    <a:pt x="221" y="133"/>
                  </a:cubicBezTo>
                  <a:cubicBezTo>
                    <a:pt x="222" y="133"/>
                    <a:pt x="222" y="134"/>
                    <a:pt x="222" y="135"/>
                  </a:cubicBezTo>
                  <a:cubicBezTo>
                    <a:pt x="222" y="135"/>
                    <a:pt x="222" y="136"/>
                    <a:pt x="222" y="136"/>
                  </a:cubicBezTo>
                  <a:cubicBezTo>
                    <a:pt x="222" y="137"/>
                    <a:pt x="224" y="139"/>
                    <a:pt x="224" y="139"/>
                  </a:cubicBezTo>
                  <a:cubicBezTo>
                    <a:pt x="224" y="139"/>
                    <a:pt x="225" y="137"/>
                    <a:pt x="225" y="137"/>
                  </a:cubicBezTo>
                  <a:cubicBezTo>
                    <a:pt x="225" y="137"/>
                    <a:pt x="225" y="136"/>
                    <a:pt x="225" y="135"/>
                  </a:cubicBezTo>
                  <a:cubicBezTo>
                    <a:pt x="225" y="135"/>
                    <a:pt x="225" y="134"/>
                    <a:pt x="225" y="134"/>
                  </a:cubicBezTo>
                  <a:cubicBezTo>
                    <a:pt x="225" y="134"/>
                    <a:pt x="223" y="131"/>
                    <a:pt x="223" y="131"/>
                  </a:cubicBezTo>
                  <a:cubicBezTo>
                    <a:pt x="223" y="131"/>
                    <a:pt x="223" y="131"/>
                    <a:pt x="224" y="130"/>
                  </a:cubicBezTo>
                  <a:cubicBezTo>
                    <a:pt x="224" y="130"/>
                    <a:pt x="224" y="129"/>
                    <a:pt x="225" y="129"/>
                  </a:cubicBezTo>
                  <a:cubicBezTo>
                    <a:pt x="219" y="119"/>
                    <a:pt x="219" y="119"/>
                    <a:pt x="219" y="119"/>
                  </a:cubicBezTo>
                  <a:cubicBezTo>
                    <a:pt x="211" y="113"/>
                    <a:pt x="211" y="113"/>
                    <a:pt x="211" y="113"/>
                  </a:cubicBezTo>
                  <a:cubicBezTo>
                    <a:pt x="211" y="108"/>
                    <a:pt x="211" y="108"/>
                    <a:pt x="211" y="108"/>
                  </a:cubicBezTo>
                  <a:cubicBezTo>
                    <a:pt x="209" y="105"/>
                    <a:pt x="209" y="105"/>
                    <a:pt x="209" y="105"/>
                  </a:cubicBezTo>
                  <a:cubicBezTo>
                    <a:pt x="209" y="105"/>
                    <a:pt x="209" y="105"/>
                    <a:pt x="209" y="105"/>
                  </a:cubicBezTo>
                  <a:cubicBezTo>
                    <a:pt x="209" y="105"/>
                    <a:pt x="209" y="101"/>
                    <a:pt x="210" y="100"/>
                  </a:cubicBezTo>
                  <a:cubicBezTo>
                    <a:pt x="211" y="100"/>
                    <a:pt x="211" y="98"/>
                    <a:pt x="212" y="97"/>
                  </a:cubicBezTo>
                  <a:cubicBezTo>
                    <a:pt x="211" y="96"/>
                    <a:pt x="211" y="94"/>
                    <a:pt x="211" y="92"/>
                  </a:cubicBezTo>
                  <a:cubicBezTo>
                    <a:pt x="211" y="92"/>
                    <a:pt x="212" y="88"/>
                    <a:pt x="212" y="88"/>
                  </a:cubicBezTo>
                  <a:cubicBezTo>
                    <a:pt x="211" y="85"/>
                    <a:pt x="211" y="85"/>
                    <a:pt x="211" y="85"/>
                  </a:cubicBezTo>
                  <a:cubicBezTo>
                    <a:pt x="202" y="73"/>
                    <a:pt x="202" y="73"/>
                    <a:pt x="202" y="73"/>
                  </a:cubicBezTo>
                  <a:cubicBezTo>
                    <a:pt x="202" y="67"/>
                    <a:pt x="202" y="67"/>
                    <a:pt x="202" y="67"/>
                  </a:cubicBezTo>
                  <a:cubicBezTo>
                    <a:pt x="201" y="66"/>
                    <a:pt x="201" y="66"/>
                    <a:pt x="201" y="66"/>
                  </a:cubicBezTo>
                  <a:cubicBezTo>
                    <a:pt x="201" y="65"/>
                    <a:pt x="201" y="64"/>
                    <a:pt x="201" y="63"/>
                  </a:cubicBezTo>
                  <a:cubicBezTo>
                    <a:pt x="199" y="63"/>
                    <a:pt x="199" y="63"/>
                    <a:pt x="199" y="63"/>
                  </a:cubicBezTo>
                  <a:cubicBezTo>
                    <a:pt x="196" y="59"/>
                    <a:pt x="196" y="59"/>
                    <a:pt x="196" y="59"/>
                  </a:cubicBezTo>
                  <a:cubicBezTo>
                    <a:pt x="197" y="54"/>
                    <a:pt x="197" y="54"/>
                    <a:pt x="197" y="54"/>
                  </a:cubicBezTo>
                  <a:cubicBezTo>
                    <a:pt x="195" y="44"/>
                    <a:pt x="195" y="44"/>
                    <a:pt x="195" y="44"/>
                  </a:cubicBezTo>
                  <a:cubicBezTo>
                    <a:pt x="196" y="40"/>
                    <a:pt x="196" y="40"/>
                    <a:pt x="196" y="40"/>
                  </a:cubicBezTo>
                  <a:cubicBezTo>
                    <a:pt x="193" y="39"/>
                    <a:pt x="193" y="39"/>
                    <a:pt x="193" y="39"/>
                  </a:cubicBezTo>
                  <a:cubicBezTo>
                    <a:pt x="190" y="35"/>
                    <a:pt x="190" y="35"/>
                    <a:pt x="190" y="35"/>
                  </a:cubicBezTo>
                  <a:cubicBezTo>
                    <a:pt x="190" y="35"/>
                    <a:pt x="190" y="35"/>
                    <a:pt x="190" y="35"/>
                  </a:cubicBezTo>
                  <a:cubicBezTo>
                    <a:pt x="189" y="35"/>
                    <a:pt x="188" y="35"/>
                    <a:pt x="188" y="34"/>
                  </a:cubicBezTo>
                  <a:cubicBezTo>
                    <a:pt x="188" y="34"/>
                    <a:pt x="187" y="33"/>
                    <a:pt x="183" y="27"/>
                  </a:cubicBezTo>
                  <a:cubicBezTo>
                    <a:pt x="177" y="25"/>
                    <a:pt x="177" y="25"/>
                    <a:pt x="177" y="25"/>
                  </a:cubicBezTo>
                  <a:cubicBezTo>
                    <a:pt x="173" y="24"/>
                    <a:pt x="173" y="24"/>
                    <a:pt x="173" y="24"/>
                  </a:cubicBezTo>
                  <a:cubicBezTo>
                    <a:pt x="171" y="23"/>
                    <a:pt x="171" y="23"/>
                    <a:pt x="171" y="23"/>
                  </a:cubicBezTo>
                  <a:cubicBezTo>
                    <a:pt x="170" y="24"/>
                    <a:pt x="170" y="24"/>
                    <a:pt x="169" y="24"/>
                  </a:cubicBezTo>
                  <a:cubicBezTo>
                    <a:pt x="168" y="24"/>
                    <a:pt x="167" y="24"/>
                    <a:pt x="166" y="22"/>
                  </a:cubicBezTo>
                  <a:cubicBezTo>
                    <a:pt x="166" y="21"/>
                    <a:pt x="165" y="21"/>
                    <a:pt x="165" y="20"/>
                  </a:cubicBezTo>
                  <a:cubicBezTo>
                    <a:pt x="162" y="21"/>
                    <a:pt x="162" y="21"/>
                    <a:pt x="162" y="21"/>
                  </a:cubicBezTo>
                  <a:cubicBezTo>
                    <a:pt x="159" y="18"/>
                    <a:pt x="159" y="18"/>
                    <a:pt x="159" y="18"/>
                  </a:cubicBezTo>
                  <a:cubicBezTo>
                    <a:pt x="159" y="17"/>
                    <a:pt x="159" y="17"/>
                    <a:pt x="158" y="17"/>
                  </a:cubicBezTo>
                  <a:cubicBezTo>
                    <a:pt x="157" y="17"/>
                    <a:pt x="155" y="16"/>
                    <a:pt x="155" y="15"/>
                  </a:cubicBezTo>
                  <a:cubicBezTo>
                    <a:pt x="155" y="15"/>
                    <a:pt x="155" y="15"/>
                    <a:pt x="155" y="15"/>
                  </a:cubicBezTo>
                  <a:cubicBezTo>
                    <a:pt x="153" y="11"/>
                    <a:pt x="153" y="11"/>
                    <a:pt x="153" y="11"/>
                  </a:cubicBezTo>
                  <a:cubicBezTo>
                    <a:pt x="150" y="11"/>
                    <a:pt x="150" y="11"/>
                    <a:pt x="150" y="11"/>
                  </a:cubicBezTo>
                  <a:cubicBezTo>
                    <a:pt x="145" y="8"/>
                    <a:pt x="145" y="8"/>
                    <a:pt x="145" y="8"/>
                  </a:cubicBezTo>
                  <a:cubicBezTo>
                    <a:pt x="145" y="4"/>
                    <a:pt x="145" y="4"/>
                    <a:pt x="145" y="4"/>
                  </a:cubicBezTo>
                  <a:cubicBezTo>
                    <a:pt x="140" y="2"/>
                    <a:pt x="140" y="2"/>
                    <a:pt x="140" y="2"/>
                  </a:cubicBezTo>
                  <a:cubicBezTo>
                    <a:pt x="140" y="2"/>
                    <a:pt x="140" y="2"/>
                    <a:pt x="140" y="2"/>
                  </a:cubicBezTo>
                  <a:cubicBezTo>
                    <a:pt x="140" y="2"/>
                    <a:pt x="139" y="1"/>
                    <a:pt x="139" y="0"/>
                  </a:cubicBezTo>
                  <a:cubicBezTo>
                    <a:pt x="137" y="1"/>
                    <a:pt x="137" y="1"/>
                    <a:pt x="137" y="1"/>
                  </a:cubicBezTo>
                  <a:cubicBezTo>
                    <a:pt x="134" y="1"/>
                    <a:pt x="134" y="1"/>
                    <a:pt x="134" y="1"/>
                  </a:cubicBezTo>
                  <a:cubicBezTo>
                    <a:pt x="134" y="1"/>
                    <a:pt x="133" y="2"/>
                    <a:pt x="133" y="2"/>
                  </a:cubicBezTo>
                  <a:cubicBezTo>
                    <a:pt x="133" y="3"/>
                    <a:pt x="136" y="10"/>
                    <a:pt x="136" y="12"/>
                  </a:cubicBezTo>
                  <a:cubicBezTo>
                    <a:pt x="137" y="13"/>
                    <a:pt x="137" y="18"/>
                    <a:pt x="134" y="23"/>
                  </a:cubicBezTo>
                  <a:cubicBezTo>
                    <a:pt x="137" y="25"/>
                    <a:pt x="137" y="25"/>
                    <a:pt x="137" y="25"/>
                  </a:cubicBezTo>
                  <a:cubicBezTo>
                    <a:pt x="134" y="30"/>
                    <a:pt x="134" y="30"/>
                    <a:pt x="134" y="30"/>
                  </a:cubicBezTo>
                  <a:cubicBezTo>
                    <a:pt x="129" y="31"/>
                    <a:pt x="129" y="31"/>
                    <a:pt x="129" y="31"/>
                  </a:cubicBezTo>
                  <a:cubicBezTo>
                    <a:pt x="129" y="31"/>
                    <a:pt x="124" y="30"/>
                    <a:pt x="123" y="29"/>
                  </a:cubicBezTo>
                  <a:cubicBezTo>
                    <a:pt x="122" y="28"/>
                    <a:pt x="119" y="26"/>
                    <a:pt x="117" y="27"/>
                  </a:cubicBezTo>
                  <a:cubicBezTo>
                    <a:pt x="116" y="27"/>
                    <a:pt x="105" y="27"/>
                    <a:pt x="105" y="27"/>
                  </a:cubicBezTo>
                  <a:cubicBezTo>
                    <a:pt x="102" y="30"/>
                    <a:pt x="104" y="47"/>
                    <a:pt x="104" y="49"/>
                  </a:cubicBezTo>
                  <a:cubicBezTo>
                    <a:pt x="103" y="52"/>
                    <a:pt x="103" y="52"/>
                    <a:pt x="103" y="52"/>
                  </a:cubicBezTo>
                  <a:cubicBezTo>
                    <a:pt x="98" y="52"/>
                    <a:pt x="98" y="52"/>
                    <a:pt x="98" y="52"/>
                  </a:cubicBezTo>
                  <a:cubicBezTo>
                    <a:pt x="91" y="48"/>
                    <a:pt x="91" y="48"/>
                    <a:pt x="91" y="48"/>
                  </a:cubicBezTo>
                  <a:cubicBezTo>
                    <a:pt x="87" y="55"/>
                    <a:pt x="87" y="55"/>
                    <a:pt x="87" y="55"/>
                  </a:cubicBezTo>
                  <a:cubicBezTo>
                    <a:pt x="87" y="55"/>
                    <a:pt x="84" y="58"/>
                    <a:pt x="84" y="59"/>
                  </a:cubicBezTo>
                  <a:cubicBezTo>
                    <a:pt x="84" y="60"/>
                    <a:pt x="82" y="63"/>
                    <a:pt x="82" y="64"/>
                  </a:cubicBezTo>
                  <a:cubicBezTo>
                    <a:pt x="82" y="64"/>
                    <a:pt x="83" y="70"/>
                    <a:pt x="83" y="70"/>
                  </a:cubicBezTo>
                  <a:cubicBezTo>
                    <a:pt x="81" y="73"/>
                    <a:pt x="81" y="73"/>
                    <a:pt x="81" y="73"/>
                  </a:cubicBezTo>
                  <a:cubicBezTo>
                    <a:pt x="76" y="76"/>
                    <a:pt x="76" y="76"/>
                    <a:pt x="76" y="76"/>
                  </a:cubicBezTo>
                  <a:cubicBezTo>
                    <a:pt x="76" y="80"/>
                    <a:pt x="76" y="80"/>
                    <a:pt x="76" y="80"/>
                  </a:cubicBezTo>
                  <a:cubicBezTo>
                    <a:pt x="76" y="80"/>
                    <a:pt x="79" y="85"/>
                    <a:pt x="80" y="86"/>
                  </a:cubicBezTo>
                  <a:cubicBezTo>
                    <a:pt x="81" y="87"/>
                    <a:pt x="82" y="94"/>
                    <a:pt x="82" y="94"/>
                  </a:cubicBezTo>
                  <a:cubicBezTo>
                    <a:pt x="82" y="94"/>
                    <a:pt x="80" y="99"/>
                    <a:pt x="79" y="101"/>
                  </a:cubicBezTo>
                  <a:cubicBezTo>
                    <a:pt x="78" y="103"/>
                    <a:pt x="72" y="111"/>
                    <a:pt x="72" y="111"/>
                  </a:cubicBezTo>
                  <a:cubicBezTo>
                    <a:pt x="68" y="121"/>
                    <a:pt x="68" y="121"/>
                    <a:pt x="68" y="121"/>
                  </a:cubicBezTo>
                  <a:cubicBezTo>
                    <a:pt x="68" y="129"/>
                    <a:pt x="68" y="129"/>
                    <a:pt x="68" y="129"/>
                  </a:cubicBezTo>
                  <a:cubicBezTo>
                    <a:pt x="67" y="133"/>
                    <a:pt x="67" y="133"/>
                    <a:pt x="67" y="133"/>
                  </a:cubicBezTo>
                  <a:cubicBezTo>
                    <a:pt x="62" y="138"/>
                    <a:pt x="62" y="138"/>
                    <a:pt x="62" y="138"/>
                  </a:cubicBezTo>
                  <a:cubicBezTo>
                    <a:pt x="54" y="139"/>
                    <a:pt x="54" y="139"/>
                    <a:pt x="54" y="139"/>
                  </a:cubicBezTo>
                  <a:cubicBezTo>
                    <a:pt x="52" y="142"/>
                    <a:pt x="52" y="142"/>
                    <a:pt x="52" y="142"/>
                  </a:cubicBezTo>
                  <a:cubicBezTo>
                    <a:pt x="56" y="155"/>
                    <a:pt x="56" y="155"/>
                    <a:pt x="56" y="155"/>
                  </a:cubicBezTo>
                  <a:cubicBezTo>
                    <a:pt x="54" y="161"/>
                    <a:pt x="54" y="161"/>
                    <a:pt x="54" y="161"/>
                  </a:cubicBezTo>
                  <a:cubicBezTo>
                    <a:pt x="53" y="167"/>
                    <a:pt x="53" y="167"/>
                    <a:pt x="53" y="167"/>
                  </a:cubicBezTo>
                  <a:cubicBezTo>
                    <a:pt x="53" y="167"/>
                    <a:pt x="52" y="172"/>
                    <a:pt x="53" y="173"/>
                  </a:cubicBezTo>
                  <a:cubicBezTo>
                    <a:pt x="54" y="174"/>
                    <a:pt x="54" y="178"/>
                    <a:pt x="54" y="178"/>
                  </a:cubicBezTo>
                  <a:cubicBezTo>
                    <a:pt x="51" y="180"/>
                    <a:pt x="51" y="180"/>
                    <a:pt x="51" y="180"/>
                  </a:cubicBezTo>
                  <a:cubicBezTo>
                    <a:pt x="52" y="185"/>
                    <a:pt x="52" y="185"/>
                    <a:pt x="52" y="185"/>
                  </a:cubicBezTo>
                  <a:cubicBezTo>
                    <a:pt x="39" y="205"/>
                    <a:pt x="39" y="205"/>
                    <a:pt x="39" y="205"/>
                  </a:cubicBezTo>
                  <a:cubicBezTo>
                    <a:pt x="42" y="210"/>
                    <a:pt x="42" y="210"/>
                    <a:pt x="42" y="210"/>
                  </a:cubicBezTo>
                  <a:cubicBezTo>
                    <a:pt x="49" y="211"/>
                    <a:pt x="49" y="211"/>
                    <a:pt x="49" y="211"/>
                  </a:cubicBezTo>
                  <a:cubicBezTo>
                    <a:pt x="50" y="224"/>
                    <a:pt x="50" y="224"/>
                    <a:pt x="50" y="224"/>
                  </a:cubicBezTo>
                  <a:cubicBezTo>
                    <a:pt x="47" y="230"/>
                    <a:pt x="47" y="230"/>
                    <a:pt x="47" y="230"/>
                  </a:cubicBezTo>
                  <a:cubicBezTo>
                    <a:pt x="46" y="231"/>
                    <a:pt x="46" y="231"/>
                    <a:pt x="46" y="231"/>
                  </a:cubicBezTo>
                  <a:cubicBezTo>
                    <a:pt x="27" y="233"/>
                    <a:pt x="27" y="233"/>
                    <a:pt x="27" y="233"/>
                  </a:cubicBezTo>
                  <a:cubicBezTo>
                    <a:pt x="16" y="246"/>
                    <a:pt x="16" y="246"/>
                    <a:pt x="16" y="246"/>
                  </a:cubicBezTo>
                  <a:cubicBezTo>
                    <a:pt x="15" y="254"/>
                    <a:pt x="15" y="254"/>
                    <a:pt x="15" y="254"/>
                  </a:cubicBezTo>
                  <a:cubicBezTo>
                    <a:pt x="15" y="259"/>
                    <a:pt x="15" y="259"/>
                    <a:pt x="15" y="259"/>
                  </a:cubicBezTo>
                  <a:cubicBezTo>
                    <a:pt x="15" y="259"/>
                    <a:pt x="12" y="263"/>
                    <a:pt x="11" y="264"/>
                  </a:cubicBezTo>
                  <a:cubicBezTo>
                    <a:pt x="11" y="265"/>
                    <a:pt x="11" y="270"/>
                    <a:pt x="11" y="270"/>
                  </a:cubicBezTo>
                  <a:cubicBezTo>
                    <a:pt x="15" y="276"/>
                    <a:pt x="15" y="276"/>
                    <a:pt x="15" y="276"/>
                  </a:cubicBezTo>
                  <a:cubicBezTo>
                    <a:pt x="15" y="281"/>
                    <a:pt x="15" y="281"/>
                    <a:pt x="15" y="281"/>
                  </a:cubicBezTo>
                  <a:cubicBezTo>
                    <a:pt x="13" y="284"/>
                    <a:pt x="13" y="284"/>
                    <a:pt x="13" y="284"/>
                  </a:cubicBezTo>
                  <a:cubicBezTo>
                    <a:pt x="14" y="289"/>
                    <a:pt x="14" y="289"/>
                    <a:pt x="14" y="289"/>
                  </a:cubicBezTo>
                  <a:cubicBezTo>
                    <a:pt x="14" y="289"/>
                    <a:pt x="15" y="291"/>
                    <a:pt x="14" y="292"/>
                  </a:cubicBezTo>
                  <a:cubicBezTo>
                    <a:pt x="13" y="293"/>
                    <a:pt x="13" y="295"/>
                    <a:pt x="13" y="296"/>
                  </a:cubicBezTo>
                  <a:cubicBezTo>
                    <a:pt x="13" y="297"/>
                    <a:pt x="19" y="308"/>
                    <a:pt x="19" y="308"/>
                  </a:cubicBezTo>
                  <a:cubicBezTo>
                    <a:pt x="20" y="333"/>
                    <a:pt x="20" y="333"/>
                    <a:pt x="20" y="333"/>
                  </a:cubicBezTo>
                  <a:cubicBezTo>
                    <a:pt x="22" y="339"/>
                    <a:pt x="22" y="339"/>
                    <a:pt x="22" y="339"/>
                  </a:cubicBezTo>
                  <a:cubicBezTo>
                    <a:pt x="28" y="343"/>
                    <a:pt x="28" y="343"/>
                    <a:pt x="28" y="343"/>
                  </a:cubicBezTo>
                  <a:cubicBezTo>
                    <a:pt x="32" y="348"/>
                    <a:pt x="32" y="348"/>
                    <a:pt x="32" y="348"/>
                  </a:cubicBezTo>
                  <a:cubicBezTo>
                    <a:pt x="33" y="354"/>
                    <a:pt x="33" y="354"/>
                    <a:pt x="33" y="354"/>
                  </a:cubicBezTo>
                  <a:cubicBezTo>
                    <a:pt x="33" y="354"/>
                    <a:pt x="32" y="360"/>
                    <a:pt x="32" y="361"/>
                  </a:cubicBezTo>
                  <a:cubicBezTo>
                    <a:pt x="32" y="362"/>
                    <a:pt x="28" y="361"/>
                    <a:pt x="28" y="361"/>
                  </a:cubicBezTo>
                  <a:cubicBezTo>
                    <a:pt x="24" y="362"/>
                    <a:pt x="24" y="362"/>
                    <a:pt x="24" y="362"/>
                  </a:cubicBezTo>
                  <a:cubicBezTo>
                    <a:pt x="20" y="366"/>
                    <a:pt x="20" y="366"/>
                    <a:pt x="20" y="366"/>
                  </a:cubicBezTo>
                  <a:cubicBezTo>
                    <a:pt x="21" y="371"/>
                    <a:pt x="21" y="371"/>
                    <a:pt x="21" y="371"/>
                  </a:cubicBezTo>
                  <a:cubicBezTo>
                    <a:pt x="24" y="378"/>
                    <a:pt x="24" y="378"/>
                    <a:pt x="24" y="378"/>
                  </a:cubicBezTo>
                  <a:cubicBezTo>
                    <a:pt x="29" y="384"/>
                    <a:pt x="29" y="384"/>
                    <a:pt x="29" y="384"/>
                  </a:cubicBezTo>
                  <a:cubicBezTo>
                    <a:pt x="30" y="389"/>
                    <a:pt x="30" y="389"/>
                    <a:pt x="30" y="389"/>
                  </a:cubicBezTo>
                  <a:cubicBezTo>
                    <a:pt x="28" y="394"/>
                    <a:pt x="28" y="394"/>
                    <a:pt x="28" y="394"/>
                  </a:cubicBezTo>
                  <a:cubicBezTo>
                    <a:pt x="26" y="396"/>
                    <a:pt x="26" y="396"/>
                    <a:pt x="26" y="396"/>
                  </a:cubicBezTo>
                  <a:cubicBezTo>
                    <a:pt x="28" y="400"/>
                    <a:pt x="28" y="400"/>
                    <a:pt x="28" y="400"/>
                  </a:cubicBezTo>
                  <a:cubicBezTo>
                    <a:pt x="28" y="404"/>
                    <a:pt x="28" y="404"/>
                    <a:pt x="28" y="404"/>
                  </a:cubicBezTo>
                  <a:cubicBezTo>
                    <a:pt x="28" y="404"/>
                    <a:pt x="26" y="407"/>
                    <a:pt x="26" y="407"/>
                  </a:cubicBezTo>
                  <a:cubicBezTo>
                    <a:pt x="26" y="408"/>
                    <a:pt x="23" y="410"/>
                    <a:pt x="23" y="410"/>
                  </a:cubicBezTo>
                  <a:cubicBezTo>
                    <a:pt x="21" y="413"/>
                    <a:pt x="21" y="413"/>
                    <a:pt x="21" y="413"/>
                  </a:cubicBezTo>
                  <a:cubicBezTo>
                    <a:pt x="18" y="414"/>
                    <a:pt x="18" y="414"/>
                    <a:pt x="18" y="414"/>
                  </a:cubicBezTo>
                  <a:cubicBezTo>
                    <a:pt x="18" y="414"/>
                    <a:pt x="17" y="413"/>
                    <a:pt x="16" y="413"/>
                  </a:cubicBezTo>
                  <a:cubicBezTo>
                    <a:pt x="15" y="414"/>
                    <a:pt x="14" y="415"/>
                    <a:pt x="14" y="415"/>
                  </a:cubicBezTo>
                  <a:cubicBezTo>
                    <a:pt x="14" y="418"/>
                    <a:pt x="14" y="418"/>
                    <a:pt x="14" y="418"/>
                  </a:cubicBezTo>
                  <a:cubicBezTo>
                    <a:pt x="16" y="420"/>
                    <a:pt x="16" y="420"/>
                    <a:pt x="16" y="420"/>
                  </a:cubicBezTo>
                  <a:cubicBezTo>
                    <a:pt x="15" y="424"/>
                    <a:pt x="15" y="424"/>
                    <a:pt x="15" y="424"/>
                  </a:cubicBezTo>
                  <a:cubicBezTo>
                    <a:pt x="13" y="426"/>
                    <a:pt x="13" y="426"/>
                    <a:pt x="13" y="426"/>
                  </a:cubicBezTo>
                  <a:cubicBezTo>
                    <a:pt x="10" y="427"/>
                    <a:pt x="10" y="427"/>
                    <a:pt x="10" y="427"/>
                  </a:cubicBezTo>
                  <a:cubicBezTo>
                    <a:pt x="11" y="432"/>
                    <a:pt x="11" y="432"/>
                    <a:pt x="11" y="432"/>
                  </a:cubicBezTo>
                  <a:cubicBezTo>
                    <a:pt x="15" y="437"/>
                    <a:pt x="15" y="437"/>
                    <a:pt x="15" y="437"/>
                  </a:cubicBezTo>
                  <a:cubicBezTo>
                    <a:pt x="15" y="442"/>
                    <a:pt x="15" y="442"/>
                    <a:pt x="15" y="442"/>
                  </a:cubicBezTo>
                  <a:cubicBezTo>
                    <a:pt x="12" y="447"/>
                    <a:pt x="12" y="447"/>
                    <a:pt x="12" y="447"/>
                  </a:cubicBezTo>
                  <a:cubicBezTo>
                    <a:pt x="12" y="453"/>
                    <a:pt x="12" y="453"/>
                    <a:pt x="12" y="453"/>
                  </a:cubicBezTo>
                  <a:cubicBezTo>
                    <a:pt x="11" y="457"/>
                    <a:pt x="11" y="457"/>
                    <a:pt x="11" y="457"/>
                  </a:cubicBezTo>
                  <a:cubicBezTo>
                    <a:pt x="10" y="458"/>
                    <a:pt x="10" y="458"/>
                    <a:pt x="10" y="458"/>
                  </a:cubicBezTo>
                  <a:cubicBezTo>
                    <a:pt x="7" y="458"/>
                    <a:pt x="7" y="458"/>
                    <a:pt x="7" y="458"/>
                  </a:cubicBezTo>
                  <a:cubicBezTo>
                    <a:pt x="7" y="458"/>
                    <a:pt x="7" y="453"/>
                    <a:pt x="6" y="453"/>
                  </a:cubicBezTo>
                  <a:cubicBezTo>
                    <a:pt x="6" y="452"/>
                    <a:pt x="1" y="448"/>
                    <a:pt x="1" y="448"/>
                  </a:cubicBezTo>
                  <a:cubicBezTo>
                    <a:pt x="0" y="452"/>
                    <a:pt x="0" y="452"/>
                    <a:pt x="0" y="452"/>
                  </a:cubicBezTo>
                  <a:cubicBezTo>
                    <a:pt x="0" y="458"/>
                    <a:pt x="0" y="458"/>
                    <a:pt x="0" y="458"/>
                  </a:cubicBezTo>
                  <a:cubicBezTo>
                    <a:pt x="0" y="458"/>
                    <a:pt x="1" y="461"/>
                    <a:pt x="1" y="462"/>
                  </a:cubicBezTo>
                  <a:cubicBezTo>
                    <a:pt x="2" y="463"/>
                    <a:pt x="3" y="468"/>
                    <a:pt x="3" y="468"/>
                  </a:cubicBezTo>
                  <a:cubicBezTo>
                    <a:pt x="2" y="474"/>
                    <a:pt x="2" y="474"/>
                    <a:pt x="2" y="474"/>
                  </a:cubicBezTo>
                  <a:cubicBezTo>
                    <a:pt x="2" y="474"/>
                    <a:pt x="3" y="478"/>
                    <a:pt x="4" y="478"/>
                  </a:cubicBezTo>
                  <a:cubicBezTo>
                    <a:pt x="4" y="479"/>
                    <a:pt x="4" y="482"/>
                    <a:pt x="4" y="482"/>
                  </a:cubicBezTo>
                  <a:cubicBezTo>
                    <a:pt x="7" y="481"/>
                    <a:pt x="7" y="481"/>
                    <a:pt x="7" y="481"/>
                  </a:cubicBezTo>
                  <a:cubicBezTo>
                    <a:pt x="7" y="479"/>
                    <a:pt x="7" y="479"/>
                    <a:pt x="7" y="479"/>
                  </a:cubicBezTo>
                  <a:cubicBezTo>
                    <a:pt x="9" y="482"/>
                    <a:pt x="9" y="482"/>
                    <a:pt x="9" y="482"/>
                  </a:cubicBezTo>
                  <a:cubicBezTo>
                    <a:pt x="9" y="482"/>
                    <a:pt x="8" y="483"/>
                    <a:pt x="9" y="483"/>
                  </a:cubicBezTo>
                  <a:cubicBezTo>
                    <a:pt x="10" y="482"/>
                    <a:pt x="12" y="481"/>
                    <a:pt x="12" y="481"/>
                  </a:cubicBezTo>
                  <a:cubicBezTo>
                    <a:pt x="11" y="483"/>
                    <a:pt x="11" y="483"/>
                    <a:pt x="11" y="483"/>
                  </a:cubicBezTo>
                  <a:cubicBezTo>
                    <a:pt x="9" y="486"/>
                    <a:pt x="9" y="486"/>
                    <a:pt x="9" y="486"/>
                  </a:cubicBezTo>
                  <a:cubicBezTo>
                    <a:pt x="10" y="487"/>
                    <a:pt x="10" y="487"/>
                    <a:pt x="10" y="487"/>
                  </a:cubicBezTo>
                  <a:cubicBezTo>
                    <a:pt x="12" y="488"/>
                    <a:pt x="12" y="488"/>
                    <a:pt x="12" y="488"/>
                  </a:cubicBezTo>
                  <a:cubicBezTo>
                    <a:pt x="9" y="492"/>
                    <a:pt x="9" y="492"/>
                    <a:pt x="9" y="492"/>
                  </a:cubicBezTo>
                  <a:cubicBezTo>
                    <a:pt x="9" y="492"/>
                    <a:pt x="11" y="494"/>
                    <a:pt x="11" y="495"/>
                  </a:cubicBezTo>
                  <a:cubicBezTo>
                    <a:pt x="11" y="495"/>
                    <a:pt x="15" y="492"/>
                    <a:pt x="15" y="492"/>
                  </a:cubicBezTo>
                  <a:cubicBezTo>
                    <a:pt x="15" y="492"/>
                    <a:pt x="15" y="493"/>
                    <a:pt x="15" y="494"/>
                  </a:cubicBezTo>
                  <a:cubicBezTo>
                    <a:pt x="15" y="495"/>
                    <a:pt x="12" y="497"/>
                    <a:pt x="13" y="498"/>
                  </a:cubicBezTo>
                  <a:cubicBezTo>
                    <a:pt x="13" y="499"/>
                    <a:pt x="18" y="498"/>
                    <a:pt x="17" y="498"/>
                  </a:cubicBezTo>
                  <a:cubicBezTo>
                    <a:pt x="16" y="499"/>
                    <a:pt x="16" y="501"/>
                    <a:pt x="16" y="501"/>
                  </a:cubicBezTo>
                  <a:cubicBezTo>
                    <a:pt x="16" y="501"/>
                    <a:pt x="14" y="503"/>
                    <a:pt x="15" y="504"/>
                  </a:cubicBezTo>
                  <a:cubicBezTo>
                    <a:pt x="16" y="504"/>
                    <a:pt x="18" y="505"/>
                    <a:pt x="18" y="506"/>
                  </a:cubicBezTo>
                  <a:cubicBezTo>
                    <a:pt x="17" y="506"/>
                    <a:pt x="15" y="508"/>
                    <a:pt x="15" y="508"/>
                  </a:cubicBezTo>
                  <a:cubicBezTo>
                    <a:pt x="15" y="508"/>
                    <a:pt x="14" y="510"/>
                    <a:pt x="15" y="510"/>
                  </a:cubicBezTo>
                  <a:cubicBezTo>
                    <a:pt x="16" y="511"/>
                    <a:pt x="18" y="511"/>
                    <a:pt x="18" y="511"/>
                  </a:cubicBezTo>
                  <a:cubicBezTo>
                    <a:pt x="18" y="511"/>
                    <a:pt x="18" y="510"/>
                    <a:pt x="18" y="510"/>
                  </a:cubicBezTo>
                  <a:cubicBezTo>
                    <a:pt x="18" y="511"/>
                    <a:pt x="17" y="513"/>
                    <a:pt x="17" y="513"/>
                  </a:cubicBezTo>
                  <a:cubicBezTo>
                    <a:pt x="17" y="513"/>
                    <a:pt x="17" y="514"/>
                    <a:pt x="17" y="515"/>
                  </a:cubicBezTo>
                  <a:cubicBezTo>
                    <a:pt x="18" y="515"/>
                    <a:pt x="20" y="515"/>
                    <a:pt x="20" y="515"/>
                  </a:cubicBezTo>
                  <a:cubicBezTo>
                    <a:pt x="20" y="515"/>
                    <a:pt x="20" y="516"/>
                    <a:pt x="20" y="517"/>
                  </a:cubicBezTo>
                  <a:cubicBezTo>
                    <a:pt x="20" y="518"/>
                    <a:pt x="20" y="520"/>
                    <a:pt x="19" y="521"/>
                  </a:cubicBezTo>
                  <a:cubicBezTo>
                    <a:pt x="19" y="521"/>
                    <a:pt x="20" y="523"/>
                    <a:pt x="20" y="523"/>
                  </a:cubicBezTo>
                  <a:cubicBezTo>
                    <a:pt x="20" y="523"/>
                    <a:pt x="19" y="524"/>
                    <a:pt x="21" y="524"/>
                  </a:cubicBezTo>
                  <a:cubicBezTo>
                    <a:pt x="23" y="524"/>
                    <a:pt x="23" y="523"/>
                    <a:pt x="24" y="523"/>
                  </a:cubicBezTo>
                  <a:cubicBezTo>
                    <a:pt x="24" y="523"/>
                    <a:pt x="25" y="524"/>
                    <a:pt x="25" y="525"/>
                  </a:cubicBezTo>
                  <a:cubicBezTo>
                    <a:pt x="25" y="526"/>
                    <a:pt x="26" y="527"/>
                    <a:pt x="26" y="528"/>
                  </a:cubicBezTo>
                  <a:cubicBezTo>
                    <a:pt x="26" y="529"/>
                    <a:pt x="29" y="537"/>
                    <a:pt x="29" y="537"/>
                  </a:cubicBezTo>
                  <a:cubicBezTo>
                    <a:pt x="29" y="537"/>
                    <a:pt x="30" y="540"/>
                    <a:pt x="31" y="541"/>
                  </a:cubicBezTo>
                  <a:cubicBezTo>
                    <a:pt x="31" y="542"/>
                    <a:pt x="32" y="543"/>
                    <a:pt x="32" y="543"/>
                  </a:cubicBezTo>
                  <a:cubicBezTo>
                    <a:pt x="33" y="544"/>
                    <a:pt x="35" y="546"/>
                    <a:pt x="35" y="546"/>
                  </a:cubicBezTo>
                  <a:cubicBezTo>
                    <a:pt x="37" y="547"/>
                    <a:pt x="37" y="547"/>
                    <a:pt x="37" y="547"/>
                  </a:cubicBezTo>
                  <a:cubicBezTo>
                    <a:pt x="40" y="553"/>
                    <a:pt x="40" y="553"/>
                    <a:pt x="40" y="553"/>
                  </a:cubicBezTo>
                  <a:cubicBezTo>
                    <a:pt x="40" y="553"/>
                    <a:pt x="42" y="555"/>
                    <a:pt x="43" y="555"/>
                  </a:cubicBezTo>
                  <a:cubicBezTo>
                    <a:pt x="43" y="555"/>
                    <a:pt x="45" y="553"/>
                    <a:pt x="45" y="553"/>
                  </a:cubicBezTo>
                  <a:cubicBezTo>
                    <a:pt x="45" y="553"/>
                    <a:pt x="47" y="554"/>
                    <a:pt x="47" y="555"/>
                  </a:cubicBezTo>
                  <a:cubicBezTo>
                    <a:pt x="47" y="555"/>
                    <a:pt x="45" y="559"/>
                    <a:pt x="46" y="560"/>
                  </a:cubicBezTo>
                  <a:cubicBezTo>
                    <a:pt x="46" y="560"/>
                    <a:pt x="46" y="562"/>
                    <a:pt x="46" y="562"/>
                  </a:cubicBezTo>
                  <a:cubicBezTo>
                    <a:pt x="45" y="563"/>
                    <a:pt x="45" y="563"/>
                    <a:pt x="45" y="563"/>
                  </a:cubicBezTo>
                  <a:cubicBezTo>
                    <a:pt x="43" y="564"/>
                    <a:pt x="43" y="564"/>
                    <a:pt x="43" y="564"/>
                  </a:cubicBezTo>
                  <a:cubicBezTo>
                    <a:pt x="40" y="563"/>
                    <a:pt x="40" y="563"/>
                    <a:pt x="40" y="563"/>
                  </a:cubicBezTo>
                  <a:cubicBezTo>
                    <a:pt x="39" y="566"/>
                    <a:pt x="39" y="566"/>
                    <a:pt x="39" y="566"/>
                  </a:cubicBezTo>
                  <a:cubicBezTo>
                    <a:pt x="42" y="568"/>
                    <a:pt x="42" y="568"/>
                    <a:pt x="42" y="568"/>
                  </a:cubicBezTo>
                  <a:cubicBezTo>
                    <a:pt x="42" y="568"/>
                    <a:pt x="44" y="570"/>
                    <a:pt x="44" y="570"/>
                  </a:cubicBezTo>
                  <a:cubicBezTo>
                    <a:pt x="44" y="571"/>
                    <a:pt x="45" y="574"/>
                    <a:pt x="44" y="574"/>
                  </a:cubicBezTo>
                  <a:cubicBezTo>
                    <a:pt x="44" y="574"/>
                    <a:pt x="40" y="573"/>
                    <a:pt x="40" y="573"/>
                  </a:cubicBezTo>
                  <a:cubicBezTo>
                    <a:pt x="40" y="573"/>
                    <a:pt x="39" y="576"/>
                    <a:pt x="39" y="576"/>
                  </a:cubicBezTo>
                  <a:cubicBezTo>
                    <a:pt x="39" y="577"/>
                    <a:pt x="38" y="577"/>
                    <a:pt x="39" y="579"/>
                  </a:cubicBezTo>
                  <a:cubicBezTo>
                    <a:pt x="41" y="581"/>
                    <a:pt x="45" y="586"/>
                    <a:pt x="45" y="586"/>
                  </a:cubicBezTo>
                  <a:cubicBezTo>
                    <a:pt x="45" y="586"/>
                    <a:pt x="48" y="591"/>
                    <a:pt x="48" y="591"/>
                  </a:cubicBezTo>
                  <a:cubicBezTo>
                    <a:pt x="48" y="591"/>
                    <a:pt x="50" y="594"/>
                    <a:pt x="50" y="595"/>
                  </a:cubicBezTo>
                  <a:cubicBezTo>
                    <a:pt x="51" y="595"/>
                    <a:pt x="51" y="598"/>
                    <a:pt x="51" y="598"/>
                  </a:cubicBezTo>
                  <a:cubicBezTo>
                    <a:pt x="50" y="599"/>
                    <a:pt x="50" y="599"/>
                    <a:pt x="50" y="599"/>
                  </a:cubicBezTo>
                  <a:cubicBezTo>
                    <a:pt x="49" y="602"/>
                    <a:pt x="49" y="602"/>
                    <a:pt x="49" y="602"/>
                  </a:cubicBezTo>
                  <a:cubicBezTo>
                    <a:pt x="49" y="604"/>
                    <a:pt x="49" y="604"/>
                    <a:pt x="49" y="604"/>
                  </a:cubicBezTo>
                  <a:cubicBezTo>
                    <a:pt x="49" y="606"/>
                    <a:pt x="49" y="606"/>
                    <a:pt x="49" y="606"/>
                  </a:cubicBezTo>
                  <a:cubicBezTo>
                    <a:pt x="49" y="608"/>
                    <a:pt x="49" y="608"/>
                    <a:pt x="49" y="608"/>
                  </a:cubicBezTo>
                  <a:cubicBezTo>
                    <a:pt x="47" y="610"/>
                    <a:pt x="47" y="610"/>
                    <a:pt x="47" y="610"/>
                  </a:cubicBezTo>
                  <a:cubicBezTo>
                    <a:pt x="51" y="611"/>
                    <a:pt x="51" y="611"/>
                    <a:pt x="51" y="611"/>
                  </a:cubicBezTo>
                  <a:cubicBezTo>
                    <a:pt x="56" y="610"/>
                    <a:pt x="56" y="610"/>
                    <a:pt x="56" y="610"/>
                  </a:cubicBezTo>
                  <a:cubicBezTo>
                    <a:pt x="56" y="610"/>
                    <a:pt x="56" y="611"/>
                    <a:pt x="57" y="612"/>
                  </a:cubicBezTo>
                  <a:cubicBezTo>
                    <a:pt x="58" y="612"/>
                    <a:pt x="61" y="612"/>
                    <a:pt x="61" y="612"/>
                  </a:cubicBezTo>
                  <a:cubicBezTo>
                    <a:pt x="65" y="610"/>
                    <a:pt x="65" y="610"/>
                    <a:pt x="65" y="610"/>
                  </a:cubicBezTo>
                  <a:cubicBezTo>
                    <a:pt x="67" y="609"/>
                    <a:pt x="67" y="609"/>
                    <a:pt x="67" y="609"/>
                  </a:cubicBezTo>
                  <a:cubicBezTo>
                    <a:pt x="67" y="606"/>
                    <a:pt x="67" y="606"/>
                    <a:pt x="67" y="606"/>
                  </a:cubicBezTo>
                  <a:cubicBezTo>
                    <a:pt x="67" y="606"/>
                    <a:pt x="68" y="604"/>
                    <a:pt x="69" y="604"/>
                  </a:cubicBezTo>
                  <a:cubicBezTo>
                    <a:pt x="69" y="604"/>
                    <a:pt x="72" y="605"/>
                    <a:pt x="72" y="605"/>
                  </a:cubicBezTo>
                  <a:cubicBezTo>
                    <a:pt x="72" y="605"/>
                    <a:pt x="74" y="605"/>
                    <a:pt x="74" y="606"/>
                  </a:cubicBezTo>
                  <a:cubicBezTo>
                    <a:pt x="74" y="606"/>
                    <a:pt x="76" y="607"/>
                    <a:pt x="76" y="607"/>
                  </a:cubicBezTo>
                  <a:cubicBezTo>
                    <a:pt x="79" y="607"/>
                    <a:pt x="79" y="607"/>
                    <a:pt x="79" y="607"/>
                  </a:cubicBezTo>
                  <a:cubicBezTo>
                    <a:pt x="81" y="607"/>
                    <a:pt x="81" y="607"/>
                    <a:pt x="81" y="607"/>
                  </a:cubicBezTo>
                  <a:cubicBezTo>
                    <a:pt x="84" y="606"/>
                    <a:pt x="84" y="606"/>
                    <a:pt x="84" y="606"/>
                  </a:cubicBezTo>
                  <a:cubicBezTo>
                    <a:pt x="84" y="606"/>
                    <a:pt x="83" y="604"/>
                    <a:pt x="84" y="604"/>
                  </a:cubicBezTo>
                  <a:cubicBezTo>
                    <a:pt x="85" y="604"/>
                    <a:pt x="87" y="605"/>
                    <a:pt x="87" y="605"/>
                  </a:cubicBezTo>
                  <a:cubicBezTo>
                    <a:pt x="87" y="605"/>
                    <a:pt x="88" y="606"/>
                    <a:pt x="88" y="606"/>
                  </a:cubicBezTo>
                  <a:cubicBezTo>
                    <a:pt x="89" y="606"/>
                    <a:pt x="91" y="604"/>
                    <a:pt x="90" y="603"/>
                  </a:cubicBezTo>
                  <a:cubicBezTo>
                    <a:pt x="89" y="602"/>
                    <a:pt x="86" y="601"/>
                    <a:pt x="86" y="601"/>
                  </a:cubicBezTo>
                  <a:cubicBezTo>
                    <a:pt x="86" y="601"/>
                    <a:pt x="84" y="599"/>
                    <a:pt x="84" y="598"/>
                  </a:cubicBezTo>
                  <a:cubicBezTo>
                    <a:pt x="84" y="597"/>
                    <a:pt x="83" y="595"/>
                    <a:pt x="82" y="594"/>
                  </a:cubicBezTo>
                  <a:cubicBezTo>
                    <a:pt x="81" y="594"/>
                    <a:pt x="81" y="593"/>
                    <a:pt x="81" y="591"/>
                  </a:cubicBezTo>
                  <a:cubicBezTo>
                    <a:pt x="81" y="589"/>
                    <a:pt x="82" y="588"/>
                    <a:pt x="82" y="588"/>
                  </a:cubicBezTo>
                  <a:cubicBezTo>
                    <a:pt x="82" y="587"/>
                    <a:pt x="81" y="584"/>
                    <a:pt x="81" y="584"/>
                  </a:cubicBezTo>
                  <a:cubicBezTo>
                    <a:pt x="81" y="584"/>
                    <a:pt x="81" y="583"/>
                    <a:pt x="83" y="581"/>
                  </a:cubicBezTo>
                  <a:cubicBezTo>
                    <a:pt x="85" y="579"/>
                    <a:pt x="86" y="578"/>
                    <a:pt x="86" y="579"/>
                  </a:cubicBezTo>
                  <a:cubicBezTo>
                    <a:pt x="87" y="579"/>
                    <a:pt x="89" y="581"/>
                    <a:pt x="89" y="581"/>
                  </a:cubicBezTo>
                  <a:cubicBezTo>
                    <a:pt x="90" y="582"/>
                    <a:pt x="91" y="582"/>
                    <a:pt x="91" y="583"/>
                  </a:cubicBezTo>
                  <a:cubicBezTo>
                    <a:pt x="91" y="583"/>
                    <a:pt x="91" y="584"/>
                    <a:pt x="92" y="584"/>
                  </a:cubicBezTo>
                  <a:cubicBezTo>
                    <a:pt x="93" y="584"/>
                    <a:pt x="94" y="584"/>
                    <a:pt x="94" y="584"/>
                  </a:cubicBezTo>
                  <a:cubicBezTo>
                    <a:pt x="94" y="584"/>
                    <a:pt x="96" y="584"/>
                    <a:pt x="96" y="583"/>
                  </a:cubicBezTo>
                  <a:cubicBezTo>
                    <a:pt x="95" y="583"/>
                    <a:pt x="95" y="580"/>
                    <a:pt x="94" y="580"/>
                  </a:cubicBezTo>
                  <a:cubicBezTo>
                    <a:pt x="94" y="580"/>
                    <a:pt x="93" y="578"/>
                    <a:pt x="93" y="578"/>
                  </a:cubicBezTo>
                  <a:cubicBezTo>
                    <a:pt x="93" y="578"/>
                    <a:pt x="94" y="578"/>
                    <a:pt x="92" y="577"/>
                  </a:cubicBezTo>
                  <a:cubicBezTo>
                    <a:pt x="90" y="575"/>
                    <a:pt x="89" y="575"/>
                    <a:pt x="91" y="574"/>
                  </a:cubicBezTo>
                  <a:cubicBezTo>
                    <a:pt x="92" y="573"/>
                    <a:pt x="95" y="573"/>
                    <a:pt x="95" y="573"/>
                  </a:cubicBezTo>
                  <a:cubicBezTo>
                    <a:pt x="98" y="573"/>
                    <a:pt x="98" y="573"/>
                    <a:pt x="98" y="573"/>
                  </a:cubicBezTo>
                  <a:cubicBezTo>
                    <a:pt x="98" y="573"/>
                    <a:pt x="99" y="572"/>
                    <a:pt x="101" y="572"/>
                  </a:cubicBezTo>
                  <a:cubicBezTo>
                    <a:pt x="102" y="573"/>
                    <a:pt x="105" y="573"/>
                    <a:pt x="105" y="573"/>
                  </a:cubicBezTo>
                  <a:cubicBezTo>
                    <a:pt x="109" y="573"/>
                    <a:pt x="109" y="573"/>
                    <a:pt x="109" y="573"/>
                  </a:cubicBezTo>
                  <a:cubicBezTo>
                    <a:pt x="111" y="571"/>
                    <a:pt x="111" y="571"/>
                    <a:pt x="111" y="571"/>
                  </a:cubicBezTo>
                  <a:cubicBezTo>
                    <a:pt x="114" y="573"/>
                    <a:pt x="114" y="573"/>
                    <a:pt x="114" y="573"/>
                  </a:cubicBezTo>
                  <a:cubicBezTo>
                    <a:pt x="114" y="573"/>
                    <a:pt x="114" y="573"/>
                    <a:pt x="116" y="573"/>
                  </a:cubicBezTo>
                  <a:cubicBezTo>
                    <a:pt x="118" y="574"/>
                    <a:pt x="120" y="572"/>
                    <a:pt x="121" y="572"/>
                  </a:cubicBezTo>
                  <a:cubicBezTo>
                    <a:pt x="121" y="571"/>
                    <a:pt x="124" y="566"/>
                    <a:pt x="124" y="566"/>
                  </a:cubicBezTo>
                  <a:cubicBezTo>
                    <a:pt x="127" y="549"/>
                    <a:pt x="127" y="549"/>
                    <a:pt x="127" y="549"/>
                  </a:cubicBezTo>
                  <a:cubicBezTo>
                    <a:pt x="127" y="549"/>
                    <a:pt x="129" y="547"/>
                    <a:pt x="129" y="547"/>
                  </a:cubicBezTo>
                  <a:cubicBezTo>
                    <a:pt x="129" y="546"/>
                    <a:pt x="129" y="540"/>
                    <a:pt x="129" y="540"/>
                  </a:cubicBezTo>
                  <a:cubicBezTo>
                    <a:pt x="129" y="539"/>
                    <a:pt x="131" y="533"/>
                    <a:pt x="131" y="533"/>
                  </a:cubicBezTo>
                  <a:cubicBezTo>
                    <a:pt x="131" y="533"/>
                    <a:pt x="134" y="531"/>
                    <a:pt x="133" y="528"/>
                  </a:cubicBezTo>
                  <a:cubicBezTo>
                    <a:pt x="131" y="526"/>
                    <a:pt x="130" y="523"/>
                    <a:pt x="130" y="523"/>
                  </a:cubicBezTo>
                  <a:cubicBezTo>
                    <a:pt x="130" y="523"/>
                    <a:pt x="129" y="518"/>
                    <a:pt x="130" y="518"/>
                  </a:cubicBezTo>
                  <a:cubicBezTo>
                    <a:pt x="130" y="517"/>
                    <a:pt x="133" y="513"/>
                    <a:pt x="133" y="513"/>
                  </a:cubicBezTo>
                  <a:cubicBezTo>
                    <a:pt x="130" y="505"/>
                    <a:pt x="130" y="505"/>
                    <a:pt x="130" y="505"/>
                  </a:cubicBezTo>
                  <a:cubicBezTo>
                    <a:pt x="130" y="505"/>
                    <a:pt x="132" y="503"/>
                    <a:pt x="132" y="502"/>
                  </a:cubicBezTo>
                  <a:cubicBezTo>
                    <a:pt x="132" y="502"/>
                    <a:pt x="131" y="495"/>
                    <a:pt x="131" y="495"/>
                  </a:cubicBezTo>
                  <a:cubicBezTo>
                    <a:pt x="130" y="492"/>
                    <a:pt x="130" y="492"/>
                    <a:pt x="130" y="492"/>
                  </a:cubicBezTo>
                  <a:cubicBezTo>
                    <a:pt x="130" y="492"/>
                    <a:pt x="133" y="489"/>
                    <a:pt x="133" y="488"/>
                  </a:cubicBezTo>
                  <a:cubicBezTo>
                    <a:pt x="133" y="487"/>
                    <a:pt x="132" y="483"/>
                    <a:pt x="132" y="483"/>
                  </a:cubicBezTo>
                  <a:cubicBezTo>
                    <a:pt x="131" y="478"/>
                    <a:pt x="131" y="478"/>
                    <a:pt x="131" y="478"/>
                  </a:cubicBezTo>
                  <a:cubicBezTo>
                    <a:pt x="131" y="478"/>
                    <a:pt x="132" y="477"/>
                    <a:pt x="132" y="476"/>
                  </a:cubicBezTo>
                  <a:cubicBezTo>
                    <a:pt x="131" y="475"/>
                    <a:pt x="130" y="474"/>
                    <a:pt x="130" y="474"/>
                  </a:cubicBezTo>
                  <a:cubicBezTo>
                    <a:pt x="129" y="472"/>
                    <a:pt x="129" y="472"/>
                    <a:pt x="129" y="472"/>
                  </a:cubicBezTo>
                  <a:cubicBezTo>
                    <a:pt x="130" y="471"/>
                    <a:pt x="130" y="471"/>
                    <a:pt x="130" y="471"/>
                  </a:cubicBezTo>
                  <a:cubicBezTo>
                    <a:pt x="133" y="469"/>
                    <a:pt x="133" y="469"/>
                    <a:pt x="133" y="469"/>
                  </a:cubicBezTo>
                  <a:cubicBezTo>
                    <a:pt x="131" y="465"/>
                    <a:pt x="131" y="465"/>
                    <a:pt x="131" y="465"/>
                  </a:cubicBezTo>
                  <a:cubicBezTo>
                    <a:pt x="128" y="464"/>
                    <a:pt x="128" y="464"/>
                    <a:pt x="128" y="464"/>
                  </a:cubicBezTo>
                  <a:cubicBezTo>
                    <a:pt x="128" y="464"/>
                    <a:pt x="128" y="462"/>
                    <a:pt x="129" y="462"/>
                  </a:cubicBezTo>
                  <a:cubicBezTo>
                    <a:pt x="130" y="462"/>
                    <a:pt x="136" y="459"/>
                    <a:pt x="136" y="459"/>
                  </a:cubicBezTo>
                  <a:cubicBezTo>
                    <a:pt x="136" y="459"/>
                    <a:pt x="138" y="456"/>
                    <a:pt x="138" y="456"/>
                  </a:cubicBezTo>
                  <a:cubicBezTo>
                    <a:pt x="139" y="456"/>
                    <a:pt x="145" y="452"/>
                    <a:pt x="145" y="452"/>
                  </a:cubicBezTo>
                  <a:cubicBezTo>
                    <a:pt x="145" y="452"/>
                    <a:pt x="145" y="449"/>
                    <a:pt x="145" y="449"/>
                  </a:cubicBezTo>
                  <a:cubicBezTo>
                    <a:pt x="146" y="448"/>
                    <a:pt x="146" y="447"/>
                    <a:pt x="146" y="446"/>
                  </a:cubicBezTo>
                  <a:cubicBezTo>
                    <a:pt x="146" y="446"/>
                    <a:pt x="145" y="439"/>
                    <a:pt x="145" y="436"/>
                  </a:cubicBezTo>
                  <a:cubicBezTo>
                    <a:pt x="146" y="434"/>
                    <a:pt x="147" y="438"/>
                    <a:pt x="147" y="438"/>
                  </a:cubicBezTo>
                  <a:cubicBezTo>
                    <a:pt x="149" y="440"/>
                    <a:pt x="149" y="440"/>
                    <a:pt x="149" y="440"/>
                  </a:cubicBezTo>
                  <a:cubicBezTo>
                    <a:pt x="148" y="446"/>
                    <a:pt x="148" y="446"/>
                    <a:pt x="148" y="446"/>
                  </a:cubicBezTo>
                  <a:cubicBezTo>
                    <a:pt x="151" y="446"/>
                    <a:pt x="151" y="446"/>
                    <a:pt x="151" y="446"/>
                  </a:cubicBezTo>
                  <a:cubicBezTo>
                    <a:pt x="151" y="449"/>
                    <a:pt x="151" y="449"/>
                    <a:pt x="151" y="449"/>
                  </a:cubicBezTo>
                  <a:cubicBezTo>
                    <a:pt x="151" y="449"/>
                    <a:pt x="150" y="451"/>
                    <a:pt x="151" y="451"/>
                  </a:cubicBezTo>
                  <a:cubicBezTo>
                    <a:pt x="152" y="450"/>
                    <a:pt x="153" y="450"/>
                    <a:pt x="153" y="450"/>
                  </a:cubicBezTo>
                  <a:cubicBezTo>
                    <a:pt x="153" y="445"/>
                    <a:pt x="153" y="445"/>
                    <a:pt x="153" y="445"/>
                  </a:cubicBezTo>
                  <a:cubicBezTo>
                    <a:pt x="153" y="445"/>
                    <a:pt x="156" y="445"/>
                    <a:pt x="156" y="444"/>
                  </a:cubicBezTo>
                  <a:cubicBezTo>
                    <a:pt x="156" y="443"/>
                    <a:pt x="155" y="441"/>
                    <a:pt x="156" y="441"/>
                  </a:cubicBezTo>
                  <a:cubicBezTo>
                    <a:pt x="161" y="441"/>
                    <a:pt x="158" y="441"/>
                    <a:pt x="161" y="439"/>
                  </a:cubicBezTo>
                  <a:cubicBezTo>
                    <a:pt x="161" y="439"/>
                    <a:pt x="163" y="436"/>
                    <a:pt x="163" y="435"/>
                  </a:cubicBezTo>
                  <a:cubicBezTo>
                    <a:pt x="163" y="435"/>
                    <a:pt x="164" y="433"/>
                    <a:pt x="164" y="433"/>
                  </a:cubicBezTo>
                  <a:lnTo>
                    <a:pt x="162" y="432"/>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7" name="Freeform 8"/>
            <p:cNvSpPr>
              <a:spLocks/>
            </p:cNvSpPr>
            <p:nvPr/>
          </p:nvSpPr>
          <p:spPr bwMode="auto">
            <a:xfrm>
              <a:off x="6229558" y="3396893"/>
              <a:ext cx="414470" cy="298190"/>
            </a:xfrm>
            <a:custGeom>
              <a:avLst/>
              <a:gdLst>
                <a:gd name="T0" fmla="*/ 84 w 143"/>
                <a:gd name="T1" fmla="*/ 108 h 109"/>
                <a:gd name="T2" fmla="*/ 103 w 143"/>
                <a:gd name="T3" fmla="*/ 104 h 109"/>
                <a:gd name="T4" fmla="*/ 107 w 143"/>
                <a:gd name="T5" fmla="*/ 97 h 109"/>
                <a:gd name="T6" fmla="*/ 113 w 143"/>
                <a:gd name="T7" fmla="*/ 93 h 109"/>
                <a:gd name="T8" fmla="*/ 115 w 143"/>
                <a:gd name="T9" fmla="*/ 90 h 109"/>
                <a:gd name="T10" fmla="*/ 123 w 143"/>
                <a:gd name="T11" fmla="*/ 85 h 109"/>
                <a:gd name="T12" fmla="*/ 124 w 143"/>
                <a:gd name="T13" fmla="*/ 72 h 109"/>
                <a:gd name="T14" fmla="*/ 124 w 143"/>
                <a:gd name="T15" fmla="*/ 59 h 109"/>
                <a:gd name="T16" fmla="*/ 132 w 143"/>
                <a:gd name="T17" fmla="*/ 47 h 109"/>
                <a:gd name="T18" fmla="*/ 140 w 143"/>
                <a:gd name="T19" fmla="*/ 41 h 109"/>
                <a:gd name="T20" fmla="*/ 135 w 143"/>
                <a:gd name="T21" fmla="*/ 39 h 109"/>
                <a:gd name="T22" fmla="*/ 135 w 143"/>
                <a:gd name="T23" fmla="*/ 23 h 109"/>
                <a:gd name="T24" fmla="*/ 130 w 143"/>
                <a:gd name="T25" fmla="*/ 22 h 109"/>
                <a:gd name="T26" fmla="*/ 123 w 143"/>
                <a:gd name="T27" fmla="*/ 17 h 109"/>
                <a:gd name="T28" fmla="*/ 116 w 143"/>
                <a:gd name="T29" fmla="*/ 11 h 109"/>
                <a:gd name="T30" fmla="*/ 109 w 143"/>
                <a:gd name="T31" fmla="*/ 8 h 109"/>
                <a:gd name="T32" fmla="*/ 97 w 143"/>
                <a:gd name="T33" fmla="*/ 10 h 109"/>
                <a:gd name="T34" fmla="*/ 90 w 143"/>
                <a:gd name="T35" fmla="*/ 4 h 109"/>
                <a:gd name="T36" fmla="*/ 82 w 143"/>
                <a:gd name="T37" fmla="*/ 7 h 109"/>
                <a:gd name="T38" fmla="*/ 74 w 143"/>
                <a:gd name="T39" fmla="*/ 11 h 109"/>
                <a:gd name="T40" fmla="*/ 60 w 143"/>
                <a:gd name="T41" fmla="*/ 10 h 109"/>
                <a:gd name="T42" fmla="*/ 50 w 143"/>
                <a:gd name="T43" fmla="*/ 11 h 109"/>
                <a:gd name="T44" fmla="*/ 42 w 143"/>
                <a:gd name="T45" fmla="*/ 11 h 109"/>
                <a:gd name="T46" fmla="*/ 27 w 143"/>
                <a:gd name="T47" fmla="*/ 15 h 109"/>
                <a:gd name="T48" fmla="*/ 15 w 143"/>
                <a:gd name="T49" fmla="*/ 21 h 109"/>
                <a:gd name="T50" fmla="*/ 7 w 143"/>
                <a:gd name="T51" fmla="*/ 26 h 109"/>
                <a:gd name="T52" fmla="*/ 1 w 143"/>
                <a:gd name="T53" fmla="*/ 34 h 109"/>
                <a:gd name="T54" fmla="*/ 3 w 143"/>
                <a:gd name="T55" fmla="*/ 43 h 109"/>
                <a:gd name="T56" fmla="*/ 9 w 143"/>
                <a:gd name="T57" fmla="*/ 55 h 109"/>
                <a:gd name="T58" fmla="*/ 12 w 143"/>
                <a:gd name="T59" fmla="*/ 64 h 109"/>
                <a:gd name="T60" fmla="*/ 14 w 143"/>
                <a:gd name="T61" fmla="*/ 64 h 109"/>
                <a:gd name="T62" fmla="*/ 16 w 143"/>
                <a:gd name="T63" fmla="*/ 65 h 109"/>
                <a:gd name="T64" fmla="*/ 26 w 143"/>
                <a:gd name="T65" fmla="*/ 70 h 109"/>
                <a:gd name="T66" fmla="*/ 39 w 143"/>
                <a:gd name="T67" fmla="*/ 68 h 109"/>
                <a:gd name="T68" fmla="*/ 50 w 143"/>
                <a:gd name="T69" fmla="*/ 70 h 109"/>
                <a:gd name="T70" fmla="*/ 56 w 143"/>
                <a:gd name="T71" fmla="*/ 76 h 109"/>
                <a:gd name="T72" fmla="*/ 55 w 143"/>
                <a:gd name="T73" fmla="*/ 83 h 109"/>
                <a:gd name="T74" fmla="*/ 57 w 143"/>
                <a:gd name="T75" fmla="*/ 95 h 109"/>
                <a:gd name="T76" fmla="*/ 58 w 143"/>
                <a:gd name="T77" fmla="*/ 95 h 109"/>
                <a:gd name="T78" fmla="*/ 60 w 143"/>
                <a:gd name="T79" fmla="*/ 93 h 109"/>
                <a:gd name="T80" fmla="*/ 63 w 143"/>
                <a:gd name="T81" fmla="*/ 94 h 109"/>
                <a:gd name="T82" fmla="*/ 65 w 143"/>
                <a:gd name="T83" fmla="*/ 97 h 109"/>
                <a:gd name="T84" fmla="*/ 69 w 143"/>
                <a:gd name="T85" fmla="*/ 97 h 109"/>
                <a:gd name="T86" fmla="*/ 79 w 143"/>
                <a:gd name="T87" fmla="*/ 10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3" h="109">
                  <a:moveTo>
                    <a:pt x="79" y="106"/>
                  </a:moveTo>
                  <a:cubicBezTo>
                    <a:pt x="80" y="109"/>
                    <a:pt x="80" y="109"/>
                    <a:pt x="80" y="109"/>
                  </a:cubicBezTo>
                  <a:cubicBezTo>
                    <a:pt x="84" y="108"/>
                    <a:pt x="84" y="108"/>
                    <a:pt x="84" y="108"/>
                  </a:cubicBezTo>
                  <a:cubicBezTo>
                    <a:pt x="93" y="104"/>
                    <a:pt x="93" y="104"/>
                    <a:pt x="93" y="104"/>
                  </a:cubicBezTo>
                  <a:cubicBezTo>
                    <a:pt x="98" y="105"/>
                    <a:pt x="98" y="105"/>
                    <a:pt x="98" y="105"/>
                  </a:cubicBezTo>
                  <a:cubicBezTo>
                    <a:pt x="103" y="104"/>
                    <a:pt x="103" y="104"/>
                    <a:pt x="103" y="104"/>
                  </a:cubicBezTo>
                  <a:cubicBezTo>
                    <a:pt x="106" y="101"/>
                    <a:pt x="106" y="101"/>
                    <a:pt x="106" y="101"/>
                  </a:cubicBezTo>
                  <a:cubicBezTo>
                    <a:pt x="108" y="101"/>
                    <a:pt x="108" y="101"/>
                    <a:pt x="108" y="101"/>
                  </a:cubicBezTo>
                  <a:cubicBezTo>
                    <a:pt x="107" y="97"/>
                    <a:pt x="107" y="97"/>
                    <a:pt x="107" y="97"/>
                  </a:cubicBezTo>
                  <a:cubicBezTo>
                    <a:pt x="107" y="97"/>
                    <a:pt x="107" y="97"/>
                    <a:pt x="107" y="97"/>
                  </a:cubicBezTo>
                  <a:cubicBezTo>
                    <a:pt x="107" y="96"/>
                    <a:pt x="108" y="93"/>
                    <a:pt x="111" y="93"/>
                  </a:cubicBezTo>
                  <a:cubicBezTo>
                    <a:pt x="112" y="93"/>
                    <a:pt x="112" y="93"/>
                    <a:pt x="113" y="93"/>
                  </a:cubicBezTo>
                  <a:cubicBezTo>
                    <a:pt x="114" y="93"/>
                    <a:pt x="114" y="93"/>
                    <a:pt x="114" y="93"/>
                  </a:cubicBezTo>
                  <a:cubicBezTo>
                    <a:pt x="115" y="92"/>
                    <a:pt x="115" y="92"/>
                    <a:pt x="115" y="92"/>
                  </a:cubicBezTo>
                  <a:cubicBezTo>
                    <a:pt x="115" y="90"/>
                    <a:pt x="115" y="90"/>
                    <a:pt x="115" y="90"/>
                  </a:cubicBezTo>
                  <a:cubicBezTo>
                    <a:pt x="122" y="87"/>
                    <a:pt x="122" y="87"/>
                    <a:pt x="122" y="87"/>
                  </a:cubicBezTo>
                  <a:cubicBezTo>
                    <a:pt x="123" y="85"/>
                    <a:pt x="123" y="85"/>
                    <a:pt x="123" y="85"/>
                  </a:cubicBezTo>
                  <a:cubicBezTo>
                    <a:pt x="123" y="85"/>
                    <a:pt x="123" y="85"/>
                    <a:pt x="123" y="85"/>
                  </a:cubicBezTo>
                  <a:cubicBezTo>
                    <a:pt x="123" y="84"/>
                    <a:pt x="122" y="83"/>
                    <a:pt x="123" y="82"/>
                  </a:cubicBezTo>
                  <a:cubicBezTo>
                    <a:pt x="124" y="76"/>
                    <a:pt x="124" y="76"/>
                    <a:pt x="124" y="76"/>
                  </a:cubicBezTo>
                  <a:cubicBezTo>
                    <a:pt x="124" y="72"/>
                    <a:pt x="124" y="72"/>
                    <a:pt x="124" y="72"/>
                  </a:cubicBezTo>
                  <a:cubicBezTo>
                    <a:pt x="123" y="65"/>
                    <a:pt x="123" y="65"/>
                    <a:pt x="123" y="65"/>
                  </a:cubicBezTo>
                  <a:cubicBezTo>
                    <a:pt x="124" y="62"/>
                    <a:pt x="124" y="62"/>
                    <a:pt x="124" y="62"/>
                  </a:cubicBezTo>
                  <a:cubicBezTo>
                    <a:pt x="124" y="59"/>
                    <a:pt x="124" y="59"/>
                    <a:pt x="124" y="59"/>
                  </a:cubicBezTo>
                  <a:cubicBezTo>
                    <a:pt x="126" y="55"/>
                    <a:pt x="126" y="55"/>
                    <a:pt x="126" y="55"/>
                  </a:cubicBezTo>
                  <a:cubicBezTo>
                    <a:pt x="132" y="52"/>
                    <a:pt x="132" y="52"/>
                    <a:pt x="132" y="52"/>
                  </a:cubicBezTo>
                  <a:cubicBezTo>
                    <a:pt x="132" y="47"/>
                    <a:pt x="132" y="47"/>
                    <a:pt x="132" y="47"/>
                  </a:cubicBezTo>
                  <a:cubicBezTo>
                    <a:pt x="136" y="43"/>
                    <a:pt x="136" y="43"/>
                    <a:pt x="136" y="43"/>
                  </a:cubicBezTo>
                  <a:cubicBezTo>
                    <a:pt x="141" y="43"/>
                    <a:pt x="141" y="43"/>
                    <a:pt x="141" y="43"/>
                  </a:cubicBezTo>
                  <a:cubicBezTo>
                    <a:pt x="140" y="41"/>
                    <a:pt x="140" y="41"/>
                    <a:pt x="140" y="41"/>
                  </a:cubicBezTo>
                  <a:cubicBezTo>
                    <a:pt x="143" y="40"/>
                    <a:pt x="143" y="40"/>
                    <a:pt x="143" y="40"/>
                  </a:cubicBezTo>
                  <a:cubicBezTo>
                    <a:pt x="139" y="41"/>
                    <a:pt x="139" y="41"/>
                    <a:pt x="139" y="41"/>
                  </a:cubicBezTo>
                  <a:cubicBezTo>
                    <a:pt x="135" y="39"/>
                    <a:pt x="135" y="39"/>
                    <a:pt x="135" y="39"/>
                  </a:cubicBezTo>
                  <a:cubicBezTo>
                    <a:pt x="135" y="33"/>
                    <a:pt x="135" y="33"/>
                    <a:pt x="135" y="33"/>
                  </a:cubicBezTo>
                  <a:cubicBezTo>
                    <a:pt x="136" y="29"/>
                    <a:pt x="136" y="29"/>
                    <a:pt x="136" y="29"/>
                  </a:cubicBezTo>
                  <a:cubicBezTo>
                    <a:pt x="135" y="23"/>
                    <a:pt x="135" y="23"/>
                    <a:pt x="135" y="23"/>
                  </a:cubicBezTo>
                  <a:cubicBezTo>
                    <a:pt x="135" y="23"/>
                    <a:pt x="135" y="22"/>
                    <a:pt x="135" y="22"/>
                  </a:cubicBezTo>
                  <a:cubicBezTo>
                    <a:pt x="135" y="22"/>
                    <a:pt x="135" y="22"/>
                    <a:pt x="135" y="22"/>
                  </a:cubicBezTo>
                  <a:cubicBezTo>
                    <a:pt x="130" y="22"/>
                    <a:pt x="130" y="22"/>
                    <a:pt x="130" y="22"/>
                  </a:cubicBezTo>
                  <a:cubicBezTo>
                    <a:pt x="127" y="21"/>
                    <a:pt x="127" y="21"/>
                    <a:pt x="127" y="21"/>
                  </a:cubicBezTo>
                  <a:cubicBezTo>
                    <a:pt x="125" y="18"/>
                    <a:pt x="125" y="18"/>
                    <a:pt x="125" y="18"/>
                  </a:cubicBezTo>
                  <a:cubicBezTo>
                    <a:pt x="123" y="17"/>
                    <a:pt x="123" y="17"/>
                    <a:pt x="123" y="17"/>
                  </a:cubicBezTo>
                  <a:cubicBezTo>
                    <a:pt x="121" y="15"/>
                    <a:pt x="121" y="15"/>
                    <a:pt x="121" y="15"/>
                  </a:cubicBezTo>
                  <a:cubicBezTo>
                    <a:pt x="118" y="14"/>
                    <a:pt x="118" y="14"/>
                    <a:pt x="118" y="14"/>
                  </a:cubicBezTo>
                  <a:cubicBezTo>
                    <a:pt x="116" y="11"/>
                    <a:pt x="116" y="11"/>
                    <a:pt x="116" y="11"/>
                  </a:cubicBezTo>
                  <a:cubicBezTo>
                    <a:pt x="112" y="11"/>
                    <a:pt x="112" y="11"/>
                    <a:pt x="112" y="11"/>
                  </a:cubicBezTo>
                  <a:cubicBezTo>
                    <a:pt x="109" y="9"/>
                    <a:pt x="109" y="9"/>
                    <a:pt x="109" y="9"/>
                  </a:cubicBezTo>
                  <a:cubicBezTo>
                    <a:pt x="109" y="8"/>
                    <a:pt x="109" y="8"/>
                    <a:pt x="109" y="8"/>
                  </a:cubicBezTo>
                  <a:cubicBezTo>
                    <a:pt x="106" y="8"/>
                    <a:pt x="106" y="8"/>
                    <a:pt x="106" y="8"/>
                  </a:cubicBezTo>
                  <a:cubicBezTo>
                    <a:pt x="103" y="8"/>
                    <a:pt x="103" y="8"/>
                    <a:pt x="103" y="8"/>
                  </a:cubicBezTo>
                  <a:cubicBezTo>
                    <a:pt x="97" y="10"/>
                    <a:pt x="97" y="10"/>
                    <a:pt x="97" y="10"/>
                  </a:cubicBezTo>
                  <a:cubicBezTo>
                    <a:pt x="94" y="8"/>
                    <a:pt x="94" y="8"/>
                    <a:pt x="94" y="8"/>
                  </a:cubicBezTo>
                  <a:cubicBezTo>
                    <a:pt x="94" y="7"/>
                    <a:pt x="94" y="7"/>
                    <a:pt x="94" y="7"/>
                  </a:cubicBezTo>
                  <a:cubicBezTo>
                    <a:pt x="90" y="4"/>
                    <a:pt x="90" y="4"/>
                    <a:pt x="90" y="4"/>
                  </a:cubicBezTo>
                  <a:cubicBezTo>
                    <a:pt x="88" y="0"/>
                    <a:pt x="88" y="0"/>
                    <a:pt x="88" y="0"/>
                  </a:cubicBezTo>
                  <a:cubicBezTo>
                    <a:pt x="88" y="0"/>
                    <a:pt x="85" y="2"/>
                    <a:pt x="85" y="2"/>
                  </a:cubicBezTo>
                  <a:cubicBezTo>
                    <a:pt x="84" y="2"/>
                    <a:pt x="82" y="7"/>
                    <a:pt x="82" y="7"/>
                  </a:cubicBezTo>
                  <a:cubicBezTo>
                    <a:pt x="81" y="9"/>
                    <a:pt x="81" y="9"/>
                    <a:pt x="81" y="9"/>
                  </a:cubicBezTo>
                  <a:cubicBezTo>
                    <a:pt x="77" y="8"/>
                    <a:pt x="77" y="8"/>
                    <a:pt x="77" y="8"/>
                  </a:cubicBezTo>
                  <a:cubicBezTo>
                    <a:pt x="77" y="8"/>
                    <a:pt x="74" y="11"/>
                    <a:pt x="74" y="11"/>
                  </a:cubicBezTo>
                  <a:cubicBezTo>
                    <a:pt x="73" y="12"/>
                    <a:pt x="70" y="10"/>
                    <a:pt x="70" y="10"/>
                  </a:cubicBezTo>
                  <a:cubicBezTo>
                    <a:pt x="65" y="10"/>
                    <a:pt x="65" y="10"/>
                    <a:pt x="65" y="10"/>
                  </a:cubicBezTo>
                  <a:cubicBezTo>
                    <a:pt x="65" y="10"/>
                    <a:pt x="60" y="10"/>
                    <a:pt x="60" y="10"/>
                  </a:cubicBezTo>
                  <a:cubicBezTo>
                    <a:pt x="59" y="9"/>
                    <a:pt x="59" y="11"/>
                    <a:pt x="59" y="11"/>
                  </a:cubicBezTo>
                  <a:cubicBezTo>
                    <a:pt x="55" y="11"/>
                    <a:pt x="55" y="11"/>
                    <a:pt x="55" y="11"/>
                  </a:cubicBezTo>
                  <a:cubicBezTo>
                    <a:pt x="50" y="11"/>
                    <a:pt x="50" y="11"/>
                    <a:pt x="50" y="11"/>
                  </a:cubicBezTo>
                  <a:cubicBezTo>
                    <a:pt x="50" y="11"/>
                    <a:pt x="49" y="15"/>
                    <a:pt x="48" y="16"/>
                  </a:cubicBezTo>
                  <a:cubicBezTo>
                    <a:pt x="47" y="16"/>
                    <a:pt x="45" y="13"/>
                    <a:pt x="44" y="12"/>
                  </a:cubicBezTo>
                  <a:cubicBezTo>
                    <a:pt x="44" y="12"/>
                    <a:pt x="42" y="11"/>
                    <a:pt x="42" y="11"/>
                  </a:cubicBezTo>
                  <a:cubicBezTo>
                    <a:pt x="39" y="13"/>
                    <a:pt x="39" y="13"/>
                    <a:pt x="39" y="13"/>
                  </a:cubicBezTo>
                  <a:cubicBezTo>
                    <a:pt x="39" y="13"/>
                    <a:pt x="33" y="14"/>
                    <a:pt x="32" y="14"/>
                  </a:cubicBezTo>
                  <a:cubicBezTo>
                    <a:pt x="32" y="14"/>
                    <a:pt x="27" y="15"/>
                    <a:pt x="27" y="15"/>
                  </a:cubicBezTo>
                  <a:cubicBezTo>
                    <a:pt x="22" y="15"/>
                    <a:pt x="22" y="15"/>
                    <a:pt x="22" y="15"/>
                  </a:cubicBezTo>
                  <a:cubicBezTo>
                    <a:pt x="20" y="18"/>
                    <a:pt x="20" y="18"/>
                    <a:pt x="20" y="18"/>
                  </a:cubicBezTo>
                  <a:cubicBezTo>
                    <a:pt x="15" y="21"/>
                    <a:pt x="15" y="21"/>
                    <a:pt x="15" y="21"/>
                  </a:cubicBezTo>
                  <a:cubicBezTo>
                    <a:pt x="12" y="21"/>
                    <a:pt x="12" y="21"/>
                    <a:pt x="12" y="21"/>
                  </a:cubicBezTo>
                  <a:cubicBezTo>
                    <a:pt x="10" y="24"/>
                    <a:pt x="10" y="24"/>
                    <a:pt x="10" y="24"/>
                  </a:cubicBezTo>
                  <a:cubicBezTo>
                    <a:pt x="7" y="26"/>
                    <a:pt x="7" y="26"/>
                    <a:pt x="7" y="26"/>
                  </a:cubicBezTo>
                  <a:cubicBezTo>
                    <a:pt x="5" y="28"/>
                    <a:pt x="5" y="28"/>
                    <a:pt x="5" y="28"/>
                  </a:cubicBezTo>
                  <a:cubicBezTo>
                    <a:pt x="5" y="32"/>
                    <a:pt x="5" y="32"/>
                    <a:pt x="5" y="32"/>
                  </a:cubicBezTo>
                  <a:cubicBezTo>
                    <a:pt x="5" y="32"/>
                    <a:pt x="3" y="33"/>
                    <a:pt x="1" y="34"/>
                  </a:cubicBezTo>
                  <a:cubicBezTo>
                    <a:pt x="0" y="34"/>
                    <a:pt x="2" y="35"/>
                    <a:pt x="2" y="35"/>
                  </a:cubicBezTo>
                  <a:cubicBezTo>
                    <a:pt x="1" y="39"/>
                    <a:pt x="1" y="39"/>
                    <a:pt x="1" y="39"/>
                  </a:cubicBezTo>
                  <a:cubicBezTo>
                    <a:pt x="3" y="43"/>
                    <a:pt x="3" y="43"/>
                    <a:pt x="3" y="43"/>
                  </a:cubicBezTo>
                  <a:cubicBezTo>
                    <a:pt x="4" y="48"/>
                    <a:pt x="4" y="48"/>
                    <a:pt x="4" y="48"/>
                  </a:cubicBezTo>
                  <a:cubicBezTo>
                    <a:pt x="5" y="51"/>
                    <a:pt x="5" y="51"/>
                    <a:pt x="5" y="51"/>
                  </a:cubicBezTo>
                  <a:cubicBezTo>
                    <a:pt x="9" y="55"/>
                    <a:pt x="9" y="55"/>
                    <a:pt x="9" y="55"/>
                  </a:cubicBezTo>
                  <a:cubicBezTo>
                    <a:pt x="10" y="59"/>
                    <a:pt x="10" y="59"/>
                    <a:pt x="10" y="59"/>
                  </a:cubicBezTo>
                  <a:cubicBezTo>
                    <a:pt x="11" y="63"/>
                    <a:pt x="11" y="63"/>
                    <a:pt x="11" y="63"/>
                  </a:cubicBezTo>
                  <a:cubicBezTo>
                    <a:pt x="12" y="64"/>
                    <a:pt x="12" y="64"/>
                    <a:pt x="12" y="64"/>
                  </a:cubicBezTo>
                  <a:cubicBezTo>
                    <a:pt x="13" y="64"/>
                    <a:pt x="13" y="64"/>
                    <a:pt x="13" y="64"/>
                  </a:cubicBezTo>
                  <a:cubicBezTo>
                    <a:pt x="13" y="64"/>
                    <a:pt x="13" y="64"/>
                    <a:pt x="13" y="64"/>
                  </a:cubicBezTo>
                  <a:cubicBezTo>
                    <a:pt x="14" y="64"/>
                    <a:pt x="14" y="64"/>
                    <a:pt x="14" y="64"/>
                  </a:cubicBezTo>
                  <a:cubicBezTo>
                    <a:pt x="14" y="64"/>
                    <a:pt x="14" y="64"/>
                    <a:pt x="15" y="64"/>
                  </a:cubicBezTo>
                  <a:cubicBezTo>
                    <a:pt x="16" y="64"/>
                    <a:pt x="16" y="64"/>
                    <a:pt x="16" y="64"/>
                  </a:cubicBezTo>
                  <a:cubicBezTo>
                    <a:pt x="16" y="65"/>
                    <a:pt x="16" y="65"/>
                    <a:pt x="16" y="65"/>
                  </a:cubicBezTo>
                  <a:cubicBezTo>
                    <a:pt x="19" y="67"/>
                    <a:pt x="19" y="67"/>
                    <a:pt x="19" y="67"/>
                  </a:cubicBezTo>
                  <a:cubicBezTo>
                    <a:pt x="21" y="67"/>
                    <a:pt x="21" y="67"/>
                    <a:pt x="21" y="67"/>
                  </a:cubicBezTo>
                  <a:cubicBezTo>
                    <a:pt x="26" y="70"/>
                    <a:pt x="26" y="70"/>
                    <a:pt x="26" y="70"/>
                  </a:cubicBezTo>
                  <a:cubicBezTo>
                    <a:pt x="34" y="71"/>
                    <a:pt x="34" y="71"/>
                    <a:pt x="34" y="71"/>
                  </a:cubicBezTo>
                  <a:cubicBezTo>
                    <a:pt x="35" y="69"/>
                    <a:pt x="35" y="69"/>
                    <a:pt x="35" y="69"/>
                  </a:cubicBezTo>
                  <a:cubicBezTo>
                    <a:pt x="39" y="68"/>
                    <a:pt x="39" y="68"/>
                    <a:pt x="39" y="68"/>
                  </a:cubicBezTo>
                  <a:cubicBezTo>
                    <a:pt x="46" y="66"/>
                    <a:pt x="46" y="66"/>
                    <a:pt x="46" y="66"/>
                  </a:cubicBezTo>
                  <a:cubicBezTo>
                    <a:pt x="49" y="70"/>
                    <a:pt x="49" y="70"/>
                    <a:pt x="49" y="70"/>
                  </a:cubicBezTo>
                  <a:cubicBezTo>
                    <a:pt x="50" y="70"/>
                    <a:pt x="50" y="70"/>
                    <a:pt x="50" y="70"/>
                  </a:cubicBezTo>
                  <a:cubicBezTo>
                    <a:pt x="50" y="70"/>
                    <a:pt x="50" y="70"/>
                    <a:pt x="50" y="70"/>
                  </a:cubicBezTo>
                  <a:cubicBezTo>
                    <a:pt x="51" y="71"/>
                    <a:pt x="53" y="73"/>
                    <a:pt x="54" y="74"/>
                  </a:cubicBezTo>
                  <a:cubicBezTo>
                    <a:pt x="55" y="75"/>
                    <a:pt x="56" y="76"/>
                    <a:pt x="56" y="76"/>
                  </a:cubicBezTo>
                  <a:cubicBezTo>
                    <a:pt x="56" y="76"/>
                    <a:pt x="56" y="76"/>
                    <a:pt x="56" y="76"/>
                  </a:cubicBezTo>
                  <a:cubicBezTo>
                    <a:pt x="57" y="77"/>
                    <a:pt x="57" y="77"/>
                    <a:pt x="57" y="77"/>
                  </a:cubicBezTo>
                  <a:cubicBezTo>
                    <a:pt x="55" y="83"/>
                    <a:pt x="55" y="83"/>
                    <a:pt x="55" y="83"/>
                  </a:cubicBezTo>
                  <a:cubicBezTo>
                    <a:pt x="56" y="86"/>
                    <a:pt x="56" y="86"/>
                    <a:pt x="56" y="86"/>
                  </a:cubicBezTo>
                  <a:cubicBezTo>
                    <a:pt x="55" y="93"/>
                    <a:pt x="55" y="93"/>
                    <a:pt x="55" y="93"/>
                  </a:cubicBezTo>
                  <a:cubicBezTo>
                    <a:pt x="57" y="95"/>
                    <a:pt x="57" y="95"/>
                    <a:pt x="57" y="95"/>
                  </a:cubicBezTo>
                  <a:cubicBezTo>
                    <a:pt x="57" y="95"/>
                    <a:pt x="57" y="95"/>
                    <a:pt x="57" y="95"/>
                  </a:cubicBezTo>
                  <a:cubicBezTo>
                    <a:pt x="57" y="95"/>
                    <a:pt x="57" y="95"/>
                    <a:pt x="57" y="95"/>
                  </a:cubicBezTo>
                  <a:cubicBezTo>
                    <a:pt x="58" y="95"/>
                    <a:pt x="58" y="95"/>
                    <a:pt x="58" y="95"/>
                  </a:cubicBezTo>
                  <a:cubicBezTo>
                    <a:pt x="59" y="94"/>
                    <a:pt x="59" y="94"/>
                    <a:pt x="60" y="93"/>
                  </a:cubicBezTo>
                  <a:cubicBezTo>
                    <a:pt x="60" y="93"/>
                    <a:pt x="60" y="93"/>
                    <a:pt x="60" y="93"/>
                  </a:cubicBezTo>
                  <a:cubicBezTo>
                    <a:pt x="60" y="93"/>
                    <a:pt x="60" y="93"/>
                    <a:pt x="60" y="93"/>
                  </a:cubicBezTo>
                  <a:cubicBezTo>
                    <a:pt x="61" y="93"/>
                    <a:pt x="61" y="93"/>
                    <a:pt x="61" y="93"/>
                  </a:cubicBezTo>
                  <a:cubicBezTo>
                    <a:pt x="61" y="93"/>
                    <a:pt x="61" y="93"/>
                    <a:pt x="61" y="93"/>
                  </a:cubicBezTo>
                  <a:cubicBezTo>
                    <a:pt x="62" y="93"/>
                    <a:pt x="63" y="94"/>
                    <a:pt x="63" y="94"/>
                  </a:cubicBezTo>
                  <a:cubicBezTo>
                    <a:pt x="64" y="95"/>
                    <a:pt x="64" y="95"/>
                    <a:pt x="64" y="95"/>
                  </a:cubicBezTo>
                  <a:cubicBezTo>
                    <a:pt x="64" y="95"/>
                    <a:pt x="64" y="95"/>
                    <a:pt x="64" y="95"/>
                  </a:cubicBezTo>
                  <a:cubicBezTo>
                    <a:pt x="64" y="96"/>
                    <a:pt x="64" y="96"/>
                    <a:pt x="65" y="97"/>
                  </a:cubicBezTo>
                  <a:cubicBezTo>
                    <a:pt x="65" y="97"/>
                    <a:pt x="65" y="97"/>
                    <a:pt x="65" y="97"/>
                  </a:cubicBezTo>
                  <a:cubicBezTo>
                    <a:pt x="65" y="97"/>
                    <a:pt x="65" y="97"/>
                    <a:pt x="65" y="97"/>
                  </a:cubicBezTo>
                  <a:cubicBezTo>
                    <a:pt x="66" y="97"/>
                    <a:pt x="67" y="97"/>
                    <a:pt x="69" y="97"/>
                  </a:cubicBezTo>
                  <a:cubicBezTo>
                    <a:pt x="72" y="97"/>
                    <a:pt x="74" y="97"/>
                    <a:pt x="75" y="99"/>
                  </a:cubicBezTo>
                  <a:cubicBezTo>
                    <a:pt x="75" y="100"/>
                    <a:pt x="75" y="101"/>
                    <a:pt x="76" y="103"/>
                  </a:cubicBezTo>
                  <a:lnTo>
                    <a:pt x="79" y="106"/>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8" name="Freeform 11"/>
            <p:cNvSpPr>
              <a:spLocks/>
            </p:cNvSpPr>
            <p:nvPr/>
          </p:nvSpPr>
          <p:spPr bwMode="auto">
            <a:xfrm>
              <a:off x="6237323" y="4665903"/>
              <a:ext cx="423135" cy="428904"/>
            </a:xfrm>
            <a:custGeom>
              <a:avLst/>
              <a:gdLst>
                <a:gd name="T0" fmla="*/ 135 w 146"/>
                <a:gd name="T1" fmla="*/ 101 h 157"/>
                <a:gd name="T2" fmla="*/ 121 w 146"/>
                <a:gd name="T3" fmla="*/ 88 h 157"/>
                <a:gd name="T4" fmla="*/ 125 w 146"/>
                <a:gd name="T5" fmla="*/ 73 h 157"/>
                <a:gd name="T6" fmla="*/ 124 w 146"/>
                <a:gd name="T7" fmla="*/ 63 h 157"/>
                <a:gd name="T8" fmla="*/ 120 w 146"/>
                <a:gd name="T9" fmla="*/ 54 h 157"/>
                <a:gd name="T10" fmla="*/ 124 w 146"/>
                <a:gd name="T11" fmla="*/ 50 h 157"/>
                <a:gd name="T12" fmla="*/ 111 w 146"/>
                <a:gd name="T13" fmla="*/ 51 h 157"/>
                <a:gd name="T14" fmla="*/ 102 w 146"/>
                <a:gd name="T15" fmla="*/ 55 h 157"/>
                <a:gd name="T16" fmla="*/ 91 w 146"/>
                <a:gd name="T17" fmla="*/ 54 h 157"/>
                <a:gd name="T18" fmla="*/ 81 w 146"/>
                <a:gd name="T19" fmla="*/ 46 h 157"/>
                <a:gd name="T20" fmla="*/ 79 w 146"/>
                <a:gd name="T21" fmla="*/ 40 h 157"/>
                <a:gd name="T22" fmla="*/ 81 w 146"/>
                <a:gd name="T23" fmla="*/ 32 h 157"/>
                <a:gd name="T24" fmla="*/ 71 w 146"/>
                <a:gd name="T25" fmla="*/ 30 h 157"/>
                <a:gd name="T26" fmla="*/ 59 w 146"/>
                <a:gd name="T27" fmla="*/ 24 h 157"/>
                <a:gd name="T28" fmla="*/ 57 w 146"/>
                <a:gd name="T29" fmla="*/ 14 h 157"/>
                <a:gd name="T30" fmla="*/ 47 w 146"/>
                <a:gd name="T31" fmla="*/ 5 h 157"/>
                <a:gd name="T32" fmla="*/ 38 w 146"/>
                <a:gd name="T33" fmla="*/ 1 h 157"/>
                <a:gd name="T34" fmla="*/ 27 w 146"/>
                <a:gd name="T35" fmla="*/ 1 h 157"/>
                <a:gd name="T36" fmla="*/ 18 w 146"/>
                <a:gd name="T37" fmla="*/ 3 h 157"/>
                <a:gd name="T38" fmla="*/ 8 w 146"/>
                <a:gd name="T39" fmla="*/ 11 h 157"/>
                <a:gd name="T40" fmla="*/ 4 w 146"/>
                <a:gd name="T41" fmla="*/ 12 h 157"/>
                <a:gd name="T42" fmla="*/ 3 w 146"/>
                <a:gd name="T43" fmla="*/ 25 h 157"/>
                <a:gd name="T44" fmla="*/ 7 w 146"/>
                <a:gd name="T45" fmla="*/ 33 h 157"/>
                <a:gd name="T46" fmla="*/ 9 w 146"/>
                <a:gd name="T47" fmla="*/ 37 h 157"/>
                <a:gd name="T48" fmla="*/ 14 w 146"/>
                <a:gd name="T49" fmla="*/ 39 h 157"/>
                <a:gd name="T50" fmla="*/ 21 w 146"/>
                <a:gd name="T51" fmla="*/ 41 h 157"/>
                <a:gd name="T52" fmla="*/ 12 w 146"/>
                <a:gd name="T53" fmla="*/ 47 h 157"/>
                <a:gd name="T54" fmla="*/ 12 w 146"/>
                <a:gd name="T55" fmla="*/ 53 h 157"/>
                <a:gd name="T56" fmla="*/ 18 w 146"/>
                <a:gd name="T57" fmla="*/ 69 h 157"/>
                <a:gd name="T58" fmla="*/ 16 w 146"/>
                <a:gd name="T59" fmla="*/ 75 h 157"/>
                <a:gd name="T60" fmla="*/ 23 w 146"/>
                <a:gd name="T61" fmla="*/ 82 h 157"/>
                <a:gd name="T62" fmla="*/ 30 w 146"/>
                <a:gd name="T63" fmla="*/ 88 h 157"/>
                <a:gd name="T64" fmla="*/ 33 w 146"/>
                <a:gd name="T65" fmla="*/ 94 h 157"/>
                <a:gd name="T66" fmla="*/ 30 w 146"/>
                <a:gd name="T67" fmla="*/ 102 h 157"/>
                <a:gd name="T68" fmla="*/ 31 w 146"/>
                <a:gd name="T69" fmla="*/ 114 h 157"/>
                <a:gd name="T70" fmla="*/ 26 w 146"/>
                <a:gd name="T71" fmla="*/ 115 h 157"/>
                <a:gd name="T72" fmla="*/ 29 w 146"/>
                <a:gd name="T73" fmla="*/ 118 h 157"/>
                <a:gd name="T74" fmla="*/ 32 w 146"/>
                <a:gd name="T75" fmla="*/ 120 h 157"/>
                <a:gd name="T76" fmla="*/ 37 w 146"/>
                <a:gd name="T77" fmla="*/ 124 h 157"/>
                <a:gd name="T78" fmla="*/ 43 w 146"/>
                <a:gd name="T79" fmla="*/ 126 h 157"/>
                <a:gd name="T80" fmla="*/ 48 w 146"/>
                <a:gd name="T81" fmla="*/ 126 h 157"/>
                <a:gd name="T82" fmla="*/ 53 w 146"/>
                <a:gd name="T83" fmla="*/ 128 h 157"/>
                <a:gd name="T84" fmla="*/ 60 w 146"/>
                <a:gd name="T85" fmla="*/ 132 h 157"/>
                <a:gd name="T86" fmla="*/ 68 w 146"/>
                <a:gd name="T87" fmla="*/ 138 h 157"/>
                <a:gd name="T88" fmla="*/ 73 w 146"/>
                <a:gd name="T89" fmla="*/ 126 h 157"/>
                <a:gd name="T90" fmla="*/ 76 w 146"/>
                <a:gd name="T91" fmla="*/ 118 h 157"/>
                <a:gd name="T92" fmla="*/ 90 w 146"/>
                <a:gd name="T93" fmla="*/ 126 h 157"/>
                <a:gd name="T94" fmla="*/ 104 w 146"/>
                <a:gd name="T95" fmla="*/ 136 h 157"/>
                <a:gd name="T96" fmla="*/ 112 w 146"/>
                <a:gd name="T97" fmla="*/ 140 h 157"/>
                <a:gd name="T98" fmla="*/ 109 w 146"/>
                <a:gd name="T99" fmla="*/ 150 h 157"/>
                <a:gd name="T100" fmla="*/ 109 w 146"/>
                <a:gd name="T101" fmla="*/ 156 h 157"/>
                <a:gd name="T102" fmla="*/ 113 w 146"/>
                <a:gd name="T103" fmla="*/ 156 h 157"/>
                <a:gd name="T104" fmla="*/ 124 w 146"/>
                <a:gd name="T105" fmla="*/ 151 h 157"/>
                <a:gd name="T106" fmla="*/ 134 w 146"/>
                <a:gd name="T107" fmla="*/ 148 h 157"/>
                <a:gd name="T108" fmla="*/ 133 w 146"/>
                <a:gd name="T109" fmla="*/ 131 h 157"/>
                <a:gd name="T110" fmla="*/ 140 w 146"/>
                <a:gd name="T111" fmla="*/ 12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6" h="157">
                  <a:moveTo>
                    <a:pt x="146" y="107"/>
                  </a:moveTo>
                  <a:cubicBezTo>
                    <a:pt x="143" y="107"/>
                    <a:pt x="143" y="107"/>
                    <a:pt x="143" y="107"/>
                  </a:cubicBezTo>
                  <a:cubicBezTo>
                    <a:pt x="140" y="106"/>
                    <a:pt x="140" y="106"/>
                    <a:pt x="140" y="106"/>
                  </a:cubicBezTo>
                  <a:cubicBezTo>
                    <a:pt x="139" y="105"/>
                    <a:pt x="137" y="102"/>
                    <a:pt x="136" y="101"/>
                  </a:cubicBezTo>
                  <a:cubicBezTo>
                    <a:pt x="136" y="101"/>
                    <a:pt x="136" y="101"/>
                    <a:pt x="135" y="101"/>
                  </a:cubicBezTo>
                  <a:cubicBezTo>
                    <a:pt x="134" y="100"/>
                    <a:pt x="132" y="100"/>
                    <a:pt x="132" y="99"/>
                  </a:cubicBezTo>
                  <a:cubicBezTo>
                    <a:pt x="131" y="99"/>
                    <a:pt x="129" y="98"/>
                    <a:pt x="128" y="98"/>
                  </a:cubicBezTo>
                  <a:cubicBezTo>
                    <a:pt x="128" y="98"/>
                    <a:pt x="125" y="94"/>
                    <a:pt x="125" y="93"/>
                  </a:cubicBezTo>
                  <a:cubicBezTo>
                    <a:pt x="124" y="91"/>
                    <a:pt x="123" y="91"/>
                    <a:pt x="123" y="91"/>
                  </a:cubicBezTo>
                  <a:cubicBezTo>
                    <a:pt x="123" y="91"/>
                    <a:pt x="122" y="89"/>
                    <a:pt x="121" y="88"/>
                  </a:cubicBezTo>
                  <a:cubicBezTo>
                    <a:pt x="121" y="87"/>
                    <a:pt x="120" y="85"/>
                    <a:pt x="120" y="85"/>
                  </a:cubicBezTo>
                  <a:cubicBezTo>
                    <a:pt x="120" y="85"/>
                    <a:pt x="121" y="83"/>
                    <a:pt x="121" y="82"/>
                  </a:cubicBezTo>
                  <a:cubicBezTo>
                    <a:pt x="120" y="81"/>
                    <a:pt x="120" y="77"/>
                    <a:pt x="120" y="77"/>
                  </a:cubicBezTo>
                  <a:cubicBezTo>
                    <a:pt x="122" y="74"/>
                    <a:pt x="122" y="74"/>
                    <a:pt x="122" y="74"/>
                  </a:cubicBezTo>
                  <a:cubicBezTo>
                    <a:pt x="122" y="74"/>
                    <a:pt x="124" y="73"/>
                    <a:pt x="125" y="73"/>
                  </a:cubicBezTo>
                  <a:cubicBezTo>
                    <a:pt x="126" y="72"/>
                    <a:pt x="126" y="72"/>
                    <a:pt x="125" y="71"/>
                  </a:cubicBezTo>
                  <a:cubicBezTo>
                    <a:pt x="125" y="68"/>
                    <a:pt x="125" y="68"/>
                    <a:pt x="125" y="68"/>
                  </a:cubicBezTo>
                  <a:cubicBezTo>
                    <a:pt x="125" y="62"/>
                    <a:pt x="125" y="62"/>
                    <a:pt x="125" y="62"/>
                  </a:cubicBezTo>
                  <a:cubicBezTo>
                    <a:pt x="125" y="63"/>
                    <a:pt x="125" y="63"/>
                    <a:pt x="125" y="63"/>
                  </a:cubicBezTo>
                  <a:cubicBezTo>
                    <a:pt x="124" y="63"/>
                    <a:pt x="124" y="63"/>
                    <a:pt x="124" y="63"/>
                  </a:cubicBezTo>
                  <a:cubicBezTo>
                    <a:pt x="121" y="62"/>
                    <a:pt x="121" y="62"/>
                    <a:pt x="121" y="62"/>
                  </a:cubicBezTo>
                  <a:cubicBezTo>
                    <a:pt x="121" y="62"/>
                    <a:pt x="121" y="61"/>
                    <a:pt x="121" y="60"/>
                  </a:cubicBezTo>
                  <a:cubicBezTo>
                    <a:pt x="121" y="60"/>
                    <a:pt x="119" y="59"/>
                    <a:pt x="118" y="58"/>
                  </a:cubicBezTo>
                  <a:cubicBezTo>
                    <a:pt x="116" y="56"/>
                    <a:pt x="116" y="56"/>
                    <a:pt x="116" y="56"/>
                  </a:cubicBezTo>
                  <a:cubicBezTo>
                    <a:pt x="120" y="54"/>
                    <a:pt x="120" y="54"/>
                    <a:pt x="120" y="54"/>
                  </a:cubicBezTo>
                  <a:cubicBezTo>
                    <a:pt x="120" y="54"/>
                    <a:pt x="120" y="52"/>
                    <a:pt x="120" y="52"/>
                  </a:cubicBezTo>
                  <a:cubicBezTo>
                    <a:pt x="121" y="51"/>
                    <a:pt x="122" y="52"/>
                    <a:pt x="122" y="52"/>
                  </a:cubicBezTo>
                  <a:cubicBezTo>
                    <a:pt x="123" y="52"/>
                    <a:pt x="124" y="53"/>
                    <a:pt x="124" y="53"/>
                  </a:cubicBezTo>
                  <a:cubicBezTo>
                    <a:pt x="125" y="53"/>
                    <a:pt x="126" y="52"/>
                    <a:pt x="126" y="51"/>
                  </a:cubicBezTo>
                  <a:cubicBezTo>
                    <a:pt x="126" y="51"/>
                    <a:pt x="125" y="51"/>
                    <a:pt x="124" y="50"/>
                  </a:cubicBezTo>
                  <a:cubicBezTo>
                    <a:pt x="120" y="50"/>
                    <a:pt x="120" y="50"/>
                    <a:pt x="120" y="50"/>
                  </a:cubicBezTo>
                  <a:cubicBezTo>
                    <a:pt x="120" y="50"/>
                    <a:pt x="118" y="48"/>
                    <a:pt x="116" y="47"/>
                  </a:cubicBezTo>
                  <a:cubicBezTo>
                    <a:pt x="116" y="47"/>
                    <a:pt x="115" y="47"/>
                    <a:pt x="115" y="47"/>
                  </a:cubicBezTo>
                  <a:cubicBezTo>
                    <a:pt x="114" y="48"/>
                    <a:pt x="112" y="49"/>
                    <a:pt x="112" y="49"/>
                  </a:cubicBezTo>
                  <a:cubicBezTo>
                    <a:pt x="112" y="50"/>
                    <a:pt x="111" y="50"/>
                    <a:pt x="111" y="51"/>
                  </a:cubicBezTo>
                  <a:cubicBezTo>
                    <a:pt x="111" y="52"/>
                    <a:pt x="110" y="52"/>
                    <a:pt x="110" y="53"/>
                  </a:cubicBezTo>
                  <a:cubicBezTo>
                    <a:pt x="109" y="54"/>
                    <a:pt x="108" y="56"/>
                    <a:pt x="108" y="56"/>
                  </a:cubicBezTo>
                  <a:cubicBezTo>
                    <a:pt x="108" y="56"/>
                    <a:pt x="107" y="57"/>
                    <a:pt x="107" y="57"/>
                  </a:cubicBezTo>
                  <a:cubicBezTo>
                    <a:pt x="107" y="57"/>
                    <a:pt x="107" y="58"/>
                    <a:pt x="107" y="58"/>
                  </a:cubicBezTo>
                  <a:cubicBezTo>
                    <a:pt x="106" y="58"/>
                    <a:pt x="103" y="57"/>
                    <a:pt x="102" y="55"/>
                  </a:cubicBezTo>
                  <a:cubicBezTo>
                    <a:pt x="102" y="53"/>
                    <a:pt x="101" y="53"/>
                    <a:pt x="101" y="53"/>
                  </a:cubicBezTo>
                  <a:cubicBezTo>
                    <a:pt x="101" y="53"/>
                    <a:pt x="97" y="53"/>
                    <a:pt x="96" y="53"/>
                  </a:cubicBezTo>
                  <a:cubicBezTo>
                    <a:pt x="95" y="53"/>
                    <a:pt x="95" y="53"/>
                    <a:pt x="95" y="53"/>
                  </a:cubicBezTo>
                  <a:cubicBezTo>
                    <a:pt x="95" y="53"/>
                    <a:pt x="94" y="53"/>
                    <a:pt x="94" y="53"/>
                  </a:cubicBezTo>
                  <a:cubicBezTo>
                    <a:pt x="93" y="53"/>
                    <a:pt x="92" y="53"/>
                    <a:pt x="91" y="54"/>
                  </a:cubicBezTo>
                  <a:cubicBezTo>
                    <a:pt x="90" y="54"/>
                    <a:pt x="89" y="53"/>
                    <a:pt x="89" y="51"/>
                  </a:cubicBezTo>
                  <a:cubicBezTo>
                    <a:pt x="88" y="50"/>
                    <a:pt x="88" y="50"/>
                    <a:pt x="88" y="50"/>
                  </a:cubicBezTo>
                  <a:cubicBezTo>
                    <a:pt x="87" y="50"/>
                    <a:pt x="86" y="49"/>
                    <a:pt x="85" y="49"/>
                  </a:cubicBezTo>
                  <a:cubicBezTo>
                    <a:pt x="84" y="49"/>
                    <a:pt x="83" y="50"/>
                    <a:pt x="82" y="49"/>
                  </a:cubicBezTo>
                  <a:cubicBezTo>
                    <a:pt x="81" y="48"/>
                    <a:pt x="81" y="46"/>
                    <a:pt x="81" y="46"/>
                  </a:cubicBezTo>
                  <a:cubicBezTo>
                    <a:pt x="82" y="46"/>
                    <a:pt x="84" y="46"/>
                    <a:pt x="84" y="45"/>
                  </a:cubicBezTo>
                  <a:cubicBezTo>
                    <a:pt x="85" y="45"/>
                    <a:pt x="86" y="44"/>
                    <a:pt x="87" y="43"/>
                  </a:cubicBezTo>
                  <a:cubicBezTo>
                    <a:pt x="86" y="42"/>
                    <a:pt x="86" y="42"/>
                    <a:pt x="86" y="42"/>
                  </a:cubicBezTo>
                  <a:cubicBezTo>
                    <a:pt x="84" y="41"/>
                    <a:pt x="84" y="41"/>
                    <a:pt x="84" y="41"/>
                  </a:cubicBezTo>
                  <a:cubicBezTo>
                    <a:pt x="84" y="41"/>
                    <a:pt x="81" y="41"/>
                    <a:pt x="79" y="40"/>
                  </a:cubicBezTo>
                  <a:cubicBezTo>
                    <a:pt x="79" y="40"/>
                    <a:pt x="78" y="40"/>
                    <a:pt x="78" y="39"/>
                  </a:cubicBezTo>
                  <a:cubicBezTo>
                    <a:pt x="78" y="39"/>
                    <a:pt x="79" y="38"/>
                    <a:pt x="80" y="38"/>
                  </a:cubicBezTo>
                  <a:cubicBezTo>
                    <a:pt x="79" y="36"/>
                    <a:pt x="79" y="36"/>
                    <a:pt x="79" y="36"/>
                  </a:cubicBezTo>
                  <a:cubicBezTo>
                    <a:pt x="81" y="33"/>
                    <a:pt x="81" y="33"/>
                    <a:pt x="81" y="33"/>
                  </a:cubicBezTo>
                  <a:cubicBezTo>
                    <a:pt x="81" y="32"/>
                    <a:pt x="81" y="32"/>
                    <a:pt x="81" y="32"/>
                  </a:cubicBezTo>
                  <a:cubicBezTo>
                    <a:pt x="81" y="32"/>
                    <a:pt x="80" y="31"/>
                    <a:pt x="78" y="31"/>
                  </a:cubicBezTo>
                  <a:cubicBezTo>
                    <a:pt x="77" y="31"/>
                    <a:pt x="77" y="31"/>
                    <a:pt x="76" y="31"/>
                  </a:cubicBezTo>
                  <a:cubicBezTo>
                    <a:pt x="75" y="31"/>
                    <a:pt x="75" y="31"/>
                    <a:pt x="75" y="31"/>
                  </a:cubicBezTo>
                  <a:cubicBezTo>
                    <a:pt x="75" y="31"/>
                    <a:pt x="74" y="31"/>
                    <a:pt x="72" y="30"/>
                  </a:cubicBezTo>
                  <a:cubicBezTo>
                    <a:pt x="71" y="30"/>
                    <a:pt x="71" y="30"/>
                    <a:pt x="71" y="30"/>
                  </a:cubicBezTo>
                  <a:cubicBezTo>
                    <a:pt x="69" y="29"/>
                    <a:pt x="69" y="29"/>
                    <a:pt x="69" y="29"/>
                  </a:cubicBezTo>
                  <a:cubicBezTo>
                    <a:pt x="69" y="29"/>
                    <a:pt x="68" y="28"/>
                    <a:pt x="67" y="28"/>
                  </a:cubicBezTo>
                  <a:cubicBezTo>
                    <a:pt x="67" y="28"/>
                    <a:pt x="66" y="28"/>
                    <a:pt x="65" y="27"/>
                  </a:cubicBezTo>
                  <a:cubicBezTo>
                    <a:pt x="63" y="26"/>
                    <a:pt x="62" y="26"/>
                    <a:pt x="61" y="26"/>
                  </a:cubicBezTo>
                  <a:cubicBezTo>
                    <a:pt x="61" y="26"/>
                    <a:pt x="59" y="25"/>
                    <a:pt x="59" y="24"/>
                  </a:cubicBezTo>
                  <a:cubicBezTo>
                    <a:pt x="58" y="23"/>
                    <a:pt x="58" y="23"/>
                    <a:pt x="58" y="23"/>
                  </a:cubicBezTo>
                  <a:cubicBezTo>
                    <a:pt x="58" y="23"/>
                    <a:pt x="58" y="22"/>
                    <a:pt x="58" y="22"/>
                  </a:cubicBezTo>
                  <a:cubicBezTo>
                    <a:pt x="58" y="21"/>
                    <a:pt x="57" y="20"/>
                    <a:pt x="57" y="20"/>
                  </a:cubicBezTo>
                  <a:cubicBezTo>
                    <a:pt x="56" y="18"/>
                    <a:pt x="56" y="17"/>
                    <a:pt x="56" y="17"/>
                  </a:cubicBezTo>
                  <a:cubicBezTo>
                    <a:pt x="56" y="17"/>
                    <a:pt x="56" y="14"/>
                    <a:pt x="57" y="14"/>
                  </a:cubicBezTo>
                  <a:cubicBezTo>
                    <a:pt x="57" y="13"/>
                    <a:pt x="56" y="12"/>
                    <a:pt x="56" y="11"/>
                  </a:cubicBezTo>
                  <a:cubicBezTo>
                    <a:pt x="56" y="11"/>
                    <a:pt x="55" y="11"/>
                    <a:pt x="55" y="11"/>
                  </a:cubicBezTo>
                  <a:cubicBezTo>
                    <a:pt x="54" y="11"/>
                    <a:pt x="53" y="11"/>
                    <a:pt x="53" y="10"/>
                  </a:cubicBezTo>
                  <a:cubicBezTo>
                    <a:pt x="53" y="10"/>
                    <a:pt x="52" y="10"/>
                    <a:pt x="52" y="10"/>
                  </a:cubicBezTo>
                  <a:cubicBezTo>
                    <a:pt x="51" y="9"/>
                    <a:pt x="47" y="6"/>
                    <a:pt x="47" y="5"/>
                  </a:cubicBezTo>
                  <a:cubicBezTo>
                    <a:pt x="47" y="5"/>
                    <a:pt x="45" y="4"/>
                    <a:pt x="44" y="4"/>
                  </a:cubicBezTo>
                  <a:cubicBezTo>
                    <a:pt x="44" y="4"/>
                    <a:pt x="43" y="4"/>
                    <a:pt x="42" y="3"/>
                  </a:cubicBezTo>
                  <a:cubicBezTo>
                    <a:pt x="42" y="3"/>
                    <a:pt x="41" y="3"/>
                    <a:pt x="41" y="3"/>
                  </a:cubicBezTo>
                  <a:cubicBezTo>
                    <a:pt x="40" y="3"/>
                    <a:pt x="39" y="2"/>
                    <a:pt x="39" y="2"/>
                  </a:cubicBezTo>
                  <a:cubicBezTo>
                    <a:pt x="38" y="1"/>
                    <a:pt x="38" y="1"/>
                    <a:pt x="38" y="1"/>
                  </a:cubicBezTo>
                  <a:cubicBezTo>
                    <a:pt x="37" y="1"/>
                    <a:pt x="36" y="1"/>
                    <a:pt x="35" y="1"/>
                  </a:cubicBezTo>
                  <a:cubicBezTo>
                    <a:pt x="34" y="1"/>
                    <a:pt x="34" y="1"/>
                    <a:pt x="34" y="1"/>
                  </a:cubicBezTo>
                  <a:cubicBezTo>
                    <a:pt x="33" y="1"/>
                    <a:pt x="33" y="1"/>
                    <a:pt x="33" y="1"/>
                  </a:cubicBezTo>
                  <a:cubicBezTo>
                    <a:pt x="32" y="0"/>
                    <a:pt x="32" y="0"/>
                    <a:pt x="32" y="0"/>
                  </a:cubicBezTo>
                  <a:cubicBezTo>
                    <a:pt x="27" y="1"/>
                    <a:pt x="27" y="1"/>
                    <a:pt x="27" y="1"/>
                  </a:cubicBezTo>
                  <a:cubicBezTo>
                    <a:pt x="22" y="3"/>
                    <a:pt x="22" y="3"/>
                    <a:pt x="22" y="3"/>
                  </a:cubicBezTo>
                  <a:cubicBezTo>
                    <a:pt x="22" y="2"/>
                    <a:pt x="22" y="2"/>
                    <a:pt x="22" y="2"/>
                  </a:cubicBezTo>
                  <a:cubicBezTo>
                    <a:pt x="21" y="2"/>
                    <a:pt x="21" y="2"/>
                    <a:pt x="21" y="2"/>
                  </a:cubicBezTo>
                  <a:cubicBezTo>
                    <a:pt x="20" y="2"/>
                    <a:pt x="19" y="2"/>
                    <a:pt x="19" y="2"/>
                  </a:cubicBezTo>
                  <a:cubicBezTo>
                    <a:pt x="19" y="3"/>
                    <a:pt x="18" y="3"/>
                    <a:pt x="18" y="3"/>
                  </a:cubicBezTo>
                  <a:cubicBezTo>
                    <a:pt x="18" y="4"/>
                    <a:pt x="16" y="5"/>
                    <a:pt x="16" y="5"/>
                  </a:cubicBezTo>
                  <a:cubicBezTo>
                    <a:pt x="16" y="5"/>
                    <a:pt x="14" y="6"/>
                    <a:pt x="14" y="7"/>
                  </a:cubicBezTo>
                  <a:cubicBezTo>
                    <a:pt x="11" y="10"/>
                    <a:pt x="11" y="10"/>
                    <a:pt x="11" y="10"/>
                  </a:cubicBezTo>
                  <a:cubicBezTo>
                    <a:pt x="11" y="11"/>
                    <a:pt x="11" y="11"/>
                    <a:pt x="11" y="11"/>
                  </a:cubicBezTo>
                  <a:cubicBezTo>
                    <a:pt x="10" y="11"/>
                    <a:pt x="9" y="11"/>
                    <a:pt x="8" y="11"/>
                  </a:cubicBezTo>
                  <a:cubicBezTo>
                    <a:pt x="8" y="11"/>
                    <a:pt x="8" y="11"/>
                    <a:pt x="8" y="11"/>
                  </a:cubicBezTo>
                  <a:cubicBezTo>
                    <a:pt x="7" y="11"/>
                    <a:pt x="7" y="11"/>
                    <a:pt x="5" y="12"/>
                  </a:cubicBezTo>
                  <a:cubicBezTo>
                    <a:pt x="5" y="12"/>
                    <a:pt x="5" y="12"/>
                    <a:pt x="5" y="12"/>
                  </a:cubicBezTo>
                  <a:cubicBezTo>
                    <a:pt x="4" y="12"/>
                    <a:pt x="4" y="12"/>
                    <a:pt x="4" y="12"/>
                  </a:cubicBezTo>
                  <a:cubicBezTo>
                    <a:pt x="4" y="12"/>
                    <a:pt x="4" y="12"/>
                    <a:pt x="4" y="12"/>
                  </a:cubicBezTo>
                  <a:cubicBezTo>
                    <a:pt x="2" y="15"/>
                    <a:pt x="2" y="15"/>
                    <a:pt x="2" y="15"/>
                  </a:cubicBezTo>
                  <a:cubicBezTo>
                    <a:pt x="0" y="16"/>
                    <a:pt x="0" y="16"/>
                    <a:pt x="0" y="16"/>
                  </a:cubicBezTo>
                  <a:cubicBezTo>
                    <a:pt x="2" y="16"/>
                    <a:pt x="2" y="16"/>
                    <a:pt x="2" y="16"/>
                  </a:cubicBezTo>
                  <a:cubicBezTo>
                    <a:pt x="2" y="22"/>
                    <a:pt x="2" y="22"/>
                    <a:pt x="2" y="22"/>
                  </a:cubicBezTo>
                  <a:cubicBezTo>
                    <a:pt x="3" y="25"/>
                    <a:pt x="3" y="25"/>
                    <a:pt x="3" y="25"/>
                  </a:cubicBezTo>
                  <a:cubicBezTo>
                    <a:pt x="3" y="25"/>
                    <a:pt x="3" y="25"/>
                    <a:pt x="3" y="25"/>
                  </a:cubicBezTo>
                  <a:cubicBezTo>
                    <a:pt x="3" y="26"/>
                    <a:pt x="3" y="26"/>
                    <a:pt x="3" y="27"/>
                  </a:cubicBezTo>
                  <a:cubicBezTo>
                    <a:pt x="3" y="27"/>
                    <a:pt x="3" y="27"/>
                    <a:pt x="4" y="27"/>
                  </a:cubicBezTo>
                  <a:cubicBezTo>
                    <a:pt x="5" y="27"/>
                    <a:pt x="7" y="27"/>
                    <a:pt x="8" y="29"/>
                  </a:cubicBezTo>
                  <a:cubicBezTo>
                    <a:pt x="8" y="30"/>
                    <a:pt x="8" y="31"/>
                    <a:pt x="7" y="33"/>
                  </a:cubicBezTo>
                  <a:cubicBezTo>
                    <a:pt x="6" y="34"/>
                    <a:pt x="6" y="34"/>
                    <a:pt x="6" y="34"/>
                  </a:cubicBezTo>
                  <a:cubicBezTo>
                    <a:pt x="6" y="34"/>
                    <a:pt x="6" y="34"/>
                    <a:pt x="6" y="34"/>
                  </a:cubicBezTo>
                  <a:cubicBezTo>
                    <a:pt x="6" y="35"/>
                    <a:pt x="7" y="35"/>
                    <a:pt x="8" y="37"/>
                  </a:cubicBezTo>
                  <a:cubicBezTo>
                    <a:pt x="8" y="37"/>
                    <a:pt x="9" y="37"/>
                    <a:pt x="9" y="37"/>
                  </a:cubicBezTo>
                  <a:cubicBezTo>
                    <a:pt x="9" y="37"/>
                    <a:pt x="9" y="37"/>
                    <a:pt x="9" y="37"/>
                  </a:cubicBezTo>
                  <a:cubicBezTo>
                    <a:pt x="10" y="37"/>
                    <a:pt x="11" y="37"/>
                    <a:pt x="11" y="37"/>
                  </a:cubicBezTo>
                  <a:cubicBezTo>
                    <a:pt x="11" y="37"/>
                    <a:pt x="11" y="37"/>
                    <a:pt x="11" y="37"/>
                  </a:cubicBezTo>
                  <a:cubicBezTo>
                    <a:pt x="12" y="38"/>
                    <a:pt x="12" y="38"/>
                    <a:pt x="12" y="38"/>
                  </a:cubicBezTo>
                  <a:cubicBezTo>
                    <a:pt x="12" y="38"/>
                    <a:pt x="12" y="38"/>
                    <a:pt x="12" y="38"/>
                  </a:cubicBezTo>
                  <a:cubicBezTo>
                    <a:pt x="12" y="38"/>
                    <a:pt x="13" y="39"/>
                    <a:pt x="14" y="39"/>
                  </a:cubicBezTo>
                  <a:cubicBezTo>
                    <a:pt x="14" y="39"/>
                    <a:pt x="14" y="39"/>
                    <a:pt x="14" y="39"/>
                  </a:cubicBezTo>
                  <a:cubicBezTo>
                    <a:pt x="15" y="39"/>
                    <a:pt x="15" y="38"/>
                    <a:pt x="16" y="38"/>
                  </a:cubicBezTo>
                  <a:cubicBezTo>
                    <a:pt x="16" y="38"/>
                    <a:pt x="16" y="38"/>
                    <a:pt x="16" y="38"/>
                  </a:cubicBezTo>
                  <a:cubicBezTo>
                    <a:pt x="18" y="38"/>
                    <a:pt x="19" y="40"/>
                    <a:pt x="20" y="41"/>
                  </a:cubicBezTo>
                  <a:cubicBezTo>
                    <a:pt x="21" y="41"/>
                    <a:pt x="21" y="41"/>
                    <a:pt x="21" y="41"/>
                  </a:cubicBezTo>
                  <a:cubicBezTo>
                    <a:pt x="20" y="42"/>
                    <a:pt x="20" y="42"/>
                    <a:pt x="20" y="42"/>
                  </a:cubicBezTo>
                  <a:cubicBezTo>
                    <a:pt x="20" y="44"/>
                    <a:pt x="17" y="46"/>
                    <a:pt x="15" y="47"/>
                  </a:cubicBezTo>
                  <a:cubicBezTo>
                    <a:pt x="14" y="47"/>
                    <a:pt x="14" y="47"/>
                    <a:pt x="14" y="47"/>
                  </a:cubicBezTo>
                  <a:cubicBezTo>
                    <a:pt x="14" y="47"/>
                    <a:pt x="14" y="47"/>
                    <a:pt x="13" y="47"/>
                  </a:cubicBezTo>
                  <a:cubicBezTo>
                    <a:pt x="13" y="47"/>
                    <a:pt x="13" y="47"/>
                    <a:pt x="12" y="47"/>
                  </a:cubicBezTo>
                  <a:cubicBezTo>
                    <a:pt x="12" y="47"/>
                    <a:pt x="11" y="47"/>
                    <a:pt x="10" y="47"/>
                  </a:cubicBezTo>
                  <a:cubicBezTo>
                    <a:pt x="10" y="47"/>
                    <a:pt x="10" y="47"/>
                    <a:pt x="10" y="47"/>
                  </a:cubicBezTo>
                  <a:cubicBezTo>
                    <a:pt x="10" y="47"/>
                    <a:pt x="10" y="47"/>
                    <a:pt x="10" y="47"/>
                  </a:cubicBezTo>
                  <a:cubicBezTo>
                    <a:pt x="11" y="49"/>
                    <a:pt x="12" y="51"/>
                    <a:pt x="12" y="51"/>
                  </a:cubicBezTo>
                  <a:cubicBezTo>
                    <a:pt x="12" y="53"/>
                    <a:pt x="12" y="53"/>
                    <a:pt x="12" y="53"/>
                  </a:cubicBezTo>
                  <a:cubicBezTo>
                    <a:pt x="20" y="54"/>
                    <a:pt x="20" y="54"/>
                    <a:pt x="20" y="54"/>
                  </a:cubicBezTo>
                  <a:cubicBezTo>
                    <a:pt x="21" y="59"/>
                    <a:pt x="21" y="59"/>
                    <a:pt x="21" y="59"/>
                  </a:cubicBezTo>
                  <a:cubicBezTo>
                    <a:pt x="21" y="62"/>
                    <a:pt x="21" y="62"/>
                    <a:pt x="21" y="62"/>
                  </a:cubicBezTo>
                  <a:cubicBezTo>
                    <a:pt x="20" y="66"/>
                    <a:pt x="20" y="66"/>
                    <a:pt x="20" y="66"/>
                  </a:cubicBezTo>
                  <a:cubicBezTo>
                    <a:pt x="18" y="69"/>
                    <a:pt x="18" y="69"/>
                    <a:pt x="18" y="69"/>
                  </a:cubicBezTo>
                  <a:cubicBezTo>
                    <a:pt x="18" y="69"/>
                    <a:pt x="18" y="70"/>
                    <a:pt x="18" y="71"/>
                  </a:cubicBezTo>
                  <a:cubicBezTo>
                    <a:pt x="18" y="71"/>
                    <a:pt x="18" y="72"/>
                    <a:pt x="17" y="73"/>
                  </a:cubicBezTo>
                  <a:cubicBezTo>
                    <a:pt x="17" y="75"/>
                    <a:pt x="17" y="75"/>
                    <a:pt x="17" y="75"/>
                  </a:cubicBezTo>
                  <a:cubicBezTo>
                    <a:pt x="16" y="75"/>
                    <a:pt x="16" y="75"/>
                    <a:pt x="16" y="75"/>
                  </a:cubicBezTo>
                  <a:cubicBezTo>
                    <a:pt x="16" y="75"/>
                    <a:pt x="16" y="75"/>
                    <a:pt x="16" y="75"/>
                  </a:cubicBezTo>
                  <a:cubicBezTo>
                    <a:pt x="17" y="76"/>
                    <a:pt x="17" y="79"/>
                    <a:pt x="17" y="81"/>
                  </a:cubicBezTo>
                  <a:cubicBezTo>
                    <a:pt x="17" y="81"/>
                    <a:pt x="17" y="81"/>
                    <a:pt x="17" y="81"/>
                  </a:cubicBezTo>
                  <a:cubicBezTo>
                    <a:pt x="18" y="81"/>
                    <a:pt x="18" y="81"/>
                    <a:pt x="18" y="81"/>
                  </a:cubicBezTo>
                  <a:cubicBezTo>
                    <a:pt x="19" y="81"/>
                    <a:pt x="19" y="81"/>
                    <a:pt x="19" y="81"/>
                  </a:cubicBezTo>
                  <a:cubicBezTo>
                    <a:pt x="21" y="81"/>
                    <a:pt x="22" y="81"/>
                    <a:pt x="23" y="82"/>
                  </a:cubicBezTo>
                  <a:cubicBezTo>
                    <a:pt x="25" y="83"/>
                    <a:pt x="25" y="84"/>
                    <a:pt x="25" y="84"/>
                  </a:cubicBezTo>
                  <a:cubicBezTo>
                    <a:pt x="25" y="85"/>
                    <a:pt x="25" y="85"/>
                    <a:pt x="26" y="85"/>
                  </a:cubicBezTo>
                  <a:cubicBezTo>
                    <a:pt x="26" y="85"/>
                    <a:pt x="26" y="85"/>
                    <a:pt x="26" y="85"/>
                  </a:cubicBezTo>
                  <a:cubicBezTo>
                    <a:pt x="27" y="85"/>
                    <a:pt x="27" y="85"/>
                    <a:pt x="27" y="85"/>
                  </a:cubicBezTo>
                  <a:cubicBezTo>
                    <a:pt x="28" y="85"/>
                    <a:pt x="30" y="87"/>
                    <a:pt x="30" y="88"/>
                  </a:cubicBezTo>
                  <a:cubicBezTo>
                    <a:pt x="30" y="88"/>
                    <a:pt x="30" y="88"/>
                    <a:pt x="30" y="88"/>
                  </a:cubicBezTo>
                  <a:cubicBezTo>
                    <a:pt x="30" y="88"/>
                    <a:pt x="30" y="88"/>
                    <a:pt x="31" y="88"/>
                  </a:cubicBezTo>
                  <a:cubicBezTo>
                    <a:pt x="32" y="89"/>
                    <a:pt x="33" y="89"/>
                    <a:pt x="34" y="90"/>
                  </a:cubicBezTo>
                  <a:cubicBezTo>
                    <a:pt x="34" y="91"/>
                    <a:pt x="34" y="92"/>
                    <a:pt x="34" y="93"/>
                  </a:cubicBezTo>
                  <a:cubicBezTo>
                    <a:pt x="34" y="94"/>
                    <a:pt x="33" y="94"/>
                    <a:pt x="33" y="94"/>
                  </a:cubicBezTo>
                  <a:cubicBezTo>
                    <a:pt x="32" y="95"/>
                    <a:pt x="32" y="96"/>
                    <a:pt x="30" y="97"/>
                  </a:cubicBezTo>
                  <a:cubicBezTo>
                    <a:pt x="26" y="97"/>
                    <a:pt x="26" y="97"/>
                    <a:pt x="26" y="97"/>
                  </a:cubicBezTo>
                  <a:cubicBezTo>
                    <a:pt x="26" y="98"/>
                    <a:pt x="26" y="98"/>
                    <a:pt x="26" y="98"/>
                  </a:cubicBezTo>
                  <a:cubicBezTo>
                    <a:pt x="27" y="99"/>
                    <a:pt x="28" y="100"/>
                    <a:pt x="29" y="100"/>
                  </a:cubicBezTo>
                  <a:cubicBezTo>
                    <a:pt x="29" y="101"/>
                    <a:pt x="30" y="102"/>
                    <a:pt x="30" y="102"/>
                  </a:cubicBezTo>
                  <a:cubicBezTo>
                    <a:pt x="33" y="106"/>
                    <a:pt x="33" y="106"/>
                    <a:pt x="33" y="106"/>
                  </a:cubicBezTo>
                  <a:cubicBezTo>
                    <a:pt x="33" y="106"/>
                    <a:pt x="33" y="106"/>
                    <a:pt x="33" y="106"/>
                  </a:cubicBezTo>
                  <a:cubicBezTo>
                    <a:pt x="34" y="107"/>
                    <a:pt x="34" y="108"/>
                    <a:pt x="34" y="111"/>
                  </a:cubicBezTo>
                  <a:cubicBezTo>
                    <a:pt x="34" y="114"/>
                    <a:pt x="32" y="114"/>
                    <a:pt x="31" y="114"/>
                  </a:cubicBezTo>
                  <a:cubicBezTo>
                    <a:pt x="31" y="114"/>
                    <a:pt x="31" y="114"/>
                    <a:pt x="31" y="114"/>
                  </a:cubicBezTo>
                  <a:cubicBezTo>
                    <a:pt x="30" y="114"/>
                    <a:pt x="30" y="114"/>
                    <a:pt x="30" y="114"/>
                  </a:cubicBezTo>
                  <a:cubicBezTo>
                    <a:pt x="29" y="114"/>
                    <a:pt x="29" y="114"/>
                    <a:pt x="29" y="114"/>
                  </a:cubicBezTo>
                  <a:cubicBezTo>
                    <a:pt x="28" y="114"/>
                    <a:pt x="28" y="114"/>
                    <a:pt x="27" y="114"/>
                  </a:cubicBezTo>
                  <a:cubicBezTo>
                    <a:pt x="27" y="114"/>
                    <a:pt x="27" y="114"/>
                    <a:pt x="27" y="114"/>
                  </a:cubicBezTo>
                  <a:cubicBezTo>
                    <a:pt x="26" y="115"/>
                    <a:pt x="26" y="115"/>
                    <a:pt x="26" y="115"/>
                  </a:cubicBezTo>
                  <a:cubicBezTo>
                    <a:pt x="28" y="116"/>
                    <a:pt x="28" y="116"/>
                    <a:pt x="28" y="116"/>
                  </a:cubicBezTo>
                  <a:cubicBezTo>
                    <a:pt x="27" y="116"/>
                    <a:pt x="27" y="116"/>
                    <a:pt x="27" y="116"/>
                  </a:cubicBezTo>
                  <a:cubicBezTo>
                    <a:pt x="28" y="117"/>
                    <a:pt x="28" y="117"/>
                    <a:pt x="28" y="117"/>
                  </a:cubicBezTo>
                  <a:cubicBezTo>
                    <a:pt x="28" y="117"/>
                    <a:pt x="28" y="117"/>
                    <a:pt x="28" y="117"/>
                  </a:cubicBezTo>
                  <a:cubicBezTo>
                    <a:pt x="28" y="117"/>
                    <a:pt x="28" y="117"/>
                    <a:pt x="29" y="118"/>
                  </a:cubicBezTo>
                  <a:cubicBezTo>
                    <a:pt x="29" y="118"/>
                    <a:pt x="29" y="118"/>
                    <a:pt x="29" y="118"/>
                  </a:cubicBezTo>
                  <a:cubicBezTo>
                    <a:pt x="30" y="118"/>
                    <a:pt x="30" y="118"/>
                    <a:pt x="30" y="118"/>
                  </a:cubicBezTo>
                  <a:cubicBezTo>
                    <a:pt x="30" y="118"/>
                    <a:pt x="31" y="119"/>
                    <a:pt x="31" y="119"/>
                  </a:cubicBezTo>
                  <a:cubicBezTo>
                    <a:pt x="32" y="120"/>
                    <a:pt x="32" y="120"/>
                    <a:pt x="32" y="120"/>
                  </a:cubicBezTo>
                  <a:cubicBezTo>
                    <a:pt x="32" y="120"/>
                    <a:pt x="32" y="120"/>
                    <a:pt x="32" y="120"/>
                  </a:cubicBezTo>
                  <a:cubicBezTo>
                    <a:pt x="32" y="120"/>
                    <a:pt x="33" y="120"/>
                    <a:pt x="33" y="120"/>
                  </a:cubicBezTo>
                  <a:cubicBezTo>
                    <a:pt x="33" y="120"/>
                    <a:pt x="33" y="120"/>
                    <a:pt x="33" y="120"/>
                  </a:cubicBezTo>
                  <a:cubicBezTo>
                    <a:pt x="35" y="120"/>
                    <a:pt x="35" y="122"/>
                    <a:pt x="35" y="123"/>
                  </a:cubicBezTo>
                  <a:cubicBezTo>
                    <a:pt x="35" y="123"/>
                    <a:pt x="36" y="123"/>
                    <a:pt x="36" y="123"/>
                  </a:cubicBezTo>
                  <a:cubicBezTo>
                    <a:pt x="36" y="123"/>
                    <a:pt x="37" y="123"/>
                    <a:pt x="37" y="124"/>
                  </a:cubicBezTo>
                  <a:cubicBezTo>
                    <a:pt x="39" y="125"/>
                    <a:pt x="39" y="125"/>
                    <a:pt x="39" y="125"/>
                  </a:cubicBezTo>
                  <a:cubicBezTo>
                    <a:pt x="39" y="125"/>
                    <a:pt x="39" y="126"/>
                    <a:pt x="39" y="126"/>
                  </a:cubicBezTo>
                  <a:cubicBezTo>
                    <a:pt x="40" y="125"/>
                    <a:pt x="40" y="125"/>
                    <a:pt x="41" y="125"/>
                  </a:cubicBezTo>
                  <a:cubicBezTo>
                    <a:pt x="42" y="125"/>
                    <a:pt x="42" y="125"/>
                    <a:pt x="42" y="125"/>
                  </a:cubicBezTo>
                  <a:cubicBezTo>
                    <a:pt x="43" y="126"/>
                    <a:pt x="43" y="126"/>
                    <a:pt x="43" y="126"/>
                  </a:cubicBezTo>
                  <a:cubicBezTo>
                    <a:pt x="43" y="126"/>
                    <a:pt x="44" y="127"/>
                    <a:pt x="44" y="127"/>
                  </a:cubicBezTo>
                  <a:cubicBezTo>
                    <a:pt x="44" y="127"/>
                    <a:pt x="44" y="127"/>
                    <a:pt x="44" y="127"/>
                  </a:cubicBezTo>
                  <a:cubicBezTo>
                    <a:pt x="44" y="127"/>
                    <a:pt x="44" y="127"/>
                    <a:pt x="44" y="127"/>
                  </a:cubicBezTo>
                  <a:cubicBezTo>
                    <a:pt x="45" y="127"/>
                    <a:pt x="45" y="127"/>
                    <a:pt x="45" y="127"/>
                  </a:cubicBezTo>
                  <a:cubicBezTo>
                    <a:pt x="46" y="126"/>
                    <a:pt x="47" y="126"/>
                    <a:pt x="48" y="126"/>
                  </a:cubicBezTo>
                  <a:cubicBezTo>
                    <a:pt x="48" y="126"/>
                    <a:pt x="48" y="126"/>
                    <a:pt x="48" y="126"/>
                  </a:cubicBezTo>
                  <a:cubicBezTo>
                    <a:pt x="49" y="126"/>
                    <a:pt x="49" y="126"/>
                    <a:pt x="50" y="126"/>
                  </a:cubicBezTo>
                  <a:cubicBezTo>
                    <a:pt x="50" y="126"/>
                    <a:pt x="50" y="126"/>
                    <a:pt x="50" y="126"/>
                  </a:cubicBezTo>
                  <a:cubicBezTo>
                    <a:pt x="51" y="128"/>
                    <a:pt x="51" y="128"/>
                    <a:pt x="51" y="128"/>
                  </a:cubicBezTo>
                  <a:cubicBezTo>
                    <a:pt x="51" y="128"/>
                    <a:pt x="53" y="128"/>
                    <a:pt x="53" y="128"/>
                  </a:cubicBezTo>
                  <a:cubicBezTo>
                    <a:pt x="53" y="128"/>
                    <a:pt x="54" y="129"/>
                    <a:pt x="56" y="131"/>
                  </a:cubicBezTo>
                  <a:cubicBezTo>
                    <a:pt x="57" y="131"/>
                    <a:pt x="57" y="131"/>
                    <a:pt x="57" y="131"/>
                  </a:cubicBezTo>
                  <a:cubicBezTo>
                    <a:pt x="57" y="131"/>
                    <a:pt x="57" y="131"/>
                    <a:pt x="57" y="131"/>
                  </a:cubicBezTo>
                  <a:cubicBezTo>
                    <a:pt x="58" y="131"/>
                    <a:pt x="58" y="131"/>
                    <a:pt x="58" y="131"/>
                  </a:cubicBezTo>
                  <a:cubicBezTo>
                    <a:pt x="59" y="131"/>
                    <a:pt x="60" y="132"/>
                    <a:pt x="60" y="132"/>
                  </a:cubicBezTo>
                  <a:cubicBezTo>
                    <a:pt x="62" y="132"/>
                    <a:pt x="63" y="133"/>
                    <a:pt x="63" y="134"/>
                  </a:cubicBezTo>
                  <a:cubicBezTo>
                    <a:pt x="64" y="134"/>
                    <a:pt x="64" y="135"/>
                    <a:pt x="65" y="135"/>
                  </a:cubicBezTo>
                  <a:cubicBezTo>
                    <a:pt x="66" y="136"/>
                    <a:pt x="67" y="137"/>
                    <a:pt x="67" y="137"/>
                  </a:cubicBezTo>
                  <a:cubicBezTo>
                    <a:pt x="68" y="138"/>
                    <a:pt x="68" y="138"/>
                    <a:pt x="68" y="138"/>
                  </a:cubicBezTo>
                  <a:cubicBezTo>
                    <a:pt x="68" y="138"/>
                    <a:pt x="68" y="138"/>
                    <a:pt x="68" y="138"/>
                  </a:cubicBezTo>
                  <a:cubicBezTo>
                    <a:pt x="69" y="137"/>
                    <a:pt x="69" y="137"/>
                    <a:pt x="69" y="137"/>
                  </a:cubicBezTo>
                  <a:cubicBezTo>
                    <a:pt x="67" y="134"/>
                    <a:pt x="67" y="134"/>
                    <a:pt x="67" y="134"/>
                  </a:cubicBezTo>
                  <a:cubicBezTo>
                    <a:pt x="72" y="130"/>
                    <a:pt x="72" y="130"/>
                    <a:pt x="72" y="130"/>
                  </a:cubicBezTo>
                  <a:cubicBezTo>
                    <a:pt x="73" y="126"/>
                    <a:pt x="73" y="126"/>
                    <a:pt x="73" y="126"/>
                  </a:cubicBezTo>
                  <a:cubicBezTo>
                    <a:pt x="73" y="126"/>
                    <a:pt x="73" y="126"/>
                    <a:pt x="73" y="126"/>
                  </a:cubicBezTo>
                  <a:cubicBezTo>
                    <a:pt x="73" y="126"/>
                    <a:pt x="72" y="125"/>
                    <a:pt x="71" y="124"/>
                  </a:cubicBezTo>
                  <a:cubicBezTo>
                    <a:pt x="70" y="123"/>
                    <a:pt x="70" y="122"/>
                    <a:pt x="71" y="122"/>
                  </a:cubicBezTo>
                  <a:cubicBezTo>
                    <a:pt x="71" y="121"/>
                    <a:pt x="72" y="121"/>
                    <a:pt x="72" y="121"/>
                  </a:cubicBezTo>
                  <a:cubicBezTo>
                    <a:pt x="73" y="120"/>
                    <a:pt x="73" y="120"/>
                    <a:pt x="74" y="120"/>
                  </a:cubicBezTo>
                  <a:cubicBezTo>
                    <a:pt x="75" y="119"/>
                    <a:pt x="76" y="119"/>
                    <a:pt x="76" y="118"/>
                  </a:cubicBezTo>
                  <a:cubicBezTo>
                    <a:pt x="78" y="117"/>
                    <a:pt x="79" y="119"/>
                    <a:pt x="79" y="119"/>
                  </a:cubicBezTo>
                  <a:cubicBezTo>
                    <a:pt x="79" y="119"/>
                    <a:pt x="79" y="122"/>
                    <a:pt x="81" y="122"/>
                  </a:cubicBezTo>
                  <a:cubicBezTo>
                    <a:pt x="82" y="123"/>
                    <a:pt x="83" y="123"/>
                    <a:pt x="83" y="123"/>
                  </a:cubicBezTo>
                  <a:cubicBezTo>
                    <a:pt x="86" y="123"/>
                    <a:pt x="86" y="123"/>
                    <a:pt x="86" y="123"/>
                  </a:cubicBezTo>
                  <a:cubicBezTo>
                    <a:pt x="90" y="126"/>
                    <a:pt x="90" y="126"/>
                    <a:pt x="90" y="126"/>
                  </a:cubicBezTo>
                  <a:cubicBezTo>
                    <a:pt x="90" y="126"/>
                    <a:pt x="91" y="127"/>
                    <a:pt x="91" y="127"/>
                  </a:cubicBezTo>
                  <a:cubicBezTo>
                    <a:pt x="92" y="128"/>
                    <a:pt x="93" y="130"/>
                    <a:pt x="93" y="131"/>
                  </a:cubicBezTo>
                  <a:cubicBezTo>
                    <a:pt x="99" y="133"/>
                    <a:pt x="99" y="133"/>
                    <a:pt x="99" y="133"/>
                  </a:cubicBezTo>
                  <a:cubicBezTo>
                    <a:pt x="100" y="136"/>
                    <a:pt x="100" y="136"/>
                    <a:pt x="100" y="136"/>
                  </a:cubicBezTo>
                  <a:cubicBezTo>
                    <a:pt x="100" y="136"/>
                    <a:pt x="103" y="136"/>
                    <a:pt x="104" y="136"/>
                  </a:cubicBezTo>
                  <a:cubicBezTo>
                    <a:pt x="106" y="137"/>
                    <a:pt x="107" y="138"/>
                    <a:pt x="107" y="138"/>
                  </a:cubicBezTo>
                  <a:cubicBezTo>
                    <a:pt x="107" y="138"/>
                    <a:pt x="107" y="138"/>
                    <a:pt x="107" y="138"/>
                  </a:cubicBezTo>
                  <a:cubicBezTo>
                    <a:pt x="108" y="137"/>
                    <a:pt x="108" y="137"/>
                    <a:pt x="108" y="137"/>
                  </a:cubicBezTo>
                  <a:cubicBezTo>
                    <a:pt x="113" y="138"/>
                    <a:pt x="113" y="138"/>
                    <a:pt x="113" y="138"/>
                  </a:cubicBezTo>
                  <a:cubicBezTo>
                    <a:pt x="113" y="139"/>
                    <a:pt x="113" y="139"/>
                    <a:pt x="112" y="140"/>
                  </a:cubicBezTo>
                  <a:cubicBezTo>
                    <a:pt x="111" y="140"/>
                    <a:pt x="111" y="142"/>
                    <a:pt x="112" y="143"/>
                  </a:cubicBezTo>
                  <a:cubicBezTo>
                    <a:pt x="112" y="144"/>
                    <a:pt x="112" y="145"/>
                    <a:pt x="111" y="146"/>
                  </a:cubicBezTo>
                  <a:cubicBezTo>
                    <a:pt x="111" y="147"/>
                    <a:pt x="110" y="147"/>
                    <a:pt x="109" y="147"/>
                  </a:cubicBezTo>
                  <a:cubicBezTo>
                    <a:pt x="108" y="147"/>
                    <a:pt x="109" y="148"/>
                    <a:pt x="109" y="149"/>
                  </a:cubicBezTo>
                  <a:cubicBezTo>
                    <a:pt x="109" y="149"/>
                    <a:pt x="109" y="150"/>
                    <a:pt x="109" y="150"/>
                  </a:cubicBezTo>
                  <a:cubicBezTo>
                    <a:pt x="110" y="151"/>
                    <a:pt x="110" y="151"/>
                    <a:pt x="109" y="152"/>
                  </a:cubicBezTo>
                  <a:cubicBezTo>
                    <a:pt x="108" y="153"/>
                    <a:pt x="107" y="154"/>
                    <a:pt x="107" y="154"/>
                  </a:cubicBezTo>
                  <a:cubicBezTo>
                    <a:pt x="107" y="154"/>
                    <a:pt x="107" y="154"/>
                    <a:pt x="107" y="154"/>
                  </a:cubicBezTo>
                  <a:cubicBezTo>
                    <a:pt x="109" y="156"/>
                    <a:pt x="109" y="156"/>
                    <a:pt x="109" y="156"/>
                  </a:cubicBezTo>
                  <a:cubicBezTo>
                    <a:pt x="109" y="156"/>
                    <a:pt x="109" y="156"/>
                    <a:pt x="109" y="156"/>
                  </a:cubicBezTo>
                  <a:cubicBezTo>
                    <a:pt x="109" y="156"/>
                    <a:pt x="111" y="156"/>
                    <a:pt x="112" y="156"/>
                  </a:cubicBezTo>
                  <a:cubicBezTo>
                    <a:pt x="112" y="157"/>
                    <a:pt x="112" y="157"/>
                    <a:pt x="112" y="157"/>
                  </a:cubicBezTo>
                  <a:cubicBezTo>
                    <a:pt x="112" y="157"/>
                    <a:pt x="112" y="157"/>
                    <a:pt x="112" y="157"/>
                  </a:cubicBezTo>
                  <a:cubicBezTo>
                    <a:pt x="112" y="156"/>
                    <a:pt x="112" y="156"/>
                    <a:pt x="112" y="156"/>
                  </a:cubicBezTo>
                  <a:cubicBezTo>
                    <a:pt x="112" y="156"/>
                    <a:pt x="113" y="156"/>
                    <a:pt x="113" y="156"/>
                  </a:cubicBezTo>
                  <a:cubicBezTo>
                    <a:pt x="113" y="155"/>
                    <a:pt x="115" y="153"/>
                    <a:pt x="115" y="153"/>
                  </a:cubicBezTo>
                  <a:cubicBezTo>
                    <a:pt x="117" y="153"/>
                    <a:pt x="117" y="153"/>
                    <a:pt x="117" y="153"/>
                  </a:cubicBezTo>
                  <a:cubicBezTo>
                    <a:pt x="119" y="151"/>
                    <a:pt x="119" y="151"/>
                    <a:pt x="119" y="151"/>
                  </a:cubicBezTo>
                  <a:cubicBezTo>
                    <a:pt x="119" y="151"/>
                    <a:pt x="121" y="151"/>
                    <a:pt x="121" y="151"/>
                  </a:cubicBezTo>
                  <a:cubicBezTo>
                    <a:pt x="122" y="151"/>
                    <a:pt x="123" y="151"/>
                    <a:pt x="124" y="151"/>
                  </a:cubicBezTo>
                  <a:cubicBezTo>
                    <a:pt x="125" y="151"/>
                    <a:pt x="125" y="150"/>
                    <a:pt x="125" y="150"/>
                  </a:cubicBezTo>
                  <a:cubicBezTo>
                    <a:pt x="125" y="150"/>
                    <a:pt x="127" y="149"/>
                    <a:pt x="129" y="148"/>
                  </a:cubicBezTo>
                  <a:cubicBezTo>
                    <a:pt x="130" y="148"/>
                    <a:pt x="131" y="148"/>
                    <a:pt x="131" y="148"/>
                  </a:cubicBezTo>
                  <a:cubicBezTo>
                    <a:pt x="131" y="148"/>
                    <a:pt x="132" y="148"/>
                    <a:pt x="133" y="148"/>
                  </a:cubicBezTo>
                  <a:cubicBezTo>
                    <a:pt x="133" y="148"/>
                    <a:pt x="134" y="148"/>
                    <a:pt x="134" y="148"/>
                  </a:cubicBezTo>
                  <a:cubicBezTo>
                    <a:pt x="135" y="148"/>
                    <a:pt x="135" y="147"/>
                    <a:pt x="135" y="147"/>
                  </a:cubicBezTo>
                  <a:cubicBezTo>
                    <a:pt x="137" y="142"/>
                    <a:pt x="137" y="142"/>
                    <a:pt x="137" y="142"/>
                  </a:cubicBezTo>
                  <a:cubicBezTo>
                    <a:pt x="137" y="142"/>
                    <a:pt x="136" y="140"/>
                    <a:pt x="136" y="140"/>
                  </a:cubicBezTo>
                  <a:cubicBezTo>
                    <a:pt x="136" y="140"/>
                    <a:pt x="135" y="139"/>
                    <a:pt x="133" y="139"/>
                  </a:cubicBezTo>
                  <a:cubicBezTo>
                    <a:pt x="133" y="131"/>
                    <a:pt x="133" y="131"/>
                    <a:pt x="133" y="131"/>
                  </a:cubicBezTo>
                  <a:cubicBezTo>
                    <a:pt x="131" y="128"/>
                    <a:pt x="131" y="128"/>
                    <a:pt x="131" y="128"/>
                  </a:cubicBezTo>
                  <a:cubicBezTo>
                    <a:pt x="131" y="127"/>
                    <a:pt x="133" y="126"/>
                    <a:pt x="133" y="126"/>
                  </a:cubicBezTo>
                  <a:cubicBezTo>
                    <a:pt x="133" y="125"/>
                    <a:pt x="134" y="124"/>
                    <a:pt x="135" y="124"/>
                  </a:cubicBezTo>
                  <a:cubicBezTo>
                    <a:pt x="138" y="124"/>
                    <a:pt x="138" y="124"/>
                    <a:pt x="138" y="124"/>
                  </a:cubicBezTo>
                  <a:cubicBezTo>
                    <a:pt x="139" y="123"/>
                    <a:pt x="140" y="123"/>
                    <a:pt x="140" y="122"/>
                  </a:cubicBezTo>
                  <a:cubicBezTo>
                    <a:pt x="140" y="122"/>
                    <a:pt x="140" y="120"/>
                    <a:pt x="140" y="119"/>
                  </a:cubicBezTo>
                  <a:cubicBezTo>
                    <a:pt x="140" y="118"/>
                    <a:pt x="141" y="116"/>
                    <a:pt x="142" y="115"/>
                  </a:cubicBezTo>
                  <a:cubicBezTo>
                    <a:pt x="142" y="115"/>
                    <a:pt x="144" y="113"/>
                    <a:pt x="145" y="112"/>
                  </a:cubicBezTo>
                  <a:cubicBezTo>
                    <a:pt x="145" y="111"/>
                    <a:pt x="146" y="108"/>
                    <a:pt x="146" y="107"/>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9" name="Freeform 30"/>
            <p:cNvSpPr>
              <a:spLocks/>
            </p:cNvSpPr>
            <p:nvPr/>
          </p:nvSpPr>
          <p:spPr bwMode="auto">
            <a:xfrm>
              <a:off x="5774652" y="3654235"/>
              <a:ext cx="817387" cy="648121"/>
            </a:xfrm>
            <a:custGeom>
              <a:avLst/>
              <a:gdLst>
                <a:gd name="T0" fmla="*/ 263 w 282"/>
                <a:gd name="T1" fmla="*/ 130 h 237"/>
                <a:gd name="T2" fmla="*/ 255 w 282"/>
                <a:gd name="T3" fmla="*/ 112 h 237"/>
                <a:gd name="T4" fmla="*/ 242 w 282"/>
                <a:gd name="T5" fmla="*/ 90 h 237"/>
                <a:gd name="T6" fmla="*/ 256 w 282"/>
                <a:gd name="T7" fmla="*/ 63 h 237"/>
                <a:gd name="T8" fmla="*/ 235 w 282"/>
                <a:gd name="T9" fmla="*/ 20 h 237"/>
                <a:gd name="T10" fmla="*/ 216 w 282"/>
                <a:gd name="T11" fmla="*/ 3 h 237"/>
                <a:gd name="T12" fmla="*/ 155 w 282"/>
                <a:gd name="T13" fmla="*/ 13 h 237"/>
                <a:gd name="T14" fmla="*/ 118 w 282"/>
                <a:gd name="T15" fmla="*/ 20 h 237"/>
                <a:gd name="T16" fmla="*/ 103 w 282"/>
                <a:gd name="T17" fmla="*/ 6 h 237"/>
                <a:gd name="T18" fmla="*/ 76 w 282"/>
                <a:gd name="T19" fmla="*/ 8 h 237"/>
                <a:gd name="T20" fmla="*/ 53 w 282"/>
                <a:gd name="T21" fmla="*/ 23 h 237"/>
                <a:gd name="T22" fmla="*/ 36 w 282"/>
                <a:gd name="T23" fmla="*/ 37 h 237"/>
                <a:gd name="T24" fmla="*/ 1 w 282"/>
                <a:gd name="T25" fmla="*/ 52 h 237"/>
                <a:gd name="T26" fmla="*/ 4 w 282"/>
                <a:gd name="T27" fmla="*/ 59 h 237"/>
                <a:gd name="T28" fmla="*/ 9 w 282"/>
                <a:gd name="T29" fmla="*/ 82 h 237"/>
                <a:gd name="T30" fmla="*/ 15 w 282"/>
                <a:gd name="T31" fmla="*/ 105 h 237"/>
                <a:gd name="T32" fmla="*/ 21 w 282"/>
                <a:gd name="T33" fmla="*/ 131 h 237"/>
                <a:gd name="T34" fmla="*/ 25 w 282"/>
                <a:gd name="T35" fmla="*/ 147 h 237"/>
                <a:gd name="T36" fmla="*/ 30 w 282"/>
                <a:gd name="T37" fmla="*/ 156 h 237"/>
                <a:gd name="T38" fmla="*/ 35 w 282"/>
                <a:gd name="T39" fmla="*/ 166 h 237"/>
                <a:gd name="T40" fmla="*/ 36 w 282"/>
                <a:gd name="T41" fmla="*/ 174 h 237"/>
                <a:gd name="T42" fmla="*/ 42 w 282"/>
                <a:gd name="T43" fmla="*/ 180 h 237"/>
                <a:gd name="T44" fmla="*/ 52 w 282"/>
                <a:gd name="T45" fmla="*/ 184 h 237"/>
                <a:gd name="T46" fmla="*/ 61 w 282"/>
                <a:gd name="T47" fmla="*/ 185 h 237"/>
                <a:gd name="T48" fmla="*/ 73 w 282"/>
                <a:gd name="T49" fmla="*/ 192 h 237"/>
                <a:gd name="T50" fmla="*/ 80 w 282"/>
                <a:gd name="T51" fmla="*/ 207 h 237"/>
                <a:gd name="T52" fmla="*/ 84 w 282"/>
                <a:gd name="T53" fmla="*/ 195 h 237"/>
                <a:gd name="T54" fmla="*/ 95 w 282"/>
                <a:gd name="T55" fmla="*/ 194 h 237"/>
                <a:gd name="T56" fmla="*/ 108 w 282"/>
                <a:gd name="T57" fmla="*/ 195 h 237"/>
                <a:gd name="T58" fmla="*/ 112 w 282"/>
                <a:gd name="T59" fmla="*/ 207 h 237"/>
                <a:gd name="T60" fmla="*/ 125 w 282"/>
                <a:gd name="T61" fmla="*/ 209 h 237"/>
                <a:gd name="T62" fmla="*/ 145 w 282"/>
                <a:gd name="T63" fmla="*/ 222 h 237"/>
                <a:gd name="T64" fmla="*/ 148 w 282"/>
                <a:gd name="T65" fmla="*/ 233 h 237"/>
                <a:gd name="T66" fmla="*/ 158 w 282"/>
                <a:gd name="T67" fmla="*/ 224 h 237"/>
                <a:gd name="T68" fmla="*/ 169 w 282"/>
                <a:gd name="T69" fmla="*/ 230 h 237"/>
                <a:gd name="T70" fmla="*/ 171 w 282"/>
                <a:gd name="T71" fmla="*/ 237 h 237"/>
                <a:gd name="T72" fmla="*/ 178 w 282"/>
                <a:gd name="T73" fmla="*/ 235 h 237"/>
                <a:gd name="T74" fmla="*/ 181 w 282"/>
                <a:gd name="T75" fmla="*/ 233 h 237"/>
                <a:gd name="T76" fmla="*/ 185 w 282"/>
                <a:gd name="T77" fmla="*/ 229 h 237"/>
                <a:gd name="T78" fmla="*/ 190 w 282"/>
                <a:gd name="T79" fmla="*/ 225 h 237"/>
                <a:gd name="T80" fmla="*/ 194 w 282"/>
                <a:gd name="T81" fmla="*/ 224 h 237"/>
                <a:gd name="T82" fmla="*/ 200 w 282"/>
                <a:gd name="T83" fmla="*/ 227 h 237"/>
                <a:gd name="T84" fmla="*/ 205 w 282"/>
                <a:gd name="T85" fmla="*/ 225 h 237"/>
                <a:gd name="T86" fmla="*/ 210 w 282"/>
                <a:gd name="T87" fmla="*/ 221 h 237"/>
                <a:gd name="T88" fmla="*/ 216 w 282"/>
                <a:gd name="T89" fmla="*/ 220 h 237"/>
                <a:gd name="T90" fmla="*/ 225 w 282"/>
                <a:gd name="T91" fmla="*/ 220 h 237"/>
                <a:gd name="T92" fmla="*/ 232 w 282"/>
                <a:gd name="T93" fmla="*/ 220 h 237"/>
                <a:gd name="T94" fmla="*/ 237 w 282"/>
                <a:gd name="T95" fmla="*/ 226 h 237"/>
                <a:gd name="T96" fmla="*/ 243 w 282"/>
                <a:gd name="T97" fmla="*/ 227 h 237"/>
                <a:gd name="T98" fmla="*/ 251 w 282"/>
                <a:gd name="T99" fmla="*/ 229 h 237"/>
                <a:gd name="T100" fmla="*/ 260 w 282"/>
                <a:gd name="T101" fmla="*/ 229 h 237"/>
                <a:gd name="T102" fmla="*/ 255 w 282"/>
                <a:gd name="T103" fmla="*/ 220 h 237"/>
                <a:gd name="T104" fmla="*/ 263 w 282"/>
                <a:gd name="T105" fmla="*/ 189 h 237"/>
                <a:gd name="T106" fmla="*/ 278 w 282"/>
                <a:gd name="T107" fmla="*/ 167 h 237"/>
                <a:gd name="T108" fmla="*/ 277 w 282"/>
                <a:gd name="T109" fmla="*/ 14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2" h="237">
                  <a:moveTo>
                    <a:pt x="279" y="146"/>
                  </a:moveTo>
                  <a:cubicBezTo>
                    <a:pt x="278" y="145"/>
                    <a:pt x="278" y="142"/>
                    <a:pt x="276" y="142"/>
                  </a:cubicBezTo>
                  <a:cubicBezTo>
                    <a:pt x="274" y="141"/>
                    <a:pt x="272" y="140"/>
                    <a:pt x="271" y="140"/>
                  </a:cubicBezTo>
                  <a:cubicBezTo>
                    <a:pt x="269" y="139"/>
                    <a:pt x="270" y="136"/>
                    <a:pt x="270" y="136"/>
                  </a:cubicBezTo>
                  <a:cubicBezTo>
                    <a:pt x="270" y="136"/>
                    <a:pt x="266" y="134"/>
                    <a:pt x="265" y="132"/>
                  </a:cubicBezTo>
                  <a:cubicBezTo>
                    <a:pt x="265" y="131"/>
                    <a:pt x="265" y="130"/>
                    <a:pt x="263" y="130"/>
                  </a:cubicBezTo>
                  <a:cubicBezTo>
                    <a:pt x="262" y="130"/>
                    <a:pt x="261" y="127"/>
                    <a:pt x="261" y="127"/>
                  </a:cubicBezTo>
                  <a:cubicBezTo>
                    <a:pt x="262" y="124"/>
                    <a:pt x="262" y="124"/>
                    <a:pt x="262" y="124"/>
                  </a:cubicBezTo>
                  <a:cubicBezTo>
                    <a:pt x="260" y="120"/>
                    <a:pt x="260" y="120"/>
                    <a:pt x="260" y="120"/>
                  </a:cubicBezTo>
                  <a:cubicBezTo>
                    <a:pt x="260" y="120"/>
                    <a:pt x="260" y="120"/>
                    <a:pt x="260" y="119"/>
                  </a:cubicBezTo>
                  <a:cubicBezTo>
                    <a:pt x="259" y="119"/>
                    <a:pt x="258" y="117"/>
                    <a:pt x="257" y="116"/>
                  </a:cubicBezTo>
                  <a:cubicBezTo>
                    <a:pt x="256" y="115"/>
                    <a:pt x="255" y="112"/>
                    <a:pt x="255" y="112"/>
                  </a:cubicBezTo>
                  <a:cubicBezTo>
                    <a:pt x="255" y="112"/>
                    <a:pt x="256" y="107"/>
                    <a:pt x="256" y="106"/>
                  </a:cubicBezTo>
                  <a:cubicBezTo>
                    <a:pt x="256" y="106"/>
                    <a:pt x="255" y="100"/>
                    <a:pt x="255" y="100"/>
                  </a:cubicBezTo>
                  <a:cubicBezTo>
                    <a:pt x="255" y="96"/>
                    <a:pt x="255" y="96"/>
                    <a:pt x="255" y="96"/>
                  </a:cubicBezTo>
                  <a:cubicBezTo>
                    <a:pt x="250" y="93"/>
                    <a:pt x="250" y="93"/>
                    <a:pt x="250" y="93"/>
                  </a:cubicBezTo>
                  <a:cubicBezTo>
                    <a:pt x="250" y="93"/>
                    <a:pt x="245" y="92"/>
                    <a:pt x="243" y="92"/>
                  </a:cubicBezTo>
                  <a:cubicBezTo>
                    <a:pt x="242" y="92"/>
                    <a:pt x="242" y="90"/>
                    <a:pt x="242" y="90"/>
                  </a:cubicBezTo>
                  <a:cubicBezTo>
                    <a:pt x="242" y="88"/>
                    <a:pt x="242" y="88"/>
                    <a:pt x="242" y="88"/>
                  </a:cubicBezTo>
                  <a:cubicBezTo>
                    <a:pt x="245" y="80"/>
                    <a:pt x="245" y="80"/>
                    <a:pt x="245" y="80"/>
                  </a:cubicBezTo>
                  <a:cubicBezTo>
                    <a:pt x="249" y="75"/>
                    <a:pt x="249" y="75"/>
                    <a:pt x="249" y="75"/>
                  </a:cubicBezTo>
                  <a:cubicBezTo>
                    <a:pt x="252" y="73"/>
                    <a:pt x="252" y="73"/>
                    <a:pt x="252" y="73"/>
                  </a:cubicBezTo>
                  <a:cubicBezTo>
                    <a:pt x="252" y="73"/>
                    <a:pt x="256" y="68"/>
                    <a:pt x="256" y="67"/>
                  </a:cubicBezTo>
                  <a:cubicBezTo>
                    <a:pt x="257" y="67"/>
                    <a:pt x="256" y="64"/>
                    <a:pt x="256" y="63"/>
                  </a:cubicBezTo>
                  <a:cubicBezTo>
                    <a:pt x="255" y="62"/>
                    <a:pt x="255" y="60"/>
                    <a:pt x="255" y="59"/>
                  </a:cubicBezTo>
                  <a:cubicBezTo>
                    <a:pt x="255" y="58"/>
                    <a:pt x="253" y="55"/>
                    <a:pt x="253" y="55"/>
                  </a:cubicBezTo>
                  <a:cubicBezTo>
                    <a:pt x="252" y="49"/>
                    <a:pt x="252" y="49"/>
                    <a:pt x="252" y="49"/>
                  </a:cubicBezTo>
                  <a:cubicBezTo>
                    <a:pt x="246" y="40"/>
                    <a:pt x="246" y="40"/>
                    <a:pt x="246" y="40"/>
                  </a:cubicBezTo>
                  <a:cubicBezTo>
                    <a:pt x="241" y="31"/>
                    <a:pt x="241" y="31"/>
                    <a:pt x="241" y="31"/>
                  </a:cubicBezTo>
                  <a:cubicBezTo>
                    <a:pt x="241" y="31"/>
                    <a:pt x="236" y="22"/>
                    <a:pt x="235" y="20"/>
                  </a:cubicBezTo>
                  <a:cubicBezTo>
                    <a:pt x="235" y="17"/>
                    <a:pt x="234" y="13"/>
                    <a:pt x="234" y="13"/>
                  </a:cubicBezTo>
                  <a:cubicBezTo>
                    <a:pt x="231" y="11"/>
                    <a:pt x="231" y="11"/>
                    <a:pt x="231" y="11"/>
                  </a:cubicBezTo>
                  <a:cubicBezTo>
                    <a:pt x="231" y="11"/>
                    <a:pt x="230" y="7"/>
                    <a:pt x="230" y="6"/>
                  </a:cubicBezTo>
                  <a:cubicBezTo>
                    <a:pt x="229" y="5"/>
                    <a:pt x="220" y="5"/>
                    <a:pt x="220" y="5"/>
                  </a:cubicBezTo>
                  <a:cubicBezTo>
                    <a:pt x="220" y="5"/>
                    <a:pt x="219" y="3"/>
                    <a:pt x="219" y="2"/>
                  </a:cubicBezTo>
                  <a:cubicBezTo>
                    <a:pt x="218" y="0"/>
                    <a:pt x="216" y="3"/>
                    <a:pt x="216" y="3"/>
                  </a:cubicBezTo>
                  <a:cubicBezTo>
                    <a:pt x="208" y="4"/>
                    <a:pt x="208" y="4"/>
                    <a:pt x="208" y="4"/>
                  </a:cubicBezTo>
                  <a:cubicBezTo>
                    <a:pt x="202" y="9"/>
                    <a:pt x="202" y="9"/>
                    <a:pt x="202" y="9"/>
                  </a:cubicBezTo>
                  <a:cubicBezTo>
                    <a:pt x="202" y="9"/>
                    <a:pt x="187" y="10"/>
                    <a:pt x="186" y="10"/>
                  </a:cubicBezTo>
                  <a:cubicBezTo>
                    <a:pt x="184" y="10"/>
                    <a:pt x="174" y="11"/>
                    <a:pt x="174" y="11"/>
                  </a:cubicBezTo>
                  <a:cubicBezTo>
                    <a:pt x="173" y="11"/>
                    <a:pt x="167" y="12"/>
                    <a:pt x="166" y="12"/>
                  </a:cubicBezTo>
                  <a:cubicBezTo>
                    <a:pt x="164" y="13"/>
                    <a:pt x="157" y="13"/>
                    <a:pt x="155" y="13"/>
                  </a:cubicBezTo>
                  <a:cubicBezTo>
                    <a:pt x="154" y="13"/>
                    <a:pt x="150" y="13"/>
                    <a:pt x="150" y="13"/>
                  </a:cubicBezTo>
                  <a:cubicBezTo>
                    <a:pt x="150" y="13"/>
                    <a:pt x="142" y="15"/>
                    <a:pt x="139" y="15"/>
                  </a:cubicBezTo>
                  <a:cubicBezTo>
                    <a:pt x="137" y="15"/>
                    <a:pt x="133" y="13"/>
                    <a:pt x="133" y="13"/>
                  </a:cubicBezTo>
                  <a:cubicBezTo>
                    <a:pt x="133" y="13"/>
                    <a:pt x="126" y="19"/>
                    <a:pt x="124" y="19"/>
                  </a:cubicBezTo>
                  <a:cubicBezTo>
                    <a:pt x="124" y="19"/>
                    <a:pt x="122" y="20"/>
                    <a:pt x="121" y="20"/>
                  </a:cubicBezTo>
                  <a:cubicBezTo>
                    <a:pt x="120" y="20"/>
                    <a:pt x="118" y="20"/>
                    <a:pt x="118" y="20"/>
                  </a:cubicBezTo>
                  <a:cubicBezTo>
                    <a:pt x="118" y="20"/>
                    <a:pt x="115" y="21"/>
                    <a:pt x="112" y="20"/>
                  </a:cubicBezTo>
                  <a:cubicBezTo>
                    <a:pt x="109" y="18"/>
                    <a:pt x="110" y="18"/>
                    <a:pt x="110" y="18"/>
                  </a:cubicBezTo>
                  <a:cubicBezTo>
                    <a:pt x="110" y="18"/>
                    <a:pt x="108" y="16"/>
                    <a:pt x="107" y="15"/>
                  </a:cubicBezTo>
                  <a:cubicBezTo>
                    <a:pt x="106" y="14"/>
                    <a:pt x="105" y="13"/>
                    <a:pt x="105" y="12"/>
                  </a:cubicBezTo>
                  <a:cubicBezTo>
                    <a:pt x="105" y="12"/>
                    <a:pt x="107" y="10"/>
                    <a:pt x="107" y="10"/>
                  </a:cubicBezTo>
                  <a:cubicBezTo>
                    <a:pt x="107" y="10"/>
                    <a:pt x="103" y="7"/>
                    <a:pt x="103" y="6"/>
                  </a:cubicBezTo>
                  <a:cubicBezTo>
                    <a:pt x="102" y="5"/>
                    <a:pt x="103" y="5"/>
                    <a:pt x="103" y="4"/>
                  </a:cubicBezTo>
                  <a:cubicBezTo>
                    <a:pt x="104" y="3"/>
                    <a:pt x="102" y="2"/>
                    <a:pt x="102" y="2"/>
                  </a:cubicBezTo>
                  <a:cubicBezTo>
                    <a:pt x="102" y="2"/>
                    <a:pt x="97" y="3"/>
                    <a:pt x="97" y="2"/>
                  </a:cubicBezTo>
                  <a:cubicBezTo>
                    <a:pt x="96" y="2"/>
                    <a:pt x="92" y="3"/>
                    <a:pt x="91" y="3"/>
                  </a:cubicBezTo>
                  <a:cubicBezTo>
                    <a:pt x="91" y="2"/>
                    <a:pt x="85" y="5"/>
                    <a:pt x="85" y="5"/>
                  </a:cubicBezTo>
                  <a:cubicBezTo>
                    <a:pt x="85" y="5"/>
                    <a:pt x="77" y="8"/>
                    <a:pt x="76" y="8"/>
                  </a:cubicBezTo>
                  <a:cubicBezTo>
                    <a:pt x="75" y="8"/>
                    <a:pt x="75" y="9"/>
                    <a:pt x="75" y="9"/>
                  </a:cubicBezTo>
                  <a:cubicBezTo>
                    <a:pt x="74" y="9"/>
                    <a:pt x="72" y="10"/>
                    <a:pt x="71" y="10"/>
                  </a:cubicBezTo>
                  <a:cubicBezTo>
                    <a:pt x="71" y="11"/>
                    <a:pt x="69" y="14"/>
                    <a:pt x="69" y="14"/>
                  </a:cubicBezTo>
                  <a:cubicBezTo>
                    <a:pt x="69" y="15"/>
                    <a:pt x="62" y="18"/>
                    <a:pt x="61" y="18"/>
                  </a:cubicBezTo>
                  <a:cubicBezTo>
                    <a:pt x="60" y="19"/>
                    <a:pt x="56" y="20"/>
                    <a:pt x="55" y="20"/>
                  </a:cubicBezTo>
                  <a:cubicBezTo>
                    <a:pt x="55" y="21"/>
                    <a:pt x="54" y="22"/>
                    <a:pt x="53" y="23"/>
                  </a:cubicBezTo>
                  <a:cubicBezTo>
                    <a:pt x="53" y="24"/>
                    <a:pt x="52" y="25"/>
                    <a:pt x="51" y="26"/>
                  </a:cubicBezTo>
                  <a:cubicBezTo>
                    <a:pt x="51" y="27"/>
                    <a:pt x="50" y="29"/>
                    <a:pt x="50" y="30"/>
                  </a:cubicBezTo>
                  <a:cubicBezTo>
                    <a:pt x="49" y="31"/>
                    <a:pt x="48" y="33"/>
                    <a:pt x="48" y="33"/>
                  </a:cubicBezTo>
                  <a:cubicBezTo>
                    <a:pt x="48" y="33"/>
                    <a:pt x="45" y="33"/>
                    <a:pt x="43" y="33"/>
                  </a:cubicBezTo>
                  <a:cubicBezTo>
                    <a:pt x="42" y="33"/>
                    <a:pt x="42" y="34"/>
                    <a:pt x="41" y="34"/>
                  </a:cubicBezTo>
                  <a:cubicBezTo>
                    <a:pt x="40" y="34"/>
                    <a:pt x="36" y="37"/>
                    <a:pt x="36" y="37"/>
                  </a:cubicBezTo>
                  <a:cubicBezTo>
                    <a:pt x="36" y="37"/>
                    <a:pt x="20" y="42"/>
                    <a:pt x="19" y="43"/>
                  </a:cubicBezTo>
                  <a:cubicBezTo>
                    <a:pt x="18" y="44"/>
                    <a:pt x="18" y="44"/>
                    <a:pt x="16" y="46"/>
                  </a:cubicBezTo>
                  <a:cubicBezTo>
                    <a:pt x="13" y="47"/>
                    <a:pt x="11" y="47"/>
                    <a:pt x="10" y="47"/>
                  </a:cubicBezTo>
                  <a:cubicBezTo>
                    <a:pt x="9" y="48"/>
                    <a:pt x="9" y="48"/>
                    <a:pt x="8" y="49"/>
                  </a:cubicBezTo>
                  <a:cubicBezTo>
                    <a:pt x="7" y="50"/>
                    <a:pt x="6" y="51"/>
                    <a:pt x="4" y="51"/>
                  </a:cubicBezTo>
                  <a:cubicBezTo>
                    <a:pt x="3" y="51"/>
                    <a:pt x="2" y="52"/>
                    <a:pt x="1" y="52"/>
                  </a:cubicBezTo>
                  <a:cubicBezTo>
                    <a:pt x="1" y="52"/>
                    <a:pt x="0" y="52"/>
                    <a:pt x="0" y="53"/>
                  </a:cubicBezTo>
                  <a:cubicBezTo>
                    <a:pt x="0" y="54"/>
                    <a:pt x="0" y="54"/>
                    <a:pt x="0" y="54"/>
                  </a:cubicBezTo>
                  <a:cubicBezTo>
                    <a:pt x="0" y="54"/>
                    <a:pt x="1" y="55"/>
                    <a:pt x="1" y="56"/>
                  </a:cubicBezTo>
                  <a:cubicBezTo>
                    <a:pt x="2" y="56"/>
                    <a:pt x="2" y="56"/>
                    <a:pt x="2" y="56"/>
                  </a:cubicBezTo>
                  <a:cubicBezTo>
                    <a:pt x="3" y="57"/>
                    <a:pt x="3" y="57"/>
                    <a:pt x="3" y="57"/>
                  </a:cubicBezTo>
                  <a:cubicBezTo>
                    <a:pt x="3" y="58"/>
                    <a:pt x="4" y="58"/>
                    <a:pt x="4" y="59"/>
                  </a:cubicBezTo>
                  <a:cubicBezTo>
                    <a:pt x="4" y="59"/>
                    <a:pt x="4" y="60"/>
                    <a:pt x="4" y="60"/>
                  </a:cubicBezTo>
                  <a:cubicBezTo>
                    <a:pt x="4" y="60"/>
                    <a:pt x="4" y="61"/>
                    <a:pt x="5" y="62"/>
                  </a:cubicBezTo>
                  <a:cubicBezTo>
                    <a:pt x="5" y="63"/>
                    <a:pt x="5" y="64"/>
                    <a:pt x="5" y="64"/>
                  </a:cubicBezTo>
                  <a:cubicBezTo>
                    <a:pt x="5" y="65"/>
                    <a:pt x="6" y="67"/>
                    <a:pt x="7" y="69"/>
                  </a:cubicBezTo>
                  <a:cubicBezTo>
                    <a:pt x="9" y="72"/>
                    <a:pt x="9" y="74"/>
                    <a:pt x="9" y="75"/>
                  </a:cubicBezTo>
                  <a:cubicBezTo>
                    <a:pt x="9" y="82"/>
                    <a:pt x="9" y="82"/>
                    <a:pt x="9" y="82"/>
                  </a:cubicBezTo>
                  <a:cubicBezTo>
                    <a:pt x="9" y="90"/>
                    <a:pt x="9" y="90"/>
                    <a:pt x="9" y="90"/>
                  </a:cubicBezTo>
                  <a:cubicBezTo>
                    <a:pt x="5" y="93"/>
                    <a:pt x="5" y="93"/>
                    <a:pt x="5" y="93"/>
                  </a:cubicBezTo>
                  <a:cubicBezTo>
                    <a:pt x="4" y="97"/>
                    <a:pt x="4" y="97"/>
                    <a:pt x="4" y="97"/>
                  </a:cubicBezTo>
                  <a:cubicBezTo>
                    <a:pt x="5" y="98"/>
                    <a:pt x="6" y="99"/>
                    <a:pt x="8" y="101"/>
                  </a:cubicBezTo>
                  <a:cubicBezTo>
                    <a:pt x="8" y="102"/>
                    <a:pt x="11" y="103"/>
                    <a:pt x="12" y="104"/>
                  </a:cubicBezTo>
                  <a:cubicBezTo>
                    <a:pt x="15" y="105"/>
                    <a:pt x="15" y="105"/>
                    <a:pt x="15" y="105"/>
                  </a:cubicBezTo>
                  <a:cubicBezTo>
                    <a:pt x="18" y="106"/>
                    <a:pt x="19" y="110"/>
                    <a:pt x="18" y="112"/>
                  </a:cubicBezTo>
                  <a:cubicBezTo>
                    <a:pt x="18" y="113"/>
                    <a:pt x="18" y="113"/>
                    <a:pt x="18" y="113"/>
                  </a:cubicBezTo>
                  <a:cubicBezTo>
                    <a:pt x="16" y="118"/>
                    <a:pt x="16" y="118"/>
                    <a:pt x="16" y="118"/>
                  </a:cubicBezTo>
                  <a:cubicBezTo>
                    <a:pt x="17" y="118"/>
                    <a:pt x="17" y="118"/>
                    <a:pt x="17" y="119"/>
                  </a:cubicBezTo>
                  <a:cubicBezTo>
                    <a:pt x="19" y="119"/>
                    <a:pt x="20" y="121"/>
                    <a:pt x="20" y="125"/>
                  </a:cubicBezTo>
                  <a:cubicBezTo>
                    <a:pt x="21" y="128"/>
                    <a:pt x="21" y="130"/>
                    <a:pt x="21" y="131"/>
                  </a:cubicBezTo>
                  <a:cubicBezTo>
                    <a:pt x="23" y="135"/>
                    <a:pt x="23" y="135"/>
                    <a:pt x="23" y="135"/>
                  </a:cubicBezTo>
                  <a:cubicBezTo>
                    <a:pt x="23" y="135"/>
                    <a:pt x="23" y="135"/>
                    <a:pt x="23" y="135"/>
                  </a:cubicBezTo>
                  <a:cubicBezTo>
                    <a:pt x="23" y="136"/>
                    <a:pt x="21" y="140"/>
                    <a:pt x="21" y="140"/>
                  </a:cubicBezTo>
                  <a:cubicBezTo>
                    <a:pt x="21" y="141"/>
                    <a:pt x="21" y="141"/>
                    <a:pt x="20" y="142"/>
                  </a:cubicBezTo>
                  <a:cubicBezTo>
                    <a:pt x="21" y="143"/>
                    <a:pt x="21" y="143"/>
                    <a:pt x="21" y="143"/>
                  </a:cubicBezTo>
                  <a:cubicBezTo>
                    <a:pt x="25" y="147"/>
                    <a:pt x="25" y="147"/>
                    <a:pt x="25" y="147"/>
                  </a:cubicBezTo>
                  <a:cubicBezTo>
                    <a:pt x="24" y="152"/>
                    <a:pt x="24" y="152"/>
                    <a:pt x="24" y="152"/>
                  </a:cubicBezTo>
                  <a:cubicBezTo>
                    <a:pt x="24" y="153"/>
                    <a:pt x="24" y="153"/>
                    <a:pt x="24" y="153"/>
                  </a:cubicBezTo>
                  <a:cubicBezTo>
                    <a:pt x="25" y="153"/>
                    <a:pt x="25" y="153"/>
                    <a:pt x="26" y="153"/>
                  </a:cubicBezTo>
                  <a:cubicBezTo>
                    <a:pt x="27" y="154"/>
                    <a:pt x="28" y="155"/>
                    <a:pt x="29" y="155"/>
                  </a:cubicBezTo>
                  <a:cubicBezTo>
                    <a:pt x="29" y="155"/>
                    <a:pt x="29" y="155"/>
                    <a:pt x="29" y="155"/>
                  </a:cubicBezTo>
                  <a:cubicBezTo>
                    <a:pt x="30" y="156"/>
                    <a:pt x="30" y="156"/>
                    <a:pt x="30" y="156"/>
                  </a:cubicBezTo>
                  <a:cubicBezTo>
                    <a:pt x="30" y="156"/>
                    <a:pt x="30" y="157"/>
                    <a:pt x="30" y="158"/>
                  </a:cubicBezTo>
                  <a:cubicBezTo>
                    <a:pt x="30" y="158"/>
                    <a:pt x="30" y="158"/>
                    <a:pt x="30" y="159"/>
                  </a:cubicBezTo>
                  <a:cubicBezTo>
                    <a:pt x="30" y="159"/>
                    <a:pt x="32" y="161"/>
                    <a:pt x="32" y="161"/>
                  </a:cubicBezTo>
                  <a:cubicBezTo>
                    <a:pt x="32" y="162"/>
                    <a:pt x="34" y="164"/>
                    <a:pt x="35" y="165"/>
                  </a:cubicBezTo>
                  <a:cubicBezTo>
                    <a:pt x="35" y="165"/>
                    <a:pt x="35" y="165"/>
                    <a:pt x="35" y="165"/>
                  </a:cubicBezTo>
                  <a:cubicBezTo>
                    <a:pt x="35" y="166"/>
                    <a:pt x="35" y="166"/>
                    <a:pt x="35" y="166"/>
                  </a:cubicBezTo>
                  <a:cubicBezTo>
                    <a:pt x="35" y="167"/>
                    <a:pt x="35" y="169"/>
                    <a:pt x="32" y="171"/>
                  </a:cubicBezTo>
                  <a:cubicBezTo>
                    <a:pt x="32" y="172"/>
                    <a:pt x="32" y="172"/>
                    <a:pt x="32" y="172"/>
                  </a:cubicBezTo>
                  <a:cubicBezTo>
                    <a:pt x="32" y="172"/>
                    <a:pt x="32" y="173"/>
                    <a:pt x="32" y="173"/>
                  </a:cubicBezTo>
                  <a:cubicBezTo>
                    <a:pt x="32" y="173"/>
                    <a:pt x="32" y="173"/>
                    <a:pt x="32" y="173"/>
                  </a:cubicBezTo>
                  <a:cubicBezTo>
                    <a:pt x="33" y="173"/>
                    <a:pt x="33" y="173"/>
                    <a:pt x="33" y="173"/>
                  </a:cubicBezTo>
                  <a:cubicBezTo>
                    <a:pt x="34" y="173"/>
                    <a:pt x="35" y="174"/>
                    <a:pt x="36" y="174"/>
                  </a:cubicBezTo>
                  <a:cubicBezTo>
                    <a:pt x="36" y="174"/>
                    <a:pt x="36" y="174"/>
                    <a:pt x="36" y="174"/>
                  </a:cubicBezTo>
                  <a:cubicBezTo>
                    <a:pt x="36" y="174"/>
                    <a:pt x="36" y="174"/>
                    <a:pt x="36" y="174"/>
                  </a:cubicBezTo>
                  <a:cubicBezTo>
                    <a:pt x="37" y="175"/>
                    <a:pt x="37" y="175"/>
                    <a:pt x="38" y="175"/>
                  </a:cubicBezTo>
                  <a:cubicBezTo>
                    <a:pt x="39" y="175"/>
                    <a:pt x="40" y="176"/>
                    <a:pt x="40" y="176"/>
                  </a:cubicBezTo>
                  <a:cubicBezTo>
                    <a:pt x="41" y="177"/>
                    <a:pt x="41" y="178"/>
                    <a:pt x="41" y="179"/>
                  </a:cubicBezTo>
                  <a:cubicBezTo>
                    <a:pt x="41" y="179"/>
                    <a:pt x="42" y="180"/>
                    <a:pt x="42" y="180"/>
                  </a:cubicBezTo>
                  <a:cubicBezTo>
                    <a:pt x="43" y="181"/>
                    <a:pt x="44" y="182"/>
                    <a:pt x="44" y="182"/>
                  </a:cubicBezTo>
                  <a:cubicBezTo>
                    <a:pt x="47" y="181"/>
                    <a:pt x="47" y="181"/>
                    <a:pt x="47" y="181"/>
                  </a:cubicBezTo>
                  <a:cubicBezTo>
                    <a:pt x="48" y="181"/>
                    <a:pt x="48" y="181"/>
                    <a:pt x="48" y="181"/>
                  </a:cubicBezTo>
                  <a:cubicBezTo>
                    <a:pt x="49" y="182"/>
                    <a:pt x="50" y="183"/>
                    <a:pt x="51" y="184"/>
                  </a:cubicBezTo>
                  <a:cubicBezTo>
                    <a:pt x="51" y="184"/>
                    <a:pt x="51" y="184"/>
                    <a:pt x="51" y="184"/>
                  </a:cubicBezTo>
                  <a:cubicBezTo>
                    <a:pt x="51" y="184"/>
                    <a:pt x="52" y="184"/>
                    <a:pt x="52" y="184"/>
                  </a:cubicBezTo>
                  <a:cubicBezTo>
                    <a:pt x="52" y="183"/>
                    <a:pt x="52" y="183"/>
                    <a:pt x="52" y="183"/>
                  </a:cubicBezTo>
                  <a:cubicBezTo>
                    <a:pt x="56" y="185"/>
                    <a:pt x="56" y="185"/>
                    <a:pt x="56" y="185"/>
                  </a:cubicBezTo>
                  <a:cubicBezTo>
                    <a:pt x="57" y="186"/>
                    <a:pt x="57" y="186"/>
                    <a:pt x="57" y="186"/>
                  </a:cubicBezTo>
                  <a:cubicBezTo>
                    <a:pt x="58" y="185"/>
                    <a:pt x="59" y="185"/>
                    <a:pt x="59" y="185"/>
                  </a:cubicBezTo>
                  <a:cubicBezTo>
                    <a:pt x="60" y="185"/>
                    <a:pt x="60" y="185"/>
                    <a:pt x="60" y="185"/>
                  </a:cubicBezTo>
                  <a:cubicBezTo>
                    <a:pt x="61" y="185"/>
                    <a:pt x="61" y="185"/>
                    <a:pt x="61" y="185"/>
                  </a:cubicBezTo>
                  <a:cubicBezTo>
                    <a:pt x="61" y="185"/>
                    <a:pt x="62" y="186"/>
                    <a:pt x="62" y="188"/>
                  </a:cubicBezTo>
                  <a:cubicBezTo>
                    <a:pt x="63" y="188"/>
                    <a:pt x="63" y="188"/>
                    <a:pt x="63" y="188"/>
                  </a:cubicBezTo>
                  <a:cubicBezTo>
                    <a:pt x="68" y="186"/>
                    <a:pt x="68" y="186"/>
                    <a:pt x="68" y="186"/>
                  </a:cubicBezTo>
                  <a:cubicBezTo>
                    <a:pt x="69" y="186"/>
                    <a:pt x="69" y="186"/>
                    <a:pt x="69" y="186"/>
                  </a:cubicBezTo>
                  <a:cubicBezTo>
                    <a:pt x="70" y="186"/>
                    <a:pt x="71" y="186"/>
                    <a:pt x="72" y="187"/>
                  </a:cubicBezTo>
                  <a:cubicBezTo>
                    <a:pt x="73" y="188"/>
                    <a:pt x="73" y="190"/>
                    <a:pt x="73" y="192"/>
                  </a:cubicBezTo>
                  <a:cubicBezTo>
                    <a:pt x="73" y="194"/>
                    <a:pt x="72" y="196"/>
                    <a:pt x="71" y="197"/>
                  </a:cubicBezTo>
                  <a:cubicBezTo>
                    <a:pt x="70" y="197"/>
                    <a:pt x="70" y="197"/>
                    <a:pt x="70" y="197"/>
                  </a:cubicBezTo>
                  <a:cubicBezTo>
                    <a:pt x="72" y="198"/>
                    <a:pt x="73" y="199"/>
                    <a:pt x="73" y="201"/>
                  </a:cubicBezTo>
                  <a:cubicBezTo>
                    <a:pt x="75" y="201"/>
                    <a:pt x="75" y="201"/>
                    <a:pt x="75" y="201"/>
                  </a:cubicBezTo>
                  <a:cubicBezTo>
                    <a:pt x="76" y="202"/>
                    <a:pt x="77" y="203"/>
                    <a:pt x="77" y="203"/>
                  </a:cubicBezTo>
                  <a:cubicBezTo>
                    <a:pt x="79" y="204"/>
                    <a:pt x="80" y="206"/>
                    <a:pt x="80" y="207"/>
                  </a:cubicBezTo>
                  <a:cubicBezTo>
                    <a:pt x="80" y="209"/>
                    <a:pt x="80" y="209"/>
                    <a:pt x="80" y="209"/>
                  </a:cubicBezTo>
                  <a:cubicBezTo>
                    <a:pt x="81" y="208"/>
                    <a:pt x="81" y="208"/>
                    <a:pt x="82" y="208"/>
                  </a:cubicBezTo>
                  <a:cubicBezTo>
                    <a:pt x="83" y="204"/>
                    <a:pt x="83" y="204"/>
                    <a:pt x="83" y="204"/>
                  </a:cubicBezTo>
                  <a:cubicBezTo>
                    <a:pt x="87" y="202"/>
                    <a:pt x="87" y="202"/>
                    <a:pt x="87" y="202"/>
                  </a:cubicBezTo>
                  <a:cubicBezTo>
                    <a:pt x="84" y="196"/>
                    <a:pt x="84" y="196"/>
                    <a:pt x="84" y="196"/>
                  </a:cubicBezTo>
                  <a:cubicBezTo>
                    <a:pt x="84" y="195"/>
                    <a:pt x="84" y="195"/>
                    <a:pt x="84" y="195"/>
                  </a:cubicBezTo>
                  <a:cubicBezTo>
                    <a:pt x="85" y="194"/>
                    <a:pt x="86" y="194"/>
                    <a:pt x="87" y="194"/>
                  </a:cubicBezTo>
                  <a:cubicBezTo>
                    <a:pt x="87" y="194"/>
                    <a:pt x="88" y="194"/>
                    <a:pt x="89" y="194"/>
                  </a:cubicBezTo>
                  <a:cubicBezTo>
                    <a:pt x="89" y="194"/>
                    <a:pt x="90" y="194"/>
                    <a:pt x="90" y="194"/>
                  </a:cubicBezTo>
                  <a:cubicBezTo>
                    <a:pt x="90" y="194"/>
                    <a:pt x="90" y="194"/>
                    <a:pt x="90" y="194"/>
                  </a:cubicBezTo>
                  <a:cubicBezTo>
                    <a:pt x="92" y="194"/>
                    <a:pt x="94" y="194"/>
                    <a:pt x="94" y="194"/>
                  </a:cubicBezTo>
                  <a:cubicBezTo>
                    <a:pt x="95" y="194"/>
                    <a:pt x="95" y="194"/>
                    <a:pt x="95" y="194"/>
                  </a:cubicBezTo>
                  <a:cubicBezTo>
                    <a:pt x="103" y="198"/>
                    <a:pt x="103" y="198"/>
                    <a:pt x="103" y="198"/>
                  </a:cubicBezTo>
                  <a:cubicBezTo>
                    <a:pt x="103" y="198"/>
                    <a:pt x="103" y="198"/>
                    <a:pt x="103" y="198"/>
                  </a:cubicBezTo>
                  <a:cubicBezTo>
                    <a:pt x="104" y="198"/>
                    <a:pt x="105" y="198"/>
                    <a:pt x="106" y="197"/>
                  </a:cubicBezTo>
                  <a:cubicBezTo>
                    <a:pt x="106" y="196"/>
                    <a:pt x="106" y="196"/>
                    <a:pt x="106" y="196"/>
                  </a:cubicBezTo>
                  <a:cubicBezTo>
                    <a:pt x="107" y="195"/>
                    <a:pt x="107" y="195"/>
                    <a:pt x="107" y="195"/>
                  </a:cubicBezTo>
                  <a:cubicBezTo>
                    <a:pt x="108" y="195"/>
                    <a:pt x="108" y="195"/>
                    <a:pt x="108" y="195"/>
                  </a:cubicBezTo>
                  <a:cubicBezTo>
                    <a:pt x="108" y="195"/>
                    <a:pt x="108" y="195"/>
                    <a:pt x="108" y="195"/>
                  </a:cubicBezTo>
                  <a:cubicBezTo>
                    <a:pt x="110" y="195"/>
                    <a:pt x="111" y="197"/>
                    <a:pt x="112" y="199"/>
                  </a:cubicBezTo>
                  <a:cubicBezTo>
                    <a:pt x="113" y="200"/>
                    <a:pt x="113" y="201"/>
                    <a:pt x="113" y="202"/>
                  </a:cubicBezTo>
                  <a:cubicBezTo>
                    <a:pt x="113" y="203"/>
                    <a:pt x="112" y="204"/>
                    <a:pt x="111" y="204"/>
                  </a:cubicBezTo>
                  <a:cubicBezTo>
                    <a:pt x="111" y="204"/>
                    <a:pt x="111" y="204"/>
                    <a:pt x="110" y="205"/>
                  </a:cubicBezTo>
                  <a:cubicBezTo>
                    <a:pt x="112" y="205"/>
                    <a:pt x="112" y="206"/>
                    <a:pt x="112" y="207"/>
                  </a:cubicBezTo>
                  <a:cubicBezTo>
                    <a:pt x="112" y="207"/>
                    <a:pt x="113" y="207"/>
                    <a:pt x="113" y="208"/>
                  </a:cubicBezTo>
                  <a:cubicBezTo>
                    <a:pt x="113" y="208"/>
                    <a:pt x="114" y="208"/>
                    <a:pt x="116" y="209"/>
                  </a:cubicBezTo>
                  <a:cubicBezTo>
                    <a:pt x="117" y="209"/>
                    <a:pt x="117" y="209"/>
                    <a:pt x="117" y="209"/>
                  </a:cubicBezTo>
                  <a:cubicBezTo>
                    <a:pt x="119" y="206"/>
                    <a:pt x="119" y="206"/>
                    <a:pt x="119" y="206"/>
                  </a:cubicBezTo>
                  <a:cubicBezTo>
                    <a:pt x="120" y="206"/>
                    <a:pt x="120" y="206"/>
                    <a:pt x="120" y="206"/>
                  </a:cubicBezTo>
                  <a:cubicBezTo>
                    <a:pt x="121" y="206"/>
                    <a:pt x="124" y="208"/>
                    <a:pt x="125" y="209"/>
                  </a:cubicBezTo>
                  <a:cubicBezTo>
                    <a:pt x="125" y="209"/>
                    <a:pt x="127" y="210"/>
                    <a:pt x="129" y="210"/>
                  </a:cubicBezTo>
                  <a:cubicBezTo>
                    <a:pt x="136" y="208"/>
                    <a:pt x="136" y="208"/>
                    <a:pt x="136" y="208"/>
                  </a:cubicBezTo>
                  <a:cubicBezTo>
                    <a:pt x="138" y="216"/>
                    <a:pt x="138" y="216"/>
                    <a:pt x="138" y="216"/>
                  </a:cubicBezTo>
                  <a:cubicBezTo>
                    <a:pt x="139" y="216"/>
                    <a:pt x="140" y="217"/>
                    <a:pt x="141" y="219"/>
                  </a:cubicBezTo>
                  <a:cubicBezTo>
                    <a:pt x="141" y="219"/>
                    <a:pt x="141" y="219"/>
                    <a:pt x="141" y="219"/>
                  </a:cubicBezTo>
                  <a:cubicBezTo>
                    <a:pt x="142" y="219"/>
                    <a:pt x="145" y="220"/>
                    <a:pt x="145" y="222"/>
                  </a:cubicBezTo>
                  <a:cubicBezTo>
                    <a:pt x="145" y="223"/>
                    <a:pt x="145" y="223"/>
                    <a:pt x="146" y="224"/>
                  </a:cubicBezTo>
                  <a:cubicBezTo>
                    <a:pt x="146" y="224"/>
                    <a:pt x="146" y="224"/>
                    <a:pt x="146" y="224"/>
                  </a:cubicBezTo>
                  <a:cubicBezTo>
                    <a:pt x="148" y="229"/>
                    <a:pt x="148" y="229"/>
                    <a:pt x="148" y="229"/>
                  </a:cubicBezTo>
                  <a:cubicBezTo>
                    <a:pt x="147" y="230"/>
                    <a:pt x="147" y="230"/>
                    <a:pt x="147" y="230"/>
                  </a:cubicBezTo>
                  <a:cubicBezTo>
                    <a:pt x="147" y="230"/>
                    <a:pt x="147" y="230"/>
                    <a:pt x="147" y="231"/>
                  </a:cubicBezTo>
                  <a:cubicBezTo>
                    <a:pt x="147" y="231"/>
                    <a:pt x="148" y="233"/>
                    <a:pt x="148" y="233"/>
                  </a:cubicBezTo>
                  <a:cubicBezTo>
                    <a:pt x="148" y="233"/>
                    <a:pt x="150" y="233"/>
                    <a:pt x="151" y="232"/>
                  </a:cubicBezTo>
                  <a:cubicBezTo>
                    <a:pt x="151" y="231"/>
                    <a:pt x="153" y="230"/>
                    <a:pt x="153" y="230"/>
                  </a:cubicBezTo>
                  <a:cubicBezTo>
                    <a:pt x="153" y="230"/>
                    <a:pt x="155" y="232"/>
                    <a:pt x="155" y="231"/>
                  </a:cubicBezTo>
                  <a:cubicBezTo>
                    <a:pt x="155" y="230"/>
                    <a:pt x="155" y="227"/>
                    <a:pt x="155" y="227"/>
                  </a:cubicBezTo>
                  <a:cubicBezTo>
                    <a:pt x="157" y="225"/>
                    <a:pt x="157" y="225"/>
                    <a:pt x="157" y="225"/>
                  </a:cubicBezTo>
                  <a:cubicBezTo>
                    <a:pt x="157" y="225"/>
                    <a:pt x="158" y="225"/>
                    <a:pt x="158" y="224"/>
                  </a:cubicBezTo>
                  <a:cubicBezTo>
                    <a:pt x="158" y="223"/>
                    <a:pt x="159" y="221"/>
                    <a:pt x="159" y="221"/>
                  </a:cubicBezTo>
                  <a:cubicBezTo>
                    <a:pt x="162" y="222"/>
                    <a:pt x="162" y="222"/>
                    <a:pt x="162" y="222"/>
                  </a:cubicBezTo>
                  <a:cubicBezTo>
                    <a:pt x="164" y="226"/>
                    <a:pt x="164" y="226"/>
                    <a:pt x="164" y="226"/>
                  </a:cubicBezTo>
                  <a:cubicBezTo>
                    <a:pt x="166" y="228"/>
                    <a:pt x="166" y="228"/>
                    <a:pt x="166" y="228"/>
                  </a:cubicBezTo>
                  <a:cubicBezTo>
                    <a:pt x="167" y="229"/>
                    <a:pt x="167" y="229"/>
                    <a:pt x="167" y="229"/>
                  </a:cubicBezTo>
                  <a:cubicBezTo>
                    <a:pt x="169" y="230"/>
                    <a:pt x="169" y="230"/>
                    <a:pt x="169" y="230"/>
                  </a:cubicBezTo>
                  <a:cubicBezTo>
                    <a:pt x="171" y="229"/>
                    <a:pt x="171" y="229"/>
                    <a:pt x="171" y="229"/>
                  </a:cubicBezTo>
                  <a:cubicBezTo>
                    <a:pt x="171" y="231"/>
                    <a:pt x="171" y="231"/>
                    <a:pt x="171" y="231"/>
                  </a:cubicBezTo>
                  <a:cubicBezTo>
                    <a:pt x="172" y="232"/>
                    <a:pt x="172" y="232"/>
                    <a:pt x="172" y="232"/>
                  </a:cubicBezTo>
                  <a:cubicBezTo>
                    <a:pt x="173" y="235"/>
                    <a:pt x="173" y="235"/>
                    <a:pt x="173" y="235"/>
                  </a:cubicBezTo>
                  <a:cubicBezTo>
                    <a:pt x="172" y="236"/>
                    <a:pt x="172" y="236"/>
                    <a:pt x="172" y="236"/>
                  </a:cubicBezTo>
                  <a:cubicBezTo>
                    <a:pt x="171" y="237"/>
                    <a:pt x="171" y="237"/>
                    <a:pt x="171" y="237"/>
                  </a:cubicBezTo>
                  <a:cubicBezTo>
                    <a:pt x="172" y="237"/>
                    <a:pt x="172" y="237"/>
                    <a:pt x="172" y="237"/>
                  </a:cubicBezTo>
                  <a:cubicBezTo>
                    <a:pt x="172" y="237"/>
                    <a:pt x="173" y="237"/>
                    <a:pt x="173" y="237"/>
                  </a:cubicBezTo>
                  <a:cubicBezTo>
                    <a:pt x="174" y="237"/>
                    <a:pt x="175" y="237"/>
                    <a:pt x="175" y="237"/>
                  </a:cubicBezTo>
                  <a:cubicBezTo>
                    <a:pt x="175" y="236"/>
                    <a:pt x="176" y="236"/>
                    <a:pt x="176" y="236"/>
                  </a:cubicBezTo>
                  <a:cubicBezTo>
                    <a:pt x="176" y="236"/>
                    <a:pt x="177" y="235"/>
                    <a:pt x="177" y="235"/>
                  </a:cubicBezTo>
                  <a:cubicBezTo>
                    <a:pt x="177" y="235"/>
                    <a:pt x="178" y="235"/>
                    <a:pt x="178" y="235"/>
                  </a:cubicBezTo>
                  <a:cubicBezTo>
                    <a:pt x="178" y="236"/>
                    <a:pt x="179" y="237"/>
                    <a:pt x="179" y="237"/>
                  </a:cubicBezTo>
                  <a:cubicBezTo>
                    <a:pt x="179" y="237"/>
                    <a:pt x="179" y="236"/>
                    <a:pt x="180" y="237"/>
                  </a:cubicBezTo>
                  <a:cubicBezTo>
                    <a:pt x="180" y="237"/>
                    <a:pt x="180" y="237"/>
                    <a:pt x="180" y="237"/>
                  </a:cubicBezTo>
                  <a:cubicBezTo>
                    <a:pt x="180" y="237"/>
                    <a:pt x="181" y="237"/>
                    <a:pt x="181" y="236"/>
                  </a:cubicBezTo>
                  <a:cubicBezTo>
                    <a:pt x="180" y="235"/>
                    <a:pt x="180" y="234"/>
                    <a:pt x="180" y="234"/>
                  </a:cubicBezTo>
                  <a:cubicBezTo>
                    <a:pt x="180" y="234"/>
                    <a:pt x="180" y="233"/>
                    <a:pt x="181" y="233"/>
                  </a:cubicBezTo>
                  <a:cubicBezTo>
                    <a:pt x="181" y="232"/>
                    <a:pt x="181" y="232"/>
                    <a:pt x="181" y="231"/>
                  </a:cubicBezTo>
                  <a:cubicBezTo>
                    <a:pt x="181" y="231"/>
                    <a:pt x="181" y="231"/>
                    <a:pt x="181" y="231"/>
                  </a:cubicBezTo>
                  <a:cubicBezTo>
                    <a:pt x="182" y="231"/>
                    <a:pt x="183" y="230"/>
                    <a:pt x="183" y="230"/>
                  </a:cubicBezTo>
                  <a:cubicBezTo>
                    <a:pt x="183" y="230"/>
                    <a:pt x="183" y="230"/>
                    <a:pt x="183" y="229"/>
                  </a:cubicBezTo>
                  <a:cubicBezTo>
                    <a:pt x="183" y="229"/>
                    <a:pt x="184" y="229"/>
                    <a:pt x="184" y="229"/>
                  </a:cubicBezTo>
                  <a:cubicBezTo>
                    <a:pt x="185" y="229"/>
                    <a:pt x="184" y="229"/>
                    <a:pt x="185" y="229"/>
                  </a:cubicBezTo>
                  <a:cubicBezTo>
                    <a:pt x="186" y="228"/>
                    <a:pt x="186" y="228"/>
                    <a:pt x="185" y="228"/>
                  </a:cubicBezTo>
                  <a:cubicBezTo>
                    <a:pt x="185" y="227"/>
                    <a:pt x="185" y="227"/>
                    <a:pt x="185" y="227"/>
                  </a:cubicBezTo>
                  <a:cubicBezTo>
                    <a:pt x="186" y="227"/>
                    <a:pt x="185" y="227"/>
                    <a:pt x="187" y="227"/>
                  </a:cubicBezTo>
                  <a:cubicBezTo>
                    <a:pt x="188" y="227"/>
                    <a:pt x="189" y="227"/>
                    <a:pt x="189" y="226"/>
                  </a:cubicBezTo>
                  <a:cubicBezTo>
                    <a:pt x="189" y="226"/>
                    <a:pt x="189" y="225"/>
                    <a:pt x="189" y="225"/>
                  </a:cubicBezTo>
                  <a:cubicBezTo>
                    <a:pt x="190" y="225"/>
                    <a:pt x="190" y="225"/>
                    <a:pt x="190" y="225"/>
                  </a:cubicBezTo>
                  <a:cubicBezTo>
                    <a:pt x="190" y="225"/>
                    <a:pt x="190" y="225"/>
                    <a:pt x="190" y="225"/>
                  </a:cubicBezTo>
                  <a:cubicBezTo>
                    <a:pt x="190" y="225"/>
                    <a:pt x="191" y="226"/>
                    <a:pt x="191" y="226"/>
                  </a:cubicBezTo>
                  <a:cubicBezTo>
                    <a:pt x="192" y="226"/>
                    <a:pt x="192" y="226"/>
                    <a:pt x="192" y="226"/>
                  </a:cubicBezTo>
                  <a:cubicBezTo>
                    <a:pt x="193" y="226"/>
                    <a:pt x="193" y="225"/>
                    <a:pt x="193" y="225"/>
                  </a:cubicBezTo>
                  <a:cubicBezTo>
                    <a:pt x="193" y="225"/>
                    <a:pt x="193" y="225"/>
                    <a:pt x="193" y="225"/>
                  </a:cubicBezTo>
                  <a:cubicBezTo>
                    <a:pt x="193" y="225"/>
                    <a:pt x="193" y="224"/>
                    <a:pt x="194" y="224"/>
                  </a:cubicBezTo>
                  <a:cubicBezTo>
                    <a:pt x="195" y="224"/>
                    <a:pt x="194" y="225"/>
                    <a:pt x="195" y="224"/>
                  </a:cubicBezTo>
                  <a:cubicBezTo>
                    <a:pt x="195" y="224"/>
                    <a:pt x="196" y="223"/>
                    <a:pt x="196" y="223"/>
                  </a:cubicBezTo>
                  <a:cubicBezTo>
                    <a:pt x="196" y="223"/>
                    <a:pt x="196" y="224"/>
                    <a:pt x="197" y="224"/>
                  </a:cubicBezTo>
                  <a:cubicBezTo>
                    <a:pt x="198" y="225"/>
                    <a:pt x="198" y="225"/>
                    <a:pt x="199" y="226"/>
                  </a:cubicBezTo>
                  <a:cubicBezTo>
                    <a:pt x="199" y="226"/>
                    <a:pt x="199" y="226"/>
                    <a:pt x="199" y="226"/>
                  </a:cubicBezTo>
                  <a:cubicBezTo>
                    <a:pt x="199" y="226"/>
                    <a:pt x="200" y="227"/>
                    <a:pt x="200" y="227"/>
                  </a:cubicBezTo>
                  <a:cubicBezTo>
                    <a:pt x="201" y="227"/>
                    <a:pt x="201" y="227"/>
                    <a:pt x="201" y="227"/>
                  </a:cubicBezTo>
                  <a:cubicBezTo>
                    <a:pt x="202" y="227"/>
                    <a:pt x="202" y="227"/>
                    <a:pt x="202" y="227"/>
                  </a:cubicBezTo>
                  <a:cubicBezTo>
                    <a:pt x="202" y="227"/>
                    <a:pt x="201" y="227"/>
                    <a:pt x="202" y="227"/>
                  </a:cubicBezTo>
                  <a:cubicBezTo>
                    <a:pt x="203" y="228"/>
                    <a:pt x="204" y="228"/>
                    <a:pt x="204" y="228"/>
                  </a:cubicBezTo>
                  <a:cubicBezTo>
                    <a:pt x="204" y="228"/>
                    <a:pt x="204" y="227"/>
                    <a:pt x="204" y="226"/>
                  </a:cubicBezTo>
                  <a:cubicBezTo>
                    <a:pt x="205" y="226"/>
                    <a:pt x="205" y="225"/>
                    <a:pt x="205" y="225"/>
                  </a:cubicBezTo>
                  <a:cubicBezTo>
                    <a:pt x="206" y="225"/>
                    <a:pt x="208" y="224"/>
                    <a:pt x="208" y="224"/>
                  </a:cubicBezTo>
                  <a:cubicBezTo>
                    <a:pt x="208" y="224"/>
                    <a:pt x="207" y="223"/>
                    <a:pt x="206" y="222"/>
                  </a:cubicBezTo>
                  <a:cubicBezTo>
                    <a:pt x="206" y="222"/>
                    <a:pt x="205" y="221"/>
                    <a:pt x="207" y="221"/>
                  </a:cubicBezTo>
                  <a:cubicBezTo>
                    <a:pt x="208" y="221"/>
                    <a:pt x="209" y="221"/>
                    <a:pt x="209" y="221"/>
                  </a:cubicBezTo>
                  <a:cubicBezTo>
                    <a:pt x="210" y="222"/>
                    <a:pt x="210" y="222"/>
                    <a:pt x="210" y="222"/>
                  </a:cubicBezTo>
                  <a:cubicBezTo>
                    <a:pt x="210" y="221"/>
                    <a:pt x="210" y="221"/>
                    <a:pt x="210" y="221"/>
                  </a:cubicBezTo>
                  <a:cubicBezTo>
                    <a:pt x="211" y="220"/>
                    <a:pt x="211" y="220"/>
                    <a:pt x="211" y="220"/>
                  </a:cubicBezTo>
                  <a:cubicBezTo>
                    <a:pt x="211" y="220"/>
                    <a:pt x="211" y="219"/>
                    <a:pt x="212" y="219"/>
                  </a:cubicBezTo>
                  <a:cubicBezTo>
                    <a:pt x="212" y="219"/>
                    <a:pt x="213" y="219"/>
                    <a:pt x="213" y="219"/>
                  </a:cubicBezTo>
                  <a:cubicBezTo>
                    <a:pt x="213" y="219"/>
                    <a:pt x="214" y="220"/>
                    <a:pt x="214" y="220"/>
                  </a:cubicBezTo>
                  <a:cubicBezTo>
                    <a:pt x="214" y="220"/>
                    <a:pt x="215" y="220"/>
                    <a:pt x="215" y="220"/>
                  </a:cubicBezTo>
                  <a:cubicBezTo>
                    <a:pt x="215" y="220"/>
                    <a:pt x="216" y="220"/>
                    <a:pt x="216" y="220"/>
                  </a:cubicBezTo>
                  <a:cubicBezTo>
                    <a:pt x="216" y="220"/>
                    <a:pt x="218" y="220"/>
                    <a:pt x="218" y="220"/>
                  </a:cubicBezTo>
                  <a:cubicBezTo>
                    <a:pt x="218" y="220"/>
                    <a:pt x="218" y="219"/>
                    <a:pt x="218" y="219"/>
                  </a:cubicBezTo>
                  <a:cubicBezTo>
                    <a:pt x="218" y="219"/>
                    <a:pt x="221" y="219"/>
                    <a:pt x="221" y="219"/>
                  </a:cubicBezTo>
                  <a:cubicBezTo>
                    <a:pt x="221" y="219"/>
                    <a:pt x="222" y="219"/>
                    <a:pt x="222" y="219"/>
                  </a:cubicBezTo>
                  <a:cubicBezTo>
                    <a:pt x="223" y="219"/>
                    <a:pt x="224" y="219"/>
                    <a:pt x="224" y="219"/>
                  </a:cubicBezTo>
                  <a:cubicBezTo>
                    <a:pt x="224" y="219"/>
                    <a:pt x="225" y="220"/>
                    <a:pt x="225" y="220"/>
                  </a:cubicBezTo>
                  <a:cubicBezTo>
                    <a:pt x="226" y="220"/>
                    <a:pt x="227" y="220"/>
                    <a:pt x="227" y="220"/>
                  </a:cubicBezTo>
                  <a:cubicBezTo>
                    <a:pt x="227" y="220"/>
                    <a:pt x="227" y="219"/>
                    <a:pt x="227" y="219"/>
                  </a:cubicBezTo>
                  <a:cubicBezTo>
                    <a:pt x="228" y="219"/>
                    <a:pt x="228" y="219"/>
                    <a:pt x="228" y="219"/>
                  </a:cubicBezTo>
                  <a:cubicBezTo>
                    <a:pt x="230" y="220"/>
                    <a:pt x="230" y="220"/>
                    <a:pt x="230" y="220"/>
                  </a:cubicBezTo>
                  <a:cubicBezTo>
                    <a:pt x="230" y="220"/>
                    <a:pt x="231" y="220"/>
                    <a:pt x="231" y="220"/>
                  </a:cubicBezTo>
                  <a:cubicBezTo>
                    <a:pt x="231" y="220"/>
                    <a:pt x="232" y="220"/>
                    <a:pt x="232" y="220"/>
                  </a:cubicBezTo>
                  <a:cubicBezTo>
                    <a:pt x="232" y="220"/>
                    <a:pt x="232" y="221"/>
                    <a:pt x="232" y="221"/>
                  </a:cubicBezTo>
                  <a:cubicBezTo>
                    <a:pt x="233" y="222"/>
                    <a:pt x="233" y="222"/>
                    <a:pt x="233" y="223"/>
                  </a:cubicBezTo>
                  <a:cubicBezTo>
                    <a:pt x="234" y="223"/>
                    <a:pt x="234" y="223"/>
                    <a:pt x="234" y="223"/>
                  </a:cubicBezTo>
                  <a:cubicBezTo>
                    <a:pt x="234" y="224"/>
                    <a:pt x="234" y="224"/>
                    <a:pt x="234" y="225"/>
                  </a:cubicBezTo>
                  <a:cubicBezTo>
                    <a:pt x="234" y="225"/>
                    <a:pt x="234" y="225"/>
                    <a:pt x="235" y="225"/>
                  </a:cubicBezTo>
                  <a:cubicBezTo>
                    <a:pt x="235" y="226"/>
                    <a:pt x="237" y="226"/>
                    <a:pt x="237" y="226"/>
                  </a:cubicBezTo>
                  <a:cubicBezTo>
                    <a:pt x="237" y="226"/>
                    <a:pt x="238" y="226"/>
                    <a:pt x="238" y="226"/>
                  </a:cubicBezTo>
                  <a:cubicBezTo>
                    <a:pt x="239" y="226"/>
                    <a:pt x="240" y="226"/>
                    <a:pt x="240" y="226"/>
                  </a:cubicBezTo>
                  <a:cubicBezTo>
                    <a:pt x="240" y="226"/>
                    <a:pt x="241" y="226"/>
                    <a:pt x="241" y="226"/>
                  </a:cubicBezTo>
                  <a:cubicBezTo>
                    <a:pt x="241" y="226"/>
                    <a:pt x="241" y="227"/>
                    <a:pt x="241" y="227"/>
                  </a:cubicBezTo>
                  <a:cubicBezTo>
                    <a:pt x="243" y="227"/>
                    <a:pt x="243" y="227"/>
                    <a:pt x="243" y="227"/>
                  </a:cubicBezTo>
                  <a:cubicBezTo>
                    <a:pt x="243" y="227"/>
                    <a:pt x="243" y="227"/>
                    <a:pt x="243" y="227"/>
                  </a:cubicBezTo>
                  <a:cubicBezTo>
                    <a:pt x="243" y="227"/>
                    <a:pt x="244" y="227"/>
                    <a:pt x="244" y="227"/>
                  </a:cubicBezTo>
                  <a:cubicBezTo>
                    <a:pt x="244" y="227"/>
                    <a:pt x="245" y="227"/>
                    <a:pt x="245" y="227"/>
                  </a:cubicBezTo>
                  <a:cubicBezTo>
                    <a:pt x="245" y="228"/>
                    <a:pt x="246" y="228"/>
                    <a:pt x="246" y="228"/>
                  </a:cubicBezTo>
                  <a:cubicBezTo>
                    <a:pt x="246" y="228"/>
                    <a:pt x="247" y="228"/>
                    <a:pt x="248" y="228"/>
                  </a:cubicBezTo>
                  <a:cubicBezTo>
                    <a:pt x="248" y="228"/>
                    <a:pt x="250" y="228"/>
                    <a:pt x="250" y="228"/>
                  </a:cubicBezTo>
                  <a:cubicBezTo>
                    <a:pt x="250" y="228"/>
                    <a:pt x="251" y="229"/>
                    <a:pt x="251" y="229"/>
                  </a:cubicBezTo>
                  <a:cubicBezTo>
                    <a:pt x="251" y="229"/>
                    <a:pt x="251" y="230"/>
                    <a:pt x="251" y="230"/>
                  </a:cubicBezTo>
                  <a:cubicBezTo>
                    <a:pt x="251" y="230"/>
                    <a:pt x="251" y="230"/>
                    <a:pt x="252" y="230"/>
                  </a:cubicBezTo>
                  <a:cubicBezTo>
                    <a:pt x="252" y="230"/>
                    <a:pt x="252" y="229"/>
                    <a:pt x="253" y="229"/>
                  </a:cubicBezTo>
                  <a:cubicBezTo>
                    <a:pt x="254" y="229"/>
                    <a:pt x="256" y="230"/>
                    <a:pt x="257" y="230"/>
                  </a:cubicBezTo>
                  <a:cubicBezTo>
                    <a:pt x="258" y="231"/>
                    <a:pt x="258" y="230"/>
                    <a:pt x="259" y="230"/>
                  </a:cubicBezTo>
                  <a:cubicBezTo>
                    <a:pt x="260" y="230"/>
                    <a:pt x="260" y="229"/>
                    <a:pt x="260" y="229"/>
                  </a:cubicBezTo>
                  <a:cubicBezTo>
                    <a:pt x="260" y="229"/>
                    <a:pt x="260" y="228"/>
                    <a:pt x="260" y="227"/>
                  </a:cubicBezTo>
                  <a:cubicBezTo>
                    <a:pt x="260" y="227"/>
                    <a:pt x="258" y="226"/>
                    <a:pt x="258" y="226"/>
                  </a:cubicBezTo>
                  <a:cubicBezTo>
                    <a:pt x="258" y="226"/>
                    <a:pt x="257" y="225"/>
                    <a:pt x="256" y="225"/>
                  </a:cubicBezTo>
                  <a:cubicBezTo>
                    <a:pt x="256" y="225"/>
                    <a:pt x="255" y="222"/>
                    <a:pt x="255" y="222"/>
                  </a:cubicBezTo>
                  <a:cubicBezTo>
                    <a:pt x="256" y="220"/>
                    <a:pt x="256" y="220"/>
                    <a:pt x="256" y="220"/>
                  </a:cubicBezTo>
                  <a:cubicBezTo>
                    <a:pt x="256" y="220"/>
                    <a:pt x="256" y="220"/>
                    <a:pt x="255" y="220"/>
                  </a:cubicBezTo>
                  <a:cubicBezTo>
                    <a:pt x="254" y="219"/>
                    <a:pt x="254" y="217"/>
                    <a:pt x="254" y="217"/>
                  </a:cubicBezTo>
                  <a:cubicBezTo>
                    <a:pt x="254" y="214"/>
                    <a:pt x="254" y="214"/>
                    <a:pt x="254" y="214"/>
                  </a:cubicBezTo>
                  <a:cubicBezTo>
                    <a:pt x="251" y="210"/>
                    <a:pt x="251" y="210"/>
                    <a:pt x="251" y="210"/>
                  </a:cubicBezTo>
                  <a:cubicBezTo>
                    <a:pt x="251" y="210"/>
                    <a:pt x="251" y="207"/>
                    <a:pt x="251" y="207"/>
                  </a:cubicBezTo>
                  <a:cubicBezTo>
                    <a:pt x="252" y="206"/>
                    <a:pt x="255" y="199"/>
                    <a:pt x="255" y="199"/>
                  </a:cubicBezTo>
                  <a:cubicBezTo>
                    <a:pt x="263" y="189"/>
                    <a:pt x="263" y="189"/>
                    <a:pt x="263" y="189"/>
                  </a:cubicBezTo>
                  <a:cubicBezTo>
                    <a:pt x="263" y="189"/>
                    <a:pt x="263" y="188"/>
                    <a:pt x="265" y="184"/>
                  </a:cubicBezTo>
                  <a:cubicBezTo>
                    <a:pt x="266" y="179"/>
                    <a:pt x="266" y="181"/>
                    <a:pt x="267" y="180"/>
                  </a:cubicBezTo>
                  <a:cubicBezTo>
                    <a:pt x="267" y="178"/>
                    <a:pt x="269" y="177"/>
                    <a:pt x="270" y="176"/>
                  </a:cubicBezTo>
                  <a:cubicBezTo>
                    <a:pt x="271" y="176"/>
                    <a:pt x="272" y="173"/>
                    <a:pt x="273" y="170"/>
                  </a:cubicBezTo>
                  <a:cubicBezTo>
                    <a:pt x="274" y="168"/>
                    <a:pt x="275" y="170"/>
                    <a:pt x="276" y="170"/>
                  </a:cubicBezTo>
                  <a:cubicBezTo>
                    <a:pt x="277" y="169"/>
                    <a:pt x="277" y="167"/>
                    <a:pt x="278" y="167"/>
                  </a:cubicBezTo>
                  <a:cubicBezTo>
                    <a:pt x="280" y="167"/>
                    <a:pt x="280" y="165"/>
                    <a:pt x="281" y="164"/>
                  </a:cubicBezTo>
                  <a:cubicBezTo>
                    <a:pt x="281" y="163"/>
                    <a:pt x="281" y="161"/>
                    <a:pt x="281" y="161"/>
                  </a:cubicBezTo>
                  <a:cubicBezTo>
                    <a:pt x="281" y="156"/>
                    <a:pt x="281" y="156"/>
                    <a:pt x="281" y="156"/>
                  </a:cubicBezTo>
                  <a:cubicBezTo>
                    <a:pt x="278" y="152"/>
                    <a:pt x="278" y="152"/>
                    <a:pt x="278" y="152"/>
                  </a:cubicBezTo>
                  <a:cubicBezTo>
                    <a:pt x="278" y="152"/>
                    <a:pt x="277" y="152"/>
                    <a:pt x="277" y="151"/>
                  </a:cubicBezTo>
                  <a:cubicBezTo>
                    <a:pt x="277" y="150"/>
                    <a:pt x="277" y="149"/>
                    <a:pt x="277" y="149"/>
                  </a:cubicBezTo>
                  <a:cubicBezTo>
                    <a:pt x="277" y="149"/>
                    <a:pt x="280" y="149"/>
                    <a:pt x="281" y="149"/>
                  </a:cubicBezTo>
                  <a:cubicBezTo>
                    <a:pt x="282" y="148"/>
                    <a:pt x="281" y="147"/>
                    <a:pt x="279" y="146"/>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0" name="Freeform 64"/>
            <p:cNvSpPr>
              <a:spLocks/>
            </p:cNvSpPr>
            <p:nvPr/>
          </p:nvSpPr>
          <p:spPr bwMode="auto">
            <a:xfrm>
              <a:off x="5152153" y="4587958"/>
              <a:ext cx="1135099" cy="1072940"/>
            </a:xfrm>
            <a:custGeom>
              <a:avLst/>
              <a:gdLst>
                <a:gd name="T0" fmla="*/ 322 w 392"/>
                <a:gd name="T1" fmla="*/ 246 h 393"/>
                <a:gd name="T2" fmla="*/ 306 w 392"/>
                <a:gd name="T3" fmla="*/ 223 h 393"/>
                <a:gd name="T4" fmla="*/ 250 w 392"/>
                <a:gd name="T5" fmla="*/ 204 h 393"/>
                <a:gd name="T6" fmla="*/ 217 w 392"/>
                <a:gd name="T7" fmla="*/ 150 h 393"/>
                <a:gd name="T8" fmla="*/ 176 w 392"/>
                <a:gd name="T9" fmla="*/ 96 h 393"/>
                <a:gd name="T10" fmla="*/ 178 w 392"/>
                <a:gd name="T11" fmla="*/ 71 h 393"/>
                <a:gd name="T12" fmla="*/ 204 w 392"/>
                <a:gd name="T13" fmla="*/ 61 h 393"/>
                <a:gd name="T14" fmla="*/ 211 w 392"/>
                <a:gd name="T15" fmla="*/ 49 h 393"/>
                <a:gd name="T16" fmla="*/ 206 w 392"/>
                <a:gd name="T17" fmla="*/ 46 h 393"/>
                <a:gd name="T18" fmla="*/ 209 w 392"/>
                <a:gd name="T19" fmla="*/ 39 h 393"/>
                <a:gd name="T20" fmla="*/ 204 w 392"/>
                <a:gd name="T21" fmla="*/ 31 h 393"/>
                <a:gd name="T22" fmla="*/ 206 w 392"/>
                <a:gd name="T23" fmla="*/ 23 h 393"/>
                <a:gd name="T24" fmla="*/ 167 w 392"/>
                <a:gd name="T25" fmla="*/ 13 h 393"/>
                <a:gd name="T26" fmla="*/ 152 w 392"/>
                <a:gd name="T27" fmla="*/ 3 h 393"/>
                <a:gd name="T28" fmla="*/ 128 w 392"/>
                <a:gd name="T29" fmla="*/ 15 h 393"/>
                <a:gd name="T30" fmla="*/ 113 w 392"/>
                <a:gd name="T31" fmla="*/ 14 h 393"/>
                <a:gd name="T32" fmla="*/ 115 w 392"/>
                <a:gd name="T33" fmla="*/ 22 h 393"/>
                <a:gd name="T34" fmla="*/ 108 w 392"/>
                <a:gd name="T35" fmla="*/ 23 h 393"/>
                <a:gd name="T36" fmla="*/ 102 w 392"/>
                <a:gd name="T37" fmla="*/ 25 h 393"/>
                <a:gd name="T38" fmla="*/ 105 w 392"/>
                <a:gd name="T39" fmla="*/ 31 h 393"/>
                <a:gd name="T40" fmla="*/ 104 w 392"/>
                <a:gd name="T41" fmla="*/ 39 h 393"/>
                <a:gd name="T42" fmla="*/ 99 w 392"/>
                <a:gd name="T43" fmla="*/ 33 h 393"/>
                <a:gd name="T44" fmla="*/ 92 w 392"/>
                <a:gd name="T45" fmla="*/ 36 h 393"/>
                <a:gd name="T46" fmla="*/ 84 w 392"/>
                <a:gd name="T47" fmla="*/ 28 h 393"/>
                <a:gd name="T48" fmla="*/ 78 w 392"/>
                <a:gd name="T49" fmla="*/ 30 h 393"/>
                <a:gd name="T50" fmla="*/ 77 w 392"/>
                <a:gd name="T51" fmla="*/ 40 h 393"/>
                <a:gd name="T52" fmla="*/ 71 w 392"/>
                <a:gd name="T53" fmla="*/ 48 h 393"/>
                <a:gd name="T54" fmla="*/ 72 w 392"/>
                <a:gd name="T55" fmla="*/ 57 h 393"/>
                <a:gd name="T56" fmla="*/ 67 w 392"/>
                <a:gd name="T57" fmla="*/ 52 h 393"/>
                <a:gd name="T58" fmla="*/ 64 w 392"/>
                <a:gd name="T59" fmla="*/ 46 h 393"/>
                <a:gd name="T60" fmla="*/ 55 w 392"/>
                <a:gd name="T61" fmla="*/ 41 h 393"/>
                <a:gd name="T62" fmla="*/ 52 w 392"/>
                <a:gd name="T63" fmla="*/ 33 h 393"/>
                <a:gd name="T64" fmla="*/ 43 w 392"/>
                <a:gd name="T65" fmla="*/ 37 h 393"/>
                <a:gd name="T66" fmla="*/ 41 w 392"/>
                <a:gd name="T67" fmla="*/ 45 h 393"/>
                <a:gd name="T68" fmla="*/ 35 w 392"/>
                <a:gd name="T69" fmla="*/ 52 h 393"/>
                <a:gd name="T70" fmla="*/ 27 w 392"/>
                <a:gd name="T71" fmla="*/ 51 h 393"/>
                <a:gd name="T72" fmla="*/ 16 w 392"/>
                <a:gd name="T73" fmla="*/ 54 h 393"/>
                <a:gd name="T74" fmla="*/ 4 w 392"/>
                <a:gd name="T75" fmla="*/ 59 h 393"/>
                <a:gd name="T76" fmla="*/ 9 w 392"/>
                <a:gd name="T77" fmla="*/ 87 h 393"/>
                <a:gd name="T78" fmla="*/ 10 w 392"/>
                <a:gd name="T79" fmla="*/ 109 h 393"/>
                <a:gd name="T80" fmla="*/ 26 w 392"/>
                <a:gd name="T81" fmla="*/ 127 h 393"/>
                <a:gd name="T82" fmla="*/ 37 w 392"/>
                <a:gd name="T83" fmla="*/ 141 h 393"/>
                <a:gd name="T84" fmla="*/ 86 w 392"/>
                <a:gd name="T85" fmla="*/ 130 h 393"/>
                <a:gd name="T86" fmla="*/ 110 w 392"/>
                <a:gd name="T87" fmla="*/ 153 h 393"/>
                <a:gd name="T88" fmla="*/ 125 w 392"/>
                <a:gd name="T89" fmla="*/ 187 h 393"/>
                <a:gd name="T90" fmla="*/ 147 w 392"/>
                <a:gd name="T91" fmla="*/ 206 h 393"/>
                <a:gd name="T92" fmla="*/ 181 w 392"/>
                <a:gd name="T93" fmla="*/ 239 h 393"/>
                <a:gd name="T94" fmla="*/ 203 w 392"/>
                <a:gd name="T95" fmla="*/ 253 h 393"/>
                <a:gd name="T96" fmla="*/ 229 w 392"/>
                <a:gd name="T97" fmla="*/ 255 h 393"/>
                <a:gd name="T98" fmla="*/ 257 w 392"/>
                <a:gd name="T99" fmla="*/ 280 h 393"/>
                <a:gd name="T100" fmla="*/ 271 w 392"/>
                <a:gd name="T101" fmla="*/ 292 h 393"/>
                <a:gd name="T102" fmla="*/ 297 w 392"/>
                <a:gd name="T103" fmla="*/ 301 h 393"/>
                <a:gd name="T104" fmla="*/ 317 w 392"/>
                <a:gd name="T105" fmla="*/ 344 h 393"/>
                <a:gd name="T106" fmla="*/ 311 w 392"/>
                <a:gd name="T107" fmla="*/ 367 h 393"/>
                <a:gd name="T108" fmla="*/ 314 w 392"/>
                <a:gd name="T109" fmla="*/ 393 h 393"/>
                <a:gd name="T110" fmla="*/ 334 w 392"/>
                <a:gd name="T111" fmla="*/ 357 h 393"/>
                <a:gd name="T112" fmla="*/ 349 w 392"/>
                <a:gd name="T113" fmla="*/ 326 h 393"/>
                <a:gd name="T114" fmla="*/ 329 w 392"/>
                <a:gd name="T115" fmla="*/ 298 h 393"/>
                <a:gd name="T116" fmla="*/ 354 w 392"/>
                <a:gd name="T117" fmla="*/ 282 h 393"/>
                <a:gd name="T118" fmla="*/ 388 w 392"/>
                <a:gd name="T119" fmla="*/ 301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2" h="393">
                  <a:moveTo>
                    <a:pt x="390" y="282"/>
                  </a:moveTo>
                  <a:cubicBezTo>
                    <a:pt x="384" y="276"/>
                    <a:pt x="384" y="276"/>
                    <a:pt x="384" y="276"/>
                  </a:cubicBezTo>
                  <a:cubicBezTo>
                    <a:pt x="379" y="272"/>
                    <a:pt x="379" y="272"/>
                    <a:pt x="379" y="272"/>
                  </a:cubicBezTo>
                  <a:cubicBezTo>
                    <a:pt x="365" y="263"/>
                    <a:pt x="365" y="263"/>
                    <a:pt x="365" y="263"/>
                  </a:cubicBezTo>
                  <a:cubicBezTo>
                    <a:pt x="346" y="257"/>
                    <a:pt x="346" y="257"/>
                    <a:pt x="346" y="257"/>
                  </a:cubicBezTo>
                  <a:cubicBezTo>
                    <a:pt x="333" y="249"/>
                    <a:pt x="333" y="249"/>
                    <a:pt x="333" y="249"/>
                  </a:cubicBezTo>
                  <a:cubicBezTo>
                    <a:pt x="322" y="246"/>
                    <a:pt x="322" y="246"/>
                    <a:pt x="322" y="246"/>
                  </a:cubicBezTo>
                  <a:cubicBezTo>
                    <a:pt x="322" y="246"/>
                    <a:pt x="311" y="241"/>
                    <a:pt x="310" y="241"/>
                  </a:cubicBezTo>
                  <a:cubicBezTo>
                    <a:pt x="310" y="241"/>
                    <a:pt x="307" y="240"/>
                    <a:pt x="307" y="240"/>
                  </a:cubicBezTo>
                  <a:cubicBezTo>
                    <a:pt x="307" y="240"/>
                    <a:pt x="301" y="238"/>
                    <a:pt x="300" y="237"/>
                  </a:cubicBezTo>
                  <a:cubicBezTo>
                    <a:pt x="300" y="237"/>
                    <a:pt x="299" y="234"/>
                    <a:pt x="299" y="233"/>
                  </a:cubicBezTo>
                  <a:cubicBezTo>
                    <a:pt x="299" y="233"/>
                    <a:pt x="299" y="230"/>
                    <a:pt x="299" y="230"/>
                  </a:cubicBezTo>
                  <a:cubicBezTo>
                    <a:pt x="303" y="227"/>
                    <a:pt x="303" y="227"/>
                    <a:pt x="303" y="227"/>
                  </a:cubicBezTo>
                  <a:cubicBezTo>
                    <a:pt x="303" y="227"/>
                    <a:pt x="306" y="224"/>
                    <a:pt x="306" y="223"/>
                  </a:cubicBezTo>
                  <a:cubicBezTo>
                    <a:pt x="306" y="222"/>
                    <a:pt x="306" y="217"/>
                    <a:pt x="306" y="217"/>
                  </a:cubicBezTo>
                  <a:cubicBezTo>
                    <a:pt x="302" y="216"/>
                    <a:pt x="302" y="216"/>
                    <a:pt x="302" y="216"/>
                  </a:cubicBezTo>
                  <a:cubicBezTo>
                    <a:pt x="293" y="217"/>
                    <a:pt x="293" y="217"/>
                    <a:pt x="293" y="217"/>
                  </a:cubicBezTo>
                  <a:cubicBezTo>
                    <a:pt x="278" y="218"/>
                    <a:pt x="278" y="218"/>
                    <a:pt x="278" y="218"/>
                  </a:cubicBezTo>
                  <a:cubicBezTo>
                    <a:pt x="270" y="218"/>
                    <a:pt x="270" y="218"/>
                    <a:pt x="270" y="218"/>
                  </a:cubicBezTo>
                  <a:cubicBezTo>
                    <a:pt x="259" y="212"/>
                    <a:pt x="259" y="212"/>
                    <a:pt x="259" y="212"/>
                  </a:cubicBezTo>
                  <a:cubicBezTo>
                    <a:pt x="250" y="204"/>
                    <a:pt x="250" y="204"/>
                    <a:pt x="250" y="204"/>
                  </a:cubicBezTo>
                  <a:cubicBezTo>
                    <a:pt x="244" y="201"/>
                    <a:pt x="244" y="201"/>
                    <a:pt x="244" y="201"/>
                  </a:cubicBezTo>
                  <a:cubicBezTo>
                    <a:pt x="237" y="193"/>
                    <a:pt x="237" y="193"/>
                    <a:pt x="237" y="193"/>
                  </a:cubicBezTo>
                  <a:cubicBezTo>
                    <a:pt x="233" y="187"/>
                    <a:pt x="233" y="187"/>
                    <a:pt x="233" y="187"/>
                  </a:cubicBezTo>
                  <a:cubicBezTo>
                    <a:pt x="233" y="187"/>
                    <a:pt x="230" y="179"/>
                    <a:pt x="229" y="176"/>
                  </a:cubicBezTo>
                  <a:cubicBezTo>
                    <a:pt x="228" y="173"/>
                    <a:pt x="222" y="164"/>
                    <a:pt x="222" y="164"/>
                  </a:cubicBezTo>
                  <a:cubicBezTo>
                    <a:pt x="222" y="164"/>
                    <a:pt x="219" y="157"/>
                    <a:pt x="218" y="156"/>
                  </a:cubicBezTo>
                  <a:cubicBezTo>
                    <a:pt x="218" y="155"/>
                    <a:pt x="217" y="150"/>
                    <a:pt x="217" y="150"/>
                  </a:cubicBezTo>
                  <a:cubicBezTo>
                    <a:pt x="207" y="145"/>
                    <a:pt x="207" y="145"/>
                    <a:pt x="207" y="145"/>
                  </a:cubicBezTo>
                  <a:cubicBezTo>
                    <a:pt x="193" y="137"/>
                    <a:pt x="193" y="137"/>
                    <a:pt x="193" y="137"/>
                  </a:cubicBezTo>
                  <a:cubicBezTo>
                    <a:pt x="181" y="130"/>
                    <a:pt x="181" y="130"/>
                    <a:pt x="181" y="130"/>
                  </a:cubicBezTo>
                  <a:cubicBezTo>
                    <a:pt x="176" y="121"/>
                    <a:pt x="176" y="121"/>
                    <a:pt x="176" y="121"/>
                  </a:cubicBezTo>
                  <a:cubicBezTo>
                    <a:pt x="172" y="109"/>
                    <a:pt x="172" y="109"/>
                    <a:pt x="172" y="109"/>
                  </a:cubicBezTo>
                  <a:cubicBezTo>
                    <a:pt x="171" y="99"/>
                    <a:pt x="171" y="99"/>
                    <a:pt x="171" y="99"/>
                  </a:cubicBezTo>
                  <a:cubicBezTo>
                    <a:pt x="176" y="96"/>
                    <a:pt x="176" y="96"/>
                    <a:pt x="176" y="96"/>
                  </a:cubicBezTo>
                  <a:cubicBezTo>
                    <a:pt x="176" y="91"/>
                    <a:pt x="176" y="91"/>
                    <a:pt x="176" y="91"/>
                  </a:cubicBezTo>
                  <a:cubicBezTo>
                    <a:pt x="171" y="88"/>
                    <a:pt x="171" y="88"/>
                    <a:pt x="171" y="88"/>
                  </a:cubicBezTo>
                  <a:cubicBezTo>
                    <a:pt x="171" y="83"/>
                    <a:pt x="171" y="83"/>
                    <a:pt x="171" y="83"/>
                  </a:cubicBezTo>
                  <a:cubicBezTo>
                    <a:pt x="169" y="81"/>
                    <a:pt x="169" y="81"/>
                    <a:pt x="169" y="81"/>
                  </a:cubicBezTo>
                  <a:cubicBezTo>
                    <a:pt x="166" y="77"/>
                    <a:pt x="166" y="77"/>
                    <a:pt x="166" y="77"/>
                  </a:cubicBezTo>
                  <a:cubicBezTo>
                    <a:pt x="172" y="74"/>
                    <a:pt x="172" y="74"/>
                    <a:pt x="172" y="74"/>
                  </a:cubicBezTo>
                  <a:cubicBezTo>
                    <a:pt x="172" y="74"/>
                    <a:pt x="175" y="71"/>
                    <a:pt x="178" y="71"/>
                  </a:cubicBezTo>
                  <a:cubicBezTo>
                    <a:pt x="181" y="71"/>
                    <a:pt x="183" y="68"/>
                    <a:pt x="183" y="68"/>
                  </a:cubicBezTo>
                  <a:cubicBezTo>
                    <a:pt x="183" y="68"/>
                    <a:pt x="186" y="66"/>
                    <a:pt x="187" y="65"/>
                  </a:cubicBezTo>
                  <a:cubicBezTo>
                    <a:pt x="188" y="65"/>
                    <a:pt x="190" y="65"/>
                    <a:pt x="191" y="64"/>
                  </a:cubicBezTo>
                  <a:cubicBezTo>
                    <a:pt x="192" y="64"/>
                    <a:pt x="195" y="63"/>
                    <a:pt x="194" y="63"/>
                  </a:cubicBezTo>
                  <a:cubicBezTo>
                    <a:pt x="194" y="62"/>
                    <a:pt x="196" y="57"/>
                    <a:pt x="196" y="57"/>
                  </a:cubicBezTo>
                  <a:cubicBezTo>
                    <a:pt x="197" y="56"/>
                    <a:pt x="199" y="60"/>
                    <a:pt x="201" y="60"/>
                  </a:cubicBezTo>
                  <a:cubicBezTo>
                    <a:pt x="202" y="60"/>
                    <a:pt x="204" y="61"/>
                    <a:pt x="204" y="61"/>
                  </a:cubicBezTo>
                  <a:cubicBezTo>
                    <a:pt x="206" y="60"/>
                    <a:pt x="207" y="57"/>
                    <a:pt x="207" y="57"/>
                  </a:cubicBezTo>
                  <a:cubicBezTo>
                    <a:pt x="207" y="57"/>
                    <a:pt x="208" y="56"/>
                    <a:pt x="211" y="55"/>
                  </a:cubicBezTo>
                  <a:cubicBezTo>
                    <a:pt x="211" y="55"/>
                    <a:pt x="211" y="55"/>
                    <a:pt x="211" y="55"/>
                  </a:cubicBezTo>
                  <a:cubicBezTo>
                    <a:pt x="211" y="55"/>
                    <a:pt x="209" y="54"/>
                    <a:pt x="209" y="54"/>
                  </a:cubicBezTo>
                  <a:cubicBezTo>
                    <a:pt x="209" y="54"/>
                    <a:pt x="209" y="53"/>
                    <a:pt x="210" y="52"/>
                  </a:cubicBezTo>
                  <a:cubicBezTo>
                    <a:pt x="210" y="52"/>
                    <a:pt x="210" y="51"/>
                    <a:pt x="210" y="51"/>
                  </a:cubicBezTo>
                  <a:cubicBezTo>
                    <a:pt x="210" y="51"/>
                    <a:pt x="211" y="49"/>
                    <a:pt x="211" y="49"/>
                  </a:cubicBezTo>
                  <a:cubicBezTo>
                    <a:pt x="211" y="49"/>
                    <a:pt x="211" y="49"/>
                    <a:pt x="211" y="48"/>
                  </a:cubicBezTo>
                  <a:cubicBezTo>
                    <a:pt x="211" y="48"/>
                    <a:pt x="210" y="47"/>
                    <a:pt x="210" y="47"/>
                  </a:cubicBezTo>
                  <a:cubicBezTo>
                    <a:pt x="210" y="47"/>
                    <a:pt x="210" y="47"/>
                    <a:pt x="209" y="47"/>
                  </a:cubicBezTo>
                  <a:cubicBezTo>
                    <a:pt x="209" y="47"/>
                    <a:pt x="209" y="48"/>
                    <a:pt x="209" y="48"/>
                  </a:cubicBezTo>
                  <a:cubicBezTo>
                    <a:pt x="207" y="48"/>
                    <a:pt x="207" y="48"/>
                    <a:pt x="207" y="48"/>
                  </a:cubicBezTo>
                  <a:cubicBezTo>
                    <a:pt x="207" y="48"/>
                    <a:pt x="207" y="47"/>
                    <a:pt x="207" y="47"/>
                  </a:cubicBezTo>
                  <a:cubicBezTo>
                    <a:pt x="206" y="47"/>
                    <a:pt x="205" y="47"/>
                    <a:pt x="206" y="46"/>
                  </a:cubicBezTo>
                  <a:cubicBezTo>
                    <a:pt x="206" y="46"/>
                    <a:pt x="206" y="45"/>
                    <a:pt x="206" y="45"/>
                  </a:cubicBezTo>
                  <a:cubicBezTo>
                    <a:pt x="206" y="45"/>
                    <a:pt x="206" y="45"/>
                    <a:pt x="206" y="44"/>
                  </a:cubicBezTo>
                  <a:cubicBezTo>
                    <a:pt x="206" y="44"/>
                    <a:pt x="207" y="43"/>
                    <a:pt x="208" y="43"/>
                  </a:cubicBezTo>
                  <a:cubicBezTo>
                    <a:pt x="208" y="42"/>
                    <a:pt x="210" y="41"/>
                    <a:pt x="210" y="41"/>
                  </a:cubicBezTo>
                  <a:cubicBezTo>
                    <a:pt x="211" y="39"/>
                    <a:pt x="211" y="39"/>
                    <a:pt x="211" y="39"/>
                  </a:cubicBezTo>
                  <a:cubicBezTo>
                    <a:pt x="210" y="38"/>
                    <a:pt x="210" y="38"/>
                    <a:pt x="210" y="38"/>
                  </a:cubicBezTo>
                  <a:cubicBezTo>
                    <a:pt x="210" y="38"/>
                    <a:pt x="209" y="39"/>
                    <a:pt x="209" y="39"/>
                  </a:cubicBezTo>
                  <a:cubicBezTo>
                    <a:pt x="207" y="38"/>
                    <a:pt x="207" y="38"/>
                    <a:pt x="207" y="38"/>
                  </a:cubicBezTo>
                  <a:cubicBezTo>
                    <a:pt x="205" y="37"/>
                    <a:pt x="205" y="37"/>
                    <a:pt x="205" y="37"/>
                  </a:cubicBezTo>
                  <a:cubicBezTo>
                    <a:pt x="204" y="37"/>
                    <a:pt x="204" y="37"/>
                    <a:pt x="204" y="37"/>
                  </a:cubicBezTo>
                  <a:cubicBezTo>
                    <a:pt x="202" y="36"/>
                    <a:pt x="202" y="36"/>
                    <a:pt x="202" y="36"/>
                  </a:cubicBezTo>
                  <a:cubicBezTo>
                    <a:pt x="202" y="34"/>
                    <a:pt x="202" y="34"/>
                    <a:pt x="202" y="34"/>
                  </a:cubicBezTo>
                  <a:cubicBezTo>
                    <a:pt x="203" y="33"/>
                    <a:pt x="203" y="33"/>
                    <a:pt x="203" y="33"/>
                  </a:cubicBezTo>
                  <a:cubicBezTo>
                    <a:pt x="203" y="33"/>
                    <a:pt x="204" y="31"/>
                    <a:pt x="204" y="31"/>
                  </a:cubicBezTo>
                  <a:cubicBezTo>
                    <a:pt x="205" y="30"/>
                    <a:pt x="207" y="29"/>
                    <a:pt x="207" y="29"/>
                  </a:cubicBezTo>
                  <a:cubicBezTo>
                    <a:pt x="208" y="27"/>
                    <a:pt x="208" y="27"/>
                    <a:pt x="208" y="27"/>
                  </a:cubicBezTo>
                  <a:cubicBezTo>
                    <a:pt x="208" y="27"/>
                    <a:pt x="208" y="27"/>
                    <a:pt x="209" y="27"/>
                  </a:cubicBezTo>
                  <a:cubicBezTo>
                    <a:pt x="210" y="27"/>
                    <a:pt x="210" y="27"/>
                    <a:pt x="210" y="27"/>
                  </a:cubicBezTo>
                  <a:cubicBezTo>
                    <a:pt x="210" y="27"/>
                    <a:pt x="211" y="25"/>
                    <a:pt x="211" y="24"/>
                  </a:cubicBezTo>
                  <a:cubicBezTo>
                    <a:pt x="211" y="22"/>
                    <a:pt x="211" y="22"/>
                    <a:pt x="211" y="22"/>
                  </a:cubicBezTo>
                  <a:cubicBezTo>
                    <a:pt x="206" y="23"/>
                    <a:pt x="206" y="23"/>
                    <a:pt x="206" y="23"/>
                  </a:cubicBezTo>
                  <a:cubicBezTo>
                    <a:pt x="206" y="23"/>
                    <a:pt x="203" y="22"/>
                    <a:pt x="200" y="22"/>
                  </a:cubicBezTo>
                  <a:cubicBezTo>
                    <a:pt x="197" y="22"/>
                    <a:pt x="191" y="21"/>
                    <a:pt x="191" y="21"/>
                  </a:cubicBezTo>
                  <a:cubicBezTo>
                    <a:pt x="183" y="18"/>
                    <a:pt x="183" y="18"/>
                    <a:pt x="183" y="18"/>
                  </a:cubicBezTo>
                  <a:cubicBezTo>
                    <a:pt x="178" y="18"/>
                    <a:pt x="178" y="18"/>
                    <a:pt x="178" y="18"/>
                  </a:cubicBezTo>
                  <a:cubicBezTo>
                    <a:pt x="171" y="17"/>
                    <a:pt x="171" y="17"/>
                    <a:pt x="171" y="17"/>
                  </a:cubicBezTo>
                  <a:cubicBezTo>
                    <a:pt x="171" y="17"/>
                    <a:pt x="170" y="15"/>
                    <a:pt x="169" y="15"/>
                  </a:cubicBezTo>
                  <a:cubicBezTo>
                    <a:pt x="169" y="14"/>
                    <a:pt x="167" y="13"/>
                    <a:pt x="167" y="13"/>
                  </a:cubicBezTo>
                  <a:cubicBezTo>
                    <a:pt x="167" y="10"/>
                    <a:pt x="167" y="10"/>
                    <a:pt x="167" y="10"/>
                  </a:cubicBezTo>
                  <a:cubicBezTo>
                    <a:pt x="164" y="7"/>
                    <a:pt x="164" y="7"/>
                    <a:pt x="164" y="7"/>
                  </a:cubicBezTo>
                  <a:cubicBezTo>
                    <a:pt x="163" y="4"/>
                    <a:pt x="163" y="4"/>
                    <a:pt x="163" y="4"/>
                  </a:cubicBezTo>
                  <a:cubicBezTo>
                    <a:pt x="165" y="2"/>
                    <a:pt x="165" y="2"/>
                    <a:pt x="165" y="2"/>
                  </a:cubicBezTo>
                  <a:cubicBezTo>
                    <a:pt x="163" y="0"/>
                    <a:pt x="163" y="0"/>
                    <a:pt x="163" y="0"/>
                  </a:cubicBezTo>
                  <a:cubicBezTo>
                    <a:pt x="163" y="0"/>
                    <a:pt x="160" y="1"/>
                    <a:pt x="159" y="1"/>
                  </a:cubicBezTo>
                  <a:cubicBezTo>
                    <a:pt x="158" y="2"/>
                    <a:pt x="152" y="3"/>
                    <a:pt x="152" y="3"/>
                  </a:cubicBezTo>
                  <a:cubicBezTo>
                    <a:pt x="151" y="4"/>
                    <a:pt x="151" y="4"/>
                    <a:pt x="151" y="4"/>
                  </a:cubicBezTo>
                  <a:cubicBezTo>
                    <a:pt x="145" y="4"/>
                    <a:pt x="145" y="4"/>
                    <a:pt x="145" y="4"/>
                  </a:cubicBezTo>
                  <a:cubicBezTo>
                    <a:pt x="138" y="4"/>
                    <a:pt x="138" y="4"/>
                    <a:pt x="138" y="4"/>
                  </a:cubicBezTo>
                  <a:cubicBezTo>
                    <a:pt x="136" y="6"/>
                    <a:pt x="136" y="6"/>
                    <a:pt x="136" y="6"/>
                  </a:cubicBezTo>
                  <a:cubicBezTo>
                    <a:pt x="131" y="8"/>
                    <a:pt x="131" y="8"/>
                    <a:pt x="131" y="8"/>
                  </a:cubicBezTo>
                  <a:cubicBezTo>
                    <a:pt x="131" y="12"/>
                    <a:pt x="131" y="12"/>
                    <a:pt x="131" y="12"/>
                  </a:cubicBezTo>
                  <a:cubicBezTo>
                    <a:pt x="128" y="15"/>
                    <a:pt x="128" y="15"/>
                    <a:pt x="128" y="15"/>
                  </a:cubicBezTo>
                  <a:cubicBezTo>
                    <a:pt x="125" y="14"/>
                    <a:pt x="125" y="14"/>
                    <a:pt x="125" y="14"/>
                  </a:cubicBezTo>
                  <a:cubicBezTo>
                    <a:pt x="121" y="12"/>
                    <a:pt x="121" y="12"/>
                    <a:pt x="121" y="12"/>
                  </a:cubicBezTo>
                  <a:cubicBezTo>
                    <a:pt x="119" y="13"/>
                    <a:pt x="119" y="13"/>
                    <a:pt x="119" y="13"/>
                  </a:cubicBezTo>
                  <a:cubicBezTo>
                    <a:pt x="115" y="12"/>
                    <a:pt x="115" y="12"/>
                    <a:pt x="115" y="12"/>
                  </a:cubicBezTo>
                  <a:cubicBezTo>
                    <a:pt x="114" y="12"/>
                    <a:pt x="114" y="12"/>
                    <a:pt x="114" y="12"/>
                  </a:cubicBezTo>
                  <a:cubicBezTo>
                    <a:pt x="114" y="12"/>
                    <a:pt x="114" y="12"/>
                    <a:pt x="114" y="12"/>
                  </a:cubicBezTo>
                  <a:cubicBezTo>
                    <a:pt x="114" y="13"/>
                    <a:pt x="113" y="14"/>
                    <a:pt x="113" y="14"/>
                  </a:cubicBezTo>
                  <a:cubicBezTo>
                    <a:pt x="113" y="15"/>
                    <a:pt x="113" y="15"/>
                    <a:pt x="113" y="15"/>
                  </a:cubicBezTo>
                  <a:cubicBezTo>
                    <a:pt x="113" y="16"/>
                    <a:pt x="113" y="16"/>
                    <a:pt x="113" y="16"/>
                  </a:cubicBezTo>
                  <a:cubicBezTo>
                    <a:pt x="113" y="17"/>
                    <a:pt x="113" y="17"/>
                    <a:pt x="113" y="17"/>
                  </a:cubicBezTo>
                  <a:cubicBezTo>
                    <a:pt x="113" y="17"/>
                    <a:pt x="112" y="18"/>
                    <a:pt x="112" y="18"/>
                  </a:cubicBezTo>
                  <a:cubicBezTo>
                    <a:pt x="111" y="19"/>
                    <a:pt x="112" y="20"/>
                    <a:pt x="112" y="20"/>
                  </a:cubicBezTo>
                  <a:cubicBezTo>
                    <a:pt x="112" y="20"/>
                    <a:pt x="113" y="21"/>
                    <a:pt x="115" y="22"/>
                  </a:cubicBezTo>
                  <a:cubicBezTo>
                    <a:pt x="116" y="22"/>
                    <a:pt x="115" y="22"/>
                    <a:pt x="115" y="22"/>
                  </a:cubicBezTo>
                  <a:cubicBezTo>
                    <a:pt x="115" y="23"/>
                    <a:pt x="115" y="23"/>
                    <a:pt x="115" y="24"/>
                  </a:cubicBezTo>
                  <a:cubicBezTo>
                    <a:pt x="114" y="24"/>
                    <a:pt x="114" y="24"/>
                    <a:pt x="114" y="24"/>
                  </a:cubicBezTo>
                  <a:cubicBezTo>
                    <a:pt x="113" y="24"/>
                    <a:pt x="113" y="24"/>
                    <a:pt x="113" y="24"/>
                  </a:cubicBezTo>
                  <a:cubicBezTo>
                    <a:pt x="113" y="24"/>
                    <a:pt x="111" y="25"/>
                    <a:pt x="111" y="25"/>
                  </a:cubicBezTo>
                  <a:cubicBezTo>
                    <a:pt x="111" y="25"/>
                    <a:pt x="111" y="25"/>
                    <a:pt x="111" y="24"/>
                  </a:cubicBezTo>
                  <a:cubicBezTo>
                    <a:pt x="110" y="24"/>
                    <a:pt x="110" y="24"/>
                    <a:pt x="110" y="24"/>
                  </a:cubicBezTo>
                  <a:cubicBezTo>
                    <a:pt x="110" y="24"/>
                    <a:pt x="108" y="23"/>
                    <a:pt x="108" y="23"/>
                  </a:cubicBezTo>
                  <a:cubicBezTo>
                    <a:pt x="108" y="22"/>
                    <a:pt x="108" y="22"/>
                    <a:pt x="108" y="22"/>
                  </a:cubicBezTo>
                  <a:cubicBezTo>
                    <a:pt x="108" y="22"/>
                    <a:pt x="107" y="21"/>
                    <a:pt x="107" y="21"/>
                  </a:cubicBezTo>
                  <a:cubicBezTo>
                    <a:pt x="106" y="22"/>
                    <a:pt x="106" y="22"/>
                    <a:pt x="106" y="22"/>
                  </a:cubicBezTo>
                  <a:cubicBezTo>
                    <a:pt x="105" y="22"/>
                    <a:pt x="105" y="22"/>
                    <a:pt x="104" y="22"/>
                  </a:cubicBezTo>
                  <a:cubicBezTo>
                    <a:pt x="104" y="22"/>
                    <a:pt x="104" y="23"/>
                    <a:pt x="103" y="23"/>
                  </a:cubicBezTo>
                  <a:cubicBezTo>
                    <a:pt x="103" y="23"/>
                    <a:pt x="103" y="24"/>
                    <a:pt x="103" y="24"/>
                  </a:cubicBezTo>
                  <a:cubicBezTo>
                    <a:pt x="102" y="24"/>
                    <a:pt x="102" y="25"/>
                    <a:pt x="102" y="25"/>
                  </a:cubicBezTo>
                  <a:cubicBezTo>
                    <a:pt x="102" y="26"/>
                    <a:pt x="102" y="26"/>
                    <a:pt x="102" y="26"/>
                  </a:cubicBezTo>
                  <a:cubicBezTo>
                    <a:pt x="102" y="27"/>
                    <a:pt x="102" y="27"/>
                    <a:pt x="102" y="27"/>
                  </a:cubicBezTo>
                  <a:cubicBezTo>
                    <a:pt x="102" y="28"/>
                    <a:pt x="102" y="28"/>
                    <a:pt x="102" y="28"/>
                  </a:cubicBezTo>
                  <a:cubicBezTo>
                    <a:pt x="102" y="28"/>
                    <a:pt x="102" y="29"/>
                    <a:pt x="102" y="29"/>
                  </a:cubicBezTo>
                  <a:cubicBezTo>
                    <a:pt x="102" y="30"/>
                    <a:pt x="102" y="30"/>
                    <a:pt x="102" y="30"/>
                  </a:cubicBezTo>
                  <a:cubicBezTo>
                    <a:pt x="103" y="30"/>
                    <a:pt x="104" y="30"/>
                    <a:pt x="104" y="30"/>
                  </a:cubicBezTo>
                  <a:cubicBezTo>
                    <a:pt x="104" y="30"/>
                    <a:pt x="104" y="31"/>
                    <a:pt x="105" y="31"/>
                  </a:cubicBezTo>
                  <a:cubicBezTo>
                    <a:pt x="105" y="32"/>
                    <a:pt x="105" y="32"/>
                    <a:pt x="105" y="32"/>
                  </a:cubicBezTo>
                  <a:cubicBezTo>
                    <a:pt x="105" y="32"/>
                    <a:pt x="104" y="33"/>
                    <a:pt x="104" y="33"/>
                  </a:cubicBezTo>
                  <a:cubicBezTo>
                    <a:pt x="103" y="33"/>
                    <a:pt x="103" y="33"/>
                    <a:pt x="104" y="34"/>
                  </a:cubicBezTo>
                  <a:cubicBezTo>
                    <a:pt x="104" y="35"/>
                    <a:pt x="104" y="35"/>
                    <a:pt x="105" y="35"/>
                  </a:cubicBezTo>
                  <a:cubicBezTo>
                    <a:pt x="105" y="35"/>
                    <a:pt x="106" y="37"/>
                    <a:pt x="106" y="38"/>
                  </a:cubicBezTo>
                  <a:cubicBezTo>
                    <a:pt x="106" y="38"/>
                    <a:pt x="105" y="39"/>
                    <a:pt x="105" y="39"/>
                  </a:cubicBezTo>
                  <a:cubicBezTo>
                    <a:pt x="105" y="39"/>
                    <a:pt x="105" y="39"/>
                    <a:pt x="104" y="39"/>
                  </a:cubicBezTo>
                  <a:cubicBezTo>
                    <a:pt x="104" y="39"/>
                    <a:pt x="104" y="39"/>
                    <a:pt x="104" y="39"/>
                  </a:cubicBezTo>
                  <a:cubicBezTo>
                    <a:pt x="103" y="40"/>
                    <a:pt x="102" y="39"/>
                    <a:pt x="102" y="39"/>
                  </a:cubicBezTo>
                  <a:cubicBezTo>
                    <a:pt x="102" y="39"/>
                    <a:pt x="103" y="38"/>
                    <a:pt x="103" y="38"/>
                  </a:cubicBezTo>
                  <a:cubicBezTo>
                    <a:pt x="102" y="37"/>
                    <a:pt x="101" y="37"/>
                    <a:pt x="101" y="36"/>
                  </a:cubicBezTo>
                  <a:cubicBezTo>
                    <a:pt x="100" y="35"/>
                    <a:pt x="101" y="35"/>
                    <a:pt x="101" y="35"/>
                  </a:cubicBezTo>
                  <a:cubicBezTo>
                    <a:pt x="101" y="35"/>
                    <a:pt x="101" y="35"/>
                    <a:pt x="100" y="34"/>
                  </a:cubicBezTo>
                  <a:cubicBezTo>
                    <a:pt x="99" y="33"/>
                    <a:pt x="99" y="33"/>
                    <a:pt x="99" y="33"/>
                  </a:cubicBezTo>
                  <a:cubicBezTo>
                    <a:pt x="99" y="33"/>
                    <a:pt x="98" y="33"/>
                    <a:pt x="97" y="33"/>
                  </a:cubicBezTo>
                  <a:cubicBezTo>
                    <a:pt x="96" y="33"/>
                    <a:pt x="96" y="33"/>
                    <a:pt x="96" y="33"/>
                  </a:cubicBezTo>
                  <a:cubicBezTo>
                    <a:pt x="95" y="34"/>
                    <a:pt x="95" y="34"/>
                    <a:pt x="95" y="34"/>
                  </a:cubicBezTo>
                  <a:cubicBezTo>
                    <a:pt x="95" y="34"/>
                    <a:pt x="94" y="34"/>
                    <a:pt x="94" y="34"/>
                  </a:cubicBezTo>
                  <a:cubicBezTo>
                    <a:pt x="93" y="35"/>
                    <a:pt x="93" y="34"/>
                    <a:pt x="93" y="34"/>
                  </a:cubicBezTo>
                  <a:cubicBezTo>
                    <a:pt x="92" y="34"/>
                    <a:pt x="92" y="34"/>
                    <a:pt x="92" y="34"/>
                  </a:cubicBezTo>
                  <a:cubicBezTo>
                    <a:pt x="91" y="34"/>
                    <a:pt x="91" y="35"/>
                    <a:pt x="92" y="36"/>
                  </a:cubicBezTo>
                  <a:cubicBezTo>
                    <a:pt x="92" y="36"/>
                    <a:pt x="91" y="36"/>
                    <a:pt x="91" y="37"/>
                  </a:cubicBezTo>
                  <a:cubicBezTo>
                    <a:pt x="91" y="37"/>
                    <a:pt x="90" y="37"/>
                    <a:pt x="88" y="37"/>
                  </a:cubicBezTo>
                  <a:cubicBezTo>
                    <a:pt x="86" y="36"/>
                    <a:pt x="87" y="36"/>
                    <a:pt x="86" y="36"/>
                  </a:cubicBezTo>
                  <a:cubicBezTo>
                    <a:pt x="86" y="35"/>
                    <a:pt x="85" y="35"/>
                    <a:pt x="85" y="34"/>
                  </a:cubicBezTo>
                  <a:cubicBezTo>
                    <a:pt x="85" y="33"/>
                    <a:pt x="85" y="32"/>
                    <a:pt x="84" y="32"/>
                  </a:cubicBezTo>
                  <a:cubicBezTo>
                    <a:pt x="84" y="31"/>
                    <a:pt x="84" y="30"/>
                    <a:pt x="83" y="30"/>
                  </a:cubicBezTo>
                  <a:cubicBezTo>
                    <a:pt x="83" y="29"/>
                    <a:pt x="84" y="29"/>
                    <a:pt x="84" y="28"/>
                  </a:cubicBezTo>
                  <a:cubicBezTo>
                    <a:pt x="85" y="28"/>
                    <a:pt x="83" y="27"/>
                    <a:pt x="83" y="27"/>
                  </a:cubicBezTo>
                  <a:cubicBezTo>
                    <a:pt x="82" y="28"/>
                    <a:pt x="82" y="28"/>
                    <a:pt x="82" y="28"/>
                  </a:cubicBezTo>
                  <a:cubicBezTo>
                    <a:pt x="81" y="28"/>
                    <a:pt x="81" y="28"/>
                    <a:pt x="81" y="28"/>
                  </a:cubicBezTo>
                  <a:cubicBezTo>
                    <a:pt x="81" y="28"/>
                    <a:pt x="80" y="28"/>
                    <a:pt x="80" y="27"/>
                  </a:cubicBezTo>
                  <a:cubicBezTo>
                    <a:pt x="80" y="27"/>
                    <a:pt x="79" y="27"/>
                    <a:pt x="79" y="27"/>
                  </a:cubicBezTo>
                  <a:cubicBezTo>
                    <a:pt x="78" y="29"/>
                    <a:pt x="78" y="29"/>
                    <a:pt x="78" y="29"/>
                  </a:cubicBezTo>
                  <a:cubicBezTo>
                    <a:pt x="78" y="30"/>
                    <a:pt x="78" y="30"/>
                    <a:pt x="78" y="30"/>
                  </a:cubicBezTo>
                  <a:cubicBezTo>
                    <a:pt x="78" y="31"/>
                    <a:pt x="78" y="31"/>
                    <a:pt x="78" y="31"/>
                  </a:cubicBezTo>
                  <a:cubicBezTo>
                    <a:pt x="78" y="33"/>
                    <a:pt x="78" y="33"/>
                    <a:pt x="78" y="33"/>
                  </a:cubicBezTo>
                  <a:cubicBezTo>
                    <a:pt x="78" y="33"/>
                    <a:pt x="78" y="34"/>
                    <a:pt x="78" y="34"/>
                  </a:cubicBezTo>
                  <a:cubicBezTo>
                    <a:pt x="78" y="35"/>
                    <a:pt x="78" y="36"/>
                    <a:pt x="78" y="36"/>
                  </a:cubicBezTo>
                  <a:cubicBezTo>
                    <a:pt x="78" y="37"/>
                    <a:pt x="78" y="37"/>
                    <a:pt x="78" y="37"/>
                  </a:cubicBezTo>
                  <a:cubicBezTo>
                    <a:pt x="78" y="37"/>
                    <a:pt x="77" y="38"/>
                    <a:pt x="77" y="38"/>
                  </a:cubicBezTo>
                  <a:cubicBezTo>
                    <a:pt x="77" y="38"/>
                    <a:pt x="77" y="39"/>
                    <a:pt x="77" y="40"/>
                  </a:cubicBezTo>
                  <a:cubicBezTo>
                    <a:pt x="77" y="40"/>
                    <a:pt x="76" y="41"/>
                    <a:pt x="76" y="41"/>
                  </a:cubicBezTo>
                  <a:cubicBezTo>
                    <a:pt x="76" y="41"/>
                    <a:pt x="76" y="42"/>
                    <a:pt x="76" y="42"/>
                  </a:cubicBezTo>
                  <a:cubicBezTo>
                    <a:pt x="76" y="42"/>
                    <a:pt x="74" y="42"/>
                    <a:pt x="74" y="42"/>
                  </a:cubicBezTo>
                  <a:cubicBezTo>
                    <a:pt x="74" y="42"/>
                    <a:pt x="73" y="44"/>
                    <a:pt x="73" y="44"/>
                  </a:cubicBezTo>
                  <a:cubicBezTo>
                    <a:pt x="72" y="44"/>
                    <a:pt x="73" y="45"/>
                    <a:pt x="73" y="46"/>
                  </a:cubicBezTo>
                  <a:cubicBezTo>
                    <a:pt x="73" y="46"/>
                    <a:pt x="72" y="47"/>
                    <a:pt x="72" y="47"/>
                  </a:cubicBezTo>
                  <a:cubicBezTo>
                    <a:pt x="71" y="48"/>
                    <a:pt x="71" y="48"/>
                    <a:pt x="71" y="48"/>
                  </a:cubicBezTo>
                  <a:cubicBezTo>
                    <a:pt x="71" y="48"/>
                    <a:pt x="71" y="49"/>
                    <a:pt x="71" y="49"/>
                  </a:cubicBezTo>
                  <a:cubicBezTo>
                    <a:pt x="71" y="50"/>
                    <a:pt x="71" y="50"/>
                    <a:pt x="71" y="50"/>
                  </a:cubicBezTo>
                  <a:cubicBezTo>
                    <a:pt x="70" y="51"/>
                    <a:pt x="71" y="51"/>
                    <a:pt x="70" y="52"/>
                  </a:cubicBezTo>
                  <a:cubicBezTo>
                    <a:pt x="70" y="52"/>
                    <a:pt x="71" y="52"/>
                    <a:pt x="71" y="53"/>
                  </a:cubicBezTo>
                  <a:cubicBezTo>
                    <a:pt x="71" y="53"/>
                    <a:pt x="73" y="54"/>
                    <a:pt x="73" y="54"/>
                  </a:cubicBezTo>
                  <a:cubicBezTo>
                    <a:pt x="73" y="54"/>
                    <a:pt x="73" y="54"/>
                    <a:pt x="72" y="55"/>
                  </a:cubicBezTo>
                  <a:cubicBezTo>
                    <a:pt x="71" y="56"/>
                    <a:pt x="72" y="57"/>
                    <a:pt x="72" y="57"/>
                  </a:cubicBezTo>
                  <a:cubicBezTo>
                    <a:pt x="71" y="58"/>
                    <a:pt x="71" y="58"/>
                    <a:pt x="71" y="58"/>
                  </a:cubicBezTo>
                  <a:cubicBezTo>
                    <a:pt x="71" y="58"/>
                    <a:pt x="70" y="57"/>
                    <a:pt x="69" y="57"/>
                  </a:cubicBezTo>
                  <a:cubicBezTo>
                    <a:pt x="69" y="57"/>
                    <a:pt x="69" y="58"/>
                    <a:pt x="68" y="57"/>
                  </a:cubicBezTo>
                  <a:cubicBezTo>
                    <a:pt x="66" y="57"/>
                    <a:pt x="68" y="56"/>
                    <a:pt x="68" y="56"/>
                  </a:cubicBezTo>
                  <a:cubicBezTo>
                    <a:pt x="68" y="56"/>
                    <a:pt x="68" y="55"/>
                    <a:pt x="68" y="54"/>
                  </a:cubicBezTo>
                  <a:cubicBezTo>
                    <a:pt x="68" y="54"/>
                    <a:pt x="68" y="54"/>
                    <a:pt x="68" y="54"/>
                  </a:cubicBezTo>
                  <a:cubicBezTo>
                    <a:pt x="68" y="54"/>
                    <a:pt x="67" y="53"/>
                    <a:pt x="67" y="52"/>
                  </a:cubicBezTo>
                  <a:cubicBezTo>
                    <a:pt x="67" y="51"/>
                    <a:pt x="66" y="52"/>
                    <a:pt x="66" y="52"/>
                  </a:cubicBezTo>
                  <a:cubicBezTo>
                    <a:pt x="64" y="50"/>
                    <a:pt x="64" y="50"/>
                    <a:pt x="64" y="50"/>
                  </a:cubicBezTo>
                  <a:cubicBezTo>
                    <a:pt x="64" y="50"/>
                    <a:pt x="65" y="48"/>
                    <a:pt x="65" y="48"/>
                  </a:cubicBezTo>
                  <a:cubicBezTo>
                    <a:pt x="65" y="48"/>
                    <a:pt x="65" y="48"/>
                    <a:pt x="65" y="48"/>
                  </a:cubicBezTo>
                  <a:cubicBezTo>
                    <a:pt x="65" y="48"/>
                    <a:pt x="65" y="47"/>
                    <a:pt x="66" y="47"/>
                  </a:cubicBezTo>
                  <a:cubicBezTo>
                    <a:pt x="66" y="46"/>
                    <a:pt x="65" y="46"/>
                    <a:pt x="65" y="46"/>
                  </a:cubicBezTo>
                  <a:cubicBezTo>
                    <a:pt x="64" y="46"/>
                    <a:pt x="64" y="46"/>
                    <a:pt x="64" y="46"/>
                  </a:cubicBezTo>
                  <a:cubicBezTo>
                    <a:pt x="63" y="45"/>
                    <a:pt x="63" y="45"/>
                    <a:pt x="63" y="45"/>
                  </a:cubicBezTo>
                  <a:cubicBezTo>
                    <a:pt x="63" y="45"/>
                    <a:pt x="62" y="46"/>
                    <a:pt x="62" y="46"/>
                  </a:cubicBezTo>
                  <a:cubicBezTo>
                    <a:pt x="61" y="46"/>
                    <a:pt x="60" y="45"/>
                    <a:pt x="60" y="45"/>
                  </a:cubicBezTo>
                  <a:cubicBezTo>
                    <a:pt x="60" y="44"/>
                    <a:pt x="59" y="45"/>
                    <a:pt x="58" y="44"/>
                  </a:cubicBezTo>
                  <a:cubicBezTo>
                    <a:pt x="58" y="44"/>
                    <a:pt x="57" y="44"/>
                    <a:pt x="57" y="44"/>
                  </a:cubicBezTo>
                  <a:cubicBezTo>
                    <a:pt x="57" y="44"/>
                    <a:pt x="56" y="43"/>
                    <a:pt x="56" y="43"/>
                  </a:cubicBezTo>
                  <a:cubicBezTo>
                    <a:pt x="56" y="42"/>
                    <a:pt x="55" y="41"/>
                    <a:pt x="55" y="41"/>
                  </a:cubicBezTo>
                  <a:cubicBezTo>
                    <a:pt x="54" y="41"/>
                    <a:pt x="54" y="41"/>
                    <a:pt x="54" y="41"/>
                  </a:cubicBezTo>
                  <a:cubicBezTo>
                    <a:pt x="54" y="41"/>
                    <a:pt x="53" y="40"/>
                    <a:pt x="52" y="40"/>
                  </a:cubicBezTo>
                  <a:cubicBezTo>
                    <a:pt x="52" y="40"/>
                    <a:pt x="53" y="39"/>
                    <a:pt x="53" y="39"/>
                  </a:cubicBezTo>
                  <a:cubicBezTo>
                    <a:pt x="52" y="38"/>
                    <a:pt x="52" y="38"/>
                    <a:pt x="52" y="38"/>
                  </a:cubicBezTo>
                  <a:cubicBezTo>
                    <a:pt x="52" y="38"/>
                    <a:pt x="52" y="37"/>
                    <a:pt x="52" y="37"/>
                  </a:cubicBezTo>
                  <a:cubicBezTo>
                    <a:pt x="52" y="36"/>
                    <a:pt x="52" y="35"/>
                    <a:pt x="52" y="35"/>
                  </a:cubicBezTo>
                  <a:cubicBezTo>
                    <a:pt x="52" y="35"/>
                    <a:pt x="52" y="33"/>
                    <a:pt x="52" y="33"/>
                  </a:cubicBezTo>
                  <a:cubicBezTo>
                    <a:pt x="52" y="32"/>
                    <a:pt x="52" y="30"/>
                    <a:pt x="52" y="30"/>
                  </a:cubicBezTo>
                  <a:cubicBezTo>
                    <a:pt x="52" y="30"/>
                    <a:pt x="49" y="31"/>
                    <a:pt x="48" y="31"/>
                  </a:cubicBezTo>
                  <a:cubicBezTo>
                    <a:pt x="47" y="32"/>
                    <a:pt x="48" y="32"/>
                    <a:pt x="48" y="32"/>
                  </a:cubicBezTo>
                  <a:cubicBezTo>
                    <a:pt x="48" y="32"/>
                    <a:pt x="48" y="34"/>
                    <a:pt x="47" y="34"/>
                  </a:cubicBezTo>
                  <a:cubicBezTo>
                    <a:pt x="47" y="34"/>
                    <a:pt x="46" y="34"/>
                    <a:pt x="46" y="34"/>
                  </a:cubicBezTo>
                  <a:cubicBezTo>
                    <a:pt x="46" y="34"/>
                    <a:pt x="45" y="35"/>
                    <a:pt x="45" y="36"/>
                  </a:cubicBezTo>
                  <a:cubicBezTo>
                    <a:pt x="44" y="36"/>
                    <a:pt x="44" y="36"/>
                    <a:pt x="43" y="37"/>
                  </a:cubicBezTo>
                  <a:cubicBezTo>
                    <a:pt x="43" y="37"/>
                    <a:pt x="42" y="37"/>
                    <a:pt x="42" y="37"/>
                  </a:cubicBezTo>
                  <a:cubicBezTo>
                    <a:pt x="41" y="38"/>
                    <a:pt x="41" y="38"/>
                    <a:pt x="41" y="38"/>
                  </a:cubicBezTo>
                  <a:cubicBezTo>
                    <a:pt x="42" y="39"/>
                    <a:pt x="42" y="39"/>
                    <a:pt x="42" y="39"/>
                  </a:cubicBezTo>
                  <a:cubicBezTo>
                    <a:pt x="43" y="41"/>
                    <a:pt x="43" y="41"/>
                    <a:pt x="43" y="41"/>
                  </a:cubicBezTo>
                  <a:cubicBezTo>
                    <a:pt x="42" y="43"/>
                    <a:pt x="42" y="43"/>
                    <a:pt x="42" y="43"/>
                  </a:cubicBezTo>
                  <a:cubicBezTo>
                    <a:pt x="42" y="43"/>
                    <a:pt x="42" y="43"/>
                    <a:pt x="42" y="44"/>
                  </a:cubicBezTo>
                  <a:cubicBezTo>
                    <a:pt x="41" y="45"/>
                    <a:pt x="41" y="45"/>
                    <a:pt x="41" y="45"/>
                  </a:cubicBezTo>
                  <a:cubicBezTo>
                    <a:pt x="40" y="46"/>
                    <a:pt x="40" y="46"/>
                    <a:pt x="40" y="46"/>
                  </a:cubicBezTo>
                  <a:cubicBezTo>
                    <a:pt x="39" y="47"/>
                    <a:pt x="39" y="47"/>
                    <a:pt x="39" y="47"/>
                  </a:cubicBezTo>
                  <a:cubicBezTo>
                    <a:pt x="39" y="47"/>
                    <a:pt x="39" y="48"/>
                    <a:pt x="39" y="48"/>
                  </a:cubicBezTo>
                  <a:cubicBezTo>
                    <a:pt x="39" y="49"/>
                    <a:pt x="39" y="49"/>
                    <a:pt x="39" y="50"/>
                  </a:cubicBezTo>
                  <a:cubicBezTo>
                    <a:pt x="38" y="51"/>
                    <a:pt x="38" y="51"/>
                    <a:pt x="38" y="51"/>
                  </a:cubicBezTo>
                  <a:cubicBezTo>
                    <a:pt x="38" y="51"/>
                    <a:pt x="37" y="51"/>
                    <a:pt x="36" y="51"/>
                  </a:cubicBezTo>
                  <a:cubicBezTo>
                    <a:pt x="36" y="51"/>
                    <a:pt x="36" y="52"/>
                    <a:pt x="35" y="52"/>
                  </a:cubicBezTo>
                  <a:cubicBezTo>
                    <a:pt x="33" y="52"/>
                    <a:pt x="34" y="53"/>
                    <a:pt x="34" y="53"/>
                  </a:cubicBezTo>
                  <a:cubicBezTo>
                    <a:pt x="34" y="53"/>
                    <a:pt x="34" y="54"/>
                    <a:pt x="34" y="54"/>
                  </a:cubicBezTo>
                  <a:cubicBezTo>
                    <a:pt x="33" y="54"/>
                    <a:pt x="32" y="54"/>
                    <a:pt x="31" y="53"/>
                  </a:cubicBezTo>
                  <a:cubicBezTo>
                    <a:pt x="31" y="53"/>
                    <a:pt x="31" y="53"/>
                    <a:pt x="30" y="54"/>
                  </a:cubicBezTo>
                  <a:cubicBezTo>
                    <a:pt x="30" y="54"/>
                    <a:pt x="29" y="53"/>
                    <a:pt x="29" y="53"/>
                  </a:cubicBezTo>
                  <a:cubicBezTo>
                    <a:pt x="29" y="53"/>
                    <a:pt x="29" y="52"/>
                    <a:pt x="28" y="52"/>
                  </a:cubicBezTo>
                  <a:cubicBezTo>
                    <a:pt x="28" y="51"/>
                    <a:pt x="27" y="52"/>
                    <a:pt x="27" y="51"/>
                  </a:cubicBezTo>
                  <a:cubicBezTo>
                    <a:pt x="26" y="51"/>
                    <a:pt x="25" y="51"/>
                    <a:pt x="24" y="51"/>
                  </a:cubicBezTo>
                  <a:cubicBezTo>
                    <a:pt x="24" y="51"/>
                    <a:pt x="24" y="52"/>
                    <a:pt x="24" y="52"/>
                  </a:cubicBezTo>
                  <a:cubicBezTo>
                    <a:pt x="24" y="52"/>
                    <a:pt x="23" y="52"/>
                    <a:pt x="23" y="52"/>
                  </a:cubicBezTo>
                  <a:cubicBezTo>
                    <a:pt x="22" y="52"/>
                    <a:pt x="22" y="53"/>
                    <a:pt x="22" y="53"/>
                  </a:cubicBezTo>
                  <a:cubicBezTo>
                    <a:pt x="22" y="54"/>
                    <a:pt x="22" y="54"/>
                    <a:pt x="22" y="54"/>
                  </a:cubicBezTo>
                  <a:cubicBezTo>
                    <a:pt x="22" y="54"/>
                    <a:pt x="19" y="54"/>
                    <a:pt x="19" y="54"/>
                  </a:cubicBezTo>
                  <a:cubicBezTo>
                    <a:pt x="18" y="54"/>
                    <a:pt x="17" y="54"/>
                    <a:pt x="16" y="54"/>
                  </a:cubicBezTo>
                  <a:cubicBezTo>
                    <a:pt x="16" y="54"/>
                    <a:pt x="15" y="54"/>
                    <a:pt x="15" y="54"/>
                  </a:cubicBezTo>
                  <a:cubicBezTo>
                    <a:pt x="15" y="54"/>
                    <a:pt x="13" y="55"/>
                    <a:pt x="13" y="55"/>
                  </a:cubicBezTo>
                  <a:cubicBezTo>
                    <a:pt x="13" y="55"/>
                    <a:pt x="12" y="56"/>
                    <a:pt x="11" y="56"/>
                  </a:cubicBezTo>
                  <a:cubicBezTo>
                    <a:pt x="11" y="56"/>
                    <a:pt x="10" y="55"/>
                    <a:pt x="10" y="55"/>
                  </a:cubicBezTo>
                  <a:cubicBezTo>
                    <a:pt x="10" y="55"/>
                    <a:pt x="10" y="55"/>
                    <a:pt x="10" y="55"/>
                  </a:cubicBezTo>
                  <a:cubicBezTo>
                    <a:pt x="7" y="57"/>
                    <a:pt x="7" y="57"/>
                    <a:pt x="7" y="57"/>
                  </a:cubicBezTo>
                  <a:cubicBezTo>
                    <a:pt x="4" y="59"/>
                    <a:pt x="4" y="59"/>
                    <a:pt x="4" y="59"/>
                  </a:cubicBezTo>
                  <a:cubicBezTo>
                    <a:pt x="4" y="61"/>
                    <a:pt x="4" y="61"/>
                    <a:pt x="4" y="61"/>
                  </a:cubicBezTo>
                  <a:cubicBezTo>
                    <a:pt x="5" y="61"/>
                    <a:pt x="5" y="62"/>
                    <a:pt x="6" y="63"/>
                  </a:cubicBezTo>
                  <a:cubicBezTo>
                    <a:pt x="7" y="64"/>
                    <a:pt x="8" y="65"/>
                    <a:pt x="12" y="67"/>
                  </a:cubicBezTo>
                  <a:cubicBezTo>
                    <a:pt x="13" y="67"/>
                    <a:pt x="16" y="71"/>
                    <a:pt x="15" y="73"/>
                  </a:cubicBezTo>
                  <a:cubicBezTo>
                    <a:pt x="15" y="73"/>
                    <a:pt x="14" y="81"/>
                    <a:pt x="12" y="83"/>
                  </a:cubicBezTo>
                  <a:cubicBezTo>
                    <a:pt x="12" y="83"/>
                    <a:pt x="11" y="84"/>
                    <a:pt x="9" y="86"/>
                  </a:cubicBezTo>
                  <a:cubicBezTo>
                    <a:pt x="9" y="87"/>
                    <a:pt x="9" y="87"/>
                    <a:pt x="9" y="87"/>
                  </a:cubicBezTo>
                  <a:cubicBezTo>
                    <a:pt x="5" y="90"/>
                    <a:pt x="4" y="90"/>
                    <a:pt x="3" y="90"/>
                  </a:cubicBezTo>
                  <a:cubicBezTo>
                    <a:pt x="3" y="90"/>
                    <a:pt x="2" y="91"/>
                    <a:pt x="2" y="91"/>
                  </a:cubicBezTo>
                  <a:cubicBezTo>
                    <a:pt x="1" y="91"/>
                    <a:pt x="0" y="91"/>
                    <a:pt x="0" y="91"/>
                  </a:cubicBezTo>
                  <a:cubicBezTo>
                    <a:pt x="0" y="92"/>
                    <a:pt x="1" y="94"/>
                    <a:pt x="1" y="94"/>
                  </a:cubicBezTo>
                  <a:cubicBezTo>
                    <a:pt x="5" y="95"/>
                    <a:pt x="5" y="95"/>
                    <a:pt x="5" y="95"/>
                  </a:cubicBezTo>
                  <a:cubicBezTo>
                    <a:pt x="9" y="99"/>
                    <a:pt x="9" y="99"/>
                    <a:pt x="9" y="99"/>
                  </a:cubicBezTo>
                  <a:cubicBezTo>
                    <a:pt x="10" y="109"/>
                    <a:pt x="10" y="109"/>
                    <a:pt x="10" y="109"/>
                  </a:cubicBezTo>
                  <a:cubicBezTo>
                    <a:pt x="6" y="114"/>
                    <a:pt x="6" y="114"/>
                    <a:pt x="6" y="114"/>
                  </a:cubicBezTo>
                  <a:cubicBezTo>
                    <a:pt x="5" y="115"/>
                    <a:pt x="5" y="115"/>
                    <a:pt x="5" y="116"/>
                  </a:cubicBezTo>
                  <a:cubicBezTo>
                    <a:pt x="5" y="116"/>
                    <a:pt x="5" y="117"/>
                    <a:pt x="5" y="118"/>
                  </a:cubicBezTo>
                  <a:cubicBezTo>
                    <a:pt x="7" y="118"/>
                    <a:pt x="7" y="118"/>
                    <a:pt x="7" y="118"/>
                  </a:cubicBezTo>
                  <a:cubicBezTo>
                    <a:pt x="11" y="124"/>
                    <a:pt x="11" y="124"/>
                    <a:pt x="11" y="124"/>
                  </a:cubicBezTo>
                  <a:cubicBezTo>
                    <a:pt x="18" y="127"/>
                    <a:pt x="18" y="127"/>
                    <a:pt x="18" y="127"/>
                  </a:cubicBezTo>
                  <a:cubicBezTo>
                    <a:pt x="26" y="127"/>
                    <a:pt x="26" y="127"/>
                    <a:pt x="26" y="127"/>
                  </a:cubicBezTo>
                  <a:cubicBezTo>
                    <a:pt x="31" y="131"/>
                    <a:pt x="31" y="131"/>
                    <a:pt x="31" y="131"/>
                  </a:cubicBezTo>
                  <a:cubicBezTo>
                    <a:pt x="28" y="142"/>
                    <a:pt x="28" y="142"/>
                    <a:pt x="28" y="142"/>
                  </a:cubicBezTo>
                  <a:cubicBezTo>
                    <a:pt x="23" y="146"/>
                    <a:pt x="23" y="146"/>
                    <a:pt x="23" y="146"/>
                  </a:cubicBezTo>
                  <a:cubicBezTo>
                    <a:pt x="23" y="146"/>
                    <a:pt x="23" y="146"/>
                    <a:pt x="23" y="146"/>
                  </a:cubicBezTo>
                  <a:cubicBezTo>
                    <a:pt x="25" y="147"/>
                    <a:pt x="25" y="148"/>
                    <a:pt x="27" y="147"/>
                  </a:cubicBezTo>
                  <a:cubicBezTo>
                    <a:pt x="30" y="147"/>
                    <a:pt x="33" y="146"/>
                    <a:pt x="34" y="145"/>
                  </a:cubicBezTo>
                  <a:cubicBezTo>
                    <a:pt x="34" y="144"/>
                    <a:pt x="37" y="142"/>
                    <a:pt x="37" y="141"/>
                  </a:cubicBezTo>
                  <a:cubicBezTo>
                    <a:pt x="38" y="140"/>
                    <a:pt x="43" y="135"/>
                    <a:pt x="43" y="135"/>
                  </a:cubicBezTo>
                  <a:cubicBezTo>
                    <a:pt x="44" y="135"/>
                    <a:pt x="49" y="128"/>
                    <a:pt x="49" y="127"/>
                  </a:cubicBezTo>
                  <a:cubicBezTo>
                    <a:pt x="50" y="127"/>
                    <a:pt x="57" y="121"/>
                    <a:pt x="57" y="121"/>
                  </a:cubicBezTo>
                  <a:cubicBezTo>
                    <a:pt x="65" y="119"/>
                    <a:pt x="65" y="119"/>
                    <a:pt x="65" y="119"/>
                  </a:cubicBezTo>
                  <a:cubicBezTo>
                    <a:pt x="65" y="119"/>
                    <a:pt x="69" y="122"/>
                    <a:pt x="70" y="123"/>
                  </a:cubicBezTo>
                  <a:cubicBezTo>
                    <a:pt x="71" y="123"/>
                    <a:pt x="80" y="128"/>
                    <a:pt x="80" y="128"/>
                  </a:cubicBezTo>
                  <a:cubicBezTo>
                    <a:pt x="80" y="128"/>
                    <a:pt x="85" y="130"/>
                    <a:pt x="86" y="130"/>
                  </a:cubicBezTo>
                  <a:cubicBezTo>
                    <a:pt x="86" y="131"/>
                    <a:pt x="91" y="136"/>
                    <a:pt x="91" y="136"/>
                  </a:cubicBezTo>
                  <a:cubicBezTo>
                    <a:pt x="94" y="137"/>
                    <a:pt x="94" y="137"/>
                    <a:pt x="94" y="137"/>
                  </a:cubicBezTo>
                  <a:cubicBezTo>
                    <a:pt x="96" y="135"/>
                    <a:pt x="96" y="135"/>
                    <a:pt x="96" y="135"/>
                  </a:cubicBezTo>
                  <a:cubicBezTo>
                    <a:pt x="100" y="136"/>
                    <a:pt x="100" y="136"/>
                    <a:pt x="100" y="136"/>
                  </a:cubicBezTo>
                  <a:cubicBezTo>
                    <a:pt x="105" y="139"/>
                    <a:pt x="105" y="139"/>
                    <a:pt x="105" y="139"/>
                  </a:cubicBezTo>
                  <a:cubicBezTo>
                    <a:pt x="108" y="144"/>
                    <a:pt x="108" y="144"/>
                    <a:pt x="108" y="144"/>
                  </a:cubicBezTo>
                  <a:cubicBezTo>
                    <a:pt x="108" y="144"/>
                    <a:pt x="110" y="151"/>
                    <a:pt x="110" y="153"/>
                  </a:cubicBezTo>
                  <a:cubicBezTo>
                    <a:pt x="110" y="155"/>
                    <a:pt x="110" y="160"/>
                    <a:pt x="110" y="160"/>
                  </a:cubicBezTo>
                  <a:cubicBezTo>
                    <a:pt x="117" y="163"/>
                    <a:pt x="117" y="163"/>
                    <a:pt x="117" y="163"/>
                  </a:cubicBezTo>
                  <a:cubicBezTo>
                    <a:pt x="117" y="163"/>
                    <a:pt x="117" y="170"/>
                    <a:pt x="118" y="171"/>
                  </a:cubicBezTo>
                  <a:cubicBezTo>
                    <a:pt x="118" y="173"/>
                    <a:pt x="118" y="175"/>
                    <a:pt x="118" y="177"/>
                  </a:cubicBezTo>
                  <a:cubicBezTo>
                    <a:pt x="119" y="179"/>
                    <a:pt x="118" y="182"/>
                    <a:pt x="118" y="182"/>
                  </a:cubicBezTo>
                  <a:cubicBezTo>
                    <a:pt x="122" y="184"/>
                    <a:pt x="122" y="184"/>
                    <a:pt x="122" y="184"/>
                  </a:cubicBezTo>
                  <a:cubicBezTo>
                    <a:pt x="125" y="187"/>
                    <a:pt x="125" y="187"/>
                    <a:pt x="125" y="187"/>
                  </a:cubicBezTo>
                  <a:cubicBezTo>
                    <a:pt x="126" y="191"/>
                    <a:pt x="126" y="191"/>
                    <a:pt x="126" y="191"/>
                  </a:cubicBezTo>
                  <a:cubicBezTo>
                    <a:pt x="133" y="193"/>
                    <a:pt x="133" y="193"/>
                    <a:pt x="133" y="193"/>
                  </a:cubicBezTo>
                  <a:cubicBezTo>
                    <a:pt x="135" y="198"/>
                    <a:pt x="135" y="198"/>
                    <a:pt x="135" y="198"/>
                  </a:cubicBezTo>
                  <a:cubicBezTo>
                    <a:pt x="138" y="202"/>
                    <a:pt x="138" y="202"/>
                    <a:pt x="138" y="202"/>
                  </a:cubicBezTo>
                  <a:cubicBezTo>
                    <a:pt x="138" y="205"/>
                    <a:pt x="138" y="205"/>
                    <a:pt x="138" y="205"/>
                  </a:cubicBezTo>
                  <a:cubicBezTo>
                    <a:pt x="138" y="205"/>
                    <a:pt x="138" y="207"/>
                    <a:pt x="140" y="207"/>
                  </a:cubicBezTo>
                  <a:cubicBezTo>
                    <a:pt x="141" y="207"/>
                    <a:pt x="147" y="206"/>
                    <a:pt x="147" y="206"/>
                  </a:cubicBezTo>
                  <a:cubicBezTo>
                    <a:pt x="153" y="211"/>
                    <a:pt x="153" y="211"/>
                    <a:pt x="153" y="211"/>
                  </a:cubicBezTo>
                  <a:cubicBezTo>
                    <a:pt x="159" y="217"/>
                    <a:pt x="159" y="217"/>
                    <a:pt x="159" y="217"/>
                  </a:cubicBezTo>
                  <a:cubicBezTo>
                    <a:pt x="163" y="222"/>
                    <a:pt x="163" y="222"/>
                    <a:pt x="163" y="222"/>
                  </a:cubicBezTo>
                  <a:cubicBezTo>
                    <a:pt x="168" y="224"/>
                    <a:pt x="168" y="224"/>
                    <a:pt x="168" y="224"/>
                  </a:cubicBezTo>
                  <a:cubicBezTo>
                    <a:pt x="174" y="228"/>
                    <a:pt x="174" y="228"/>
                    <a:pt x="174" y="228"/>
                  </a:cubicBezTo>
                  <a:cubicBezTo>
                    <a:pt x="176" y="233"/>
                    <a:pt x="176" y="233"/>
                    <a:pt x="176" y="233"/>
                  </a:cubicBezTo>
                  <a:cubicBezTo>
                    <a:pt x="181" y="239"/>
                    <a:pt x="181" y="239"/>
                    <a:pt x="181" y="239"/>
                  </a:cubicBezTo>
                  <a:cubicBezTo>
                    <a:pt x="185" y="241"/>
                    <a:pt x="185" y="241"/>
                    <a:pt x="185" y="241"/>
                  </a:cubicBezTo>
                  <a:cubicBezTo>
                    <a:pt x="186" y="244"/>
                    <a:pt x="186" y="244"/>
                    <a:pt x="186" y="244"/>
                  </a:cubicBezTo>
                  <a:cubicBezTo>
                    <a:pt x="190" y="245"/>
                    <a:pt x="190" y="245"/>
                    <a:pt x="190" y="245"/>
                  </a:cubicBezTo>
                  <a:cubicBezTo>
                    <a:pt x="193" y="246"/>
                    <a:pt x="193" y="246"/>
                    <a:pt x="193" y="246"/>
                  </a:cubicBezTo>
                  <a:cubicBezTo>
                    <a:pt x="198" y="247"/>
                    <a:pt x="198" y="247"/>
                    <a:pt x="198" y="247"/>
                  </a:cubicBezTo>
                  <a:cubicBezTo>
                    <a:pt x="201" y="250"/>
                    <a:pt x="201" y="250"/>
                    <a:pt x="201" y="250"/>
                  </a:cubicBezTo>
                  <a:cubicBezTo>
                    <a:pt x="201" y="250"/>
                    <a:pt x="203" y="252"/>
                    <a:pt x="203" y="253"/>
                  </a:cubicBezTo>
                  <a:cubicBezTo>
                    <a:pt x="203" y="254"/>
                    <a:pt x="201" y="255"/>
                    <a:pt x="203" y="255"/>
                  </a:cubicBezTo>
                  <a:cubicBezTo>
                    <a:pt x="206" y="255"/>
                    <a:pt x="208" y="255"/>
                    <a:pt x="208" y="255"/>
                  </a:cubicBezTo>
                  <a:cubicBezTo>
                    <a:pt x="213" y="254"/>
                    <a:pt x="213" y="254"/>
                    <a:pt x="213" y="254"/>
                  </a:cubicBezTo>
                  <a:cubicBezTo>
                    <a:pt x="216" y="254"/>
                    <a:pt x="216" y="254"/>
                    <a:pt x="216" y="254"/>
                  </a:cubicBezTo>
                  <a:cubicBezTo>
                    <a:pt x="220" y="254"/>
                    <a:pt x="220" y="254"/>
                    <a:pt x="220" y="254"/>
                  </a:cubicBezTo>
                  <a:cubicBezTo>
                    <a:pt x="225" y="252"/>
                    <a:pt x="225" y="252"/>
                    <a:pt x="225" y="252"/>
                  </a:cubicBezTo>
                  <a:cubicBezTo>
                    <a:pt x="229" y="255"/>
                    <a:pt x="229" y="255"/>
                    <a:pt x="229" y="255"/>
                  </a:cubicBezTo>
                  <a:cubicBezTo>
                    <a:pt x="237" y="265"/>
                    <a:pt x="237" y="265"/>
                    <a:pt x="237" y="265"/>
                  </a:cubicBezTo>
                  <a:cubicBezTo>
                    <a:pt x="237" y="265"/>
                    <a:pt x="240" y="270"/>
                    <a:pt x="240" y="271"/>
                  </a:cubicBezTo>
                  <a:cubicBezTo>
                    <a:pt x="240" y="272"/>
                    <a:pt x="242" y="271"/>
                    <a:pt x="243" y="271"/>
                  </a:cubicBezTo>
                  <a:cubicBezTo>
                    <a:pt x="244" y="271"/>
                    <a:pt x="251" y="271"/>
                    <a:pt x="251" y="271"/>
                  </a:cubicBezTo>
                  <a:cubicBezTo>
                    <a:pt x="256" y="274"/>
                    <a:pt x="256" y="274"/>
                    <a:pt x="256" y="274"/>
                  </a:cubicBezTo>
                  <a:cubicBezTo>
                    <a:pt x="252" y="278"/>
                    <a:pt x="252" y="278"/>
                    <a:pt x="252" y="278"/>
                  </a:cubicBezTo>
                  <a:cubicBezTo>
                    <a:pt x="257" y="280"/>
                    <a:pt x="257" y="280"/>
                    <a:pt x="257" y="280"/>
                  </a:cubicBezTo>
                  <a:cubicBezTo>
                    <a:pt x="260" y="278"/>
                    <a:pt x="260" y="278"/>
                    <a:pt x="260" y="278"/>
                  </a:cubicBezTo>
                  <a:cubicBezTo>
                    <a:pt x="265" y="278"/>
                    <a:pt x="265" y="278"/>
                    <a:pt x="265" y="278"/>
                  </a:cubicBezTo>
                  <a:cubicBezTo>
                    <a:pt x="268" y="282"/>
                    <a:pt x="268" y="282"/>
                    <a:pt x="268" y="282"/>
                  </a:cubicBezTo>
                  <a:cubicBezTo>
                    <a:pt x="269" y="284"/>
                    <a:pt x="269" y="284"/>
                    <a:pt x="269" y="284"/>
                  </a:cubicBezTo>
                  <a:cubicBezTo>
                    <a:pt x="271" y="286"/>
                    <a:pt x="271" y="286"/>
                    <a:pt x="271" y="286"/>
                  </a:cubicBezTo>
                  <a:cubicBezTo>
                    <a:pt x="271" y="289"/>
                    <a:pt x="271" y="289"/>
                    <a:pt x="271" y="289"/>
                  </a:cubicBezTo>
                  <a:cubicBezTo>
                    <a:pt x="271" y="292"/>
                    <a:pt x="271" y="292"/>
                    <a:pt x="271" y="292"/>
                  </a:cubicBezTo>
                  <a:cubicBezTo>
                    <a:pt x="273" y="295"/>
                    <a:pt x="273" y="295"/>
                    <a:pt x="273" y="295"/>
                  </a:cubicBezTo>
                  <a:cubicBezTo>
                    <a:pt x="277" y="297"/>
                    <a:pt x="277" y="297"/>
                    <a:pt x="277" y="297"/>
                  </a:cubicBezTo>
                  <a:cubicBezTo>
                    <a:pt x="280" y="299"/>
                    <a:pt x="280" y="299"/>
                    <a:pt x="280" y="299"/>
                  </a:cubicBezTo>
                  <a:cubicBezTo>
                    <a:pt x="283" y="301"/>
                    <a:pt x="283" y="301"/>
                    <a:pt x="283" y="301"/>
                  </a:cubicBezTo>
                  <a:cubicBezTo>
                    <a:pt x="286" y="301"/>
                    <a:pt x="286" y="301"/>
                    <a:pt x="286" y="301"/>
                  </a:cubicBezTo>
                  <a:cubicBezTo>
                    <a:pt x="291" y="300"/>
                    <a:pt x="291" y="300"/>
                    <a:pt x="291" y="300"/>
                  </a:cubicBezTo>
                  <a:cubicBezTo>
                    <a:pt x="297" y="301"/>
                    <a:pt x="297" y="301"/>
                    <a:pt x="297" y="301"/>
                  </a:cubicBezTo>
                  <a:cubicBezTo>
                    <a:pt x="302" y="309"/>
                    <a:pt x="302" y="309"/>
                    <a:pt x="302" y="309"/>
                  </a:cubicBezTo>
                  <a:cubicBezTo>
                    <a:pt x="304" y="316"/>
                    <a:pt x="304" y="316"/>
                    <a:pt x="304" y="316"/>
                  </a:cubicBezTo>
                  <a:cubicBezTo>
                    <a:pt x="307" y="323"/>
                    <a:pt x="307" y="323"/>
                    <a:pt x="307" y="323"/>
                  </a:cubicBezTo>
                  <a:cubicBezTo>
                    <a:pt x="310" y="326"/>
                    <a:pt x="310" y="326"/>
                    <a:pt x="310" y="326"/>
                  </a:cubicBezTo>
                  <a:cubicBezTo>
                    <a:pt x="311" y="333"/>
                    <a:pt x="311" y="333"/>
                    <a:pt x="311" y="333"/>
                  </a:cubicBezTo>
                  <a:cubicBezTo>
                    <a:pt x="314" y="336"/>
                    <a:pt x="314" y="336"/>
                    <a:pt x="314" y="336"/>
                  </a:cubicBezTo>
                  <a:cubicBezTo>
                    <a:pt x="317" y="344"/>
                    <a:pt x="317" y="344"/>
                    <a:pt x="317" y="344"/>
                  </a:cubicBezTo>
                  <a:cubicBezTo>
                    <a:pt x="319" y="347"/>
                    <a:pt x="319" y="347"/>
                    <a:pt x="319" y="347"/>
                  </a:cubicBezTo>
                  <a:cubicBezTo>
                    <a:pt x="318" y="352"/>
                    <a:pt x="318" y="352"/>
                    <a:pt x="318" y="352"/>
                  </a:cubicBezTo>
                  <a:cubicBezTo>
                    <a:pt x="318" y="352"/>
                    <a:pt x="316" y="355"/>
                    <a:pt x="315" y="356"/>
                  </a:cubicBezTo>
                  <a:cubicBezTo>
                    <a:pt x="315" y="356"/>
                    <a:pt x="313" y="357"/>
                    <a:pt x="312" y="357"/>
                  </a:cubicBezTo>
                  <a:cubicBezTo>
                    <a:pt x="311" y="358"/>
                    <a:pt x="310" y="358"/>
                    <a:pt x="309" y="359"/>
                  </a:cubicBezTo>
                  <a:cubicBezTo>
                    <a:pt x="309" y="360"/>
                    <a:pt x="308" y="362"/>
                    <a:pt x="308" y="362"/>
                  </a:cubicBezTo>
                  <a:cubicBezTo>
                    <a:pt x="311" y="367"/>
                    <a:pt x="311" y="367"/>
                    <a:pt x="311" y="367"/>
                  </a:cubicBezTo>
                  <a:cubicBezTo>
                    <a:pt x="309" y="373"/>
                    <a:pt x="309" y="373"/>
                    <a:pt x="309" y="373"/>
                  </a:cubicBezTo>
                  <a:cubicBezTo>
                    <a:pt x="308" y="378"/>
                    <a:pt x="308" y="378"/>
                    <a:pt x="308" y="378"/>
                  </a:cubicBezTo>
                  <a:cubicBezTo>
                    <a:pt x="305" y="380"/>
                    <a:pt x="305" y="380"/>
                    <a:pt x="305" y="380"/>
                  </a:cubicBezTo>
                  <a:cubicBezTo>
                    <a:pt x="301" y="383"/>
                    <a:pt x="301" y="383"/>
                    <a:pt x="301" y="383"/>
                  </a:cubicBezTo>
                  <a:cubicBezTo>
                    <a:pt x="301" y="383"/>
                    <a:pt x="302" y="386"/>
                    <a:pt x="302" y="388"/>
                  </a:cubicBezTo>
                  <a:cubicBezTo>
                    <a:pt x="303" y="389"/>
                    <a:pt x="306" y="393"/>
                    <a:pt x="306" y="393"/>
                  </a:cubicBezTo>
                  <a:cubicBezTo>
                    <a:pt x="314" y="393"/>
                    <a:pt x="314" y="393"/>
                    <a:pt x="314" y="393"/>
                  </a:cubicBezTo>
                  <a:cubicBezTo>
                    <a:pt x="319" y="390"/>
                    <a:pt x="319" y="390"/>
                    <a:pt x="319" y="390"/>
                  </a:cubicBezTo>
                  <a:cubicBezTo>
                    <a:pt x="320" y="385"/>
                    <a:pt x="320" y="385"/>
                    <a:pt x="320" y="385"/>
                  </a:cubicBezTo>
                  <a:cubicBezTo>
                    <a:pt x="322" y="379"/>
                    <a:pt x="322" y="379"/>
                    <a:pt x="322" y="379"/>
                  </a:cubicBezTo>
                  <a:cubicBezTo>
                    <a:pt x="327" y="375"/>
                    <a:pt x="327" y="375"/>
                    <a:pt x="327" y="375"/>
                  </a:cubicBezTo>
                  <a:cubicBezTo>
                    <a:pt x="331" y="371"/>
                    <a:pt x="331" y="371"/>
                    <a:pt x="331" y="371"/>
                  </a:cubicBezTo>
                  <a:cubicBezTo>
                    <a:pt x="334" y="368"/>
                    <a:pt x="334" y="368"/>
                    <a:pt x="334" y="368"/>
                  </a:cubicBezTo>
                  <a:cubicBezTo>
                    <a:pt x="334" y="357"/>
                    <a:pt x="334" y="357"/>
                    <a:pt x="334" y="357"/>
                  </a:cubicBezTo>
                  <a:cubicBezTo>
                    <a:pt x="336" y="349"/>
                    <a:pt x="336" y="349"/>
                    <a:pt x="336" y="349"/>
                  </a:cubicBezTo>
                  <a:cubicBezTo>
                    <a:pt x="350" y="344"/>
                    <a:pt x="350" y="344"/>
                    <a:pt x="350" y="344"/>
                  </a:cubicBezTo>
                  <a:cubicBezTo>
                    <a:pt x="352" y="343"/>
                    <a:pt x="352" y="343"/>
                    <a:pt x="352" y="343"/>
                  </a:cubicBezTo>
                  <a:cubicBezTo>
                    <a:pt x="352" y="343"/>
                    <a:pt x="352" y="341"/>
                    <a:pt x="352" y="340"/>
                  </a:cubicBezTo>
                  <a:cubicBezTo>
                    <a:pt x="351" y="339"/>
                    <a:pt x="349" y="336"/>
                    <a:pt x="349" y="336"/>
                  </a:cubicBezTo>
                  <a:cubicBezTo>
                    <a:pt x="349" y="336"/>
                    <a:pt x="350" y="333"/>
                    <a:pt x="349" y="333"/>
                  </a:cubicBezTo>
                  <a:cubicBezTo>
                    <a:pt x="349" y="332"/>
                    <a:pt x="349" y="326"/>
                    <a:pt x="349" y="326"/>
                  </a:cubicBezTo>
                  <a:cubicBezTo>
                    <a:pt x="348" y="321"/>
                    <a:pt x="348" y="321"/>
                    <a:pt x="348" y="321"/>
                  </a:cubicBezTo>
                  <a:cubicBezTo>
                    <a:pt x="348" y="321"/>
                    <a:pt x="346" y="321"/>
                    <a:pt x="343" y="320"/>
                  </a:cubicBezTo>
                  <a:cubicBezTo>
                    <a:pt x="341" y="318"/>
                    <a:pt x="337" y="316"/>
                    <a:pt x="337" y="316"/>
                  </a:cubicBezTo>
                  <a:cubicBezTo>
                    <a:pt x="332" y="315"/>
                    <a:pt x="332" y="315"/>
                    <a:pt x="332" y="315"/>
                  </a:cubicBezTo>
                  <a:cubicBezTo>
                    <a:pt x="328" y="313"/>
                    <a:pt x="328" y="313"/>
                    <a:pt x="328" y="313"/>
                  </a:cubicBezTo>
                  <a:cubicBezTo>
                    <a:pt x="326" y="310"/>
                    <a:pt x="326" y="310"/>
                    <a:pt x="326" y="310"/>
                  </a:cubicBezTo>
                  <a:cubicBezTo>
                    <a:pt x="329" y="298"/>
                    <a:pt x="329" y="298"/>
                    <a:pt x="329" y="298"/>
                  </a:cubicBezTo>
                  <a:cubicBezTo>
                    <a:pt x="328" y="293"/>
                    <a:pt x="328" y="293"/>
                    <a:pt x="328" y="293"/>
                  </a:cubicBezTo>
                  <a:cubicBezTo>
                    <a:pt x="334" y="285"/>
                    <a:pt x="334" y="285"/>
                    <a:pt x="334" y="285"/>
                  </a:cubicBezTo>
                  <a:cubicBezTo>
                    <a:pt x="338" y="279"/>
                    <a:pt x="338" y="279"/>
                    <a:pt x="338" y="279"/>
                  </a:cubicBezTo>
                  <a:cubicBezTo>
                    <a:pt x="342" y="276"/>
                    <a:pt x="342" y="276"/>
                    <a:pt x="342" y="276"/>
                  </a:cubicBezTo>
                  <a:cubicBezTo>
                    <a:pt x="348" y="278"/>
                    <a:pt x="348" y="278"/>
                    <a:pt x="348" y="278"/>
                  </a:cubicBezTo>
                  <a:cubicBezTo>
                    <a:pt x="351" y="280"/>
                    <a:pt x="351" y="280"/>
                    <a:pt x="351" y="280"/>
                  </a:cubicBezTo>
                  <a:cubicBezTo>
                    <a:pt x="354" y="282"/>
                    <a:pt x="354" y="282"/>
                    <a:pt x="354" y="282"/>
                  </a:cubicBezTo>
                  <a:cubicBezTo>
                    <a:pt x="361" y="282"/>
                    <a:pt x="361" y="282"/>
                    <a:pt x="361" y="282"/>
                  </a:cubicBezTo>
                  <a:cubicBezTo>
                    <a:pt x="369" y="283"/>
                    <a:pt x="369" y="283"/>
                    <a:pt x="369" y="283"/>
                  </a:cubicBezTo>
                  <a:cubicBezTo>
                    <a:pt x="373" y="288"/>
                    <a:pt x="373" y="288"/>
                    <a:pt x="373" y="288"/>
                  </a:cubicBezTo>
                  <a:cubicBezTo>
                    <a:pt x="376" y="294"/>
                    <a:pt x="376" y="294"/>
                    <a:pt x="376" y="294"/>
                  </a:cubicBezTo>
                  <a:cubicBezTo>
                    <a:pt x="376" y="294"/>
                    <a:pt x="378" y="296"/>
                    <a:pt x="378" y="297"/>
                  </a:cubicBezTo>
                  <a:cubicBezTo>
                    <a:pt x="379" y="297"/>
                    <a:pt x="381" y="299"/>
                    <a:pt x="382" y="299"/>
                  </a:cubicBezTo>
                  <a:cubicBezTo>
                    <a:pt x="383" y="300"/>
                    <a:pt x="388" y="301"/>
                    <a:pt x="388" y="301"/>
                  </a:cubicBezTo>
                  <a:cubicBezTo>
                    <a:pt x="388" y="301"/>
                    <a:pt x="389" y="295"/>
                    <a:pt x="389" y="294"/>
                  </a:cubicBezTo>
                  <a:cubicBezTo>
                    <a:pt x="389" y="293"/>
                    <a:pt x="392" y="290"/>
                    <a:pt x="392" y="289"/>
                  </a:cubicBezTo>
                  <a:cubicBezTo>
                    <a:pt x="392" y="288"/>
                    <a:pt x="390" y="282"/>
                    <a:pt x="390" y="282"/>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1" name="Freeform 119"/>
            <p:cNvSpPr>
              <a:spLocks/>
            </p:cNvSpPr>
            <p:nvPr/>
          </p:nvSpPr>
          <p:spPr bwMode="auto">
            <a:xfrm>
              <a:off x="3684973" y="4821125"/>
              <a:ext cx="1168314" cy="965374"/>
            </a:xfrm>
            <a:custGeom>
              <a:avLst/>
              <a:gdLst>
                <a:gd name="T0" fmla="*/ 375 w 403"/>
                <a:gd name="T1" fmla="*/ 125 h 353"/>
                <a:gd name="T2" fmla="*/ 355 w 403"/>
                <a:gd name="T3" fmla="*/ 117 h 353"/>
                <a:gd name="T4" fmla="*/ 342 w 403"/>
                <a:gd name="T5" fmla="*/ 112 h 353"/>
                <a:gd name="T6" fmla="*/ 341 w 403"/>
                <a:gd name="T7" fmla="*/ 110 h 353"/>
                <a:gd name="T8" fmla="*/ 320 w 403"/>
                <a:gd name="T9" fmla="*/ 95 h 353"/>
                <a:gd name="T10" fmla="*/ 256 w 403"/>
                <a:gd name="T11" fmla="*/ 76 h 353"/>
                <a:gd name="T12" fmla="*/ 226 w 403"/>
                <a:gd name="T13" fmla="*/ 58 h 353"/>
                <a:gd name="T14" fmla="*/ 105 w 403"/>
                <a:gd name="T15" fmla="*/ 21 h 353"/>
                <a:gd name="T16" fmla="*/ 29 w 403"/>
                <a:gd name="T17" fmla="*/ 14 h 353"/>
                <a:gd name="T18" fmla="*/ 6 w 403"/>
                <a:gd name="T19" fmla="*/ 33 h 353"/>
                <a:gd name="T20" fmla="*/ 6 w 403"/>
                <a:gd name="T21" fmla="*/ 62 h 353"/>
                <a:gd name="T22" fmla="*/ 11 w 403"/>
                <a:gd name="T23" fmla="*/ 69 h 353"/>
                <a:gd name="T24" fmla="*/ 24 w 403"/>
                <a:gd name="T25" fmla="*/ 68 h 353"/>
                <a:gd name="T26" fmla="*/ 28 w 403"/>
                <a:gd name="T27" fmla="*/ 75 h 353"/>
                <a:gd name="T28" fmla="*/ 28 w 403"/>
                <a:gd name="T29" fmla="*/ 82 h 353"/>
                <a:gd name="T30" fmla="*/ 36 w 403"/>
                <a:gd name="T31" fmla="*/ 82 h 353"/>
                <a:gd name="T32" fmla="*/ 44 w 403"/>
                <a:gd name="T33" fmla="*/ 87 h 353"/>
                <a:gd name="T34" fmla="*/ 51 w 403"/>
                <a:gd name="T35" fmla="*/ 87 h 353"/>
                <a:gd name="T36" fmla="*/ 61 w 403"/>
                <a:gd name="T37" fmla="*/ 83 h 353"/>
                <a:gd name="T38" fmla="*/ 70 w 403"/>
                <a:gd name="T39" fmla="*/ 86 h 353"/>
                <a:gd name="T40" fmla="*/ 78 w 403"/>
                <a:gd name="T41" fmla="*/ 91 h 353"/>
                <a:gd name="T42" fmla="*/ 76 w 403"/>
                <a:gd name="T43" fmla="*/ 98 h 353"/>
                <a:gd name="T44" fmla="*/ 85 w 403"/>
                <a:gd name="T45" fmla="*/ 105 h 353"/>
                <a:gd name="T46" fmla="*/ 78 w 403"/>
                <a:gd name="T47" fmla="*/ 115 h 353"/>
                <a:gd name="T48" fmla="*/ 67 w 403"/>
                <a:gd name="T49" fmla="*/ 120 h 353"/>
                <a:gd name="T50" fmla="*/ 57 w 403"/>
                <a:gd name="T51" fmla="*/ 126 h 353"/>
                <a:gd name="T52" fmla="*/ 57 w 403"/>
                <a:gd name="T53" fmla="*/ 136 h 353"/>
                <a:gd name="T54" fmla="*/ 56 w 403"/>
                <a:gd name="T55" fmla="*/ 146 h 353"/>
                <a:gd name="T56" fmla="*/ 53 w 403"/>
                <a:gd name="T57" fmla="*/ 157 h 353"/>
                <a:gd name="T58" fmla="*/ 45 w 403"/>
                <a:gd name="T59" fmla="*/ 161 h 353"/>
                <a:gd name="T60" fmla="*/ 47 w 403"/>
                <a:gd name="T61" fmla="*/ 172 h 353"/>
                <a:gd name="T62" fmla="*/ 42 w 403"/>
                <a:gd name="T63" fmla="*/ 179 h 353"/>
                <a:gd name="T64" fmla="*/ 36 w 403"/>
                <a:gd name="T65" fmla="*/ 183 h 353"/>
                <a:gd name="T66" fmla="*/ 27 w 403"/>
                <a:gd name="T67" fmla="*/ 181 h 353"/>
                <a:gd name="T68" fmla="*/ 24 w 403"/>
                <a:gd name="T69" fmla="*/ 185 h 353"/>
                <a:gd name="T70" fmla="*/ 27 w 403"/>
                <a:gd name="T71" fmla="*/ 193 h 353"/>
                <a:gd name="T72" fmla="*/ 28 w 403"/>
                <a:gd name="T73" fmla="*/ 202 h 353"/>
                <a:gd name="T74" fmla="*/ 33 w 403"/>
                <a:gd name="T75" fmla="*/ 207 h 353"/>
                <a:gd name="T76" fmla="*/ 31 w 403"/>
                <a:gd name="T77" fmla="*/ 216 h 353"/>
                <a:gd name="T78" fmla="*/ 23 w 403"/>
                <a:gd name="T79" fmla="*/ 221 h 353"/>
                <a:gd name="T80" fmla="*/ 18 w 403"/>
                <a:gd name="T81" fmla="*/ 231 h 353"/>
                <a:gd name="T82" fmla="*/ 19 w 403"/>
                <a:gd name="T83" fmla="*/ 239 h 353"/>
                <a:gd name="T84" fmla="*/ 26 w 403"/>
                <a:gd name="T85" fmla="*/ 247 h 353"/>
                <a:gd name="T86" fmla="*/ 22 w 403"/>
                <a:gd name="T87" fmla="*/ 254 h 353"/>
                <a:gd name="T88" fmla="*/ 12 w 403"/>
                <a:gd name="T89" fmla="*/ 258 h 353"/>
                <a:gd name="T90" fmla="*/ 2 w 403"/>
                <a:gd name="T91" fmla="*/ 268 h 353"/>
                <a:gd name="T92" fmla="*/ 1 w 403"/>
                <a:gd name="T93" fmla="*/ 280 h 353"/>
                <a:gd name="T94" fmla="*/ 33 w 403"/>
                <a:gd name="T95" fmla="*/ 309 h 353"/>
                <a:gd name="T96" fmla="*/ 63 w 403"/>
                <a:gd name="T97" fmla="*/ 348 h 353"/>
                <a:gd name="T98" fmla="*/ 140 w 403"/>
                <a:gd name="T99" fmla="*/ 339 h 353"/>
                <a:gd name="T100" fmla="*/ 196 w 403"/>
                <a:gd name="T101" fmla="*/ 332 h 353"/>
                <a:gd name="T102" fmla="*/ 246 w 403"/>
                <a:gd name="T103" fmla="*/ 296 h 353"/>
                <a:gd name="T104" fmla="*/ 281 w 403"/>
                <a:gd name="T105" fmla="*/ 216 h 353"/>
                <a:gd name="T106" fmla="*/ 348 w 403"/>
                <a:gd name="T107" fmla="*/ 167 h 353"/>
                <a:gd name="T108" fmla="*/ 398 w 403"/>
                <a:gd name="T109" fmla="*/ 121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3" h="353">
                  <a:moveTo>
                    <a:pt x="398" y="121"/>
                  </a:moveTo>
                  <a:cubicBezTo>
                    <a:pt x="397" y="122"/>
                    <a:pt x="397" y="122"/>
                    <a:pt x="397" y="122"/>
                  </a:cubicBezTo>
                  <a:cubicBezTo>
                    <a:pt x="396" y="122"/>
                    <a:pt x="396" y="122"/>
                    <a:pt x="396" y="122"/>
                  </a:cubicBezTo>
                  <a:cubicBezTo>
                    <a:pt x="394" y="122"/>
                    <a:pt x="392" y="122"/>
                    <a:pt x="390" y="122"/>
                  </a:cubicBezTo>
                  <a:cubicBezTo>
                    <a:pt x="383" y="122"/>
                    <a:pt x="383" y="122"/>
                    <a:pt x="383" y="122"/>
                  </a:cubicBezTo>
                  <a:cubicBezTo>
                    <a:pt x="376" y="125"/>
                    <a:pt x="376" y="125"/>
                    <a:pt x="376" y="125"/>
                  </a:cubicBezTo>
                  <a:cubicBezTo>
                    <a:pt x="375" y="125"/>
                    <a:pt x="375" y="125"/>
                    <a:pt x="375" y="125"/>
                  </a:cubicBezTo>
                  <a:cubicBezTo>
                    <a:pt x="374" y="125"/>
                    <a:pt x="374" y="125"/>
                    <a:pt x="374" y="125"/>
                  </a:cubicBezTo>
                  <a:cubicBezTo>
                    <a:pt x="374" y="124"/>
                    <a:pt x="374" y="124"/>
                    <a:pt x="374" y="124"/>
                  </a:cubicBezTo>
                  <a:cubicBezTo>
                    <a:pt x="367" y="119"/>
                    <a:pt x="367" y="119"/>
                    <a:pt x="367" y="119"/>
                  </a:cubicBezTo>
                  <a:cubicBezTo>
                    <a:pt x="361" y="121"/>
                    <a:pt x="361" y="121"/>
                    <a:pt x="361" y="121"/>
                  </a:cubicBezTo>
                  <a:cubicBezTo>
                    <a:pt x="360" y="121"/>
                    <a:pt x="360" y="121"/>
                    <a:pt x="360" y="121"/>
                  </a:cubicBezTo>
                  <a:cubicBezTo>
                    <a:pt x="358" y="120"/>
                    <a:pt x="357" y="119"/>
                    <a:pt x="356" y="118"/>
                  </a:cubicBezTo>
                  <a:cubicBezTo>
                    <a:pt x="356" y="118"/>
                    <a:pt x="355" y="117"/>
                    <a:pt x="355" y="117"/>
                  </a:cubicBezTo>
                  <a:cubicBezTo>
                    <a:pt x="342" y="115"/>
                    <a:pt x="342" y="115"/>
                    <a:pt x="342" y="115"/>
                  </a:cubicBezTo>
                  <a:cubicBezTo>
                    <a:pt x="343" y="113"/>
                    <a:pt x="343" y="113"/>
                    <a:pt x="343" y="113"/>
                  </a:cubicBezTo>
                  <a:cubicBezTo>
                    <a:pt x="343" y="113"/>
                    <a:pt x="343" y="113"/>
                    <a:pt x="343" y="113"/>
                  </a:cubicBezTo>
                  <a:cubicBezTo>
                    <a:pt x="343" y="113"/>
                    <a:pt x="342" y="113"/>
                    <a:pt x="342" y="113"/>
                  </a:cubicBezTo>
                  <a:cubicBezTo>
                    <a:pt x="342" y="113"/>
                    <a:pt x="342" y="113"/>
                    <a:pt x="342" y="113"/>
                  </a:cubicBezTo>
                  <a:cubicBezTo>
                    <a:pt x="342" y="113"/>
                    <a:pt x="342" y="113"/>
                    <a:pt x="342" y="113"/>
                  </a:cubicBezTo>
                  <a:cubicBezTo>
                    <a:pt x="342" y="113"/>
                    <a:pt x="342" y="113"/>
                    <a:pt x="342" y="112"/>
                  </a:cubicBezTo>
                  <a:cubicBezTo>
                    <a:pt x="342" y="112"/>
                    <a:pt x="341" y="112"/>
                    <a:pt x="341" y="112"/>
                  </a:cubicBezTo>
                  <a:cubicBezTo>
                    <a:pt x="341" y="112"/>
                    <a:pt x="341" y="112"/>
                    <a:pt x="341" y="112"/>
                  </a:cubicBezTo>
                  <a:cubicBezTo>
                    <a:pt x="341" y="111"/>
                    <a:pt x="341" y="111"/>
                    <a:pt x="341" y="111"/>
                  </a:cubicBezTo>
                  <a:cubicBezTo>
                    <a:pt x="341" y="111"/>
                    <a:pt x="341" y="111"/>
                    <a:pt x="341" y="111"/>
                  </a:cubicBezTo>
                  <a:cubicBezTo>
                    <a:pt x="341" y="111"/>
                    <a:pt x="341" y="111"/>
                    <a:pt x="341" y="111"/>
                  </a:cubicBezTo>
                  <a:cubicBezTo>
                    <a:pt x="341" y="110"/>
                    <a:pt x="341" y="110"/>
                    <a:pt x="341" y="110"/>
                  </a:cubicBezTo>
                  <a:cubicBezTo>
                    <a:pt x="341" y="110"/>
                    <a:pt x="341" y="110"/>
                    <a:pt x="341" y="110"/>
                  </a:cubicBezTo>
                  <a:cubicBezTo>
                    <a:pt x="342" y="110"/>
                    <a:pt x="342" y="110"/>
                    <a:pt x="342" y="110"/>
                  </a:cubicBezTo>
                  <a:cubicBezTo>
                    <a:pt x="342" y="109"/>
                    <a:pt x="342" y="109"/>
                    <a:pt x="342" y="109"/>
                  </a:cubicBezTo>
                  <a:cubicBezTo>
                    <a:pt x="341" y="109"/>
                    <a:pt x="341" y="109"/>
                    <a:pt x="341" y="109"/>
                  </a:cubicBezTo>
                  <a:cubicBezTo>
                    <a:pt x="341" y="110"/>
                    <a:pt x="341" y="110"/>
                    <a:pt x="341" y="110"/>
                  </a:cubicBezTo>
                  <a:cubicBezTo>
                    <a:pt x="340" y="110"/>
                    <a:pt x="339" y="109"/>
                    <a:pt x="339" y="108"/>
                  </a:cubicBezTo>
                  <a:cubicBezTo>
                    <a:pt x="339" y="106"/>
                    <a:pt x="338" y="105"/>
                    <a:pt x="338" y="104"/>
                  </a:cubicBezTo>
                  <a:cubicBezTo>
                    <a:pt x="335" y="102"/>
                    <a:pt x="325" y="98"/>
                    <a:pt x="320" y="95"/>
                  </a:cubicBezTo>
                  <a:cubicBezTo>
                    <a:pt x="316" y="100"/>
                    <a:pt x="316" y="100"/>
                    <a:pt x="316" y="100"/>
                  </a:cubicBezTo>
                  <a:cubicBezTo>
                    <a:pt x="306" y="98"/>
                    <a:pt x="306" y="98"/>
                    <a:pt x="306" y="98"/>
                  </a:cubicBezTo>
                  <a:cubicBezTo>
                    <a:pt x="294" y="98"/>
                    <a:pt x="294" y="98"/>
                    <a:pt x="294" y="98"/>
                  </a:cubicBezTo>
                  <a:cubicBezTo>
                    <a:pt x="285" y="91"/>
                    <a:pt x="285" y="91"/>
                    <a:pt x="285" y="91"/>
                  </a:cubicBezTo>
                  <a:cubicBezTo>
                    <a:pt x="283" y="90"/>
                    <a:pt x="273" y="86"/>
                    <a:pt x="272" y="85"/>
                  </a:cubicBezTo>
                  <a:cubicBezTo>
                    <a:pt x="271" y="84"/>
                    <a:pt x="267" y="80"/>
                    <a:pt x="266" y="79"/>
                  </a:cubicBezTo>
                  <a:cubicBezTo>
                    <a:pt x="256" y="76"/>
                    <a:pt x="256" y="76"/>
                    <a:pt x="256" y="76"/>
                  </a:cubicBezTo>
                  <a:cubicBezTo>
                    <a:pt x="256" y="75"/>
                    <a:pt x="256" y="75"/>
                    <a:pt x="256" y="75"/>
                  </a:cubicBezTo>
                  <a:cubicBezTo>
                    <a:pt x="255" y="75"/>
                    <a:pt x="251" y="67"/>
                    <a:pt x="250" y="64"/>
                  </a:cubicBezTo>
                  <a:cubicBezTo>
                    <a:pt x="250" y="63"/>
                    <a:pt x="249" y="62"/>
                    <a:pt x="247" y="61"/>
                  </a:cubicBezTo>
                  <a:cubicBezTo>
                    <a:pt x="243" y="60"/>
                    <a:pt x="243" y="60"/>
                    <a:pt x="243" y="60"/>
                  </a:cubicBezTo>
                  <a:cubicBezTo>
                    <a:pt x="245" y="58"/>
                    <a:pt x="245" y="58"/>
                    <a:pt x="245" y="58"/>
                  </a:cubicBezTo>
                  <a:cubicBezTo>
                    <a:pt x="244" y="58"/>
                    <a:pt x="243" y="58"/>
                    <a:pt x="243" y="58"/>
                  </a:cubicBezTo>
                  <a:cubicBezTo>
                    <a:pt x="239" y="54"/>
                    <a:pt x="230" y="59"/>
                    <a:pt x="226" y="58"/>
                  </a:cubicBezTo>
                  <a:cubicBezTo>
                    <a:pt x="223" y="57"/>
                    <a:pt x="216" y="50"/>
                    <a:pt x="210" y="50"/>
                  </a:cubicBezTo>
                  <a:cubicBezTo>
                    <a:pt x="210" y="50"/>
                    <a:pt x="200" y="52"/>
                    <a:pt x="199" y="51"/>
                  </a:cubicBezTo>
                  <a:cubicBezTo>
                    <a:pt x="199" y="51"/>
                    <a:pt x="191" y="45"/>
                    <a:pt x="188" y="43"/>
                  </a:cubicBezTo>
                  <a:cubicBezTo>
                    <a:pt x="185" y="40"/>
                    <a:pt x="179" y="40"/>
                    <a:pt x="178" y="40"/>
                  </a:cubicBezTo>
                  <a:cubicBezTo>
                    <a:pt x="178" y="40"/>
                    <a:pt x="160" y="43"/>
                    <a:pt x="159" y="43"/>
                  </a:cubicBezTo>
                  <a:cubicBezTo>
                    <a:pt x="159" y="42"/>
                    <a:pt x="130" y="28"/>
                    <a:pt x="130" y="28"/>
                  </a:cubicBezTo>
                  <a:cubicBezTo>
                    <a:pt x="121" y="25"/>
                    <a:pt x="113" y="22"/>
                    <a:pt x="105" y="21"/>
                  </a:cubicBezTo>
                  <a:cubicBezTo>
                    <a:pt x="96" y="19"/>
                    <a:pt x="86" y="17"/>
                    <a:pt x="77" y="15"/>
                  </a:cubicBezTo>
                  <a:cubicBezTo>
                    <a:pt x="66" y="12"/>
                    <a:pt x="71" y="8"/>
                    <a:pt x="62" y="3"/>
                  </a:cubicBezTo>
                  <a:cubicBezTo>
                    <a:pt x="60" y="2"/>
                    <a:pt x="58" y="1"/>
                    <a:pt x="55" y="1"/>
                  </a:cubicBezTo>
                  <a:cubicBezTo>
                    <a:pt x="51" y="0"/>
                    <a:pt x="50" y="5"/>
                    <a:pt x="48" y="4"/>
                  </a:cubicBezTo>
                  <a:cubicBezTo>
                    <a:pt x="48" y="6"/>
                    <a:pt x="39" y="3"/>
                    <a:pt x="38" y="7"/>
                  </a:cubicBezTo>
                  <a:cubicBezTo>
                    <a:pt x="38" y="10"/>
                    <a:pt x="36" y="10"/>
                    <a:pt x="35" y="12"/>
                  </a:cubicBezTo>
                  <a:cubicBezTo>
                    <a:pt x="34" y="13"/>
                    <a:pt x="30" y="13"/>
                    <a:pt x="29" y="14"/>
                  </a:cubicBezTo>
                  <a:cubicBezTo>
                    <a:pt x="21" y="13"/>
                    <a:pt x="21" y="11"/>
                    <a:pt x="18" y="12"/>
                  </a:cubicBezTo>
                  <a:cubicBezTo>
                    <a:pt x="17" y="13"/>
                    <a:pt x="14" y="12"/>
                    <a:pt x="12" y="14"/>
                  </a:cubicBezTo>
                  <a:cubicBezTo>
                    <a:pt x="10" y="16"/>
                    <a:pt x="8" y="18"/>
                    <a:pt x="5" y="19"/>
                  </a:cubicBezTo>
                  <a:cubicBezTo>
                    <a:pt x="5" y="19"/>
                    <a:pt x="3" y="19"/>
                    <a:pt x="3" y="22"/>
                  </a:cubicBezTo>
                  <a:cubicBezTo>
                    <a:pt x="3" y="24"/>
                    <a:pt x="2" y="27"/>
                    <a:pt x="2" y="27"/>
                  </a:cubicBezTo>
                  <a:cubicBezTo>
                    <a:pt x="5" y="28"/>
                    <a:pt x="5" y="28"/>
                    <a:pt x="5" y="28"/>
                  </a:cubicBezTo>
                  <a:cubicBezTo>
                    <a:pt x="6" y="33"/>
                    <a:pt x="6" y="33"/>
                    <a:pt x="6" y="33"/>
                  </a:cubicBezTo>
                  <a:cubicBezTo>
                    <a:pt x="11" y="35"/>
                    <a:pt x="11" y="35"/>
                    <a:pt x="11" y="35"/>
                  </a:cubicBezTo>
                  <a:cubicBezTo>
                    <a:pt x="6" y="39"/>
                    <a:pt x="4" y="38"/>
                    <a:pt x="5" y="43"/>
                  </a:cubicBezTo>
                  <a:cubicBezTo>
                    <a:pt x="5" y="45"/>
                    <a:pt x="14" y="38"/>
                    <a:pt x="15" y="40"/>
                  </a:cubicBezTo>
                  <a:cubicBezTo>
                    <a:pt x="16" y="43"/>
                    <a:pt x="9" y="47"/>
                    <a:pt x="9" y="50"/>
                  </a:cubicBezTo>
                  <a:cubicBezTo>
                    <a:pt x="11" y="52"/>
                    <a:pt x="11" y="52"/>
                    <a:pt x="11" y="52"/>
                  </a:cubicBezTo>
                  <a:cubicBezTo>
                    <a:pt x="9" y="59"/>
                    <a:pt x="9" y="59"/>
                    <a:pt x="9" y="59"/>
                  </a:cubicBezTo>
                  <a:cubicBezTo>
                    <a:pt x="6" y="62"/>
                    <a:pt x="6" y="62"/>
                    <a:pt x="6" y="62"/>
                  </a:cubicBezTo>
                  <a:cubicBezTo>
                    <a:pt x="3" y="69"/>
                    <a:pt x="3" y="69"/>
                    <a:pt x="3" y="69"/>
                  </a:cubicBezTo>
                  <a:cubicBezTo>
                    <a:pt x="4" y="73"/>
                    <a:pt x="4" y="73"/>
                    <a:pt x="4" y="73"/>
                  </a:cubicBezTo>
                  <a:cubicBezTo>
                    <a:pt x="5" y="73"/>
                    <a:pt x="6" y="72"/>
                    <a:pt x="6" y="72"/>
                  </a:cubicBezTo>
                  <a:cubicBezTo>
                    <a:pt x="6" y="72"/>
                    <a:pt x="7" y="71"/>
                    <a:pt x="7" y="71"/>
                  </a:cubicBezTo>
                  <a:cubicBezTo>
                    <a:pt x="8" y="71"/>
                    <a:pt x="9" y="71"/>
                    <a:pt x="9" y="71"/>
                  </a:cubicBezTo>
                  <a:cubicBezTo>
                    <a:pt x="9" y="71"/>
                    <a:pt x="11" y="70"/>
                    <a:pt x="11" y="70"/>
                  </a:cubicBezTo>
                  <a:cubicBezTo>
                    <a:pt x="11" y="69"/>
                    <a:pt x="11" y="69"/>
                    <a:pt x="11" y="69"/>
                  </a:cubicBezTo>
                  <a:cubicBezTo>
                    <a:pt x="13" y="68"/>
                    <a:pt x="13" y="68"/>
                    <a:pt x="13" y="68"/>
                  </a:cubicBezTo>
                  <a:cubicBezTo>
                    <a:pt x="14" y="69"/>
                    <a:pt x="14" y="69"/>
                    <a:pt x="14" y="69"/>
                  </a:cubicBezTo>
                  <a:cubicBezTo>
                    <a:pt x="14" y="69"/>
                    <a:pt x="15" y="68"/>
                    <a:pt x="15" y="68"/>
                  </a:cubicBezTo>
                  <a:cubicBezTo>
                    <a:pt x="15" y="68"/>
                    <a:pt x="18" y="68"/>
                    <a:pt x="18" y="68"/>
                  </a:cubicBezTo>
                  <a:cubicBezTo>
                    <a:pt x="18" y="68"/>
                    <a:pt x="19" y="68"/>
                    <a:pt x="20" y="69"/>
                  </a:cubicBezTo>
                  <a:cubicBezTo>
                    <a:pt x="20" y="69"/>
                    <a:pt x="21" y="69"/>
                    <a:pt x="22" y="69"/>
                  </a:cubicBezTo>
                  <a:cubicBezTo>
                    <a:pt x="22" y="69"/>
                    <a:pt x="24" y="68"/>
                    <a:pt x="24" y="68"/>
                  </a:cubicBezTo>
                  <a:cubicBezTo>
                    <a:pt x="27" y="67"/>
                    <a:pt x="27" y="67"/>
                    <a:pt x="27" y="67"/>
                  </a:cubicBezTo>
                  <a:cubicBezTo>
                    <a:pt x="28" y="69"/>
                    <a:pt x="28" y="69"/>
                    <a:pt x="28" y="69"/>
                  </a:cubicBezTo>
                  <a:cubicBezTo>
                    <a:pt x="28" y="69"/>
                    <a:pt x="28" y="70"/>
                    <a:pt x="28" y="70"/>
                  </a:cubicBezTo>
                  <a:cubicBezTo>
                    <a:pt x="28" y="71"/>
                    <a:pt x="28" y="71"/>
                    <a:pt x="29" y="71"/>
                  </a:cubicBezTo>
                  <a:cubicBezTo>
                    <a:pt x="29" y="71"/>
                    <a:pt x="30" y="71"/>
                    <a:pt x="30" y="71"/>
                  </a:cubicBezTo>
                  <a:cubicBezTo>
                    <a:pt x="30" y="72"/>
                    <a:pt x="30" y="74"/>
                    <a:pt x="30" y="74"/>
                  </a:cubicBezTo>
                  <a:cubicBezTo>
                    <a:pt x="28" y="75"/>
                    <a:pt x="28" y="75"/>
                    <a:pt x="28" y="75"/>
                  </a:cubicBezTo>
                  <a:cubicBezTo>
                    <a:pt x="28" y="75"/>
                    <a:pt x="26" y="75"/>
                    <a:pt x="26" y="76"/>
                  </a:cubicBezTo>
                  <a:cubicBezTo>
                    <a:pt x="26" y="76"/>
                    <a:pt x="25" y="77"/>
                    <a:pt x="25" y="77"/>
                  </a:cubicBezTo>
                  <a:cubicBezTo>
                    <a:pt x="25" y="77"/>
                    <a:pt x="24" y="78"/>
                    <a:pt x="24" y="78"/>
                  </a:cubicBezTo>
                  <a:cubicBezTo>
                    <a:pt x="25" y="79"/>
                    <a:pt x="26" y="80"/>
                    <a:pt x="26" y="80"/>
                  </a:cubicBezTo>
                  <a:cubicBezTo>
                    <a:pt x="25" y="81"/>
                    <a:pt x="25" y="81"/>
                    <a:pt x="25" y="81"/>
                  </a:cubicBezTo>
                  <a:cubicBezTo>
                    <a:pt x="25" y="81"/>
                    <a:pt x="25" y="82"/>
                    <a:pt x="26" y="82"/>
                  </a:cubicBezTo>
                  <a:cubicBezTo>
                    <a:pt x="27" y="83"/>
                    <a:pt x="27" y="83"/>
                    <a:pt x="28" y="82"/>
                  </a:cubicBezTo>
                  <a:cubicBezTo>
                    <a:pt x="30" y="82"/>
                    <a:pt x="31" y="81"/>
                    <a:pt x="31" y="81"/>
                  </a:cubicBezTo>
                  <a:cubicBezTo>
                    <a:pt x="31" y="81"/>
                    <a:pt x="32" y="82"/>
                    <a:pt x="32" y="81"/>
                  </a:cubicBezTo>
                  <a:cubicBezTo>
                    <a:pt x="33" y="81"/>
                    <a:pt x="35" y="80"/>
                    <a:pt x="35" y="80"/>
                  </a:cubicBezTo>
                  <a:cubicBezTo>
                    <a:pt x="35" y="80"/>
                    <a:pt x="35" y="79"/>
                    <a:pt x="35" y="79"/>
                  </a:cubicBezTo>
                  <a:cubicBezTo>
                    <a:pt x="35" y="79"/>
                    <a:pt x="35" y="81"/>
                    <a:pt x="35" y="81"/>
                  </a:cubicBezTo>
                  <a:cubicBezTo>
                    <a:pt x="35" y="81"/>
                    <a:pt x="34" y="82"/>
                    <a:pt x="35" y="82"/>
                  </a:cubicBezTo>
                  <a:cubicBezTo>
                    <a:pt x="35" y="83"/>
                    <a:pt x="36" y="82"/>
                    <a:pt x="36" y="82"/>
                  </a:cubicBezTo>
                  <a:cubicBezTo>
                    <a:pt x="37" y="82"/>
                    <a:pt x="37" y="82"/>
                    <a:pt x="37" y="82"/>
                  </a:cubicBezTo>
                  <a:cubicBezTo>
                    <a:pt x="39" y="82"/>
                    <a:pt x="39" y="82"/>
                    <a:pt x="39" y="82"/>
                  </a:cubicBezTo>
                  <a:cubicBezTo>
                    <a:pt x="39" y="82"/>
                    <a:pt x="41" y="81"/>
                    <a:pt x="41" y="81"/>
                  </a:cubicBezTo>
                  <a:cubicBezTo>
                    <a:pt x="41" y="82"/>
                    <a:pt x="42" y="82"/>
                    <a:pt x="42" y="82"/>
                  </a:cubicBezTo>
                  <a:cubicBezTo>
                    <a:pt x="42" y="83"/>
                    <a:pt x="45" y="84"/>
                    <a:pt x="45" y="84"/>
                  </a:cubicBezTo>
                  <a:cubicBezTo>
                    <a:pt x="44" y="85"/>
                    <a:pt x="44" y="85"/>
                    <a:pt x="44" y="85"/>
                  </a:cubicBezTo>
                  <a:cubicBezTo>
                    <a:pt x="44" y="85"/>
                    <a:pt x="43" y="87"/>
                    <a:pt x="44" y="87"/>
                  </a:cubicBezTo>
                  <a:cubicBezTo>
                    <a:pt x="44" y="87"/>
                    <a:pt x="45" y="86"/>
                    <a:pt x="45" y="86"/>
                  </a:cubicBezTo>
                  <a:cubicBezTo>
                    <a:pt x="45" y="86"/>
                    <a:pt x="46" y="85"/>
                    <a:pt x="46" y="85"/>
                  </a:cubicBezTo>
                  <a:cubicBezTo>
                    <a:pt x="46" y="85"/>
                    <a:pt x="47" y="85"/>
                    <a:pt x="47" y="85"/>
                  </a:cubicBezTo>
                  <a:cubicBezTo>
                    <a:pt x="47" y="85"/>
                    <a:pt x="48" y="86"/>
                    <a:pt x="48" y="86"/>
                  </a:cubicBezTo>
                  <a:cubicBezTo>
                    <a:pt x="48" y="86"/>
                    <a:pt x="49" y="88"/>
                    <a:pt x="49" y="88"/>
                  </a:cubicBezTo>
                  <a:cubicBezTo>
                    <a:pt x="49" y="88"/>
                    <a:pt x="50" y="87"/>
                    <a:pt x="50" y="87"/>
                  </a:cubicBezTo>
                  <a:cubicBezTo>
                    <a:pt x="50" y="87"/>
                    <a:pt x="51" y="87"/>
                    <a:pt x="51" y="87"/>
                  </a:cubicBezTo>
                  <a:cubicBezTo>
                    <a:pt x="52" y="87"/>
                    <a:pt x="52" y="87"/>
                    <a:pt x="52" y="87"/>
                  </a:cubicBezTo>
                  <a:cubicBezTo>
                    <a:pt x="53" y="87"/>
                    <a:pt x="56" y="87"/>
                    <a:pt x="56" y="87"/>
                  </a:cubicBezTo>
                  <a:cubicBezTo>
                    <a:pt x="57" y="86"/>
                    <a:pt x="57" y="86"/>
                    <a:pt x="57" y="86"/>
                  </a:cubicBezTo>
                  <a:cubicBezTo>
                    <a:pt x="58" y="84"/>
                    <a:pt x="58" y="84"/>
                    <a:pt x="58" y="84"/>
                  </a:cubicBezTo>
                  <a:cubicBezTo>
                    <a:pt x="58" y="83"/>
                    <a:pt x="58" y="83"/>
                    <a:pt x="58" y="83"/>
                  </a:cubicBezTo>
                  <a:cubicBezTo>
                    <a:pt x="58" y="83"/>
                    <a:pt x="60" y="82"/>
                    <a:pt x="60" y="82"/>
                  </a:cubicBezTo>
                  <a:cubicBezTo>
                    <a:pt x="60" y="82"/>
                    <a:pt x="61" y="82"/>
                    <a:pt x="61" y="83"/>
                  </a:cubicBezTo>
                  <a:cubicBezTo>
                    <a:pt x="61" y="83"/>
                    <a:pt x="63" y="85"/>
                    <a:pt x="63" y="85"/>
                  </a:cubicBezTo>
                  <a:cubicBezTo>
                    <a:pt x="63" y="85"/>
                    <a:pt x="64" y="84"/>
                    <a:pt x="64" y="84"/>
                  </a:cubicBezTo>
                  <a:cubicBezTo>
                    <a:pt x="65" y="85"/>
                    <a:pt x="65" y="84"/>
                    <a:pt x="66" y="85"/>
                  </a:cubicBezTo>
                  <a:cubicBezTo>
                    <a:pt x="66" y="86"/>
                    <a:pt x="66" y="86"/>
                    <a:pt x="66" y="86"/>
                  </a:cubicBezTo>
                  <a:cubicBezTo>
                    <a:pt x="67" y="86"/>
                    <a:pt x="67" y="86"/>
                    <a:pt x="68" y="87"/>
                  </a:cubicBezTo>
                  <a:cubicBezTo>
                    <a:pt x="68" y="87"/>
                    <a:pt x="70" y="87"/>
                    <a:pt x="70" y="87"/>
                  </a:cubicBezTo>
                  <a:cubicBezTo>
                    <a:pt x="70" y="86"/>
                    <a:pt x="70" y="86"/>
                    <a:pt x="70" y="86"/>
                  </a:cubicBezTo>
                  <a:cubicBezTo>
                    <a:pt x="70" y="86"/>
                    <a:pt x="70" y="85"/>
                    <a:pt x="71" y="85"/>
                  </a:cubicBezTo>
                  <a:cubicBezTo>
                    <a:pt x="72" y="86"/>
                    <a:pt x="72" y="87"/>
                    <a:pt x="72" y="87"/>
                  </a:cubicBezTo>
                  <a:cubicBezTo>
                    <a:pt x="72" y="87"/>
                    <a:pt x="73" y="88"/>
                    <a:pt x="73" y="88"/>
                  </a:cubicBezTo>
                  <a:cubicBezTo>
                    <a:pt x="73" y="88"/>
                    <a:pt x="76" y="88"/>
                    <a:pt x="76" y="88"/>
                  </a:cubicBezTo>
                  <a:cubicBezTo>
                    <a:pt x="76" y="88"/>
                    <a:pt x="77" y="88"/>
                    <a:pt x="77" y="88"/>
                  </a:cubicBezTo>
                  <a:cubicBezTo>
                    <a:pt x="78" y="88"/>
                    <a:pt x="78" y="89"/>
                    <a:pt x="78" y="89"/>
                  </a:cubicBezTo>
                  <a:cubicBezTo>
                    <a:pt x="78" y="89"/>
                    <a:pt x="78" y="90"/>
                    <a:pt x="78" y="91"/>
                  </a:cubicBezTo>
                  <a:cubicBezTo>
                    <a:pt x="77" y="91"/>
                    <a:pt x="77" y="91"/>
                    <a:pt x="77" y="91"/>
                  </a:cubicBezTo>
                  <a:cubicBezTo>
                    <a:pt x="78" y="92"/>
                    <a:pt x="79" y="93"/>
                    <a:pt x="79" y="93"/>
                  </a:cubicBezTo>
                  <a:cubicBezTo>
                    <a:pt x="79" y="93"/>
                    <a:pt x="78" y="94"/>
                    <a:pt x="78" y="94"/>
                  </a:cubicBezTo>
                  <a:cubicBezTo>
                    <a:pt x="78" y="95"/>
                    <a:pt x="77" y="96"/>
                    <a:pt x="77" y="96"/>
                  </a:cubicBezTo>
                  <a:cubicBezTo>
                    <a:pt x="77" y="97"/>
                    <a:pt x="77" y="97"/>
                    <a:pt x="77" y="97"/>
                  </a:cubicBezTo>
                  <a:cubicBezTo>
                    <a:pt x="76" y="97"/>
                    <a:pt x="76" y="97"/>
                    <a:pt x="76" y="97"/>
                  </a:cubicBezTo>
                  <a:cubicBezTo>
                    <a:pt x="76" y="98"/>
                    <a:pt x="76" y="98"/>
                    <a:pt x="76" y="98"/>
                  </a:cubicBezTo>
                  <a:cubicBezTo>
                    <a:pt x="76" y="98"/>
                    <a:pt x="76" y="99"/>
                    <a:pt x="76" y="99"/>
                  </a:cubicBezTo>
                  <a:cubicBezTo>
                    <a:pt x="76" y="99"/>
                    <a:pt x="76" y="101"/>
                    <a:pt x="76" y="101"/>
                  </a:cubicBezTo>
                  <a:cubicBezTo>
                    <a:pt x="77" y="102"/>
                    <a:pt x="77" y="102"/>
                    <a:pt x="77" y="102"/>
                  </a:cubicBezTo>
                  <a:cubicBezTo>
                    <a:pt x="77" y="102"/>
                    <a:pt x="78" y="101"/>
                    <a:pt x="79" y="101"/>
                  </a:cubicBezTo>
                  <a:cubicBezTo>
                    <a:pt x="79" y="101"/>
                    <a:pt x="81" y="101"/>
                    <a:pt x="81" y="101"/>
                  </a:cubicBezTo>
                  <a:cubicBezTo>
                    <a:pt x="81" y="101"/>
                    <a:pt x="83" y="103"/>
                    <a:pt x="83" y="103"/>
                  </a:cubicBezTo>
                  <a:cubicBezTo>
                    <a:pt x="83" y="103"/>
                    <a:pt x="85" y="105"/>
                    <a:pt x="85" y="105"/>
                  </a:cubicBezTo>
                  <a:cubicBezTo>
                    <a:pt x="87" y="107"/>
                    <a:pt x="87" y="107"/>
                    <a:pt x="87" y="107"/>
                  </a:cubicBezTo>
                  <a:cubicBezTo>
                    <a:pt x="85" y="108"/>
                    <a:pt x="85" y="108"/>
                    <a:pt x="85" y="108"/>
                  </a:cubicBezTo>
                  <a:cubicBezTo>
                    <a:pt x="83" y="111"/>
                    <a:pt x="83" y="111"/>
                    <a:pt x="83" y="111"/>
                  </a:cubicBezTo>
                  <a:cubicBezTo>
                    <a:pt x="82" y="112"/>
                    <a:pt x="82" y="112"/>
                    <a:pt x="82" y="112"/>
                  </a:cubicBezTo>
                  <a:cubicBezTo>
                    <a:pt x="82" y="112"/>
                    <a:pt x="81" y="113"/>
                    <a:pt x="81" y="113"/>
                  </a:cubicBezTo>
                  <a:cubicBezTo>
                    <a:pt x="81" y="114"/>
                    <a:pt x="79" y="115"/>
                    <a:pt x="79" y="115"/>
                  </a:cubicBezTo>
                  <a:cubicBezTo>
                    <a:pt x="78" y="115"/>
                    <a:pt x="78" y="115"/>
                    <a:pt x="78" y="115"/>
                  </a:cubicBezTo>
                  <a:cubicBezTo>
                    <a:pt x="76" y="116"/>
                    <a:pt x="76" y="116"/>
                    <a:pt x="76" y="116"/>
                  </a:cubicBezTo>
                  <a:cubicBezTo>
                    <a:pt x="75" y="117"/>
                    <a:pt x="75" y="117"/>
                    <a:pt x="75" y="117"/>
                  </a:cubicBezTo>
                  <a:cubicBezTo>
                    <a:pt x="73" y="119"/>
                    <a:pt x="73" y="119"/>
                    <a:pt x="73" y="119"/>
                  </a:cubicBezTo>
                  <a:cubicBezTo>
                    <a:pt x="72" y="119"/>
                    <a:pt x="72" y="119"/>
                    <a:pt x="72" y="119"/>
                  </a:cubicBezTo>
                  <a:cubicBezTo>
                    <a:pt x="70" y="120"/>
                    <a:pt x="70" y="120"/>
                    <a:pt x="70" y="120"/>
                  </a:cubicBezTo>
                  <a:cubicBezTo>
                    <a:pt x="69" y="119"/>
                    <a:pt x="69" y="119"/>
                    <a:pt x="69" y="119"/>
                  </a:cubicBezTo>
                  <a:cubicBezTo>
                    <a:pt x="67" y="120"/>
                    <a:pt x="67" y="120"/>
                    <a:pt x="67" y="120"/>
                  </a:cubicBezTo>
                  <a:cubicBezTo>
                    <a:pt x="66" y="121"/>
                    <a:pt x="66" y="121"/>
                    <a:pt x="66" y="121"/>
                  </a:cubicBezTo>
                  <a:cubicBezTo>
                    <a:pt x="64" y="122"/>
                    <a:pt x="64" y="122"/>
                    <a:pt x="64" y="122"/>
                  </a:cubicBezTo>
                  <a:cubicBezTo>
                    <a:pt x="63" y="125"/>
                    <a:pt x="63" y="125"/>
                    <a:pt x="63" y="125"/>
                  </a:cubicBezTo>
                  <a:cubicBezTo>
                    <a:pt x="63" y="125"/>
                    <a:pt x="61" y="125"/>
                    <a:pt x="61" y="125"/>
                  </a:cubicBezTo>
                  <a:cubicBezTo>
                    <a:pt x="60" y="126"/>
                    <a:pt x="59" y="126"/>
                    <a:pt x="59" y="126"/>
                  </a:cubicBezTo>
                  <a:cubicBezTo>
                    <a:pt x="58" y="126"/>
                    <a:pt x="58" y="126"/>
                    <a:pt x="58" y="126"/>
                  </a:cubicBezTo>
                  <a:cubicBezTo>
                    <a:pt x="57" y="126"/>
                    <a:pt x="57" y="126"/>
                    <a:pt x="57" y="126"/>
                  </a:cubicBezTo>
                  <a:cubicBezTo>
                    <a:pt x="57" y="128"/>
                    <a:pt x="57" y="128"/>
                    <a:pt x="57" y="128"/>
                  </a:cubicBezTo>
                  <a:cubicBezTo>
                    <a:pt x="58" y="128"/>
                    <a:pt x="58" y="128"/>
                    <a:pt x="58" y="128"/>
                  </a:cubicBezTo>
                  <a:cubicBezTo>
                    <a:pt x="58" y="128"/>
                    <a:pt x="58" y="129"/>
                    <a:pt x="57" y="130"/>
                  </a:cubicBezTo>
                  <a:cubicBezTo>
                    <a:pt x="57" y="130"/>
                    <a:pt x="58" y="132"/>
                    <a:pt x="58" y="132"/>
                  </a:cubicBezTo>
                  <a:cubicBezTo>
                    <a:pt x="59" y="133"/>
                    <a:pt x="59" y="133"/>
                    <a:pt x="59" y="133"/>
                  </a:cubicBezTo>
                  <a:cubicBezTo>
                    <a:pt x="59" y="133"/>
                    <a:pt x="59" y="135"/>
                    <a:pt x="59" y="135"/>
                  </a:cubicBezTo>
                  <a:cubicBezTo>
                    <a:pt x="58" y="135"/>
                    <a:pt x="57" y="136"/>
                    <a:pt x="57" y="136"/>
                  </a:cubicBezTo>
                  <a:cubicBezTo>
                    <a:pt x="57" y="137"/>
                    <a:pt x="57" y="137"/>
                    <a:pt x="57" y="137"/>
                  </a:cubicBezTo>
                  <a:cubicBezTo>
                    <a:pt x="57" y="139"/>
                    <a:pt x="57" y="139"/>
                    <a:pt x="57" y="139"/>
                  </a:cubicBezTo>
                  <a:cubicBezTo>
                    <a:pt x="57" y="139"/>
                    <a:pt x="57" y="141"/>
                    <a:pt x="57" y="141"/>
                  </a:cubicBezTo>
                  <a:cubicBezTo>
                    <a:pt x="57" y="142"/>
                    <a:pt x="56" y="143"/>
                    <a:pt x="56" y="143"/>
                  </a:cubicBezTo>
                  <a:cubicBezTo>
                    <a:pt x="55" y="144"/>
                    <a:pt x="55" y="144"/>
                    <a:pt x="55" y="144"/>
                  </a:cubicBezTo>
                  <a:cubicBezTo>
                    <a:pt x="55" y="145"/>
                    <a:pt x="55" y="145"/>
                    <a:pt x="55" y="145"/>
                  </a:cubicBezTo>
                  <a:cubicBezTo>
                    <a:pt x="56" y="146"/>
                    <a:pt x="56" y="146"/>
                    <a:pt x="56" y="146"/>
                  </a:cubicBezTo>
                  <a:cubicBezTo>
                    <a:pt x="55" y="149"/>
                    <a:pt x="55" y="149"/>
                    <a:pt x="55" y="149"/>
                  </a:cubicBezTo>
                  <a:cubicBezTo>
                    <a:pt x="53" y="150"/>
                    <a:pt x="53" y="150"/>
                    <a:pt x="53" y="150"/>
                  </a:cubicBezTo>
                  <a:cubicBezTo>
                    <a:pt x="53" y="152"/>
                    <a:pt x="53" y="152"/>
                    <a:pt x="53" y="152"/>
                  </a:cubicBezTo>
                  <a:cubicBezTo>
                    <a:pt x="54" y="153"/>
                    <a:pt x="54" y="153"/>
                    <a:pt x="54" y="153"/>
                  </a:cubicBezTo>
                  <a:cubicBezTo>
                    <a:pt x="54" y="155"/>
                    <a:pt x="54" y="155"/>
                    <a:pt x="54" y="155"/>
                  </a:cubicBezTo>
                  <a:cubicBezTo>
                    <a:pt x="54" y="156"/>
                    <a:pt x="54" y="156"/>
                    <a:pt x="54" y="156"/>
                  </a:cubicBezTo>
                  <a:cubicBezTo>
                    <a:pt x="53" y="157"/>
                    <a:pt x="53" y="157"/>
                    <a:pt x="53" y="157"/>
                  </a:cubicBezTo>
                  <a:cubicBezTo>
                    <a:pt x="52" y="157"/>
                    <a:pt x="52" y="157"/>
                    <a:pt x="52" y="157"/>
                  </a:cubicBezTo>
                  <a:cubicBezTo>
                    <a:pt x="51" y="159"/>
                    <a:pt x="51" y="159"/>
                    <a:pt x="51" y="159"/>
                  </a:cubicBezTo>
                  <a:cubicBezTo>
                    <a:pt x="49" y="159"/>
                    <a:pt x="49" y="159"/>
                    <a:pt x="49" y="159"/>
                  </a:cubicBezTo>
                  <a:cubicBezTo>
                    <a:pt x="48" y="159"/>
                    <a:pt x="48" y="159"/>
                    <a:pt x="48" y="159"/>
                  </a:cubicBezTo>
                  <a:cubicBezTo>
                    <a:pt x="47" y="160"/>
                    <a:pt x="47" y="160"/>
                    <a:pt x="47" y="160"/>
                  </a:cubicBezTo>
                  <a:cubicBezTo>
                    <a:pt x="46" y="160"/>
                    <a:pt x="46" y="160"/>
                    <a:pt x="46" y="160"/>
                  </a:cubicBezTo>
                  <a:cubicBezTo>
                    <a:pt x="45" y="161"/>
                    <a:pt x="45" y="161"/>
                    <a:pt x="45" y="161"/>
                  </a:cubicBezTo>
                  <a:cubicBezTo>
                    <a:pt x="45" y="162"/>
                    <a:pt x="45" y="162"/>
                    <a:pt x="45" y="162"/>
                  </a:cubicBezTo>
                  <a:cubicBezTo>
                    <a:pt x="45" y="162"/>
                    <a:pt x="45" y="163"/>
                    <a:pt x="45" y="164"/>
                  </a:cubicBezTo>
                  <a:cubicBezTo>
                    <a:pt x="45" y="164"/>
                    <a:pt x="46" y="164"/>
                    <a:pt x="46" y="164"/>
                  </a:cubicBezTo>
                  <a:cubicBezTo>
                    <a:pt x="47" y="165"/>
                    <a:pt x="47" y="165"/>
                    <a:pt x="47" y="165"/>
                  </a:cubicBezTo>
                  <a:cubicBezTo>
                    <a:pt x="48" y="168"/>
                    <a:pt x="48" y="168"/>
                    <a:pt x="48" y="168"/>
                  </a:cubicBezTo>
                  <a:cubicBezTo>
                    <a:pt x="48" y="170"/>
                    <a:pt x="48" y="170"/>
                    <a:pt x="48" y="170"/>
                  </a:cubicBezTo>
                  <a:cubicBezTo>
                    <a:pt x="48" y="170"/>
                    <a:pt x="48" y="171"/>
                    <a:pt x="47" y="172"/>
                  </a:cubicBezTo>
                  <a:cubicBezTo>
                    <a:pt x="47" y="172"/>
                    <a:pt x="46" y="173"/>
                    <a:pt x="46" y="173"/>
                  </a:cubicBezTo>
                  <a:cubicBezTo>
                    <a:pt x="46" y="175"/>
                    <a:pt x="46" y="175"/>
                    <a:pt x="46" y="175"/>
                  </a:cubicBezTo>
                  <a:cubicBezTo>
                    <a:pt x="45" y="176"/>
                    <a:pt x="45" y="176"/>
                    <a:pt x="45" y="176"/>
                  </a:cubicBezTo>
                  <a:cubicBezTo>
                    <a:pt x="44" y="177"/>
                    <a:pt x="44" y="177"/>
                    <a:pt x="44" y="177"/>
                  </a:cubicBezTo>
                  <a:cubicBezTo>
                    <a:pt x="42" y="177"/>
                    <a:pt x="42" y="177"/>
                    <a:pt x="42" y="177"/>
                  </a:cubicBezTo>
                  <a:cubicBezTo>
                    <a:pt x="42" y="178"/>
                    <a:pt x="42" y="178"/>
                    <a:pt x="42" y="178"/>
                  </a:cubicBezTo>
                  <a:cubicBezTo>
                    <a:pt x="42" y="179"/>
                    <a:pt x="42" y="179"/>
                    <a:pt x="42" y="179"/>
                  </a:cubicBezTo>
                  <a:cubicBezTo>
                    <a:pt x="41" y="180"/>
                    <a:pt x="41" y="180"/>
                    <a:pt x="41" y="180"/>
                  </a:cubicBezTo>
                  <a:cubicBezTo>
                    <a:pt x="41" y="180"/>
                    <a:pt x="41" y="180"/>
                    <a:pt x="41" y="180"/>
                  </a:cubicBezTo>
                  <a:cubicBezTo>
                    <a:pt x="41" y="182"/>
                    <a:pt x="41" y="182"/>
                    <a:pt x="41" y="182"/>
                  </a:cubicBezTo>
                  <a:cubicBezTo>
                    <a:pt x="40" y="183"/>
                    <a:pt x="40" y="183"/>
                    <a:pt x="40" y="183"/>
                  </a:cubicBezTo>
                  <a:cubicBezTo>
                    <a:pt x="40" y="183"/>
                    <a:pt x="39" y="183"/>
                    <a:pt x="39" y="183"/>
                  </a:cubicBezTo>
                  <a:cubicBezTo>
                    <a:pt x="38" y="183"/>
                    <a:pt x="37" y="183"/>
                    <a:pt x="37" y="183"/>
                  </a:cubicBezTo>
                  <a:cubicBezTo>
                    <a:pt x="37" y="183"/>
                    <a:pt x="36" y="183"/>
                    <a:pt x="36" y="183"/>
                  </a:cubicBezTo>
                  <a:cubicBezTo>
                    <a:pt x="36" y="183"/>
                    <a:pt x="35" y="183"/>
                    <a:pt x="35" y="183"/>
                  </a:cubicBezTo>
                  <a:cubicBezTo>
                    <a:pt x="35" y="183"/>
                    <a:pt x="34" y="182"/>
                    <a:pt x="34" y="182"/>
                  </a:cubicBezTo>
                  <a:cubicBezTo>
                    <a:pt x="33" y="182"/>
                    <a:pt x="33" y="182"/>
                    <a:pt x="33" y="182"/>
                  </a:cubicBezTo>
                  <a:cubicBezTo>
                    <a:pt x="31" y="182"/>
                    <a:pt x="31" y="182"/>
                    <a:pt x="31" y="182"/>
                  </a:cubicBezTo>
                  <a:cubicBezTo>
                    <a:pt x="29" y="182"/>
                    <a:pt x="29" y="182"/>
                    <a:pt x="29" y="182"/>
                  </a:cubicBezTo>
                  <a:cubicBezTo>
                    <a:pt x="27" y="182"/>
                    <a:pt x="27" y="182"/>
                    <a:pt x="27" y="182"/>
                  </a:cubicBezTo>
                  <a:cubicBezTo>
                    <a:pt x="27" y="181"/>
                    <a:pt x="27" y="181"/>
                    <a:pt x="27" y="181"/>
                  </a:cubicBezTo>
                  <a:cubicBezTo>
                    <a:pt x="26" y="182"/>
                    <a:pt x="26" y="182"/>
                    <a:pt x="26" y="182"/>
                  </a:cubicBezTo>
                  <a:cubicBezTo>
                    <a:pt x="26" y="181"/>
                    <a:pt x="26" y="181"/>
                    <a:pt x="26" y="181"/>
                  </a:cubicBezTo>
                  <a:cubicBezTo>
                    <a:pt x="24" y="180"/>
                    <a:pt x="24" y="180"/>
                    <a:pt x="24" y="180"/>
                  </a:cubicBezTo>
                  <a:cubicBezTo>
                    <a:pt x="22" y="180"/>
                    <a:pt x="22" y="180"/>
                    <a:pt x="22" y="180"/>
                  </a:cubicBezTo>
                  <a:cubicBezTo>
                    <a:pt x="22" y="180"/>
                    <a:pt x="23" y="181"/>
                    <a:pt x="23" y="182"/>
                  </a:cubicBezTo>
                  <a:cubicBezTo>
                    <a:pt x="23" y="182"/>
                    <a:pt x="24" y="183"/>
                    <a:pt x="24" y="183"/>
                  </a:cubicBezTo>
                  <a:cubicBezTo>
                    <a:pt x="24" y="183"/>
                    <a:pt x="24" y="185"/>
                    <a:pt x="24" y="185"/>
                  </a:cubicBezTo>
                  <a:cubicBezTo>
                    <a:pt x="24" y="185"/>
                    <a:pt x="26" y="187"/>
                    <a:pt x="26" y="187"/>
                  </a:cubicBezTo>
                  <a:cubicBezTo>
                    <a:pt x="26" y="188"/>
                    <a:pt x="26" y="188"/>
                    <a:pt x="26" y="188"/>
                  </a:cubicBezTo>
                  <a:cubicBezTo>
                    <a:pt x="26" y="188"/>
                    <a:pt x="26" y="189"/>
                    <a:pt x="26" y="189"/>
                  </a:cubicBezTo>
                  <a:cubicBezTo>
                    <a:pt x="27" y="189"/>
                    <a:pt x="28" y="190"/>
                    <a:pt x="28" y="190"/>
                  </a:cubicBezTo>
                  <a:cubicBezTo>
                    <a:pt x="28" y="191"/>
                    <a:pt x="28" y="191"/>
                    <a:pt x="28" y="191"/>
                  </a:cubicBezTo>
                  <a:cubicBezTo>
                    <a:pt x="27" y="193"/>
                    <a:pt x="27" y="193"/>
                    <a:pt x="27" y="193"/>
                  </a:cubicBezTo>
                  <a:cubicBezTo>
                    <a:pt x="27" y="193"/>
                    <a:pt x="27" y="193"/>
                    <a:pt x="27" y="193"/>
                  </a:cubicBezTo>
                  <a:cubicBezTo>
                    <a:pt x="27" y="195"/>
                    <a:pt x="27" y="195"/>
                    <a:pt x="27" y="195"/>
                  </a:cubicBezTo>
                  <a:cubicBezTo>
                    <a:pt x="27" y="196"/>
                    <a:pt x="27" y="196"/>
                    <a:pt x="27" y="196"/>
                  </a:cubicBezTo>
                  <a:cubicBezTo>
                    <a:pt x="28" y="197"/>
                    <a:pt x="28" y="197"/>
                    <a:pt x="28" y="197"/>
                  </a:cubicBezTo>
                  <a:cubicBezTo>
                    <a:pt x="28" y="198"/>
                    <a:pt x="28" y="198"/>
                    <a:pt x="28" y="198"/>
                  </a:cubicBezTo>
                  <a:cubicBezTo>
                    <a:pt x="27" y="199"/>
                    <a:pt x="27" y="199"/>
                    <a:pt x="27" y="199"/>
                  </a:cubicBezTo>
                  <a:cubicBezTo>
                    <a:pt x="27" y="201"/>
                    <a:pt x="27" y="201"/>
                    <a:pt x="27" y="201"/>
                  </a:cubicBezTo>
                  <a:cubicBezTo>
                    <a:pt x="28" y="202"/>
                    <a:pt x="28" y="202"/>
                    <a:pt x="28" y="202"/>
                  </a:cubicBezTo>
                  <a:cubicBezTo>
                    <a:pt x="29" y="203"/>
                    <a:pt x="29" y="203"/>
                    <a:pt x="29" y="203"/>
                  </a:cubicBezTo>
                  <a:cubicBezTo>
                    <a:pt x="31" y="204"/>
                    <a:pt x="31" y="204"/>
                    <a:pt x="31" y="204"/>
                  </a:cubicBezTo>
                  <a:cubicBezTo>
                    <a:pt x="31" y="205"/>
                    <a:pt x="31" y="205"/>
                    <a:pt x="31" y="205"/>
                  </a:cubicBezTo>
                  <a:cubicBezTo>
                    <a:pt x="30" y="206"/>
                    <a:pt x="30" y="206"/>
                    <a:pt x="30" y="206"/>
                  </a:cubicBezTo>
                  <a:cubicBezTo>
                    <a:pt x="30" y="206"/>
                    <a:pt x="29" y="207"/>
                    <a:pt x="30" y="207"/>
                  </a:cubicBezTo>
                  <a:cubicBezTo>
                    <a:pt x="30" y="207"/>
                    <a:pt x="31" y="207"/>
                    <a:pt x="31" y="207"/>
                  </a:cubicBezTo>
                  <a:cubicBezTo>
                    <a:pt x="33" y="207"/>
                    <a:pt x="33" y="207"/>
                    <a:pt x="33" y="207"/>
                  </a:cubicBezTo>
                  <a:cubicBezTo>
                    <a:pt x="33" y="207"/>
                    <a:pt x="34" y="207"/>
                    <a:pt x="34" y="207"/>
                  </a:cubicBezTo>
                  <a:cubicBezTo>
                    <a:pt x="34" y="207"/>
                    <a:pt x="35" y="209"/>
                    <a:pt x="35" y="209"/>
                  </a:cubicBezTo>
                  <a:cubicBezTo>
                    <a:pt x="35" y="210"/>
                    <a:pt x="35" y="210"/>
                    <a:pt x="35" y="210"/>
                  </a:cubicBezTo>
                  <a:cubicBezTo>
                    <a:pt x="35" y="212"/>
                    <a:pt x="35" y="212"/>
                    <a:pt x="35" y="212"/>
                  </a:cubicBezTo>
                  <a:cubicBezTo>
                    <a:pt x="34" y="214"/>
                    <a:pt x="34" y="214"/>
                    <a:pt x="34" y="214"/>
                  </a:cubicBezTo>
                  <a:cubicBezTo>
                    <a:pt x="32" y="215"/>
                    <a:pt x="32" y="215"/>
                    <a:pt x="32" y="215"/>
                  </a:cubicBezTo>
                  <a:cubicBezTo>
                    <a:pt x="31" y="216"/>
                    <a:pt x="31" y="216"/>
                    <a:pt x="31" y="216"/>
                  </a:cubicBezTo>
                  <a:cubicBezTo>
                    <a:pt x="31" y="217"/>
                    <a:pt x="31" y="217"/>
                    <a:pt x="31" y="217"/>
                  </a:cubicBezTo>
                  <a:cubicBezTo>
                    <a:pt x="30" y="218"/>
                    <a:pt x="30" y="218"/>
                    <a:pt x="30" y="218"/>
                  </a:cubicBezTo>
                  <a:cubicBezTo>
                    <a:pt x="29" y="219"/>
                    <a:pt x="29" y="219"/>
                    <a:pt x="29" y="219"/>
                  </a:cubicBezTo>
                  <a:cubicBezTo>
                    <a:pt x="27" y="219"/>
                    <a:pt x="27" y="219"/>
                    <a:pt x="27" y="219"/>
                  </a:cubicBezTo>
                  <a:cubicBezTo>
                    <a:pt x="27" y="220"/>
                    <a:pt x="27" y="220"/>
                    <a:pt x="27" y="220"/>
                  </a:cubicBezTo>
                  <a:cubicBezTo>
                    <a:pt x="25" y="220"/>
                    <a:pt x="25" y="220"/>
                    <a:pt x="25" y="220"/>
                  </a:cubicBezTo>
                  <a:cubicBezTo>
                    <a:pt x="23" y="221"/>
                    <a:pt x="23" y="221"/>
                    <a:pt x="23" y="221"/>
                  </a:cubicBezTo>
                  <a:cubicBezTo>
                    <a:pt x="22" y="221"/>
                    <a:pt x="22" y="221"/>
                    <a:pt x="22" y="221"/>
                  </a:cubicBezTo>
                  <a:cubicBezTo>
                    <a:pt x="21" y="224"/>
                    <a:pt x="21" y="224"/>
                    <a:pt x="21" y="224"/>
                  </a:cubicBezTo>
                  <a:cubicBezTo>
                    <a:pt x="21" y="224"/>
                    <a:pt x="20" y="226"/>
                    <a:pt x="21" y="226"/>
                  </a:cubicBezTo>
                  <a:cubicBezTo>
                    <a:pt x="21" y="226"/>
                    <a:pt x="21" y="227"/>
                    <a:pt x="21" y="227"/>
                  </a:cubicBezTo>
                  <a:cubicBezTo>
                    <a:pt x="21" y="227"/>
                    <a:pt x="20" y="229"/>
                    <a:pt x="20" y="229"/>
                  </a:cubicBezTo>
                  <a:cubicBezTo>
                    <a:pt x="20" y="229"/>
                    <a:pt x="18" y="229"/>
                    <a:pt x="18" y="229"/>
                  </a:cubicBezTo>
                  <a:cubicBezTo>
                    <a:pt x="18" y="231"/>
                    <a:pt x="18" y="231"/>
                    <a:pt x="18" y="231"/>
                  </a:cubicBezTo>
                  <a:cubicBezTo>
                    <a:pt x="18" y="231"/>
                    <a:pt x="18" y="231"/>
                    <a:pt x="18" y="231"/>
                  </a:cubicBezTo>
                  <a:cubicBezTo>
                    <a:pt x="17" y="232"/>
                    <a:pt x="17" y="232"/>
                    <a:pt x="17" y="232"/>
                  </a:cubicBezTo>
                  <a:cubicBezTo>
                    <a:pt x="18" y="233"/>
                    <a:pt x="18" y="233"/>
                    <a:pt x="18" y="233"/>
                  </a:cubicBezTo>
                  <a:cubicBezTo>
                    <a:pt x="17" y="234"/>
                    <a:pt x="17" y="234"/>
                    <a:pt x="17" y="234"/>
                  </a:cubicBezTo>
                  <a:cubicBezTo>
                    <a:pt x="17" y="235"/>
                    <a:pt x="17" y="235"/>
                    <a:pt x="17" y="235"/>
                  </a:cubicBezTo>
                  <a:cubicBezTo>
                    <a:pt x="17" y="235"/>
                    <a:pt x="18" y="237"/>
                    <a:pt x="18" y="237"/>
                  </a:cubicBezTo>
                  <a:cubicBezTo>
                    <a:pt x="18" y="238"/>
                    <a:pt x="19" y="239"/>
                    <a:pt x="19" y="239"/>
                  </a:cubicBezTo>
                  <a:cubicBezTo>
                    <a:pt x="19" y="239"/>
                    <a:pt x="20" y="240"/>
                    <a:pt x="20" y="240"/>
                  </a:cubicBezTo>
                  <a:cubicBezTo>
                    <a:pt x="20" y="240"/>
                    <a:pt x="20" y="242"/>
                    <a:pt x="20" y="242"/>
                  </a:cubicBezTo>
                  <a:cubicBezTo>
                    <a:pt x="20" y="243"/>
                    <a:pt x="21" y="245"/>
                    <a:pt x="21" y="245"/>
                  </a:cubicBezTo>
                  <a:cubicBezTo>
                    <a:pt x="21" y="246"/>
                    <a:pt x="21" y="246"/>
                    <a:pt x="21" y="246"/>
                  </a:cubicBezTo>
                  <a:cubicBezTo>
                    <a:pt x="21" y="246"/>
                    <a:pt x="21" y="247"/>
                    <a:pt x="22" y="247"/>
                  </a:cubicBezTo>
                  <a:cubicBezTo>
                    <a:pt x="22" y="247"/>
                    <a:pt x="24" y="247"/>
                    <a:pt x="24" y="247"/>
                  </a:cubicBezTo>
                  <a:cubicBezTo>
                    <a:pt x="24" y="247"/>
                    <a:pt x="25" y="247"/>
                    <a:pt x="26" y="247"/>
                  </a:cubicBezTo>
                  <a:cubicBezTo>
                    <a:pt x="26" y="247"/>
                    <a:pt x="26" y="246"/>
                    <a:pt x="27" y="247"/>
                  </a:cubicBezTo>
                  <a:cubicBezTo>
                    <a:pt x="27" y="247"/>
                    <a:pt x="27" y="248"/>
                    <a:pt x="27" y="248"/>
                  </a:cubicBezTo>
                  <a:cubicBezTo>
                    <a:pt x="27" y="248"/>
                    <a:pt x="27" y="249"/>
                    <a:pt x="27" y="249"/>
                  </a:cubicBezTo>
                  <a:cubicBezTo>
                    <a:pt x="24" y="252"/>
                    <a:pt x="24" y="252"/>
                    <a:pt x="24" y="252"/>
                  </a:cubicBezTo>
                  <a:cubicBezTo>
                    <a:pt x="24" y="254"/>
                    <a:pt x="24" y="254"/>
                    <a:pt x="24" y="254"/>
                  </a:cubicBezTo>
                  <a:cubicBezTo>
                    <a:pt x="24" y="254"/>
                    <a:pt x="23" y="254"/>
                    <a:pt x="23" y="254"/>
                  </a:cubicBezTo>
                  <a:cubicBezTo>
                    <a:pt x="23" y="254"/>
                    <a:pt x="22" y="254"/>
                    <a:pt x="22" y="254"/>
                  </a:cubicBezTo>
                  <a:cubicBezTo>
                    <a:pt x="20" y="253"/>
                    <a:pt x="20" y="253"/>
                    <a:pt x="20" y="253"/>
                  </a:cubicBezTo>
                  <a:cubicBezTo>
                    <a:pt x="18" y="253"/>
                    <a:pt x="18" y="253"/>
                    <a:pt x="18" y="253"/>
                  </a:cubicBezTo>
                  <a:cubicBezTo>
                    <a:pt x="18" y="254"/>
                    <a:pt x="18" y="254"/>
                    <a:pt x="18" y="254"/>
                  </a:cubicBezTo>
                  <a:cubicBezTo>
                    <a:pt x="18" y="254"/>
                    <a:pt x="17" y="254"/>
                    <a:pt x="17" y="254"/>
                  </a:cubicBezTo>
                  <a:cubicBezTo>
                    <a:pt x="16" y="254"/>
                    <a:pt x="14" y="254"/>
                    <a:pt x="14" y="254"/>
                  </a:cubicBezTo>
                  <a:cubicBezTo>
                    <a:pt x="14" y="255"/>
                    <a:pt x="14" y="255"/>
                    <a:pt x="14" y="255"/>
                  </a:cubicBezTo>
                  <a:cubicBezTo>
                    <a:pt x="12" y="258"/>
                    <a:pt x="12" y="258"/>
                    <a:pt x="12" y="258"/>
                  </a:cubicBezTo>
                  <a:cubicBezTo>
                    <a:pt x="11" y="260"/>
                    <a:pt x="11" y="260"/>
                    <a:pt x="11" y="260"/>
                  </a:cubicBezTo>
                  <a:cubicBezTo>
                    <a:pt x="9" y="261"/>
                    <a:pt x="9" y="261"/>
                    <a:pt x="9" y="261"/>
                  </a:cubicBezTo>
                  <a:cubicBezTo>
                    <a:pt x="8" y="262"/>
                    <a:pt x="8" y="262"/>
                    <a:pt x="8" y="262"/>
                  </a:cubicBezTo>
                  <a:cubicBezTo>
                    <a:pt x="6" y="263"/>
                    <a:pt x="6" y="263"/>
                    <a:pt x="6" y="263"/>
                  </a:cubicBezTo>
                  <a:cubicBezTo>
                    <a:pt x="6" y="263"/>
                    <a:pt x="5" y="264"/>
                    <a:pt x="5" y="264"/>
                  </a:cubicBezTo>
                  <a:cubicBezTo>
                    <a:pt x="5" y="264"/>
                    <a:pt x="4" y="267"/>
                    <a:pt x="4" y="267"/>
                  </a:cubicBezTo>
                  <a:cubicBezTo>
                    <a:pt x="4" y="267"/>
                    <a:pt x="3" y="268"/>
                    <a:pt x="2" y="268"/>
                  </a:cubicBezTo>
                  <a:cubicBezTo>
                    <a:pt x="2" y="269"/>
                    <a:pt x="1" y="269"/>
                    <a:pt x="1" y="269"/>
                  </a:cubicBezTo>
                  <a:cubicBezTo>
                    <a:pt x="1" y="269"/>
                    <a:pt x="1" y="271"/>
                    <a:pt x="1" y="271"/>
                  </a:cubicBezTo>
                  <a:cubicBezTo>
                    <a:pt x="1" y="271"/>
                    <a:pt x="1" y="273"/>
                    <a:pt x="1" y="273"/>
                  </a:cubicBezTo>
                  <a:cubicBezTo>
                    <a:pt x="2" y="275"/>
                    <a:pt x="2" y="275"/>
                    <a:pt x="2" y="275"/>
                  </a:cubicBezTo>
                  <a:cubicBezTo>
                    <a:pt x="1" y="277"/>
                    <a:pt x="1" y="277"/>
                    <a:pt x="1" y="277"/>
                  </a:cubicBezTo>
                  <a:cubicBezTo>
                    <a:pt x="2" y="278"/>
                    <a:pt x="2" y="278"/>
                    <a:pt x="2" y="278"/>
                  </a:cubicBezTo>
                  <a:cubicBezTo>
                    <a:pt x="1" y="280"/>
                    <a:pt x="1" y="280"/>
                    <a:pt x="1" y="280"/>
                  </a:cubicBezTo>
                  <a:cubicBezTo>
                    <a:pt x="1" y="282"/>
                    <a:pt x="1" y="282"/>
                    <a:pt x="1" y="282"/>
                  </a:cubicBezTo>
                  <a:cubicBezTo>
                    <a:pt x="1" y="283"/>
                    <a:pt x="1" y="283"/>
                    <a:pt x="1" y="283"/>
                  </a:cubicBezTo>
                  <a:cubicBezTo>
                    <a:pt x="0" y="285"/>
                    <a:pt x="0" y="285"/>
                    <a:pt x="0" y="285"/>
                  </a:cubicBezTo>
                  <a:cubicBezTo>
                    <a:pt x="1" y="288"/>
                    <a:pt x="1" y="288"/>
                    <a:pt x="1" y="288"/>
                  </a:cubicBezTo>
                  <a:cubicBezTo>
                    <a:pt x="12" y="290"/>
                    <a:pt x="12" y="290"/>
                    <a:pt x="12" y="290"/>
                  </a:cubicBezTo>
                  <a:cubicBezTo>
                    <a:pt x="17" y="290"/>
                    <a:pt x="21" y="294"/>
                    <a:pt x="25" y="296"/>
                  </a:cubicBezTo>
                  <a:cubicBezTo>
                    <a:pt x="27" y="297"/>
                    <a:pt x="32" y="307"/>
                    <a:pt x="33" y="309"/>
                  </a:cubicBezTo>
                  <a:cubicBezTo>
                    <a:pt x="33" y="309"/>
                    <a:pt x="33" y="315"/>
                    <a:pt x="31" y="315"/>
                  </a:cubicBezTo>
                  <a:cubicBezTo>
                    <a:pt x="30" y="318"/>
                    <a:pt x="33" y="319"/>
                    <a:pt x="34" y="321"/>
                  </a:cubicBezTo>
                  <a:cubicBezTo>
                    <a:pt x="37" y="325"/>
                    <a:pt x="34" y="328"/>
                    <a:pt x="34" y="328"/>
                  </a:cubicBezTo>
                  <a:cubicBezTo>
                    <a:pt x="34" y="331"/>
                    <a:pt x="37" y="339"/>
                    <a:pt x="40" y="342"/>
                  </a:cubicBezTo>
                  <a:cubicBezTo>
                    <a:pt x="42" y="344"/>
                    <a:pt x="44" y="342"/>
                    <a:pt x="45" y="344"/>
                  </a:cubicBezTo>
                  <a:cubicBezTo>
                    <a:pt x="47" y="351"/>
                    <a:pt x="52" y="351"/>
                    <a:pt x="56" y="353"/>
                  </a:cubicBezTo>
                  <a:cubicBezTo>
                    <a:pt x="58" y="352"/>
                    <a:pt x="61" y="349"/>
                    <a:pt x="63" y="348"/>
                  </a:cubicBezTo>
                  <a:cubicBezTo>
                    <a:pt x="67" y="346"/>
                    <a:pt x="68" y="343"/>
                    <a:pt x="71" y="341"/>
                  </a:cubicBezTo>
                  <a:cubicBezTo>
                    <a:pt x="72" y="339"/>
                    <a:pt x="76" y="340"/>
                    <a:pt x="78" y="339"/>
                  </a:cubicBezTo>
                  <a:cubicBezTo>
                    <a:pt x="85" y="336"/>
                    <a:pt x="90" y="339"/>
                    <a:pt x="93" y="338"/>
                  </a:cubicBezTo>
                  <a:cubicBezTo>
                    <a:pt x="95" y="338"/>
                    <a:pt x="98" y="335"/>
                    <a:pt x="101" y="334"/>
                  </a:cubicBezTo>
                  <a:cubicBezTo>
                    <a:pt x="103" y="333"/>
                    <a:pt x="106" y="333"/>
                    <a:pt x="108" y="331"/>
                  </a:cubicBezTo>
                  <a:cubicBezTo>
                    <a:pt x="108" y="331"/>
                    <a:pt x="118" y="333"/>
                    <a:pt x="122" y="334"/>
                  </a:cubicBezTo>
                  <a:cubicBezTo>
                    <a:pt x="129" y="335"/>
                    <a:pt x="136" y="339"/>
                    <a:pt x="140" y="339"/>
                  </a:cubicBezTo>
                  <a:cubicBezTo>
                    <a:pt x="143" y="339"/>
                    <a:pt x="143" y="336"/>
                    <a:pt x="145" y="337"/>
                  </a:cubicBezTo>
                  <a:cubicBezTo>
                    <a:pt x="145" y="337"/>
                    <a:pt x="157" y="343"/>
                    <a:pt x="163" y="344"/>
                  </a:cubicBezTo>
                  <a:cubicBezTo>
                    <a:pt x="167" y="344"/>
                    <a:pt x="167" y="338"/>
                    <a:pt x="172" y="339"/>
                  </a:cubicBezTo>
                  <a:cubicBezTo>
                    <a:pt x="175" y="339"/>
                    <a:pt x="175" y="340"/>
                    <a:pt x="178" y="340"/>
                  </a:cubicBezTo>
                  <a:cubicBezTo>
                    <a:pt x="180" y="340"/>
                    <a:pt x="182" y="346"/>
                    <a:pt x="184" y="346"/>
                  </a:cubicBezTo>
                  <a:cubicBezTo>
                    <a:pt x="185" y="345"/>
                    <a:pt x="189" y="341"/>
                    <a:pt x="190" y="340"/>
                  </a:cubicBezTo>
                  <a:cubicBezTo>
                    <a:pt x="190" y="340"/>
                    <a:pt x="196" y="334"/>
                    <a:pt x="196" y="332"/>
                  </a:cubicBezTo>
                  <a:cubicBezTo>
                    <a:pt x="196" y="330"/>
                    <a:pt x="199" y="322"/>
                    <a:pt x="199" y="322"/>
                  </a:cubicBezTo>
                  <a:cubicBezTo>
                    <a:pt x="202" y="320"/>
                    <a:pt x="207" y="322"/>
                    <a:pt x="210" y="319"/>
                  </a:cubicBezTo>
                  <a:cubicBezTo>
                    <a:pt x="218" y="312"/>
                    <a:pt x="218" y="312"/>
                    <a:pt x="218" y="312"/>
                  </a:cubicBezTo>
                  <a:cubicBezTo>
                    <a:pt x="232" y="316"/>
                    <a:pt x="232" y="316"/>
                    <a:pt x="232" y="316"/>
                  </a:cubicBezTo>
                  <a:cubicBezTo>
                    <a:pt x="240" y="315"/>
                    <a:pt x="240" y="315"/>
                    <a:pt x="240" y="315"/>
                  </a:cubicBezTo>
                  <a:cubicBezTo>
                    <a:pt x="240" y="313"/>
                    <a:pt x="239" y="308"/>
                    <a:pt x="240" y="305"/>
                  </a:cubicBezTo>
                  <a:cubicBezTo>
                    <a:pt x="244" y="300"/>
                    <a:pt x="242" y="301"/>
                    <a:pt x="246" y="296"/>
                  </a:cubicBezTo>
                  <a:cubicBezTo>
                    <a:pt x="248" y="293"/>
                    <a:pt x="249" y="290"/>
                    <a:pt x="252" y="288"/>
                  </a:cubicBezTo>
                  <a:cubicBezTo>
                    <a:pt x="258" y="281"/>
                    <a:pt x="261" y="278"/>
                    <a:pt x="266" y="277"/>
                  </a:cubicBezTo>
                  <a:cubicBezTo>
                    <a:pt x="269" y="276"/>
                    <a:pt x="279" y="270"/>
                    <a:pt x="280" y="269"/>
                  </a:cubicBezTo>
                  <a:cubicBezTo>
                    <a:pt x="282" y="268"/>
                    <a:pt x="274" y="262"/>
                    <a:pt x="270" y="257"/>
                  </a:cubicBezTo>
                  <a:cubicBezTo>
                    <a:pt x="267" y="252"/>
                    <a:pt x="267" y="247"/>
                    <a:pt x="267" y="245"/>
                  </a:cubicBezTo>
                  <a:cubicBezTo>
                    <a:pt x="264" y="232"/>
                    <a:pt x="265" y="238"/>
                    <a:pt x="270" y="228"/>
                  </a:cubicBezTo>
                  <a:cubicBezTo>
                    <a:pt x="273" y="223"/>
                    <a:pt x="278" y="219"/>
                    <a:pt x="281" y="216"/>
                  </a:cubicBezTo>
                  <a:cubicBezTo>
                    <a:pt x="282" y="215"/>
                    <a:pt x="288" y="205"/>
                    <a:pt x="295" y="200"/>
                  </a:cubicBezTo>
                  <a:cubicBezTo>
                    <a:pt x="297" y="199"/>
                    <a:pt x="299" y="193"/>
                    <a:pt x="301" y="192"/>
                  </a:cubicBezTo>
                  <a:cubicBezTo>
                    <a:pt x="306" y="188"/>
                    <a:pt x="312" y="189"/>
                    <a:pt x="313" y="187"/>
                  </a:cubicBezTo>
                  <a:cubicBezTo>
                    <a:pt x="314" y="184"/>
                    <a:pt x="309" y="186"/>
                    <a:pt x="309" y="183"/>
                  </a:cubicBezTo>
                  <a:cubicBezTo>
                    <a:pt x="308" y="176"/>
                    <a:pt x="312" y="177"/>
                    <a:pt x="315" y="176"/>
                  </a:cubicBezTo>
                  <a:cubicBezTo>
                    <a:pt x="318" y="175"/>
                    <a:pt x="322" y="173"/>
                    <a:pt x="325" y="172"/>
                  </a:cubicBezTo>
                  <a:cubicBezTo>
                    <a:pt x="345" y="166"/>
                    <a:pt x="342" y="170"/>
                    <a:pt x="348" y="167"/>
                  </a:cubicBezTo>
                  <a:cubicBezTo>
                    <a:pt x="351" y="165"/>
                    <a:pt x="357" y="167"/>
                    <a:pt x="358" y="165"/>
                  </a:cubicBezTo>
                  <a:cubicBezTo>
                    <a:pt x="359" y="163"/>
                    <a:pt x="365" y="157"/>
                    <a:pt x="367" y="158"/>
                  </a:cubicBezTo>
                  <a:cubicBezTo>
                    <a:pt x="370" y="159"/>
                    <a:pt x="374" y="154"/>
                    <a:pt x="377" y="154"/>
                  </a:cubicBezTo>
                  <a:cubicBezTo>
                    <a:pt x="386" y="152"/>
                    <a:pt x="393" y="147"/>
                    <a:pt x="396" y="142"/>
                  </a:cubicBezTo>
                  <a:cubicBezTo>
                    <a:pt x="398" y="139"/>
                    <a:pt x="392" y="131"/>
                    <a:pt x="395" y="128"/>
                  </a:cubicBezTo>
                  <a:cubicBezTo>
                    <a:pt x="396" y="126"/>
                    <a:pt x="397" y="130"/>
                    <a:pt x="399" y="128"/>
                  </a:cubicBezTo>
                  <a:cubicBezTo>
                    <a:pt x="403" y="124"/>
                    <a:pt x="401" y="122"/>
                    <a:pt x="398" y="121"/>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2" name="Freeform 123"/>
            <p:cNvSpPr>
              <a:spLocks/>
            </p:cNvSpPr>
            <p:nvPr/>
          </p:nvSpPr>
          <p:spPr bwMode="auto">
            <a:xfrm>
              <a:off x="3520340" y="5013110"/>
              <a:ext cx="408693" cy="600465"/>
            </a:xfrm>
            <a:custGeom>
              <a:avLst/>
              <a:gdLst>
                <a:gd name="T0" fmla="*/ 56 w 141"/>
                <a:gd name="T1" fmla="*/ 208 h 220"/>
                <a:gd name="T2" fmla="*/ 56 w 141"/>
                <a:gd name="T3" fmla="*/ 198 h 220"/>
                <a:gd name="T4" fmla="*/ 61 w 141"/>
                <a:gd name="T5" fmla="*/ 191 h 220"/>
                <a:gd name="T6" fmla="*/ 73 w 141"/>
                <a:gd name="T7" fmla="*/ 182 h 220"/>
                <a:gd name="T8" fmla="*/ 80 w 141"/>
                <a:gd name="T9" fmla="*/ 180 h 220"/>
                <a:gd name="T10" fmla="*/ 74 w 141"/>
                <a:gd name="T11" fmla="*/ 170 h 220"/>
                <a:gd name="T12" fmla="*/ 71 w 141"/>
                <a:gd name="T13" fmla="*/ 163 h 220"/>
                <a:gd name="T14" fmla="*/ 76 w 141"/>
                <a:gd name="T15" fmla="*/ 154 h 220"/>
                <a:gd name="T16" fmla="*/ 90 w 141"/>
                <a:gd name="T17" fmla="*/ 141 h 220"/>
                <a:gd name="T18" fmla="*/ 86 w 141"/>
                <a:gd name="T19" fmla="*/ 139 h 220"/>
                <a:gd name="T20" fmla="*/ 82 w 141"/>
                <a:gd name="T21" fmla="*/ 128 h 220"/>
                <a:gd name="T22" fmla="*/ 80 w 141"/>
                <a:gd name="T23" fmla="*/ 118 h 220"/>
                <a:gd name="T24" fmla="*/ 77 w 141"/>
                <a:gd name="T25" fmla="*/ 109 h 220"/>
                <a:gd name="T26" fmla="*/ 88 w 141"/>
                <a:gd name="T27" fmla="*/ 109 h 220"/>
                <a:gd name="T28" fmla="*/ 97 w 141"/>
                <a:gd name="T29" fmla="*/ 109 h 220"/>
                <a:gd name="T30" fmla="*/ 103 w 141"/>
                <a:gd name="T31" fmla="*/ 100 h 220"/>
                <a:gd name="T32" fmla="*/ 100 w 141"/>
                <a:gd name="T33" fmla="*/ 92 h 220"/>
                <a:gd name="T34" fmla="*/ 108 w 141"/>
                <a:gd name="T35" fmla="*/ 85 h 220"/>
                <a:gd name="T36" fmla="*/ 110 w 141"/>
                <a:gd name="T37" fmla="*/ 73 h 220"/>
                <a:gd name="T38" fmla="*/ 112 w 141"/>
                <a:gd name="T39" fmla="*/ 65 h 220"/>
                <a:gd name="T40" fmla="*/ 111 w 141"/>
                <a:gd name="T41" fmla="*/ 55 h 220"/>
                <a:gd name="T42" fmla="*/ 122 w 141"/>
                <a:gd name="T43" fmla="*/ 49 h 220"/>
                <a:gd name="T44" fmla="*/ 130 w 141"/>
                <a:gd name="T45" fmla="*/ 46 h 220"/>
                <a:gd name="T46" fmla="*/ 139 w 141"/>
                <a:gd name="T47" fmla="*/ 39 h 220"/>
                <a:gd name="T48" fmla="*/ 135 w 141"/>
                <a:gd name="T49" fmla="*/ 34 h 220"/>
                <a:gd name="T50" fmla="*/ 132 w 141"/>
                <a:gd name="T51" fmla="*/ 25 h 220"/>
                <a:gd name="T52" fmla="*/ 129 w 141"/>
                <a:gd name="T53" fmla="*/ 20 h 220"/>
                <a:gd name="T54" fmla="*/ 120 w 141"/>
                <a:gd name="T55" fmla="*/ 17 h 220"/>
                <a:gd name="T56" fmla="*/ 111 w 141"/>
                <a:gd name="T57" fmla="*/ 20 h 220"/>
                <a:gd name="T58" fmla="*/ 101 w 141"/>
                <a:gd name="T59" fmla="*/ 19 h 220"/>
                <a:gd name="T60" fmla="*/ 95 w 141"/>
                <a:gd name="T61" fmla="*/ 14 h 220"/>
                <a:gd name="T62" fmla="*/ 90 w 141"/>
                <a:gd name="T63" fmla="*/ 13 h 220"/>
                <a:gd name="T64" fmla="*/ 82 w 141"/>
                <a:gd name="T65" fmla="*/ 14 h 220"/>
                <a:gd name="T66" fmla="*/ 79 w 141"/>
                <a:gd name="T67" fmla="*/ 9 h 220"/>
                <a:gd name="T68" fmla="*/ 83 w 141"/>
                <a:gd name="T69" fmla="*/ 1 h 220"/>
                <a:gd name="T70" fmla="*/ 76 w 141"/>
                <a:gd name="T71" fmla="*/ 1 h 220"/>
                <a:gd name="T72" fmla="*/ 70 w 141"/>
                <a:gd name="T73" fmla="*/ 1 h 220"/>
                <a:gd name="T74" fmla="*/ 65 w 141"/>
                <a:gd name="T75" fmla="*/ 3 h 220"/>
                <a:gd name="T76" fmla="*/ 59 w 141"/>
                <a:gd name="T77" fmla="*/ 5 h 220"/>
                <a:gd name="T78" fmla="*/ 59 w 141"/>
                <a:gd name="T79" fmla="*/ 16 h 220"/>
                <a:gd name="T80" fmla="*/ 57 w 141"/>
                <a:gd name="T81" fmla="*/ 27 h 220"/>
                <a:gd name="T82" fmla="*/ 53 w 141"/>
                <a:gd name="T83" fmla="*/ 51 h 220"/>
                <a:gd name="T84" fmla="*/ 34 w 141"/>
                <a:gd name="T85" fmla="*/ 89 h 220"/>
                <a:gd name="T86" fmla="*/ 25 w 141"/>
                <a:gd name="T87" fmla="*/ 102 h 220"/>
                <a:gd name="T88" fmla="*/ 16 w 141"/>
                <a:gd name="T89" fmla="*/ 106 h 220"/>
                <a:gd name="T90" fmla="*/ 12 w 141"/>
                <a:gd name="T91" fmla="*/ 116 h 220"/>
                <a:gd name="T92" fmla="*/ 7 w 141"/>
                <a:gd name="T93" fmla="*/ 127 h 220"/>
                <a:gd name="T94" fmla="*/ 7 w 141"/>
                <a:gd name="T95" fmla="*/ 136 h 220"/>
                <a:gd name="T96" fmla="*/ 11 w 141"/>
                <a:gd name="T97" fmla="*/ 139 h 220"/>
                <a:gd name="T98" fmla="*/ 12 w 141"/>
                <a:gd name="T99" fmla="*/ 148 h 220"/>
                <a:gd name="T100" fmla="*/ 22 w 141"/>
                <a:gd name="T101" fmla="*/ 150 h 220"/>
                <a:gd name="T102" fmla="*/ 20 w 141"/>
                <a:gd name="T103" fmla="*/ 165 h 220"/>
                <a:gd name="T104" fmla="*/ 15 w 141"/>
                <a:gd name="T105" fmla="*/ 184 h 220"/>
                <a:gd name="T106" fmla="*/ 9 w 141"/>
                <a:gd name="T107" fmla="*/ 199 h 220"/>
                <a:gd name="T108" fmla="*/ 0 w 141"/>
                <a:gd name="T109" fmla="*/ 210 h 220"/>
                <a:gd name="T110" fmla="*/ 13 w 141"/>
                <a:gd name="T111" fmla="*/ 210 h 220"/>
                <a:gd name="T112" fmla="*/ 25 w 141"/>
                <a:gd name="T113" fmla="*/ 213 h 220"/>
                <a:gd name="T114" fmla="*/ 36 w 141"/>
                <a:gd name="T115" fmla="*/ 220 h 220"/>
                <a:gd name="T116" fmla="*/ 55 w 141"/>
                <a:gd name="T117" fmla="*/ 21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1" h="220">
                  <a:moveTo>
                    <a:pt x="55" y="215"/>
                  </a:moveTo>
                  <a:cubicBezTo>
                    <a:pt x="55" y="213"/>
                    <a:pt x="55" y="213"/>
                    <a:pt x="55" y="213"/>
                  </a:cubicBezTo>
                  <a:cubicBezTo>
                    <a:pt x="55" y="212"/>
                    <a:pt x="55" y="212"/>
                    <a:pt x="55" y="212"/>
                  </a:cubicBezTo>
                  <a:cubicBezTo>
                    <a:pt x="56" y="209"/>
                    <a:pt x="56" y="209"/>
                    <a:pt x="56" y="209"/>
                  </a:cubicBezTo>
                  <a:cubicBezTo>
                    <a:pt x="56" y="208"/>
                    <a:pt x="56" y="208"/>
                    <a:pt x="56" y="208"/>
                  </a:cubicBezTo>
                  <a:cubicBezTo>
                    <a:pt x="56" y="208"/>
                    <a:pt x="56" y="208"/>
                    <a:pt x="56" y="208"/>
                  </a:cubicBezTo>
                  <a:cubicBezTo>
                    <a:pt x="56" y="205"/>
                    <a:pt x="56" y="205"/>
                    <a:pt x="56" y="205"/>
                  </a:cubicBezTo>
                  <a:cubicBezTo>
                    <a:pt x="56" y="204"/>
                    <a:pt x="56" y="204"/>
                    <a:pt x="56" y="204"/>
                  </a:cubicBezTo>
                  <a:cubicBezTo>
                    <a:pt x="56" y="204"/>
                    <a:pt x="56" y="204"/>
                    <a:pt x="56" y="204"/>
                  </a:cubicBezTo>
                  <a:cubicBezTo>
                    <a:pt x="56" y="204"/>
                    <a:pt x="56" y="202"/>
                    <a:pt x="55" y="202"/>
                  </a:cubicBezTo>
                  <a:cubicBezTo>
                    <a:pt x="55" y="201"/>
                    <a:pt x="55" y="200"/>
                    <a:pt x="56" y="199"/>
                  </a:cubicBezTo>
                  <a:cubicBezTo>
                    <a:pt x="56" y="198"/>
                    <a:pt x="56" y="198"/>
                    <a:pt x="56" y="198"/>
                  </a:cubicBezTo>
                  <a:cubicBezTo>
                    <a:pt x="56" y="198"/>
                    <a:pt x="56" y="198"/>
                    <a:pt x="56" y="198"/>
                  </a:cubicBezTo>
                  <a:cubicBezTo>
                    <a:pt x="56" y="198"/>
                    <a:pt x="57" y="198"/>
                    <a:pt x="57" y="197"/>
                  </a:cubicBezTo>
                  <a:cubicBezTo>
                    <a:pt x="57" y="197"/>
                    <a:pt x="58" y="197"/>
                    <a:pt x="58" y="197"/>
                  </a:cubicBezTo>
                  <a:cubicBezTo>
                    <a:pt x="58" y="197"/>
                    <a:pt x="58" y="196"/>
                    <a:pt x="59" y="196"/>
                  </a:cubicBezTo>
                  <a:cubicBezTo>
                    <a:pt x="59" y="195"/>
                    <a:pt x="60" y="194"/>
                    <a:pt x="60" y="194"/>
                  </a:cubicBezTo>
                  <a:cubicBezTo>
                    <a:pt x="60" y="193"/>
                    <a:pt x="60" y="192"/>
                    <a:pt x="61" y="191"/>
                  </a:cubicBezTo>
                  <a:cubicBezTo>
                    <a:pt x="61" y="191"/>
                    <a:pt x="61" y="191"/>
                    <a:pt x="61" y="191"/>
                  </a:cubicBezTo>
                  <a:cubicBezTo>
                    <a:pt x="67" y="188"/>
                    <a:pt x="67" y="188"/>
                    <a:pt x="67" y="188"/>
                  </a:cubicBezTo>
                  <a:cubicBezTo>
                    <a:pt x="67" y="187"/>
                    <a:pt x="67" y="187"/>
                    <a:pt x="67" y="187"/>
                  </a:cubicBezTo>
                  <a:cubicBezTo>
                    <a:pt x="69" y="182"/>
                    <a:pt x="69" y="182"/>
                    <a:pt x="69" y="182"/>
                  </a:cubicBezTo>
                  <a:cubicBezTo>
                    <a:pt x="70" y="182"/>
                    <a:pt x="70" y="182"/>
                    <a:pt x="70" y="182"/>
                  </a:cubicBezTo>
                  <a:cubicBezTo>
                    <a:pt x="71" y="182"/>
                    <a:pt x="73" y="182"/>
                    <a:pt x="73" y="182"/>
                  </a:cubicBezTo>
                  <a:cubicBezTo>
                    <a:pt x="73" y="182"/>
                    <a:pt x="74" y="182"/>
                    <a:pt x="74" y="182"/>
                  </a:cubicBezTo>
                  <a:cubicBezTo>
                    <a:pt x="74" y="182"/>
                    <a:pt x="74" y="182"/>
                    <a:pt x="74" y="182"/>
                  </a:cubicBezTo>
                  <a:cubicBezTo>
                    <a:pt x="77" y="180"/>
                    <a:pt x="77" y="180"/>
                    <a:pt x="77" y="180"/>
                  </a:cubicBezTo>
                  <a:cubicBezTo>
                    <a:pt x="79" y="181"/>
                    <a:pt x="79" y="181"/>
                    <a:pt x="79" y="181"/>
                  </a:cubicBezTo>
                  <a:cubicBezTo>
                    <a:pt x="79" y="180"/>
                    <a:pt x="79" y="180"/>
                    <a:pt x="79" y="180"/>
                  </a:cubicBezTo>
                  <a:cubicBezTo>
                    <a:pt x="80" y="180"/>
                    <a:pt x="80" y="180"/>
                    <a:pt x="80" y="180"/>
                  </a:cubicBezTo>
                  <a:cubicBezTo>
                    <a:pt x="80" y="180"/>
                    <a:pt x="79" y="180"/>
                    <a:pt x="79" y="180"/>
                  </a:cubicBezTo>
                  <a:cubicBezTo>
                    <a:pt x="78" y="179"/>
                    <a:pt x="76" y="179"/>
                    <a:pt x="76" y="176"/>
                  </a:cubicBezTo>
                  <a:cubicBezTo>
                    <a:pt x="76" y="176"/>
                    <a:pt x="76" y="176"/>
                    <a:pt x="76" y="176"/>
                  </a:cubicBezTo>
                  <a:cubicBezTo>
                    <a:pt x="75" y="175"/>
                    <a:pt x="75" y="173"/>
                    <a:pt x="74" y="172"/>
                  </a:cubicBezTo>
                  <a:cubicBezTo>
                    <a:pt x="74" y="172"/>
                    <a:pt x="74" y="171"/>
                    <a:pt x="75" y="171"/>
                  </a:cubicBezTo>
                  <a:cubicBezTo>
                    <a:pt x="75" y="171"/>
                    <a:pt x="74" y="170"/>
                    <a:pt x="74" y="170"/>
                  </a:cubicBezTo>
                  <a:cubicBezTo>
                    <a:pt x="74" y="170"/>
                    <a:pt x="74" y="170"/>
                    <a:pt x="74" y="170"/>
                  </a:cubicBezTo>
                  <a:cubicBezTo>
                    <a:pt x="73" y="169"/>
                    <a:pt x="73" y="168"/>
                    <a:pt x="73" y="168"/>
                  </a:cubicBezTo>
                  <a:cubicBezTo>
                    <a:pt x="73" y="167"/>
                    <a:pt x="73" y="167"/>
                    <a:pt x="72" y="166"/>
                  </a:cubicBezTo>
                  <a:cubicBezTo>
                    <a:pt x="72" y="165"/>
                    <a:pt x="72" y="165"/>
                    <a:pt x="72" y="165"/>
                  </a:cubicBezTo>
                  <a:cubicBezTo>
                    <a:pt x="71" y="164"/>
                    <a:pt x="71" y="164"/>
                    <a:pt x="71" y="164"/>
                  </a:cubicBezTo>
                  <a:cubicBezTo>
                    <a:pt x="71" y="163"/>
                    <a:pt x="71" y="163"/>
                    <a:pt x="71" y="163"/>
                  </a:cubicBezTo>
                  <a:cubicBezTo>
                    <a:pt x="70" y="163"/>
                    <a:pt x="70" y="163"/>
                    <a:pt x="70" y="163"/>
                  </a:cubicBezTo>
                  <a:cubicBezTo>
                    <a:pt x="72" y="161"/>
                    <a:pt x="72" y="161"/>
                    <a:pt x="72" y="161"/>
                  </a:cubicBezTo>
                  <a:cubicBezTo>
                    <a:pt x="74" y="158"/>
                    <a:pt x="74" y="158"/>
                    <a:pt x="74" y="158"/>
                  </a:cubicBezTo>
                  <a:cubicBezTo>
                    <a:pt x="74" y="157"/>
                    <a:pt x="74" y="157"/>
                    <a:pt x="74" y="157"/>
                  </a:cubicBezTo>
                  <a:cubicBezTo>
                    <a:pt x="74" y="157"/>
                    <a:pt x="75" y="157"/>
                    <a:pt x="75" y="157"/>
                  </a:cubicBezTo>
                  <a:cubicBezTo>
                    <a:pt x="75" y="156"/>
                    <a:pt x="76" y="154"/>
                    <a:pt x="76" y="154"/>
                  </a:cubicBezTo>
                  <a:cubicBezTo>
                    <a:pt x="77" y="149"/>
                    <a:pt x="77" y="149"/>
                    <a:pt x="77" y="149"/>
                  </a:cubicBezTo>
                  <a:cubicBezTo>
                    <a:pt x="80" y="149"/>
                    <a:pt x="80" y="149"/>
                    <a:pt x="80" y="149"/>
                  </a:cubicBezTo>
                  <a:cubicBezTo>
                    <a:pt x="86" y="146"/>
                    <a:pt x="86" y="146"/>
                    <a:pt x="86" y="146"/>
                  </a:cubicBezTo>
                  <a:cubicBezTo>
                    <a:pt x="86" y="145"/>
                    <a:pt x="86" y="145"/>
                    <a:pt x="86" y="145"/>
                  </a:cubicBezTo>
                  <a:cubicBezTo>
                    <a:pt x="89" y="142"/>
                    <a:pt x="89" y="142"/>
                    <a:pt x="89" y="142"/>
                  </a:cubicBezTo>
                  <a:cubicBezTo>
                    <a:pt x="90" y="141"/>
                    <a:pt x="90" y="141"/>
                    <a:pt x="90" y="141"/>
                  </a:cubicBezTo>
                  <a:cubicBezTo>
                    <a:pt x="90" y="141"/>
                    <a:pt x="90" y="141"/>
                    <a:pt x="90" y="141"/>
                  </a:cubicBezTo>
                  <a:cubicBezTo>
                    <a:pt x="90" y="140"/>
                    <a:pt x="90" y="140"/>
                    <a:pt x="90" y="140"/>
                  </a:cubicBezTo>
                  <a:cubicBezTo>
                    <a:pt x="90" y="140"/>
                    <a:pt x="89" y="140"/>
                    <a:pt x="89" y="139"/>
                  </a:cubicBezTo>
                  <a:cubicBezTo>
                    <a:pt x="89" y="140"/>
                    <a:pt x="89" y="140"/>
                    <a:pt x="89" y="140"/>
                  </a:cubicBezTo>
                  <a:cubicBezTo>
                    <a:pt x="88" y="140"/>
                    <a:pt x="88" y="140"/>
                    <a:pt x="88" y="140"/>
                  </a:cubicBezTo>
                  <a:cubicBezTo>
                    <a:pt x="88" y="140"/>
                    <a:pt x="86" y="139"/>
                    <a:pt x="86" y="139"/>
                  </a:cubicBezTo>
                  <a:cubicBezTo>
                    <a:pt x="85" y="139"/>
                    <a:pt x="85" y="139"/>
                    <a:pt x="85" y="139"/>
                  </a:cubicBezTo>
                  <a:cubicBezTo>
                    <a:pt x="85" y="138"/>
                    <a:pt x="85" y="138"/>
                    <a:pt x="85" y="138"/>
                  </a:cubicBezTo>
                  <a:cubicBezTo>
                    <a:pt x="84" y="137"/>
                    <a:pt x="84" y="136"/>
                    <a:pt x="85" y="135"/>
                  </a:cubicBezTo>
                  <a:cubicBezTo>
                    <a:pt x="83" y="134"/>
                    <a:pt x="83" y="134"/>
                    <a:pt x="83" y="134"/>
                  </a:cubicBezTo>
                  <a:cubicBezTo>
                    <a:pt x="82" y="131"/>
                    <a:pt x="82" y="131"/>
                    <a:pt x="82" y="131"/>
                  </a:cubicBezTo>
                  <a:cubicBezTo>
                    <a:pt x="82" y="128"/>
                    <a:pt x="82" y="128"/>
                    <a:pt x="82" y="128"/>
                  </a:cubicBezTo>
                  <a:cubicBezTo>
                    <a:pt x="82" y="127"/>
                    <a:pt x="82" y="127"/>
                    <a:pt x="82" y="127"/>
                  </a:cubicBezTo>
                  <a:cubicBezTo>
                    <a:pt x="81" y="123"/>
                    <a:pt x="81" y="123"/>
                    <a:pt x="81" y="123"/>
                  </a:cubicBezTo>
                  <a:cubicBezTo>
                    <a:pt x="82" y="121"/>
                    <a:pt x="82" y="121"/>
                    <a:pt x="82" y="121"/>
                  </a:cubicBezTo>
                  <a:cubicBezTo>
                    <a:pt x="82" y="121"/>
                    <a:pt x="82" y="121"/>
                    <a:pt x="82" y="121"/>
                  </a:cubicBezTo>
                  <a:cubicBezTo>
                    <a:pt x="81" y="121"/>
                    <a:pt x="81" y="120"/>
                    <a:pt x="80" y="118"/>
                  </a:cubicBezTo>
                  <a:cubicBezTo>
                    <a:pt x="80" y="118"/>
                    <a:pt x="80" y="118"/>
                    <a:pt x="80" y="118"/>
                  </a:cubicBezTo>
                  <a:cubicBezTo>
                    <a:pt x="80" y="118"/>
                    <a:pt x="80" y="118"/>
                    <a:pt x="80" y="118"/>
                  </a:cubicBezTo>
                  <a:cubicBezTo>
                    <a:pt x="80" y="117"/>
                    <a:pt x="80" y="117"/>
                    <a:pt x="79" y="117"/>
                  </a:cubicBezTo>
                  <a:cubicBezTo>
                    <a:pt x="79" y="116"/>
                    <a:pt x="79" y="116"/>
                    <a:pt x="78" y="114"/>
                  </a:cubicBezTo>
                  <a:cubicBezTo>
                    <a:pt x="78" y="114"/>
                    <a:pt x="78" y="113"/>
                    <a:pt x="78" y="113"/>
                  </a:cubicBezTo>
                  <a:cubicBezTo>
                    <a:pt x="78" y="112"/>
                    <a:pt x="77" y="112"/>
                    <a:pt x="77" y="111"/>
                  </a:cubicBezTo>
                  <a:cubicBezTo>
                    <a:pt x="77" y="109"/>
                    <a:pt x="77" y="109"/>
                    <a:pt x="77" y="109"/>
                  </a:cubicBezTo>
                  <a:cubicBezTo>
                    <a:pt x="81" y="108"/>
                    <a:pt x="81" y="108"/>
                    <a:pt x="81" y="108"/>
                  </a:cubicBezTo>
                  <a:cubicBezTo>
                    <a:pt x="84" y="109"/>
                    <a:pt x="84" y="109"/>
                    <a:pt x="84" y="109"/>
                  </a:cubicBezTo>
                  <a:cubicBezTo>
                    <a:pt x="85" y="109"/>
                    <a:pt x="85" y="109"/>
                    <a:pt x="85" y="109"/>
                  </a:cubicBezTo>
                  <a:cubicBezTo>
                    <a:pt x="85" y="109"/>
                    <a:pt x="85" y="109"/>
                    <a:pt x="85" y="109"/>
                  </a:cubicBezTo>
                  <a:cubicBezTo>
                    <a:pt x="86" y="110"/>
                    <a:pt x="86" y="110"/>
                    <a:pt x="86" y="110"/>
                  </a:cubicBezTo>
                  <a:cubicBezTo>
                    <a:pt x="88" y="109"/>
                    <a:pt x="88" y="109"/>
                    <a:pt x="88" y="109"/>
                  </a:cubicBezTo>
                  <a:cubicBezTo>
                    <a:pt x="91" y="110"/>
                    <a:pt x="91" y="110"/>
                    <a:pt x="91" y="110"/>
                  </a:cubicBezTo>
                  <a:cubicBezTo>
                    <a:pt x="92" y="110"/>
                    <a:pt x="92" y="110"/>
                    <a:pt x="93" y="111"/>
                  </a:cubicBezTo>
                  <a:cubicBezTo>
                    <a:pt x="93" y="111"/>
                    <a:pt x="94" y="111"/>
                    <a:pt x="94" y="111"/>
                  </a:cubicBezTo>
                  <a:cubicBezTo>
                    <a:pt x="94" y="111"/>
                    <a:pt x="95" y="111"/>
                    <a:pt x="95" y="111"/>
                  </a:cubicBezTo>
                  <a:cubicBezTo>
                    <a:pt x="96" y="109"/>
                    <a:pt x="96" y="109"/>
                    <a:pt x="96" y="109"/>
                  </a:cubicBezTo>
                  <a:cubicBezTo>
                    <a:pt x="97" y="109"/>
                    <a:pt x="97" y="109"/>
                    <a:pt x="97" y="109"/>
                  </a:cubicBezTo>
                  <a:cubicBezTo>
                    <a:pt x="97" y="107"/>
                    <a:pt x="97" y="107"/>
                    <a:pt x="97" y="107"/>
                  </a:cubicBezTo>
                  <a:cubicBezTo>
                    <a:pt x="97" y="107"/>
                    <a:pt x="98" y="106"/>
                    <a:pt x="98" y="106"/>
                  </a:cubicBezTo>
                  <a:cubicBezTo>
                    <a:pt x="98" y="105"/>
                    <a:pt x="98" y="105"/>
                    <a:pt x="98" y="105"/>
                  </a:cubicBezTo>
                  <a:cubicBezTo>
                    <a:pt x="99" y="105"/>
                    <a:pt x="99" y="105"/>
                    <a:pt x="99" y="105"/>
                  </a:cubicBezTo>
                  <a:cubicBezTo>
                    <a:pt x="101" y="102"/>
                    <a:pt x="101" y="102"/>
                    <a:pt x="101" y="102"/>
                  </a:cubicBezTo>
                  <a:cubicBezTo>
                    <a:pt x="102" y="101"/>
                    <a:pt x="102" y="100"/>
                    <a:pt x="103" y="100"/>
                  </a:cubicBezTo>
                  <a:cubicBezTo>
                    <a:pt x="103" y="100"/>
                    <a:pt x="103" y="100"/>
                    <a:pt x="103" y="100"/>
                  </a:cubicBezTo>
                  <a:cubicBezTo>
                    <a:pt x="102" y="99"/>
                    <a:pt x="102" y="99"/>
                    <a:pt x="102" y="99"/>
                  </a:cubicBezTo>
                  <a:cubicBezTo>
                    <a:pt x="102" y="96"/>
                    <a:pt x="102" y="96"/>
                    <a:pt x="102" y="96"/>
                  </a:cubicBezTo>
                  <a:cubicBezTo>
                    <a:pt x="101" y="96"/>
                    <a:pt x="101" y="96"/>
                    <a:pt x="101" y="96"/>
                  </a:cubicBezTo>
                  <a:cubicBezTo>
                    <a:pt x="101" y="96"/>
                    <a:pt x="101" y="96"/>
                    <a:pt x="101" y="95"/>
                  </a:cubicBezTo>
                  <a:cubicBezTo>
                    <a:pt x="100" y="95"/>
                    <a:pt x="100" y="93"/>
                    <a:pt x="100" y="92"/>
                  </a:cubicBezTo>
                  <a:cubicBezTo>
                    <a:pt x="99" y="91"/>
                    <a:pt x="99" y="91"/>
                    <a:pt x="99" y="91"/>
                  </a:cubicBezTo>
                  <a:cubicBezTo>
                    <a:pt x="101" y="88"/>
                    <a:pt x="101" y="88"/>
                    <a:pt x="101" y="88"/>
                  </a:cubicBezTo>
                  <a:cubicBezTo>
                    <a:pt x="103" y="88"/>
                    <a:pt x="103" y="88"/>
                    <a:pt x="103" y="88"/>
                  </a:cubicBezTo>
                  <a:cubicBezTo>
                    <a:pt x="104" y="87"/>
                    <a:pt x="104" y="87"/>
                    <a:pt x="104" y="87"/>
                  </a:cubicBezTo>
                  <a:cubicBezTo>
                    <a:pt x="107" y="86"/>
                    <a:pt x="107" y="86"/>
                    <a:pt x="107" y="86"/>
                  </a:cubicBezTo>
                  <a:cubicBezTo>
                    <a:pt x="108" y="85"/>
                    <a:pt x="108" y="85"/>
                    <a:pt x="108" y="85"/>
                  </a:cubicBezTo>
                  <a:cubicBezTo>
                    <a:pt x="109" y="85"/>
                    <a:pt x="109" y="85"/>
                    <a:pt x="109" y="85"/>
                  </a:cubicBezTo>
                  <a:cubicBezTo>
                    <a:pt x="108" y="83"/>
                    <a:pt x="108" y="83"/>
                    <a:pt x="108" y="83"/>
                  </a:cubicBezTo>
                  <a:cubicBezTo>
                    <a:pt x="108" y="79"/>
                    <a:pt x="108" y="79"/>
                    <a:pt x="108" y="79"/>
                  </a:cubicBezTo>
                  <a:cubicBezTo>
                    <a:pt x="110" y="77"/>
                    <a:pt x="110" y="77"/>
                    <a:pt x="110" y="77"/>
                  </a:cubicBezTo>
                  <a:cubicBezTo>
                    <a:pt x="109" y="77"/>
                    <a:pt x="109" y="77"/>
                    <a:pt x="109" y="77"/>
                  </a:cubicBezTo>
                  <a:cubicBezTo>
                    <a:pt x="110" y="73"/>
                    <a:pt x="110" y="73"/>
                    <a:pt x="110" y="73"/>
                  </a:cubicBezTo>
                  <a:cubicBezTo>
                    <a:pt x="112" y="72"/>
                    <a:pt x="112" y="72"/>
                    <a:pt x="112" y="72"/>
                  </a:cubicBezTo>
                  <a:cubicBezTo>
                    <a:pt x="112" y="71"/>
                    <a:pt x="112" y="71"/>
                    <a:pt x="112" y="71"/>
                  </a:cubicBezTo>
                  <a:cubicBezTo>
                    <a:pt x="112" y="70"/>
                    <a:pt x="112" y="70"/>
                    <a:pt x="112" y="69"/>
                  </a:cubicBezTo>
                  <a:cubicBezTo>
                    <a:pt x="112" y="67"/>
                    <a:pt x="112" y="67"/>
                    <a:pt x="112" y="67"/>
                  </a:cubicBezTo>
                  <a:cubicBezTo>
                    <a:pt x="112" y="65"/>
                    <a:pt x="112" y="65"/>
                    <a:pt x="112" y="65"/>
                  </a:cubicBezTo>
                  <a:cubicBezTo>
                    <a:pt x="112" y="65"/>
                    <a:pt x="112" y="65"/>
                    <a:pt x="112" y="65"/>
                  </a:cubicBezTo>
                  <a:cubicBezTo>
                    <a:pt x="113" y="64"/>
                    <a:pt x="113" y="64"/>
                    <a:pt x="113" y="64"/>
                  </a:cubicBezTo>
                  <a:cubicBezTo>
                    <a:pt x="113" y="64"/>
                    <a:pt x="113" y="64"/>
                    <a:pt x="113" y="64"/>
                  </a:cubicBezTo>
                  <a:cubicBezTo>
                    <a:pt x="112" y="63"/>
                    <a:pt x="112" y="63"/>
                    <a:pt x="112" y="63"/>
                  </a:cubicBezTo>
                  <a:cubicBezTo>
                    <a:pt x="112" y="63"/>
                    <a:pt x="112" y="61"/>
                    <a:pt x="112" y="60"/>
                  </a:cubicBezTo>
                  <a:cubicBezTo>
                    <a:pt x="112" y="60"/>
                    <a:pt x="112" y="60"/>
                    <a:pt x="112" y="60"/>
                  </a:cubicBezTo>
                  <a:cubicBezTo>
                    <a:pt x="111" y="55"/>
                    <a:pt x="111" y="55"/>
                    <a:pt x="111" y="55"/>
                  </a:cubicBezTo>
                  <a:cubicBezTo>
                    <a:pt x="114" y="53"/>
                    <a:pt x="114" y="53"/>
                    <a:pt x="114" y="53"/>
                  </a:cubicBezTo>
                  <a:cubicBezTo>
                    <a:pt x="114" y="53"/>
                    <a:pt x="116" y="54"/>
                    <a:pt x="116" y="54"/>
                  </a:cubicBezTo>
                  <a:cubicBezTo>
                    <a:pt x="116" y="54"/>
                    <a:pt x="116" y="53"/>
                    <a:pt x="117" y="53"/>
                  </a:cubicBezTo>
                  <a:cubicBezTo>
                    <a:pt x="117" y="53"/>
                    <a:pt x="118" y="53"/>
                    <a:pt x="118" y="53"/>
                  </a:cubicBezTo>
                  <a:cubicBezTo>
                    <a:pt x="119" y="51"/>
                    <a:pt x="119" y="51"/>
                    <a:pt x="119" y="51"/>
                  </a:cubicBezTo>
                  <a:cubicBezTo>
                    <a:pt x="122" y="49"/>
                    <a:pt x="122" y="49"/>
                    <a:pt x="122" y="49"/>
                  </a:cubicBezTo>
                  <a:cubicBezTo>
                    <a:pt x="122" y="48"/>
                    <a:pt x="122" y="48"/>
                    <a:pt x="122" y="48"/>
                  </a:cubicBezTo>
                  <a:cubicBezTo>
                    <a:pt x="127" y="47"/>
                    <a:pt x="127" y="47"/>
                    <a:pt x="127" y="47"/>
                  </a:cubicBezTo>
                  <a:cubicBezTo>
                    <a:pt x="127" y="47"/>
                    <a:pt x="127" y="47"/>
                    <a:pt x="127" y="47"/>
                  </a:cubicBezTo>
                  <a:cubicBezTo>
                    <a:pt x="128" y="46"/>
                    <a:pt x="128" y="46"/>
                    <a:pt x="128" y="46"/>
                  </a:cubicBezTo>
                  <a:cubicBezTo>
                    <a:pt x="129" y="46"/>
                    <a:pt x="129" y="46"/>
                    <a:pt x="129" y="46"/>
                  </a:cubicBezTo>
                  <a:cubicBezTo>
                    <a:pt x="130" y="46"/>
                    <a:pt x="130" y="46"/>
                    <a:pt x="130" y="46"/>
                  </a:cubicBezTo>
                  <a:cubicBezTo>
                    <a:pt x="132" y="45"/>
                    <a:pt x="132" y="45"/>
                    <a:pt x="132" y="45"/>
                  </a:cubicBezTo>
                  <a:cubicBezTo>
                    <a:pt x="134" y="42"/>
                    <a:pt x="134" y="42"/>
                    <a:pt x="134" y="42"/>
                  </a:cubicBezTo>
                  <a:cubicBezTo>
                    <a:pt x="136" y="42"/>
                    <a:pt x="136" y="42"/>
                    <a:pt x="136" y="42"/>
                  </a:cubicBezTo>
                  <a:cubicBezTo>
                    <a:pt x="136" y="42"/>
                    <a:pt x="136" y="42"/>
                    <a:pt x="136" y="42"/>
                  </a:cubicBezTo>
                  <a:cubicBezTo>
                    <a:pt x="136" y="42"/>
                    <a:pt x="137" y="40"/>
                    <a:pt x="137" y="40"/>
                  </a:cubicBezTo>
                  <a:cubicBezTo>
                    <a:pt x="139" y="39"/>
                    <a:pt x="139" y="39"/>
                    <a:pt x="139" y="39"/>
                  </a:cubicBezTo>
                  <a:cubicBezTo>
                    <a:pt x="141" y="37"/>
                    <a:pt x="141" y="37"/>
                    <a:pt x="141" y="37"/>
                  </a:cubicBezTo>
                  <a:cubicBezTo>
                    <a:pt x="140" y="36"/>
                    <a:pt x="140" y="36"/>
                    <a:pt x="140" y="36"/>
                  </a:cubicBezTo>
                  <a:cubicBezTo>
                    <a:pt x="139" y="36"/>
                    <a:pt x="138" y="35"/>
                    <a:pt x="138" y="34"/>
                  </a:cubicBezTo>
                  <a:cubicBezTo>
                    <a:pt x="138" y="34"/>
                    <a:pt x="137" y="34"/>
                    <a:pt x="137" y="33"/>
                  </a:cubicBezTo>
                  <a:cubicBezTo>
                    <a:pt x="136" y="33"/>
                    <a:pt x="136" y="33"/>
                    <a:pt x="136" y="33"/>
                  </a:cubicBezTo>
                  <a:cubicBezTo>
                    <a:pt x="136" y="33"/>
                    <a:pt x="135" y="33"/>
                    <a:pt x="135" y="34"/>
                  </a:cubicBezTo>
                  <a:cubicBezTo>
                    <a:pt x="134" y="34"/>
                    <a:pt x="134" y="34"/>
                    <a:pt x="134" y="34"/>
                  </a:cubicBezTo>
                  <a:cubicBezTo>
                    <a:pt x="131" y="32"/>
                    <a:pt x="131" y="32"/>
                    <a:pt x="131" y="32"/>
                  </a:cubicBezTo>
                  <a:cubicBezTo>
                    <a:pt x="131" y="31"/>
                    <a:pt x="131" y="31"/>
                    <a:pt x="131" y="31"/>
                  </a:cubicBezTo>
                  <a:cubicBezTo>
                    <a:pt x="130" y="30"/>
                    <a:pt x="130" y="29"/>
                    <a:pt x="131" y="28"/>
                  </a:cubicBezTo>
                  <a:cubicBezTo>
                    <a:pt x="130" y="27"/>
                    <a:pt x="130" y="27"/>
                    <a:pt x="130" y="27"/>
                  </a:cubicBezTo>
                  <a:cubicBezTo>
                    <a:pt x="132" y="25"/>
                    <a:pt x="132" y="25"/>
                    <a:pt x="132" y="25"/>
                  </a:cubicBezTo>
                  <a:cubicBezTo>
                    <a:pt x="132" y="25"/>
                    <a:pt x="133" y="24"/>
                    <a:pt x="133" y="24"/>
                  </a:cubicBezTo>
                  <a:cubicBezTo>
                    <a:pt x="133" y="23"/>
                    <a:pt x="133" y="23"/>
                    <a:pt x="133" y="23"/>
                  </a:cubicBezTo>
                  <a:cubicBezTo>
                    <a:pt x="133" y="23"/>
                    <a:pt x="133" y="23"/>
                    <a:pt x="133" y="23"/>
                  </a:cubicBezTo>
                  <a:cubicBezTo>
                    <a:pt x="132" y="22"/>
                    <a:pt x="132" y="22"/>
                    <a:pt x="132" y="22"/>
                  </a:cubicBezTo>
                  <a:cubicBezTo>
                    <a:pt x="132" y="22"/>
                    <a:pt x="132" y="21"/>
                    <a:pt x="132" y="21"/>
                  </a:cubicBezTo>
                  <a:cubicBezTo>
                    <a:pt x="131" y="20"/>
                    <a:pt x="130" y="20"/>
                    <a:pt x="129" y="20"/>
                  </a:cubicBezTo>
                  <a:cubicBezTo>
                    <a:pt x="129" y="20"/>
                    <a:pt x="128" y="20"/>
                    <a:pt x="128" y="19"/>
                  </a:cubicBezTo>
                  <a:cubicBezTo>
                    <a:pt x="128" y="19"/>
                    <a:pt x="128" y="19"/>
                    <a:pt x="128" y="19"/>
                  </a:cubicBezTo>
                  <a:cubicBezTo>
                    <a:pt x="124" y="19"/>
                    <a:pt x="124" y="19"/>
                    <a:pt x="124" y="19"/>
                  </a:cubicBezTo>
                  <a:cubicBezTo>
                    <a:pt x="123" y="19"/>
                    <a:pt x="123" y="18"/>
                    <a:pt x="122" y="18"/>
                  </a:cubicBezTo>
                  <a:cubicBezTo>
                    <a:pt x="121" y="18"/>
                    <a:pt x="121" y="17"/>
                    <a:pt x="121" y="17"/>
                  </a:cubicBezTo>
                  <a:cubicBezTo>
                    <a:pt x="120" y="17"/>
                    <a:pt x="120" y="17"/>
                    <a:pt x="120" y="17"/>
                  </a:cubicBezTo>
                  <a:cubicBezTo>
                    <a:pt x="119" y="17"/>
                    <a:pt x="119" y="17"/>
                    <a:pt x="119" y="17"/>
                  </a:cubicBezTo>
                  <a:cubicBezTo>
                    <a:pt x="119" y="17"/>
                    <a:pt x="119" y="17"/>
                    <a:pt x="119" y="17"/>
                  </a:cubicBezTo>
                  <a:cubicBezTo>
                    <a:pt x="118" y="16"/>
                    <a:pt x="117" y="16"/>
                    <a:pt x="117" y="15"/>
                  </a:cubicBezTo>
                  <a:cubicBezTo>
                    <a:pt x="116" y="17"/>
                    <a:pt x="116" y="17"/>
                    <a:pt x="116" y="17"/>
                  </a:cubicBezTo>
                  <a:cubicBezTo>
                    <a:pt x="114" y="20"/>
                    <a:pt x="114" y="20"/>
                    <a:pt x="114" y="20"/>
                  </a:cubicBezTo>
                  <a:cubicBezTo>
                    <a:pt x="114" y="20"/>
                    <a:pt x="112" y="20"/>
                    <a:pt x="111" y="20"/>
                  </a:cubicBezTo>
                  <a:cubicBezTo>
                    <a:pt x="109" y="20"/>
                    <a:pt x="109" y="20"/>
                    <a:pt x="109" y="20"/>
                  </a:cubicBezTo>
                  <a:cubicBezTo>
                    <a:pt x="109" y="20"/>
                    <a:pt x="109" y="20"/>
                    <a:pt x="109" y="20"/>
                  </a:cubicBezTo>
                  <a:cubicBezTo>
                    <a:pt x="109" y="20"/>
                    <a:pt x="108" y="20"/>
                    <a:pt x="108" y="20"/>
                  </a:cubicBezTo>
                  <a:cubicBezTo>
                    <a:pt x="107" y="20"/>
                    <a:pt x="106" y="20"/>
                    <a:pt x="106" y="20"/>
                  </a:cubicBezTo>
                  <a:cubicBezTo>
                    <a:pt x="105" y="20"/>
                    <a:pt x="104" y="19"/>
                    <a:pt x="103" y="18"/>
                  </a:cubicBezTo>
                  <a:cubicBezTo>
                    <a:pt x="103" y="18"/>
                    <a:pt x="102" y="19"/>
                    <a:pt x="101" y="19"/>
                  </a:cubicBezTo>
                  <a:cubicBezTo>
                    <a:pt x="100" y="19"/>
                    <a:pt x="100" y="19"/>
                    <a:pt x="100" y="19"/>
                  </a:cubicBezTo>
                  <a:cubicBezTo>
                    <a:pt x="100" y="19"/>
                    <a:pt x="100" y="19"/>
                    <a:pt x="100" y="19"/>
                  </a:cubicBezTo>
                  <a:cubicBezTo>
                    <a:pt x="99" y="18"/>
                    <a:pt x="98" y="17"/>
                    <a:pt x="98" y="15"/>
                  </a:cubicBezTo>
                  <a:cubicBezTo>
                    <a:pt x="98" y="14"/>
                    <a:pt x="97" y="14"/>
                    <a:pt x="97" y="14"/>
                  </a:cubicBezTo>
                  <a:cubicBezTo>
                    <a:pt x="97" y="14"/>
                    <a:pt x="96" y="14"/>
                    <a:pt x="96" y="14"/>
                  </a:cubicBezTo>
                  <a:cubicBezTo>
                    <a:pt x="95" y="14"/>
                    <a:pt x="95" y="14"/>
                    <a:pt x="95" y="14"/>
                  </a:cubicBezTo>
                  <a:cubicBezTo>
                    <a:pt x="95" y="14"/>
                    <a:pt x="94" y="14"/>
                    <a:pt x="94" y="14"/>
                  </a:cubicBezTo>
                  <a:cubicBezTo>
                    <a:pt x="94" y="14"/>
                    <a:pt x="94" y="14"/>
                    <a:pt x="94" y="14"/>
                  </a:cubicBezTo>
                  <a:cubicBezTo>
                    <a:pt x="93" y="15"/>
                    <a:pt x="92" y="15"/>
                    <a:pt x="92" y="15"/>
                  </a:cubicBezTo>
                  <a:cubicBezTo>
                    <a:pt x="91" y="15"/>
                    <a:pt x="91" y="15"/>
                    <a:pt x="91" y="15"/>
                  </a:cubicBezTo>
                  <a:cubicBezTo>
                    <a:pt x="91" y="15"/>
                    <a:pt x="91" y="15"/>
                    <a:pt x="91" y="15"/>
                  </a:cubicBezTo>
                  <a:cubicBezTo>
                    <a:pt x="90" y="14"/>
                    <a:pt x="90" y="14"/>
                    <a:pt x="90" y="13"/>
                  </a:cubicBezTo>
                  <a:cubicBezTo>
                    <a:pt x="89" y="14"/>
                    <a:pt x="89" y="14"/>
                    <a:pt x="89" y="14"/>
                  </a:cubicBezTo>
                  <a:cubicBezTo>
                    <a:pt x="88" y="14"/>
                    <a:pt x="88" y="14"/>
                    <a:pt x="88" y="14"/>
                  </a:cubicBezTo>
                  <a:cubicBezTo>
                    <a:pt x="88" y="14"/>
                    <a:pt x="88" y="14"/>
                    <a:pt x="88" y="14"/>
                  </a:cubicBezTo>
                  <a:cubicBezTo>
                    <a:pt x="87" y="14"/>
                    <a:pt x="87" y="14"/>
                    <a:pt x="86" y="15"/>
                  </a:cubicBezTo>
                  <a:cubicBezTo>
                    <a:pt x="85" y="15"/>
                    <a:pt x="84" y="15"/>
                    <a:pt x="84" y="15"/>
                  </a:cubicBezTo>
                  <a:cubicBezTo>
                    <a:pt x="83" y="15"/>
                    <a:pt x="82" y="14"/>
                    <a:pt x="82" y="14"/>
                  </a:cubicBezTo>
                  <a:cubicBezTo>
                    <a:pt x="80" y="13"/>
                    <a:pt x="80" y="12"/>
                    <a:pt x="80" y="11"/>
                  </a:cubicBezTo>
                  <a:cubicBezTo>
                    <a:pt x="80" y="11"/>
                    <a:pt x="80" y="11"/>
                    <a:pt x="80" y="11"/>
                  </a:cubicBezTo>
                  <a:cubicBezTo>
                    <a:pt x="80" y="10"/>
                    <a:pt x="80" y="10"/>
                    <a:pt x="80" y="10"/>
                  </a:cubicBezTo>
                  <a:cubicBezTo>
                    <a:pt x="80" y="10"/>
                    <a:pt x="80" y="10"/>
                    <a:pt x="80" y="10"/>
                  </a:cubicBezTo>
                  <a:cubicBezTo>
                    <a:pt x="80" y="10"/>
                    <a:pt x="80" y="10"/>
                    <a:pt x="80" y="10"/>
                  </a:cubicBezTo>
                  <a:cubicBezTo>
                    <a:pt x="79" y="9"/>
                    <a:pt x="79" y="9"/>
                    <a:pt x="79" y="9"/>
                  </a:cubicBezTo>
                  <a:cubicBezTo>
                    <a:pt x="79" y="8"/>
                    <a:pt x="79" y="7"/>
                    <a:pt x="80" y="6"/>
                  </a:cubicBezTo>
                  <a:cubicBezTo>
                    <a:pt x="80" y="5"/>
                    <a:pt x="81" y="5"/>
                    <a:pt x="81" y="5"/>
                  </a:cubicBezTo>
                  <a:cubicBezTo>
                    <a:pt x="81" y="5"/>
                    <a:pt x="81" y="4"/>
                    <a:pt x="81" y="4"/>
                  </a:cubicBezTo>
                  <a:cubicBezTo>
                    <a:pt x="82" y="4"/>
                    <a:pt x="83" y="3"/>
                    <a:pt x="84" y="3"/>
                  </a:cubicBezTo>
                  <a:cubicBezTo>
                    <a:pt x="84" y="3"/>
                    <a:pt x="84" y="3"/>
                    <a:pt x="84" y="3"/>
                  </a:cubicBezTo>
                  <a:cubicBezTo>
                    <a:pt x="83" y="2"/>
                    <a:pt x="83" y="2"/>
                    <a:pt x="83" y="1"/>
                  </a:cubicBezTo>
                  <a:cubicBezTo>
                    <a:pt x="82" y="0"/>
                    <a:pt x="82" y="0"/>
                    <a:pt x="82" y="0"/>
                  </a:cubicBezTo>
                  <a:cubicBezTo>
                    <a:pt x="81" y="0"/>
                    <a:pt x="81" y="0"/>
                    <a:pt x="81" y="0"/>
                  </a:cubicBezTo>
                  <a:cubicBezTo>
                    <a:pt x="81" y="0"/>
                    <a:pt x="80" y="1"/>
                    <a:pt x="79" y="1"/>
                  </a:cubicBezTo>
                  <a:cubicBezTo>
                    <a:pt x="79" y="1"/>
                    <a:pt x="79" y="1"/>
                    <a:pt x="79" y="1"/>
                  </a:cubicBezTo>
                  <a:cubicBezTo>
                    <a:pt x="79" y="1"/>
                    <a:pt x="79" y="1"/>
                    <a:pt x="79" y="1"/>
                  </a:cubicBezTo>
                  <a:cubicBezTo>
                    <a:pt x="77" y="1"/>
                    <a:pt x="77" y="1"/>
                    <a:pt x="76" y="1"/>
                  </a:cubicBezTo>
                  <a:cubicBezTo>
                    <a:pt x="76" y="1"/>
                    <a:pt x="75" y="1"/>
                    <a:pt x="75" y="0"/>
                  </a:cubicBezTo>
                  <a:cubicBezTo>
                    <a:pt x="74" y="0"/>
                    <a:pt x="74" y="0"/>
                    <a:pt x="74" y="0"/>
                  </a:cubicBezTo>
                  <a:cubicBezTo>
                    <a:pt x="74" y="0"/>
                    <a:pt x="73" y="1"/>
                    <a:pt x="73" y="1"/>
                  </a:cubicBezTo>
                  <a:cubicBezTo>
                    <a:pt x="72" y="1"/>
                    <a:pt x="72" y="1"/>
                    <a:pt x="72" y="1"/>
                  </a:cubicBezTo>
                  <a:cubicBezTo>
                    <a:pt x="71" y="1"/>
                    <a:pt x="71" y="1"/>
                    <a:pt x="71" y="1"/>
                  </a:cubicBezTo>
                  <a:cubicBezTo>
                    <a:pt x="70" y="1"/>
                    <a:pt x="70" y="1"/>
                    <a:pt x="70" y="1"/>
                  </a:cubicBezTo>
                  <a:cubicBezTo>
                    <a:pt x="70" y="1"/>
                    <a:pt x="70" y="1"/>
                    <a:pt x="70" y="1"/>
                  </a:cubicBezTo>
                  <a:cubicBezTo>
                    <a:pt x="69" y="1"/>
                    <a:pt x="69" y="1"/>
                    <a:pt x="69" y="1"/>
                  </a:cubicBezTo>
                  <a:cubicBezTo>
                    <a:pt x="69" y="2"/>
                    <a:pt x="69" y="2"/>
                    <a:pt x="69" y="2"/>
                  </a:cubicBezTo>
                  <a:cubicBezTo>
                    <a:pt x="68" y="2"/>
                    <a:pt x="67" y="3"/>
                    <a:pt x="66" y="3"/>
                  </a:cubicBezTo>
                  <a:cubicBezTo>
                    <a:pt x="66" y="3"/>
                    <a:pt x="66" y="3"/>
                    <a:pt x="66" y="3"/>
                  </a:cubicBezTo>
                  <a:cubicBezTo>
                    <a:pt x="65" y="3"/>
                    <a:pt x="65" y="3"/>
                    <a:pt x="65" y="3"/>
                  </a:cubicBezTo>
                  <a:cubicBezTo>
                    <a:pt x="65" y="4"/>
                    <a:pt x="64" y="4"/>
                    <a:pt x="64" y="4"/>
                  </a:cubicBezTo>
                  <a:cubicBezTo>
                    <a:pt x="64" y="4"/>
                    <a:pt x="64" y="4"/>
                    <a:pt x="64" y="4"/>
                  </a:cubicBezTo>
                  <a:cubicBezTo>
                    <a:pt x="64" y="4"/>
                    <a:pt x="63" y="5"/>
                    <a:pt x="62" y="5"/>
                  </a:cubicBezTo>
                  <a:cubicBezTo>
                    <a:pt x="60" y="7"/>
                    <a:pt x="60" y="7"/>
                    <a:pt x="60" y="7"/>
                  </a:cubicBezTo>
                  <a:cubicBezTo>
                    <a:pt x="59" y="5"/>
                    <a:pt x="59" y="5"/>
                    <a:pt x="59" y="5"/>
                  </a:cubicBezTo>
                  <a:cubicBezTo>
                    <a:pt x="59" y="5"/>
                    <a:pt x="59" y="5"/>
                    <a:pt x="59" y="5"/>
                  </a:cubicBezTo>
                  <a:cubicBezTo>
                    <a:pt x="59" y="7"/>
                    <a:pt x="59" y="7"/>
                    <a:pt x="59" y="7"/>
                  </a:cubicBezTo>
                  <a:cubicBezTo>
                    <a:pt x="59" y="9"/>
                    <a:pt x="59" y="9"/>
                    <a:pt x="59" y="9"/>
                  </a:cubicBezTo>
                  <a:cubicBezTo>
                    <a:pt x="59" y="11"/>
                    <a:pt x="59" y="11"/>
                    <a:pt x="59" y="11"/>
                  </a:cubicBezTo>
                  <a:cubicBezTo>
                    <a:pt x="59" y="12"/>
                    <a:pt x="59" y="12"/>
                    <a:pt x="59" y="12"/>
                  </a:cubicBezTo>
                  <a:cubicBezTo>
                    <a:pt x="59" y="14"/>
                    <a:pt x="59" y="14"/>
                    <a:pt x="59" y="14"/>
                  </a:cubicBezTo>
                  <a:cubicBezTo>
                    <a:pt x="59" y="16"/>
                    <a:pt x="59" y="16"/>
                    <a:pt x="59" y="16"/>
                  </a:cubicBezTo>
                  <a:cubicBezTo>
                    <a:pt x="59" y="18"/>
                    <a:pt x="59" y="18"/>
                    <a:pt x="59" y="18"/>
                  </a:cubicBezTo>
                  <a:cubicBezTo>
                    <a:pt x="59" y="19"/>
                    <a:pt x="59" y="19"/>
                    <a:pt x="59" y="19"/>
                  </a:cubicBezTo>
                  <a:cubicBezTo>
                    <a:pt x="59" y="21"/>
                    <a:pt x="59" y="21"/>
                    <a:pt x="59" y="21"/>
                  </a:cubicBezTo>
                  <a:cubicBezTo>
                    <a:pt x="57" y="23"/>
                    <a:pt x="57" y="23"/>
                    <a:pt x="57" y="23"/>
                  </a:cubicBezTo>
                  <a:cubicBezTo>
                    <a:pt x="57" y="25"/>
                    <a:pt x="57" y="25"/>
                    <a:pt x="57" y="25"/>
                  </a:cubicBezTo>
                  <a:cubicBezTo>
                    <a:pt x="57" y="27"/>
                    <a:pt x="57" y="27"/>
                    <a:pt x="57" y="27"/>
                  </a:cubicBezTo>
                  <a:cubicBezTo>
                    <a:pt x="58" y="28"/>
                    <a:pt x="58" y="28"/>
                    <a:pt x="58" y="28"/>
                  </a:cubicBezTo>
                  <a:cubicBezTo>
                    <a:pt x="57" y="31"/>
                    <a:pt x="57" y="31"/>
                    <a:pt x="57" y="31"/>
                  </a:cubicBezTo>
                  <a:cubicBezTo>
                    <a:pt x="58" y="36"/>
                    <a:pt x="58" y="36"/>
                    <a:pt x="58" y="36"/>
                  </a:cubicBezTo>
                  <a:cubicBezTo>
                    <a:pt x="58" y="41"/>
                    <a:pt x="58" y="41"/>
                    <a:pt x="58" y="41"/>
                  </a:cubicBezTo>
                  <a:cubicBezTo>
                    <a:pt x="56" y="46"/>
                    <a:pt x="56" y="46"/>
                    <a:pt x="56" y="46"/>
                  </a:cubicBezTo>
                  <a:cubicBezTo>
                    <a:pt x="53" y="51"/>
                    <a:pt x="53" y="51"/>
                    <a:pt x="53" y="51"/>
                  </a:cubicBezTo>
                  <a:cubicBezTo>
                    <a:pt x="51" y="57"/>
                    <a:pt x="51" y="57"/>
                    <a:pt x="51" y="57"/>
                  </a:cubicBezTo>
                  <a:cubicBezTo>
                    <a:pt x="46" y="66"/>
                    <a:pt x="46" y="66"/>
                    <a:pt x="46" y="66"/>
                  </a:cubicBezTo>
                  <a:cubicBezTo>
                    <a:pt x="42" y="72"/>
                    <a:pt x="42" y="72"/>
                    <a:pt x="42" y="72"/>
                  </a:cubicBezTo>
                  <a:cubicBezTo>
                    <a:pt x="40" y="76"/>
                    <a:pt x="40" y="76"/>
                    <a:pt x="40" y="76"/>
                  </a:cubicBezTo>
                  <a:cubicBezTo>
                    <a:pt x="41" y="77"/>
                    <a:pt x="41" y="77"/>
                    <a:pt x="41" y="77"/>
                  </a:cubicBezTo>
                  <a:cubicBezTo>
                    <a:pt x="34" y="89"/>
                    <a:pt x="34" y="89"/>
                    <a:pt x="34" y="89"/>
                  </a:cubicBezTo>
                  <a:cubicBezTo>
                    <a:pt x="30" y="94"/>
                    <a:pt x="30" y="94"/>
                    <a:pt x="30" y="94"/>
                  </a:cubicBezTo>
                  <a:cubicBezTo>
                    <a:pt x="30" y="94"/>
                    <a:pt x="28" y="97"/>
                    <a:pt x="28" y="97"/>
                  </a:cubicBezTo>
                  <a:cubicBezTo>
                    <a:pt x="28" y="98"/>
                    <a:pt x="27" y="99"/>
                    <a:pt x="27" y="99"/>
                  </a:cubicBezTo>
                  <a:cubicBezTo>
                    <a:pt x="27" y="100"/>
                    <a:pt x="26" y="100"/>
                    <a:pt x="26" y="100"/>
                  </a:cubicBezTo>
                  <a:cubicBezTo>
                    <a:pt x="25" y="101"/>
                    <a:pt x="25" y="101"/>
                    <a:pt x="25" y="101"/>
                  </a:cubicBezTo>
                  <a:cubicBezTo>
                    <a:pt x="25" y="101"/>
                    <a:pt x="25" y="101"/>
                    <a:pt x="25" y="102"/>
                  </a:cubicBezTo>
                  <a:cubicBezTo>
                    <a:pt x="24" y="103"/>
                    <a:pt x="24" y="103"/>
                    <a:pt x="24" y="103"/>
                  </a:cubicBezTo>
                  <a:cubicBezTo>
                    <a:pt x="24" y="103"/>
                    <a:pt x="22" y="104"/>
                    <a:pt x="22" y="104"/>
                  </a:cubicBezTo>
                  <a:cubicBezTo>
                    <a:pt x="22" y="104"/>
                    <a:pt x="21" y="104"/>
                    <a:pt x="21" y="104"/>
                  </a:cubicBezTo>
                  <a:cubicBezTo>
                    <a:pt x="20" y="104"/>
                    <a:pt x="19" y="105"/>
                    <a:pt x="19" y="106"/>
                  </a:cubicBezTo>
                  <a:cubicBezTo>
                    <a:pt x="18" y="106"/>
                    <a:pt x="17" y="106"/>
                    <a:pt x="17" y="106"/>
                  </a:cubicBezTo>
                  <a:cubicBezTo>
                    <a:pt x="16" y="106"/>
                    <a:pt x="16" y="106"/>
                    <a:pt x="16" y="106"/>
                  </a:cubicBezTo>
                  <a:cubicBezTo>
                    <a:pt x="14" y="107"/>
                    <a:pt x="14" y="107"/>
                    <a:pt x="14" y="107"/>
                  </a:cubicBezTo>
                  <a:cubicBezTo>
                    <a:pt x="15" y="108"/>
                    <a:pt x="15" y="108"/>
                    <a:pt x="15" y="108"/>
                  </a:cubicBezTo>
                  <a:cubicBezTo>
                    <a:pt x="15" y="109"/>
                    <a:pt x="15" y="109"/>
                    <a:pt x="15" y="109"/>
                  </a:cubicBezTo>
                  <a:cubicBezTo>
                    <a:pt x="15" y="109"/>
                    <a:pt x="15" y="112"/>
                    <a:pt x="15" y="112"/>
                  </a:cubicBezTo>
                  <a:cubicBezTo>
                    <a:pt x="15" y="112"/>
                    <a:pt x="14" y="114"/>
                    <a:pt x="14" y="114"/>
                  </a:cubicBezTo>
                  <a:cubicBezTo>
                    <a:pt x="14" y="114"/>
                    <a:pt x="12" y="116"/>
                    <a:pt x="12" y="116"/>
                  </a:cubicBezTo>
                  <a:cubicBezTo>
                    <a:pt x="12" y="116"/>
                    <a:pt x="11" y="118"/>
                    <a:pt x="11" y="118"/>
                  </a:cubicBezTo>
                  <a:cubicBezTo>
                    <a:pt x="11" y="118"/>
                    <a:pt x="10" y="119"/>
                    <a:pt x="10" y="119"/>
                  </a:cubicBezTo>
                  <a:cubicBezTo>
                    <a:pt x="10" y="120"/>
                    <a:pt x="9" y="121"/>
                    <a:pt x="9" y="121"/>
                  </a:cubicBezTo>
                  <a:cubicBezTo>
                    <a:pt x="9" y="122"/>
                    <a:pt x="9" y="123"/>
                    <a:pt x="9" y="123"/>
                  </a:cubicBezTo>
                  <a:cubicBezTo>
                    <a:pt x="8" y="126"/>
                    <a:pt x="8" y="126"/>
                    <a:pt x="8" y="126"/>
                  </a:cubicBezTo>
                  <a:cubicBezTo>
                    <a:pt x="8" y="126"/>
                    <a:pt x="8" y="126"/>
                    <a:pt x="7" y="127"/>
                  </a:cubicBezTo>
                  <a:cubicBezTo>
                    <a:pt x="6" y="127"/>
                    <a:pt x="6" y="128"/>
                    <a:pt x="5" y="129"/>
                  </a:cubicBezTo>
                  <a:cubicBezTo>
                    <a:pt x="5" y="129"/>
                    <a:pt x="5" y="130"/>
                    <a:pt x="4" y="131"/>
                  </a:cubicBezTo>
                  <a:cubicBezTo>
                    <a:pt x="4" y="132"/>
                    <a:pt x="4" y="132"/>
                    <a:pt x="4" y="132"/>
                  </a:cubicBezTo>
                  <a:cubicBezTo>
                    <a:pt x="4" y="133"/>
                    <a:pt x="4" y="134"/>
                    <a:pt x="4" y="134"/>
                  </a:cubicBezTo>
                  <a:cubicBezTo>
                    <a:pt x="4" y="134"/>
                    <a:pt x="6" y="135"/>
                    <a:pt x="6" y="135"/>
                  </a:cubicBezTo>
                  <a:cubicBezTo>
                    <a:pt x="7" y="136"/>
                    <a:pt x="7" y="136"/>
                    <a:pt x="7" y="136"/>
                  </a:cubicBezTo>
                  <a:cubicBezTo>
                    <a:pt x="8" y="137"/>
                    <a:pt x="8" y="137"/>
                    <a:pt x="8" y="137"/>
                  </a:cubicBezTo>
                  <a:cubicBezTo>
                    <a:pt x="8" y="137"/>
                    <a:pt x="9" y="136"/>
                    <a:pt x="9" y="136"/>
                  </a:cubicBezTo>
                  <a:cubicBezTo>
                    <a:pt x="10" y="136"/>
                    <a:pt x="11" y="136"/>
                    <a:pt x="11" y="136"/>
                  </a:cubicBezTo>
                  <a:cubicBezTo>
                    <a:pt x="12" y="137"/>
                    <a:pt x="12" y="137"/>
                    <a:pt x="12" y="137"/>
                  </a:cubicBezTo>
                  <a:cubicBezTo>
                    <a:pt x="12" y="137"/>
                    <a:pt x="11" y="137"/>
                    <a:pt x="11" y="138"/>
                  </a:cubicBezTo>
                  <a:cubicBezTo>
                    <a:pt x="10" y="138"/>
                    <a:pt x="11" y="139"/>
                    <a:pt x="11" y="139"/>
                  </a:cubicBezTo>
                  <a:cubicBezTo>
                    <a:pt x="11" y="139"/>
                    <a:pt x="12" y="142"/>
                    <a:pt x="12" y="142"/>
                  </a:cubicBezTo>
                  <a:cubicBezTo>
                    <a:pt x="12" y="142"/>
                    <a:pt x="12" y="144"/>
                    <a:pt x="12" y="145"/>
                  </a:cubicBezTo>
                  <a:cubicBezTo>
                    <a:pt x="12" y="145"/>
                    <a:pt x="12" y="145"/>
                    <a:pt x="12" y="145"/>
                  </a:cubicBezTo>
                  <a:cubicBezTo>
                    <a:pt x="12" y="145"/>
                    <a:pt x="10" y="148"/>
                    <a:pt x="9" y="148"/>
                  </a:cubicBezTo>
                  <a:cubicBezTo>
                    <a:pt x="9" y="149"/>
                    <a:pt x="10" y="149"/>
                    <a:pt x="10" y="149"/>
                  </a:cubicBezTo>
                  <a:cubicBezTo>
                    <a:pt x="11" y="149"/>
                    <a:pt x="12" y="148"/>
                    <a:pt x="12" y="148"/>
                  </a:cubicBezTo>
                  <a:cubicBezTo>
                    <a:pt x="14" y="149"/>
                    <a:pt x="14" y="149"/>
                    <a:pt x="14" y="149"/>
                  </a:cubicBezTo>
                  <a:cubicBezTo>
                    <a:pt x="16" y="148"/>
                    <a:pt x="16" y="148"/>
                    <a:pt x="16" y="148"/>
                  </a:cubicBezTo>
                  <a:cubicBezTo>
                    <a:pt x="16" y="148"/>
                    <a:pt x="19" y="148"/>
                    <a:pt x="19" y="148"/>
                  </a:cubicBezTo>
                  <a:cubicBezTo>
                    <a:pt x="20" y="148"/>
                    <a:pt x="20" y="148"/>
                    <a:pt x="20" y="148"/>
                  </a:cubicBezTo>
                  <a:cubicBezTo>
                    <a:pt x="22" y="147"/>
                    <a:pt x="22" y="147"/>
                    <a:pt x="22" y="147"/>
                  </a:cubicBezTo>
                  <a:cubicBezTo>
                    <a:pt x="22" y="150"/>
                    <a:pt x="22" y="150"/>
                    <a:pt x="22" y="150"/>
                  </a:cubicBezTo>
                  <a:cubicBezTo>
                    <a:pt x="22" y="150"/>
                    <a:pt x="23" y="151"/>
                    <a:pt x="23" y="151"/>
                  </a:cubicBezTo>
                  <a:cubicBezTo>
                    <a:pt x="23" y="151"/>
                    <a:pt x="23" y="152"/>
                    <a:pt x="23" y="152"/>
                  </a:cubicBezTo>
                  <a:cubicBezTo>
                    <a:pt x="23" y="152"/>
                    <a:pt x="23" y="154"/>
                    <a:pt x="23" y="155"/>
                  </a:cubicBezTo>
                  <a:cubicBezTo>
                    <a:pt x="23" y="155"/>
                    <a:pt x="23" y="157"/>
                    <a:pt x="23" y="157"/>
                  </a:cubicBezTo>
                  <a:cubicBezTo>
                    <a:pt x="22" y="161"/>
                    <a:pt x="22" y="161"/>
                    <a:pt x="22" y="161"/>
                  </a:cubicBezTo>
                  <a:cubicBezTo>
                    <a:pt x="20" y="165"/>
                    <a:pt x="20" y="165"/>
                    <a:pt x="20" y="165"/>
                  </a:cubicBezTo>
                  <a:cubicBezTo>
                    <a:pt x="18" y="169"/>
                    <a:pt x="18" y="169"/>
                    <a:pt x="18" y="169"/>
                  </a:cubicBezTo>
                  <a:cubicBezTo>
                    <a:pt x="16" y="172"/>
                    <a:pt x="16" y="172"/>
                    <a:pt x="16" y="172"/>
                  </a:cubicBezTo>
                  <a:cubicBezTo>
                    <a:pt x="18" y="175"/>
                    <a:pt x="18" y="175"/>
                    <a:pt x="18" y="175"/>
                  </a:cubicBezTo>
                  <a:cubicBezTo>
                    <a:pt x="18" y="175"/>
                    <a:pt x="18" y="177"/>
                    <a:pt x="17" y="178"/>
                  </a:cubicBezTo>
                  <a:cubicBezTo>
                    <a:pt x="17" y="178"/>
                    <a:pt x="16" y="180"/>
                    <a:pt x="16" y="180"/>
                  </a:cubicBezTo>
                  <a:cubicBezTo>
                    <a:pt x="16" y="180"/>
                    <a:pt x="15" y="183"/>
                    <a:pt x="15" y="184"/>
                  </a:cubicBezTo>
                  <a:cubicBezTo>
                    <a:pt x="15" y="185"/>
                    <a:pt x="14" y="187"/>
                    <a:pt x="14" y="187"/>
                  </a:cubicBezTo>
                  <a:cubicBezTo>
                    <a:pt x="14" y="187"/>
                    <a:pt x="14" y="190"/>
                    <a:pt x="14" y="190"/>
                  </a:cubicBezTo>
                  <a:cubicBezTo>
                    <a:pt x="14" y="191"/>
                    <a:pt x="13" y="192"/>
                    <a:pt x="13" y="192"/>
                  </a:cubicBezTo>
                  <a:cubicBezTo>
                    <a:pt x="13" y="193"/>
                    <a:pt x="12" y="194"/>
                    <a:pt x="12" y="195"/>
                  </a:cubicBezTo>
                  <a:cubicBezTo>
                    <a:pt x="12" y="196"/>
                    <a:pt x="11" y="196"/>
                    <a:pt x="11" y="196"/>
                  </a:cubicBezTo>
                  <a:cubicBezTo>
                    <a:pt x="9" y="199"/>
                    <a:pt x="9" y="199"/>
                    <a:pt x="9" y="199"/>
                  </a:cubicBezTo>
                  <a:cubicBezTo>
                    <a:pt x="9" y="202"/>
                    <a:pt x="9" y="202"/>
                    <a:pt x="9" y="202"/>
                  </a:cubicBezTo>
                  <a:cubicBezTo>
                    <a:pt x="6" y="203"/>
                    <a:pt x="6" y="203"/>
                    <a:pt x="6" y="203"/>
                  </a:cubicBezTo>
                  <a:cubicBezTo>
                    <a:pt x="6" y="206"/>
                    <a:pt x="6" y="206"/>
                    <a:pt x="6" y="206"/>
                  </a:cubicBezTo>
                  <a:cubicBezTo>
                    <a:pt x="4" y="207"/>
                    <a:pt x="4" y="207"/>
                    <a:pt x="4" y="207"/>
                  </a:cubicBezTo>
                  <a:cubicBezTo>
                    <a:pt x="2" y="209"/>
                    <a:pt x="2" y="209"/>
                    <a:pt x="2" y="209"/>
                  </a:cubicBezTo>
                  <a:cubicBezTo>
                    <a:pt x="0" y="210"/>
                    <a:pt x="0" y="210"/>
                    <a:pt x="0" y="210"/>
                  </a:cubicBezTo>
                  <a:cubicBezTo>
                    <a:pt x="3" y="211"/>
                    <a:pt x="3" y="211"/>
                    <a:pt x="3" y="211"/>
                  </a:cubicBezTo>
                  <a:cubicBezTo>
                    <a:pt x="4" y="210"/>
                    <a:pt x="4" y="210"/>
                    <a:pt x="4" y="210"/>
                  </a:cubicBezTo>
                  <a:cubicBezTo>
                    <a:pt x="8" y="210"/>
                    <a:pt x="8" y="210"/>
                    <a:pt x="8" y="210"/>
                  </a:cubicBezTo>
                  <a:cubicBezTo>
                    <a:pt x="9" y="210"/>
                    <a:pt x="9" y="210"/>
                    <a:pt x="9" y="210"/>
                  </a:cubicBezTo>
                  <a:cubicBezTo>
                    <a:pt x="11" y="210"/>
                    <a:pt x="11" y="210"/>
                    <a:pt x="11" y="210"/>
                  </a:cubicBezTo>
                  <a:cubicBezTo>
                    <a:pt x="13" y="210"/>
                    <a:pt x="13" y="210"/>
                    <a:pt x="13" y="210"/>
                  </a:cubicBezTo>
                  <a:cubicBezTo>
                    <a:pt x="14" y="210"/>
                    <a:pt x="14" y="210"/>
                    <a:pt x="14" y="210"/>
                  </a:cubicBezTo>
                  <a:cubicBezTo>
                    <a:pt x="15" y="209"/>
                    <a:pt x="15" y="209"/>
                    <a:pt x="15" y="209"/>
                  </a:cubicBezTo>
                  <a:cubicBezTo>
                    <a:pt x="18" y="211"/>
                    <a:pt x="18" y="211"/>
                    <a:pt x="18" y="211"/>
                  </a:cubicBezTo>
                  <a:cubicBezTo>
                    <a:pt x="21" y="213"/>
                    <a:pt x="21" y="213"/>
                    <a:pt x="21" y="213"/>
                  </a:cubicBezTo>
                  <a:cubicBezTo>
                    <a:pt x="23" y="212"/>
                    <a:pt x="23" y="212"/>
                    <a:pt x="23" y="212"/>
                  </a:cubicBezTo>
                  <a:cubicBezTo>
                    <a:pt x="25" y="213"/>
                    <a:pt x="25" y="213"/>
                    <a:pt x="25" y="213"/>
                  </a:cubicBezTo>
                  <a:cubicBezTo>
                    <a:pt x="26" y="214"/>
                    <a:pt x="26" y="214"/>
                    <a:pt x="26" y="214"/>
                  </a:cubicBezTo>
                  <a:cubicBezTo>
                    <a:pt x="28" y="214"/>
                    <a:pt x="28" y="214"/>
                    <a:pt x="28" y="214"/>
                  </a:cubicBezTo>
                  <a:cubicBezTo>
                    <a:pt x="30" y="215"/>
                    <a:pt x="30" y="215"/>
                    <a:pt x="30" y="215"/>
                  </a:cubicBezTo>
                  <a:cubicBezTo>
                    <a:pt x="32" y="217"/>
                    <a:pt x="32" y="217"/>
                    <a:pt x="32" y="217"/>
                  </a:cubicBezTo>
                  <a:cubicBezTo>
                    <a:pt x="35" y="219"/>
                    <a:pt x="35" y="219"/>
                    <a:pt x="35" y="219"/>
                  </a:cubicBezTo>
                  <a:cubicBezTo>
                    <a:pt x="36" y="220"/>
                    <a:pt x="36" y="220"/>
                    <a:pt x="36" y="220"/>
                  </a:cubicBezTo>
                  <a:cubicBezTo>
                    <a:pt x="39" y="220"/>
                    <a:pt x="39" y="220"/>
                    <a:pt x="39" y="220"/>
                  </a:cubicBezTo>
                  <a:cubicBezTo>
                    <a:pt x="42" y="220"/>
                    <a:pt x="42" y="220"/>
                    <a:pt x="42" y="220"/>
                  </a:cubicBezTo>
                  <a:cubicBezTo>
                    <a:pt x="47" y="219"/>
                    <a:pt x="47" y="219"/>
                    <a:pt x="47" y="219"/>
                  </a:cubicBezTo>
                  <a:cubicBezTo>
                    <a:pt x="51" y="218"/>
                    <a:pt x="51" y="218"/>
                    <a:pt x="51" y="218"/>
                  </a:cubicBezTo>
                  <a:cubicBezTo>
                    <a:pt x="53" y="217"/>
                    <a:pt x="53" y="217"/>
                    <a:pt x="53" y="217"/>
                  </a:cubicBezTo>
                  <a:cubicBezTo>
                    <a:pt x="55" y="217"/>
                    <a:pt x="55" y="217"/>
                    <a:pt x="55" y="217"/>
                  </a:cubicBezTo>
                  <a:cubicBezTo>
                    <a:pt x="56" y="217"/>
                    <a:pt x="56" y="217"/>
                    <a:pt x="56" y="217"/>
                  </a:cubicBezTo>
                  <a:lnTo>
                    <a:pt x="55" y="215"/>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3" name="Freeform 131"/>
            <p:cNvSpPr>
              <a:spLocks/>
            </p:cNvSpPr>
            <p:nvPr/>
          </p:nvSpPr>
          <p:spPr bwMode="auto">
            <a:xfrm>
              <a:off x="4857775" y="4064115"/>
              <a:ext cx="293162" cy="232833"/>
            </a:xfrm>
            <a:custGeom>
              <a:avLst/>
              <a:gdLst>
                <a:gd name="T0" fmla="*/ 84 w 101"/>
                <a:gd name="T1" fmla="*/ 82 h 85"/>
                <a:gd name="T2" fmla="*/ 83 w 101"/>
                <a:gd name="T3" fmla="*/ 80 h 85"/>
                <a:gd name="T4" fmla="*/ 80 w 101"/>
                <a:gd name="T5" fmla="*/ 75 h 85"/>
                <a:gd name="T6" fmla="*/ 83 w 101"/>
                <a:gd name="T7" fmla="*/ 67 h 85"/>
                <a:gd name="T8" fmla="*/ 85 w 101"/>
                <a:gd name="T9" fmla="*/ 63 h 85"/>
                <a:gd name="T10" fmla="*/ 87 w 101"/>
                <a:gd name="T11" fmla="*/ 60 h 85"/>
                <a:gd name="T12" fmla="*/ 89 w 101"/>
                <a:gd name="T13" fmla="*/ 58 h 85"/>
                <a:gd name="T14" fmla="*/ 91 w 101"/>
                <a:gd name="T15" fmla="*/ 57 h 85"/>
                <a:gd name="T16" fmla="*/ 95 w 101"/>
                <a:gd name="T17" fmla="*/ 58 h 85"/>
                <a:gd name="T18" fmla="*/ 98 w 101"/>
                <a:gd name="T19" fmla="*/ 56 h 85"/>
                <a:gd name="T20" fmla="*/ 101 w 101"/>
                <a:gd name="T21" fmla="*/ 52 h 85"/>
                <a:gd name="T22" fmla="*/ 97 w 101"/>
                <a:gd name="T23" fmla="*/ 46 h 85"/>
                <a:gd name="T24" fmla="*/ 96 w 101"/>
                <a:gd name="T25" fmla="*/ 39 h 85"/>
                <a:gd name="T26" fmla="*/ 91 w 101"/>
                <a:gd name="T27" fmla="*/ 35 h 85"/>
                <a:gd name="T28" fmla="*/ 83 w 101"/>
                <a:gd name="T29" fmla="*/ 34 h 85"/>
                <a:gd name="T30" fmla="*/ 83 w 101"/>
                <a:gd name="T31" fmla="*/ 28 h 85"/>
                <a:gd name="T32" fmla="*/ 88 w 101"/>
                <a:gd name="T33" fmla="*/ 20 h 85"/>
                <a:gd name="T34" fmla="*/ 80 w 101"/>
                <a:gd name="T35" fmla="*/ 14 h 85"/>
                <a:gd name="T36" fmla="*/ 75 w 101"/>
                <a:gd name="T37" fmla="*/ 11 h 85"/>
                <a:gd name="T38" fmla="*/ 69 w 101"/>
                <a:gd name="T39" fmla="*/ 8 h 85"/>
                <a:gd name="T40" fmla="*/ 67 w 101"/>
                <a:gd name="T41" fmla="*/ 2 h 85"/>
                <a:gd name="T42" fmla="*/ 61 w 101"/>
                <a:gd name="T43" fmla="*/ 3 h 85"/>
                <a:gd name="T44" fmla="*/ 57 w 101"/>
                <a:gd name="T45" fmla="*/ 3 h 85"/>
                <a:gd name="T46" fmla="*/ 51 w 101"/>
                <a:gd name="T47" fmla="*/ 1 h 85"/>
                <a:gd name="T48" fmla="*/ 47 w 101"/>
                <a:gd name="T49" fmla="*/ 5 h 85"/>
                <a:gd name="T50" fmla="*/ 31 w 101"/>
                <a:gd name="T51" fmla="*/ 8 h 85"/>
                <a:gd name="T52" fmla="*/ 24 w 101"/>
                <a:gd name="T53" fmla="*/ 6 h 85"/>
                <a:gd name="T54" fmla="*/ 15 w 101"/>
                <a:gd name="T55" fmla="*/ 5 h 85"/>
                <a:gd name="T56" fmla="*/ 0 w 101"/>
                <a:gd name="T57" fmla="*/ 17 h 85"/>
                <a:gd name="T58" fmla="*/ 2 w 101"/>
                <a:gd name="T59" fmla="*/ 24 h 85"/>
                <a:gd name="T60" fmla="*/ 9 w 101"/>
                <a:gd name="T61" fmla="*/ 27 h 85"/>
                <a:gd name="T62" fmla="*/ 17 w 101"/>
                <a:gd name="T63" fmla="*/ 30 h 85"/>
                <a:gd name="T64" fmla="*/ 19 w 101"/>
                <a:gd name="T65" fmla="*/ 39 h 85"/>
                <a:gd name="T66" fmla="*/ 23 w 101"/>
                <a:gd name="T67" fmla="*/ 38 h 85"/>
                <a:gd name="T68" fmla="*/ 27 w 101"/>
                <a:gd name="T69" fmla="*/ 43 h 85"/>
                <a:gd name="T70" fmla="*/ 30 w 101"/>
                <a:gd name="T71" fmla="*/ 47 h 85"/>
                <a:gd name="T72" fmla="*/ 38 w 101"/>
                <a:gd name="T73" fmla="*/ 47 h 85"/>
                <a:gd name="T74" fmla="*/ 43 w 101"/>
                <a:gd name="T75" fmla="*/ 51 h 85"/>
                <a:gd name="T76" fmla="*/ 42 w 101"/>
                <a:gd name="T77" fmla="*/ 57 h 85"/>
                <a:gd name="T78" fmla="*/ 41 w 101"/>
                <a:gd name="T79" fmla="*/ 64 h 85"/>
                <a:gd name="T80" fmla="*/ 48 w 101"/>
                <a:gd name="T81" fmla="*/ 64 h 85"/>
                <a:gd name="T82" fmla="*/ 53 w 101"/>
                <a:gd name="T83" fmla="*/ 59 h 85"/>
                <a:gd name="T84" fmla="*/ 57 w 101"/>
                <a:gd name="T85" fmla="*/ 56 h 85"/>
                <a:gd name="T86" fmla="*/ 61 w 101"/>
                <a:gd name="T87" fmla="*/ 62 h 85"/>
                <a:gd name="T88" fmla="*/ 59 w 101"/>
                <a:gd name="T89" fmla="*/ 67 h 85"/>
                <a:gd name="T90" fmla="*/ 60 w 101"/>
                <a:gd name="T91" fmla="*/ 72 h 85"/>
                <a:gd name="T92" fmla="*/ 67 w 101"/>
                <a:gd name="T93" fmla="*/ 74 h 85"/>
                <a:gd name="T94" fmla="*/ 72 w 101"/>
                <a:gd name="T95" fmla="*/ 80 h 85"/>
                <a:gd name="T96" fmla="*/ 76 w 101"/>
                <a:gd name="T97" fmla="*/ 82 h 85"/>
                <a:gd name="T98" fmla="*/ 79 w 101"/>
                <a:gd name="T99" fmla="*/ 8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85">
                  <a:moveTo>
                    <a:pt x="80" y="84"/>
                  </a:moveTo>
                  <a:cubicBezTo>
                    <a:pt x="80" y="84"/>
                    <a:pt x="82" y="84"/>
                    <a:pt x="83" y="83"/>
                  </a:cubicBezTo>
                  <a:cubicBezTo>
                    <a:pt x="83" y="83"/>
                    <a:pt x="83" y="83"/>
                    <a:pt x="83" y="83"/>
                  </a:cubicBezTo>
                  <a:cubicBezTo>
                    <a:pt x="84" y="82"/>
                    <a:pt x="84" y="82"/>
                    <a:pt x="84" y="82"/>
                  </a:cubicBezTo>
                  <a:cubicBezTo>
                    <a:pt x="84" y="82"/>
                    <a:pt x="84" y="81"/>
                    <a:pt x="84" y="81"/>
                  </a:cubicBezTo>
                  <a:cubicBezTo>
                    <a:pt x="84" y="81"/>
                    <a:pt x="84" y="81"/>
                    <a:pt x="84" y="81"/>
                  </a:cubicBezTo>
                  <a:cubicBezTo>
                    <a:pt x="84" y="81"/>
                    <a:pt x="84" y="81"/>
                    <a:pt x="84" y="81"/>
                  </a:cubicBezTo>
                  <a:cubicBezTo>
                    <a:pt x="83" y="80"/>
                    <a:pt x="83" y="80"/>
                    <a:pt x="83" y="80"/>
                  </a:cubicBezTo>
                  <a:cubicBezTo>
                    <a:pt x="82" y="77"/>
                    <a:pt x="82" y="77"/>
                    <a:pt x="82" y="77"/>
                  </a:cubicBezTo>
                  <a:cubicBezTo>
                    <a:pt x="80" y="77"/>
                    <a:pt x="80" y="77"/>
                    <a:pt x="80" y="77"/>
                  </a:cubicBezTo>
                  <a:cubicBezTo>
                    <a:pt x="80" y="76"/>
                    <a:pt x="80" y="76"/>
                    <a:pt x="80" y="76"/>
                  </a:cubicBezTo>
                  <a:cubicBezTo>
                    <a:pt x="80" y="75"/>
                    <a:pt x="80" y="75"/>
                    <a:pt x="80" y="75"/>
                  </a:cubicBezTo>
                  <a:cubicBezTo>
                    <a:pt x="80" y="74"/>
                    <a:pt x="81" y="73"/>
                    <a:pt x="81" y="73"/>
                  </a:cubicBezTo>
                  <a:cubicBezTo>
                    <a:pt x="81" y="72"/>
                    <a:pt x="81" y="72"/>
                    <a:pt x="81" y="72"/>
                  </a:cubicBezTo>
                  <a:cubicBezTo>
                    <a:pt x="81" y="72"/>
                    <a:pt x="80" y="71"/>
                    <a:pt x="80" y="70"/>
                  </a:cubicBezTo>
                  <a:cubicBezTo>
                    <a:pt x="81" y="69"/>
                    <a:pt x="83" y="67"/>
                    <a:pt x="83" y="67"/>
                  </a:cubicBezTo>
                  <a:cubicBezTo>
                    <a:pt x="83" y="66"/>
                    <a:pt x="83" y="66"/>
                    <a:pt x="83" y="66"/>
                  </a:cubicBezTo>
                  <a:cubicBezTo>
                    <a:pt x="83" y="65"/>
                    <a:pt x="83" y="65"/>
                    <a:pt x="83" y="65"/>
                  </a:cubicBezTo>
                  <a:cubicBezTo>
                    <a:pt x="84" y="65"/>
                    <a:pt x="84" y="64"/>
                    <a:pt x="85" y="63"/>
                  </a:cubicBezTo>
                  <a:cubicBezTo>
                    <a:pt x="85" y="63"/>
                    <a:pt x="85" y="63"/>
                    <a:pt x="85" y="63"/>
                  </a:cubicBezTo>
                  <a:cubicBezTo>
                    <a:pt x="85" y="63"/>
                    <a:pt x="85" y="63"/>
                    <a:pt x="85" y="63"/>
                  </a:cubicBezTo>
                  <a:cubicBezTo>
                    <a:pt x="85" y="62"/>
                    <a:pt x="85" y="62"/>
                    <a:pt x="85" y="62"/>
                  </a:cubicBezTo>
                  <a:cubicBezTo>
                    <a:pt x="85" y="61"/>
                    <a:pt x="86" y="60"/>
                    <a:pt x="87" y="60"/>
                  </a:cubicBezTo>
                  <a:cubicBezTo>
                    <a:pt x="87" y="60"/>
                    <a:pt x="87" y="60"/>
                    <a:pt x="87" y="60"/>
                  </a:cubicBezTo>
                  <a:cubicBezTo>
                    <a:pt x="87" y="59"/>
                    <a:pt x="87" y="59"/>
                    <a:pt x="87" y="59"/>
                  </a:cubicBezTo>
                  <a:cubicBezTo>
                    <a:pt x="88" y="59"/>
                    <a:pt x="88" y="58"/>
                    <a:pt x="88" y="58"/>
                  </a:cubicBezTo>
                  <a:cubicBezTo>
                    <a:pt x="88" y="58"/>
                    <a:pt x="88" y="58"/>
                    <a:pt x="88" y="58"/>
                  </a:cubicBezTo>
                  <a:cubicBezTo>
                    <a:pt x="89" y="58"/>
                    <a:pt x="89" y="58"/>
                    <a:pt x="89" y="58"/>
                  </a:cubicBezTo>
                  <a:cubicBezTo>
                    <a:pt x="89" y="58"/>
                    <a:pt x="89" y="57"/>
                    <a:pt x="89" y="57"/>
                  </a:cubicBezTo>
                  <a:cubicBezTo>
                    <a:pt x="90" y="57"/>
                    <a:pt x="91" y="57"/>
                    <a:pt x="91" y="57"/>
                  </a:cubicBezTo>
                  <a:cubicBezTo>
                    <a:pt x="91" y="57"/>
                    <a:pt x="91" y="57"/>
                    <a:pt x="91" y="57"/>
                  </a:cubicBezTo>
                  <a:cubicBezTo>
                    <a:pt x="91" y="57"/>
                    <a:pt x="91" y="57"/>
                    <a:pt x="91" y="57"/>
                  </a:cubicBezTo>
                  <a:cubicBezTo>
                    <a:pt x="92" y="57"/>
                    <a:pt x="92" y="57"/>
                    <a:pt x="92" y="58"/>
                  </a:cubicBezTo>
                  <a:cubicBezTo>
                    <a:pt x="93" y="57"/>
                    <a:pt x="93" y="57"/>
                    <a:pt x="93" y="57"/>
                  </a:cubicBezTo>
                  <a:cubicBezTo>
                    <a:pt x="94" y="57"/>
                    <a:pt x="94" y="57"/>
                    <a:pt x="94" y="57"/>
                  </a:cubicBezTo>
                  <a:cubicBezTo>
                    <a:pt x="95" y="58"/>
                    <a:pt x="95" y="58"/>
                    <a:pt x="95" y="58"/>
                  </a:cubicBezTo>
                  <a:cubicBezTo>
                    <a:pt x="95" y="58"/>
                    <a:pt x="95" y="58"/>
                    <a:pt x="95" y="58"/>
                  </a:cubicBezTo>
                  <a:cubicBezTo>
                    <a:pt x="96" y="57"/>
                    <a:pt x="96" y="57"/>
                    <a:pt x="96" y="57"/>
                  </a:cubicBezTo>
                  <a:cubicBezTo>
                    <a:pt x="96" y="57"/>
                    <a:pt x="96" y="56"/>
                    <a:pt x="97" y="56"/>
                  </a:cubicBezTo>
                  <a:cubicBezTo>
                    <a:pt x="97" y="56"/>
                    <a:pt x="97" y="56"/>
                    <a:pt x="98" y="56"/>
                  </a:cubicBezTo>
                  <a:cubicBezTo>
                    <a:pt x="99" y="56"/>
                    <a:pt x="99" y="54"/>
                    <a:pt x="99" y="54"/>
                  </a:cubicBezTo>
                  <a:cubicBezTo>
                    <a:pt x="100" y="54"/>
                    <a:pt x="100" y="54"/>
                    <a:pt x="100" y="54"/>
                  </a:cubicBezTo>
                  <a:cubicBezTo>
                    <a:pt x="100" y="54"/>
                    <a:pt x="101" y="53"/>
                    <a:pt x="101" y="53"/>
                  </a:cubicBezTo>
                  <a:cubicBezTo>
                    <a:pt x="101" y="52"/>
                    <a:pt x="101" y="52"/>
                    <a:pt x="101" y="52"/>
                  </a:cubicBezTo>
                  <a:cubicBezTo>
                    <a:pt x="101" y="52"/>
                    <a:pt x="101" y="50"/>
                    <a:pt x="101" y="49"/>
                  </a:cubicBezTo>
                  <a:cubicBezTo>
                    <a:pt x="101" y="48"/>
                    <a:pt x="101" y="47"/>
                    <a:pt x="101" y="47"/>
                  </a:cubicBezTo>
                  <a:cubicBezTo>
                    <a:pt x="101" y="47"/>
                    <a:pt x="100" y="46"/>
                    <a:pt x="100" y="46"/>
                  </a:cubicBezTo>
                  <a:cubicBezTo>
                    <a:pt x="99" y="46"/>
                    <a:pt x="98" y="46"/>
                    <a:pt x="97" y="46"/>
                  </a:cubicBezTo>
                  <a:cubicBezTo>
                    <a:pt x="97" y="46"/>
                    <a:pt x="96" y="44"/>
                    <a:pt x="96" y="44"/>
                  </a:cubicBezTo>
                  <a:cubicBezTo>
                    <a:pt x="96" y="44"/>
                    <a:pt x="97" y="43"/>
                    <a:pt x="97" y="43"/>
                  </a:cubicBezTo>
                  <a:cubicBezTo>
                    <a:pt x="98" y="42"/>
                    <a:pt x="98" y="40"/>
                    <a:pt x="98" y="40"/>
                  </a:cubicBezTo>
                  <a:cubicBezTo>
                    <a:pt x="98" y="40"/>
                    <a:pt x="96" y="40"/>
                    <a:pt x="96" y="39"/>
                  </a:cubicBezTo>
                  <a:cubicBezTo>
                    <a:pt x="96" y="39"/>
                    <a:pt x="95" y="39"/>
                    <a:pt x="95" y="39"/>
                  </a:cubicBezTo>
                  <a:cubicBezTo>
                    <a:pt x="94" y="37"/>
                    <a:pt x="94" y="37"/>
                    <a:pt x="94" y="37"/>
                  </a:cubicBezTo>
                  <a:cubicBezTo>
                    <a:pt x="94" y="37"/>
                    <a:pt x="93" y="36"/>
                    <a:pt x="92" y="36"/>
                  </a:cubicBezTo>
                  <a:cubicBezTo>
                    <a:pt x="92" y="36"/>
                    <a:pt x="91" y="35"/>
                    <a:pt x="91" y="35"/>
                  </a:cubicBezTo>
                  <a:cubicBezTo>
                    <a:pt x="91" y="35"/>
                    <a:pt x="90" y="34"/>
                    <a:pt x="89" y="34"/>
                  </a:cubicBezTo>
                  <a:cubicBezTo>
                    <a:pt x="89" y="34"/>
                    <a:pt x="88" y="34"/>
                    <a:pt x="87" y="34"/>
                  </a:cubicBezTo>
                  <a:cubicBezTo>
                    <a:pt x="86" y="34"/>
                    <a:pt x="85" y="34"/>
                    <a:pt x="85" y="34"/>
                  </a:cubicBezTo>
                  <a:cubicBezTo>
                    <a:pt x="83" y="34"/>
                    <a:pt x="83" y="34"/>
                    <a:pt x="83" y="34"/>
                  </a:cubicBezTo>
                  <a:cubicBezTo>
                    <a:pt x="83" y="33"/>
                    <a:pt x="83" y="33"/>
                    <a:pt x="83" y="33"/>
                  </a:cubicBezTo>
                  <a:cubicBezTo>
                    <a:pt x="81" y="31"/>
                    <a:pt x="81" y="31"/>
                    <a:pt x="81" y="31"/>
                  </a:cubicBezTo>
                  <a:cubicBezTo>
                    <a:pt x="81" y="31"/>
                    <a:pt x="81" y="29"/>
                    <a:pt x="81" y="29"/>
                  </a:cubicBezTo>
                  <a:cubicBezTo>
                    <a:pt x="81" y="28"/>
                    <a:pt x="82" y="28"/>
                    <a:pt x="83" y="28"/>
                  </a:cubicBezTo>
                  <a:cubicBezTo>
                    <a:pt x="83" y="28"/>
                    <a:pt x="84" y="26"/>
                    <a:pt x="84" y="26"/>
                  </a:cubicBezTo>
                  <a:cubicBezTo>
                    <a:pt x="84" y="26"/>
                    <a:pt x="85" y="25"/>
                    <a:pt x="86" y="24"/>
                  </a:cubicBezTo>
                  <a:cubicBezTo>
                    <a:pt x="86" y="24"/>
                    <a:pt x="87" y="22"/>
                    <a:pt x="87" y="21"/>
                  </a:cubicBezTo>
                  <a:cubicBezTo>
                    <a:pt x="87" y="21"/>
                    <a:pt x="88" y="20"/>
                    <a:pt x="88" y="20"/>
                  </a:cubicBezTo>
                  <a:cubicBezTo>
                    <a:pt x="88" y="20"/>
                    <a:pt x="89" y="18"/>
                    <a:pt x="89" y="18"/>
                  </a:cubicBezTo>
                  <a:cubicBezTo>
                    <a:pt x="89" y="17"/>
                    <a:pt x="88" y="17"/>
                    <a:pt x="87" y="17"/>
                  </a:cubicBezTo>
                  <a:cubicBezTo>
                    <a:pt x="87" y="17"/>
                    <a:pt x="84" y="16"/>
                    <a:pt x="84" y="15"/>
                  </a:cubicBezTo>
                  <a:cubicBezTo>
                    <a:pt x="84" y="15"/>
                    <a:pt x="82" y="15"/>
                    <a:pt x="80" y="14"/>
                  </a:cubicBezTo>
                  <a:cubicBezTo>
                    <a:pt x="78" y="14"/>
                    <a:pt x="80" y="13"/>
                    <a:pt x="80" y="12"/>
                  </a:cubicBezTo>
                  <a:cubicBezTo>
                    <a:pt x="80" y="11"/>
                    <a:pt x="78" y="11"/>
                    <a:pt x="78" y="11"/>
                  </a:cubicBezTo>
                  <a:cubicBezTo>
                    <a:pt x="78" y="10"/>
                    <a:pt x="78" y="11"/>
                    <a:pt x="77" y="12"/>
                  </a:cubicBezTo>
                  <a:cubicBezTo>
                    <a:pt x="76" y="12"/>
                    <a:pt x="75" y="11"/>
                    <a:pt x="75" y="11"/>
                  </a:cubicBezTo>
                  <a:cubicBezTo>
                    <a:pt x="74" y="11"/>
                    <a:pt x="72" y="11"/>
                    <a:pt x="72" y="11"/>
                  </a:cubicBezTo>
                  <a:cubicBezTo>
                    <a:pt x="72" y="11"/>
                    <a:pt x="72" y="10"/>
                    <a:pt x="72" y="9"/>
                  </a:cubicBezTo>
                  <a:cubicBezTo>
                    <a:pt x="72" y="8"/>
                    <a:pt x="71" y="9"/>
                    <a:pt x="71" y="9"/>
                  </a:cubicBezTo>
                  <a:cubicBezTo>
                    <a:pt x="71" y="9"/>
                    <a:pt x="70" y="8"/>
                    <a:pt x="69" y="8"/>
                  </a:cubicBezTo>
                  <a:cubicBezTo>
                    <a:pt x="69" y="8"/>
                    <a:pt x="70" y="8"/>
                    <a:pt x="70" y="7"/>
                  </a:cubicBezTo>
                  <a:cubicBezTo>
                    <a:pt x="70" y="7"/>
                    <a:pt x="69" y="7"/>
                    <a:pt x="69" y="7"/>
                  </a:cubicBezTo>
                  <a:cubicBezTo>
                    <a:pt x="68" y="7"/>
                    <a:pt x="68" y="5"/>
                    <a:pt x="68" y="5"/>
                  </a:cubicBezTo>
                  <a:cubicBezTo>
                    <a:pt x="68" y="5"/>
                    <a:pt x="67" y="3"/>
                    <a:pt x="67" y="2"/>
                  </a:cubicBezTo>
                  <a:cubicBezTo>
                    <a:pt x="67" y="1"/>
                    <a:pt x="66" y="2"/>
                    <a:pt x="66" y="2"/>
                  </a:cubicBezTo>
                  <a:cubicBezTo>
                    <a:pt x="65" y="5"/>
                    <a:pt x="65" y="5"/>
                    <a:pt x="65" y="5"/>
                  </a:cubicBezTo>
                  <a:cubicBezTo>
                    <a:pt x="65" y="5"/>
                    <a:pt x="64" y="5"/>
                    <a:pt x="62" y="4"/>
                  </a:cubicBezTo>
                  <a:cubicBezTo>
                    <a:pt x="60" y="3"/>
                    <a:pt x="61" y="3"/>
                    <a:pt x="61" y="3"/>
                  </a:cubicBezTo>
                  <a:cubicBezTo>
                    <a:pt x="62" y="1"/>
                    <a:pt x="62" y="1"/>
                    <a:pt x="62" y="1"/>
                  </a:cubicBezTo>
                  <a:cubicBezTo>
                    <a:pt x="62" y="1"/>
                    <a:pt x="61" y="1"/>
                    <a:pt x="60" y="0"/>
                  </a:cubicBezTo>
                  <a:cubicBezTo>
                    <a:pt x="59" y="0"/>
                    <a:pt x="59" y="0"/>
                    <a:pt x="58" y="1"/>
                  </a:cubicBezTo>
                  <a:cubicBezTo>
                    <a:pt x="58" y="2"/>
                    <a:pt x="57" y="3"/>
                    <a:pt x="57" y="3"/>
                  </a:cubicBezTo>
                  <a:cubicBezTo>
                    <a:pt x="56" y="4"/>
                    <a:pt x="56" y="3"/>
                    <a:pt x="55" y="3"/>
                  </a:cubicBezTo>
                  <a:cubicBezTo>
                    <a:pt x="53" y="3"/>
                    <a:pt x="53" y="3"/>
                    <a:pt x="53" y="3"/>
                  </a:cubicBezTo>
                  <a:cubicBezTo>
                    <a:pt x="53" y="2"/>
                    <a:pt x="52" y="2"/>
                    <a:pt x="52" y="1"/>
                  </a:cubicBezTo>
                  <a:cubicBezTo>
                    <a:pt x="52" y="0"/>
                    <a:pt x="51" y="1"/>
                    <a:pt x="51" y="1"/>
                  </a:cubicBezTo>
                  <a:cubicBezTo>
                    <a:pt x="51" y="1"/>
                    <a:pt x="50" y="1"/>
                    <a:pt x="49" y="2"/>
                  </a:cubicBezTo>
                  <a:cubicBezTo>
                    <a:pt x="49" y="2"/>
                    <a:pt x="49" y="3"/>
                    <a:pt x="50" y="4"/>
                  </a:cubicBezTo>
                  <a:cubicBezTo>
                    <a:pt x="50" y="4"/>
                    <a:pt x="50" y="6"/>
                    <a:pt x="50" y="6"/>
                  </a:cubicBezTo>
                  <a:cubicBezTo>
                    <a:pt x="50" y="6"/>
                    <a:pt x="48" y="5"/>
                    <a:pt x="47" y="5"/>
                  </a:cubicBezTo>
                  <a:cubicBezTo>
                    <a:pt x="47" y="5"/>
                    <a:pt x="46" y="5"/>
                    <a:pt x="45" y="5"/>
                  </a:cubicBezTo>
                  <a:cubicBezTo>
                    <a:pt x="43" y="4"/>
                    <a:pt x="44" y="6"/>
                    <a:pt x="44" y="6"/>
                  </a:cubicBezTo>
                  <a:cubicBezTo>
                    <a:pt x="44" y="6"/>
                    <a:pt x="42" y="8"/>
                    <a:pt x="42" y="8"/>
                  </a:cubicBezTo>
                  <a:cubicBezTo>
                    <a:pt x="34" y="10"/>
                    <a:pt x="37" y="9"/>
                    <a:pt x="31" y="8"/>
                  </a:cubicBezTo>
                  <a:cubicBezTo>
                    <a:pt x="31" y="8"/>
                    <a:pt x="31" y="4"/>
                    <a:pt x="30" y="4"/>
                  </a:cubicBezTo>
                  <a:cubicBezTo>
                    <a:pt x="29" y="3"/>
                    <a:pt x="28" y="4"/>
                    <a:pt x="27" y="4"/>
                  </a:cubicBezTo>
                  <a:cubicBezTo>
                    <a:pt x="27" y="5"/>
                    <a:pt x="27" y="6"/>
                    <a:pt x="26" y="6"/>
                  </a:cubicBezTo>
                  <a:cubicBezTo>
                    <a:pt x="26" y="7"/>
                    <a:pt x="25" y="6"/>
                    <a:pt x="24" y="6"/>
                  </a:cubicBezTo>
                  <a:cubicBezTo>
                    <a:pt x="24" y="5"/>
                    <a:pt x="23" y="3"/>
                    <a:pt x="23" y="3"/>
                  </a:cubicBezTo>
                  <a:cubicBezTo>
                    <a:pt x="22" y="4"/>
                    <a:pt x="22" y="4"/>
                    <a:pt x="22" y="4"/>
                  </a:cubicBezTo>
                  <a:cubicBezTo>
                    <a:pt x="19" y="4"/>
                    <a:pt x="19" y="4"/>
                    <a:pt x="19" y="4"/>
                  </a:cubicBezTo>
                  <a:cubicBezTo>
                    <a:pt x="15" y="5"/>
                    <a:pt x="15" y="5"/>
                    <a:pt x="15" y="5"/>
                  </a:cubicBezTo>
                  <a:cubicBezTo>
                    <a:pt x="15" y="5"/>
                    <a:pt x="9" y="9"/>
                    <a:pt x="4" y="11"/>
                  </a:cubicBezTo>
                  <a:cubicBezTo>
                    <a:pt x="1" y="14"/>
                    <a:pt x="1" y="14"/>
                    <a:pt x="1" y="14"/>
                  </a:cubicBezTo>
                  <a:cubicBezTo>
                    <a:pt x="1" y="15"/>
                    <a:pt x="1" y="15"/>
                    <a:pt x="0" y="15"/>
                  </a:cubicBezTo>
                  <a:cubicBezTo>
                    <a:pt x="0" y="17"/>
                    <a:pt x="0" y="17"/>
                    <a:pt x="0" y="17"/>
                  </a:cubicBezTo>
                  <a:cubicBezTo>
                    <a:pt x="0" y="17"/>
                    <a:pt x="0" y="17"/>
                    <a:pt x="1" y="17"/>
                  </a:cubicBezTo>
                  <a:cubicBezTo>
                    <a:pt x="2" y="18"/>
                    <a:pt x="2" y="19"/>
                    <a:pt x="2" y="21"/>
                  </a:cubicBezTo>
                  <a:cubicBezTo>
                    <a:pt x="2" y="23"/>
                    <a:pt x="2" y="23"/>
                    <a:pt x="2" y="23"/>
                  </a:cubicBezTo>
                  <a:cubicBezTo>
                    <a:pt x="2" y="23"/>
                    <a:pt x="2" y="24"/>
                    <a:pt x="2" y="24"/>
                  </a:cubicBezTo>
                  <a:cubicBezTo>
                    <a:pt x="3" y="25"/>
                    <a:pt x="4" y="26"/>
                    <a:pt x="5" y="27"/>
                  </a:cubicBezTo>
                  <a:cubicBezTo>
                    <a:pt x="5" y="28"/>
                    <a:pt x="5" y="28"/>
                    <a:pt x="5" y="29"/>
                  </a:cubicBezTo>
                  <a:cubicBezTo>
                    <a:pt x="6" y="28"/>
                    <a:pt x="6" y="27"/>
                    <a:pt x="8" y="27"/>
                  </a:cubicBezTo>
                  <a:cubicBezTo>
                    <a:pt x="8" y="27"/>
                    <a:pt x="9" y="27"/>
                    <a:pt x="9" y="27"/>
                  </a:cubicBezTo>
                  <a:cubicBezTo>
                    <a:pt x="9" y="27"/>
                    <a:pt x="10" y="27"/>
                    <a:pt x="11" y="26"/>
                  </a:cubicBezTo>
                  <a:cubicBezTo>
                    <a:pt x="12" y="25"/>
                    <a:pt x="12" y="25"/>
                    <a:pt x="12" y="25"/>
                  </a:cubicBezTo>
                  <a:cubicBezTo>
                    <a:pt x="15" y="28"/>
                    <a:pt x="15" y="28"/>
                    <a:pt x="15" y="28"/>
                  </a:cubicBezTo>
                  <a:cubicBezTo>
                    <a:pt x="16" y="29"/>
                    <a:pt x="16" y="29"/>
                    <a:pt x="17" y="30"/>
                  </a:cubicBezTo>
                  <a:cubicBezTo>
                    <a:pt x="18" y="31"/>
                    <a:pt x="18" y="33"/>
                    <a:pt x="17" y="34"/>
                  </a:cubicBezTo>
                  <a:cubicBezTo>
                    <a:pt x="18" y="34"/>
                    <a:pt x="18" y="35"/>
                    <a:pt x="18" y="35"/>
                  </a:cubicBezTo>
                  <a:cubicBezTo>
                    <a:pt x="18" y="35"/>
                    <a:pt x="18" y="36"/>
                    <a:pt x="18" y="36"/>
                  </a:cubicBezTo>
                  <a:cubicBezTo>
                    <a:pt x="19" y="36"/>
                    <a:pt x="19" y="37"/>
                    <a:pt x="19" y="39"/>
                  </a:cubicBezTo>
                  <a:cubicBezTo>
                    <a:pt x="19" y="39"/>
                    <a:pt x="19" y="39"/>
                    <a:pt x="19" y="39"/>
                  </a:cubicBezTo>
                  <a:cubicBezTo>
                    <a:pt x="20" y="39"/>
                    <a:pt x="20" y="39"/>
                    <a:pt x="20" y="39"/>
                  </a:cubicBezTo>
                  <a:cubicBezTo>
                    <a:pt x="20" y="39"/>
                    <a:pt x="21" y="38"/>
                    <a:pt x="21" y="38"/>
                  </a:cubicBezTo>
                  <a:cubicBezTo>
                    <a:pt x="23" y="38"/>
                    <a:pt x="23" y="38"/>
                    <a:pt x="23" y="38"/>
                  </a:cubicBezTo>
                  <a:cubicBezTo>
                    <a:pt x="24" y="40"/>
                    <a:pt x="24" y="40"/>
                    <a:pt x="24" y="40"/>
                  </a:cubicBezTo>
                  <a:cubicBezTo>
                    <a:pt x="25" y="39"/>
                    <a:pt x="25" y="39"/>
                    <a:pt x="25" y="39"/>
                  </a:cubicBezTo>
                  <a:cubicBezTo>
                    <a:pt x="26" y="40"/>
                    <a:pt x="26" y="40"/>
                    <a:pt x="26" y="40"/>
                  </a:cubicBezTo>
                  <a:cubicBezTo>
                    <a:pt x="26" y="40"/>
                    <a:pt x="27" y="42"/>
                    <a:pt x="27" y="43"/>
                  </a:cubicBezTo>
                  <a:cubicBezTo>
                    <a:pt x="28" y="43"/>
                    <a:pt x="28" y="44"/>
                    <a:pt x="28" y="44"/>
                  </a:cubicBezTo>
                  <a:cubicBezTo>
                    <a:pt x="29" y="45"/>
                    <a:pt x="29" y="45"/>
                    <a:pt x="29" y="45"/>
                  </a:cubicBezTo>
                  <a:cubicBezTo>
                    <a:pt x="29" y="47"/>
                    <a:pt x="29" y="47"/>
                    <a:pt x="29" y="47"/>
                  </a:cubicBezTo>
                  <a:cubicBezTo>
                    <a:pt x="29" y="47"/>
                    <a:pt x="29" y="47"/>
                    <a:pt x="30" y="47"/>
                  </a:cubicBezTo>
                  <a:cubicBezTo>
                    <a:pt x="31" y="47"/>
                    <a:pt x="32" y="47"/>
                    <a:pt x="32" y="47"/>
                  </a:cubicBezTo>
                  <a:cubicBezTo>
                    <a:pt x="33" y="47"/>
                    <a:pt x="33" y="47"/>
                    <a:pt x="34" y="47"/>
                  </a:cubicBezTo>
                  <a:cubicBezTo>
                    <a:pt x="34" y="47"/>
                    <a:pt x="35" y="47"/>
                    <a:pt x="35" y="47"/>
                  </a:cubicBezTo>
                  <a:cubicBezTo>
                    <a:pt x="36" y="47"/>
                    <a:pt x="38" y="47"/>
                    <a:pt x="38" y="47"/>
                  </a:cubicBezTo>
                  <a:cubicBezTo>
                    <a:pt x="38" y="47"/>
                    <a:pt x="38" y="47"/>
                    <a:pt x="38" y="47"/>
                  </a:cubicBezTo>
                  <a:cubicBezTo>
                    <a:pt x="39" y="48"/>
                    <a:pt x="39" y="48"/>
                    <a:pt x="39" y="48"/>
                  </a:cubicBezTo>
                  <a:cubicBezTo>
                    <a:pt x="39" y="48"/>
                    <a:pt x="40" y="49"/>
                    <a:pt x="40" y="50"/>
                  </a:cubicBezTo>
                  <a:cubicBezTo>
                    <a:pt x="40" y="51"/>
                    <a:pt x="43" y="51"/>
                    <a:pt x="43" y="51"/>
                  </a:cubicBezTo>
                  <a:cubicBezTo>
                    <a:pt x="43" y="52"/>
                    <a:pt x="43" y="52"/>
                    <a:pt x="43" y="52"/>
                  </a:cubicBezTo>
                  <a:cubicBezTo>
                    <a:pt x="43" y="54"/>
                    <a:pt x="43" y="56"/>
                    <a:pt x="42" y="56"/>
                  </a:cubicBezTo>
                  <a:cubicBezTo>
                    <a:pt x="42" y="57"/>
                    <a:pt x="42" y="57"/>
                    <a:pt x="42" y="57"/>
                  </a:cubicBezTo>
                  <a:cubicBezTo>
                    <a:pt x="42" y="57"/>
                    <a:pt x="42" y="57"/>
                    <a:pt x="42" y="57"/>
                  </a:cubicBezTo>
                  <a:cubicBezTo>
                    <a:pt x="43" y="61"/>
                    <a:pt x="43" y="61"/>
                    <a:pt x="43" y="61"/>
                  </a:cubicBezTo>
                  <a:cubicBezTo>
                    <a:pt x="43" y="62"/>
                    <a:pt x="43" y="62"/>
                    <a:pt x="43" y="62"/>
                  </a:cubicBezTo>
                  <a:cubicBezTo>
                    <a:pt x="43" y="62"/>
                    <a:pt x="42" y="63"/>
                    <a:pt x="41" y="63"/>
                  </a:cubicBezTo>
                  <a:cubicBezTo>
                    <a:pt x="41" y="64"/>
                    <a:pt x="41" y="64"/>
                    <a:pt x="41" y="64"/>
                  </a:cubicBezTo>
                  <a:cubicBezTo>
                    <a:pt x="42" y="64"/>
                    <a:pt x="42" y="64"/>
                    <a:pt x="42" y="64"/>
                  </a:cubicBezTo>
                  <a:cubicBezTo>
                    <a:pt x="45" y="65"/>
                    <a:pt x="45" y="65"/>
                    <a:pt x="45" y="65"/>
                  </a:cubicBezTo>
                  <a:cubicBezTo>
                    <a:pt x="45" y="65"/>
                    <a:pt x="47" y="65"/>
                    <a:pt x="47" y="65"/>
                  </a:cubicBezTo>
                  <a:cubicBezTo>
                    <a:pt x="47" y="64"/>
                    <a:pt x="48" y="64"/>
                    <a:pt x="48" y="64"/>
                  </a:cubicBezTo>
                  <a:cubicBezTo>
                    <a:pt x="48" y="64"/>
                    <a:pt x="50" y="63"/>
                    <a:pt x="51" y="63"/>
                  </a:cubicBezTo>
                  <a:cubicBezTo>
                    <a:pt x="51" y="63"/>
                    <a:pt x="51" y="63"/>
                    <a:pt x="51" y="63"/>
                  </a:cubicBezTo>
                  <a:cubicBezTo>
                    <a:pt x="52" y="62"/>
                    <a:pt x="52" y="62"/>
                    <a:pt x="52" y="62"/>
                  </a:cubicBezTo>
                  <a:cubicBezTo>
                    <a:pt x="53" y="59"/>
                    <a:pt x="53" y="59"/>
                    <a:pt x="53" y="59"/>
                  </a:cubicBezTo>
                  <a:cubicBezTo>
                    <a:pt x="53" y="59"/>
                    <a:pt x="53" y="59"/>
                    <a:pt x="53" y="59"/>
                  </a:cubicBezTo>
                  <a:cubicBezTo>
                    <a:pt x="54" y="58"/>
                    <a:pt x="54" y="58"/>
                    <a:pt x="54" y="58"/>
                  </a:cubicBezTo>
                  <a:cubicBezTo>
                    <a:pt x="54" y="58"/>
                    <a:pt x="54" y="58"/>
                    <a:pt x="54" y="58"/>
                  </a:cubicBezTo>
                  <a:cubicBezTo>
                    <a:pt x="55" y="57"/>
                    <a:pt x="56" y="56"/>
                    <a:pt x="57" y="56"/>
                  </a:cubicBezTo>
                  <a:cubicBezTo>
                    <a:pt x="58" y="56"/>
                    <a:pt x="58" y="56"/>
                    <a:pt x="58" y="56"/>
                  </a:cubicBezTo>
                  <a:cubicBezTo>
                    <a:pt x="61" y="58"/>
                    <a:pt x="61" y="58"/>
                    <a:pt x="61" y="58"/>
                  </a:cubicBezTo>
                  <a:cubicBezTo>
                    <a:pt x="61" y="59"/>
                    <a:pt x="61" y="59"/>
                    <a:pt x="61" y="59"/>
                  </a:cubicBezTo>
                  <a:cubicBezTo>
                    <a:pt x="62" y="59"/>
                    <a:pt x="61" y="60"/>
                    <a:pt x="61" y="62"/>
                  </a:cubicBezTo>
                  <a:cubicBezTo>
                    <a:pt x="60" y="63"/>
                    <a:pt x="60" y="63"/>
                    <a:pt x="60" y="63"/>
                  </a:cubicBezTo>
                  <a:cubicBezTo>
                    <a:pt x="60" y="64"/>
                    <a:pt x="60" y="64"/>
                    <a:pt x="60" y="64"/>
                  </a:cubicBezTo>
                  <a:cubicBezTo>
                    <a:pt x="60" y="65"/>
                    <a:pt x="60" y="65"/>
                    <a:pt x="60" y="66"/>
                  </a:cubicBezTo>
                  <a:cubicBezTo>
                    <a:pt x="59" y="66"/>
                    <a:pt x="59" y="67"/>
                    <a:pt x="59" y="67"/>
                  </a:cubicBezTo>
                  <a:cubicBezTo>
                    <a:pt x="60" y="68"/>
                    <a:pt x="60" y="68"/>
                    <a:pt x="60" y="68"/>
                  </a:cubicBezTo>
                  <a:cubicBezTo>
                    <a:pt x="60" y="71"/>
                    <a:pt x="60" y="71"/>
                    <a:pt x="60" y="71"/>
                  </a:cubicBezTo>
                  <a:cubicBezTo>
                    <a:pt x="60" y="71"/>
                    <a:pt x="60" y="72"/>
                    <a:pt x="60" y="72"/>
                  </a:cubicBezTo>
                  <a:cubicBezTo>
                    <a:pt x="60" y="72"/>
                    <a:pt x="60" y="72"/>
                    <a:pt x="60" y="72"/>
                  </a:cubicBezTo>
                  <a:cubicBezTo>
                    <a:pt x="61" y="72"/>
                    <a:pt x="62" y="72"/>
                    <a:pt x="62" y="73"/>
                  </a:cubicBezTo>
                  <a:cubicBezTo>
                    <a:pt x="63" y="73"/>
                    <a:pt x="63" y="73"/>
                    <a:pt x="64" y="73"/>
                  </a:cubicBezTo>
                  <a:cubicBezTo>
                    <a:pt x="64" y="73"/>
                    <a:pt x="64" y="73"/>
                    <a:pt x="64" y="73"/>
                  </a:cubicBezTo>
                  <a:cubicBezTo>
                    <a:pt x="65" y="73"/>
                    <a:pt x="66" y="74"/>
                    <a:pt x="67" y="74"/>
                  </a:cubicBezTo>
                  <a:cubicBezTo>
                    <a:pt x="67" y="75"/>
                    <a:pt x="68" y="76"/>
                    <a:pt x="68" y="76"/>
                  </a:cubicBezTo>
                  <a:cubicBezTo>
                    <a:pt x="69" y="77"/>
                    <a:pt x="69" y="77"/>
                    <a:pt x="69" y="77"/>
                  </a:cubicBezTo>
                  <a:cubicBezTo>
                    <a:pt x="69" y="77"/>
                    <a:pt x="69" y="77"/>
                    <a:pt x="69" y="77"/>
                  </a:cubicBezTo>
                  <a:cubicBezTo>
                    <a:pt x="71" y="77"/>
                    <a:pt x="72" y="79"/>
                    <a:pt x="72" y="80"/>
                  </a:cubicBezTo>
                  <a:cubicBezTo>
                    <a:pt x="73" y="80"/>
                    <a:pt x="73" y="80"/>
                    <a:pt x="73" y="80"/>
                  </a:cubicBezTo>
                  <a:cubicBezTo>
                    <a:pt x="73" y="81"/>
                    <a:pt x="73" y="81"/>
                    <a:pt x="73" y="81"/>
                  </a:cubicBezTo>
                  <a:cubicBezTo>
                    <a:pt x="73" y="81"/>
                    <a:pt x="73" y="81"/>
                    <a:pt x="73" y="81"/>
                  </a:cubicBezTo>
                  <a:cubicBezTo>
                    <a:pt x="76" y="82"/>
                    <a:pt x="76" y="82"/>
                    <a:pt x="76" y="82"/>
                  </a:cubicBezTo>
                  <a:cubicBezTo>
                    <a:pt x="76" y="85"/>
                    <a:pt x="76" y="85"/>
                    <a:pt x="76" y="85"/>
                  </a:cubicBezTo>
                  <a:cubicBezTo>
                    <a:pt x="76" y="85"/>
                    <a:pt x="76" y="85"/>
                    <a:pt x="76" y="85"/>
                  </a:cubicBezTo>
                  <a:cubicBezTo>
                    <a:pt x="77" y="85"/>
                    <a:pt x="77" y="85"/>
                    <a:pt x="77" y="85"/>
                  </a:cubicBezTo>
                  <a:cubicBezTo>
                    <a:pt x="79" y="84"/>
                    <a:pt x="79" y="84"/>
                    <a:pt x="79" y="84"/>
                  </a:cubicBezTo>
                  <a:cubicBezTo>
                    <a:pt x="80" y="84"/>
                    <a:pt x="80" y="84"/>
                    <a:pt x="80" y="84"/>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4" name="Freeform 134"/>
            <p:cNvSpPr>
              <a:spLocks/>
            </p:cNvSpPr>
            <p:nvPr/>
          </p:nvSpPr>
          <p:spPr bwMode="auto">
            <a:xfrm>
              <a:off x="6000783" y="4356024"/>
              <a:ext cx="547331" cy="363547"/>
            </a:xfrm>
            <a:custGeom>
              <a:avLst/>
              <a:gdLst>
                <a:gd name="T0" fmla="*/ 184 w 189"/>
                <a:gd name="T1" fmla="*/ 10 h 133"/>
                <a:gd name="T2" fmla="*/ 175 w 189"/>
                <a:gd name="T3" fmla="*/ 5 h 133"/>
                <a:gd name="T4" fmla="*/ 166 w 189"/>
                <a:gd name="T5" fmla="*/ 0 h 133"/>
                <a:gd name="T6" fmla="*/ 163 w 189"/>
                <a:gd name="T7" fmla="*/ 4 h 133"/>
                <a:gd name="T8" fmla="*/ 145 w 189"/>
                <a:gd name="T9" fmla="*/ 0 h 133"/>
                <a:gd name="T10" fmla="*/ 131 w 189"/>
                <a:gd name="T11" fmla="*/ 3 h 133"/>
                <a:gd name="T12" fmla="*/ 117 w 189"/>
                <a:gd name="T13" fmla="*/ 5 h 133"/>
                <a:gd name="T14" fmla="*/ 108 w 189"/>
                <a:gd name="T15" fmla="*/ 18 h 133"/>
                <a:gd name="T16" fmla="*/ 95 w 189"/>
                <a:gd name="T17" fmla="*/ 22 h 133"/>
                <a:gd name="T18" fmla="*/ 86 w 189"/>
                <a:gd name="T19" fmla="*/ 29 h 133"/>
                <a:gd name="T20" fmla="*/ 71 w 189"/>
                <a:gd name="T21" fmla="*/ 35 h 133"/>
                <a:gd name="T22" fmla="*/ 76 w 189"/>
                <a:gd name="T23" fmla="*/ 40 h 133"/>
                <a:gd name="T24" fmla="*/ 61 w 189"/>
                <a:gd name="T25" fmla="*/ 46 h 133"/>
                <a:gd name="T26" fmla="*/ 40 w 189"/>
                <a:gd name="T27" fmla="*/ 48 h 133"/>
                <a:gd name="T28" fmla="*/ 30 w 189"/>
                <a:gd name="T29" fmla="*/ 43 h 133"/>
                <a:gd name="T30" fmla="*/ 23 w 189"/>
                <a:gd name="T31" fmla="*/ 41 h 133"/>
                <a:gd name="T32" fmla="*/ 21 w 189"/>
                <a:gd name="T33" fmla="*/ 45 h 133"/>
                <a:gd name="T34" fmla="*/ 21 w 189"/>
                <a:gd name="T35" fmla="*/ 49 h 133"/>
                <a:gd name="T36" fmla="*/ 17 w 189"/>
                <a:gd name="T37" fmla="*/ 55 h 133"/>
                <a:gd name="T38" fmla="*/ 12 w 189"/>
                <a:gd name="T39" fmla="*/ 56 h 133"/>
                <a:gd name="T40" fmla="*/ 13 w 189"/>
                <a:gd name="T41" fmla="*/ 64 h 133"/>
                <a:gd name="T42" fmla="*/ 5 w 189"/>
                <a:gd name="T43" fmla="*/ 73 h 133"/>
                <a:gd name="T44" fmla="*/ 3 w 189"/>
                <a:gd name="T45" fmla="*/ 86 h 133"/>
                <a:gd name="T46" fmla="*/ 3 w 189"/>
                <a:gd name="T47" fmla="*/ 89 h 133"/>
                <a:gd name="T48" fmla="*/ 4 w 189"/>
                <a:gd name="T49" fmla="*/ 93 h 133"/>
                <a:gd name="T50" fmla="*/ 12 w 189"/>
                <a:gd name="T51" fmla="*/ 105 h 133"/>
                <a:gd name="T52" fmla="*/ 14 w 189"/>
                <a:gd name="T53" fmla="*/ 109 h 133"/>
                <a:gd name="T54" fmla="*/ 22 w 189"/>
                <a:gd name="T55" fmla="*/ 117 h 133"/>
                <a:gd name="T56" fmla="*/ 37 w 189"/>
                <a:gd name="T57" fmla="*/ 127 h 133"/>
                <a:gd name="T58" fmla="*/ 45 w 189"/>
                <a:gd name="T59" fmla="*/ 130 h 133"/>
                <a:gd name="T60" fmla="*/ 55 w 189"/>
                <a:gd name="T61" fmla="*/ 133 h 133"/>
                <a:gd name="T62" fmla="*/ 68 w 189"/>
                <a:gd name="T63" fmla="*/ 131 h 133"/>
                <a:gd name="T64" fmla="*/ 78 w 189"/>
                <a:gd name="T65" fmla="*/ 128 h 133"/>
                <a:gd name="T66" fmla="*/ 85 w 189"/>
                <a:gd name="T67" fmla="*/ 123 h 133"/>
                <a:gd name="T68" fmla="*/ 92 w 189"/>
                <a:gd name="T69" fmla="*/ 119 h 133"/>
                <a:gd name="T70" fmla="*/ 97 w 189"/>
                <a:gd name="T71" fmla="*/ 115 h 133"/>
                <a:gd name="T72" fmla="*/ 106 w 189"/>
                <a:gd name="T73" fmla="*/ 109 h 133"/>
                <a:gd name="T74" fmla="*/ 116 w 189"/>
                <a:gd name="T75" fmla="*/ 108 h 133"/>
                <a:gd name="T76" fmla="*/ 125 w 189"/>
                <a:gd name="T77" fmla="*/ 108 h 133"/>
                <a:gd name="T78" fmla="*/ 138 w 189"/>
                <a:gd name="T79" fmla="*/ 107 h 133"/>
                <a:gd name="T80" fmla="*/ 144 w 189"/>
                <a:gd name="T81" fmla="*/ 104 h 133"/>
                <a:gd name="T82" fmla="*/ 152 w 189"/>
                <a:gd name="T83" fmla="*/ 92 h 133"/>
                <a:gd name="T84" fmla="*/ 155 w 189"/>
                <a:gd name="T85" fmla="*/ 85 h 133"/>
                <a:gd name="T86" fmla="*/ 158 w 189"/>
                <a:gd name="T87" fmla="*/ 75 h 133"/>
                <a:gd name="T88" fmla="*/ 161 w 189"/>
                <a:gd name="T89" fmla="*/ 63 h 133"/>
                <a:gd name="T90" fmla="*/ 165 w 189"/>
                <a:gd name="T91" fmla="*/ 47 h 133"/>
                <a:gd name="T92" fmla="*/ 168 w 189"/>
                <a:gd name="T93" fmla="*/ 38 h 133"/>
                <a:gd name="T94" fmla="*/ 173 w 189"/>
                <a:gd name="T95" fmla="*/ 29 h 133"/>
                <a:gd name="T96" fmla="*/ 182 w 189"/>
                <a:gd name="T97" fmla="*/ 25 h 133"/>
                <a:gd name="T98" fmla="*/ 189 w 189"/>
                <a:gd name="T99" fmla="*/ 1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9" h="133">
                  <a:moveTo>
                    <a:pt x="187" y="15"/>
                  </a:moveTo>
                  <a:cubicBezTo>
                    <a:pt x="188" y="13"/>
                    <a:pt x="188" y="13"/>
                    <a:pt x="188" y="13"/>
                  </a:cubicBezTo>
                  <a:cubicBezTo>
                    <a:pt x="184" y="10"/>
                    <a:pt x="184" y="10"/>
                    <a:pt x="184" y="10"/>
                  </a:cubicBezTo>
                  <a:cubicBezTo>
                    <a:pt x="180" y="11"/>
                    <a:pt x="180" y="11"/>
                    <a:pt x="180" y="11"/>
                  </a:cubicBezTo>
                  <a:cubicBezTo>
                    <a:pt x="178" y="8"/>
                    <a:pt x="178" y="8"/>
                    <a:pt x="178" y="8"/>
                  </a:cubicBezTo>
                  <a:cubicBezTo>
                    <a:pt x="175" y="5"/>
                    <a:pt x="175" y="5"/>
                    <a:pt x="175" y="5"/>
                  </a:cubicBezTo>
                  <a:cubicBezTo>
                    <a:pt x="171" y="5"/>
                    <a:pt x="171" y="5"/>
                    <a:pt x="171" y="5"/>
                  </a:cubicBezTo>
                  <a:cubicBezTo>
                    <a:pt x="169" y="3"/>
                    <a:pt x="169" y="3"/>
                    <a:pt x="169" y="3"/>
                  </a:cubicBezTo>
                  <a:cubicBezTo>
                    <a:pt x="166" y="0"/>
                    <a:pt x="166" y="0"/>
                    <a:pt x="166" y="0"/>
                  </a:cubicBezTo>
                  <a:cubicBezTo>
                    <a:pt x="162" y="2"/>
                    <a:pt x="162" y="2"/>
                    <a:pt x="162" y="2"/>
                  </a:cubicBezTo>
                  <a:cubicBezTo>
                    <a:pt x="162" y="2"/>
                    <a:pt x="162" y="2"/>
                    <a:pt x="162" y="2"/>
                  </a:cubicBezTo>
                  <a:cubicBezTo>
                    <a:pt x="163" y="4"/>
                    <a:pt x="163" y="4"/>
                    <a:pt x="163" y="4"/>
                  </a:cubicBezTo>
                  <a:cubicBezTo>
                    <a:pt x="159" y="6"/>
                    <a:pt x="159" y="6"/>
                    <a:pt x="159" y="6"/>
                  </a:cubicBezTo>
                  <a:cubicBezTo>
                    <a:pt x="152" y="7"/>
                    <a:pt x="152" y="7"/>
                    <a:pt x="152" y="7"/>
                  </a:cubicBezTo>
                  <a:cubicBezTo>
                    <a:pt x="145" y="0"/>
                    <a:pt x="145" y="0"/>
                    <a:pt x="145" y="0"/>
                  </a:cubicBezTo>
                  <a:cubicBezTo>
                    <a:pt x="141" y="0"/>
                    <a:pt x="141" y="0"/>
                    <a:pt x="141" y="0"/>
                  </a:cubicBezTo>
                  <a:cubicBezTo>
                    <a:pt x="137" y="2"/>
                    <a:pt x="137" y="2"/>
                    <a:pt x="137" y="2"/>
                  </a:cubicBezTo>
                  <a:cubicBezTo>
                    <a:pt x="131" y="3"/>
                    <a:pt x="131" y="3"/>
                    <a:pt x="131" y="3"/>
                  </a:cubicBezTo>
                  <a:cubicBezTo>
                    <a:pt x="126" y="1"/>
                    <a:pt x="126" y="1"/>
                    <a:pt x="126" y="1"/>
                  </a:cubicBezTo>
                  <a:cubicBezTo>
                    <a:pt x="118" y="4"/>
                    <a:pt x="118" y="4"/>
                    <a:pt x="118" y="4"/>
                  </a:cubicBezTo>
                  <a:cubicBezTo>
                    <a:pt x="117" y="5"/>
                    <a:pt x="117" y="5"/>
                    <a:pt x="117" y="5"/>
                  </a:cubicBezTo>
                  <a:cubicBezTo>
                    <a:pt x="115" y="11"/>
                    <a:pt x="115" y="11"/>
                    <a:pt x="115" y="11"/>
                  </a:cubicBezTo>
                  <a:cubicBezTo>
                    <a:pt x="112" y="16"/>
                    <a:pt x="112" y="16"/>
                    <a:pt x="112" y="16"/>
                  </a:cubicBezTo>
                  <a:cubicBezTo>
                    <a:pt x="108" y="18"/>
                    <a:pt x="108" y="18"/>
                    <a:pt x="108" y="18"/>
                  </a:cubicBezTo>
                  <a:cubicBezTo>
                    <a:pt x="107" y="19"/>
                    <a:pt x="107" y="19"/>
                    <a:pt x="107" y="19"/>
                  </a:cubicBezTo>
                  <a:cubicBezTo>
                    <a:pt x="104" y="23"/>
                    <a:pt x="104" y="23"/>
                    <a:pt x="104" y="23"/>
                  </a:cubicBezTo>
                  <a:cubicBezTo>
                    <a:pt x="95" y="22"/>
                    <a:pt x="95" y="22"/>
                    <a:pt x="95" y="22"/>
                  </a:cubicBezTo>
                  <a:cubicBezTo>
                    <a:pt x="92" y="23"/>
                    <a:pt x="92" y="23"/>
                    <a:pt x="92" y="23"/>
                  </a:cubicBezTo>
                  <a:cubicBezTo>
                    <a:pt x="90" y="27"/>
                    <a:pt x="90" y="27"/>
                    <a:pt x="90" y="27"/>
                  </a:cubicBezTo>
                  <a:cubicBezTo>
                    <a:pt x="86" y="29"/>
                    <a:pt x="86" y="29"/>
                    <a:pt x="86" y="29"/>
                  </a:cubicBezTo>
                  <a:cubicBezTo>
                    <a:pt x="80" y="30"/>
                    <a:pt x="80" y="30"/>
                    <a:pt x="80" y="30"/>
                  </a:cubicBezTo>
                  <a:cubicBezTo>
                    <a:pt x="74" y="32"/>
                    <a:pt x="74" y="32"/>
                    <a:pt x="74" y="32"/>
                  </a:cubicBezTo>
                  <a:cubicBezTo>
                    <a:pt x="71" y="35"/>
                    <a:pt x="71" y="35"/>
                    <a:pt x="71" y="35"/>
                  </a:cubicBezTo>
                  <a:cubicBezTo>
                    <a:pt x="72" y="35"/>
                    <a:pt x="73" y="36"/>
                    <a:pt x="74" y="37"/>
                  </a:cubicBezTo>
                  <a:cubicBezTo>
                    <a:pt x="75" y="37"/>
                    <a:pt x="75" y="37"/>
                    <a:pt x="75" y="37"/>
                  </a:cubicBezTo>
                  <a:cubicBezTo>
                    <a:pt x="75" y="37"/>
                    <a:pt x="76" y="39"/>
                    <a:pt x="76" y="40"/>
                  </a:cubicBezTo>
                  <a:cubicBezTo>
                    <a:pt x="76" y="42"/>
                    <a:pt x="74" y="43"/>
                    <a:pt x="72" y="43"/>
                  </a:cubicBezTo>
                  <a:cubicBezTo>
                    <a:pt x="71" y="43"/>
                    <a:pt x="71" y="44"/>
                    <a:pt x="71" y="44"/>
                  </a:cubicBezTo>
                  <a:cubicBezTo>
                    <a:pt x="70" y="44"/>
                    <a:pt x="69" y="45"/>
                    <a:pt x="61" y="46"/>
                  </a:cubicBezTo>
                  <a:cubicBezTo>
                    <a:pt x="48" y="47"/>
                    <a:pt x="48" y="47"/>
                    <a:pt x="48" y="47"/>
                  </a:cubicBezTo>
                  <a:cubicBezTo>
                    <a:pt x="40" y="48"/>
                    <a:pt x="40" y="48"/>
                    <a:pt x="40" y="48"/>
                  </a:cubicBezTo>
                  <a:cubicBezTo>
                    <a:pt x="40" y="48"/>
                    <a:pt x="40" y="48"/>
                    <a:pt x="40" y="48"/>
                  </a:cubicBezTo>
                  <a:cubicBezTo>
                    <a:pt x="40" y="48"/>
                    <a:pt x="40" y="48"/>
                    <a:pt x="40" y="48"/>
                  </a:cubicBezTo>
                  <a:cubicBezTo>
                    <a:pt x="36" y="46"/>
                    <a:pt x="36" y="46"/>
                    <a:pt x="36" y="46"/>
                  </a:cubicBezTo>
                  <a:cubicBezTo>
                    <a:pt x="30" y="43"/>
                    <a:pt x="30" y="43"/>
                    <a:pt x="30" y="43"/>
                  </a:cubicBezTo>
                  <a:cubicBezTo>
                    <a:pt x="26" y="39"/>
                    <a:pt x="26" y="39"/>
                    <a:pt x="26" y="39"/>
                  </a:cubicBezTo>
                  <a:cubicBezTo>
                    <a:pt x="23" y="39"/>
                    <a:pt x="23" y="39"/>
                    <a:pt x="23" y="39"/>
                  </a:cubicBezTo>
                  <a:cubicBezTo>
                    <a:pt x="23" y="41"/>
                    <a:pt x="23" y="41"/>
                    <a:pt x="23" y="41"/>
                  </a:cubicBezTo>
                  <a:cubicBezTo>
                    <a:pt x="21" y="44"/>
                    <a:pt x="21" y="44"/>
                    <a:pt x="21" y="44"/>
                  </a:cubicBezTo>
                  <a:cubicBezTo>
                    <a:pt x="21" y="45"/>
                    <a:pt x="21" y="45"/>
                    <a:pt x="21" y="45"/>
                  </a:cubicBezTo>
                  <a:cubicBezTo>
                    <a:pt x="21" y="45"/>
                    <a:pt x="21" y="45"/>
                    <a:pt x="21" y="45"/>
                  </a:cubicBezTo>
                  <a:cubicBezTo>
                    <a:pt x="21" y="46"/>
                    <a:pt x="21" y="46"/>
                    <a:pt x="21" y="46"/>
                  </a:cubicBezTo>
                  <a:cubicBezTo>
                    <a:pt x="20" y="47"/>
                    <a:pt x="20" y="48"/>
                    <a:pt x="20" y="48"/>
                  </a:cubicBezTo>
                  <a:cubicBezTo>
                    <a:pt x="20" y="48"/>
                    <a:pt x="20" y="49"/>
                    <a:pt x="21" y="49"/>
                  </a:cubicBezTo>
                  <a:cubicBezTo>
                    <a:pt x="21" y="50"/>
                    <a:pt x="21" y="51"/>
                    <a:pt x="21" y="53"/>
                  </a:cubicBezTo>
                  <a:cubicBezTo>
                    <a:pt x="20" y="53"/>
                    <a:pt x="20" y="54"/>
                    <a:pt x="18" y="54"/>
                  </a:cubicBezTo>
                  <a:cubicBezTo>
                    <a:pt x="18" y="54"/>
                    <a:pt x="18" y="55"/>
                    <a:pt x="17" y="55"/>
                  </a:cubicBezTo>
                  <a:cubicBezTo>
                    <a:pt x="16" y="55"/>
                    <a:pt x="15" y="56"/>
                    <a:pt x="14" y="56"/>
                  </a:cubicBezTo>
                  <a:cubicBezTo>
                    <a:pt x="14" y="56"/>
                    <a:pt x="14" y="55"/>
                    <a:pt x="13" y="55"/>
                  </a:cubicBezTo>
                  <a:cubicBezTo>
                    <a:pt x="13" y="56"/>
                    <a:pt x="12" y="56"/>
                    <a:pt x="12" y="56"/>
                  </a:cubicBezTo>
                  <a:cubicBezTo>
                    <a:pt x="11" y="56"/>
                    <a:pt x="9" y="55"/>
                    <a:pt x="9" y="55"/>
                  </a:cubicBezTo>
                  <a:cubicBezTo>
                    <a:pt x="7" y="54"/>
                    <a:pt x="7" y="54"/>
                    <a:pt x="7" y="54"/>
                  </a:cubicBezTo>
                  <a:cubicBezTo>
                    <a:pt x="13" y="64"/>
                    <a:pt x="13" y="64"/>
                    <a:pt x="13" y="64"/>
                  </a:cubicBezTo>
                  <a:cubicBezTo>
                    <a:pt x="6" y="68"/>
                    <a:pt x="6" y="68"/>
                    <a:pt x="6" y="68"/>
                  </a:cubicBezTo>
                  <a:cubicBezTo>
                    <a:pt x="5" y="68"/>
                    <a:pt x="4" y="69"/>
                    <a:pt x="3" y="70"/>
                  </a:cubicBezTo>
                  <a:cubicBezTo>
                    <a:pt x="5" y="73"/>
                    <a:pt x="5" y="73"/>
                    <a:pt x="5" y="73"/>
                  </a:cubicBezTo>
                  <a:cubicBezTo>
                    <a:pt x="5" y="75"/>
                    <a:pt x="5" y="75"/>
                    <a:pt x="5" y="75"/>
                  </a:cubicBezTo>
                  <a:cubicBezTo>
                    <a:pt x="6" y="80"/>
                    <a:pt x="6" y="80"/>
                    <a:pt x="6" y="80"/>
                  </a:cubicBezTo>
                  <a:cubicBezTo>
                    <a:pt x="3" y="86"/>
                    <a:pt x="3" y="86"/>
                    <a:pt x="3" y="86"/>
                  </a:cubicBezTo>
                  <a:cubicBezTo>
                    <a:pt x="0" y="86"/>
                    <a:pt x="0" y="86"/>
                    <a:pt x="0" y="86"/>
                  </a:cubicBezTo>
                  <a:cubicBezTo>
                    <a:pt x="0" y="87"/>
                    <a:pt x="0" y="87"/>
                    <a:pt x="0" y="87"/>
                  </a:cubicBezTo>
                  <a:cubicBezTo>
                    <a:pt x="3" y="89"/>
                    <a:pt x="3" y="89"/>
                    <a:pt x="3" y="89"/>
                  </a:cubicBezTo>
                  <a:cubicBezTo>
                    <a:pt x="4" y="92"/>
                    <a:pt x="4" y="92"/>
                    <a:pt x="4" y="92"/>
                  </a:cubicBezTo>
                  <a:cubicBezTo>
                    <a:pt x="4" y="92"/>
                    <a:pt x="4" y="92"/>
                    <a:pt x="4" y="92"/>
                  </a:cubicBezTo>
                  <a:cubicBezTo>
                    <a:pt x="4" y="93"/>
                    <a:pt x="4" y="93"/>
                    <a:pt x="4" y="93"/>
                  </a:cubicBezTo>
                  <a:cubicBezTo>
                    <a:pt x="7" y="96"/>
                    <a:pt x="7" y="96"/>
                    <a:pt x="7" y="96"/>
                  </a:cubicBezTo>
                  <a:cubicBezTo>
                    <a:pt x="6" y="98"/>
                    <a:pt x="6" y="98"/>
                    <a:pt x="6" y="98"/>
                  </a:cubicBezTo>
                  <a:cubicBezTo>
                    <a:pt x="12" y="105"/>
                    <a:pt x="12" y="105"/>
                    <a:pt x="12" y="105"/>
                  </a:cubicBezTo>
                  <a:cubicBezTo>
                    <a:pt x="10" y="106"/>
                    <a:pt x="10" y="106"/>
                    <a:pt x="10" y="106"/>
                  </a:cubicBezTo>
                  <a:cubicBezTo>
                    <a:pt x="11" y="107"/>
                    <a:pt x="11" y="107"/>
                    <a:pt x="11" y="107"/>
                  </a:cubicBezTo>
                  <a:cubicBezTo>
                    <a:pt x="14" y="109"/>
                    <a:pt x="14" y="109"/>
                    <a:pt x="14" y="109"/>
                  </a:cubicBezTo>
                  <a:cubicBezTo>
                    <a:pt x="17" y="112"/>
                    <a:pt x="17" y="112"/>
                    <a:pt x="17" y="112"/>
                  </a:cubicBezTo>
                  <a:cubicBezTo>
                    <a:pt x="19" y="114"/>
                    <a:pt x="19" y="114"/>
                    <a:pt x="19" y="114"/>
                  </a:cubicBezTo>
                  <a:cubicBezTo>
                    <a:pt x="22" y="117"/>
                    <a:pt x="22" y="117"/>
                    <a:pt x="22" y="117"/>
                  </a:cubicBezTo>
                  <a:cubicBezTo>
                    <a:pt x="29" y="119"/>
                    <a:pt x="29" y="119"/>
                    <a:pt x="29" y="119"/>
                  </a:cubicBezTo>
                  <a:cubicBezTo>
                    <a:pt x="33" y="124"/>
                    <a:pt x="33" y="124"/>
                    <a:pt x="33" y="124"/>
                  </a:cubicBezTo>
                  <a:cubicBezTo>
                    <a:pt x="37" y="127"/>
                    <a:pt x="37" y="127"/>
                    <a:pt x="37" y="127"/>
                  </a:cubicBezTo>
                  <a:cubicBezTo>
                    <a:pt x="40" y="127"/>
                    <a:pt x="40" y="127"/>
                    <a:pt x="40" y="127"/>
                  </a:cubicBezTo>
                  <a:cubicBezTo>
                    <a:pt x="41" y="129"/>
                    <a:pt x="41" y="129"/>
                    <a:pt x="41" y="129"/>
                  </a:cubicBezTo>
                  <a:cubicBezTo>
                    <a:pt x="45" y="130"/>
                    <a:pt x="45" y="130"/>
                    <a:pt x="45" y="130"/>
                  </a:cubicBezTo>
                  <a:cubicBezTo>
                    <a:pt x="48" y="132"/>
                    <a:pt x="48" y="132"/>
                    <a:pt x="48" y="132"/>
                  </a:cubicBezTo>
                  <a:cubicBezTo>
                    <a:pt x="53" y="133"/>
                    <a:pt x="53" y="133"/>
                    <a:pt x="53" y="133"/>
                  </a:cubicBezTo>
                  <a:cubicBezTo>
                    <a:pt x="55" y="133"/>
                    <a:pt x="55" y="133"/>
                    <a:pt x="55" y="133"/>
                  </a:cubicBezTo>
                  <a:cubicBezTo>
                    <a:pt x="55" y="133"/>
                    <a:pt x="59" y="133"/>
                    <a:pt x="60" y="133"/>
                  </a:cubicBezTo>
                  <a:cubicBezTo>
                    <a:pt x="61" y="133"/>
                    <a:pt x="62" y="132"/>
                    <a:pt x="62" y="132"/>
                  </a:cubicBezTo>
                  <a:cubicBezTo>
                    <a:pt x="68" y="131"/>
                    <a:pt x="68" y="131"/>
                    <a:pt x="68" y="131"/>
                  </a:cubicBezTo>
                  <a:cubicBezTo>
                    <a:pt x="72" y="131"/>
                    <a:pt x="72" y="131"/>
                    <a:pt x="72" y="131"/>
                  </a:cubicBezTo>
                  <a:cubicBezTo>
                    <a:pt x="72" y="131"/>
                    <a:pt x="76" y="131"/>
                    <a:pt x="76" y="130"/>
                  </a:cubicBezTo>
                  <a:cubicBezTo>
                    <a:pt x="76" y="130"/>
                    <a:pt x="78" y="128"/>
                    <a:pt x="78" y="128"/>
                  </a:cubicBezTo>
                  <a:cubicBezTo>
                    <a:pt x="80" y="125"/>
                    <a:pt x="80" y="125"/>
                    <a:pt x="80" y="125"/>
                  </a:cubicBezTo>
                  <a:cubicBezTo>
                    <a:pt x="82" y="125"/>
                    <a:pt x="82" y="125"/>
                    <a:pt x="82" y="125"/>
                  </a:cubicBezTo>
                  <a:cubicBezTo>
                    <a:pt x="85" y="123"/>
                    <a:pt x="85" y="123"/>
                    <a:pt x="85" y="123"/>
                  </a:cubicBezTo>
                  <a:cubicBezTo>
                    <a:pt x="88" y="119"/>
                    <a:pt x="88" y="119"/>
                    <a:pt x="88" y="119"/>
                  </a:cubicBezTo>
                  <a:cubicBezTo>
                    <a:pt x="89" y="120"/>
                    <a:pt x="89" y="120"/>
                    <a:pt x="89" y="120"/>
                  </a:cubicBezTo>
                  <a:cubicBezTo>
                    <a:pt x="89" y="120"/>
                    <a:pt x="91" y="119"/>
                    <a:pt x="92" y="119"/>
                  </a:cubicBezTo>
                  <a:cubicBezTo>
                    <a:pt x="94" y="119"/>
                    <a:pt x="94" y="119"/>
                    <a:pt x="94" y="119"/>
                  </a:cubicBezTo>
                  <a:cubicBezTo>
                    <a:pt x="96" y="117"/>
                    <a:pt x="96" y="117"/>
                    <a:pt x="96" y="117"/>
                  </a:cubicBezTo>
                  <a:cubicBezTo>
                    <a:pt x="97" y="115"/>
                    <a:pt x="97" y="115"/>
                    <a:pt x="97" y="115"/>
                  </a:cubicBezTo>
                  <a:cubicBezTo>
                    <a:pt x="97" y="115"/>
                    <a:pt x="99" y="113"/>
                    <a:pt x="101" y="113"/>
                  </a:cubicBezTo>
                  <a:cubicBezTo>
                    <a:pt x="102" y="112"/>
                    <a:pt x="101" y="111"/>
                    <a:pt x="101" y="111"/>
                  </a:cubicBezTo>
                  <a:cubicBezTo>
                    <a:pt x="101" y="111"/>
                    <a:pt x="105" y="109"/>
                    <a:pt x="106" y="109"/>
                  </a:cubicBezTo>
                  <a:cubicBezTo>
                    <a:pt x="107" y="109"/>
                    <a:pt x="107" y="110"/>
                    <a:pt x="107" y="110"/>
                  </a:cubicBezTo>
                  <a:cubicBezTo>
                    <a:pt x="111" y="109"/>
                    <a:pt x="111" y="109"/>
                    <a:pt x="111" y="109"/>
                  </a:cubicBezTo>
                  <a:cubicBezTo>
                    <a:pt x="111" y="109"/>
                    <a:pt x="116" y="108"/>
                    <a:pt x="116" y="108"/>
                  </a:cubicBezTo>
                  <a:cubicBezTo>
                    <a:pt x="117" y="108"/>
                    <a:pt x="119" y="108"/>
                    <a:pt x="119" y="108"/>
                  </a:cubicBezTo>
                  <a:cubicBezTo>
                    <a:pt x="119" y="108"/>
                    <a:pt x="123" y="108"/>
                    <a:pt x="124" y="108"/>
                  </a:cubicBezTo>
                  <a:cubicBezTo>
                    <a:pt x="125" y="108"/>
                    <a:pt x="125" y="108"/>
                    <a:pt x="125" y="108"/>
                  </a:cubicBezTo>
                  <a:cubicBezTo>
                    <a:pt x="131" y="109"/>
                    <a:pt x="131" y="109"/>
                    <a:pt x="131" y="109"/>
                  </a:cubicBezTo>
                  <a:cubicBezTo>
                    <a:pt x="132" y="109"/>
                    <a:pt x="132" y="109"/>
                    <a:pt x="132" y="109"/>
                  </a:cubicBezTo>
                  <a:cubicBezTo>
                    <a:pt x="132" y="109"/>
                    <a:pt x="136" y="108"/>
                    <a:pt x="138" y="107"/>
                  </a:cubicBezTo>
                  <a:cubicBezTo>
                    <a:pt x="139" y="106"/>
                    <a:pt x="138" y="105"/>
                    <a:pt x="138" y="105"/>
                  </a:cubicBezTo>
                  <a:cubicBezTo>
                    <a:pt x="140" y="103"/>
                    <a:pt x="140" y="103"/>
                    <a:pt x="140" y="103"/>
                  </a:cubicBezTo>
                  <a:cubicBezTo>
                    <a:pt x="144" y="104"/>
                    <a:pt x="144" y="104"/>
                    <a:pt x="144" y="104"/>
                  </a:cubicBezTo>
                  <a:cubicBezTo>
                    <a:pt x="150" y="98"/>
                    <a:pt x="150" y="98"/>
                    <a:pt x="150" y="98"/>
                  </a:cubicBezTo>
                  <a:cubicBezTo>
                    <a:pt x="152" y="94"/>
                    <a:pt x="152" y="94"/>
                    <a:pt x="152" y="94"/>
                  </a:cubicBezTo>
                  <a:cubicBezTo>
                    <a:pt x="152" y="92"/>
                    <a:pt x="152" y="92"/>
                    <a:pt x="152" y="92"/>
                  </a:cubicBezTo>
                  <a:cubicBezTo>
                    <a:pt x="153" y="91"/>
                    <a:pt x="153" y="91"/>
                    <a:pt x="153" y="91"/>
                  </a:cubicBezTo>
                  <a:cubicBezTo>
                    <a:pt x="155" y="88"/>
                    <a:pt x="155" y="88"/>
                    <a:pt x="155" y="88"/>
                  </a:cubicBezTo>
                  <a:cubicBezTo>
                    <a:pt x="155" y="85"/>
                    <a:pt x="155" y="85"/>
                    <a:pt x="155" y="85"/>
                  </a:cubicBezTo>
                  <a:cubicBezTo>
                    <a:pt x="156" y="82"/>
                    <a:pt x="156" y="82"/>
                    <a:pt x="156" y="82"/>
                  </a:cubicBezTo>
                  <a:cubicBezTo>
                    <a:pt x="155" y="79"/>
                    <a:pt x="155" y="79"/>
                    <a:pt x="155" y="79"/>
                  </a:cubicBezTo>
                  <a:cubicBezTo>
                    <a:pt x="158" y="75"/>
                    <a:pt x="158" y="75"/>
                    <a:pt x="158" y="75"/>
                  </a:cubicBezTo>
                  <a:cubicBezTo>
                    <a:pt x="157" y="69"/>
                    <a:pt x="157" y="69"/>
                    <a:pt x="157" y="69"/>
                  </a:cubicBezTo>
                  <a:cubicBezTo>
                    <a:pt x="157" y="69"/>
                    <a:pt x="159" y="67"/>
                    <a:pt x="160" y="67"/>
                  </a:cubicBezTo>
                  <a:cubicBezTo>
                    <a:pt x="162" y="67"/>
                    <a:pt x="161" y="63"/>
                    <a:pt x="161" y="63"/>
                  </a:cubicBezTo>
                  <a:cubicBezTo>
                    <a:pt x="161" y="57"/>
                    <a:pt x="161" y="57"/>
                    <a:pt x="161" y="57"/>
                  </a:cubicBezTo>
                  <a:cubicBezTo>
                    <a:pt x="164" y="54"/>
                    <a:pt x="164" y="54"/>
                    <a:pt x="164" y="54"/>
                  </a:cubicBezTo>
                  <a:cubicBezTo>
                    <a:pt x="165" y="47"/>
                    <a:pt x="165" y="47"/>
                    <a:pt x="165" y="47"/>
                  </a:cubicBezTo>
                  <a:cubicBezTo>
                    <a:pt x="165" y="47"/>
                    <a:pt x="166" y="47"/>
                    <a:pt x="167" y="46"/>
                  </a:cubicBezTo>
                  <a:cubicBezTo>
                    <a:pt x="169" y="46"/>
                    <a:pt x="167" y="42"/>
                    <a:pt x="167" y="42"/>
                  </a:cubicBezTo>
                  <a:cubicBezTo>
                    <a:pt x="168" y="38"/>
                    <a:pt x="168" y="38"/>
                    <a:pt x="168" y="38"/>
                  </a:cubicBezTo>
                  <a:cubicBezTo>
                    <a:pt x="171" y="36"/>
                    <a:pt x="171" y="36"/>
                    <a:pt x="171" y="36"/>
                  </a:cubicBezTo>
                  <a:cubicBezTo>
                    <a:pt x="172" y="31"/>
                    <a:pt x="172" y="31"/>
                    <a:pt x="172" y="31"/>
                  </a:cubicBezTo>
                  <a:cubicBezTo>
                    <a:pt x="173" y="29"/>
                    <a:pt x="173" y="29"/>
                    <a:pt x="173" y="29"/>
                  </a:cubicBezTo>
                  <a:cubicBezTo>
                    <a:pt x="176" y="29"/>
                    <a:pt x="176" y="29"/>
                    <a:pt x="176" y="29"/>
                  </a:cubicBezTo>
                  <a:cubicBezTo>
                    <a:pt x="179" y="28"/>
                    <a:pt x="179" y="28"/>
                    <a:pt x="179" y="28"/>
                  </a:cubicBezTo>
                  <a:cubicBezTo>
                    <a:pt x="182" y="25"/>
                    <a:pt x="182" y="25"/>
                    <a:pt x="182" y="25"/>
                  </a:cubicBezTo>
                  <a:cubicBezTo>
                    <a:pt x="182" y="25"/>
                    <a:pt x="183" y="24"/>
                    <a:pt x="184" y="24"/>
                  </a:cubicBezTo>
                  <a:cubicBezTo>
                    <a:pt x="185" y="24"/>
                    <a:pt x="186" y="22"/>
                    <a:pt x="186" y="22"/>
                  </a:cubicBezTo>
                  <a:cubicBezTo>
                    <a:pt x="189" y="19"/>
                    <a:pt x="189" y="19"/>
                    <a:pt x="189" y="19"/>
                  </a:cubicBezTo>
                  <a:lnTo>
                    <a:pt x="187" y="15"/>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5" name="Freeform 151"/>
            <p:cNvSpPr>
              <a:spLocks/>
            </p:cNvSpPr>
            <p:nvPr/>
          </p:nvSpPr>
          <p:spPr bwMode="auto">
            <a:xfrm>
              <a:off x="5998495" y="4795821"/>
              <a:ext cx="358148" cy="298190"/>
            </a:xfrm>
            <a:custGeom>
              <a:avLst/>
              <a:gdLst>
                <a:gd name="T0" fmla="*/ 122 w 124"/>
                <a:gd name="T1" fmla="*/ 43 h 109"/>
                <a:gd name="T2" fmla="*/ 120 w 124"/>
                <a:gd name="T3" fmla="*/ 38 h 109"/>
                <a:gd name="T4" fmla="*/ 114 w 124"/>
                <a:gd name="T5" fmla="*/ 33 h 109"/>
                <a:gd name="T6" fmla="*/ 107 w 124"/>
                <a:gd name="T7" fmla="*/ 29 h 109"/>
                <a:gd name="T8" fmla="*/ 107 w 124"/>
                <a:gd name="T9" fmla="*/ 19 h 109"/>
                <a:gd name="T10" fmla="*/ 111 w 124"/>
                <a:gd name="T11" fmla="*/ 8 h 109"/>
                <a:gd name="T12" fmla="*/ 106 w 124"/>
                <a:gd name="T13" fmla="*/ 6 h 109"/>
                <a:gd name="T14" fmla="*/ 103 w 124"/>
                <a:gd name="T15" fmla="*/ 9 h 109"/>
                <a:gd name="T16" fmla="*/ 92 w 124"/>
                <a:gd name="T17" fmla="*/ 9 h 109"/>
                <a:gd name="T18" fmla="*/ 90 w 124"/>
                <a:gd name="T19" fmla="*/ 4 h 109"/>
                <a:gd name="T20" fmla="*/ 83 w 124"/>
                <a:gd name="T21" fmla="*/ 2 h 109"/>
                <a:gd name="T22" fmla="*/ 79 w 124"/>
                <a:gd name="T23" fmla="*/ 2 h 109"/>
                <a:gd name="T24" fmla="*/ 75 w 124"/>
                <a:gd name="T25" fmla="*/ 1 h 109"/>
                <a:gd name="T26" fmla="*/ 72 w 124"/>
                <a:gd name="T27" fmla="*/ 1 h 109"/>
                <a:gd name="T28" fmla="*/ 70 w 124"/>
                <a:gd name="T29" fmla="*/ 2 h 109"/>
                <a:gd name="T30" fmla="*/ 65 w 124"/>
                <a:gd name="T31" fmla="*/ 3 h 109"/>
                <a:gd name="T32" fmla="*/ 63 w 124"/>
                <a:gd name="T33" fmla="*/ 4 h 109"/>
                <a:gd name="T34" fmla="*/ 60 w 124"/>
                <a:gd name="T35" fmla="*/ 4 h 109"/>
                <a:gd name="T36" fmla="*/ 46 w 124"/>
                <a:gd name="T37" fmla="*/ 2 h 109"/>
                <a:gd name="T38" fmla="*/ 37 w 124"/>
                <a:gd name="T39" fmla="*/ 2 h 109"/>
                <a:gd name="T40" fmla="*/ 32 w 124"/>
                <a:gd name="T41" fmla="*/ 0 h 109"/>
                <a:gd name="T42" fmla="*/ 25 w 124"/>
                <a:gd name="T43" fmla="*/ 2 h 109"/>
                <a:gd name="T44" fmla="*/ 21 w 124"/>
                <a:gd name="T45" fmla="*/ 5 h 109"/>
                <a:gd name="T46" fmla="*/ 18 w 124"/>
                <a:gd name="T47" fmla="*/ 11 h 109"/>
                <a:gd name="T48" fmla="*/ 10 w 124"/>
                <a:gd name="T49" fmla="*/ 11 h 109"/>
                <a:gd name="T50" fmla="*/ 1 w 124"/>
                <a:gd name="T51" fmla="*/ 6 h 109"/>
                <a:gd name="T52" fmla="*/ 1 w 124"/>
                <a:gd name="T53" fmla="*/ 13 h 109"/>
                <a:gd name="T54" fmla="*/ 1 w 124"/>
                <a:gd name="T55" fmla="*/ 21 h 109"/>
                <a:gd name="T56" fmla="*/ 5 w 124"/>
                <a:gd name="T57" fmla="*/ 22 h 109"/>
                <a:gd name="T58" fmla="*/ 10 w 124"/>
                <a:gd name="T59" fmla="*/ 27 h 109"/>
                <a:gd name="T60" fmla="*/ 14 w 124"/>
                <a:gd name="T61" fmla="*/ 34 h 109"/>
                <a:gd name="T62" fmla="*/ 17 w 124"/>
                <a:gd name="T63" fmla="*/ 38 h 109"/>
                <a:gd name="T64" fmla="*/ 21 w 124"/>
                <a:gd name="T65" fmla="*/ 46 h 109"/>
                <a:gd name="T66" fmla="*/ 27 w 124"/>
                <a:gd name="T67" fmla="*/ 52 h 109"/>
                <a:gd name="T68" fmla="*/ 34 w 124"/>
                <a:gd name="T69" fmla="*/ 58 h 109"/>
                <a:gd name="T70" fmla="*/ 41 w 124"/>
                <a:gd name="T71" fmla="*/ 63 h 109"/>
                <a:gd name="T72" fmla="*/ 47 w 124"/>
                <a:gd name="T73" fmla="*/ 69 h 109"/>
                <a:gd name="T74" fmla="*/ 53 w 124"/>
                <a:gd name="T75" fmla="*/ 73 h 109"/>
                <a:gd name="T76" fmla="*/ 63 w 124"/>
                <a:gd name="T77" fmla="*/ 84 h 109"/>
                <a:gd name="T78" fmla="*/ 67 w 124"/>
                <a:gd name="T79" fmla="*/ 90 h 109"/>
                <a:gd name="T80" fmla="*/ 71 w 124"/>
                <a:gd name="T81" fmla="*/ 92 h 109"/>
                <a:gd name="T82" fmla="*/ 79 w 124"/>
                <a:gd name="T83" fmla="*/ 99 h 109"/>
                <a:gd name="T84" fmla="*/ 92 w 124"/>
                <a:gd name="T85" fmla="*/ 106 h 109"/>
                <a:gd name="T86" fmla="*/ 97 w 124"/>
                <a:gd name="T87" fmla="*/ 109 h 109"/>
                <a:gd name="T88" fmla="*/ 100 w 124"/>
                <a:gd name="T89" fmla="*/ 105 h 109"/>
                <a:gd name="T90" fmla="*/ 99 w 124"/>
                <a:gd name="T91" fmla="*/ 101 h 109"/>
                <a:gd name="T92" fmla="*/ 97 w 124"/>
                <a:gd name="T93" fmla="*/ 95 h 109"/>
                <a:gd name="T94" fmla="*/ 97 w 124"/>
                <a:gd name="T95" fmla="*/ 88 h 109"/>
                <a:gd name="T96" fmla="*/ 100 w 124"/>
                <a:gd name="T97" fmla="*/ 81 h 109"/>
                <a:gd name="T98" fmla="*/ 104 w 124"/>
                <a:gd name="T99" fmla="*/ 73 h 109"/>
                <a:gd name="T100" fmla="*/ 109 w 124"/>
                <a:gd name="T101" fmla="*/ 75 h 109"/>
                <a:gd name="T102" fmla="*/ 111 w 124"/>
                <a:gd name="T103" fmla="*/ 72 h 109"/>
                <a:gd name="T104" fmla="*/ 108 w 124"/>
                <a:gd name="T105" fmla="*/ 68 h 109"/>
                <a:gd name="T106" fmla="*/ 106 w 124"/>
                <a:gd name="T107" fmla="*/ 66 h 109"/>
                <a:gd name="T108" fmla="*/ 110 w 124"/>
                <a:gd name="T109" fmla="*/ 65 h 109"/>
                <a:gd name="T110" fmla="*/ 114 w 124"/>
                <a:gd name="T111" fmla="*/ 63 h 109"/>
                <a:gd name="T112" fmla="*/ 122 w 124"/>
                <a:gd name="T113" fmla="*/ 61 h 109"/>
                <a:gd name="T114" fmla="*/ 119 w 124"/>
                <a:gd name="T115" fmla="*/ 51 h 109"/>
                <a:gd name="T116" fmla="*/ 113 w 124"/>
                <a:gd name="T117" fmla="*/ 4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4" h="109">
                  <a:moveTo>
                    <a:pt x="114" y="44"/>
                  </a:moveTo>
                  <a:cubicBezTo>
                    <a:pt x="115" y="44"/>
                    <a:pt x="116" y="44"/>
                    <a:pt x="117" y="44"/>
                  </a:cubicBezTo>
                  <a:cubicBezTo>
                    <a:pt x="118" y="44"/>
                    <a:pt x="119" y="44"/>
                    <a:pt x="119" y="44"/>
                  </a:cubicBezTo>
                  <a:cubicBezTo>
                    <a:pt x="120" y="44"/>
                    <a:pt x="122" y="43"/>
                    <a:pt x="122" y="43"/>
                  </a:cubicBezTo>
                  <a:cubicBezTo>
                    <a:pt x="122" y="43"/>
                    <a:pt x="123" y="42"/>
                    <a:pt x="123" y="42"/>
                  </a:cubicBezTo>
                  <a:cubicBezTo>
                    <a:pt x="123" y="42"/>
                    <a:pt x="124" y="41"/>
                    <a:pt x="124" y="40"/>
                  </a:cubicBezTo>
                  <a:cubicBezTo>
                    <a:pt x="123" y="40"/>
                    <a:pt x="122" y="39"/>
                    <a:pt x="122" y="39"/>
                  </a:cubicBezTo>
                  <a:cubicBezTo>
                    <a:pt x="121" y="39"/>
                    <a:pt x="120" y="38"/>
                    <a:pt x="120" y="38"/>
                  </a:cubicBezTo>
                  <a:cubicBezTo>
                    <a:pt x="120" y="37"/>
                    <a:pt x="119" y="36"/>
                    <a:pt x="118" y="36"/>
                  </a:cubicBezTo>
                  <a:cubicBezTo>
                    <a:pt x="118" y="36"/>
                    <a:pt x="118" y="37"/>
                    <a:pt x="117" y="36"/>
                  </a:cubicBezTo>
                  <a:cubicBezTo>
                    <a:pt x="116" y="36"/>
                    <a:pt x="115" y="35"/>
                    <a:pt x="115" y="35"/>
                  </a:cubicBezTo>
                  <a:cubicBezTo>
                    <a:pt x="115" y="34"/>
                    <a:pt x="115" y="34"/>
                    <a:pt x="114" y="33"/>
                  </a:cubicBezTo>
                  <a:cubicBezTo>
                    <a:pt x="113" y="33"/>
                    <a:pt x="112" y="32"/>
                    <a:pt x="111" y="32"/>
                  </a:cubicBezTo>
                  <a:cubicBezTo>
                    <a:pt x="110" y="32"/>
                    <a:pt x="111" y="32"/>
                    <a:pt x="109" y="32"/>
                  </a:cubicBezTo>
                  <a:cubicBezTo>
                    <a:pt x="107" y="32"/>
                    <a:pt x="106" y="31"/>
                    <a:pt x="106" y="30"/>
                  </a:cubicBezTo>
                  <a:cubicBezTo>
                    <a:pt x="106" y="29"/>
                    <a:pt x="106" y="30"/>
                    <a:pt x="107" y="29"/>
                  </a:cubicBezTo>
                  <a:cubicBezTo>
                    <a:pt x="107" y="28"/>
                    <a:pt x="107" y="26"/>
                    <a:pt x="107" y="25"/>
                  </a:cubicBezTo>
                  <a:cubicBezTo>
                    <a:pt x="106" y="25"/>
                    <a:pt x="106" y="25"/>
                    <a:pt x="105" y="23"/>
                  </a:cubicBezTo>
                  <a:cubicBezTo>
                    <a:pt x="105" y="21"/>
                    <a:pt x="107" y="22"/>
                    <a:pt x="107" y="22"/>
                  </a:cubicBezTo>
                  <a:cubicBezTo>
                    <a:pt x="107" y="22"/>
                    <a:pt x="107" y="20"/>
                    <a:pt x="107" y="19"/>
                  </a:cubicBezTo>
                  <a:cubicBezTo>
                    <a:pt x="107" y="19"/>
                    <a:pt x="108" y="17"/>
                    <a:pt x="108" y="17"/>
                  </a:cubicBezTo>
                  <a:cubicBezTo>
                    <a:pt x="110" y="14"/>
                    <a:pt x="110" y="14"/>
                    <a:pt x="110" y="14"/>
                  </a:cubicBezTo>
                  <a:cubicBezTo>
                    <a:pt x="111" y="11"/>
                    <a:pt x="111" y="11"/>
                    <a:pt x="111" y="11"/>
                  </a:cubicBezTo>
                  <a:cubicBezTo>
                    <a:pt x="111" y="8"/>
                    <a:pt x="111" y="8"/>
                    <a:pt x="111" y="8"/>
                  </a:cubicBezTo>
                  <a:cubicBezTo>
                    <a:pt x="111" y="5"/>
                    <a:pt x="111" y="5"/>
                    <a:pt x="111" y="5"/>
                  </a:cubicBezTo>
                  <a:cubicBezTo>
                    <a:pt x="108" y="5"/>
                    <a:pt x="108" y="5"/>
                    <a:pt x="108" y="5"/>
                  </a:cubicBezTo>
                  <a:cubicBezTo>
                    <a:pt x="106" y="4"/>
                    <a:pt x="106" y="4"/>
                    <a:pt x="106" y="4"/>
                  </a:cubicBezTo>
                  <a:cubicBezTo>
                    <a:pt x="106" y="5"/>
                    <a:pt x="106" y="5"/>
                    <a:pt x="106" y="6"/>
                  </a:cubicBezTo>
                  <a:cubicBezTo>
                    <a:pt x="106" y="6"/>
                    <a:pt x="106" y="8"/>
                    <a:pt x="105" y="8"/>
                  </a:cubicBezTo>
                  <a:cubicBezTo>
                    <a:pt x="105" y="9"/>
                    <a:pt x="105" y="9"/>
                    <a:pt x="105" y="9"/>
                  </a:cubicBezTo>
                  <a:cubicBezTo>
                    <a:pt x="104" y="9"/>
                    <a:pt x="104" y="9"/>
                    <a:pt x="104" y="9"/>
                  </a:cubicBezTo>
                  <a:cubicBezTo>
                    <a:pt x="104" y="9"/>
                    <a:pt x="104" y="9"/>
                    <a:pt x="103" y="9"/>
                  </a:cubicBezTo>
                  <a:cubicBezTo>
                    <a:pt x="103" y="10"/>
                    <a:pt x="103" y="10"/>
                    <a:pt x="103" y="10"/>
                  </a:cubicBezTo>
                  <a:cubicBezTo>
                    <a:pt x="101" y="12"/>
                    <a:pt x="101" y="12"/>
                    <a:pt x="101" y="12"/>
                  </a:cubicBezTo>
                  <a:cubicBezTo>
                    <a:pt x="100" y="12"/>
                    <a:pt x="100" y="12"/>
                    <a:pt x="100" y="12"/>
                  </a:cubicBezTo>
                  <a:cubicBezTo>
                    <a:pt x="99" y="12"/>
                    <a:pt x="97" y="11"/>
                    <a:pt x="92" y="9"/>
                  </a:cubicBezTo>
                  <a:cubicBezTo>
                    <a:pt x="92" y="9"/>
                    <a:pt x="92" y="9"/>
                    <a:pt x="92" y="9"/>
                  </a:cubicBezTo>
                  <a:cubicBezTo>
                    <a:pt x="92" y="9"/>
                    <a:pt x="92" y="9"/>
                    <a:pt x="92" y="9"/>
                  </a:cubicBezTo>
                  <a:cubicBezTo>
                    <a:pt x="92" y="9"/>
                    <a:pt x="90" y="8"/>
                    <a:pt x="90" y="6"/>
                  </a:cubicBezTo>
                  <a:cubicBezTo>
                    <a:pt x="90" y="6"/>
                    <a:pt x="90" y="5"/>
                    <a:pt x="90" y="4"/>
                  </a:cubicBezTo>
                  <a:cubicBezTo>
                    <a:pt x="87" y="2"/>
                    <a:pt x="87" y="2"/>
                    <a:pt x="87" y="2"/>
                  </a:cubicBezTo>
                  <a:cubicBezTo>
                    <a:pt x="87" y="2"/>
                    <a:pt x="87" y="2"/>
                    <a:pt x="87" y="2"/>
                  </a:cubicBezTo>
                  <a:cubicBezTo>
                    <a:pt x="87" y="2"/>
                    <a:pt x="87" y="1"/>
                    <a:pt x="86" y="1"/>
                  </a:cubicBezTo>
                  <a:cubicBezTo>
                    <a:pt x="83" y="2"/>
                    <a:pt x="83" y="2"/>
                    <a:pt x="83" y="2"/>
                  </a:cubicBezTo>
                  <a:cubicBezTo>
                    <a:pt x="83" y="2"/>
                    <a:pt x="83" y="2"/>
                    <a:pt x="83" y="2"/>
                  </a:cubicBezTo>
                  <a:cubicBezTo>
                    <a:pt x="83" y="2"/>
                    <a:pt x="83" y="2"/>
                    <a:pt x="83" y="2"/>
                  </a:cubicBezTo>
                  <a:cubicBezTo>
                    <a:pt x="80" y="2"/>
                    <a:pt x="80" y="2"/>
                    <a:pt x="80" y="2"/>
                  </a:cubicBezTo>
                  <a:cubicBezTo>
                    <a:pt x="79" y="2"/>
                    <a:pt x="79" y="2"/>
                    <a:pt x="79" y="2"/>
                  </a:cubicBezTo>
                  <a:cubicBezTo>
                    <a:pt x="78" y="1"/>
                    <a:pt x="77" y="1"/>
                    <a:pt x="77" y="0"/>
                  </a:cubicBezTo>
                  <a:cubicBezTo>
                    <a:pt x="76" y="0"/>
                    <a:pt x="76" y="0"/>
                    <a:pt x="76" y="0"/>
                  </a:cubicBezTo>
                  <a:cubicBezTo>
                    <a:pt x="76" y="0"/>
                    <a:pt x="76" y="0"/>
                    <a:pt x="75" y="1"/>
                  </a:cubicBezTo>
                  <a:cubicBezTo>
                    <a:pt x="75" y="1"/>
                    <a:pt x="75" y="1"/>
                    <a:pt x="75" y="1"/>
                  </a:cubicBezTo>
                  <a:cubicBezTo>
                    <a:pt x="74" y="1"/>
                    <a:pt x="74" y="1"/>
                    <a:pt x="74" y="1"/>
                  </a:cubicBezTo>
                  <a:cubicBezTo>
                    <a:pt x="73" y="1"/>
                    <a:pt x="73" y="1"/>
                    <a:pt x="73" y="1"/>
                  </a:cubicBezTo>
                  <a:cubicBezTo>
                    <a:pt x="73" y="1"/>
                    <a:pt x="73" y="1"/>
                    <a:pt x="73" y="1"/>
                  </a:cubicBezTo>
                  <a:cubicBezTo>
                    <a:pt x="73" y="1"/>
                    <a:pt x="73" y="1"/>
                    <a:pt x="72" y="1"/>
                  </a:cubicBezTo>
                  <a:cubicBezTo>
                    <a:pt x="71" y="1"/>
                    <a:pt x="71" y="1"/>
                    <a:pt x="71" y="1"/>
                  </a:cubicBezTo>
                  <a:cubicBezTo>
                    <a:pt x="70" y="2"/>
                    <a:pt x="70" y="2"/>
                    <a:pt x="70" y="2"/>
                  </a:cubicBezTo>
                  <a:cubicBezTo>
                    <a:pt x="70" y="2"/>
                    <a:pt x="70" y="2"/>
                    <a:pt x="70" y="2"/>
                  </a:cubicBezTo>
                  <a:cubicBezTo>
                    <a:pt x="70" y="2"/>
                    <a:pt x="70" y="2"/>
                    <a:pt x="70" y="2"/>
                  </a:cubicBezTo>
                  <a:cubicBezTo>
                    <a:pt x="69" y="3"/>
                    <a:pt x="69" y="3"/>
                    <a:pt x="69" y="3"/>
                  </a:cubicBezTo>
                  <a:cubicBezTo>
                    <a:pt x="68" y="3"/>
                    <a:pt x="68" y="3"/>
                    <a:pt x="68" y="3"/>
                  </a:cubicBezTo>
                  <a:cubicBezTo>
                    <a:pt x="67" y="3"/>
                    <a:pt x="67" y="3"/>
                    <a:pt x="67" y="3"/>
                  </a:cubicBezTo>
                  <a:cubicBezTo>
                    <a:pt x="65" y="3"/>
                    <a:pt x="65" y="3"/>
                    <a:pt x="65" y="3"/>
                  </a:cubicBezTo>
                  <a:cubicBezTo>
                    <a:pt x="65" y="3"/>
                    <a:pt x="65" y="3"/>
                    <a:pt x="65" y="3"/>
                  </a:cubicBezTo>
                  <a:cubicBezTo>
                    <a:pt x="64" y="3"/>
                    <a:pt x="64" y="3"/>
                    <a:pt x="64" y="3"/>
                  </a:cubicBezTo>
                  <a:cubicBezTo>
                    <a:pt x="64" y="3"/>
                    <a:pt x="63" y="3"/>
                    <a:pt x="63" y="3"/>
                  </a:cubicBezTo>
                  <a:cubicBezTo>
                    <a:pt x="63" y="4"/>
                    <a:pt x="63" y="4"/>
                    <a:pt x="63" y="4"/>
                  </a:cubicBezTo>
                  <a:cubicBezTo>
                    <a:pt x="62" y="5"/>
                    <a:pt x="62" y="5"/>
                    <a:pt x="62" y="5"/>
                  </a:cubicBezTo>
                  <a:cubicBezTo>
                    <a:pt x="61" y="5"/>
                    <a:pt x="61" y="5"/>
                    <a:pt x="61" y="5"/>
                  </a:cubicBezTo>
                  <a:cubicBezTo>
                    <a:pt x="60" y="5"/>
                    <a:pt x="60" y="5"/>
                    <a:pt x="60" y="5"/>
                  </a:cubicBezTo>
                  <a:cubicBezTo>
                    <a:pt x="60" y="4"/>
                    <a:pt x="60" y="4"/>
                    <a:pt x="60" y="4"/>
                  </a:cubicBezTo>
                  <a:cubicBezTo>
                    <a:pt x="58" y="4"/>
                    <a:pt x="58" y="4"/>
                    <a:pt x="58" y="4"/>
                  </a:cubicBezTo>
                  <a:cubicBezTo>
                    <a:pt x="53" y="3"/>
                    <a:pt x="53" y="3"/>
                    <a:pt x="53" y="3"/>
                  </a:cubicBezTo>
                  <a:cubicBezTo>
                    <a:pt x="50" y="3"/>
                    <a:pt x="50" y="3"/>
                    <a:pt x="50" y="3"/>
                  </a:cubicBezTo>
                  <a:cubicBezTo>
                    <a:pt x="46" y="2"/>
                    <a:pt x="46" y="2"/>
                    <a:pt x="46" y="2"/>
                  </a:cubicBezTo>
                  <a:cubicBezTo>
                    <a:pt x="44" y="2"/>
                    <a:pt x="44" y="2"/>
                    <a:pt x="44" y="2"/>
                  </a:cubicBezTo>
                  <a:cubicBezTo>
                    <a:pt x="44" y="2"/>
                    <a:pt x="44" y="2"/>
                    <a:pt x="44" y="2"/>
                  </a:cubicBezTo>
                  <a:cubicBezTo>
                    <a:pt x="41" y="3"/>
                    <a:pt x="41" y="3"/>
                    <a:pt x="41" y="3"/>
                  </a:cubicBezTo>
                  <a:cubicBezTo>
                    <a:pt x="37" y="2"/>
                    <a:pt x="37" y="2"/>
                    <a:pt x="37" y="2"/>
                  </a:cubicBezTo>
                  <a:cubicBezTo>
                    <a:pt x="35" y="0"/>
                    <a:pt x="35" y="0"/>
                    <a:pt x="35" y="0"/>
                  </a:cubicBezTo>
                  <a:cubicBezTo>
                    <a:pt x="33" y="0"/>
                    <a:pt x="33" y="0"/>
                    <a:pt x="33" y="0"/>
                  </a:cubicBezTo>
                  <a:cubicBezTo>
                    <a:pt x="33" y="0"/>
                    <a:pt x="33" y="0"/>
                    <a:pt x="33" y="0"/>
                  </a:cubicBezTo>
                  <a:cubicBezTo>
                    <a:pt x="32" y="0"/>
                    <a:pt x="32" y="0"/>
                    <a:pt x="32" y="0"/>
                  </a:cubicBezTo>
                  <a:cubicBezTo>
                    <a:pt x="31" y="2"/>
                    <a:pt x="31" y="2"/>
                    <a:pt x="31" y="2"/>
                  </a:cubicBezTo>
                  <a:cubicBezTo>
                    <a:pt x="31" y="2"/>
                    <a:pt x="31" y="2"/>
                    <a:pt x="31" y="2"/>
                  </a:cubicBezTo>
                  <a:cubicBezTo>
                    <a:pt x="30" y="3"/>
                    <a:pt x="30" y="3"/>
                    <a:pt x="29" y="3"/>
                  </a:cubicBezTo>
                  <a:cubicBezTo>
                    <a:pt x="28" y="3"/>
                    <a:pt x="26" y="2"/>
                    <a:pt x="25" y="2"/>
                  </a:cubicBezTo>
                  <a:cubicBezTo>
                    <a:pt x="23" y="3"/>
                    <a:pt x="23" y="3"/>
                    <a:pt x="23" y="3"/>
                  </a:cubicBezTo>
                  <a:cubicBezTo>
                    <a:pt x="21" y="3"/>
                    <a:pt x="21" y="3"/>
                    <a:pt x="21" y="3"/>
                  </a:cubicBezTo>
                  <a:cubicBezTo>
                    <a:pt x="21" y="4"/>
                    <a:pt x="21" y="4"/>
                    <a:pt x="21" y="4"/>
                  </a:cubicBezTo>
                  <a:cubicBezTo>
                    <a:pt x="21" y="5"/>
                    <a:pt x="21" y="5"/>
                    <a:pt x="21" y="5"/>
                  </a:cubicBezTo>
                  <a:cubicBezTo>
                    <a:pt x="19" y="7"/>
                    <a:pt x="19" y="7"/>
                    <a:pt x="19" y="7"/>
                  </a:cubicBezTo>
                  <a:cubicBezTo>
                    <a:pt x="18" y="8"/>
                    <a:pt x="18" y="8"/>
                    <a:pt x="18" y="8"/>
                  </a:cubicBezTo>
                  <a:cubicBezTo>
                    <a:pt x="18" y="8"/>
                    <a:pt x="18" y="9"/>
                    <a:pt x="18" y="10"/>
                  </a:cubicBezTo>
                  <a:cubicBezTo>
                    <a:pt x="18" y="11"/>
                    <a:pt x="18" y="11"/>
                    <a:pt x="18" y="11"/>
                  </a:cubicBezTo>
                  <a:cubicBezTo>
                    <a:pt x="15" y="12"/>
                    <a:pt x="15" y="12"/>
                    <a:pt x="15" y="12"/>
                  </a:cubicBezTo>
                  <a:cubicBezTo>
                    <a:pt x="15" y="13"/>
                    <a:pt x="15" y="13"/>
                    <a:pt x="15" y="13"/>
                  </a:cubicBezTo>
                  <a:cubicBezTo>
                    <a:pt x="14" y="13"/>
                    <a:pt x="14" y="13"/>
                    <a:pt x="14" y="13"/>
                  </a:cubicBezTo>
                  <a:cubicBezTo>
                    <a:pt x="10" y="11"/>
                    <a:pt x="10" y="11"/>
                    <a:pt x="10" y="11"/>
                  </a:cubicBezTo>
                  <a:cubicBezTo>
                    <a:pt x="5" y="4"/>
                    <a:pt x="5" y="4"/>
                    <a:pt x="5" y="4"/>
                  </a:cubicBezTo>
                  <a:cubicBezTo>
                    <a:pt x="4" y="4"/>
                    <a:pt x="4" y="4"/>
                    <a:pt x="4" y="4"/>
                  </a:cubicBezTo>
                  <a:cubicBezTo>
                    <a:pt x="3" y="5"/>
                    <a:pt x="1" y="5"/>
                    <a:pt x="1" y="6"/>
                  </a:cubicBezTo>
                  <a:cubicBezTo>
                    <a:pt x="1" y="6"/>
                    <a:pt x="1" y="6"/>
                    <a:pt x="1" y="6"/>
                  </a:cubicBezTo>
                  <a:cubicBezTo>
                    <a:pt x="1" y="6"/>
                    <a:pt x="1" y="7"/>
                    <a:pt x="1" y="9"/>
                  </a:cubicBezTo>
                  <a:cubicBezTo>
                    <a:pt x="1" y="9"/>
                    <a:pt x="1" y="9"/>
                    <a:pt x="1" y="9"/>
                  </a:cubicBezTo>
                  <a:cubicBezTo>
                    <a:pt x="0" y="11"/>
                    <a:pt x="0" y="11"/>
                    <a:pt x="0" y="11"/>
                  </a:cubicBezTo>
                  <a:cubicBezTo>
                    <a:pt x="1" y="13"/>
                    <a:pt x="1" y="13"/>
                    <a:pt x="1" y="13"/>
                  </a:cubicBezTo>
                  <a:cubicBezTo>
                    <a:pt x="1" y="15"/>
                    <a:pt x="1" y="15"/>
                    <a:pt x="1" y="15"/>
                  </a:cubicBezTo>
                  <a:cubicBezTo>
                    <a:pt x="1" y="16"/>
                    <a:pt x="1" y="16"/>
                    <a:pt x="1" y="16"/>
                  </a:cubicBezTo>
                  <a:cubicBezTo>
                    <a:pt x="1" y="16"/>
                    <a:pt x="2" y="17"/>
                    <a:pt x="2" y="18"/>
                  </a:cubicBezTo>
                  <a:cubicBezTo>
                    <a:pt x="2" y="18"/>
                    <a:pt x="2" y="20"/>
                    <a:pt x="1" y="21"/>
                  </a:cubicBezTo>
                  <a:cubicBezTo>
                    <a:pt x="1" y="21"/>
                    <a:pt x="1" y="22"/>
                    <a:pt x="1" y="22"/>
                  </a:cubicBezTo>
                  <a:cubicBezTo>
                    <a:pt x="1" y="22"/>
                    <a:pt x="1" y="22"/>
                    <a:pt x="1" y="22"/>
                  </a:cubicBezTo>
                  <a:cubicBezTo>
                    <a:pt x="1" y="22"/>
                    <a:pt x="1" y="22"/>
                    <a:pt x="1" y="22"/>
                  </a:cubicBezTo>
                  <a:cubicBezTo>
                    <a:pt x="5" y="22"/>
                    <a:pt x="5" y="22"/>
                    <a:pt x="5" y="22"/>
                  </a:cubicBezTo>
                  <a:cubicBezTo>
                    <a:pt x="5" y="22"/>
                    <a:pt x="5" y="22"/>
                    <a:pt x="5" y="22"/>
                  </a:cubicBezTo>
                  <a:cubicBezTo>
                    <a:pt x="6" y="23"/>
                    <a:pt x="7" y="24"/>
                    <a:pt x="8" y="25"/>
                  </a:cubicBezTo>
                  <a:cubicBezTo>
                    <a:pt x="10" y="26"/>
                    <a:pt x="10" y="26"/>
                    <a:pt x="10" y="26"/>
                  </a:cubicBezTo>
                  <a:cubicBezTo>
                    <a:pt x="10" y="27"/>
                    <a:pt x="10" y="27"/>
                    <a:pt x="10" y="27"/>
                  </a:cubicBezTo>
                  <a:cubicBezTo>
                    <a:pt x="10" y="28"/>
                    <a:pt x="10" y="29"/>
                    <a:pt x="10" y="29"/>
                  </a:cubicBezTo>
                  <a:cubicBezTo>
                    <a:pt x="12" y="29"/>
                    <a:pt x="12" y="29"/>
                    <a:pt x="12" y="29"/>
                  </a:cubicBezTo>
                  <a:cubicBezTo>
                    <a:pt x="13" y="30"/>
                    <a:pt x="13" y="30"/>
                    <a:pt x="13" y="30"/>
                  </a:cubicBezTo>
                  <a:cubicBezTo>
                    <a:pt x="14" y="31"/>
                    <a:pt x="15" y="33"/>
                    <a:pt x="14" y="34"/>
                  </a:cubicBezTo>
                  <a:cubicBezTo>
                    <a:pt x="14" y="34"/>
                    <a:pt x="15" y="34"/>
                    <a:pt x="15" y="35"/>
                  </a:cubicBezTo>
                  <a:cubicBezTo>
                    <a:pt x="15" y="35"/>
                    <a:pt x="15" y="36"/>
                    <a:pt x="15" y="36"/>
                  </a:cubicBezTo>
                  <a:cubicBezTo>
                    <a:pt x="15" y="37"/>
                    <a:pt x="15" y="37"/>
                    <a:pt x="15" y="37"/>
                  </a:cubicBezTo>
                  <a:cubicBezTo>
                    <a:pt x="16" y="37"/>
                    <a:pt x="16" y="38"/>
                    <a:pt x="17" y="38"/>
                  </a:cubicBezTo>
                  <a:cubicBezTo>
                    <a:pt x="18" y="39"/>
                    <a:pt x="18" y="39"/>
                    <a:pt x="18" y="39"/>
                  </a:cubicBezTo>
                  <a:cubicBezTo>
                    <a:pt x="17" y="42"/>
                    <a:pt x="17" y="42"/>
                    <a:pt x="17" y="42"/>
                  </a:cubicBezTo>
                  <a:cubicBezTo>
                    <a:pt x="18" y="43"/>
                    <a:pt x="18" y="43"/>
                    <a:pt x="18" y="43"/>
                  </a:cubicBezTo>
                  <a:cubicBezTo>
                    <a:pt x="21" y="46"/>
                    <a:pt x="21" y="46"/>
                    <a:pt x="21" y="46"/>
                  </a:cubicBezTo>
                  <a:cubicBezTo>
                    <a:pt x="23" y="49"/>
                    <a:pt x="23" y="49"/>
                    <a:pt x="23" y="49"/>
                  </a:cubicBezTo>
                  <a:cubicBezTo>
                    <a:pt x="24" y="49"/>
                    <a:pt x="24" y="49"/>
                    <a:pt x="24" y="49"/>
                  </a:cubicBezTo>
                  <a:cubicBezTo>
                    <a:pt x="25" y="51"/>
                    <a:pt x="25" y="51"/>
                    <a:pt x="25" y="51"/>
                  </a:cubicBezTo>
                  <a:cubicBezTo>
                    <a:pt x="27" y="52"/>
                    <a:pt x="27" y="52"/>
                    <a:pt x="27" y="52"/>
                  </a:cubicBezTo>
                  <a:cubicBezTo>
                    <a:pt x="29" y="55"/>
                    <a:pt x="29" y="55"/>
                    <a:pt x="29" y="55"/>
                  </a:cubicBezTo>
                  <a:cubicBezTo>
                    <a:pt x="31" y="56"/>
                    <a:pt x="31" y="56"/>
                    <a:pt x="31" y="56"/>
                  </a:cubicBezTo>
                  <a:cubicBezTo>
                    <a:pt x="31" y="58"/>
                    <a:pt x="31" y="58"/>
                    <a:pt x="31" y="58"/>
                  </a:cubicBezTo>
                  <a:cubicBezTo>
                    <a:pt x="34" y="58"/>
                    <a:pt x="34" y="58"/>
                    <a:pt x="34" y="58"/>
                  </a:cubicBezTo>
                  <a:cubicBezTo>
                    <a:pt x="34" y="60"/>
                    <a:pt x="34" y="60"/>
                    <a:pt x="34" y="60"/>
                  </a:cubicBezTo>
                  <a:cubicBezTo>
                    <a:pt x="35" y="60"/>
                    <a:pt x="35" y="60"/>
                    <a:pt x="35" y="60"/>
                  </a:cubicBezTo>
                  <a:cubicBezTo>
                    <a:pt x="37" y="62"/>
                    <a:pt x="37" y="62"/>
                    <a:pt x="37" y="62"/>
                  </a:cubicBezTo>
                  <a:cubicBezTo>
                    <a:pt x="41" y="63"/>
                    <a:pt x="41" y="63"/>
                    <a:pt x="41" y="63"/>
                  </a:cubicBezTo>
                  <a:cubicBezTo>
                    <a:pt x="42" y="64"/>
                    <a:pt x="42" y="64"/>
                    <a:pt x="42" y="64"/>
                  </a:cubicBezTo>
                  <a:cubicBezTo>
                    <a:pt x="44" y="67"/>
                    <a:pt x="44" y="67"/>
                    <a:pt x="44" y="67"/>
                  </a:cubicBezTo>
                  <a:cubicBezTo>
                    <a:pt x="45" y="67"/>
                    <a:pt x="45" y="67"/>
                    <a:pt x="45" y="67"/>
                  </a:cubicBezTo>
                  <a:cubicBezTo>
                    <a:pt x="47" y="69"/>
                    <a:pt x="47" y="69"/>
                    <a:pt x="47" y="69"/>
                  </a:cubicBezTo>
                  <a:cubicBezTo>
                    <a:pt x="47" y="69"/>
                    <a:pt x="47" y="70"/>
                    <a:pt x="48" y="70"/>
                  </a:cubicBezTo>
                  <a:cubicBezTo>
                    <a:pt x="48" y="71"/>
                    <a:pt x="50" y="71"/>
                    <a:pt x="52" y="72"/>
                  </a:cubicBezTo>
                  <a:cubicBezTo>
                    <a:pt x="53" y="72"/>
                    <a:pt x="53" y="72"/>
                    <a:pt x="53" y="72"/>
                  </a:cubicBezTo>
                  <a:cubicBezTo>
                    <a:pt x="53" y="73"/>
                    <a:pt x="53" y="73"/>
                    <a:pt x="53" y="73"/>
                  </a:cubicBezTo>
                  <a:cubicBezTo>
                    <a:pt x="54" y="76"/>
                    <a:pt x="54" y="76"/>
                    <a:pt x="54" y="76"/>
                  </a:cubicBezTo>
                  <a:cubicBezTo>
                    <a:pt x="55" y="78"/>
                    <a:pt x="55" y="78"/>
                    <a:pt x="55" y="78"/>
                  </a:cubicBezTo>
                  <a:cubicBezTo>
                    <a:pt x="55" y="78"/>
                    <a:pt x="55" y="78"/>
                    <a:pt x="55" y="78"/>
                  </a:cubicBezTo>
                  <a:cubicBezTo>
                    <a:pt x="63" y="84"/>
                    <a:pt x="63" y="84"/>
                    <a:pt x="63" y="84"/>
                  </a:cubicBezTo>
                  <a:cubicBezTo>
                    <a:pt x="64" y="86"/>
                    <a:pt x="64" y="86"/>
                    <a:pt x="64" y="86"/>
                  </a:cubicBezTo>
                  <a:cubicBezTo>
                    <a:pt x="68" y="87"/>
                    <a:pt x="68" y="87"/>
                    <a:pt x="68" y="87"/>
                  </a:cubicBezTo>
                  <a:cubicBezTo>
                    <a:pt x="67" y="89"/>
                    <a:pt x="67" y="89"/>
                    <a:pt x="67" y="89"/>
                  </a:cubicBezTo>
                  <a:cubicBezTo>
                    <a:pt x="67" y="89"/>
                    <a:pt x="67" y="89"/>
                    <a:pt x="67" y="90"/>
                  </a:cubicBezTo>
                  <a:cubicBezTo>
                    <a:pt x="67" y="90"/>
                    <a:pt x="67" y="90"/>
                    <a:pt x="67" y="90"/>
                  </a:cubicBezTo>
                  <a:cubicBezTo>
                    <a:pt x="68" y="90"/>
                    <a:pt x="68" y="90"/>
                    <a:pt x="68" y="90"/>
                  </a:cubicBezTo>
                  <a:cubicBezTo>
                    <a:pt x="71" y="90"/>
                    <a:pt x="71" y="90"/>
                    <a:pt x="71" y="90"/>
                  </a:cubicBezTo>
                  <a:cubicBezTo>
                    <a:pt x="71" y="92"/>
                    <a:pt x="71" y="92"/>
                    <a:pt x="71" y="92"/>
                  </a:cubicBezTo>
                  <a:cubicBezTo>
                    <a:pt x="71" y="92"/>
                    <a:pt x="71" y="93"/>
                    <a:pt x="71" y="94"/>
                  </a:cubicBezTo>
                  <a:cubicBezTo>
                    <a:pt x="73" y="94"/>
                    <a:pt x="73" y="94"/>
                    <a:pt x="73" y="94"/>
                  </a:cubicBezTo>
                  <a:cubicBezTo>
                    <a:pt x="78" y="97"/>
                    <a:pt x="78" y="97"/>
                    <a:pt x="78" y="97"/>
                  </a:cubicBezTo>
                  <a:cubicBezTo>
                    <a:pt x="79" y="99"/>
                    <a:pt x="79" y="99"/>
                    <a:pt x="79" y="99"/>
                  </a:cubicBezTo>
                  <a:cubicBezTo>
                    <a:pt x="80" y="100"/>
                    <a:pt x="80" y="100"/>
                    <a:pt x="80" y="100"/>
                  </a:cubicBezTo>
                  <a:cubicBezTo>
                    <a:pt x="84" y="102"/>
                    <a:pt x="84" y="102"/>
                    <a:pt x="84" y="102"/>
                  </a:cubicBezTo>
                  <a:cubicBezTo>
                    <a:pt x="89" y="104"/>
                    <a:pt x="89" y="104"/>
                    <a:pt x="89" y="104"/>
                  </a:cubicBezTo>
                  <a:cubicBezTo>
                    <a:pt x="90" y="105"/>
                    <a:pt x="92" y="106"/>
                    <a:pt x="92" y="106"/>
                  </a:cubicBezTo>
                  <a:cubicBezTo>
                    <a:pt x="93" y="106"/>
                    <a:pt x="93" y="107"/>
                    <a:pt x="94" y="108"/>
                  </a:cubicBezTo>
                  <a:cubicBezTo>
                    <a:pt x="94" y="108"/>
                    <a:pt x="94" y="108"/>
                    <a:pt x="94" y="108"/>
                  </a:cubicBezTo>
                  <a:cubicBezTo>
                    <a:pt x="97" y="108"/>
                    <a:pt x="97" y="108"/>
                    <a:pt x="97" y="108"/>
                  </a:cubicBezTo>
                  <a:cubicBezTo>
                    <a:pt x="97" y="109"/>
                    <a:pt x="97" y="109"/>
                    <a:pt x="97" y="109"/>
                  </a:cubicBezTo>
                  <a:cubicBezTo>
                    <a:pt x="98" y="107"/>
                    <a:pt x="98" y="107"/>
                    <a:pt x="98" y="107"/>
                  </a:cubicBezTo>
                  <a:cubicBezTo>
                    <a:pt x="99" y="108"/>
                    <a:pt x="99" y="108"/>
                    <a:pt x="99" y="108"/>
                  </a:cubicBezTo>
                  <a:cubicBezTo>
                    <a:pt x="99" y="106"/>
                    <a:pt x="99" y="106"/>
                    <a:pt x="99" y="106"/>
                  </a:cubicBezTo>
                  <a:cubicBezTo>
                    <a:pt x="100" y="105"/>
                    <a:pt x="100" y="105"/>
                    <a:pt x="100" y="105"/>
                  </a:cubicBezTo>
                  <a:cubicBezTo>
                    <a:pt x="100" y="103"/>
                    <a:pt x="100" y="103"/>
                    <a:pt x="100" y="103"/>
                  </a:cubicBezTo>
                  <a:cubicBezTo>
                    <a:pt x="100" y="102"/>
                    <a:pt x="100" y="102"/>
                    <a:pt x="100" y="102"/>
                  </a:cubicBezTo>
                  <a:cubicBezTo>
                    <a:pt x="100" y="101"/>
                    <a:pt x="100" y="101"/>
                    <a:pt x="100" y="101"/>
                  </a:cubicBezTo>
                  <a:cubicBezTo>
                    <a:pt x="99" y="101"/>
                    <a:pt x="99" y="101"/>
                    <a:pt x="99" y="101"/>
                  </a:cubicBezTo>
                  <a:cubicBezTo>
                    <a:pt x="98" y="101"/>
                    <a:pt x="98" y="101"/>
                    <a:pt x="98" y="101"/>
                  </a:cubicBezTo>
                  <a:cubicBezTo>
                    <a:pt x="96" y="97"/>
                    <a:pt x="96" y="97"/>
                    <a:pt x="96" y="97"/>
                  </a:cubicBezTo>
                  <a:cubicBezTo>
                    <a:pt x="96" y="96"/>
                    <a:pt x="96" y="96"/>
                    <a:pt x="96" y="96"/>
                  </a:cubicBezTo>
                  <a:cubicBezTo>
                    <a:pt x="97" y="95"/>
                    <a:pt x="97" y="95"/>
                    <a:pt x="97" y="95"/>
                  </a:cubicBezTo>
                  <a:cubicBezTo>
                    <a:pt x="95" y="93"/>
                    <a:pt x="95" y="93"/>
                    <a:pt x="95" y="93"/>
                  </a:cubicBezTo>
                  <a:cubicBezTo>
                    <a:pt x="94" y="92"/>
                    <a:pt x="94" y="92"/>
                    <a:pt x="94" y="92"/>
                  </a:cubicBezTo>
                  <a:cubicBezTo>
                    <a:pt x="94" y="89"/>
                    <a:pt x="94" y="89"/>
                    <a:pt x="94" y="89"/>
                  </a:cubicBezTo>
                  <a:cubicBezTo>
                    <a:pt x="97" y="88"/>
                    <a:pt x="97" y="88"/>
                    <a:pt x="97" y="88"/>
                  </a:cubicBezTo>
                  <a:cubicBezTo>
                    <a:pt x="101" y="88"/>
                    <a:pt x="101" y="88"/>
                    <a:pt x="101" y="88"/>
                  </a:cubicBezTo>
                  <a:cubicBezTo>
                    <a:pt x="100" y="85"/>
                    <a:pt x="100" y="85"/>
                    <a:pt x="100" y="85"/>
                  </a:cubicBezTo>
                  <a:cubicBezTo>
                    <a:pt x="99" y="84"/>
                    <a:pt x="99" y="84"/>
                    <a:pt x="99" y="84"/>
                  </a:cubicBezTo>
                  <a:cubicBezTo>
                    <a:pt x="100" y="81"/>
                    <a:pt x="100" y="81"/>
                    <a:pt x="100" y="81"/>
                  </a:cubicBezTo>
                  <a:cubicBezTo>
                    <a:pt x="101" y="79"/>
                    <a:pt x="101" y="79"/>
                    <a:pt x="101" y="79"/>
                  </a:cubicBezTo>
                  <a:cubicBezTo>
                    <a:pt x="100" y="78"/>
                    <a:pt x="100" y="78"/>
                    <a:pt x="100" y="78"/>
                  </a:cubicBezTo>
                  <a:cubicBezTo>
                    <a:pt x="104" y="74"/>
                    <a:pt x="104" y="74"/>
                    <a:pt x="104" y="74"/>
                  </a:cubicBezTo>
                  <a:cubicBezTo>
                    <a:pt x="104" y="73"/>
                    <a:pt x="104" y="73"/>
                    <a:pt x="104" y="73"/>
                  </a:cubicBezTo>
                  <a:cubicBezTo>
                    <a:pt x="106" y="72"/>
                    <a:pt x="106" y="72"/>
                    <a:pt x="106" y="72"/>
                  </a:cubicBezTo>
                  <a:cubicBezTo>
                    <a:pt x="107" y="73"/>
                    <a:pt x="107" y="73"/>
                    <a:pt x="107" y="73"/>
                  </a:cubicBezTo>
                  <a:cubicBezTo>
                    <a:pt x="108" y="74"/>
                    <a:pt x="108" y="74"/>
                    <a:pt x="108" y="74"/>
                  </a:cubicBezTo>
                  <a:cubicBezTo>
                    <a:pt x="109" y="75"/>
                    <a:pt x="109" y="75"/>
                    <a:pt x="109" y="75"/>
                  </a:cubicBezTo>
                  <a:cubicBezTo>
                    <a:pt x="110" y="76"/>
                    <a:pt x="110" y="76"/>
                    <a:pt x="110" y="76"/>
                  </a:cubicBezTo>
                  <a:cubicBezTo>
                    <a:pt x="111" y="74"/>
                    <a:pt x="111" y="74"/>
                    <a:pt x="111" y="74"/>
                  </a:cubicBezTo>
                  <a:cubicBezTo>
                    <a:pt x="112" y="73"/>
                    <a:pt x="112" y="73"/>
                    <a:pt x="112" y="73"/>
                  </a:cubicBezTo>
                  <a:cubicBezTo>
                    <a:pt x="111" y="72"/>
                    <a:pt x="111" y="72"/>
                    <a:pt x="111" y="72"/>
                  </a:cubicBezTo>
                  <a:cubicBezTo>
                    <a:pt x="110" y="71"/>
                    <a:pt x="110" y="71"/>
                    <a:pt x="110" y="71"/>
                  </a:cubicBezTo>
                  <a:cubicBezTo>
                    <a:pt x="110" y="70"/>
                    <a:pt x="110" y="70"/>
                    <a:pt x="110" y="70"/>
                  </a:cubicBezTo>
                  <a:cubicBezTo>
                    <a:pt x="109" y="69"/>
                    <a:pt x="109" y="69"/>
                    <a:pt x="109" y="69"/>
                  </a:cubicBezTo>
                  <a:cubicBezTo>
                    <a:pt x="109" y="69"/>
                    <a:pt x="108" y="68"/>
                    <a:pt x="108" y="68"/>
                  </a:cubicBezTo>
                  <a:cubicBezTo>
                    <a:pt x="108" y="68"/>
                    <a:pt x="107" y="68"/>
                    <a:pt x="107" y="68"/>
                  </a:cubicBezTo>
                  <a:cubicBezTo>
                    <a:pt x="107" y="67"/>
                    <a:pt x="107" y="67"/>
                    <a:pt x="107" y="67"/>
                  </a:cubicBezTo>
                  <a:cubicBezTo>
                    <a:pt x="107" y="67"/>
                    <a:pt x="106" y="67"/>
                    <a:pt x="106" y="67"/>
                  </a:cubicBezTo>
                  <a:cubicBezTo>
                    <a:pt x="106" y="67"/>
                    <a:pt x="106" y="66"/>
                    <a:pt x="106" y="66"/>
                  </a:cubicBezTo>
                  <a:cubicBezTo>
                    <a:pt x="107" y="65"/>
                    <a:pt x="107" y="65"/>
                    <a:pt x="107" y="65"/>
                  </a:cubicBezTo>
                  <a:cubicBezTo>
                    <a:pt x="108" y="64"/>
                    <a:pt x="108" y="64"/>
                    <a:pt x="108" y="64"/>
                  </a:cubicBezTo>
                  <a:cubicBezTo>
                    <a:pt x="109" y="64"/>
                    <a:pt x="109" y="64"/>
                    <a:pt x="109" y="64"/>
                  </a:cubicBezTo>
                  <a:cubicBezTo>
                    <a:pt x="110" y="65"/>
                    <a:pt x="110" y="65"/>
                    <a:pt x="110" y="65"/>
                  </a:cubicBezTo>
                  <a:cubicBezTo>
                    <a:pt x="110" y="65"/>
                    <a:pt x="110" y="65"/>
                    <a:pt x="110" y="65"/>
                  </a:cubicBezTo>
                  <a:cubicBezTo>
                    <a:pt x="110" y="65"/>
                    <a:pt x="111" y="64"/>
                    <a:pt x="111" y="64"/>
                  </a:cubicBezTo>
                  <a:cubicBezTo>
                    <a:pt x="111" y="64"/>
                    <a:pt x="113" y="63"/>
                    <a:pt x="113" y="63"/>
                  </a:cubicBezTo>
                  <a:cubicBezTo>
                    <a:pt x="114" y="63"/>
                    <a:pt x="114" y="63"/>
                    <a:pt x="114" y="63"/>
                  </a:cubicBezTo>
                  <a:cubicBezTo>
                    <a:pt x="115" y="63"/>
                    <a:pt x="116" y="62"/>
                    <a:pt x="116" y="62"/>
                  </a:cubicBezTo>
                  <a:cubicBezTo>
                    <a:pt x="118" y="60"/>
                    <a:pt x="118" y="60"/>
                    <a:pt x="118" y="60"/>
                  </a:cubicBezTo>
                  <a:cubicBezTo>
                    <a:pt x="118" y="60"/>
                    <a:pt x="118" y="60"/>
                    <a:pt x="119" y="60"/>
                  </a:cubicBezTo>
                  <a:cubicBezTo>
                    <a:pt x="120" y="61"/>
                    <a:pt x="121" y="61"/>
                    <a:pt x="122" y="61"/>
                  </a:cubicBezTo>
                  <a:cubicBezTo>
                    <a:pt x="123" y="61"/>
                    <a:pt x="123" y="62"/>
                    <a:pt x="123" y="60"/>
                  </a:cubicBezTo>
                  <a:cubicBezTo>
                    <a:pt x="124" y="57"/>
                    <a:pt x="123" y="56"/>
                    <a:pt x="123" y="56"/>
                  </a:cubicBezTo>
                  <a:cubicBezTo>
                    <a:pt x="120" y="53"/>
                    <a:pt x="120" y="53"/>
                    <a:pt x="120" y="53"/>
                  </a:cubicBezTo>
                  <a:cubicBezTo>
                    <a:pt x="120" y="53"/>
                    <a:pt x="120" y="52"/>
                    <a:pt x="119" y="51"/>
                  </a:cubicBezTo>
                  <a:cubicBezTo>
                    <a:pt x="118" y="50"/>
                    <a:pt x="117" y="49"/>
                    <a:pt x="117" y="49"/>
                  </a:cubicBezTo>
                  <a:cubicBezTo>
                    <a:pt x="117" y="49"/>
                    <a:pt x="114" y="47"/>
                    <a:pt x="114" y="47"/>
                  </a:cubicBezTo>
                  <a:cubicBezTo>
                    <a:pt x="114" y="47"/>
                    <a:pt x="113" y="46"/>
                    <a:pt x="113" y="46"/>
                  </a:cubicBezTo>
                  <a:cubicBezTo>
                    <a:pt x="113" y="45"/>
                    <a:pt x="113" y="44"/>
                    <a:pt x="113" y="44"/>
                  </a:cubicBezTo>
                  <a:cubicBezTo>
                    <a:pt x="114" y="44"/>
                    <a:pt x="114" y="43"/>
                    <a:pt x="114" y="44"/>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6" name="Freeform 209"/>
            <p:cNvSpPr>
              <a:spLocks/>
            </p:cNvSpPr>
            <p:nvPr/>
          </p:nvSpPr>
          <p:spPr bwMode="auto">
            <a:xfrm>
              <a:off x="6361818" y="4315972"/>
              <a:ext cx="846270" cy="573233"/>
            </a:xfrm>
            <a:custGeom>
              <a:avLst/>
              <a:gdLst>
                <a:gd name="T0" fmla="*/ 277 w 292"/>
                <a:gd name="T1" fmla="*/ 94 h 210"/>
                <a:gd name="T2" fmla="*/ 239 w 292"/>
                <a:gd name="T3" fmla="*/ 104 h 210"/>
                <a:gd name="T4" fmla="*/ 235 w 292"/>
                <a:gd name="T5" fmla="*/ 95 h 210"/>
                <a:gd name="T6" fmla="*/ 233 w 292"/>
                <a:gd name="T7" fmla="*/ 91 h 210"/>
                <a:gd name="T8" fmla="*/ 230 w 292"/>
                <a:gd name="T9" fmla="*/ 82 h 210"/>
                <a:gd name="T10" fmla="*/ 228 w 292"/>
                <a:gd name="T11" fmla="*/ 74 h 210"/>
                <a:gd name="T12" fmla="*/ 228 w 292"/>
                <a:gd name="T13" fmla="*/ 63 h 210"/>
                <a:gd name="T14" fmla="*/ 226 w 292"/>
                <a:gd name="T15" fmla="*/ 56 h 210"/>
                <a:gd name="T16" fmla="*/ 222 w 292"/>
                <a:gd name="T17" fmla="*/ 49 h 210"/>
                <a:gd name="T18" fmla="*/ 217 w 292"/>
                <a:gd name="T19" fmla="*/ 41 h 210"/>
                <a:gd name="T20" fmla="*/ 206 w 292"/>
                <a:gd name="T21" fmla="*/ 33 h 210"/>
                <a:gd name="T22" fmla="*/ 198 w 292"/>
                <a:gd name="T23" fmla="*/ 27 h 210"/>
                <a:gd name="T24" fmla="*/ 195 w 292"/>
                <a:gd name="T25" fmla="*/ 25 h 210"/>
                <a:gd name="T26" fmla="*/ 187 w 292"/>
                <a:gd name="T27" fmla="*/ 18 h 210"/>
                <a:gd name="T28" fmla="*/ 184 w 292"/>
                <a:gd name="T29" fmla="*/ 12 h 210"/>
                <a:gd name="T30" fmla="*/ 178 w 292"/>
                <a:gd name="T31" fmla="*/ 6 h 210"/>
                <a:gd name="T32" fmla="*/ 173 w 292"/>
                <a:gd name="T33" fmla="*/ 3 h 210"/>
                <a:gd name="T34" fmla="*/ 169 w 292"/>
                <a:gd name="T35" fmla="*/ 0 h 210"/>
                <a:gd name="T36" fmla="*/ 155 w 292"/>
                <a:gd name="T37" fmla="*/ 5 h 210"/>
                <a:gd name="T38" fmla="*/ 132 w 292"/>
                <a:gd name="T39" fmla="*/ 20 h 210"/>
                <a:gd name="T40" fmla="*/ 108 w 292"/>
                <a:gd name="T41" fmla="*/ 27 h 210"/>
                <a:gd name="T42" fmla="*/ 73 w 292"/>
                <a:gd name="T43" fmla="*/ 29 h 210"/>
                <a:gd name="T44" fmla="*/ 67 w 292"/>
                <a:gd name="T45" fmla="*/ 37 h 210"/>
                <a:gd name="T46" fmla="*/ 55 w 292"/>
                <a:gd name="T47" fmla="*/ 48 h 210"/>
                <a:gd name="T48" fmla="*/ 45 w 292"/>
                <a:gd name="T49" fmla="*/ 57 h 210"/>
                <a:gd name="T50" fmla="*/ 42 w 292"/>
                <a:gd name="T51" fmla="*/ 73 h 210"/>
                <a:gd name="T52" fmla="*/ 35 w 292"/>
                <a:gd name="T53" fmla="*/ 88 h 210"/>
                <a:gd name="T54" fmla="*/ 32 w 292"/>
                <a:gd name="T55" fmla="*/ 107 h 210"/>
                <a:gd name="T56" fmla="*/ 16 w 292"/>
                <a:gd name="T57" fmla="*/ 124 h 210"/>
                <a:gd name="T58" fmla="*/ 6 w 292"/>
                <a:gd name="T59" fmla="*/ 129 h 210"/>
                <a:gd name="T60" fmla="*/ 7 w 292"/>
                <a:gd name="T61" fmla="*/ 131 h 210"/>
                <a:gd name="T62" fmla="*/ 16 w 292"/>
                <a:gd name="T63" fmla="*/ 136 h 210"/>
                <a:gd name="T64" fmla="*/ 18 w 292"/>
                <a:gd name="T65" fmla="*/ 145 h 210"/>
                <a:gd name="T66" fmla="*/ 22 w 292"/>
                <a:gd name="T67" fmla="*/ 152 h 210"/>
                <a:gd name="T68" fmla="*/ 33 w 292"/>
                <a:gd name="T69" fmla="*/ 156 h 210"/>
                <a:gd name="T70" fmla="*/ 43 w 292"/>
                <a:gd name="T71" fmla="*/ 158 h 210"/>
                <a:gd name="T72" fmla="*/ 45 w 292"/>
                <a:gd name="T73" fmla="*/ 168 h 210"/>
                <a:gd name="T74" fmla="*/ 45 w 292"/>
                <a:gd name="T75" fmla="*/ 175 h 210"/>
                <a:gd name="T76" fmla="*/ 51 w 292"/>
                <a:gd name="T77" fmla="*/ 178 h 210"/>
                <a:gd name="T78" fmla="*/ 56 w 292"/>
                <a:gd name="T79" fmla="*/ 179 h 210"/>
                <a:gd name="T80" fmla="*/ 66 w 292"/>
                <a:gd name="T81" fmla="*/ 183 h 210"/>
                <a:gd name="T82" fmla="*/ 71 w 292"/>
                <a:gd name="T83" fmla="*/ 176 h 210"/>
                <a:gd name="T84" fmla="*/ 80 w 292"/>
                <a:gd name="T85" fmla="*/ 176 h 210"/>
                <a:gd name="T86" fmla="*/ 84 w 292"/>
                <a:gd name="T87" fmla="*/ 183 h 210"/>
                <a:gd name="T88" fmla="*/ 83 w 292"/>
                <a:gd name="T89" fmla="*/ 189 h 210"/>
                <a:gd name="T90" fmla="*/ 87 w 292"/>
                <a:gd name="T91" fmla="*/ 196 h 210"/>
                <a:gd name="T92" fmla="*/ 95 w 292"/>
                <a:gd name="T93" fmla="*/ 204 h 210"/>
                <a:gd name="T94" fmla="*/ 97 w 292"/>
                <a:gd name="T95" fmla="*/ 209 h 210"/>
                <a:gd name="T96" fmla="*/ 128 w 292"/>
                <a:gd name="T97" fmla="*/ 207 h 210"/>
                <a:gd name="T98" fmla="*/ 195 w 292"/>
                <a:gd name="T99" fmla="*/ 185 h 210"/>
                <a:gd name="T100" fmla="*/ 252 w 292"/>
                <a:gd name="T101" fmla="*/ 168 h 210"/>
                <a:gd name="T102" fmla="*/ 271 w 292"/>
                <a:gd name="T103" fmla="*/ 143 h 210"/>
                <a:gd name="T104" fmla="*/ 287 w 292"/>
                <a:gd name="T105" fmla="*/ 9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2" h="210">
                  <a:moveTo>
                    <a:pt x="287" y="96"/>
                  </a:moveTo>
                  <a:cubicBezTo>
                    <a:pt x="284" y="96"/>
                    <a:pt x="284" y="96"/>
                    <a:pt x="284" y="96"/>
                  </a:cubicBezTo>
                  <a:cubicBezTo>
                    <a:pt x="277" y="94"/>
                    <a:pt x="277" y="94"/>
                    <a:pt x="277" y="94"/>
                  </a:cubicBezTo>
                  <a:cubicBezTo>
                    <a:pt x="277" y="94"/>
                    <a:pt x="277" y="94"/>
                    <a:pt x="277" y="94"/>
                  </a:cubicBezTo>
                  <a:cubicBezTo>
                    <a:pt x="277" y="94"/>
                    <a:pt x="277" y="94"/>
                    <a:pt x="277" y="94"/>
                  </a:cubicBezTo>
                  <a:cubicBezTo>
                    <a:pt x="271" y="94"/>
                    <a:pt x="264" y="106"/>
                    <a:pt x="264" y="106"/>
                  </a:cubicBezTo>
                  <a:cubicBezTo>
                    <a:pt x="261" y="112"/>
                    <a:pt x="261" y="112"/>
                    <a:pt x="261" y="112"/>
                  </a:cubicBezTo>
                  <a:cubicBezTo>
                    <a:pt x="257" y="111"/>
                    <a:pt x="257" y="111"/>
                    <a:pt x="257" y="111"/>
                  </a:cubicBezTo>
                  <a:cubicBezTo>
                    <a:pt x="251" y="110"/>
                    <a:pt x="245" y="108"/>
                    <a:pt x="240" y="105"/>
                  </a:cubicBezTo>
                  <a:cubicBezTo>
                    <a:pt x="239" y="104"/>
                    <a:pt x="239" y="104"/>
                    <a:pt x="239" y="104"/>
                  </a:cubicBezTo>
                  <a:cubicBezTo>
                    <a:pt x="237" y="101"/>
                    <a:pt x="237" y="101"/>
                    <a:pt x="237" y="101"/>
                  </a:cubicBezTo>
                  <a:cubicBezTo>
                    <a:pt x="236" y="101"/>
                    <a:pt x="235" y="101"/>
                    <a:pt x="235" y="100"/>
                  </a:cubicBezTo>
                  <a:cubicBezTo>
                    <a:pt x="234" y="99"/>
                    <a:pt x="234" y="99"/>
                    <a:pt x="234" y="99"/>
                  </a:cubicBezTo>
                  <a:cubicBezTo>
                    <a:pt x="234" y="96"/>
                    <a:pt x="234" y="96"/>
                    <a:pt x="234" y="96"/>
                  </a:cubicBezTo>
                  <a:cubicBezTo>
                    <a:pt x="234" y="96"/>
                    <a:pt x="235" y="95"/>
                    <a:pt x="235" y="95"/>
                  </a:cubicBezTo>
                  <a:cubicBezTo>
                    <a:pt x="235" y="95"/>
                    <a:pt x="235" y="95"/>
                    <a:pt x="235" y="95"/>
                  </a:cubicBezTo>
                  <a:cubicBezTo>
                    <a:pt x="235" y="94"/>
                    <a:pt x="235" y="94"/>
                    <a:pt x="235" y="94"/>
                  </a:cubicBezTo>
                  <a:cubicBezTo>
                    <a:pt x="235" y="94"/>
                    <a:pt x="235" y="93"/>
                    <a:pt x="235" y="93"/>
                  </a:cubicBezTo>
                  <a:cubicBezTo>
                    <a:pt x="235" y="93"/>
                    <a:pt x="235" y="93"/>
                    <a:pt x="235" y="93"/>
                  </a:cubicBezTo>
                  <a:cubicBezTo>
                    <a:pt x="234" y="92"/>
                    <a:pt x="234" y="92"/>
                    <a:pt x="233" y="91"/>
                  </a:cubicBezTo>
                  <a:cubicBezTo>
                    <a:pt x="232" y="90"/>
                    <a:pt x="232" y="90"/>
                    <a:pt x="232" y="89"/>
                  </a:cubicBezTo>
                  <a:cubicBezTo>
                    <a:pt x="232" y="88"/>
                    <a:pt x="232" y="88"/>
                    <a:pt x="232" y="87"/>
                  </a:cubicBezTo>
                  <a:cubicBezTo>
                    <a:pt x="232" y="87"/>
                    <a:pt x="232" y="87"/>
                    <a:pt x="232" y="87"/>
                  </a:cubicBezTo>
                  <a:cubicBezTo>
                    <a:pt x="232" y="87"/>
                    <a:pt x="232" y="87"/>
                    <a:pt x="232" y="86"/>
                  </a:cubicBezTo>
                  <a:cubicBezTo>
                    <a:pt x="231" y="85"/>
                    <a:pt x="230" y="83"/>
                    <a:pt x="230" y="82"/>
                  </a:cubicBezTo>
                  <a:cubicBezTo>
                    <a:pt x="229" y="82"/>
                    <a:pt x="229" y="81"/>
                    <a:pt x="229" y="80"/>
                  </a:cubicBezTo>
                  <a:cubicBezTo>
                    <a:pt x="229" y="80"/>
                    <a:pt x="229" y="79"/>
                    <a:pt x="229" y="79"/>
                  </a:cubicBezTo>
                  <a:cubicBezTo>
                    <a:pt x="229" y="79"/>
                    <a:pt x="228" y="78"/>
                    <a:pt x="229" y="76"/>
                  </a:cubicBezTo>
                  <a:cubicBezTo>
                    <a:pt x="229" y="75"/>
                    <a:pt x="229" y="75"/>
                    <a:pt x="229" y="74"/>
                  </a:cubicBezTo>
                  <a:cubicBezTo>
                    <a:pt x="229" y="74"/>
                    <a:pt x="228" y="74"/>
                    <a:pt x="228" y="74"/>
                  </a:cubicBezTo>
                  <a:cubicBezTo>
                    <a:pt x="228" y="69"/>
                    <a:pt x="228" y="69"/>
                    <a:pt x="228" y="69"/>
                  </a:cubicBezTo>
                  <a:cubicBezTo>
                    <a:pt x="228" y="68"/>
                    <a:pt x="228" y="68"/>
                    <a:pt x="228" y="68"/>
                  </a:cubicBezTo>
                  <a:cubicBezTo>
                    <a:pt x="228" y="68"/>
                    <a:pt x="228" y="68"/>
                    <a:pt x="228" y="68"/>
                  </a:cubicBezTo>
                  <a:cubicBezTo>
                    <a:pt x="228" y="67"/>
                    <a:pt x="228" y="66"/>
                    <a:pt x="228" y="65"/>
                  </a:cubicBezTo>
                  <a:cubicBezTo>
                    <a:pt x="228" y="63"/>
                    <a:pt x="228" y="63"/>
                    <a:pt x="228" y="63"/>
                  </a:cubicBezTo>
                  <a:cubicBezTo>
                    <a:pt x="228" y="62"/>
                    <a:pt x="228" y="62"/>
                    <a:pt x="228" y="62"/>
                  </a:cubicBezTo>
                  <a:cubicBezTo>
                    <a:pt x="227" y="61"/>
                    <a:pt x="227" y="60"/>
                    <a:pt x="227" y="59"/>
                  </a:cubicBezTo>
                  <a:cubicBezTo>
                    <a:pt x="227" y="59"/>
                    <a:pt x="227" y="58"/>
                    <a:pt x="227" y="58"/>
                  </a:cubicBezTo>
                  <a:cubicBezTo>
                    <a:pt x="227" y="58"/>
                    <a:pt x="227" y="58"/>
                    <a:pt x="227" y="58"/>
                  </a:cubicBezTo>
                  <a:cubicBezTo>
                    <a:pt x="227" y="58"/>
                    <a:pt x="226" y="56"/>
                    <a:pt x="226" y="56"/>
                  </a:cubicBezTo>
                  <a:cubicBezTo>
                    <a:pt x="226" y="55"/>
                    <a:pt x="226" y="55"/>
                    <a:pt x="226" y="55"/>
                  </a:cubicBezTo>
                  <a:cubicBezTo>
                    <a:pt x="226" y="55"/>
                    <a:pt x="226" y="55"/>
                    <a:pt x="226" y="55"/>
                  </a:cubicBezTo>
                  <a:cubicBezTo>
                    <a:pt x="226" y="55"/>
                    <a:pt x="226" y="55"/>
                    <a:pt x="225" y="54"/>
                  </a:cubicBezTo>
                  <a:cubicBezTo>
                    <a:pt x="225" y="53"/>
                    <a:pt x="225" y="53"/>
                    <a:pt x="224" y="52"/>
                  </a:cubicBezTo>
                  <a:cubicBezTo>
                    <a:pt x="223" y="51"/>
                    <a:pt x="222" y="50"/>
                    <a:pt x="222" y="49"/>
                  </a:cubicBezTo>
                  <a:cubicBezTo>
                    <a:pt x="222" y="48"/>
                    <a:pt x="221" y="48"/>
                    <a:pt x="221" y="47"/>
                  </a:cubicBezTo>
                  <a:cubicBezTo>
                    <a:pt x="221" y="47"/>
                    <a:pt x="221" y="47"/>
                    <a:pt x="221" y="47"/>
                  </a:cubicBezTo>
                  <a:cubicBezTo>
                    <a:pt x="221" y="47"/>
                    <a:pt x="221" y="46"/>
                    <a:pt x="220" y="45"/>
                  </a:cubicBezTo>
                  <a:cubicBezTo>
                    <a:pt x="219" y="44"/>
                    <a:pt x="218" y="43"/>
                    <a:pt x="218" y="42"/>
                  </a:cubicBezTo>
                  <a:cubicBezTo>
                    <a:pt x="217" y="42"/>
                    <a:pt x="217" y="41"/>
                    <a:pt x="217" y="41"/>
                  </a:cubicBezTo>
                  <a:cubicBezTo>
                    <a:pt x="216" y="41"/>
                    <a:pt x="215" y="41"/>
                    <a:pt x="214" y="41"/>
                  </a:cubicBezTo>
                  <a:cubicBezTo>
                    <a:pt x="211" y="39"/>
                    <a:pt x="211" y="39"/>
                    <a:pt x="211" y="39"/>
                  </a:cubicBezTo>
                  <a:cubicBezTo>
                    <a:pt x="209" y="37"/>
                    <a:pt x="209" y="37"/>
                    <a:pt x="209" y="37"/>
                  </a:cubicBezTo>
                  <a:cubicBezTo>
                    <a:pt x="208" y="37"/>
                    <a:pt x="208" y="36"/>
                    <a:pt x="207" y="36"/>
                  </a:cubicBezTo>
                  <a:cubicBezTo>
                    <a:pt x="206" y="35"/>
                    <a:pt x="206" y="34"/>
                    <a:pt x="206" y="33"/>
                  </a:cubicBezTo>
                  <a:cubicBezTo>
                    <a:pt x="205" y="33"/>
                    <a:pt x="205" y="33"/>
                    <a:pt x="205" y="33"/>
                  </a:cubicBezTo>
                  <a:cubicBezTo>
                    <a:pt x="201" y="31"/>
                    <a:pt x="201" y="31"/>
                    <a:pt x="201" y="31"/>
                  </a:cubicBezTo>
                  <a:cubicBezTo>
                    <a:pt x="201" y="31"/>
                    <a:pt x="201" y="31"/>
                    <a:pt x="201" y="31"/>
                  </a:cubicBezTo>
                  <a:cubicBezTo>
                    <a:pt x="201" y="31"/>
                    <a:pt x="199" y="29"/>
                    <a:pt x="199" y="28"/>
                  </a:cubicBezTo>
                  <a:cubicBezTo>
                    <a:pt x="199" y="28"/>
                    <a:pt x="199" y="28"/>
                    <a:pt x="198" y="27"/>
                  </a:cubicBezTo>
                  <a:cubicBezTo>
                    <a:pt x="198" y="27"/>
                    <a:pt x="198" y="27"/>
                    <a:pt x="198" y="26"/>
                  </a:cubicBezTo>
                  <a:cubicBezTo>
                    <a:pt x="197" y="26"/>
                    <a:pt x="197" y="26"/>
                    <a:pt x="197" y="26"/>
                  </a:cubicBezTo>
                  <a:cubicBezTo>
                    <a:pt x="196" y="26"/>
                    <a:pt x="196" y="26"/>
                    <a:pt x="196" y="26"/>
                  </a:cubicBezTo>
                  <a:cubicBezTo>
                    <a:pt x="196" y="26"/>
                    <a:pt x="196" y="26"/>
                    <a:pt x="196" y="26"/>
                  </a:cubicBezTo>
                  <a:cubicBezTo>
                    <a:pt x="195" y="25"/>
                    <a:pt x="195" y="25"/>
                    <a:pt x="195" y="25"/>
                  </a:cubicBezTo>
                  <a:cubicBezTo>
                    <a:pt x="195" y="25"/>
                    <a:pt x="194" y="24"/>
                    <a:pt x="193" y="23"/>
                  </a:cubicBezTo>
                  <a:cubicBezTo>
                    <a:pt x="192" y="23"/>
                    <a:pt x="192" y="23"/>
                    <a:pt x="192" y="23"/>
                  </a:cubicBezTo>
                  <a:cubicBezTo>
                    <a:pt x="192" y="22"/>
                    <a:pt x="191" y="22"/>
                    <a:pt x="191" y="22"/>
                  </a:cubicBezTo>
                  <a:cubicBezTo>
                    <a:pt x="190" y="21"/>
                    <a:pt x="190" y="21"/>
                    <a:pt x="190" y="20"/>
                  </a:cubicBezTo>
                  <a:cubicBezTo>
                    <a:pt x="189" y="20"/>
                    <a:pt x="188" y="20"/>
                    <a:pt x="187" y="18"/>
                  </a:cubicBezTo>
                  <a:cubicBezTo>
                    <a:pt x="186" y="18"/>
                    <a:pt x="186" y="17"/>
                    <a:pt x="186" y="16"/>
                  </a:cubicBezTo>
                  <a:cubicBezTo>
                    <a:pt x="185" y="15"/>
                    <a:pt x="185" y="14"/>
                    <a:pt x="185" y="14"/>
                  </a:cubicBezTo>
                  <a:cubicBezTo>
                    <a:pt x="184" y="14"/>
                    <a:pt x="184" y="13"/>
                    <a:pt x="184" y="12"/>
                  </a:cubicBezTo>
                  <a:cubicBezTo>
                    <a:pt x="184" y="12"/>
                    <a:pt x="184" y="12"/>
                    <a:pt x="184" y="12"/>
                  </a:cubicBezTo>
                  <a:cubicBezTo>
                    <a:pt x="184" y="12"/>
                    <a:pt x="184" y="12"/>
                    <a:pt x="184" y="12"/>
                  </a:cubicBezTo>
                  <a:cubicBezTo>
                    <a:pt x="183" y="11"/>
                    <a:pt x="183" y="11"/>
                    <a:pt x="183" y="11"/>
                  </a:cubicBezTo>
                  <a:cubicBezTo>
                    <a:pt x="182" y="10"/>
                    <a:pt x="182" y="10"/>
                    <a:pt x="181" y="10"/>
                  </a:cubicBezTo>
                  <a:cubicBezTo>
                    <a:pt x="181" y="9"/>
                    <a:pt x="181" y="9"/>
                    <a:pt x="181" y="8"/>
                  </a:cubicBezTo>
                  <a:cubicBezTo>
                    <a:pt x="180" y="7"/>
                    <a:pt x="180" y="7"/>
                    <a:pt x="180" y="7"/>
                  </a:cubicBezTo>
                  <a:cubicBezTo>
                    <a:pt x="178" y="6"/>
                    <a:pt x="178" y="6"/>
                    <a:pt x="178" y="6"/>
                  </a:cubicBezTo>
                  <a:cubicBezTo>
                    <a:pt x="178" y="6"/>
                    <a:pt x="178" y="5"/>
                    <a:pt x="178" y="5"/>
                  </a:cubicBezTo>
                  <a:cubicBezTo>
                    <a:pt x="177" y="5"/>
                    <a:pt x="177" y="5"/>
                    <a:pt x="177" y="4"/>
                  </a:cubicBezTo>
                  <a:cubicBezTo>
                    <a:pt x="176" y="4"/>
                    <a:pt x="176" y="4"/>
                    <a:pt x="176" y="4"/>
                  </a:cubicBezTo>
                  <a:cubicBezTo>
                    <a:pt x="176" y="4"/>
                    <a:pt x="176" y="4"/>
                    <a:pt x="176" y="4"/>
                  </a:cubicBezTo>
                  <a:cubicBezTo>
                    <a:pt x="173" y="3"/>
                    <a:pt x="173" y="3"/>
                    <a:pt x="173" y="3"/>
                  </a:cubicBezTo>
                  <a:cubicBezTo>
                    <a:pt x="173" y="2"/>
                    <a:pt x="173" y="2"/>
                    <a:pt x="173" y="2"/>
                  </a:cubicBezTo>
                  <a:cubicBezTo>
                    <a:pt x="173" y="1"/>
                    <a:pt x="173" y="1"/>
                    <a:pt x="172" y="1"/>
                  </a:cubicBezTo>
                  <a:cubicBezTo>
                    <a:pt x="172" y="1"/>
                    <a:pt x="172" y="1"/>
                    <a:pt x="172" y="1"/>
                  </a:cubicBezTo>
                  <a:cubicBezTo>
                    <a:pt x="172" y="1"/>
                    <a:pt x="172" y="1"/>
                    <a:pt x="172" y="1"/>
                  </a:cubicBezTo>
                  <a:cubicBezTo>
                    <a:pt x="171" y="1"/>
                    <a:pt x="170" y="0"/>
                    <a:pt x="169" y="0"/>
                  </a:cubicBezTo>
                  <a:cubicBezTo>
                    <a:pt x="169" y="0"/>
                    <a:pt x="169" y="0"/>
                    <a:pt x="169" y="0"/>
                  </a:cubicBezTo>
                  <a:cubicBezTo>
                    <a:pt x="166" y="0"/>
                    <a:pt x="166" y="0"/>
                    <a:pt x="166" y="0"/>
                  </a:cubicBezTo>
                  <a:cubicBezTo>
                    <a:pt x="159" y="0"/>
                    <a:pt x="159" y="0"/>
                    <a:pt x="159" y="0"/>
                  </a:cubicBezTo>
                  <a:cubicBezTo>
                    <a:pt x="157" y="1"/>
                    <a:pt x="156" y="2"/>
                    <a:pt x="156" y="3"/>
                  </a:cubicBezTo>
                  <a:cubicBezTo>
                    <a:pt x="155" y="4"/>
                    <a:pt x="155" y="4"/>
                    <a:pt x="155" y="5"/>
                  </a:cubicBezTo>
                  <a:cubicBezTo>
                    <a:pt x="155" y="7"/>
                    <a:pt x="155" y="9"/>
                    <a:pt x="154" y="9"/>
                  </a:cubicBezTo>
                  <a:cubicBezTo>
                    <a:pt x="152" y="10"/>
                    <a:pt x="151" y="11"/>
                    <a:pt x="150" y="12"/>
                  </a:cubicBezTo>
                  <a:cubicBezTo>
                    <a:pt x="149" y="13"/>
                    <a:pt x="149" y="14"/>
                    <a:pt x="148" y="14"/>
                  </a:cubicBezTo>
                  <a:cubicBezTo>
                    <a:pt x="141" y="18"/>
                    <a:pt x="141" y="18"/>
                    <a:pt x="141" y="18"/>
                  </a:cubicBezTo>
                  <a:cubicBezTo>
                    <a:pt x="141" y="18"/>
                    <a:pt x="135" y="20"/>
                    <a:pt x="132" y="20"/>
                  </a:cubicBezTo>
                  <a:cubicBezTo>
                    <a:pt x="129" y="20"/>
                    <a:pt x="127" y="23"/>
                    <a:pt x="127" y="23"/>
                  </a:cubicBezTo>
                  <a:cubicBezTo>
                    <a:pt x="123" y="29"/>
                    <a:pt x="123" y="29"/>
                    <a:pt x="123" y="29"/>
                  </a:cubicBezTo>
                  <a:cubicBezTo>
                    <a:pt x="116" y="29"/>
                    <a:pt x="116" y="29"/>
                    <a:pt x="116" y="29"/>
                  </a:cubicBezTo>
                  <a:cubicBezTo>
                    <a:pt x="113" y="26"/>
                    <a:pt x="113" y="26"/>
                    <a:pt x="113" y="26"/>
                  </a:cubicBezTo>
                  <a:cubicBezTo>
                    <a:pt x="108" y="27"/>
                    <a:pt x="108" y="27"/>
                    <a:pt x="108" y="27"/>
                  </a:cubicBezTo>
                  <a:cubicBezTo>
                    <a:pt x="98" y="26"/>
                    <a:pt x="98" y="26"/>
                    <a:pt x="98" y="26"/>
                  </a:cubicBezTo>
                  <a:cubicBezTo>
                    <a:pt x="93" y="29"/>
                    <a:pt x="93" y="29"/>
                    <a:pt x="93" y="29"/>
                  </a:cubicBezTo>
                  <a:cubicBezTo>
                    <a:pt x="84" y="28"/>
                    <a:pt x="84" y="28"/>
                    <a:pt x="84" y="28"/>
                  </a:cubicBezTo>
                  <a:cubicBezTo>
                    <a:pt x="84" y="28"/>
                    <a:pt x="78" y="29"/>
                    <a:pt x="76" y="29"/>
                  </a:cubicBezTo>
                  <a:cubicBezTo>
                    <a:pt x="73" y="29"/>
                    <a:pt x="73" y="29"/>
                    <a:pt x="73" y="29"/>
                  </a:cubicBezTo>
                  <a:cubicBezTo>
                    <a:pt x="72" y="28"/>
                    <a:pt x="70" y="27"/>
                    <a:pt x="70" y="27"/>
                  </a:cubicBezTo>
                  <a:cubicBezTo>
                    <a:pt x="70" y="27"/>
                    <a:pt x="67" y="27"/>
                    <a:pt x="66" y="28"/>
                  </a:cubicBezTo>
                  <a:cubicBezTo>
                    <a:pt x="66" y="29"/>
                    <a:pt x="66" y="29"/>
                    <a:pt x="65" y="30"/>
                  </a:cubicBezTo>
                  <a:cubicBezTo>
                    <a:pt x="64" y="33"/>
                    <a:pt x="64" y="33"/>
                    <a:pt x="64" y="33"/>
                  </a:cubicBezTo>
                  <a:cubicBezTo>
                    <a:pt x="67" y="37"/>
                    <a:pt x="67" y="37"/>
                    <a:pt x="67" y="37"/>
                  </a:cubicBezTo>
                  <a:cubicBezTo>
                    <a:pt x="63" y="41"/>
                    <a:pt x="63" y="41"/>
                    <a:pt x="63" y="41"/>
                  </a:cubicBezTo>
                  <a:cubicBezTo>
                    <a:pt x="63" y="42"/>
                    <a:pt x="62" y="42"/>
                    <a:pt x="62" y="42"/>
                  </a:cubicBezTo>
                  <a:cubicBezTo>
                    <a:pt x="62" y="43"/>
                    <a:pt x="61" y="44"/>
                    <a:pt x="60" y="44"/>
                  </a:cubicBezTo>
                  <a:cubicBezTo>
                    <a:pt x="59" y="44"/>
                    <a:pt x="59" y="44"/>
                    <a:pt x="58" y="45"/>
                  </a:cubicBezTo>
                  <a:cubicBezTo>
                    <a:pt x="55" y="48"/>
                    <a:pt x="55" y="48"/>
                    <a:pt x="55" y="48"/>
                  </a:cubicBezTo>
                  <a:cubicBezTo>
                    <a:pt x="52" y="49"/>
                    <a:pt x="52" y="49"/>
                    <a:pt x="52" y="49"/>
                  </a:cubicBezTo>
                  <a:cubicBezTo>
                    <a:pt x="50" y="49"/>
                    <a:pt x="50" y="49"/>
                    <a:pt x="50" y="49"/>
                  </a:cubicBezTo>
                  <a:cubicBezTo>
                    <a:pt x="49" y="50"/>
                    <a:pt x="49" y="50"/>
                    <a:pt x="49" y="50"/>
                  </a:cubicBezTo>
                  <a:cubicBezTo>
                    <a:pt x="48" y="55"/>
                    <a:pt x="48" y="55"/>
                    <a:pt x="48" y="55"/>
                  </a:cubicBezTo>
                  <a:cubicBezTo>
                    <a:pt x="45" y="57"/>
                    <a:pt x="45" y="57"/>
                    <a:pt x="45" y="57"/>
                  </a:cubicBezTo>
                  <a:cubicBezTo>
                    <a:pt x="44" y="60"/>
                    <a:pt x="44" y="60"/>
                    <a:pt x="44" y="60"/>
                  </a:cubicBezTo>
                  <a:cubicBezTo>
                    <a:pt x="45" y="61"/>
                    <a:pt x="46" y="64"/>
                    <a:pt x="45" y="65"/>
                  </a:cubicBezTo>
                  <a:cubicBezTo>
                    <a:pt x="44" y="66"/>
                    <a:pt x="43" y="67"/>
                    <a:pt x="43" y="67"/>
                  </a:cubicBezTo>
                  <a:cubicBezTo>
                    <a:pt x="43" y="67"/>
                    <a:pt x="42" y="67"/>
                    <a:pt x="42" y="67"/>
                  </a:cubicBezTo>
                  <a:cubicBezTo>
                    <a:pt x="42" y="73"/>
                    <a:pt x="42" y="73"/>
                    <a:pt x="42" y="73"/>
                  </a:cubicBezTo>
                  <a:cubicBezTo>
                    <a:pt x="38" y="76"/>
                    <a:pt x="38" y="76"/>
                    <a:pt x="38" y="76"/>
                  </a:cubicBezTo>
                  <a:cubicBezTo>
                    <a:pt x="38" y="81"/>
                    <a:pt x="38" y="81"/>
                    <a:pt x="38" y="81"/>
                  </a:cubicBezTo>
                  <a:cubicBezTo>
                    <a:pt x="38" y="82"/>
                    <a:pt x="39" y="84"/>
                    <a:pt x="38" y="86"/>
                  </a:cubicBezTo>
                  <a:cubicBezTo>
                    <a:pt x="37" y="87"/>
                    <a:pt x="37" y="87"/>
                    <a:pt x="36" y="87"/>
                  </a:cubicBezTo>
                  <a:cubicBezTo>
                    <a:pt x="35" y="87"/>
                    <a:pt x="35" y="88"/>
                    <a:pt x="35" y="88"/>
                  </a:cubicBezTo>
                  <a:cubicBezTo>
                    <a:pt x="35" y="94"/>
                    <a:pt x="35" y="94"/>
                    <a:pt x="35" y="94"/>
                  </a:cubicBezTo>
                  <a:cubicBezTo>
                    <a:pt x="33" y="98"/>
                    <a:pt x="33" y="98"/>
                    <a:pt x="33" y="98"/>
                  </a:cubicBezTo>
                  <a:cubicBezTo>
                    <a:pt x="33" y="100"/>
                    <a:pt x="33" y="100"/>
                    <a:pt x="33" y="100"/>
                  </a:cubicBezTo>
                  <a:cubicBezTo>
                    <a:pt x="32" y="103"/>
                    <a:pt x="32" y="103"/>
                    <a:pt x="32" y="103"/>
                  </a:cubicBezTo>
                  <a:cubicBezTo>
                    <a:pt x="32" y="107"/>
                    <a:pt x="32" y="107"/>
                    <a:pt x="32" y="107"/>
                  </a:cubicBezTo>
                  <a:cubicBezTo>
                    <a:pt x="29" y="111"/>
                    <a:pt x="29" y="111"/>
                    <a:pt x="29" y="111"/>
                  </a:cubicBezTo>
                  <a:cubicBezTo>
                    <a:pt x="27" y="117"/>
                    <a:pt x="27" y="117"/>
                    <a:pt x="27" y="117"/>
                  </a:cubicBezTo>
                  <a:cubicBezTo>
                    <a:pt x="20" y="124"/>
                    <a:pt x="20" y="124"/>
                    <a:pt x="20" y="124"/>
                  </a:cubicBezTo>
                  <a:cubicBezTo>
                    <a:pt x="16" y="124"/>
                    <a:pt x="16" y="124"/>
                    <a:pt x="16" y="124"/>
                  </a:cubicBezTo>
                  <a:cubicBezTo>
                    <a:pt x="16" y="124"/>
                    <a:pt x="16" y="124"/>
                    <a:pt x="16" y="124"/>
                  </a:cubicBezTo>
                  <a:cubicBezTo>
                    <a:pt x="16" y="124"/>
                    <a:pt x="16" y="124"/>
                    <a:pt x="16" y="124"/>
                  </a:cubicBezTo>
                  <a:cubicBezTo>
                    <a:pt x="16" y="125"/>
                    <a:pt x="15" y="126"/>
                    <a:pt x="14" y="127"/>
                  </a:cubicBezTo>
                  <a:cubicBezTo>
                    <a:pt x="12" y="128"/>
                    <a:pt x="9" y="129"/>
                    <a:pt x="8" y="129"/>
                  </a:cubicBezTo>
                  <a:cubicBezTo>
                    <a:pt x="8" y="129"/>
                    <a:pt x="8" y="129"/>
                    <a:pt x="8" y="129"/>
                  </a:cubicBezTo>
                  <a:cubicBezTo>
                    <a:pt x="6" y="129"/>
                    <a:pt x="6" y="129"/>
                    <a:pt x="6" y="129"/>
                  </a:cubicBezTo>
                  <a:cubicBezTo>
                    <a:pt x="0" y="128"/>
                    <a:pt x="0" y="128"/>
                    <a:pt x="0" y="128"/>
                  </a:cubicBezTo>
                  <a:cubicBezTo>
                    <a:pt x="1" y="129"/>
                    <a:pt x="1" y="129"/>
                    <a:pt x="1" y="129"/>
                  </a:cubicBezTo>
                  <a:cubicBezTo>
                    <a:pt x="1" y="129"/>
                    <a:pt x="2" y="129"/>
                    <a:pt x="3" y="129"/>
                  </a:cubicBezTo>
                  <a:cubicBezTo>
                    <a:pt x="4" y="130"/>
                    <a:pt x="4" y="130"/>
                    <a:pt x="5" y="130"/>
                  </a:cubicBezTo>
                  <a:cubicBezTo>
                    <a:pt x="6" y="130"/>
                    <a:pt x="7" y="131"/>
                    <a:pt x="7" y="131"/>
                  </a:cubicBezTo>
                  <a:cubicBezTo>
                    <a:pt x="7" y="131"/>
                    <a:pt x="7" y="131"/>
                    <a:pt x="7" y="131"/>
                  </a:cubicBezTo>
                  <a:cubicBezTo>
                    <a:pt x="8" y="132"/>
                    <a:pt x="8" y="132"/>
                    <a:pt x="8" y="132"/>
                  </a:cubicBezTo>
                  <a:cubicBezTo>
                    <a:pt x="11" y="134"/>
                    <a:pt x="12" y="136"/>
                    <a:pt x="13" y="136"/>
                  </a:cubicBezTo>
                  <a:cubicBezTo>
                    <a:pt x="13" y="136"/>
                    <a:pt x="14" y="136"/>
                    <a:pt x="15" y="137"/>
                  </a:cubicBezTo>
                  <a:cubicBezTo>
                    <a:pt x="16" y="136"/>
                    <a:pt x="16" y="136"/>
                    <a:pt x="16" y="136"/>
                  </a:cubicBezTo>
                  <a:cubicBezTo>
                    <a:pt x="18" y="138"/>
                    <a:pt x="18" y="138"/>
                    <a:pt x="18" y="138"/>
                  </a:cubicBezTo>
                  <a:cubicBezTo>
                    <a:pt x="18" y="139"/>
                    <a:pt x="19" y="141"/>
                    <a:pt x="18" y="143"/>
                  </a:cubicBezTo>
                  <a:cubicBezTo>
                    <a:pt x="18" y="143"/>
                    <a:pt x="18" y="144"/>
                    <a:pt x="18" y="145"/>
                  </a:cubicBezTo>
                  <a:cubicBezTo>
                    <a:pt x="18" y="145"/>
                    <a:pt x="18" y="145"/>
                    <a:pt x="18" y="145"/>
                  </a:cubicBezTo>
                  <a:cubicBezTo>
                    <a:pt x="18" y="145"/>
                    <a:pt x="18" y="145"/>
                    <a:pt x="18" y="145"/>
                  </a:cubicBezTo>
                  <a:cubicBezTo>
                    <a:pt x="18" y="145"/>
                    <a:pt x="18" y="145"/>
                    <a:pt x="18" y="145"/>
                  </a:cubicBezTo>
                  <a:cubicBezTo>
                    <a:pt x="18" y="145"/>
                    <a:pt x="18" y="146"/>
                    <a:pt x="18" y="146"/>
                  </a:cubicBezTo>
                  <a:cubicBezTo>
                    <a:pt x="19" y="147"/>
                    <a:pt x="20" y="148"/>
                    <a:pt x="20" y="150"/>
                  </a:cubicBezTo>
                  <a:cubicBezTo>
                    <a:pt x="20" y="150"/>
                    <a:pt x="20" y="150"/>
                    <a:pt x="20" y="151"/>
                  </a:cubicBezTo>
                  <a:cubicBezTo>
                    <a:pt x="21" y="151"/>
                    <a:pt x="22" y="152"/>
                    <a:pt x="22" y="152"/>
                  </a:cubicBezTo>
                  <a:cubicBezTo>
                    <a:pt x="23" y="152"/>
                    <a:pt x="24" y="153"/>
                    <a:pt x="26" y="153"/>
                  </a:cubicBezTo>
                  <a:cubicBezTo>
                    <a:pt x="27" y="154"/>
                    <a:pt x="28" y="154"/>
                    <a:pt x="28" y="154"/>
                  </a:cubicBezTo>
                  <a:cubicBezTo>
                    <a:pt x="29" y="155"/>
                    <a:pt x="29" y="155"/>
                    <a:pt x="30" y="155"/>
                  </a:cubicBezTo>
                  <a:cubicBezTo>
                    <a:pt x="31" y="156"/>
                    <a:pt x="31" y="156"/>
                    <a:pt x="31" y="156"/>
                  </a:cubicBezTo>
                  <a:cubicBezTo>
                    <a:pt x="32" y="156"/>
                    <a:pt x="32" y="156"/>
                    <a:pt x="33" y="156"/>
                  </a:cubicBezTo>
                  <a:cubicBezTo>
                    <a:pt x="34" y="157"/>
                    <a:pt x="35" y="157"/>
                    <a:pt x="35" y="157"/>
                  </a:cubicBezTo>
                  <a:cubicBezTo>
                    <a:pt x="36" y="157"/>
                    <a:pt x="36" y="157"/>
                    <a:pt x="36" y="157"/>
                  </a:cubicBezTo>
                  <a:cubicBezTo>
                    <a:pt x="37" y="157"/>
                    <a:pt x="37" y="157"/>
                    <a:pt x="38" y="157"/>
                  </a:cubicBezTo>
                  <a:cubicBezTo>
                    <a:pt x="40" y="157"/>
                    <a:pt x="41" y="158"/>
                    <a:pt x="41" y="158"/>
                  </a:cubicBezTo>
                  <a:cubicBezTo>
                    <a:pt x="43" y="158"/>
                    <a:pt x="43" y="158"/>
                    <a:pt x="43" y="158"/>
                  </a:cubicBezTo>
                  <a:cubicBezTo>
                    <a:pt x="43" y="161"/>
                    <a:pt x="43" y="161"/>
                    <a:pt x="43" y="161"/>
                  </a:cubicBezTo>
                  <a:cubicBezTo>
                    <a:pt x="41" y="165"/>
                    <a:pt x="41" y="165"/>
                    <a:pt x="41" y="165"/>
                  </a:cubicBezTo>
                  <a:cubicBezTo>
                    <a:pt x="42" y="167"/>
                    <a:pt x="42" y="167"/>
                    <a:pt x="42" y="167"/>
                  </a:cubicBezTo>
                  <a:cubicBezTo>
                    <a:pt x="42" y="167"/>
                    <a:pt x="43" y="167"/>
                    <a:pt x="44" y="167"/>
                  </a:cubicBezTo>
                  <a:cubicBezTo>
                    <a:pt x="44" y="167"/>
                    <a:pt x="44" y="167"/>
                    <a:pt x="45" y="168"/>
                  </a:cubicBezTo>
                  <a:cubicBezTo>
                    <a:pt x="45" y="168"/>
                    <a:pt x="45" y="168"/>
                    <a:pt x="45" y="168"/>
                  </a:cubicBezTo>
                  <a:cubicBezTo>
                    <a:pt x="47" y="168"/>
                    <a:pt x="47" y="168"/>
                    <a:pt x="47" y="168"/>
                  </a:cubicBezTo>
                  <a:cubicBezTo>
                    <a:pt x="50" y="170"/>
                    <a:pt x="50" y="170"/>
                    <a:pt x="50" y="170"/>
                  </a:cubicBezTo>
                  <a:cubicBezTo>
                    <a:pt x="48" y="172"/>
                    <a:pt x="48" y="172"/>
                    <a:pt x="48" y="172"/>
                  </a:cubicBezTo>
                  <a:cubicBezTo>
                    <a:pt x="46" y="175"/>
                    <a:pt x="45" y="175"/>
                    <a:pt x="45" y="175"/>
                  </a:cubicBezTo>
                  <a:cubicBezTo>
                    <a:pt x="45" y="175"/>
                    <a:pt x="45" y="175"/>
                    <a:pt x="45" y="175"/>
                  </a:cubicBezTo>
                  <a:cubicBezTo>
                    <a:pt x="45" y="175"/>
                    <a:pt x="45" y="175"/>
                    <a:pt x="45" y="175"/>
                  </a:cubicBezTo>
                  <a:cubicBezTo>
                    <a:pt x="45" y="175"/>
                    <a:pt x="45" y="175"/>
                    <a:pt x="45" y="175"/>
                  </a:cubicBezTo>
                  <a:cubicBezTo>
                    <a:pt x="46" y="175"/>
                    <a:pt x="47" y="175"/>
                    <a:pt x="49" y="176"/>
                  </a:cubicBezTo>
                  <a:cubicBezTo>
                    <a:pt x="50" y="176"/>
                    <a:pt x="50" y="177"/>
                    <a:pt x="51" y="178"/>
                  </a:cubicBezTo>
                  <a:cubicBezTo>
                    <a:pt x="51" y="179"/>
                    <a:pt x="51" y="179"/>
                    <a:pt x="51" y="180"/>
                  </a:cubicBezTo>
                  <a:cubicBezTo>
                    <a:pt x="52" y="179"/>
                    <a:pt x="53" y="179"/>
                    <a:pt x="54" y="179"/>
                  </a:cubicBezTo>
                  <a:cubicBezTo>
                    <a:pt x="55" y="179"/>
                    <a:pt x="55" y="179"/>
                    <a:pt x="55" y="179"/>
                  </a:cubicBezTo>
                  <a:cubicBezTo>
                    <a:pt x="55" y="179"/>
                    <a:pt x="55" y="179"/>
                    <a:pt x="55" y="179"/>
                  </a:cubicBezTo>
                  <a:cubicBezTo>
                    <a:pt x="56" y="179"/>
                    <a:pt x="56" y="179"/>
                    <a:pt x="56" y="179"/>
                  </a:cubicBezTo>
                  <a:cubicBezTo>
                    <a:pt x="57" y="179"/>
                    <a:pt x="61" y="179"/>
                    <a:pt x="61" y="179"/>
                  </a:cubicBezTo>
                  <a:cubicBezTo>
                    <a:pt x="61" y="179"/>
                    <a:pt x="61" y="179"/>
                    <a:pt x="61" y="179"/>
                  </a:cubicBezTo>
                  <a:cubicBezTo>
                    <a:pt x="61" y="179"/>
                    <a:pt x="61" y="179"/>
                    <a:pt x="61" y="179"/>
                  </a:cubicBezTo>
                  <a:cubicBezTo>
                    <a:pt x="62" y="179"/>
                    <a:pt x="63" y="180"/>
                    <a:pt x="64" y="182"/>
                  </a:cubicBezTo>
                  <a:cubicBezTo>
                    <a:pt x="64" y="182"/>
                    <a:pt x="65" y="183"/>
                    <a:pt x="66" y="183"/>
                  </a:cubicBezTo>
                  <a:cubicBezTo>
                    <a:pt x="66" y="183"/>
                    <a:pt x="66" y="183"/>
                    <a:pt x="66" y="183"/>
                  </a:cubicBezTo>
                  <a:cubicBezTo>
                    <a:pt x="66" y="182"/>
                    <a:pt x="66" y="182"/>
                    <a:pt x="66" y="182"/>
                  </a:cubicBezTo>
                  <a:cubicBezTo>
                    <a:pt x="66" y="182"/>
                    <a:pt x="68" y="180"/>
                    <a:pt x="68" y="180"/>
                  </a:cubicBezTo>
                  <a:cubicBezTo>
                    <a:pt x="69" y="179"/>
                    <a:pt x="69" y="179"/>
                    <a:pt x="69" y="178"/>
                  </a:cubicBezTo>
                  <a:cubicBezTo>
                    <a:pt x="70" y="177"/>
                    <a:pt x="70" y="176"/>
                    <a:pt x="71" y="176"/>
                  </a:cubicBezTo>
                  <a:cubicBezTo>
                    <a:pt x="71" y="175"/>
                    <a:pt x="72" y="175"/>
                    <a:pt x="73" y="174"/>
                  </a:cubicBezTo>
                  <a:cubicBezTo>
                    <a:pt x="75" y="173"/>
                    <a:pt x="75" y="173"/>
                    <a:pt x="75" y="173"/>
                  </a:cubicBezTo>
                  <a:cubicBezTo>
                    <a:pt x="75" y="173"/>
                    <a:pt x="75" y="173"/>
                    <a:pt x="75" y="173"/>
                  </a:cubicBezTo>
                  <a:cubicBezTo>
                    <a:pt x="76" y="173"/>
                    <a:pt x="77" y="173"/>
                    <a:pt x="77" y="174"/>
                  </a:cubicBezTo>
                  <a:cubicBezTo>
                    <a:pt x="78" y="174"/>
                    <a:pt x="79" y="175"/>
                    <a:pt x="80" y="176"/>
                  </a:cubicBezTo>
                  <a:cubicBezTo>
                    <a:pt x="80" y="176"/>
                    <a:pt x="80" y="176"/>
                    <a:pt x="81" y="176"/>
                  </a:cubicBezTo>
                  <a:cubicBezTo>
                    <a:pt x="84" y="176"/>
                    <a:pt x="84" y="176"/>
                    <a:pt x="84" y="176"/>
                  </a:cubicBezTo>
                  <a:cubicBezTo>
                    <a:pt x="85" y="176"/>
                    <a:pt x="85" y="176"/>
                    <a:pt x="85" y="176"/>
                  </a:cubicBezTo>
                  <a:cubicBezTo>
                    <a:pt x="88" y="177"/>
                    <a:pt x="88" y="179"/>
                    <a:pt x="88" y="179"/>
                  </a:cubicBezTo>
                  <a:cubicBezTo>
                    <a:pt x="88" y="181"/>
                    <a:pt x="86" y="182"/>
                    <a:pt x="84" y="183"/>
                  </a:cubicBezTo>
                  <a:cubicBezTo>
                    <a:pt x="84" y="183"/>
                    <a:pt x="84" y="183"/>
                    <a:pt x="84" y="183"/>
                  </a:cubicBezTo>
                  <a:cubicBezTo>
                    <a:pt x="84" y="183"/>
                    <a:pt x="83" y="183"/>
                    <a:pt x="83" y="182"/>
                  </a:cubicBezTo>
                  <a:cubicBezTo>
                    <a:pt x="79" y="184"/>
                    <a:pt x="79" y="184"/>
                    <a:pt x="79" y="184"/>
                  </a:cubicBezTo>
                  <a:cubicBezTo>
                    <a:pt x="83" y="186"/>
                    <a:pt x="83" y="187"/>
                    <a:pt x="83" y="188"/>
                  </a:cubicBezTo>
                  <a:cubicBezTo>
                    <a:pt x="83" y="188"/>
                    <a:pt x="83" y="188"/>
                    <a:pt x="83" y="189"/>
                  </a:cubicBezTo>
                  <a:cubicBezTo>
                    <a:pt x="84" y="189"/>
                    <a:pt x="84" y="189"/>
                    <a:pt x="84" y="189"/>
                  </a:cubicBezTo>
                  <a:cubicBezTo>
                    <a:pt x="85" y="189"/>
                    <a:pt x="85" y="189"/>
                    <a:pt x="85" y="189"/>
                  </a:cubicBezTo>
                  <a:cubicBezTo>
                    <a:pt x="87" y="188"/>
                    <a:pt x="87" y="188"/>
                    <a:pt x="87" y="188"/>
                  </a:cubicBezTo>
                  <a:cubicBezTo>
                    <a:pt x="87" y="191"/>
                    <a:pt x="87" y="191"/>
                    <a:pt x="87" y="191"/>
                  </a:cubicBezTo>
                  <a:cubicBezTo>
                    <a:pt x="87" y="196"/>
                    <a:pt x="87" y="196"/>
                    <a:pt x="87" y="196"/>
                  </a:cubicBezTo>
                  <a:cubicBezTo>
                    <a:pt x="88" y="196"/>
                    <a:pt x="88" y="196"/>
                    <a:pt x="89" y="196"/>
                  </a:cubicBezTo>
                  <a:cubicBezTo>
                    <a:pt x="92" y="196"/>
                    <a:pt x="94" y="197"/>
                    <a:pt x="96" y="197"/>
                  </a:cubicBezTo>
                  <a:cubicBezTo>
                    <a:pt x="97" y="198"/>
                    <a:pt x="98" y="198"/>
                    <a:pt x="98" y="198"/>
                  </a:cubicBezTo>
                  <a:cubicBezTo>
                    <a:pt x="99" y="198"/>
                    <a:pt x="100" y="199"/>
                    <a:pt x="100" y="199"/>
                  </a:cubicBezTo>
                  <a:cubicBezTo>
                    <a:pt x="100" y="201"/>
                    <a:pt x="98" y="202"/>
                    <a:pt x="95" y="204"/>
                  </a:cubicBezTo>
                  <a:cubicBezTo>
                    <a:pt x="95" y="204"/>
                    <a:pt x="95" y="205"/>
                    <a:pt x="94" y="205"/>
                  </a:cubicBezTo>
                  <a:cubicBezTo>
                    <a:pt x="95" y="205"/>
                    <a:pt x="95" y="205"/>
                    <a:pt x="95" y="205"/>
                  </a:cubicBezTo>
                  <a:cubicBezTo>
                    <a:pt x="95" y="205"/>
                    <a:pt x="95" y="205"/>
                    <a:pt x="95" y="205"/>
                  </a:cubicBezTo>
                  <a:cubicBezTo>
                    <a:pt x="95" y="205"/>
                    <a:pt x="96" y="206"/>
                    <a:pt x="96" y="206"/>
                  </a:cubicBezTo>
                  <a:cubicBezTo>
                    <a:pt x="96" y="208"/>
                    <a:pt x="96" y="209"/>
                    <a:pt x="97" y="209"/>
                  </a:cubicBezTo>
                  <a:cubicBezTo>
                    <a:pt x="99" y="210"/>
                    <a:pt x="101" y="209"/>
                    <a:pt x="103" y="208"/>
                  </a:cubicBezTo>
                  <a:cubicBezTo>
                    <a:pt x="105" y="207"/>
                    <a:pt x="107" y="206"/>
                    <a:pt x="109" y="206"/>
                  </a:cubicBezTo>
                  <a:cubicBezTo>
                    <a:pt x="111" y="206"/>
                    <a:pt x="113" y="206"/>
                    <a:pt x="115" y="207"/>
                  </a:cubicBezTo>
                  <a:cubicBezTo>
                    <a:pt x="117" y="207"/>
                    <a:pt x="118" y="207"/>
                    <a:pt x="119" y="207"/>
                  </a:cubicBezTo>
                  <a:cubicBezTo>
                    <a:pt x="120" y="205"/>
                    <a:pt x="124" y="206"/>
                    <a:pt x="128" y="207"/>
                  </a:cubicBezTo>
                  <a:cubicBezTo>
                    <a:pt x="133" y="208"/>
                    <a:pt x="139" y="208"/>
                    <a:pt x="142" y="206"/>
                  </a:cubicBezTo>
                  <a:cubicBezTo>
                    <a:pt x="146" y="204"/>
                    <a:pt x="162" y="202"/>
                    <a:pt x="168" y="202"/>
                  </a:cubicBezTo>
                  <a:cubicBezTo>
                    <a:pt x="169" y="202"/>
                    <a:pt x="169" y="202"/>
                    <a:pt x="169" y="202"/>
                  </a:cubicBezTo>
                  <a:cubicBezTo>
                    <a:pt x="182" y="201"/>
                    <a:pt x="183" y="201"/>
                    <a:pt x="189" y="197"/>
                  </a:cubicBezTo>
                  <a:cubicBezTo>
                    <a:pt x="189" y="197"/>
                    <a:pt x="193" y="188"/>
                    <a:pt x="195" y="185"/>
                  </a:cubicBezTo>
                  <a:cubicBezTo>
                    <a:pt x="196" y="182"/>
                    <a:pt x="199" y="180"/>
                    <a:pt x="202" y="179"/>
                  </a:cubicBezTo>
                  <a:cubicBezTo>
                    <a:pt x="204" y="178"/>
                    <a:pt x="205" y="177"/>
                    <a:pt x="207" y="176"/>
                  </a:cubicBezTo>
                  <a:cubicBezTo>
                    <a:pt x="211" y="173"/>
                    <a:pt x="221" y="170"/>
                    <a:pt x="224" y="169"/>
                  </a:cubicBezTo>
                  <a:cubicBezTo>
                    <a:pt x="226" y="169"/>
                    <a:pt x="243" y="170"/>
                    <a:pt x="243" y="170"/>
                  </a:cubicBezTo>
                  <a:cubicBezTo>
                    <a:pt x="252" y="168"/>
                    <a:pt x="252" y="168"/>
                    <a:pt x="252" y="168"/>
                  </a:cubicBezTo>
                  <a:cubicBezTo>
                    <a:pt x="252" y="169"/>
                    <a:pt x="254" y="174"/>
                    <a:pt x="256" y="174"/>
                  </a:cubicBezTo>
                  <a:cubicBezTo>
                    <a:pt x="267" y="176"/>
                    <a:pt x="272" y="175"/>
                    <a:pt x="273" y="170"/>
                  </a:cubicBezTo>
                  <a:cubicBezTo>
                    <a:pt x="273" y="168"/>
                    <a:pt x="272" y="165"/>
                    <a:pt x="271" y="162"/>
                  </a:cubicBezTo>
                  <a:cubicBezTo>
                    <a:pt x="270" y="159"/>
                    <a:pt x="269" y="156"/>
                    <a:pt x="269" y="154"/>
                  </a:cubicBezTo>
                  <a:cubicBezTo>
                    <a:pt x="269" y="150"/>
                    <a:pt x="270" y="146"/>
                    <a:pt x="271" y="143"/>
                  </a:cubicBezTo>
                  <a:cubicBezTo>
                    <a:pt x="271" y="140"/>
                    <a:pt x="272" y="137"/>
                    <a:pt x="272" y="134"/>
                  </a:cubicBezTo>
                  <a:cubicBezTo>
                    <a:pt x="271" y="132"/>
                    <a:pt x="273" y="128"/>
                    <a:pt x="275" y="125"/>
                  </a:cubicBezTo>
                  <a:cubicBezTo>
                    <a:pt x="277" y="122"/>
                    <a:pt x="281" y="121"/>
                    <a:pt x="285" y="121"/>
                  </a:cubicBezTo>
                  <a:cubicBezTo>
                    <a:pt x="288" y="120"/>
                    <a:pt x="291" y="120"/>
                    <a:pt x="292" y="118"/>
                  </a:cubicBezTo>
                  <a:lnTo>
                    <a:pt x="287" y="96"/>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7" name="Freeform 215"/>
            <p:cNvSpPr>
              <a:spLocks/>
            </p:cNvSpPr>
            <p:nvPr/>
          </p:nvSpPr>
          <p:spPr bwMode="auto">
            <a:xfrm>
              <a:off x="5930620" y="1779314"/>
              <a:ext cx="733626" cy="1245863"/>
            </a:xfrm>
            <a:custGeom>
              <a:avLst/>
              <a:gdLst>
                <a:gd name="T0" fmla="*/ 222 w 253"/>
                <a:gd name="T1" fmla="*/ 377 h 456"/>
                <a:gd name="T2" fmla="*/ 247 w 253"/>
                <a:gd name="T3" fmla="*/ 312 h 456"/>
                <a:gd name="T4" fmla="*/ 235 w 253"/>
                <a:gd name="T5" fmla="*/ 269 h 456"/>
                <a:gd name="T6" fmla="*/ 216 w 253"/>
                <a:gd name="T7" fmla="*/ 241 h 456"/>
                <a:gd name="T8" fmla="*/ 204 w 253"/>
                <a:gd name="T9" fmla="*/ 226 h 456"/>
                <a:gd name="T10" fmla="*/ 200 w 253"/>
                <a:gd name="T11" fmla="*/ 214 h 456"/>
                <a:gd name="T12" fmla="*/ 185 w 253"/>
                <a:gd name="T13" fmla="*/ 195 h 456"/>
                <a:gd name="T14" fmla="*/ 186 w 253"/>
                <a:gd name="T15" fmla="*/ 170 h 456"/>
                <a:gd name="T16" fmla="*/ 161 w 253"/>
                <a:gd name="T17" fmla="*/ 137 h 456"/>
                <a:gd name="T18" fmla="*/ 160 w 253"/>
                <a:gd name="T19" fmla="*/ 100 h 456"/>
                <a:gd name="T20" fmla="*/ 141 w 253"/>
                <a:gd name="T21" fmla="*/ 79 h 456"/>
                <a:gd name="T22" fmla="*/ 128 w 253"/>
                <a:gd name="T23" fmla="*/ 52 h 456"/>
                <a:gd name="T24" fmla="*/ 123 w 253"/>
                <a:gd name="T25" fmla="*/ 44 h 456"/>
                <a:gd name="T26" fmla="*/ 129 w 253"/>
                <a:gd name="T27" fmla="*/ 38 h 456"/>
                <a:gd name="T28" fmla="*/ 128 w 253"/>
                <a:gd name="T29" fmla="*/ 19 h 456"/>
                <a:gd name="T30" fmla="*/ 104 w 253"/>
                <a:gd name="T31" fmla="*/ 1 h 456"/>
                <a:gd name="T32" fmla="*/ 82 w 253"/>
                <a:gd name="T33" fmla="*/ 20 h 456"/>
                <a:gd name="T34" fmla="*/ 79 w 253"/>
                <a:gd name="T35" fmla="*/ 58 h 456"/>
                <a:gd name="T36" fmla="*/ 74 w 253"/>
                <a:gd name="T37" fmla="*/ 73 h 456"/>
                <a:gd name="T38" fmla="*/ 59 w 253"/>
                <a:gd name="T39" fmla="*/ 70 h 456"/>
                <a:gd name="T40" fmla="*/ 27 w 253"/>
                <a:gd name="T41" fmla="*/ 68 h 456"/>
                <a:gd name="T42" fmla="*/ 7 w 253"/>
                <a:gd name="T43" fmla="*/ 63 h 456"/>
                <a:gd name="T44" fmla="*/ 7 w 253"/>
                <a:gd name="T45" fmla="*/ 74 h 456"/>
                <a:gd name="T46" fmla="*/ 26 w 253"/>
                <a:gd name="T47" fmla="*/ 85 h 456"/>
                <a:gd name="T48" fmla="*/ 51 w 253"/>
                <a:gd name="T49" fmla="*/ 99 h 456"/>
                <a:gd name="T50" fmla="*/ 63 w 253"/>
                <a:gd name="T51" fmla="*/ 127 h 456"/>
                <a:gd name="T52" fmla="*/ 74 w 253"/>
                <a:gd name="T53" fmla="*/ 159 h 456"/>
                <a:gd name="T54" fmla="*/ 81 w 253"/>
                <a:gd name="T55" fmla="*/ 184 h 456"/>
                <a:gd name="T56" fmla="*/ 109 w 253"/>
                <a:gd name="T57" fmla="*/ 205 h 456"/>
                <a:gd name="T58" fmla="*/ 113 w 253"/>
                <a:gd name="T59" fmla="*/ 228 h 456"/>
                <a:gd name="T60" fmla="*/ 102 w 253"/>
                <a:gd name="T61" fmla="*/ 246 h 456"/>
                <a:gd name="T62" fmla="*/ 88 w 253"/>
                <a:gd name="T63" fmla="*/ 280 h 456"/>
                <a:gd name="T64" fmla="*/ 81 w 253"/>
                <a:gd name="T65" fmla="*/ 293 h 456"/>
                <a:gd name="T66" fmla="*/ 73 w 253"/>
                <a:gd name="T67" fmla="*/ 307 h 456"/>
                <a:gd name="T68" fmla="*/ 67 w 253"/>
                <a:gd name="T69" fmla="*/ 314 h 456"/>
                <a:gd name="T70" fmla="*/ 54 w 253"/>
                <a:gd name="T71" fmla="*/ 313 h 456"/>
                <a:gd name="T72" fmla="*/ 61 w 253"/>
                <a:gd name="T73" fmla="*/ 327 h 456"/>
                <a:gd name="T74" fmla="*/ 58 w 253"/>
                <a:gd name="T75" fmla="*/ 348 h 456"/>
                <a:gd name="T76" fmla="*/ 65 w 253"/>
                <a:gd name="T77" fmla="*/ 369 h 456"/>
                <a:gd name="T78" fmla="*/ 71 w 253"/>
                <a:gd name="T79" fmla="*/ 387 h 456"/>
                <a:gd name="T80" fmla="*/ 73 w 253"/>
                <a:gd name="T81" fmla="*/ 400 h 456"/>
                <a:gd name="T82" fmla="*/ 73 w 253"/>
                <a:gd name="T83" fmla="*/ 414 h 456"/>
                <a:gd name="T84" fmla="*/ 76 w 253"/>
                <a:gd name="T85" fmla="*/ 420 h 456"/>
                <a:gd name="T86" fmla="*/ 75 w 253"/>
                <a:gd name="T87" fmla="*/ 429 h 456"/>
                <a:gd name="T88" fmla="*/ 83 w 253"/>
                <a:gd name="T89" fmla="*/ 433 h 456"/>
                <a:gd name="T90" fmla="*/ 89 w 253"/>
                <a:gd name="T91" fmla="*/ 436 h 456"/>
                <a:gd name="T92" fmla="*/ 95 w 253"/>
                <a:gd name="T93" fmla="*/ 436 h 456"/>
                <a:gd name="T94" fmla="*/ 98 w 253"/>
                <a:gd name="T95" fmla="*/ 442 h 456"/>
                <a:gd name="T96" fmla="*/ 104 w 253"/>
                <a:gd name="T97" fmla="*/ 447 h 456"/>
                <a:gd name="T98" fmla="*/ 104 w 253"/>
                <a:gd name="T99" fmla="*/ 454 h 456"/>
                <a:gd name="T100" fmla="*/ 113 w 253"/>
                <a:gd name="T101" fmla="*/ 447 h 456"/>
                <a:gd name="T102" fmla="*/ 116 w 253"/>
                <a:gd name="T103" fmla="*/ 453 h 456"/>
                <a:gd name="T104" fmla="*/ 122 w 253"/>
                <a:gd name="T105" fmla="*/ 455 h 456"/>
                <a:gd name="T106" fmla="*/ 127 w 253"/>
                <a:gd name="T107" fmla="*/ 452 h 456"/>
                <a:gd name="T108" fmla="*/ 139 w 253"/>
                <a:gd name="T109" fmla="*/ 443 h 456"/>
                <a:gd name="T110" fmla="*/ 153 w 253"/>
                <a:gd name="T111" fmla="*/ 439 h 456"/>
                <a:gd name="T112" fmla="*/ 167 w 253"/>
                <a:gd name="T113" fmla="*/ 428 h 456"/>
                <a:gd name="T114" fmla="*/ 176 w 253"/>
                <a:gd name="T115" fmla="*/ 420 h 456"/>
                <a:gd name="T116" fmla="*/ 188 w 253"/>
                <a:gd name="T117" fmla="*/ 414 h 456"/>
                <a:gd name="T118" fmla="*/ 201 w 253"/>
                <a:gd name="T119" fmla="*/ 406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3" h="456">
                  <a:moveTo>
                    <a:pt x="207" y="405"/>
                  </a:moveTo>
                  <a:cubicBezTo>
                    <a:pt x="210" y="399"/>
                    <a:pt x="210" y="399"/>
                    <a:pt x="210" y="399"/>
                  </a:cubicBezTo>
                  <a:cubicBezTo>
                    <a:pt x="212" y="395"/>
                    <a:pt x="212" y="395"/>
                    <a:pt x="212" y="395"/>
                  </a:cubicBezTo>
                  <a:cubicBezTo>
                    <a:pt x="212" y="395"/>
                    <a:pt x="212" y="395"/>
                    <a:pt x="212" y="395"/>
                  </a:cubicBezTo>
                  <a:cubicBezTo>
                    <a:pt x="215" y="390"/>
                    <a:pt x="216" y="388"/>
                    <a:pt x="216" y="387"/>
                  </a:cubicBezTo>
                  <a:cubicBezTo>
                    <a:pt x="217" y="385"/>
                    <a:pt x="218" y="382"/>
                    <a:pt x="218" y="381"/>
                  </a:cubicBezTo>
                  <a:cubicBezTo>
                    <a:pt x="219" y="379"/>
                    <a:pt x="221" y="378"/>
                    <a:pt x="222" y="377"/>
                  </a:cubicBezTo>
                  <a:cubicBezTo>
                    <a:pt x="224" y="370"/>
                    <a:pt x="224" y="370"/>
                    <a:pt x="224" y="370"/>
                  </a:cubicBezTo>
                  <a:cubicBezTo>
                    <a:pt x="234" y="349"/>
                    <a:pt x="234" y="349"/>
                    <a:pt x="234" y="349"/>
                  </a:cubicBezTo>
                  <a:cubicBezTo>
                    <a:pt x="235" y="348"/>
                    <a:pt x="236" y="343"/>
                    <a:pt x="237" y="341"/>
                  </a:cubicBezTo>
                  <a:cubicBezTo>
                    <a:pt x="237" y="341"/>
                    <a:pt x="239" y="335"/>
                    <a:pt x="239" y="334"/>
                  </a:cubicBezTo>
                  <a:cubicBezTo>
                    <a:pt x="239" y="333"/>
                    <a:pt x="241" y="327"/>
                    <a:pt x="241" y="327"/>
                  </a:cubicBezTo>
                  <a:cubicBezTo>
                    <a:pt x="242" y="326"/>
                    <a:pt x="244" y="318"/>
                    <a:pt x="244" y="317"/>
                  </a:cubicBezTo>
                  <a:cubicBezTo>
                    <a:pt x="244" y="314"/>
                    <a:pt x="246" y="313"/>
                    <a:pt x="247" y="312"/>
                  </a:cubicBezTo>
                  <a:cubicBezTo>
                    <a:pt x="248" y="312"/>
                    <a:pt x="248" y="312"/>
                    <a:pt x="248" y="312"/>
                  </a:cubicBezTo>
                  <a:cubicBezTo>
                    <a:pt x="248" y="311"/>
                    <a:pt x="250" y="306"/>
                    <a:pt x="251" y="303"/>
                  </a:cubicBezTo>
                  <a:cubicBezTo>
                    <a:pt x="251" y="303"/>
                    <a:pt x="252" y="298"/>
                    <a:pt x="253" y="288"/>
                  </a:cubicBezTo>
                  <a:cubicBezTo>
                    <a:pt x="251" y="280"/>
                    <a:pt x="251" y="280"/>
                    <a:pt x="251" y="280"/>
                  </a:cubicBezTo>
                  <a:cubicBezTo>
                    <a:pt x="248" y="277"/>
                    <a:pt x="248" y="277"/>
                    <a:pt x="248" y="277"/>
                  </a:cubicBezTo>
                  <a:cubicBezTo>
                    <a:pt x="243" y="274"/>
                    <a:pt x="243" y="274"/>
                    <a:pt x="243" y="274"/>
                  </a:cubicBezTo>
                  <a:cubicBezTo>
                    <a:pt x="237" y="271"/>
                    <a:pt x="236" y="270"/>
                    <a:pt x="235" y="269"/>
                  </a:cubicBezTo>
                  <a:cubicBezTo>
                    <a:pt x="235" y="269"/>
                    <a:pt x="234" y="268"/>
                    <a:pt x="232" y="268"/>
                  </a:cubicBezTo>
                  <a:cubicBezTo>
                    <a:pt x="231" y="267"/>
                    <a:pt x="227" y="266"/>
                    <a:pt x="226" y="266"/>
                  </a:cubicBezTo>
                  <a:cubicBezTo>
                    <a:pt x="225" y="266"/>
                    <a:pt x="224" y="266"/>
                    <a:pt x="219" y="262"/>
                  </a:cubicBezTo>
                  <a:cubicBezTo>
                    <a:pt x="216" y="260"/>
                    <a:pt x="213" y="256"/>
                    <a:pt x="212" y="256"/>
                  </a:cubicBezTo>
                  <a:cubicBezTo>
                    <a:pt x="212" y="255"/>
                    <a:pt x="212" y="255"/>
                    <a:pt x="212" y="255"/>
                  </a:cubicBezTo>
                  <a:cubicBezTo>
                    <a:pt x="215" y="247"/>
                    <a:pt x="215" y="247"/>
                    <a:pt x="215" y="247"/>
                  </a:cubicBezTo>
                  <a:cubicBezTo>
                    <a:pt x="216" y="246"/>
                    <a:pt x="216" y="242"/>
                    <a:pt x="216" y="241"/>
                  </a:cubicBezTo>
                  <a:cubicBezTo>
                    <a:pt x="216" y="241"/>
                    <a:pt x="216" y="239"/>
                    <a:pt x="216" y="239"/>
                  </a:cubicBezTo>
                  <a:cubicBezTo>
                    <a:pt x="215" y="236"/>
                    <a:pt x="215" y="236"/>
                    <a:pt x="215" y="236"/>
                  </a:cubicBezTo>
                  <a:cubicBezTo>
                    <a:pt x="214" y="233"/>
                    <a:pt x="214" y="233"/>
                    <a:pt x="214" y="233"/>
                  </a:cubicBezTo>
                  <a:cubicBezTo>
                    <a:pt x="213" y="233"/>
                    <a:pt x="211" y="233"/>
                    <a:pt x="210" y="233"/>
                  </a:cubicBezTo>
                  <a:cubicBezTo>
                    <a:pt x="207" y="233"/>
                    <a:pt x="207" y="230"/>
                    <a:pt x="206" y="228"/>
                  </a:cubicBezTo>
                  <a:cubicBezTo>
                    <a:pt x="206" y="228"/>
                    <a:pt x="206" y="228"/>
                    <a:pt x="205" y="227"/>
                  </a:cubicBezTo>
                  <a:cubicBezTo>
                    <a:pt x="205" y="227"/>
                    <a:pt x="204" y="227"/>
                    <a:pt x="204" y="226"/>
                  </a:cubicBezTo>
                  <a:cubicBezTo>
                    <a:pt x="201" y="225"/>
                    <a:pt x="200" y="222"/>
                    <a:pt x="200" y="221"/>
                  </a:cubicBezTo>
                  <a:cubicBezTo>
                    <a:pt x="200" y="221"/>
                    <a:pt x="200" y="221"/>
                    <a:pt x="200" y="221"/>
                  </a:cubicBezTo>
                  <a:cubicBezTo>
                    <a:pt x="202" y="216"/>
                    <a:pt x="202" y="216"/>
                    <a:pt x="202" y="216"/>
                  </a:cubicBezTo>
                  <a:cubicBezTo>
                    <a:pt x="201" y="215"/>
                    <a:pt x="201" y="214"/>
                    <a:pt x="201" y="214"/>
                  </a:cubicBezTo>
                  <a:cubicBezTo>
                    <a:pt x="201" y="214"/>
                    <a:pt x="201" y="214"/>
                    <a:pt x="201" y="214"/>
                  </a:cubicBezTo>
                  <a:cubicBezTo>
                    <a:pt x="200" y="214"/>
                    <a:pt x="200" y="214"/>
                    <a:pt x="200" y="214"/>
                  </a:cubicBezTo>
                  <a:cubicBezTo>
                    <a:pt x="200" y="214"/>
                    <a:pt x="200" y="214"/>
                    <a:pt x="200" y="214"/>
                  </a:cubicBezTo>
                  <a:cubicBezTo>
                    <a:pt x="200" y="214"/>
                    <a:pt x="200" y="214"/>
                    <a:pt x="200" y="214"/>
                  </a:cubicBezTo>
                  <a:cubicBezTo>
                    <a:pt x="193" y="213"/>
                    <a:pt x="193" y="213"/>
                    <a:pt x="193" y="213"/>
                  </a:cubicBezTo>
                  <a:cubicBezTo>
                    <a:pt x="187" y="205"/>
                    <a:pt x="187" y="205"/>
                    <a:pt x="187" y="205"/>
                  </a:cubicBezTo>
                  <a:cubicBezTo>
                    <a:pt x="188" y="204"/>
                    <a:pt x="188" y="204"/>
                    <a:pt x="188" y="204"/>
                  </a:cubicBezTo>
                  <a:cubicBezTo>
                    <a:pt x="188" y="204"/>
                    <a:pt x="189" y="198"/>
                    <a:pt x="189" y="197"/>
                  </a:cubicBezTo>
                  <a:cubicBezTo>
                    <a:pt x="189" y="197"/>
                    <a:pt x="189" y="197"/>
                    <a:pt x="189" y="197"/>
                  </a:cubicBezTo>
                  <a:cubicBezTo>
                    <a:pt x="185" y="195"/>
                    <a:pt x="185" y="195"/>
                    <a:pt x="185" y="195"/>
                  </a:cubicBezTo>
                  <a:cubicBezTo>
                    <a:pt x="187" y="191"/>
                    <a:pt x="187" y="191"/>
                    <a:pt x="187" y="191"/>
                  </a:cubicBezTo>
                  <a:cubicBezTo>
                    <a:pt x="184" y="186"/>
                    <a:pt x="184" y="186"/>
                    <a:pt x="184" y="186"/>
                  </a:cubicBezTo>
                  <a:cubicBezTo>
                    <a:pt x="185" y="183"/>
                    <a:pt x="185" y="183"/>
                    <a:pt x="185" y="183"/>
                  </a:cubicBezTo>
                  <a:cubicBezTo>
                    <a:pt x="183" y="180"/>
                    <a:pt x="183" y="180"/>
                    <a:pt x="183" y="180"/>
                  </a:cubicBezTo>
                  <a:cubicBezTo>
                    <a:pt x="182" y="177"/>
                    <a:pt x="182" y="177"/>
                    <a:pt x="182" y="177"/>
                  </a:cubicBezTo>
                  <a:cubicBezTo>
                    <a:pt x="186" y="172"/>
                    <a:pt x="186" y="172"/>
                    <a:pt x="186" y="172"/>
                  </a:cubicBezTo>
                  <a:cubicBezTo>
                    <a:pt x="186" y="170"/>
                    <a:pt x="186" y="170"/>
                    <a:pt x="186" y="170"/>
                  </a:cubicBezTo>
                  <a:cubicBezTo>
                    <a:pt x="183" y="164"/>
                    <a:pt x="183" y="164"/>
                    <a:pt x="183" y="164"/>
                  </a:cubicBezTo>
                  <a:cubicBezTo>
                    <a:pt x="181" y="162"/>
                    <a:pt x="181" y="160"/>
                    <a:pt x="181" y="160"/>
                  </a:cubicBezTo>
                  <a:cubicBezTo>
                    <a:pt x="180" y="159"/>
                    <a:pt x="178" y="158"/>
                    <a:pt x="175" y="156"/>
                  </a:cubicBezTo>
                  <a:cubicBezTo>
                    <a:pt x="175" y="156"/>
                    <a:pt x="175" y="156"/>
                    <a:pt x="175" y="156"/>
                  </a:cubicBezTo>
                  <a:cubicBezTo>
                    <a:pt x="172" y="149"/>
                    <a:pt x="172" y="149"/>
                    <a:pt x="172" y="149"/>
                  </a:cubicBezTo>
                  <a:cubicBezTo>
                    <a:pt x="166" y="143"/>
                    <a:pt x="166" y="143"/>
                    <a:pt x="166" y="143"/>
                  </a:cubicBezTo>
                  <a:cubicBezTo>
                    <a:pt x="161" y="137"/>
                    <a:pt x="161" y="137"/>
                    <a:pt x="161" y="137"/>
                  </a:cubicBezTo>
                  <a:cubicBezTo>
                    <a:pt x="158" y="134"/>
                    <a:pt x="158" y="134"/>
                    <a:pt x="158" y="134"/>
                  </a:cubicBezTo>
                  <a:cubicBezTo>
                    <a:pt x="155" y="126"/>
                    <a:pt x="155" y="126"/>
                    <a:pt x="155" y="126"/>
                  </a:cubicBezTo>
                  <a:cubicBezTo>
                    <a:pt x="155" y="124"/>
                    <a:pt x="155" y="124"/>
                    <a:pt x="155" y="124"/>
                  </a:cubicBezTo>
                  <a:cubicBezTo>
                    <a:pt x="155" y="123"/>
                    <a:pt x="156" y="120"/>
                    <a:pt x="156" y="119"/>
                  </a:cubicBezTo>
                  <a:cubicBezTo>
                    <a:pt x="156" y="118"/>
                    <a:pt x="156" y="118"/>
                    <a:pt x="157" y="116"/>
                  </a:cubicBezTo>
                  <a:cubicBezTo>
                    <a:pt x="157" y="114"/>
                    <a:pt x="158" y="110"/>
                    <a:pt x="158" y="108"/>
                  </a:cubicBezTo>
                  <a:cubicBezTo>
                    <a:pt x="158" y="105"/>
                    <a:pt x="160" y="101"/>
                    <a:pt x="160" y="100"/>
                  </a:cubicBezTo>
                  <a:cubicBezTo>
                    <a:pt x="161" y="94"/>
                    <a:pt x="161" y="94"/>
                    <a:pt x="161" y="94"/>
                  </a:cubicBezTo>
                  <a:cubicBezTo>
                    <a:pt x="160" y="93"/>
                    <a:pt x="160" y="93"/>
                    <a:pt x="160" y="93"/>
                  </a:cubicBezTo>
                  <a:cubicBezTo>
                    <a:pt x="155" y="90"/>
                    <a:pt x="155" y="90"/>
                    <a:pt x="155" y="90"/>
                  </a:cubicBezTo>
                  <a:cubicBezTo>
                    <a:pt x="151" y="85"/>
                    <a:pt x="151" y="85"/>
                    <a:pt x="151" y="85"/>
                  </a:cubicBezTo>
                  <a:cubicBezTo>
                    <a:pt x="151" y="85"/>
                    <a:pt x="151" y="85"/>
                    <a:pt x="151" y="85"/>
                  </a:cubicBezTo>
                  <a:cubicBezTo>
                    <a:pt x="151" y="84"/>
                    <a:pt x="149" y="81"/>
                    <a:pt x="145" y="80"/>
                  </a:cubicBezTo>
                  <a:cubicBezTo>
                    <a:pt x="144" y="80"/>
                    <a:pt x="142" y="79"/>
                    <a:pt x="141" y="79"/>
                  </a:cubicBezTo>
                  <a:cubicBezTo>
                    <a:pt x="141" y="79"/>
                    <a:pt x="141" y="79"/>
                    <a:pt x="140" y="79"/>
                  </a:cubicBezTo>
                  <a:cubicBezTo>
                    <a:pt x="140" y="80"/>
                    <a:pt x="140" y="80"/>
                    <a:pt x="140" y="80"/>
                  </a:cubicBezTo>
                  <a:cubicBezTo>
                    <a:pt x="132" y="76"/>
                    <a:pt x="132" y="76"/>
                    <a:pt x="132" y="76"/>
                  </a:cubicBezTo>
                  <a:cubicBezTo>
                    <a:pt x="128" y="69"/>
                    <a:pt x="128" y="69"/>
                    <a:pt x="128" y="69"/>
                  </a:cubicBezTo>
                  <a:cubicBezTo>
                    <a:pt x="124" y="63"/>
                    <a:pt x="124" y="63"/>
                    <a:pt x="124" y="63"/>
                  </a:cubicBezTo>
                  <a:cubicBezTo>
                    <a:pt x="127" y="59"/>
                    <a:pt x="127" y="59"/>
                    <a:pt x="127" y="59"/>
                  </a:cubicBezTo>
                  <a:cubicBezTo>
                    <a:pt x="128" y="52"/>
                    <a:pt x="128" y="52"/>
                    <a:pt x="128" y="52"/>
                  </a:cubicBezTo>
                  <a:cubicBezTo>
                    <a:pt x="127" y="49"/>
                    <a:pt x="127" y="49"/>
                    <a:pt x="127" y="49"/>
                  </a:cubicBezTo>
                  <a:cubicBezTo>
                    <a:pt x="120" y="48"/>
                    <a:pt x="120" y="48"/>
                    <a:pt x="120" y="48"/>
                  </a:cubicBezTo>
                  <a:cubicBezTo>
                    <a:pt x="122" y="46"/>
                    <a:pt x="122" y="46"/>
                    <a:pt x="122" y="46"/>
                  </a:cubicBezTo>
                  <a:cubicBezTo>
                    <a:pt x="122" y="45"/>
                    <a:pt x="122" y="45"/>
                    <a:pt x="122" y="44"/>
                  </a:cubicBezTo>
                  <a:cubicBezTo>
                    <a:pt x="123" y="44"/>
                    <a:pt x="123" y="44"/>
                    <a:pt x="123" y="44"/>
                  </a:cubicBezTo>
                  <a:cubicBezTo>
                    <a:pt x="123" y="44"/>
                    <a:pt x="123" y="44"/>
                    <a:pt x="123" y="44"/>
                  </a:cubicBezTo>
                  <a:cubicBezTo>
                    <a:pt x="123" y="44"/>
                    <a:pt x="123" y="44"/>
                    <a:pt x="123" y="44"/>
                  </a:cubicBezTo>
                  <a:cubicBezTo>
                    <a:pt x="123" y="43"/>
                    <a:pt x="123" y="43"/>
                    <a:pt x="123" y="43"/>
                  </a:cubicBezTo>
                  <a:cubicBezTo>
                    <a:pt x="123" y="43"/>
                    <a:pt x="123" y="43"/>
                    <a:pt x="123" y="43"/>
                  </a:cubicBezTo>
                  <a:cubicBezTo>
                    <a:pt x="123" y="43"/>
                    <a:pt x="123" y="43"/>
                    <a:pt x="123" y="43"/>
                  </a:cubicBezTo>
                  <a:cubicBezTo>
                    <a:pt x="125" y="41"/>
                    <a:pt x="125" y="41"/>
                    <a:pt x="125" y="41"/>
                  </a:cubicBezTo>
                  <a:cubicBezTo>
                    <a:pt x="125" y="41"/>
                    <a:pt x="126" y="41"/>
                    <a:pt x="126" y="41"/>
                  </a:cubicBezTo>
                  <a:cubicBezTo>
                    <a:pt x="127" y="39"/>
                    <a:pt x="128" y="39"/>
                    <a:pt x="129" y="38"/>
                  </a:cubicBezTo>
                  <a:cubicBezTo>
                    <a:pt x="129" y="38"/>
                    <a:pt x="129" y="38"/>
                    <a:pt x="129" y="38"/>
                  </a:cubicBezTo>
                  <a:cubicBezTo>
                    <a:pt x="129" y="38"/>
                    <a:pt x="129" y="38"/>
                    <a:pt x="129" y="38"/>
                  </a:cubicBezTo>
                  <a:cubicBezTo>
                    <a:pt x="129" y="37"/>
                    <a:pt x="129" y="37"/>
                    <a:pt x="130" y="37"/>
                  </a:cubicBezTo>
                  <a:cubicBezTo>
                    <a:pt x="129" y="37"/>
                    <a:pt x="127" y="36"/>
                    <a:pt x="127" y="35"/>
                  </a:cubicBezTo>
                  <a:cubicBezTo>
                    <a:pt x="127" y="34"/>
                    <a:pt x="126" y="32"/>
                    <a:pt x="126" y="30"/>
                  </a:cubicBezTo>
                  <a:cubicBezTo>
                    <a:pt x="126" y="30"/>
                    <a:pt x="126" y="29"/>
                    <a:pt x="126" y="28"/>
                  </a:cubicBezTo>
                  <a:cubicBezTo>
                    <a:pt x="126" y="27"/>
                    <a:pt x="126" y="25"/>
                    <a:pt x="126" y="23"/>
                  </a:cubicBezTo>
                  <a:cubicBezTo>
                    <a:pt x="126" y="22"/>
                    <a:pt x="128" y="19"/>
                    <a:pt x="128" y="19"/>
                  </a:cubicBezTo>
                  <a:cubicBezTo>
                    <a:pt x="128" y="19"/>
                    <a:pt x="126" y="17"/>
                    <a:pt x="126" y="16"/>
                  </a:cubicBezTo>
                  <a:cubicBezTo>
                    <a:pt x="126" y="15"/>
                    <a:pt x="125" y="13"/>
                    <a:pt x="126" y="12"/>
                  </a:cubicBezTo>
                  <a:cubicBezTo>
                    <a:pt x="126" y="11"/>
                    <a:pt x="126" y="11"/>
                    <a:pt x="126" y="11"/>
                  </a:cubicBezTo>
                  <a:cubicBezTo>
                    <a:pt x="124" y="10"/>
                    <a:pt x="124" y="10"/>
                    <a:pt x="124" y="10"/>
                  </a:cubicBezTo>
                  <a:cubicBezTo>
                    <a:pt x="119" y="9"/>
                    <a:pt x="119" y="9"/>
                    <a:pt x="119" y="9"/>
                  </a:cubicBezTo>
                  <a:cubicBezTo>
                    <a:pt x="108" y="6"/>
                    <a:pt x="108" y="6"/>
                    <a:pt x="108" y="6"/>
                  </a:cubicBezTo>
                  <a:cubicBezTo>
                    <a:pt x="105" y="5"/>
                    <a:pt x="106" y="3"/>
                    <a:pt x="104" y="1"/>
                  </a:cubicBezTo>
                  <a:cubicBezTo>
                    <a:pt x="103" y="0"/>
                    <a:pt x="99" y="1"/>
                    <a:pt x="97" y="1"/>
                  </a:cubicBezTo>
                  <a:cubicBezTo>
                    <a:pt x="93" y="5"/>
                    <a:pt x="93" y="5"/>
                    <a:pt x="93" y="5"/>
                  </a:cubicBezTo>
                  <a:cubicBezTo>
                    <a:pt x="92" y="9"/>
                    <a:pt x="92" y="9"/>
                    <a:pt x="92" y="9"/>
                  </a:cubicBezTo>
                  <a:cubicBezTo>
                    <a:pt x="85" y="9"/>
                    <a:pt x="85" y="9"/>
                    <a:pt x="85" y="9"/>
                  </a:cubicBezTo>
                  <a:cubicBezTo>
                    <a:pt x="82" y="11"/>
                    <a:pt x="82" y="11"/>
                    <a:pt x="82" y="11"/>
                  </a:cubicBezTo>
                  <a:cubicBezTo>
                    <a:pt x="76" y="12"/>
                    <a:pt x="81" y="16"/>
                    <a:pt x="81" y="19"/>
                  </a:cubicBezTo>
                  <a:cubicBezTo>
                    <a:pt x="82" y="20"/>
                    <a:pt x="82" y="20"/>
                    <a:pt x="82" y="20"/>
                  </a:cubicBezTo>
                  <a:cubicBezTo>
                    <a:pt x="79" y="22"/>
                    <a:pt x="79" y="22"/>
                    <a:pt x="79" y="22"/>
                  </a:cubicBezTo>
                  <a:cubicBezTo>
                    <a:pt x="77" y="23"/>
                    <a:pt x="77" y="23"/>
                    <a:pt x="77" y="23"/>
                  </a:cubicBezTo>
                  <a:cubicBezTo>
                    <a:pt x="77" y="23"/>
                    <a:pt x="77" y="23"/>
                    <a:pt x="77" y="23"/>
                  </a:cubicBezTo>
                  <a:cubicBezTo>
                    <a:pt x="75" y="24"/>
                    <a:pt x="79" y="31"/>
                    <a:pt x="78" y="40"/>
                  </a:cubicBezTo>
                  <a:cubicBezTo>
                    <a:pt x="77" y="42"/>
                    <a:pt x="79" y="46"/>
                    <a:pt x="79" y="46"/>
                  </a:cubicBezTo>
                  <a:cubicBezTo>
                    <a:pt x="79" y="46"/>
                    <a:pt x="81" y="52"/>
                    <a:pt x="81" y="55"/>
                  </a:cubicBezTo>
                  <a:cubicBezTo>
                    <a:pt x="81" y="58"/>
                    <a:pt x="79" y="58"/>
                    <a:pt x="79" y="58"/>
                  </a:cubicBezTo>
                  <a:cubicBezTo>
                    <a:pt x="79" y="58"/>
                    <a:pt x="76" y="61"/>
                    <a:pt x="73" y="63"/>
                  </a:cubicBezTo>
                  <a:cubicBezTo>
                    <a:pt x="71" y="65"/>
                    <a:pt x="73" y="66"/>
                    <a:pt x="73" y="66"/>
                  </a:cubicBezTo>
                  <a:cubicBezTo>
                    <a:pt x="73" y="66"/>
                    <a:pt x="73" y="71"/>
                    <a:pt x="74" y="72"/>
                  </a:cubicBezTo>
                  <a:cubicBezTo>
                    <a:pt x="74" y="72"/>
                    <a:pt x="74" y="72"/>
                    <a:pt x="74" y="72"/>
                  </a:cubicBezTo>
                  <a:cubicBezTo>
                    <a:pt x="74" y="72"/>
                    <a:pt x="74" y="72"/>
                    <a:pt x="74" y="72"/>
                  </a:cubicBezTo>
                  <a:cubicBezTo>
                    <a:pt x="74" y="73"/>
                    <a:pt x="74" y="73"/>
                    <a:pt x="74" y="73"/>
                  </a:cubicBezTo>
                  <a:cubicBezTo>
                    <a:pt x="74" y="73"/>
                    <a:pt x="74" y="73"/>
                    <a:pt x="74" y="73"/>
                  </a:cubicBezTo>
                  <a:cubicBezTo>
                    <a:pt x="73" y="73"/>
                    <a:pt x="73" y="73"/>
                    <a:pt x="73" y="73"/>
                  </a:cubicBezTo>
                  <a:cubicBezTo>
                    <a:pt x="73" y="73"/>
                    <a:pt x="73" y="73"/>
                    <a:pt x="73" y="73"/>
                  </a:cubicBezTo>
                  <a:cubicBezTo>
                    <a:pt x="73" y="73"/>
                    <a:pt x="72" y="73"/>
                    <a:pt x="72" y="74"/>
                  </a:cubicBezTo>
                  <a:cubicBezTo>
                    <a:pt x="72" y="74"/>
                    <a:pt x="72" y="74"/>
                    <a:pt x="72" y="74"/>
                  </a:cubicBezTo>
                  <a:cubicBezTo>
                    <a:pt x="71" y="74"/>
                    <a:pt x="70" y="74"/>
                    <a:pt x="70" y="74"/>
                  </a:cubicBezTo>
                  <a:cubicBezTo>
                    <a:pt x="67" y="72"/>
                    <a:pt x="67" y="72"/>
                    <a:pt x="67" y="72"/>
                  </a:cubicBezTo>
                  <a:cubicBezTo>
                    <a:pt x="59" y="70"/>
                    <a:pt x="59" y="70"/>
                    <a:pt x="59" y="70"/>
                  </a:cubicBezTo>
                  <a:cubicBezTo>
                    <a:pt x="56" y="68"/>
                    <a:pt x="56" y="68"/>
                    <a:pt x="56" y="68"/>
                  </a:cubicBezTo>
                  <a:cubicBezTo>
                    <a:pt x="52" y="70"/>
                    <a:pt x="52" y="70"/>
                    <a:pt x="52" y="70"/>
                  </a:cubicBezTo>
                  <a:cubicBezTo>
                    <a:pt x="52" y="72"/>
                    <a:pt x="52" y="72"/>
                    <a:pt x="52" y="72"/>
                  </a:cubicBezTo>
                  <a:cubicBezTo>
                    <a:pt x="50" y="74"/>
                    <a:pt x="50" y="74"/>
                    <a:pt x="50" y="74"/>
                  </a:cubicBezTo>
                  <a:cubicBezTo>
                    <a:pt x="47" y="77"/>
                    <a:pt x="47" y="77"/>
                    <a:pt x="47" y="77"/>
                  </a:cubicBezTo>
                  <a:cubicBezTo>
                    <a:pt x="46" y="77"/>
                    <a:pt x="38" y="75"/>
                    <a:pt x="36" y="74"/>
                  </a:cubicBezTo>
                  <a:cubicBezTo>
                    <a:pt x="34" y="74"/>
                    <a:pt x="27" y="68"/>
                    <a:pt x="27" y="68"/>
                  </a:cubicBezTo>
                  <a:cubicBezTo>
                    <a:pt x="22" y="62"/>
                    <a:pt x="22" y="62"/>
                    <a:pt x="22" y="62"/>
                  </a:cubicBezTo>
                  <a:cubicBezTo>
                    <a:pt x="16" y="55"/>
                    <a:pt x="16" y="55"/>
                    <a:pt x="16" y="55"/>
                  </a:cubicBezTo>
                  <a:cubicBezTo>
                    <a:pt x="13" y="55"/>
                    <a:pt x="13" y="55"/>
                    <a:pt x="13" y="55"/>
                  </a:cubicBezTo>
                  <a:cubicBezTo>
                    <a:pt x="11" y="53"/>
                    <a:pt x="8" y="53"/>
                    <a:pt x="7" y="55"/>
                  </a:cubicBezTo>
                  <a:cubicBezTo>
                    <a:pt x="7" y="55"/>
                    <a:pt x="7" y="55"/>
                    <a:pt x="7" y="55"/>
                  </a:cubicBezTo>
                  <a:cubicBezTo>
                    <a:pt x="6" y="56"/>
                    <a:pt x="6" y="56"/>
                    <a:pt x="6" y="56"/>
                  </a:cubicBezTo>
                  <a:cubicBezTo>
                    <a:pt x="5" y="58"/>
                    <a:pt x="7" y="63"/>
                    <a:pt x="7" y="63"/>
                  </a:cubicBezTo>
                  <a:cubicBezTo>
                    <a:pt x="7" y="63"/>
                    <a:pt x="7" y="64"/>
                    <a:pt x="6" y="64"/>
                  </a:cubicBezTo>
                  <a:cubicBezTo>
                    <a:pt x="6" y="64"/>
                    <a:pt x="6" y="64"/>
                    <a:pt x="6" y="64"/>
                  </a:cubicBezTo>
                  <a:cubicBezTo>
                    <a:pt x="6" y="64"/>
                    <a:pt x="6" y="64"/>
                    <a:pt x="6" y="64"/>
                  </a:cubicBezTo>
                  <a:cubicBezTo>
                    <a:pt x="5" y="64"/>
                    <a:pt x="2" y="65"/>
                    <a:pt x="1" y="65"/>
                  </a:cubicBezTo>
                  <a:cubicBezTo>
                    <a:pt x="0" y="65"/>
                    <a:pt x="1" y="67"/>
                    <a:pt x="1" y="67"/>
                  </a:cubicBezTo>
                  <a:cubicBezTo>
                    <a:pt x="7" y="70"/>
                    <a:pt x="7" y="70"/>
                    <a:pt x="7" y="70"/>
                  </a:cubicBezTo>
                  <a:cubicBezTo>
                    <a:pt x="7" y="74"/>
                    <a:pt x="7" y="74"/>
                    <a:pt x="7" y="74"/>
                  </a:cubicBezTo>
                  <a:cubicBezTo>
                    <a:pt x="11" y="75"/>
                    <a:pt x="11" y="75"/>
                    <a:pt x="11" y="75"/>
                  </a:cubicBezTo>
                  <a:cubicBezTo>
                    <a:pt x="14" y="77"/>
                    <a:pt x="14" y="77"/>
                    <a:pt x="14" y="77"/>
                  </a:cubicBezTo>
                  <a:cubicBezTo>
                    <a:pt x="17" y="81"/>
                    <a:pt x="17" y="81"/>
                    <a:pt x="17" y="81"/>
                  </a:cubicBezTo>
                  <a:cubicBezTo>
                    <a:pt x="17" y="81"/>
                    <a:pt x="18" y="82"/>
                    <a:pt x="19" y="82"/>
                  </a:cubicBezTo>
                  <a:cubicBezTo>
                    <a:pt x="20" y="82"/>
                    <a:pt x="21" y="83"/>
                    <a:pt x="21" y="83"/>
                  </a:cubicBezTo>
                  <a:cubicBezTo>
                    <a:pt x="23" y="86"/>
                    <a:pt x="23" y="86"/>
                    <a:pt x="23" y="86"/>
                  </a:cubicBezTo>
                  <a:cubicBezTo>
                    <a:pt x="26" y="85"/>
                    <a:pt x="26" y="85"/>
                    <a:pt x="26" y="85"/>
                  </a:cubicBezTo>
                  <a:cubicBezTo>
                    <a:pt x="26" y="85"/>
                    <a:pt x="27" y="86"/>
                    <a:pt x="28" y="88"/>
                  </a:cubicBezTo>
                  <a:cubicBezTo>
                    <a:pt x="29" y="89"/>
                    <a:pt x="30" y="88"/>
                    <a:pt x="30" y="88"/>
                  </a:cubicBezTo>
                  <a:cubicBezTo>
                    <a:pt x="34" y="88"/>
                    <a:pt x="34" y="88"/>
                    <a:pt x="34" y="88"/>
                  </a:cubicBezTo>
                  <a:cubicBezTo>
                    <a:pt x="38" y="90"/>
                    <a:pt x="38" y="90"/>
                    <a:pt x="38" y="90"/>
                  </a:cubicBezTo>
                  <a:cubicBezTo>
                    <a:pt x="44" y="93"/>
                    <a:pt x="44" y="93"/>
                    <a:pt x="44" y="93"/>
                  </a:cubicBezTo>
                  <a:cubicBezTo>
                    <a:pt x="44" y="93"/>
                    <a:pt x="49" y="99"/>
                    <a:pt x="49" y="100"/>
                  </a:cubicBezTo>
                  <a:cubicBezTo>
                    <a:pt x="50" y="100"/>
                    <a:pt x="51" y="99"/>
                    <a:pt x="51" y="99"/>
                  </a:cubicBezTo>
                  <a:cubicBezTo>
                    <a:pt x="54" y="104"/>
                    <a:pt x="54" y="104"/>
                    <a:pt x="54" y="104"/>
                  </a:cubicBezTo>
                  <a:cubicBezTo>
                    <a:pt x="59" y="106"/>
                    <a:pt x="59" y="106"/>
                    <a:pt x="59" y="106"/>
                  </a:cubicBezTo>
                  <a:cubicBezTo>
                    <a:pt x="57" y="111"/>
                    <a:pt x="57" y="111"/>
                    <a:pt x="57" y="111"/>
                  </a:cubicBezTo>
                  <a:cubicBezTo>
                    <a:pt x="59" y="121"/>
                    <a:pt x="59" y="121"/>
                    <a:pt x="59" y="121"/>
                  </a:cubicBezTo>
                  <a:cubicBezTo>
                    <a:pt x="59" y="125"/>
                    <a:pt x="59" y="125"/>
                    <a:pt x="59" y="125"/>
                  </a:cubicBezTo>
                  <a:cubicBezTo>
                    <a:pt x="60" y="128"/>
                    <a:pt x="60" y="128"/>
                    <a:pt x="60" y="128"/>
                  </a:cubicBezTo>
                  <a:cubicBezTo>
                    <a:pt x="63" y="127"/>
                    <a:pt x="63" y="127"/>
                    <a:pt x="63" y="127"/>
                  </a:cubicBezTo>
                  <a:cubicBezTo>
                    <a:pt x="64" y="128"/>
                    <a:pt x="64" y="128"/>
                    <a:pt x="64" y="128"/>
                  </a:cubicBezTo>
                  <a:cubicBezTo>
                    <a:pt x="63" y="130"/>
                    <a:pt x="63" y="130"/>
                    <a:pt x="64" y="132"/>
                  </a:cubicBezTo>
                  <a:cubicBezTo>
                    <a:pt x="64" y="134"/>
                    <a:pt x="64" y="134"/>
                    <a:pt x="64" y="134"/>
                  </a:cubicBezTo>
                  <a:cubicBezTo>
                    <a:pt x="64" y="139"/>
                    <a:pt x="64" y="139"/>
                    <a:pt x="64" y="139"/>
                  </a:cubicBezTo>
                  <a:cubicBezTo>
                    <a:pt x="74" y="151"/>
                    <a:pt x="74" y="151"/>
                    <a:pt x="74" y="151"/>
                  </a:cubicBezTo>
                  <a:cubicBezTo>
                    <a:pt x="74" y="155"/>
                    <a:pt x="74" y="155"/>
                    <a:pt x="74" y="155"/>
                  </a:cubicBezTo>
                  <a:cubicBezTo>
                    <a:pt x="74" y="155"/>
                    <a:pt x="74" y="159"/>
                    <a:pt x="74" y="159"/>
                  </a:cubicBezTo>
                  <a:cubicBezTo>
                    <a:pt x="73" y="160"/>
                    <a:pt x="74" y="164"/>
                    <a:pt x="74" y="164"/>
                  </a:cubicBezTo>
                  <a:cubicBezTo>
                    <a:pt x="74" y="164"/>
                    <a:pt x="73" y="168"/>
                    <a:pt x="72" y="168"/>
                  </a:cubicBezTo>
                  <a:cubicBezTo>
                    <a:pt x="71" y="169"/>
                    <a:pt x="71" y="171"/>
                    <a:pt x="71" y="171"/>
                  </a:cubicBezTo>
                  <a:cubicBezTo>
                    <a:pt x="73" y="175"/>
                    <a:pt x="73" y="175"/>
                    <a:pt x="73" y="175"/>
                  </a:cubicBezTo>
                  <a:cubicBezTo>
                    <a:pt x="73" y="179"/>
                    <a:pt x="73" y="179"/>
                    <a:pt x="73" y="179"/>
                  </a:cubicBezTo>
                  <a:cubicBezTo>
                    <a:pt x="77" y="182"/>
                    <a:pt x="77" y="182"/>
                    <a:pt x="77" y="182"/>
                  </a:cubicBezTo>
                  <a:cubicBezTo>
                    <a:pt x="81" y="184"/>
                    <a:pt x="81" y="184"/>
                    <a:pt x="81" y="184"/>
                  </a:cubicBezTo>
                  <a:cubicBezTo>
                    <a:pt x="87" y="196"/>
                    <a:pt x="87" y="196"/>
                    <a:pt x="87" y="196"/>
                  </a:cubicBezTo>
                  <a:cubicBezTo>
                    <a:pt x="90" y="196"/>
                    <a:pt x="90" y="196"/>
                    <a:pt x="90" y="196"/>
                  </a:cubicBezTo>
                  <a:cubicBezTo>
                    <a:pt x="93" y="197"/>
                    <a:pt x="93" y="197"/>
                    <a:pt x="93" y="197"/>
                  </a:cubicBezTo>
                  <a:cubicBezTo>
                    <a:pt x="98" y="201"/>
                    <a:pt x="98" y="201"/>
                    <a:pt x="98" y="201"/>
                  </a:cubicBezTo>
                  <a:cubicBezTo>
                    <a:pt x="99" y="199"/>
                    <a:pt x="99" y="199"/>
                    <a:pt x="99" y="199"/>
                  </a:cubicBezTo>
                  <a:cubicBezTo>
                    <a:pt x="105" y="202"/>
                    <a:pt x="105" y="202"/>
                    <a:pt x="105" y="202"/>
                  </a:cubicBezTo>
                  <a:cubicBezTo>
                    <a:pt x="105" y="202"/>
                    <a:pt x="108" y="204"/>
                    <a:pt x="109" y="205"/>
                  </a:cubicBezTo>
                  <a:cubicBezTo>
                    <a:pt x="110" y="206"/>
                    <a:pt x="110" y="208"/>
                    <a:pt x="111" y="209"/>
                  </a:cubicBezTo>
                  <a:cubicBezTo>
                    <a:pt x="111" y="210"/>
                    <a:pt x="111" y="213"/>
                    <a:pt x="111" y="213"/>
                  </a:cubicBezTo>
                  <a:cubicBezTo>
                    <a:pt x="111" y="213"/>
                    <a:pt x="111" y="216"/>
                    <a:pt x="111" y="217"/>
                  </a:cubicBezTo>
                  <a:cubicBezTo>
                    <a:pt x="111" y="218"/>
                    <a:pt x="112" y="220"/>
                    <a:pt x="112" y="221"/>
                  </a:cubicBezTo>
                  <a:cubicBezTo>
                    <a:pt x="112" y="221"/>
                    <a:pt x="114" y="223"/>
                    <a:pt x="116" y="223"/>
                  </a:cubicBezTo>
                  <a:cubicBezTo>
                    <a:pt x="117" y="224"/>
                    <a:pt x="115" y="225"/>
                    <a:pt x="115" y="225"/>
                  </a:cubicBezTo>
                  <a:cubicBezTo>
                    <a:pt x="113" y="228"/>
                    <a:pt x="113" y="228"/>
                    <a:pt x="113" y="228"/>
                  </a:cubicBezTo>
                  <a:cubicBezTo>
                    <a:pt x="113" y="228"/>
                    <a:pt x="117" y="231"/>
                    <a:pt x="117" y="231"/>
                  </a:cubicBezTo>
                  <a:cubicBezTo>
                    <a:pt x="117" y="232"/>
                    <a:pt x="114" y="232"/>
                    <a:pt x="114" y="232"/>
                  </a:cubicBezTo>
                  <a:cubicBezTo>
                    <a:pt x="109" y="230"/>
                    <a:pt x="112" y="232"/>
                    <a:pt x="107" y="233"/>
                  </a:cubicBezTo>
                  <a:cubicBezTo>
                    <a:pt x="107" y="233"/>
                    <a:pt x="103" y="236"/>
                    <a:pt x="103" y="236"/>
                  </a:cubicBezTo>
                  <a:cubicBezTo>
                    <a:pt x="103" y="239"/>
                    <a:pt x="103" y="239"/>
                    <a:pt x="103" y="239"/>
                  </a:cubicBezTo>
                  <a:cubicBezTo>
                    <a:pt x="103" y="239"/>
                    <a:pt x="102" y="241"/>
                    <a:pt x="101" y="242"/>
                  </a:cubicBezTo>
                  <a:cubicBezTo>
                    <a:pt x="101" y="242"/>
                    <a:pt x="102" y="245"/>
                    <a:pt x="102" y="246"/>
                  </a:cubicBezTo>
                  <a:cubicBezTo>
                    <a:pt x="102" y="248"/>
                    <a:pt x="102" y="250"/>
                    <a:pt x="102" y="250"/>
                  </a:cubicBezTo>
                  <a:cubicBezTo>
                    <a:pt x="99" y="255"/>
                    <a:pt x="99" y="255"/>
                    <a:pt x="99" y="255"/>
                  </a:cubicBezTo>
                  <a:cubicBezTo>
                    <a:pt x="99" y="255"/>
                    <a:pt x="96" y="260"/>
                    <a:pt x="97" y="261"/>
                  </a:cubicBezTo>
                  <a:cubicBezTo>
                    <a:pt x="97" y="263"/>
                    <a:pt x="94" y="265"/>
                    <a:pt x="93" y="267"/>
                  </a:cubicBezTo>
                  <a:cubicBezTo>
                    <a:pt x="92" y="268"/>
                    <a:pt x="92" y="272"/>
                    <a:pt x="91" y="273"/>
                  </a:cubicBezTo>
                  <a:cubicBezTo>
                    <a:pt x="90" y="274"/>
                    <a:pt x="88" y="273"/>
                    <a:pt x="88" y="274"/>
                  </a:cubicBezTo>
                  <a:cubicBezTo>
                    <a:pt x="88" y="275"/>
                    <a:pt x="88" y="279"/>
                    <a:pt x="88" y="280"/>
                  </a:cubicBezTo>
                  <a:cubicBezTo>
                    <a:pt x="87" y="281"/>
                    <a:pt x="86" y="282"/>
                    <a:pt x="85" y="282"/>
                  </a:cubicBezTo>
                  <a:cubicBezTo>
                    <a:pt x="85" y="283"/>
                    <a:pt x="85" y="283"/>
                    <a:pt x="83" y="284"/>
                  </a:cubicBezTo>
                  <a:cubicBezTo>
                    <a:pt x="82" y="285"/>
                    <a:pt x="82" y="284"/>
                    <a:pt x="81" y="284"/>
                  </a:cubicBezTo>
                  <a:cubicBezTo>
                    <a:pt x="80" y="284"/>
                    <a:pt x="80" y="285"/>
                    <a:pt x="80" y="286"/>
                  </a:cubicBezTo>
                  <a:cubicBezTo>
                    <a:pt x="79" y="286"/>
                    <a:pt x="79" y="288"/>
                    <a:pt x="80" y="288"/>
                  </a:cubicBezTo>
                  <a:cubicBezTo>
                    <a:pt x="80" y="288"/>
                    <a:pt x="82" y="289"/>
                    <a:pt x="82" y="289"/>
                  </a:cubicBezTo>
                  <a:cubicBezTo>
                    <a:pt x="82" y="289"/>
                    <a:pt x="82" y="293"/>
                    <a:pt x="81" y="293"/>
                  </a:cubicBezTo>
                  <a:cubicBezTo>
                    <a:pt x="80" y="294"/>
                    <a:pt x="80" y="293"/>
                    <a:pt x="79" y="293"/>
                  </a:cubicBezTo>
                  <a:cubicBezTo>
                    <a:pt x="77" y="292"/>
                    <a:pt x="78" y="293"/>
                    <a:pt x="77" y="294"/>
                  </a:cubicBezTo>
                  <a:cubicBezTo>
                    <a:pt x="75" y="295"/>
                    <a:pt x="77" y="295"/>
                    <a:pt x="77" y="297"/>
                  </a:cubicBezTo>
                  <a:cubicBezTo>
                    <a:pt x="77" y="299"/>
                    <a:pt x="77" y="301"/>
                    <a:pt x="75" y="301"/>
                  </a:cubicBezTo>
                  <a:cubicBezTo>
                    <a:pt x="73" y="301"/>
                    <a:pt x="75" y="301"/>
                    <a:pt x="73" y="301"/>
                  </a:cubicBezTo>
                  <a:cubicBezTo>
                    <a:pt x="72" y="302"/>
                    <a:pt x="73" y="303"/>
                    <a:pt x="72" y="305"/>
                  </a:cubicBezTo>
                  <a:cubicBezTo>
                    <a:pt x="72" y="307"/>
                    <a:pt x="72" y="306"/>
                    <a:pt x="73" y="307"/>
                  </a:cubicBezTo>
                  <a:cubicBezTo>
                    <a:pt x="73" y="308"/>
                    <a:pt x="75" y="308"/>
                    <a:pt x="75" y="310"/>
                  </a:cubicBezTo>
                  <a:cubicBezTo>
                    <a:pt x="75" y="311"/>
                    <a:pt x="75" y="311"/>
                    <a:pt x="75" y="312"/>
                  </a:cubicBezTo>
                  <a:cubicBezTo>
                    <a:pt x="74" y="313"/>
                    <a:pt x="72" y="312"/>
                    <a:pt x="72" y="311"/>
                  </a:cubicBezTo>
                  <a:cubicBezTo>
                    <a:pt x="72" y="310"/>
                    <a:pt x="72" y="309"/>
                    <a:pt x="72" y="309"/>
                  </a:cubicBezTo>
                  <a:cubicBezTo>
                    <a:pt x="72" y="309"/>
                    <a:pt x="71" y="308"/>
                    <a:pt x="69" y="308"/>
                  </a:cubicBezTo>
                  <a:cubicBezTo>
                    <a:pt x="67" y="308"/>
                    <a:pt x="69" y="311"/>
                    <a:pt x="69" y="312"/>
                  </a:cubicBezTo>
                  <a:cubicBezTo>
                    <a:pt x="70" y="314"/>
                    <a:pt x="69" y="315"/>
                    <a:pt x="67" y="314"/>
                  </a:cubicBezTo>
                  <a:cubicBezTo>
                    <a:pt x="65" y="314"/>
                    <a:pt x="66" y="314"/>
                    <a:pt x="66" y="314"/>
                  </a:cubicBezTo>
                  <a:cubicBezTo>
                    <a:pt x="66" y="314"/>
                    <a:pt x="62" y="316"/>
                    <a:pt x="62" y="315"/>
                  </a:cubicBezTo>
                  <a:cubicBezTo>
                    <a:pt x="62" y="315"/>
                    <a:pt x="61" y="314"/>
                    <a:pt x="61" y="314"/>
                  </a:cubicBezTo>
                  <a:cubicBezTo>
                    <a:pt x="60" y="314"/>
                    <a:pt x="60" y="315"/>
                    <a:pt x="59" y="316"/>
                  </a:cubicBezTo>
                  <a:cubicBezTo>
                    <a:pt x="59" y="316"/>
                    <a:pt x="57" y="316"/>
                    <a:pt x="57" y="315"/>
                  </a:cubicBezTo>
                  <a:cubicBezTo>
                    <a:pt x="57" y="314"/>
                    <a:pt x="56" y="311"/>
                    <a:pt x="56" y="311"/>
                  </a:cubicBezTo>
                  <a:cubicBezTo>
                    <a:pt x="56" y="311"/>
                    <a:pt x="54" y="312"/>
                    <a:pt x="54" y="313"/>
                  </a:cubicBezTo>
                  <a:cubicBezTo>
                    <a:pt x="54" y="314"/>
                    <a:pt x="55" y="316"/>
                    <a:pt x="55" y="316"/>
                  </a:cubicBezTo>
                  <a:cubicBezTo>
                    <a:pt x="55" y="318"/>
                    <a:pt x="55" y="318"/>
                    <a:pt x="55" y="318"/>
                  </a:cubicBezTo>
                  <a:cubicBezTo>
                    <a:pt x="56" y="319"/>
                    <a:pt x="56" y="319"/>
                    <a:pt x="56" y="319"/>
                  </a:cubicBezTo>
                  <a:cubicBezTo>
                    <a:pt x="59" y="317"/>
                    <a:pt x="59" y="317"/>
                    <a:pt x="59" y="317"/>
                  </a:cubicBezTo>
                  <a:cubicBezTo>
                    <a:pt x="59" y="317"/>
                    <a:pt x="61" y="320"/>
                    <a:pt x="61" y="321"/>
                  </a:cubicBezTo>
                  <a:cubicBezTo>
                    <a:pt x="61" y="321"/>
                    <a:pt x="59" y="323"/>
                    <a:pt x="59" y="323"/>
                  </a:cubicBezTo>
                  <a:cubicBezTo>
                    <a:pt x="59" y="323"/>
                    <a:pt x="61" y="326"/>
                    <a:pt x="61" y="327"/>
                  </a:cubicBezTo>
                  <a:cubicBezTo>
                    <a:pt x="61" y="328"/>
                    <a:pt x="60" y="331"/>
                    <a:pt x="60" y="331"/>
                  </a:cubicBezTo>
                  <a:cubicBezTo>
                    <a:pt x="60" y="331"/>
                    <a:pt x="58" y="333"/>
                    <a:pt x="57" y="333"/>
                  </a:cubicBezTo>
                  <a:cubicBezTo>
                    <a:pt x="57" y="333"/>
                    <a:pt x="57" y="337"/>
                    <a:pt x="57" y="337"/>
                  </a:cubicBezTo>
                  <a:cubicBezTo>
                    <a:pt x="57" y="340"/>
                    <a:pt x="57" y="340"/>
                    <a:pt x="57" y="340"/>
                  </a:cubicBezTo>
                  <a:cubicBezTo>
                    <a:pt x="56" y="343"/>
                    <a:pt x="56" y="343"/>
                    <a:pt x="56" y="343"/>
                  </a:cubicBezTo>
                  <a:cubicBezTo>
                    <a:pt x="58" y="346"/>
                    <a:pt x="58" y="346"/>
                    <a:pt x="58" y="346"/>
                  </a:cubicBezTo>
                  <a:cubicBezTo>
                    <a:pt x="58" y="346"/>
                    <a:pt x="58" y="348"/>
                    <a:pt x="58" y="348"/>
                  </a:cubicBezTo>
                  <a:cubicBezTo>
                    <a:pt x="58" y="349"/>
                    <a:pt x="58" y="350"/>
                    <a:pt x="59" y="352"/>
                  </a:cubicBezTo>
                  <a:cubicBezTo>
                    <a:pt x="59" y="353"/>
                    <a:pt x="59" y="353"/>
                    <a:pt x="59" y="353"/>
                  </a:cubicBezTo>
                  <a:cubicBezTo>
                    <a:pt x="59" y="353"/>
                    <a:pt x="62" y="357"/>
                    <a:pt x="63" y="358"/>
                  </a:cubicBezTo>
                  <a:cubicBezTo>
                    <a:pt x="64" y="359"/>
                    <a:pt x="64" y="359"/>
                    <a:pt x="64" y="359"/>
                  </a:cubicBezTo>
                  <a:cubicBezTo>
                    <a:pt x="64" y="359"/>
                    <a:pt x="64" y="361"/>
                    <a:pt x="64" y="362"/>
                  </a:cubicBezTo>
                  <a:cubicBezTo>
                    <a:pt x="63" y="363"/>
                    <a:pt x="65" y="365"/>
                    <a:pt x="65" y="365"/>
                  </a:cubicBezTo>
                  <a:cubicBezTo>
                    <a:pt x="65" y="366"/>
                    <a:pt x="65" y="367"/>
                    <a:pt x="65" y="369"/>
                  </a:cubicBezTo>
                  <a:cubicBezTo>
                    <a:pt x="65" y="371"/>
                    <a:pt x="65" y="371"/>
                    <a:pt x="65" y="371"/>
                  </a:cubicBezTo>
                  <a:cubicBezTo>
                    <a:pt x="65" y="371"/>
                    <a:pt x="66" y="373"/>
                    <a:pt x="66" y="373"/>
                  </a:cubicBezTo>
                  <a:cubicBezTo>
                    <a:pt x="66" y="374"/>
                    <a:pt x="68" y="375"/>
                    <a:pt x="68" y="375"/>
                  </a:cubicBezTo>
                  <a:cubicBezTo>
                    <a:pt x="68" y="375"/>
                    <a:pt x="68" y="377"/>
                    <a:pt x="68" y="377"/>
                  </a:cubicBezTo>
                  <a:cubicBezTo>
                    <a:pt x="68" y="377"/>
                    <a:pt x="69" y="378"/>
                    <a:pt x="71" y="379"/>
                  </a:cubicBezTo>
                  <a:cubicBezTo>
                    <a:pt x="72" y="380"/>
                    <a:pt x="72" y="383"/>
                    <a:pt x="72" y="383"/>
                  </a:cubicBezTo>
                  <a:cubicBezTo>
                    <a:pt x="72" y="383"/>
                    <a:pt x="71" y="386"/>
                    <a:pt x="71" y="387"/>
                  </a:cubicBezTo>
                  <a:cubicBezTo>
                    <a:pt x="71" y="387"/>
                    <a:pt x="71" y="389"/>
                    <a:pt x="72" y="390"/>
                  </a:cubicBezTo>
                  <a:cubicBezTo>
                    <a:pt x="73" y="392"/>
                    <a:pt x="73" y="392"/>
                    <a:pt x="73" y="392"/>
                  </a:cubicBezTo>
                  <a:cubicBezTo>
                    <a:pt x="73" y="392"/>
                    <a:pt x="73" y="393"/>
                    <a:pt x="73" y="393"/>
                  </a:cubicBezTo>
                  <a:cubicBezTo>
                    <a:pt x="73" y="393"/>
                    <a:pt x="73" y="394"/>
                    <a:pt x="72" y="394"/>
                  </a:cubicBezTo>
                  <a:cubicBezTo>
                    <a:pt x="71" y="395"/>
                    <a:pt x="72" y="395"/>
                    <a:pt x="72" y="396"/>
                  </a:cubicBezTo>
                  <a:cubicBezTo>
                    <a:pt x="72" y="397"/>
                    <a:pt x="74" y="397"/>
                    <a:pt x="74" y="398"/>
                  </a:cubicBezTo>
                  <a:cubicBezTo>
                    <a:pt x="74" y="399"/>
                    <a:pt x="73" y="399"/>
                    <a:pt x="73" y="400"/>
                  </a:cubicBezTo>
                  <a:cubicBezTo>
                    <a:pt x="74" y="401"/>
                    <a:pt x="73" y="403"/>
                    <a:pt x="73" y="403"/>
                  </a:cubicBezTo>
                  <a:cubicBezTo>
                    <a:pt x="73" y="403"/>
                    <a:pt x="73" y="403"/>
                    <a:pt x="72" y="404"/>
                  </a:cubicBezTo>
                  <a:cubicBezTo>
                    <a:pt x="70" y="405"/>
                    <a:pt x="72" y="406"/>
                    <a:pt x="72" y="406"/>
                  </a:cubicBezTo>
                  <a:cubicBezTo>
                    <a:pt x="72" y="407"/>
                    <a:pt x="74" y="408"/>
                    <a:pt x="74" y="408"/>
                  </a:cubicBezTo>
                  <a:cubicBezTo>
                    <a:pt x="74" y="408"/>
                    <a:pt x="74" y="409"/>
                    <a:pt x="73" y="410"/>
                  </a:cubicBezTo>
                  <a:cubicBezTo>
                    <a:pt x="72" y="411"/>
                    <a:pt x="72" y="412"/>
                    <a:pt x="72" y="412"/>
                  </a:cubicBezTo>
                  <a:cubicBezTo>
                    <a:pt x="72" y="413"/>
                    <a:pt x="72" y="412"/>
                    <a:pt x="73" y="414"/>
                  </a:cubicBezTo>
                  <a:cubicBezTo>
                    <a:pt x="74" y="415"/>
                    <a:pt x="73" y="415"/>
                    <a:pt x="73" y="415"/>
                  </a:cubicBezTo>
                  <a:cubicBezTo>
                    <a:pt x="73" y="415"/>
                    <a:pt x="74" y="416"/>
                    <a:pt x="74" y="417"/>
                  </a:cubicBezTo>
                  <a:cubicBezTo>
                    <a:pt x="73" y="418"/>
                    <a:pt x="71" y="418"/>
                    <a:pt x="70" y="419"/>
                  </a:cubicBezTo>
                  <a:cubicBezTo>
                    <a:pt x="70" y="419"/>
                    <a:pt x="70" y="421"/>
                    <a:pt x="70" y="421"/>
                  </a:cubicBezTo>
                  <a:cubicBezTo>
                    <a:pt x="70" y="422"/>
                    <a:pt x="73" y="420"/>
                    <a:pt x="74" y="419"/>
                  </a:cubicBezTo>
                  <a:cubicBezTo>
                    <a:pt x="75" y="419"/>
                    <a:pt x="75" y="418"/>
                    <a:pt x="75" y="418"/>
                  </a:cubicBezTo>
                  <a:cubicBezTo>
                    <a:pt x="75" y="418"/>
                    <a:pt x="76" y="419"/>
                    <a:pt x="76" y="420"/>
                  </a:cubicBezTo>
                  <a:cubicBezTo>
                    <a:pt x="76" y="420"/>
                    <a:pt x="75" y="422"/>
                    <a:pt x="75" y="423"/>
                  </a:cubicBezTo>
                  <a:cubicBezTo>
                    <a:pt x="75" y="423"/>
                    <a:pt x="76" y="423"/>
                    <a:pt x="76" y="423"/>
                  </a:cubicBezTo>
                  <a:cubicBezTo>
                    <a:pt x="76" y="423"/>
                    <a:pt x="77" y="423"/>
                    <a:pt x="77" y="424"/>
                  </a:cubicBezTo>
                  <a:cubicBezTo>
                    <a:pt x="78" y="424"/>
                    <a:pt x="77" y="425"/>
                    <a:pt x="76" y="425"/>
                  </a:cubicBezTo>
                  <a:cubicBezTo>
                    <a:pt x="76" y="425"/>
                    <a:pt x="75" y="426"/>
                    <a:pt x="75" y="426"/>
                  </a:cubicBezTo>
                  <a:cubicBezTo>
                    <a:pt x="75" y="426"/>
                    <a:pt x="74" y="428"/>
                    <a:pt x="73" y="428"/>
                  </a:cubicBezTo>
                  <a:cubicBezTo>
                    <a:pt x="73" y="428"/>
                    <a:pt x="75" y="429"/>
                    <a:pt x="75" y="429"/>
                  </a:cubicBezTo>
                  <a:cubicBezTo>
                    <a:pt x="76" y="429"/>
                    <a:pt x="76" y="429"/>
                    <a:pt x="76" y="429"/>
                  </a:cubicBezTo>
                  <a:cubicBezTo>
                    <a:pt x="75" y="430"/>
                    <a:pt x="75" y="430"/>
                    <a:pt x="75" y="430"/>
                  </a:cubicBezTo>
                  <a:cubicBezTo>
                    <a:pt x="75" y="430"/>
                    <a:pt x="74" y="433"/>
                    <a:pt x="74" y="433"/>
                  </a:cubicBezTo>
                  <a:cubicBezTo>
                    <a:pt x="74" y="433"/>
                    <a:pt x="75" y="435"/>
                    <a:pt x="75" y="435"/>
                  </a:cubicBezTo>
                  <a:cubicBezTo>
                    <a:pt x="75" y="435"/>
                    <a:pt x="79" y="435"/>
                    <a:pt x="79" y="434"/>
                  </a:cubicBezTo>
                  <a:cubicBezTo>
                    <a:pt x="80" y="433"/>
                    <a:pt x="80" y="434"/>
                    <a:pt x="80" y="434"/>
                  </a:cubicBezTo>
                  <a:cubicBezTo>
                    <a:pt x="80" y="434"/>
                    <a:pt x="82" y="434"/>
                    <a:pt x="83" y="433"/>
                  </a:cubicBezTo>
                  <a:cubicBezTo>
                    <a:pt x="83" y="433"/>
                    <a:pt x="83" y="433"/>
                    <a:pt x="83" y="432"/>
                  </a:cubicBezTo>
                  <a:cubicBezTo>
                    <a:pt x="84" y="432"/>
                    <a:pt x="85" y="433"/>
                    <a:pt x="85" y="433"/>
                  </a:cubicBezTo>
                  <a:cubicBezTo>
                    <a:pt x="85" y="434"/>
                    <a:pt x="85" y="434"/>
                    <a:pt x="85" y="434"/>
                  </a:cubicBezTo>
                  <a:cubicBezTo>
                    <a:pt x="87" y="434"/>
                    <a:pt x="87" y="434"/>
                    <a:pt x="87" y="434"/>
                  </a:cubicBezTo>
                  <a:cubicBezTo>
                    <a:pt x="87" y="435"/>
                    <a:pt x="87" y="435"/>
                    <a:pt x="87" y="435"/>
                  </a:cubicBezTo>
                  <a:cubicBezTo>
                    <a:pt x="87" y="435"/>
                    <a:pt x="88" y="435"/>
                    <a:pt x="88" y="435"/>
                  </a:cubicBezTo>
                  <a:cubicBezTo>
                    <a:pt x="89" y="435"/>
                    <a:pt x="89" y="436"/>
                    <a:pt x="89" y="436"/>
                  </a:cubicBezTo>
                  <a:cubicBezTo>
                    <a:pt x="89" y="436"/>
                    <a:pt x="89" y="437"/>
                    <a:pt x="89" y="438"/>
                  </a:cubicBezTo>
                  <a:cubicBezTo>
                    <a:pt x="89" y="438"/>
                    <a:pt x="89" y="438"/>
                    <a:pt x="89" y="439"/>
                  </a:cubicBezTo>
                  <a:cubicBezTo>
                    <a:pt x="90" y="439"/>
                    <a:pt x="92" y="439"/>
                    <a:pt x="93" y="439"/>
                  </a:cubicBezTo>
                  <a:cubicBezTo>
                    <a:pt x="94" y="438"/>
                    <a:pt x="94" y="437"/>
                    <a:pt x="94" y="437"/>
                  </a:cubicBezTo>
                  <a:cubicBezTo>
                    <a:pt x="94" y="436"/>
                    <a:pt x="94" y="435"/>
                    <a:pt x="94" y="435"/>
                  </a:cubicBezTo>
                  <a:cubicBezTo>
                    <a:pt x="95" y="435"/>
                    <a:pt x="96" y="435"/>
                    <a:pt x="96" y="435"/>
                  </a:cubicBezTo>
                  <a:cubicBezTo>
                    <a:pt x="96" y="435"/>
                    <a:pt x="95" y="436"/>
                    <a:pt x="95" y="436"/>
                  </a:cubicBezTo>
                  <a:cubicBezTo>
                    <a:pt x="95" y="436"/>
                    <a:pt x="94" y="439"/>
                    <a:pt x="94" y="439"/>
                  </a:cubicBezTo>
                  <a:cubicBezTo>
                    <a:pt x="94" y="440"/>
                    <a:pt x="95" y="440"/>
                    <a:pt x="95" y="441"/>
                  </a:cubicBezTo>
                  <a:cubicBezTo>
                    <a:pt x="95" y="441"/>
                    <a:pt x="98" y="441"/>
                    <a:pt x="98" y="441"/>
                  </a:cubicBezTo>
                  <a:cubicBezTo>
                    <a:pt x="98" y="441"/>
                    <a:pt x="99" y="440"/>
                    <a:pt x="99" y="438"/>
                  </a:cubicBezTo>
                  <a:cubicBezTo>
                    <a:pt x="99" y="437"/>
                    <a:pt x="100" y="439"/>
                    <a:pt x="100" y="439"/>
                  </a:cubicBezTo>
                  <a:cubicBezTo>
                    <a:pt x="101" y="440"/>
                    <a:pt x="101" y="441"/>
                    <a:pt x="100" y="441"/>
                  </a:cubicBezTo>
                  <a:cubicBezTo>
                    <a:pt x="100" y="442"/>
                    <a:pt x="100" y="441"/>
                    <a:pt x="98" y="442"/>
                  </a:cubicBezTo>
                  <a:cubicBezTo>
                    <a:pt x="95" y="442"/>
                    <a:pt x="97" y="443"/>
                    <a:pt x="97" y="444"/>
                  </a:cubicBezTo>
                  <a:cubicBezTo>
                    <a:pt x="97" y="444"/>
                    <a:pt x="99" y="445"/>
                    <a:pt x="102" y="445"/>
                  </a:cubicBezTo>
                  <a:cubicBezTo>
                    <a:pt x="104" y="445"/>
                    <a:pt x="103" y="444"/>
                    <a:pt x="103" y="444"/>
                  </a:cubicBezTo>
                  <a:cubicBezTo>
                    <a:pt x="103" y="443"/>
                    <a:pt x="104" y="441"/>
                    <a:pt x="104" y="441"/>
                  </a:cubicBezTo>
                  <a:cubicBezTo>
                    <a:pt x="104" y="441"/>
                    <a:pt x="105" y="442"/>
                    <a:pt x="105" y="443"/>
                  </a:cubicBezTo>
                  <a:cubicBezTo>
                    <a:pt x="105" y="443"/>
                    <a:pt x="105" y="444"/>
                    <a:pt x="104" y="445"/>
                  </a:cubicBezTo>
                  <a:cubicBezTo>
                    <a:pt x="103" y="446"/>
                    <a:pt x="104" y="447"/>
                    <a:pt x="104" y="447"/>
                  </a:cubicBezTo>
                  <a:cubicBezTo>
                    <a:pt x="104" y="447"/>
                    <a:pt x="104" y="447"/>
                    <a:pt x="104" y="448"/>
                  </a:cubicBezTo>
                  <a:cubicBezTo>
                    <a:pt x="104" y="448"/>
                    <a:pt x="102" y="449"/>
                    <a:pt x="102" y="450"/>
                  </a:cubicBezTo>
                  <a:cubicBezTo>
                    <a:pt x="102" y="450"/>
                    <a:pt x="102" y="451"/>
                    <a:pt x="103" y="452"/>
                  </a:cubicBezTo>
                  <a:cubicBezTo>
                    <a:pt x="104" y="453"/>
                    <a:pt x="103" y="452"/>
                    <a:pt x="103" y="453"/>
                  </a:cubicBezTo>
                  <a:cubicBezTo>
                    <a:pt x="103" y="453"/>
                    <a:pt x="102" y="454"/>
                    <a:pt x="102" y="455"/>
                  </a:cubicBezTo>
                  <a:cubicBezTo>
                    <a:pt x="102" y="455"/>
                    <a:pt x="103" y="455"/>
                    <a:pt x="103" y="455"/>
                  </a:cubicBezTo>
                  <a:cubicBezTo>
                    <a:pt x="104" y="454"/>
                    <a:pt x="104" y="454"/>
                    <a:pt x="104" y="454"/>
                  </a:cubicBezTo>
                  <a:cubicBezTo>
                    <a:pt x="104" y="454"/>
                    <a:pt x="105" y="454"/>
                    <a:pt x="107" y="454"/>
                  </a:cubicBezTo>
                  <a:cubicBezTo>
                    <a:pt x="108" y="453"/>
                    <a:pt x="108" y="453"/>
                    <a:pt x="108" y="453"/>
                  </a:cubicBezTo>
                  <a:cubicBezTo>
                    <a:pt x="108" y="453"/>
                    <a:pt x="106" y="452"/>
                    <a:pt x="106" y="451"/>
                  </a:cubicBezTo>
                  <a:cubicBezTo>
                    <a:pt x="106" y="450"/>
                    <a:pt x="107" y="450"/>
                    <a:pt x="107" y="450"/>
                  </a:cubicBezTo>
                  <a:cubicBezTo>
                    <a:pt x="107" y="450"/>
                    <a:pt x="110" y="450"/>
                    <a:pt x="110" y="450"/>
                  </a:cubicBezTo>
                  <a:cubicBezTo>
                    <a:pt x="111" y="449"/>
                    <a:pt x="110" y="450"/>
                    <a:pt x="113" y="449"/>
                  </a:cubicBezTo>
                  <a:cubicBezTo>
                    <a:pt x="115" y="449"/>
                    <a:pt x="113" y="448"/>
                    <a:pt x="113" y="447"/>
                  </a:cubicBezTo>
                  <a:cubicBezTo>
                    <a:pt x="113" y="447"/>
                    <a:pt x="113" y="445"/>
                    <a:pt x="113" y="445"/>
                  </a:cubicBezTo>
                  <a:cubicBezTo>
                    <a:pt x="113" y="445"/>
                    <a:pt x="113" y="446"/>
                    <a:pt x="116" y="448"/>
                  </a:cubicBezTo>
                  <a:cubicBezTo>
                    <a:pt x="118" y="450"/>
                    <a:pt x="116" y="448"/>
                    <a:pt x="116" y="448"/>
                  </a:cubicBezTo>
                  <a:cubicBezTo>
                    <a:pt x="116" y="448"/>
                    <a:pt x="116" y="450"/>
                    <a:pt x="115" y="450"/>
                  </a:cubicBezTo>
                  <a:cubicBezTo>
                    <a:pt x="114" y="451"/>
                    <a:pt x="114" y="451"/>
                    <a:pt x="113" y="452"/>
                  </a:cubicBezTo>
                  <a:cubicBezTo>
                    <a:pt x="112" y="453"/>
                    <a:pt x="113" y="453"/>
                    <a:pt x="113" y="453"/>
                  </a:cubicBezTo>
                  <a:cubicBezTo>
                    <a:pt x="114" y="453"/>
                    <a:pt x="114" y="453"/>
                    <a:pt x="116" y="453"/>
                  </a:cubicBezTo>
                  <a:cubicBezTo>
                    <a:pt x="118" y="453"/>
                    <a:pt x="118" y="452"/>
                    <a:pt x="118" y="452"/>
                  </a:cubicBezTo>
                  <a:cubicBezTo>
                    <a:pt x="118" y="452"/>
                    <a:pt x="118" y="453"/>
                    <a:pt x="119" y="453"/>
                  </a:cubicBezTo>
                  <a:cubicBezTo>
                    <a:pt x="120" y="454"/>
                    <a:pt x="119" y="455"/>
                    <a:pt x="119" y="455"/>
                  </a:cubicBezTo>
                  <a:cubicBezTo>
                    <a:pt x="119" y="455"/>
                    <a:pt x="118" y="455"/>
                    <a:pt x="117" y="455"/>
                  </a:cubicBezTo>
                  <a:cubicBezTo>
                    <a:pt x="117" y="456"/>
                    <a:pt x="118" y="456"/>
                    <a:pt x="118" y="456"/>
                  </a:cubicBezTo>
                  <a:cubicBezTo>
                    <a:pt x="119" y="456"/>
                    <a:pt x="120" y="456"/>
                    <a:pt x="120" y="456"/>
                  </a:cubicBezTo>
                  <a:cubicBezTo>
                    <a:pt x="121" y="456"/>
                    <a:pt x="122" y="456"/>
                    <a:pt x="122" y="455"/>
                  </a:cubicBezTo>
                  <a:cubicBezTo>
                    <a:pt x="122" y="455"/>
                    <a:pt x="123" y="454"/>
                    <a:pt x="123" y="454"/>
                  </a:cubicBezTo>
                  <a:cubicBezTo>
                    <a:pt x="124" y="453"/>
                    <a:pt x="124" y="453"/>
                    <a:pt x="124" y="452"/>
                  </a:cubicBezTo>
                  <a:cubicBezTo>
                    <a:pt x="124" y="451"/>
                    <a:pt x="124" y="451"/>
                    <a:pt x="124" y="451"/>
                  </a:cubicBezTo>
                  <a:cubicBezTo>
                    <a:pt x="124" y="451"/>
                    <a:pt x="124" y="450"/>
                    <a:pt x="124" y="449"/>
                  </a:cubicBezTo>
                  <a:cubicBezTo>
                    <a:pt x="125" y="448"/>
                    <a:pt x="126" y="450"/>
                    <a:pt x="126" y="450"/>
                  </a:cubicBezTo>
                  <a:cubicBezTo>
                    <a:pt x="125" y="451"/>
                    <a:pt x="125" y="451"/>
                    <a:pt x="125" y="451"/>
                  </a:cubicBezTo>
                  <a:cubicBezTo>
                    <a:pt x="127" y="452"/>
                    <a:pt x="127" y="452"/>
                    <a:pt x="127" y="452"/>
                  </a:cubicBezTo>
                  <a:cubicBezTo>
                    <a:pt x="127" y="452"/>
                    <a:pt x="127" y="452"/>
                    <a:pt x="128" y="452"/>
                  </a:cubicBezTo>
                  <a:cubicBezTo>
                    <a:pt x="130" y="451"/>
                    <a:pt x="129" y="451"/>
                    <a:pt x="129" y="451"/>
                  </a:cubicBezTo>
                  <a:cubicBezTo>
                    <a:pt x="130" y="450"/>
                    <a:pt x="131" y="449"/>
                    <a:pt x="131" y="449"/>
                  </a:cubicBezTo>
                  <a:cubicBezTo>
                    <a:pt x="131" y="449"/>
                    <a:pt x="134" y="449"/>
                    <a:pt x="135" y="448"/>
                  </a:cubicBezTo>
                  <a:cubicBezTo>
                    <a:pt x="137" y="448"/>
                    <a:pt x="135" y="448"/>
                    <a:pt x="135" y="447"/>
                  </a:cubicBezTo>
                  <a:cubicBezTo>
                    <a:pt x="135" y="446"/>
                    <a:pt x="136" y="445"/>
                    <a:pt x="137" y="444"/>
                  </a:cubicBezTo>
                  <a:cubicBezTo>
                    <a:pt x="137" y="444"/>
                    <a:pt x="139" y="444"/>
                    <a:pt x="139" y="443"/>
                  </a:cubicBezTo>
                  <a:cubicBezTo>
                    <a:pt x="140" y="443"/>
                    <a:pt x="141" y="443"/>
                    <a:pt x="141" y="443"/>
                  </a:cubicBezTo>
                  <a:cubicBezTo>
                    <a:pt x="142" y="442"/>
                    <a:pt x="142" y="441"/>
                    <a:pt x="143" y="441"/>
                  </a:cubicBezTo>
                  <a:cubicBezTo>
                    <a:pt x="143" y="440"/>
                    <a:pt x="145" y="440"/>
                    <a:pt x="145" y="440"/>
                  </a:cubicBezTo>
                  <a:cubicBezTo>
                    <a:pt x="145" y="440"/>
                    <a:pt x="146" y="442"/>
                    <a:pt x="147" y="442"/>
                  </a:cubicBezTo>
                  <a:cubicBezTo>
                    <a:pt x="148" y="443"/>
                    <a:pt x="149" y="442"/>
                    <a:pt x="149" y="442"/>
                  </a:cubicBezTo>
                  <a:cubicBezTo>
                    <a:pt x="149" y="442"/>
                    <a:pt x="151" y="441"/>
                    <a:pt x="151" y="441"/>
                  </a:cubicBezTo>
                  <a:cubicBezTo>
                    <a:pt x="152" y="440"/>
                    <a:pt x="153" y="439"/>
                    <a:pt x="153" y="439"/>
                  </a:cubicBezTo>
                  <a:cubicBezTo>
                    <a:pt x="153" y="439"/>
                    <a:pt x="154" y="438"/>
                    <a:pt x="154" y="437"/>
                  </a:cubicBezTo>
                  <a:cubicBezTo>
                    <a:pt x="154" y="437"/>
                    <a:pt x="154" y="436"/>
                    <a:pt x="155" y="436"/>
                  </a:cubicBezTo>
                  <a:cubicBezTo>
                    <a:pt x="155" y="436"/>
                    <a:pt x="156" y="436"/>
                    <a:pt x="156" y="436"/>
                  </a:cubicBezTo>
                  <a:cubicBezTo>
                    <a:pt x="156" y="436"/>
                    <a:pt x="158" y="435"/>
                    <a:pt x="158" y="435"/>
                  </a:cubicBezTo>
                  <a:cubicBezTo>
                    <a:pt x="158" y="434"/>
                    <a:pt x="159" y="432"/>
                    <a:pt x="159" y="432"/>
                  </a:cubicBezTo>
                  <a:cubicBezTo>
                    <a:pt x="159" y="432"/>
                    <a:pt x="160" y="434"/>
                    <a:pt x="161" y="434"/>
                  </a:cubicBezTo>
                  <a:cubicBezTo>
                    <a:pt x="161" y="434"/>
                    <a:pt x="167" y="428"/>
                    <a:pt x="167" y="428"/>
                  </a:cubicBezTo>
                  <a:cubicBezTo>
                    <a:pt x="167" y="428"/>
                    <a:pt x="167" y="427"/>
                    <a:pt x="167" y="426"/>
                  </a:cubicBezTo>
                  <a:cubicBezTo>
                    <a:pt x="167" y="426"/>
                    <a:pt x="168" y="424"/>
                    <a:pt x="169" y="424"/>
                  </a:cubicBezTo>
                  <a:cubicBezTo>
                    <a:pt x="169" y="424"/>
                    <a:pt x="171" y="425"/>
                    <a:pt x="171" y="425"/>
                  </a:cubicBezTo>
                  <a:cubicBezTo>
                    <a:pt x="171" y="425"/>
                    <a:pt x="172" y="425"/>
                    <a:pt x="173" y="424"/>
                  </a:cubicBezTo>
                  <a:cubicBezTo>
                    <a:pt x="173" y="424"/>
                    <a:pt x="173" y="422"/>
                    <a:pt x="173" y="422"/>
                  </a:cubicBezTo>
                  <a:cubicBezTo>
                    <a:pt x="173" y="422"/>
                    <a:pt x="175" y="422"/>
                    <a:pt x="175" y="421"/>
                  </a:cubicBezTo>
                  <a:cubicBezTo>
                    <a:pt x="176" y="421"/>
                    <a:pt x="176" y="420"/>
                    <a:pt x="176" y="420"/>
                  </a:cubicBezTo>
                  <a:cubicBezTo>
                    <a:pt x="176" y="419"/>
                    <a:pt x="175" y="416"/>
                    <a:pt x="175" y="416"/>
                  </a:cubicBezTo>
                  <a:cubicBezTo>
                    <a:pt x="175" y="416"/>
                    <a:pt x="176" y="416"/>
                    <a:pt x="177" y="416"/>
                  </a:cubicBezTo>
                  <a:cubicBezTo>
                    <a:pt x="178" y="416"/>
                    <a:pt x="179" y="417"/>
                    <a:pt x="180" y="417"/>
                  </a:cubicBezTo>
                  <a:cubicBezTo>
                    <a:pt x="181" y="418"/>
                    <a:pt x="183" y="415"/>
                    <a:pt x="183" y="415"/>
                  </a:cubicBezTo>
                  <a:cubicBezTo>
                    <a:pt x="183" y="414"/>
                    <a:pt x="183" y="412"/>
                    <a:pt x="183" y="412"/>
                  </a:cubicBezTo>
                  <a:cubicBezTo>
                    <a:pt x="183" y="412"/>
                    <a:pt x="184" y="413"/>
                    <a:pt x="185" y="413"/>
                  </a:cubicBezTo>
                  <a:cubicBezTo>
                    <a:pt x="186" y="414"/>
                    <a:pt x="188" y="414"/>
                    <a:pt x="188" y="414"/>
                  </a:cubicBezTo>
                  <a:cubicBezTo>
                    <a:pt x="189" y="414"/>
                    <a:pt x="189" y="413"/>
                    <a:pt x="189" y="413"/>
                  </a:cubicBezTo>
                  <a:cubicBezTo>
                    <a:pt x="189" y="413"/>
                    <a:pt x="191" y="412"/>
                    <a:pt x="191" y="412"/>
                  </a:cubicBezTo>
                  <a:cubicBezTo>
                    <a:pt x="191" y="412"/>
                    <a:pt x="192" y="411"/>
                    <a:pt x="193" y="410"/>
                  </a:cubicBezTo>
                  <a:cubicBezTo>
                    <a:pt x="194" y="410"/>
                    <a:pt x="195" y="409"/>
                    <a:pt x="195" y="408"/>
                  </a:cubicBezTo>
                  <a:cubicBezTo>
                    <a:pt x="195" y="408"/>
                    <a:pt x="196" y="407"/>
                    <a:pt x="196" y="406"/>
                  </a:cubicBezTo>
                  <a:cubicBezTo>
                    <a:pt x="196" y="406"/>
                    <a:pt x="199" y="405"/>
                    <a:pt x="199" y="405"/>
                  </a:cubicBezTo>
                  <a:cubicBezTo>
                    <a:pt x="201" y="406"/>
                    <a:pt x="201" y="406"/>
                    <a:pt x="201" y="406"/>
                  </a:cubicBezTo>
                  <a:cubicBezTo>
                    <a:pt x="205" y="407"/>
                    <a:pt x="205" y="407"/>
                    <a:pt x="205" y="407"/>
                  </a:cubicBezTo>
                  <a:cubicBezTo>
                    <a:pt x="205" y="407"/>
                    <a:pt x="207" y="406"/>
                    <a:pt x="207" y="406"/>
                  </a:cubicBezTo>
                  <a:cubicBezTo>
                    <a:pt x="207" y="406"/>
                    <a:pt x="207" y="406"/>
                    <a:pt x="208" y="406"/>
                  </a:cubicBezTo>
                  <a:lnTo>
                    <a:pt x="207" y="405"/>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8" name="Freeform 232"/>
            <p:cNvSpPr>
              <a:spLocks/>
            </p:cNvSpPr>
            <p:nvPr/>
          </p:nvSpPr>
          <p:spPr bwMode="auto">
            <a:xfrm>
              <a:off x="6215116" y="3211716"/>
              <a:ext cx="495342" cy="276405"/>
            </a:xfrm>
            <a:custGeom>
              <a:avLst/>
              <a:gdLst>
                <a:gd name="T0" fmla="*/ 168 w 171"/>
                <a:gd name="T1" fmla="*/ 52 h 101"/>
                <a:gd name="T2" fmla="*/ 166 w 171"/>
                <a:gd name="T3" fmla="*/ 48 h 101"/>
                <a:gd name="T4" fmla="*/ 163 w 171"/>
                <a:gd name="T5" fmla="*/ 43 h 101"/>
                <a:gd name="T6" fmla="*/ 157 w 171"/>
                <a:gd name="T7" fmla="*/ 35 h 101"/>
                <a:gd name="T8" fmla="*/ 152 w 171"/>
                <a:gd name="T9" fmla="*/ 31 h 101"/>
                <a:gd name="T10" fmla="*/ 151 w 171"/>
                <a:gd name="T11" fmla="*/ 16 h 101"/>
                <a:gd name="T12" fmla="*/ 143 w 171"/>
                <a:gd name="T13" fmla="*/ 13 h 101"/>
                <a:gd name="T14" fmla="*/ 140 w 171"/>
                <a:gd name="T15" fmla="*/ 10 h 101"/>
                <a:gd name="T16" fmla="*/ 137 w 171"/>
                <a:gd name="T17" fmla="*/ 10 h 101"/>
                <a:gd name="T18" fmla="*/ 128 w 171"/>
                <a:gd name="T19" fmla="*/ 9 h 101"/>
                <a:gd name="T20" fmla="*/ 123 w 171"/>
                <a:gd name="T21" fmla="*/ 13 h 101"/>
                <a:gd name="T22" fmla="*/ 115 w 171"/>
                <a:gd name="T23" fmla="*/ 14 h 101"/>
                <a:gd name="T24" fmla="*/ 103 w 171"/>
                <a:gd name="T25" fmla="*/ 5 h 101"/>
                <a:gd name="T26" fmla="*/ 92 w 171"/>
                <a:gd name="T27" fmla="*/ 3 h 101"/>
                <a:gd name="T28" fmla="*/ 83 w 171"/>
                <a:gd name="T29" fmla="*/ 0 h 101"/>
                <a:gd name="T30" fmla="*/ 72 w 171"/>
                <a:gd name="T31" fmla="*/ 8 h 101"/>
                <a:gd name="T32" fmla="*/ 66 w 171"/>
                <a:gd name="T33" fmla="*/ 12 h 101"/>
                <a:gd name="T34" fmla="*/ 70 w 171"/>
                <a:gd name="T35" fmla="*/ 28 h 101"/>
                <a:gd name="T36" fmla="*/ 70 w 171"/>
                <a:gd name="T37" fmla="*/ 45 h 101"/>
                <a:gd name="T38" fmla="*/ 65 w 171"/>
                <a:gd name="T39" fmla="*/ 51 h 101"/>
                <a:gd name="T40" fmla="*/ 53 w 171"/>
                <a:gd name="T41" fmla="*/ 53 h 101"/>
                <a:gd name="T42" fmla="*/ 45 w 171"/>
                <a:gd name="T43" fmla="*/ 45 h 101"/>
                <a:gd name="T44" fmla="*/ 36 w 171"/>
                <a:gd name="T45" fmla="*/ 35 h 101"/>
                <a:gd name="T46" fmla="*/ 28 w 171"/>
                <a:gd name="T47" fmla="*/ 24 h 101"/>
                <a:gd name="T48" fmla="*/ 19 w 171"/>
                <a:gd name="T49" fmla="*/ 31 h 101"/>
                <a:gd name="T50" fmla="*/ 8 w 171"/>
                <a:gd name="T51" fmla="*/ 39 h 101"/>
                <a:gd name="T52" fmla="*/ 5 w 171"/>
                <a:gd name="T53" fmla="*/ 64 h 101"/>
                <a:gd name="T54" fmla="*/ 0 w 171"/>
                <a:gd name="T55" fmla="*/ 75 h 101"/>
                <a:gd name="T56" fmla="*/ 1 w 171"/>
                <a:gd name="T57" fmla="*/ 92 h 101"/>
                <a:gd name="T58" fmla="*/ 6 w 171"/>
                <a:gd name="T59" fmla="*/ 99 h 101"/>
                <a:gd name="T60" fmla="*/ 10 w 171"/>
                <a:gd name="T61" fmla="*/ 92 h 101"/>
                <a:gd name="T62" fmla="*/ 19 w 171"/>
                <a:gd name="T63" fmla="*/ 87 h 101"/>
                <a:gd name="T64" fmla="*/ 32 w 171"/>
                <a:gd name="T65" fmla="*/ 81 h 101"/>
                <a:gd name="T66" fmla="*/ 46 w 171"/>
                <a:gd name="T67" fmla="*/ 76 h 101"/>
                <a:gd name="T68" fmla="*/ 52 w 171"/>
                <a:gd name="T69" fmla="*/ 80 h 101"/>
                <a:gd name="T70" fmla="*/ 62 w 171"/>
                <a:gd name="T71" fmla="*/ 76 h 101"/>
                <a:gd name="T72" fmla="*/ 65 w 171"/>
                <a:gd name="T73" fmla="*/ 75 h 101"/>
                <a:gd name="T74" fmla="*/ 75 w 171"/>
                <a:gd name="T75" fmla="*/ 76 h 101"/>
                <a:gd name="T76" fmla="*/ 80 w 171"/>
                <a:gd name="T77" fmla="*/ 73 h 101"/>
                <a:gd name="T78" fmla="*/ 89 w 171"/>
                <a:gd name="T79" fmla="*/ 68 h 101"/>
                <a:gd name="T80" fmla="*/ 97 w 171"/>
                <a:gd name="T81" fmla="*/ 71 h 101"/>
                <a:gd name="T82" fmla="*/ 107 w 171"/>
                <a:gd name="T83" fmla="*/ 74 h 101"/>
                <a:gd name="T84" fmla="*/ 118 w 171"/>
                <a:gd name="T85" fmla="*/ 76 h 101"/>
                <a:gd name="T86" fmla="*/ 127 w 171"/>
                <a:gd name="T87" fmla="*/ 80 h 101"/>
                <a:gd name="T88" fmla="*/ 133 w 171"/>
                <a:gd name="T89" fmla="*/ 87 h 101"/>
                <a:gd name="T90" fmla="*/ 146 w 171"/>
                <a:gd name="T91" fmla="*/ 86 h 101"/>
                <a:gd name="T92" fmla="*/ 153 w 171"/>
                <a:gd name="T93" fmla="*/ 78 h 101"/>
                <a:gd name="T94" fmla="*/ 158 w 171"/>
                <a:gd name="T95" fmla="*/ 78 h 101"/>
                <a:gd name="T96" fmla="*/ 162 w 171"/>
                <a:gd name="T97" fmla="*/ 74 h 101"/>
                <a:gd name="T98" fmla="*/ 171 w 171"/>
                <a:gd name="T99" fmla="*/ 6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1" h="101">
                  <a:moveTo>
                    <a:pt x="171" y="58"/>
                  </a:moveTo>
                  <a:cubicBezTo>
                    <a:pt x="171" y="55"/>
                    <a:pt x="171" y="55"/>
                    <a:pt x="171" y="55"/>
                  </a:cubicBezTo>
                  <a:cubicBezTo>
                    <a:pt x="170" y="54"/>
                    <a:pt x="168" y="52"/>
                    <a:pt x="168" y="52"/>
                  </a:cubicBezTo>
                  <a:cubicBezTo>
                    <a:pt x="168" y="51"/>
                    <a:pt x="168" y="50"/>
                    <a:pt x="167" y="48"/>
                  </a:cubicBezTo>
                  <a:cubicBezTo>
                    <a:pt x="167" y="48"/>
                    <a:pt x="167" y="48"/>
                    <a:pt x="167" y="48"/>
                  </a:cubicBezTo>
                  <a:cubicBezTo>
                    <a:pt x="167" y="48"/>
                    <a:pt x="166" y="48"/>
                    <a:pt x="166" y="48"/>
                  </a:cubicBezTo>
                  <a:cubicBezTo>
                    <a:pt x="165" y="47"/>
                    <a:pt x="164" y="46"/>
                    <a:pt x="164" y="46"/>
                  </a:cubicBezTo>
                  <a:cubicBezTo>
                    <a:pt x="163" y="45"/>
                    <a:pt x="163" y="45"/>
                    <a:pt x="163" y="45"/>
                  </a:cubicBezTo>
                  <a:cubicBezTo>
                    <a:pt x="163" y="43"/>
                    <a:pt x="163" y="43"/>
                    <a:pt x="163" y="43"/>
                  </a:cubicBezTo>
                  <a:cubicBezTo>
                    <a:pt x="162" y="43"/>
                    <a:pt x="162" y="43"/>
                    <a:pt x="162" y="43"/>
                  </a:cubicBezTo>
                  <a:cubicBezTo>
                    <a:pt x="156" y="38"/>
                    <a:pt x="156" y="38"/>
                    <a:pt x="156" y="38"/>
                  </a:cubicBezTo>
                  <a:cubicBezTo>
                    <a:pt x="157" y="35"/>
                    <a:pt x="157" y="35"/>
                    <a:pt x="157" y="35"/>
                  </a:cubicBezTo>
                  <a:cubicBezTo>
                    <a:pt x="157" y="35"/>
                    <a:pt x="157" y="35"/>
                    <a:pt x="157" y="35"/>
                  </a:cubicBezTo>
                  <a:cubicBezTo>
                    <a:pt x="152" y="38"/>
                    <a:pt x="152" y="38"/>
                    <a:pt x="152" y="38"/>
                  </a:cubicBezTo>
                  <a:cubicBezTo>
                    <a:pt x="152" y="31"/>
                    <a:pt x="152" y="31"/>
                    <a:pt x="152" y="31"/>
                  </a:cubicBezTo>
                  <a:cubicBezTo>
                    <a:pt x="150" y="25"/>
                    <a:pt x="150" y="25"/>
                    <a:pt x="150" y="25"/>
                  </a:cubicBezTo>
                  <a:cubicBezTo>
                    <a:pt x="152" y="22"/>
                    <a:pt x="152" y="22"/>
                    <a:pt x="152" y="22"/>
                  </a:cubicBezTo>
                  <a:cubicBezTo>
                    <a:pt x="151" y="16"/>
                    <a:pt x="151" y="16"/>
                    <a:pt x="151" y="16"/>
                  </a:cubicBezTo>
                  <a:cubicBezTo>
                    <a:pt x="151" y="16"/>
                    <a:pt x="150" y="16"/>
                    <a:pt x="150" y="16"/>
                  </a:cubicBezTo>
                  <a:cubicBezTo>
                    <a:pt x="149" y="16"/>
                    <a:pt x="148" y="16"/>
                    <a:pt x="146" y="14"/>
                  </a:cubicBezTo>
                  <a:cubicBezTo>
                    <a:pt x="143" y="13"/>
                    <a:pt x="143" y="13"/>
                    <a:pt x="143" y="13"/>
                  </a:cubicBezTo>
                  <a:cubicBezTo>
                    <a:pt x="142" y="10"/>
                    <a:pt x="142" y="10"/>
                    <a:pt x="142" y="10"/>
                  </a:cubicBezTo>
                  <a:cubicBezTo>
                    <a:pt x="141" y="9"/>
                    <a:pt x="141" y="9"/>
                    <a:pt x="141" y="9"/>
                  </a:cubicBezTo>
                  <a:cubicBezTo>
                    <a:pt x="140" y="10"/>
                    <a:pt x="140" y="10"/>
                    <a:pt x="140" y="10"/>
                  </a:cubicBezTo>
                  <a:cubicBezTo>
                    <a:pt x="139" y="10"/>
                    <a:pt x="139" y="10"/>
                    <a:pt x="139" y="10"/>
                  </a:cubicBezTo>
                  <a:cubicBezTo>
                    <a:pt x="139" y="10"/>
                    <a:pt x="139" y="10"/>
                    <a:pt x="139" y="10"/>
                  </a:cubicBezTo>
                  <a:cubicBezTo>
                    <a:pt x="137" y="10"/>
                    <a:pt x="137" y="10"/>
                    <a:pt x="137" y="10"/>
                  </a:cubicBezTo>
                  <a:cubicBezTo>
                    <a:pt x="137" y="10"/>
                    <a:pt x="137" y="10"/>
                    <a:pt x="137" y="10"/>
                  </a:cubicBezTo>
                  <a:cubicBezTo>
                    <a:pt x="133" y="10"/>
                    <a:pt x="133" y="10"/>
                    <a:pt x="133" y="10"/>
                  </a:cubicBezTo>
                  <a:cubicBezTo>
                    <a:pt x="128" y="9"/>
                    <a:pt x="128" y="9"/>
                    <a:pt x="128" y="9"/>
                  </a:cubicBezTo>
                  <a:cubicBezTo>
                    <a:pt x="126" y="11"/>
                    <a:pt x="126" y="11"/>
                    <a:pt x="126" y="11"/>
                  </a:cubicBezTo>
                  <a:cubicBezTo>
                    <a:pt x="125" y="11"/>
                    <a:pt x="125" y="11"/>
                    <a:pt x="125" y="11"/>
                  </a:cubicBezTo>
                  <a:cubicBezTo>
                    <a:pt x="124" y="12"/>
                    <a:pt x="124" y="12"/>
                    <a:pt x="123" y="13"/>
                  </a:cubicBezTo>
                  <a:cubicBezTo>
                    <a:pt x="123" y="14"/>
                    <a:pt x="121" y="14"/>
                    <a:pt x="121" y="15"/>
                  </a:cubicBezTo>
                  <a:cubicBezTo>
                    <a:pt x="120" y="15"/>
                    <a:pt x="119" y="15"/>
                    <a:pt x="118" y="15"/>
                  </a:cubicBezTo>
                  <a:cubicBezTo>
                    <a:pt x="117" y="15"/>
                    <a:pt x="116" y="15"/>
                    <a:pt x="115" y="14"/>
                  </a:cubicBezTo>
                  <a:cubicBezTo>
                    <a:pt x="112" y="13"/>
                    <a:pt x="112" y="13"/>
                    <a:pt x="112" y="13"/>
                  </a:cubicBezTo>
                  <a:cubicBezTo>
                    <a:pt x="110" y="9"/>
                    <a:pt x="110" y="9"/>
                    <a:pt x="110" y="9"/>
                  </a:cubicBezTo>
                  <a:cubicBezTo>
                    <a:pt x="103" y="5"/>
                    <a:pt x="103" y="5"/>
                    <a:pt x="103" y="5"/>
                  </a:cubicBezTo>
                  <a:cubicBezTo>
                    <a:pt x="100" y="4"/>
                    <a:pt x="100" y="4"/>
                    <a:pt x="100" y="4"/>
                  </a:cubicBezTo>
                  <a:cubicBezTo>
                    <a:pt x="96" y="3"/>
                    <a:pt x="96" y="3"/>
                    <a:pt x="96" y="3"/>
                  </a:cubicBezTo>
                  <a:cubicBezTo>
                    <a:pt x="92" y="3"/>
                    <a:pt x="92" y="3"/>
                    <a:pt x="92" y="3"/>
                  </a:cubicBezTo>
                  <a:cubicBezTo>
                    <a:pt x="89" y="1"/>
                    <a:pt x="89" y="1"/>
                    <a:pt x="89" y="1"/>
                  </a:cubicBezTo>
                  <a:cubicBezTo>
                    <a:pt x="86" y="2"/>
                    <a:pt x="86" y="2"/>
                    <a:pt x="86" y="2"/>
                  </a:cubicBezTo>
                  <a:cubicBezTo>
                    <a:pt x="83" y="0"/>
                    <a:pt x="83" y="0"/>
                    <a:pt x="83" y="0"/>
                  </a:cubicBezTo>
                  <a:cubicBezTo>
                    <a:pt x="80" y="2"/>
                    <a:pt x="80" y="2"/>
                    <a:pt x="80" y="2"/>
                  </a:cubicBezTo>
                  <a:cubicBezTo>
                    <a:pt x="77" y="5"/>
                    <a:pt x="77" y="5"/>
                    <a:pt x="77" y="5"/>
                  </a:cubicBezTo>
                  <a:cubicBezTo>
                    <a:pt x="72" y="8"/>
                    <a:pt x="72" y="8"/>
                    <a:pt x="72" y="8"/>
                  </a:cubicBezTo>
                  <a:cubicBezTo>
                    <a:pt x="72" y="9"/>
                    <a:pt x="70" y="11"/>
                    <a:pt x="68" y="12"/>
                  </a:cubicBezTo>
                  <a:cubicBezTo>
                    <a:pt x="66" y="13"/>
                    <a:pt x="66" y="13"/>
                    <a:pt x="66" y="13"/>
                  </a:cubicBezTo>
                  <a:cubicBezTo>
                    <a:pt x="66" y="12"/>
                    <a:pt x="66" y="12"/>
                    <a:pt x="66" y="12"/>
                  </a:cubicBezTo>
                  <a:cubicBezTo>
                    <a:pt x="66" y="13"/>
                    <a:pt x="66" y="14"/>
                    <a:pt x="66" y="15"/>
                  </a:cubicBezTo>
                  <a:cubicBezTo>
                    <a:pt x="69" y="21"/>
                    <a:pt x="69" y="21"/>
                    <a:pt x="69" y="21"/>
                  </a:cubicBezTo>
                  <a:cubicBezTo>
                    <a:pt x="69" y="21"/>
                    <a:pt x="70" y="26"/>
                    <a:pt x="70" y="28"/>
                  </a:cubicBezTo>
                  <a:cubicBezTo>
                    <a:pt x="70" y="29"/>
                    <a:pt x="71" y="30"/>
                    <a:pt x="72" y="32"/>
                  </a:cubicBezTo>
                  <a:cubicBezTo>
                    <a:pt x="73" y="35"/>
                    <a:pt x="74" y="36"/>
                    <a:pt x="74" y="37"/>
                  </a:cubicBezTo>
                  <a:cubicBezTo>
                    <a:pt x="74" y="38"/>
                    <a:pt x="71" y="44"/>
                    <a:pt x="70" y="45"/>
                  </a:cubicBezTo>
                  <a:cubicBezTo>
                    <a:pt x="70" y="45"/>
                    <a:pt x="69" y="46"/>
                    <a:pt x="68" y="48"/>
                  </a:cubicBezTo>
                  <a:cubicBezTo>
                    <a:pt x="67" y="49"/>
                    <a:pt x="67" y="49"/>
                    <a:pt x="67" y="49"/>
                  </a:cubicBezTo>
                  <a:cubicBezTo>
                    <a:pt x="67" y="50"/>
                    <a:pt x="66" y="50"/>
                    <a:pt x="65" y="51"/>
                  </a:cubicBezTo>
                  <a:cubicBezTo>
                    <a:pt x="64" y="52"/>
                    <a:pt x="62" y="54"/>
                    <a:pt x="62" y="54"/>
                  </a:cubicBezTo>
                  <a:cubicBezTo>
                    <a:pt x="61" y="55"/>
                    <a:pt x="57" y="54"/>
                    <a:pt x="56" y="54"/>
                  </a:cubicBezTo>
                  <a:cubicBezTo>
                    <a:pt x="53" y="53"/>
                    <a:pt x="53" y="53"/>
                    <a:pt x="53" y="53"/>
                  </a:cubicBezTo>
                  <a:cubicBezTo>
                    <a:pt x="53" y="53"/>
                    <a:pt x="49" y="51"/>
                    <a:pt x="48" y="49"/>
                  </a:cubicBezTo>
                  <a:cubicBezTo>
                    <a:pt x="48" y="48"/>
                    <a:pt x="47" y="47"/>
                    <a:pt x="46" y="47"/>
                  </a:cubicBezTo>
                  <a:cubicBezTo>
                    <a:pt x="46" y="46"/>
                    <a:pt x="45" y="45"/>
                    <a:pt x="45" y="45"/>
                  </a:cubicBezTo>
                  <a:cubicBezTo>
                    <a:pt x="43" y="42"/>
                    <a:pt x="44" y="41"/>
                    <a:pt x="44" y="41"/>
                  </a:cubicBezTo>
                  <a:cubicBezTo>
                    <a:pt x="42" y="38"/>
                    <a:pt x="42" y="38"/>
                    <a:pt x="42" y="38"/>
                  </a:cubicBezTo>
                  <a:cubicBezTo>
                    <a:pt x="36" y="35"/>
                    <a:pt x="36" y="35"/>
                    <a:pt x="36" y="35"/>
                  </a:cubicBezTo>
                  <a:cubicBezTo>
                    <a:pt x="33" y="33"/>
                    <a:pt x="33" y="33"/>
                    <a:pt x="33" y="33"/>
                  </a:cubicBezTo>
                  <a:cubicBezTo>
                    <a:pt x="29" y="31"/>
                    <a:pt x="29" y="31"/>
                    <a:pt x="29" y="31"/>
                  </a:cubicBezTo>
                  <a:cubicBezTo>
                    <a:pt x="29" y="29"/>
                    <a:pt x="28" y="25"/>
                    <a:pt x="28" y="24"/>
                  </a:cubicBezTo>
                  <a:cubicBezTo>
                    <a:pt x="28" y="24"/>
                    <a:pt x="27" y="25"/>
                    <a:pt x="27" y="25"/>
                  </a:cubicBezTo>
                  <a:cubicBezTo>
                    <a:pt x="26" y="26"/>
                    <a:pt x="25" y="26"/>
                    <a:pt x="25" y="26"/>
                  </a:cubicBezTo>
                  <a:cubicBezTo>
                    <a:pt x="24" y="26"/>
                    <a:pt x="21" y="29"/>
                    <a:pt x="19" y="31"/>
                  </a:cubicBezTo>
                  <a:cubicBezTo>
                    <a:pt x="15" y="35"/>
                    <a:pt x="15" y="35"/>
                    <a:pt x="15" y="35"/>
                  </a:cubicBezTo>
                  <a:cubicBezTo>
                    <a:pt x="15" y="35"/>
                    <a:pt x="10" y="35"/>
                    <a:pt x="9" y="36"/>
                  </a:cubicBezTo>
                  <a:cubicBezTo>
                    <a:pt x="9" y="36"/>
                    <a:pt x="8" y="37"/>
                    <a:pt x="8" y="39"/>
                  </a:cubicBezTo>
                  <a:cubicBezTo>
                    <a:pt x="5" y="53"/>
                    <a:pt x="5" y="53"/>
                    <a:pt x="5" y="53"/>
                  </a:cubicBezTo>
                  <a:cubicBezTo>
                    <a:pt x="6" y="58"/>
                    <a:pt x="6" y="58"/>
                    <a:pt x="6" y="58"/>
                  </a:cubicBezTo>
                  <a:cubicBezTo>
                    <a:pt x="6" y="58"/>
                    <a:pt x="5" y="64"/>
                    <a:pt x="5" y="64"/>
                  </a:cubicBezTo>
                  <a:cubicBezTo>
                    <a:pt x="5" y="65"/>
                    <a:pt x="5" y="65"/>
                    <a:pt x="3" y="67"/>
                  </a:cubicBezTo>
                  <a:cubicBezTo>
                    <a:pt x="2" y="69"/>
                    <a:pt x="0" y="71"/>
                    <a:pt x="0" y="71"/>
                  </a:cubicBezTo>
                  <a:cubicBezTo>
                    <a:pt x="0" y="72"/>
                    <a:pt x="0" y="75"/>
                    <a:pt x="0" y="75"/>
                  </a:cubicBezTo>
                  <a:cubicBezTo>
                    <a:pt x="0" y="75"/>
                    <a:pt x="1" y="83"/>
                    <a:pt x="2" y="84"/>
                  </a:cubicBezTo>
                  <a:cubicBezTo>
                    <a:pt x="3" y="86"/>
                    <a:pt x="3" y="89"/>
                    <a:pt x="3" y="89"/>
                  </a:cubicBezTo>
                  <a:cubicBezTo>
                    <a:pt x="1" y="92"/>
                    <a:pt x="1" y="92"/>
                    <a:pt x="1" y="92"/>
                  </a:cubicBezTo>
                  <a:cubicBezTo>
                    <a:pt x="1" y="95"/>
                    <a:pt x="3" y="100"/>
                    <a:pt x="3" y="101"/>
                  </a:cubicBezTo>
                  <a:cubicBezTo>
                    <a:pt x="4" y="101"/>
                    <a:pt x="4" y="101"/>
                    <a:pt x="4" y="101"/>
                  </a:cubicBezTo>
                  <a:cubicBezTo>
                    <a:pt x="4" y="100"/>
                    <a:pt x="6" y="100"/>
                    <a:pt x="6" y="99"/>
                  </a:cubicBezTo>
                  <a:cubicBezTo>
                    <a:pt x="6" y="99"/>
                    <a:pt x="7" y="99"/>
                    <a:pt x="8" y="99"/>
                  </a:cubicBezTo>
                  <a:cubicBezTo>
                    <a:pt x="8" y="95"/>
                    <a:pt x="8" y="95"/>
                    <a:pt x="8" y="95"/>
                  </a:cubicBezTo>
                  <a:cubicBezTo>
                    <a:pt x="10" y="92"/>
                    <a:pt x="10" y="92"/>
                    <a:pt x="10" y="92"/>
                  </a:cubicBezTo>
                  <a:cubicBezTo>
                    <a:pt x="13" y="91"/>
                    <a:pt x="13" y="91"/>
                    <a:pt x="13" y="91"/>
                  </a:cubicBezTo>
                  <a:cubicBezTo>
                    <a:pt x="15" y="87"/>
                    <a:pt x="15" y="87"/>
                    <a:pt x="15" y="87"/>
                  </a:cubicBezTo>
                  <a:cubicBezTo>
                    <a:pt x="19" y="87"/>
                    <a:pt x="19" y="87"/>
                    <a:pt x="19" y="87"/>
                  </a:cubicBezTo>
                  <a:cubicBezTo>
                    <a:pt x="23" y="84"/>
                    <a:pt x="23" y="84"/>
                    <a:pt x="23" y="84"/>
                  </a:cubicBezTo>
                  <a:cubicBezTo>
                    <a:pt x="26" y="81"/>
                    <a:pt x="26" y="81"/>
                    <a:pt x="26" y="81"/>
                  </a:cubicBezTo>
                  <a:cubicBezTo>
                    <a:pt x="32" y="81"/>
                    <a:pt x="32" y="81"/>
                    <a:pt x="32" y="81"/>
                  </a:cubicBezTo>
                  <a:cubicBezTo>
                    <a:pt x="33" y="81"/>
                    <a:pt x="34" y="81"/>
                    <a:pt x="37" y="80"/>
                  </a:cubicBezTo>
                  <a:cubicBezTo>
                    <a:pt x="37" y="80"/>
                    <a:pt x="41" y="79"/>
                    <a:pt x="43" y="79"/>
                  </a:cubicBezTo>
                  <a:cubicBezTo>
                    <a:pt x="46" y="76"/>
                    <a:pt x="46" y="76"/>
                    <a:pt x="46" y="76"/>
                  </a:cubicBezTo>
                  <a:cubicBezTo>
                    <a:pt x="47" y="77"/>
                    <a:pt x="47" y="77"/>
                    <a:pt x="47" y="77"/>
                  </a:cubicBezTo>
                  <a:cubicBezTo>
                    <a:pt x="48" y="77"/>
                    <a:pt x="51" y="78"/>
                    <a:pt x="51" y="79"/>
                  </a:cubicBezTo>
                  <a:cubicBezTo>
                    <a:pt x="52" y="80"/>
                    <a:pt x="52" y="80"/>
                    <a:pt x="52" y="80"/>
                  </a:cubicBezTo>
                  <a:cubicBezTo>
                    <a:pt x="52" y="80"/>
                    <a:pt x="53" y="79"/>
                    <a:pt x="53" y="79"/>
                  </a:cubicBezTo>
                  <a:cubicBezTo>
                    <a:pt x="53" y="78"/>
                    <a:pt x="53" y="78"/>
                    <a:pt x="53" y="78"/>
                  </a:cubicBezTo>
                  <a:cubicBezTo>
                    <a:pt x="62" y="76"/>
                    <a:pt x="62" y="76"/>
                    <a:pt x="62" y="76"/>
                  </a:cubicBezTo>
                  <a:cubicBezTo>
                    <a:pt x="63" y="76"/>
                    <a:pt x="64" y="75"/>
                    <a:pt x="65" y="75"/>
                  </a:cubicBezTo>
                  <a:cubicBezTo>
                    <a:pt x="65" y="75"/>
                    <a:pt x="65" y="75"/>
                    <a:pt x="65" y="75"/>
                  </a:cubicBezTo>
                  <a:cubicBezTo>
                    <a:pt x="65" y="75"/>
                    <a:pt x="65" y="75"/>
                    <a:pt x="65" y="75"/>
                  </a:cubicBezTo>
                  <a:cubicBezTo>
                    <a:pt x="66" y="75"/>
                    <a:pt x="68" y="76"/>
                    <a:pt x="71" y="76"/>
                  </a:cubicBezTo>
                  <a:cubicBezTo>
                    <a:pt x="75" y="76"/>
                    <a:pt x="75" y="76"/>
                    <a:pt x="75" y="76"/>
                  </a:cubicBezTo>
                  <a:cubicBezTo>
                    <a:pt x="75" y="76"/>
                    <a:pt x="75" y="76"/>
                    <a:pt x="75" y="76"/>
                  </a:cubicBezTo>
                  <a:cubicBezTo>
                    <a:pt x="77" y="77"/>
                    <a:pt x="77" y="77"/>
                    <a:pt x="78" y="77"/>
                  </a:cubicBezTo>
                  <a:cubicBezTo>
                    <a:pt x="78" y="76"/>
                    <a:pt x="79" y="75"/>
                    <a:pt x="80" y="74"/>
                  </a:cubicBezTo>
                  <a:cubicBezTo>
                    <a:pt x="80" y="73"/>
                    <a:pt x="80" y="73"/>
                    <a:pt x="80" y="73"/>
                  </a:cubicBezTo>
                  <a:cubicBezTo>
                    <a:pt x="85" y="74"/>
                    <a:pt x="85" y="74"/>
                    <a:pt x="85" y="74"/>
                  </a:cubicBezTo>
                  <a:cubicBezTo>
                    <a:pt x="85" y="74"/>
                    <a:pt x="85" y="74"/>
                    <a:pt x="85" y="74"/>
                  </a:cubicBezTo>
                  <a:cubicBezTo>
                    <a:pt x="88" y="69"/>
                    <a:pt x="88" y="68"/>
                    <a:pt x="89" y="68"/>
                  </a:cubicBezTo>
                  <a:cubicBezTo>
                    <a:pt x="89" y="68"/>
                    <a:pt x="92" y="66"/>
                    <a:pt x="92" y="66"/>
                  </a:cubicBezTo>
                  <a:cubicBezTo>
                    <a:pt x="94" y="65"/>
                    <a:pt x="94" y="65"/>
                    <a:pt x="94" y="65"/>
                  </a:cubicBezTo>
                  <a:cubicBezTo>
                    <a:pt x="97" y="71"/>
                    <a:pt x="97" y="71"/>
                    <a:pt x="97" y="71"/>
                  </a:cubicBezTo>
                  <a:cubicBezTo>
                    <a:pt x="101" y="74"/>
                    <a:pt x="101" y="74"/>
                    <a:pt x="101" y="74"/>
                  </a:cubicBezTo>
                  <a:cubicBezTo>
                    <a:pt x="103" y="76"/>
                    <a:pt x="103" y="76"/>
                    <a:pt x="103" y="76"/>
                  </a:cubicBezTo>
                  <a:cubicBezTo>
                    <a:pt x="107" y="74"/>
                    <a:pt x="107" y="74"/>
                    <a:pt x="107" y="74"/>
                  </a:cubicBezTo>
                  <a:cubicBezTo>
                    <a:pt x="114" y="74"/>
                    <a:pt x="114" y="74"/>
                    <a:pt x="114" y="74"/>
                  </a:cubicBezTo>
                  <a:cubicBezTo>
                    <a:pt x="116" y="76"/>
                    <a:pt x="116" y="76"/>
                    <a:pt x="116" y="76"/>
                  </a:cubicBezTo>
                  <a:cubicBezTo>
                    <a:pt x="118" y="76"/>
                    <a:pt x="118" y="76"/>
                    <a:pt x="118" y="76"/>
                  </a:cubicBezTo>
                  <a:cubicBezTo>
                    <a:pt x="122" y="77"/>
                    <a:pt x="122" y="77"/>
                    <a:pt x="122" y="77"/>
                  </a:cubicBezTo>
                  <a:cubicBezTo>
                    <a:pt x="124" y="80"/>
                    <a:pt x="124" y="80"/>
                    <a:pt x="124" y="80"/>
                  </a:cubicBezTo>
                  <a:cubicBezTo>
                    <a:pt x="127" y="80"/>
                    <a:pt x="127" y="80"/>
                    <a:pt x="127" y="80"/>
                  </a:cubicBezTo>
                  <a:cubicBezTo>
                    <a:pt x="130" y="84"/>
                    <a:pt x="130" y="84"/>
                    <a:pt x="130" y="84"/>
                  </a:cubicBezTo>
                  <a:cubicBezTo>
                    <a:pt x="132" y="84"/>
                    <a:pt x="132" y="84"/>
                    <a:pt x="132" y="84"/>
                  </a:cubicBezTo>
                  <a:cubicBezTo>
                    <a:pt x="133" y="87"/>
                    <a:pt x="133" y="87"/>
                    <a:pt x="133" y="87"/>
                  </a:cubicBezTo>
                  <a:cubicBezTo>
                    <a:pt x="141" y="88"/>
                    <a:pt x="141" y="88"/>
                    <a:pt x="141" y="88"/>
                  </a:cubicBezTo>
                  <a:cubicBezTo>
                    <a:pt x="141" y="88"/>
                    <a:pt x="142" y="87"/>
                    <a:pt x="143" y="87"/>
                  </a:cubicBezTo>
                  <a:cubicBezTo>
                    <a:pt x="144" y="86"/>
                    <a:pt x="145" y="86"/>
                    <a:pt x="146" y="86"/>
                  </a:cubicBezTo>
                  <a:cubicBezTo>
                    <a:pt x="147" y="82"/>
                    <a:pt x="147" y="82"/>
                    <a:pt x="147" y="82"/>
                  </a:cubicBezTo>
                  <a:cubicBezTo>
                    <a:pt x="149" y="80"/>
                    <a:pt x="149" y="80"/>
                    <a:pt x="149" y="80"/>
                  </a:cubicBezTo>
                  <a:cubicBezTo>
                    <a:pt x="149" y="79"/>
                    <a:pt x="151" y="78"/>
                    <a:pt x="153" y="78"/>
                  </a:cubicBezTo>
                  <a:cubicBezTo>
                    <a:pt x="155" y="78"/>
                    <a:pt x="155" y="78"/>
                    <a:pt x="155" y="78"/>
                  </a:cubicBezTo>
                  <a:cubicBezTo>
                    <a:pt x="157" y="78"/>
                    <a:pt x="157" y="78"/>
                    <a:pt x="157" y="78"/>
                  </a:cubicBezTo>
                  <a:cubicBezTo>
                    <a:pt x="158" y="78"/>
                    <a:pt x="158" y="78"/>
                    <a:pt x="158" y="78"/>
                  </a:cubicBezTo>
                  <a:cubicBezTo>
                    <a:pt x="163" y="78"/>
                    <a:pt x="163" y="78"/>
                    <a:pt x="163" y="78"/>
                  </a:cubicBezTo>
                  <a:cubicBezTo>
                    <a:pt x="163" y="78"/>
                    <a:pt x="163" y="78"/>
                    <a:pt x="163" y="78"/>
                  </a:cubicBezTo>
                  <a:cubicBezTo>
                    <a:pt x="162" y="74"/>
                    <a:pt x="162" y="74"/>
                    <a:pt x="162" y="74"/>
                  </a:cubicBezTo>
                  <a:cubicBezTo>
                    <a:pt x="166" y="69"/>
                    <a:pt x="166" y="69"/>
                    <a:pt x="166" y="69"/>
                  </a:cubicBezTo>
                  <a:cubicBezTo>
                    <a:pt x="167" y="63"/>
                    <a:pt x="167" y="63"/>
                    <a:pt x="167" y="63"/>
                  </a:cubicBezTo>
                  <a:cubicBezTo>
                    <a:pt x="171" y="61"/>
                    <a:pt x="171" y="61"/>
                    <a:pt x="171" y="61"/>
                  </a:cubicBezTo>
                  <a:cubicBezTo>
                    <a:pt x="171" y="60"/>
                    <a:pt x="171" y="59"/>
                    <a:pt x="171" y="58"/>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9" name="Freeform 235"/>
            <p:cNvSpPr>
              <a:spLocks/>
            </p:cNvSpPr>
            <p:nvPr/>
          </p:nvSpPr>
          <p:spPr bwMode="auto">
            <a:xfrm>
              <a:off x="6462066" y="3383276"/>
              <a:ext cx="657087" cy="580041"/>
            </a:xfrm>
            <a:custGeom>
              <a:avLst/>
              <a:gdLst>
                <a:gd name="T0" fmla="*/ 21 w 227"/>
                <a:gd name="T1" fmla="*/ 158 h 212"/>
                <a:gd name="T2" fmla="*/ 20 w 227"/>
                <a:gd name="T3" fmla="*/ 168 h 212"/>
                <a:gd name="T4" fmla="*/ 10 w 227"/>
                <a:gd name="T5" fmla="*/ 180 h 212"/>
                <a:gd name="T6" fmla="*/ 14 w 227"/>
                <a:gd name="T7" fmla="*/ 190 h 212"/>
                <a:gd name="T8" fmla="*/ 21 w 227"/>
                <a:gd name="T9" fmla="*/ 199 h 212"/>
                <a:gd name="T10" fmla="*/ 21 w 227"/>
                <a:gd name="T11" fmla="*/ 212 h 212"/>
                <a:gd name="T12" fmla="*/ 32 w 227"/>
                <a:gd name="T13" fmla="*/ 209 h 212"/>
                <a:gd name="T14" fmla="*/ 37 w 227"/>
                <a:gd name="T15" fmla="*/ 201 h 212"/>
                <a:gd name="T16" fmla="*/ 60 w 227"/>
                <a:gd name="T17" fmla="*/ 190 h 212"/>
                <a:gd name="T18" fmla="*/ 95 w 227"/>
                <a:gd name="T19" fmla="*/ 188 h 212"/>
                <a:gd name="T20" fmla="*/ 112 w 227"/>
                <a:gd name="T21" fmla="*/ 188 h 212"/>
                <a:gd name="T22" fmla="*/ 121 w 227"/>
                <a:gd name="T23" fmla="*/ 190 h 212"/>
                <a:gd name="T24" fmla="*/ 130 w 227"/>
                <a:gd name="T25" fmla="*/ 189 h 212"/>
                <a:gd name="T26" fmla="*/ 145 w 227"/>
                <a:gd name="T27" fmla="*/ 187 h 212"/>
                <a:gd name="T28" fmla="*/ 164 w 227"/>
                <a:gd name="T29" fmla="*/ 180 h 212"/>
                <a:gd name="T30" fmla="*/ 175 w 227"/>
                <a:gd name="T31" fmla="*/ 184 h 212"/>
                <a:gd name="T32" fmla="*/ 191 w 227"/>
                <a:gd name="T33" fmla="*/ 177 h 212"/>
                <a:gd name="T34" fmla="*/ 203 w 227"/>
                <a:gd name="T35" fmla="*/ 182 h 212"/>
                <a:gd name="T36" fmla="*/ 202 w 227"/>
                <a:gd name="T37" fmla="*/ 143 h 212"/>
                <a:gd name="T38" fmla="*/ 218 w 227"/>
                <a:gd name="T39" fmla="*/ 137 h 212"/>
                <a:gd name="T40" fmla="*/ 213 w 227"/>
                <a:gd name="T41" fmla="*/ 130 h 212"/>
                <a:gd name="T42" fmla="*/ 206 w 227"/>
                <a:gd name="T43" fmla="*/ 118 h 212"/>
                <a:gd name="T44" fmla="*/ 201 w 227"/>
                <a:gd name="T45" fmla="*/ 111 h 212"/>
                <a:gd name="T46" fmla="*/ 203 w 227"/>
                <a:gd name="T47" fmla="*/ 94 h 212"/>
                <a:gd name="T48" fmla="*/ 217 w 227"/>
                <a:gd name="T49" fmla="*/ 93 h 212"/>
                <a:gd name="T50" fmla="*/ 227 w 227"/>
                <a:gd name="T51" fmla="*/ 82 h 212"/>
                <a:gd name="T52" fmla="*/ 216 w 227"/>
                <a:gd name="T53" fmla="*/ 73 h 212"/>
                <a:gd name="T54" fmla="*/ 208 w 227"/>
                <a:gd name="T55" fmla="*/ 70 h 212"/>
                <a:gd name="T56" fmla="*/ 196 w 227"/>
                <a:gd name="T57" fmla="*/ 61 h 212"/>
                <a:gd name="T58" fmla="*/ 179 w 227"/>
                <a:gd name="T59" fmla="*/ 50 h 212"/>
                <a:gd name="T60" fmla="*/ 174 w 227"/>
                <a:gd name="T61" fmla="*/ 43 h 212"/>
                <a:gd name="T62" fmla="*/ 164 w 227"/>
                <a:gd name="T63" fmla="*/ 29 h 212"/>
                <a:gd name="T64" fmla="*/ 158 w 227"/>
                <a:gd name="T65" fmla="*/ 15 h 212"/>
                <a:gd name="T66" fmla="*/ 154 w 227"/>
                <a:gd name="T67" fmla="*/ 6 h 212"/>
                <a:gd name="T68" fmla="*/ 136 w 227"/>
                <a:gd name="T69" fmla="*/ 2 h 212"/>
                <a:gd name="T70" fmla="*/ 124 w 227"/>
                <a:gd name="T71" fmla="*/ 11 h 212"/>
                <a:gd name="T72" fmla="*/ 119 w 227"/>
                <a:gd name="T73" fmla="*/ 7 h 212"/>
                <a:gd name="T74" fmla="*/ 108 w 227"/>
                <a:gd name="T75" fmla="*/ 5 h 212"/>
                <a:gd name="T76" fmla="*/ 97 w 227"/>
                <a:gd name="T77" fmla="*/ 2 h 212"/>
                <a:gd name="T78" fmla="*/ 92 w 227"/>
                <a:gd name="T79" fmla="*/ 4 h 212"/>
                <a:gd name="T80" fmla="*/ 86 w 227"/>
                <a:gd name="T81" fmla="*/ 1 h 212"/>
                <a:gd name="T82" fmla="*/ 79 w 227"/>
                <a:gd name="T83" fmla="*/ 11 h 212"/>
                <a:gd name="T84" fmla="*/ 69 w 227"/>
                <a:gd name="T85" fmla="*/ 18 h 212"/>
                <a:gd name="T86" fmla="*/ 59 w 227"/>
                <a:gd name="T87" fmla="*/ 26 h 212"/>
                <a:gd name="T88" fmla="*/ 57 w 227"/>
                <a:gd name="T89" fmla="*/ 42 h 212"/>
                <a:gd name="T90" fmla="*/ 63 w 227"/>
                <a:gd name="T91" fmla="*/ 47 h 212"/>
                <a:gd name="T92" fmla="*/ 54 w 227"/>
                <a:gd name="T93" fmla="*/ 59 h 212"/>
                <a:gd name="T94" fmla="*/ 45 w 227"/>
                <a:gd name="T95" fmla="*/ 70 h 212"/>
                <a:gd name="T96" fmla="*/ 47 w 227"/>
                <a:gd name="T97" fmla="*/ 89 h 212"/>
                <a:gd name="T98" fmla="*/ 46 w 227"/>
                <a:gd name="T99" fmla="*/ 96 h 212"/>
                <a:gd name="T100" fmla="*/ 37 w 227"/>
                <a:gd name="T101" fmla="*/ 96 h 212"/>
                <a:gd name="T102" fmla="*/ 29 w 227"/>
                <a:gd name="T103" fmla="*/ 102 h 212"/>
                <a:gd name="T104" fmla="*/ 18 w 227"/>
                <a:gd name="T105" fmla="*/ 113 h 212"/>
                <a:gd name="T106" fmla="*/ 1 w 227"/>
                <a:gd name="T107" fmla="*/ 11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7" h="212">
                  <a:moveTo>
                    <a:pt x="11" y="138"/>
                  </a:moveTo>
                  <a:cubicBezTo>
                    <a:pt x="17" y="147"/>
                    <a:pt x="17" y="147"/>
                    <a:pt x="17" y="147"/>
                  </a:cubicBezTo>
                  <a:cubicBezTo>
                    <a:pt x="18" y="153"/>
                    <a:pt x="18" y="153"/>
                    <a:pt x="18" y="153"/>
                  </a:cubicBezTo>
                  <a:cubicBezTo>
                    <a:pt x="19" y="155"/>
                    <a:pt x="20" y="157"/>
                    <a:pt x="21" y="158"/>
                  </a:cubicBezTo>
                  <a:cubicBezTo>
                    <a:pt x="21" y="158"/>
                    <a:pt x="21" y="159"/>
                    <a:pt x="21" y="160"/>
                  </a:cubicBezTo>
                  <a:cubicBezTo>
                    <a:pt x="21" y="161"/>
                    <a:pt x="21" y="161"/>
                    <a:pt x="21" y="162"/>
                  </a:cubicBezTo>
                  <a:cubicBezTo>
                    <a:pt x="21" y="162"/>
                    <a:pt x="21" y="162"/>
                    <a:pt x="21" y="162"/>
                  </a:cubicBezTo>
                  <a:cubicBezTo>
                    <a:pt x="22" y="165"/>
                    <a:pt x="22" y="167"/>
                    <a:pt x="20" y="168"/>
                  </a:cubicBezTo>
                  <a:cubicBezTo>
                    <a:pt x="20" y="169"/>
                    <a:pt x="19" y="171"/>
                    <a:pt x="17" y="173"/>
                  </a:cubicBezTo>
                  <a:cubicBezTo>
                    <a:pt x="17" y="173"/>
                    <a:pt x="17" y="173"/>
                    <a:pt x="17" y="173"/>
                  </a:cubicBezTo>
                  <a:cubicBezTo>
                    <a:pt x="13" y="175"/>
                    <a:pt x="13" y="175"/>
                    <a:pt x="13" y="175"/>
                  </a:cubicBezTo>
                  <a:cubicBezTo>
                    <a:pt x="10" y="180"/>
                    <a:pt x="10" y="180"/>
                    <a:pt x="10" y="180"/>
                  </a:cubicBezTo>
                  <a:cubicBezTo>
                    <a:pt x="7" y="187"/>
                    <a:pt x="7" y="187"/>
                    <a:pt x="7" y="187"/>
                  </a:cubicBezTo>
                  <a:cubicBezTo>
                    <a:pt x="7" y="189"/>
                    <a:pt x="7" y="189"/>
                    <a:pt x="7" y="189"/>
                  </a:cubicBezTo>
                  <a:cubicBezTo>
                    <a:pt x="7" y="189"/>
                    <a:pt x="7" y="189"/>
                    <a:pt x="7" y="189"/>
                  </a:cubicBezTo>
                  <a:cubicBezTo>
                    <a:pt x="8" y="189"/>
                    <a:pt x="14" y="190"/>
                    <a:pt x="14" y="190"/>
                  </a:cubicBezTo>
                  <a:cubicBezTo>
                    <a:pt x="14" y="190"/>
                    <a:pt x="14" y="190"/>
                    <a:pt x="14" y="190"/>
                  </a:cubicBezTo>
                  <a:cubicBezTo>
                    <a:pt x="20" y="193"/>
                    <a:pt x="20" y="193"/>
                    <a:pt x="20" y="193"/>
                  </a:cubicBezTo>
                  <a:cubicBezTo>
                    <a:pt x="21" y="198"/>
                    <a:pt x="21" y="198"/>
                    <a:pt x="21" y="198"/>
                  </a:cubicBezTo>
                  <a:cubicBezTo>
                    <a:pt x="21" y="199"/>
                    <a:pt x="21" y="199"/>
                    <a:pt x="21" y="199"/>
                  </a:cubicBezTo>
                  <a:cubicBezTo>
                    <a:pt x="21" y="205"/>
                    <a:pt x="21" y="205"/>
                    <a:pt x="21" y="206"/>
                  </a:cubicBezTo>
                  <a:cubicBezTo>
                    <a:pt x="21" y="206"/>
                    <a:pt x="21" y="210"/>
                    <a:pt x="21" y="211"/>
                  </a:cubicBezTo>
                  <a:cubicBezTo>
                    <a:pt x="21" y="211"/>
                    <a:pt x="21" y="211"/>
                    <a:pt x="21" y="211"/>
                  </a:cubicBezTo>
                  <a:cubicBezTo>
                    <a:pt x="21" y="211"/>
                    <a:pt x="21" y="212"/>
                    <a:pt x="21" y="212"/>
                  </a:cubicBezTo>
                  <a:cubicBezTo>
                    <a:pt x="24" y="210"/>
                    <a:pt x="24" y="210"/>
                    <a:pt x="24" y="210"/>
                  </a:cubicBezTo>
                  <a:cubicBezTo>
                    <a:pt x="25" y="211"/>
                    <a:pt x="25" y="211"/>
                    <a:pt x="25" y="211"/>
                  </a:cubicBezTo>
                  <a:cubicBezTo>
                    <a:pt x="25" y="211"/>
                    <a:pt x="27" y="211"/>
                    <a:pt x="29" y="212"/>
                  </a:cubicBezTo>
                  <a:cubicBezTo>
                    <a:pt x="30" y="210"/>
                    <a:pt x="31" y="209"/>
                    <a:pt x="32" y="209"/>
                  </a:cubicBezTo>
                  <a:cubicBezTo>
                    <a:pt x="32" y="209"/>
                    <a:pt x="32" y="209"/>
                    <a:pt x="32" y="210"/>
                  </a:cubicBezTo>
                  <a:cubicBezTo>
                    <a:pt x="33" y="209"/>
                    <a:pt x="34" y="206"/>
                    <a:pt x="34" y="206"/>
                  </a:cubicBezTo>
                  <a:cubicBezTo>
                    <a:pt x="35" y="203"/>
                    <a:pt x="35" y="203"/>
                    <a:pt x="35" y="203"/>
                  </a:cubicBezTo>
                  <a:cubicBezTo>
                    <a:pt x="37" y="201"/>
                    <a:pt x="37" y="201"/>
                    <a:pt x="37" y="201"/>
                  </a:cubicBezTo>
                  <a:cubicBezTo>
                    <a:pt x="37" y="199"/>
                    <a:pt x="37" y="199"/>
                    <a:pt x="37" y="199"/>
                  </a:cubicBezTo>
                  <a:cubicBezTo>
                    <a:pt x="42" y="196"/>
                    <a:pt x="42" y="196"/>
                    <a:pt x="42" y="196"/>
                  </a:cubicBezTo>
                  <a:cubicBezTo>
                    <a:pt x="54" y="194"/>
                    <a:pt x="54" y="194"/>
                    <a:pt x="54" y="194"/>
                  </a:cubicBezTo>
                  <a:cubicBezTo>
                    <a:pt x="60" y="190"/>
                    <a:pt x="60" y="190"/>
                    <a:pt x="60" y="190"/>
                  </a:cubicBezTo>
                  <a:cubicBezTo>
                    <a:pt x="68" y="191"/>
                    <a:pt x="68" y="191"/>
                    <a:pt x="68" y="191"/>
                  </a:cubicBezTo>
                  <a:cubicBezTo>
                    <a:pt x="88" y="190"/>
                    <a:pt x="88" y="190"/>
                    <a:pt x="88" y="190"/>
                  </a:cubicBezTo>
                  <a:cubicBezTo>
                    <a:pt x="95" y="188"/>
                    <a:pt x="95" y="188"/>
                    <a:pt x="95" y="188"/>
                  </a:cubicBezTo>
                  <a:cubicBezTo>
                    <a:pt x="95" y="188"/>
                    <a:pt x="95" y="188"/>
                    <a:pt x="95" y="188"/>
                  </a:cubicBezTo>
                  <a:cubicBezTo>
                    <a:pt x="95" y="188"/>
                    <a:pt x="96" y="188"/>
                    <a:pt x="96" y="188"/>
                  </a:cubicBezTo>
                  <a:cubicBezTo>
                    <a:pt x="97" y="189"/>
                    <a:pt x="100" y="189"/>
                    <a:pt x="101" y="189"/>
                  </a:cubicBezTo>
                  <a:cubicBezTo>
                    <a:pt x="103" y="189"/>
                    <a:pt x="111" y="188"/>
                    <a:pt x="112" y="188"/>
                  </a:cubicBezTo>
                  <a:cubicBezTo>
                    <a:pt x="112" y="188"/>
                    <a:pt x="112" y="188"/>
                    <a:pt x="112" y="188"/>
                  </a:cubicBezTo>
                  <a:cubicBezTo>
                    <a:pt x="116" y="191"/>
                    <a:pt x="116" y="191"/>
                    <a:pt x="116" y="191"/>
                  </a:cubicBezTo>
                  <a:cubicBezTo>
                    <a:pt x="118" y="193"/>
                    <a:pt x="118" y="193"/>
                    <a:pt x="118" y="193"/>
                  </a:cubicBezTo>
                  <a:cubicBezTo>
                    <a:pt x="119" y="192"/>
                    <a:pt x="120" y="191"/>
                    <a:pt x="121" y="190"/>
                  </a:cubicBezTo>
                  <a:cubicBezTo>
                    <a:pt x="121" y="190"/>
                    <a:pt x="121" y="190"/>
                    <a:pt x="121" y="190"/>
                  </a:cubicBezTo>
                  <a:cubicBezTo>
                    <a:pt x="122" y="190"/>
                    <a:pt x="122" y="190"/>
                    <a:pt x="122" y="190"/>
                  </a:cubicBezTo>
                  <a:cubicBezTo>
                    <a:pt x="124" y="190"/>
                    <a:pt x="127" y="192"/>
                    <a:pt x="127" y="192"/>
                  </a:cubicBezTo>
                  <a:cubicBezTo>
                    <a:pt x="129" y="193"/>
                    <a:pt x="129" y="193"/>
                    <a:pt x="129" y="193"/>
                  </a:cubicBezTo>
                  <a:cubicBezTo>
                    <a:pt x="130" y="189"/>
                    <a:pt x="130" y="189"/>
                    <a:pt x="130" y="189"/>
                  </a:cubicBezTo>
                  <a:cubicBezTo>
                    <a:pt x="135" y="190"/>
                    <a:pt x="135" y="190"/>
                    <a:pt x="135" y="190"/>
                  </a:cubicBezTo>
                  <a:cubicBezTo>
                    <a:pt x="140" y="185"/>
                    <a:pt x="140" y="185"/>
                    <a:pt x="140" y="185"/>
                  </a:cubicBezTo>
                  <a:cubicBezTo>
                    <a:pt x="143" y="186"/>
                    <a:pt x="143" y="186"/>
                    <a:pt x="143" y="186"/>
                  </a:cubicBezTo>
                  <a:cubicBezTo>
                    <a:pt x="145" y="187"/>
                    <a:pt x="145" y="187"/>
                    <a:pt x="145" y="187"/>
                  </a:cubicBezTo>
                  <a:cubicBezTo>
                    <a:pt x="149" y="184"/>
                    <a:pt x="149" y="184"/>
                    <a:pt x="149" y="184"/>
                  </a:cubicBezTo>
                  <a:cubicBezTo>
                    <a:pt x="153" y="187"/>
                    <a:pt x="153" y="187"/>
                    <a:pt x="153" y="187"/>
                  </a:cubicBezTo>
                  <a:cubicBezTo>
                    <a:pt x="153" y="185"/>
                    <a:pt x="155" y="184"/>
                    <a:pt x="158" y="183"/>
                  </a:cubicBezTo>
                  <a:cubicBezTo>
                    <a:pt x="159" y="182"/>
                    <a:pt x="162" y="180"/>
                    <a:pt x="164" y="180"/>
                  </a:cubicBezTo>
                  <a:cubicBezTo>
                    <a:pt x="166" y="180"/>
                    <a:pt x="168" y="181"/>
                    <a:pt x="168" y="182"/>
                  </a:cubicBezTo>
                  <a:cubicBezTo>
                    <a:pt x="169" y="183"/>
                    <a:pt x="170" y="183"/>
                    <a:pt x="171" y="185"/>
                  </a:cubicBezTo>
                  <a:cubicBezTo>
                    <a:pt x="172" y="186"/>
                    <a:pt x="172" y="186"/>
                    <a:pt x="172" y="186"/>
                  </a:cubicBezTo>
                  <a:cubicBezTo>
                    <a:pt x="175" y="184"/>
                    <a:pt x="175" y="184"/>
                    <a:pt x="175" y="184"/>
                  </a:cubicBezTo>
                  <a:cubicBezTo>
                    <a:pt x="177" y="181"/>
                    <a:pt x="177" y="181"/>
                    <a:pt x="177" y="181"/>
                  </a:cubicBezTo>
                  <a:cubicBezTo>
                    <a:pt x="180" y="181"/>
                    <a:pt x="180" y="181"/>
                    <a:pt x="180" y="181"/>
                  </a:cubicBezTo>
                  <a:cubicBezTo>
                    <a:pt x="184" y="179"/>
                    <a:pt x="184" y="179"/>
                    <a:pt x="184" y="179"/>
                  </a:cubicBezTo>
                  <a:cubicBezTo>
                    <a:pt x="191" y="177"/>
                    <a:pt x="191" y="177"/>
                    <a:pt x="191" y="177"/>
                  </a:cubicBezTo>
                  <a:cubicBezTo>
                    <a:pt x="197" y="179"/>
                    <a:pt x="197" y="179"/>
                    <a:pt x="197" y="179"/>
                  </a:cubicBezTo>
                  <a:cubicBezTo>
                    <a:pt x="200" y="183"/>
                    <a:pt x="200" y="183"/>
                    <a:pt x="200" y="183"/>
                  </a:cubicBezTo>
                  <a:cubicBezTo>
                    <a:pt x="202" y="183"/>
                    <a:pt x="202" y="183"/>
                    <a:pt x="202" y="183"/>
                  </a:cubicBezTo>
                  <a:cubicBezTo>
                    <a:pt x="203" y="182"/>
                    <a:pt x="203" y="182"/>
                    <a:pt x="203" y="182"/>
                  </a:cubicBezTo>
                  <a:cubicBezTo>
                    <a:pt x="201" y="179"/>
                    <a:pt x="201" y="179"/>
                    <a:pt x="201" y="179"/>
                  </a:cubicBezTo>
                  <a:cubicBezTo>
                    <a:pt x="196" y="168"/>
                    <a:pt x="196" y="168"/>
                    <a:pt x="196" y="168"/>
                  </a:cubicBezTo>
                  <a:cubicBezTo>
                    <a:pt x="201" y="153"/>
                    <a:pt x="201" y="153"/>
                    <a:pt x="201" y="153"/>
                  </a:cubicBezTo>
                  <a:cubicBezTo>
                    <a:pt x="202" y="143"/>
                    <a:pt x="202" y="143"/>
                    <a:pt x="202" y="143"/>
                  </a:cubicBezTo>
                  <a:cubicBezTo>
                    <a:pt x="213" y="142"/>
                    <a:pt x="213" y="142"/>
                    <a:pt x="213" y="142"/>
                  </a:cubicBezTo>
                  <a:cubicBezTo>
                    <a:pt x="216" y="138"/>
                    <a:pt x="216" y="138"/>
                    <a:pt x="216" y="138"/>
                  </a:cubicBezTo>
                  <a:cubicBezTo>
                    <a:pt x="219" y="137"/>
                    <a:pt x="219" y="137"/>
                    <a:pt x="219" y="137"/>
                  </a:cubicBezTo>
                  <a:cubicBezTo>
                    <a:pt x="218" y="137"/>
                    <a:pt x="218" y="137"/>
                    <a:pt x="218" y="137"/>
                  </a:cubicBezTo>
                  <a:cubicBezTo>
                    <a:pt x="218" y="135"/>
                    <a:pt x="218" y="135"/>
                    <a:pt x="218" y="135"/>
                  </a:cubicBezTo>
                  <a:cubicBezTo>
                    <a:pt x="216" y="135"/>
                    <a:pt x="216" y="135"/>
                    <a:pt x="216" y="135"/>
                  </a:cubicBezTo>
                  <a:cubicBezTo>
                    <a:pt x="212" y="133"/>
                    <a:pt x="212" y="133"/>
                    <a:pt x="212" y="133"/>
                  </a:cubicBezTo>
                  <a:cubicBezTo>
                    <a:pt x="213" y="130"/>
                    <a:pt x="213" y="130"/>
                    <a:pt x="213" y="130"/>
                  </a:cubicBezTo>
                  <a:cubicBezTo>
                    <a:pt x="210" y="123"/>
                    <a:pt x="210" y="123"/>
                    <a:pt x="210" y="123"/>
                  </a:cubicBezTo>
                  <a:cubicBezTo>
                    <a:pt x="210" y="122"/>
                    <a:pt x="210" y="122"/>
                    <a:pt x="210" y="122"/>
                  </a:cubicBezTo>
                  <a:cubicBezTo>
                    <a:pt x="209" y="122"/>
                    <a:pt x="209" y="122"/>
                    <a:pt x="209" y="122"/>
                  </a:cubicBezTo>
                  <a:cubicBezTo>
                    <a:pt x="206" y="118"/>
                    <a:pt x="206" y="118"/>
                    <a:pt x="206" y="118"/>
                  </a:cubicBezTo>
                  <a:cubicBezTo>
                    <a:pt x="208" y="115"/>
                    <a:pt x="208" y="115"/>
                    <a:pt x="208" y="115"/>
                  </a:cubicBezTo>
                  <a:cubicBezTo>
                    <a:pt x="207" y="114"/>
                    <a:pt x="207" y="114"/>
                    <a:pt x="207" y="114"/>
                  </a:cubicBezTo>
                  <a:cubicBezTo>
                    <a:pt x="205" y="112"/>
                    <a:pt x="205" y="112"/>
                    <a:pt x="205" y="112"/>
                  </a:cubicBezTo>
                  <a:cubicBezTo>
                    <a:pt x="201" y="111"/>
                    <a:pt x="201" y="111"/>
                    <a:pt x="201" y="111"/>
                  </a:cubicBezTo>
                  <a:cubicBezTo>
                    <a:pt x="197" y="107"/>
                    <a:pt x="197" y="107"/>
                    <a:pt x="197" y="107"/>
                  </a:cubicBezTo>
                  <a:cubicBezTo>
                    <a:pt x="196" y="104"/>
                    <a:pt x="196" y="104"/>
                    <a:pt x="196" y="104"/>
                  </a:cubicBezTo>
                  <a:cubicBezTo>
                    <a:pt x="198" y="97"/>
                    <a:pt x="198" y="97"/>
                    <a:pt x="198" y="97"/>
                  </a:cubicBezTo>
                  <a:cubicBezTo>
                    <a:pt x="199" y="96"/>
                    <a:pt x="200" y="95"/>
                    <a:pt x="203" y="94"/>
                  </a:cubicBezTo>
                  <a:cubicBezTo>
                    <a:pt x="204" y="93"/>
                    <a:pt x="205" y="93"/>
                    <a:pt x="206" y="93"/>
                  </a:cubicBezTo>
                  <a:cubicBezTo>
                    <a:pt x="207" y="93"/>
                    <a:pt x="208" y="93"/>
                    <a:pt x="209" y="94"/>
                  </a:cubicBezTo>
                  <a:cubicBezTo>
                    <a:pt x="213" y="95"/>
                    <a:pt x="213" y="95"/>
                    <a:pt x="213" y="95"/>
                  </a:cubicBezTo>
                  <a:cubicBezTo>
                    <a:pt x="217" y="93"/>
                    <a:pt x="217" y="93"/>
                    <a:pt x="217" y="93"/>
                  </a:cubicBezTo>
                  <a:cubicBezTo>
                    <a:pt x="219" y="92"/>
                    <a:pt x="222" y="90"/>
                    <a:pt x="223" y="89"/>
                  </a:cubicBezTo>
                  <a:cubicBezTo>
                    <a:pt x="223" y="88"/>
                    <a:pt x="223" y="87"/>
                    <a:pt x="222" y="86"/>
                  </a:cubicBezTo>
                  <a:cubicBezTo>
                    <a:pt x="221" y="84"/>
                    <a:pt x="221" y="84"/>
                    <a:pt x="221" y="84"/>
                  </a:cubicBezTo>
                  <a:cubicBezTo>
                    <a:pt x="227" y="82"/>
                    <a:pt x="227" y="82"/>
                    <a:pt x="227" y="82"/>
                  </a:cubicBezTo>
                  <a:cubicBezTo>
                    <a:pt x="227" y="81"/>
                    <a:pt x="227" y="81"/>
                    <a:pt x="227" y="81"/>
                  </a:cubicBezTo>
                  <a:cubicBezTo>
                    <a:pt x="227" y="79"/>
                    <a:pt x="227" y="79"/>
                    <a:pt x="227" y="79"/>
                  </a:cubicBezTo>
                  <a:cubicBezTo>
                    <a:pt x="222" y="77"/>
                    <a:pt x="222" y="77"/>
                    <a:pt x="222" y="77"/>
                  </a:cubicBezTo>
                  <a:cubicBezTo>
                    <a:pt x="216" y="73"/>
                    <a:pt x="216" y="73"/>
                    <a:pt x="216" y="73"/>
                  </a:cubicBezTo>
                  <a:cubicBezTo>
                    <a:pt x="217" y="71"/>
                    <a:pt x="217" y="71"/>
                    <a:pt x="217" y="71"/>
                  </a:cubicBezTo>
                  <a:cubicBezTo>
                    <a:pt x="217" y="71"/>
                    <a:pt x="217" y="71"/>
                    <a:pt x="217" y="71"/>
                  </a:cubicBezTo>
                  <a:cubicBezTo>
                    <a:pt x="209" y="69"/>
                    <a:pt x="209" y="69"/>
                    <a:pt x="209" y="69"/>
                  </a:cubicBezTo>
                  <a:cubicBezTo>
                    <a:pt x="208" y="70"/>
                    <a:pt x="208" y="70"/>
                    <a:pt x="208" y="70"/>
                  </a:cubicBezTo>
                  <a:cubicBezTo>
                    <a:pt x="206" y="72"/>
                    <a:pt x="206" y="72"/>
                    <a:pt x="206" y="72"/>
                  </a:cubicBezTo>
                  <a:cubicBezTo>
                    <a:pt x="199" y="72"/>
                    <a:pt x="199" y="72"/>
                    <a:pt x="199" y="72"/>
                  </a:cubicBezTo>
                  <a:cubicBezTo>
                    <a:pt x="198" y="64"/>
                    <a:pt x="198" y="64"/>
                    <a:pt x="198" y="64"/>
                  </a:cubicBezTo>
                  <a:cubicBezTo>
                    <a:pt x="196" y="61"/>
                    <a:pt x="196" y="61"/>
                    <a:pt x="196" y="61"/>
                  </a:cubicBezTo>
                  <a:cubicBezTo>
                    <a:pt x="193" y="60"/>
                    <a:pt x="193" y="60"/>
                    <a:pt x="193" y="60"/>
                  </a:cubicBezTo>
                  <a:cubicBezTo>
                    <a:pt x="184" y="58"/>
                    <a:pt x="184" y="58"/>
                    <a:pt x="184" y="58"/>
                  </a:cubicBezTo>
                  <a:cubicBezTo>
                    <a:pt x="179" y="52"/>
                    <a:pt x="179" y="52"/>
                    <a:pt x="179" y="52"/>
                  </a:cubicBezTo>
                  <a:cubicBezTo>
                    <a:pt x="179" y="50"/>
                    <a:pt x="179" y="50"/>
                    <a:pt x="179" y="50"/>
                  </a:cubicBezTo>
                  <a:cubicBezTo>
                    <a:pt x="179" y="50"/>
                    <a:pt x="177" y="50"/>
                    <a:pt x="177" y="50"/>
                  </a:cubicBezTo>
                  <a:cubicBezTo>
                    <a:pt x="175" y="49"/>
                    <a:pt x="174" y="48"/>
                    <a:pt x="174" y="48"/>
                  </a:cubicBezTo>
                  <a:cubicBezTo>
                    <a:pt x="173" y="46"/>
                    <a:pt x="174" y="45"/>
                    <a:pt x="174" y="44"/>
                  </a:cubicBezTo>
                  <a:cubicBezTo>
                    <a:pt x="174" y="43"/>
                    <a:pt x="174" y="43"/>
                    <a:pt x="174" y="43"/>
                  </a:cubicBezTo>
                  <a:cubicBezTo>
                    <a:pt x="173" y="43"/>
                    <a:pt x="173" y="43"/>
                    <a:pt x="173" y="43"/>
                  </a:cubicBezTo>
                  <a:cubicBezTo>
                    <a:pt x="168" y="40"/>
                    <a:pt x="168" y="40"/>
                    <a:pt x="168" y="40"/>
                  </a:cubicBezTo>
                  <a:cubicBezTo>
                    <a:pt x="162" y="38"/>
                    <a:pt x="162" y="38"/>
                    <a:pt x="162" y="38"/>
                  </a:cubicBezTo>
                  <a:cubicBezTo>
                    <a:pt x="164" y="29"/>
                    <a:pt x="164" y="29"/>
                    <a:pt x="164" y="29"/>
                  </a:cubicBezTo>
                  <a:cubicBezTo>
                    <a:pt x="165" y="24"/>
                    <a:pt x="165" y="24"/>
                    <a:pt x="165" y="24"/>
                  </a:cubicBezTo>
                  <a:cubicBezTo>
                    <a:pt x="163" y="22"/>
                    <a:pt x="163" y="22"/>
                    <a:pt x="163" y="22"/>
                  </a:cubicBezTo>
                  <a:cubicBezTo>
                    <a:pt x="159" y="19"/>
                    <a:pt x="159" y="19"/>
                    <a:pt x="159" y="19"/>
                  </a:cubicBezTo>
                  <a:cubicBezTo>
                    <a:pt x="158" y="15"/>
                    <a:pt x="158" y="15"/>
                    <a:pt x="158" y="15"/>
                  </a:cubicBezTo>
                  <a:cubicBezTo>
                    <a:pt x="158" y="6"/>
                    <a:pt x="158" y="6"/>
                    <a:pt x="158" y="6"/>
                  </a:cubicBezTo>
                  <a:cubicBezTo>
                    <a:pt x="158" y="6"/>
                    <a:pt x="158" y="6"/>
                    <a:pt x="158" y="6"/>
                  </a:cubicBezTo>
                  <a:cubicBezTo>
                    <a:pt x="155" y="8"/>
                    <a:pt x="155" y="8"/>
                    <a:pt x="155" y="8"/>
                  </a:cubicBezTo>
                  <a:cubicBezTo>
                    <a:pt x="154" y="6"/>
                    <a:pt x="154" y="6"/>
                    <a:pt x="154" y="6"/>
                  </a:cubicBezTo>
                  <a:cubicBezTo>
                    <a:pt x="152" y="6"/>
                    <a:pt x="152" y="6"/>
                    <a:pt x="152" y="6"/>
                  </a:cubicBezTo>
                  <a:cubicBezTo>
                    <a:pt x="146" y="2"/>
                    <a:pt x="146" y="2"/>
                    <a:pt x="146" y="2"/>
                  </a:cubicBezTo>
                  <a:cubicBezTo>
                    <a:pt x="141" y="0"/>
                    <a:pt x="141" y="0"/>
                    <a:pt x="141" y="0"/>
                  </a:cubicBezTo>
                  <a:cubicBezTo>
                    <a:pt x="140" y="1"/>
                    <a:pt x="138" y="2"/>
                    <a:pt x="136" y="2"/>
                  </a:cubicBezTo>
                  <a:cubicBezTo>
                    <a:pt x="135" y="2"/>
                    <a:pt x="135" y="3"/>
                    <a:pt x="135" y="3"/>
                  </a:cubicBezTo>
                  <a:cubicBezTo>
                    <a:pt x="134" y="3"/>
                    <a:pt x="133" y="4"/>
                    <a:pt x="132" y="4"/>
                  </a:cubicBezTo>
                  <a:cubicBezTo>
                    <a:pt x="132" y="4"/>
                    <a:pt x="131" y="5"/>
                    <a:pt x="131" y="6"/>
                  </a:cubicBezTo>
                  <a:cubicBezTo>
                    <a:pt x="130" y="9"/>
                    <a:pt x="126" y="11"/>
                    <a:pt x="124" y="11"/>
                  </a:cubicBezTo>
                  <a:cubicBezTo>
                    <a:pt x="124" y="11"/>
                    <a:pt x="124" y="11"/>
                    <a:pt x="124" y="11"/>
                  </a:cubicBezTo>
                  <a:cubicBezTo>
                    <a:pt x="122" y="11"/>
                    <a:pt x="120" y="9"/>
                    <a:pt x="119" y="7"/>
                  </a:cubicBezTo>
                  <a:cubicBezTo>
                    <a:pt x="119" y="7"/>
                    <a:pt x="119" y="7"/>
                    <a:pt x="119" y="7"/>
                  </a:cubicBezTo>
                  <a:cubicBezTo>
                    <a:pt x="119" y="7"/>
                    <a:pt x="119" y="7"/>
                    <a:pt x="119" y="7"/>
                  </a:cubicBezTo>
                  <a:cubicBezTo>
                    <a:pt x="118" y="1"/>
                    <a:pt x="118" y="1"/>
                    <a:pt x="118" y="1"/>
                  </a:cubicBezTo>
                  <a:cubicBezTo>
                    <a:pt x="114" y="1"/>
                    <a:pt x="114" y="1"/>
                    <a:pt x="114" y="1"/>
                  </a:cubicBezTo>
                  <a:cubicBezTo>
                    <a:pt x="110" y="3"/>
                    <a:pt x="110" y="3"/>
                    <a:pt x="110" y="3"/>
                  </a:cubicBezTo>
                  <a:cubicBezTo>
                    <a:pt x="108" y="5"/>
                    <a:pt x="108" y="5"/>
                    <a:pt x="108" y="5"/>
                  </a:cubicBezTo>
                  <a:cubicBezTo>
                    <a:pt x="102" y="4"/>
                    <a:pt x="102" y="4"/>
                    <a:pt x="102" y="4"/>
                  </a:cubicBezTo>
                  <a:cubicBezTo>
                    <a:pt x="100" y="1"/>
                    <a:pt x="100" y="1"/>
                    <a:pt x="100" y="1"/>
                  </a:cubicBezTo>
                  <a:cubicBezTo>
                    <a:pt x="99" y="1"/>
                    <a:pt x="99" y="1"/>
                    <a:pt x="99" y="1"/>
                  </a:cubicBezTo>
                  <a:cubicBezTo>
                    <a:pt x="97" y="2"/>
                    <a:pt x="97" y="2"/>
                    <a:pt x="97" y="2"/>
                  </a:cubicBezTo>
                  <a:cubicBezTo>
                    <a:pt x="96" y="3"/>
                    <a:pt x="95" y="4"/>
                    <a:pt x="94" y="4"/>
                  </a:cubicBezTo>
                  <a:cubicBezTo>
                    <a:pt x="94" y="4"/>
                    <a:pt x="94" y="4"/>
                    <a:pt x="94" y="4"/>
                  </a:cubicBezTo>
                  <a:cubicBezTo>
                    <a:pt x="93" y="4"/>
                    <a:pt x="93" y="4"/>
                    <a:pt x="93" y="4"/>
                  </a:cubicBezTo>
                  <a:cubicBezTo>
                    <a:pt x="93" y="4"/>
                    <a:pt x="92" y="4"/>
                    <a:pt x="92" y="4"/>
                  </a:cubicBezTo>
                  <a:cubicBezTo>
                    <a:pt x="92" y="4"/>
                    <a:pt x="91" y="4"/>
                    <a:pt x="91" y="4"/>
                  </a:cubicBezTo>
                  <a:cubicBezTo>
                    <a:pt x="91" y="4"/>
                    <a:pt x="91" y="4"/>
                    <a:pt x="91" y="4"/>
                  </a:cubicBezTo>
                  <a:cubicBezTo>
                    <a:pt x="90" y="4"/>
                    <a:pt x="89" y="3"/>
                    <a:pt x="87" y="1"/>
                  </a:cubicBezTo>
                  <a:cubicBezTo>
                    <a:pt x="86" y="1"/>
                    <a:pt x="86" y="1"/>
                    <a:pt x="86" y="1"/>
                  </a:cubicBezTo>
                  <a:cubicBezTo>
                    <a:pt x="86" y="0"/>
                    <a:pt x="86" y="0"/>
                    <a:pt x="86" y="0"/>
                  </a:cubicBezTo>
                  <a:cubicBezTo>
                    <a:pt x="84" y="2"/>
                    <a:pt x="84" y="2"/>
                    <a:pt x="84" y="2"/>
                  </a:cubicBezTo>
                  <a:cubicBezTo>
                    <a:pt x="83" y="7"/>
                    <a:pt x="83" y="7"/>
                    <a:pt x="83" y="7"/>
                  </a:cubicBezTo>
                  <a:cubicBezTo>
                    <a:pt x="79" y="11"/>
                    <a:pt x="79" y="11"/>
                    <a:pt x="79" y="11"/>
                  </a:cubicBezTo>
                  <a:cubicBezTo>
                    <a:pt x="80" y="15"/>
                    <a:pt x="80" y="15"/>
                    <a:pt x="80" y="15"/>
                  </a:cubicBezTo>
                  <a:cubicBezTo>
                    <a:pt x="79" y="17"/>
                    <a:pt x="79" y="17"/>
                    <a:pt x="79" y="17"/>
                  </a:cubicBezTo>
                  <a:cubicBezTo>
                    <a:pt x="73" y="17"/>
                    <a:pt x="73" y="17"/>
                    <a:pt x="73" y="17"/>
                  </a:cubicBezTo>
                  <a:cubicBezTo>
                    <a:pt x="73" y="17"/>
                    <a:pt x="72" y="18"/>
                    <a:pt x="69" y="18"/>
                  </a:cubicBezTo>
                  <a:cubicBezTo>
                    <a:pt x="65" y="17"/>
                    <a:pt x="66" y="18"/>
                    <a:pt x="66" y="18"/>
                  </a:cubicBezTo>
                  <a:cubicBezTo>
                    <a:pt x="64" y="20"/>
                    <a:pt x="64" y="20"/>
                    <a:pt x="64" y="20"/>
                  </a:cubicBezTo>
                  <a:cubicBezTo>
                    <a:pt x="63" y="25"/>
                    <a:pt x="63" y="25"/>
                    <a:pt x="63" y="25"/>
                  </a:cubicBezTo>
                  <a:cubicBezTo>
                    <a:pt x="63" y="25"/>
                    <a:pt x="61" y="25"/>
                    <a:pt x="59" y="26"/>
                  </a:cubicBezTo>
                  <a:cubicBezTo>
                    <a:pt x="56" y="27"/>
                    <a:pt x="57" y="28"/>
                    <a:pt x="57" y="28"/>
                  </a:cubicBezTo>
                  <a:cubicBezTo>
                    <a:pt x="58" y="35"/>
                    <a:pt x="58" y="35"/>
                    <a:pt x="58" y="35"/>
                  </a:cubicBezTo>
                  <a:cubicBezTo>
                    <a:pt x="57" y="39"/>
                    <a:pt x="57" y="39"/>
                    <a:pt x="57" y="39"/>
                  </a:cubicBezTo>
                  <a:cubicBezTo>
                    <a:pt x="57" y="42"/>
                    <a:pt x="57" y="42"/>
                    <a:pt x="57" y="42"/>
                  </a:cubicBezTo>
                  <a:cubicBezTo>
                    <a:pt x="59" y="43"/>
                    <a:pt x="59" y="43"/>
                    <a:pt x="59" y="43"/>
                  </a:cubicBezTo>
                  <a:cubicBezTo>
                    <a:pt x="64" y="42"/>
                    <a:pt x="64" y="42"/>
                    <a:pt x="64" y="42"/>
                  </a:cubicBezTo>
                  <a:cubicBezTo>
                    <a:pt x="65" y="46"/>
                    <a:pt x="65" y="46"/>
                    <a:pt x="65" y="46"/>
                  </a:cubicBezTo>
                  <a:cubicBezTo>
                    <a:pt x="63" y="47"/>
                    <a:pt x="63" y="47"/>
                    <a:pt x="63" y="47"/>
                  </a:cubicBezTo>
                  <a:cubicBezTo>
                    <a:pt x="63" y="51"/>
                    <a:pt x="63" y="51"/>
                    <a:pt x="63" y="51"/>
                  </a:cubicBezTo>
                  <a:cubicBezTo>
                    <a:pt x="57" y="50"/>
                    <a:pt x="57" y="50"/>
                    <a:pt x="57" y="50"/>
                  </a:cubicBezTo>
                  <a:cubicBezTo>
                    <a:pt x="54" y="53"/>
                    <a:pt x="54" y="53"/>
                    <a:pt x="54" y="53"/>
                  </a:cubicBezTo>
                  <a:cubicBezTo>
                    <a:pt x="54" y="59"/>
                    <a:pt x="54" y="59"/>
                    <a:pt x="54" y="59"/>
                  </a:cubicBezTo>
                  <a:cubicBezTo>
                    <a:pt x="48" y="61"/>
                    <a:pt x="48" y="61"/>
                    <a:pt x="48" y="61"/>
                  </a:cubicBezTo>
                  <a:cubicBezTo>
                    <a:pt x="47" y="64"/>
                    <a:pt x="47" y="64"/>
                    <a:pt x="47" y="64"/>
                  </a:cubicBezTo>
                  <a:cubicBezTo>
                    <a:pt x="46" y="67"/>
                    <a:pt x="46" y="67"/>
                    <a:pt x="46" y="67"/>
                  </a:cubicBezTo>
                  <a:cubicBezTo>
                    <a:pt x="45" y="70"/>
                    <a:pt x="45" y="70"/>
                    <a:pt x="45" y="70"/>
                  </a:cubicBezTo>
                  <a:cubicBezTo>
                    <a:pt x="47" y="77"/>
                    <a:pt x="47" y="77"/>
                    <a:pt x="47" y="77"/>
                  </a:cubicBezTo>
                  <a:cubicBezTo>
                    <a:pt x="47" y="81"/>
                    <a:pt x="47" y="81"/>
                    <a:pt x="47" y="81"/>
                  </a:cubicBezTo>
                  <a:cubicBezTo>
                    <a:pt x="47" y="81"/>
                    <a:pt x="46" y="85"/>
                    <a:pt x="45" y="87"/>
                  </a:cubicBezTo>
                  <a:cubicBezTo>
                    <a:pt x="44" y="89"/>
                    <a:pt x="47" y="89"/>
                    <a:pt x="47" y="89"/>
                  </a:cubicBezTo>
                  <a:cubicBezTo>
                    <a:pt x="50" y="90"/>
                    <a:pt x="50" y="90"/>
                    <a:pt x="50" y="90"/>
                  </a:cubicBezTo>
                  <a:cubicBezTo>
                    <a:pt x="52" y="91"/>
                    <a:pt x="52" y="91"/>
                    <a:pt x="52" y="91"/>
                  </a:cubicBezTo>
                  <a:cubicBezTo>
                    <a:pt x="51" y="96"/>
                    <a:pt x="51" y="96"/>
                    <a:pt x="51" y="96"/>
                  </a:cubicBezTo>
                  <a:cubicBezTo>
                    <a:pt x="46" y="96"/>
                    <a:pt x="46" y="96"/>
                    <a:pt x="46" y="96"/>
                  </a:cubicBezTo>
                  <a:cubicBezTo>
                    <a:pt x="47" y="93"/>
                    <a:pt x="47" y="93"/>
                    <a:pt x="47" y="93"/>
                  </a:cubicBezTo>
                  <a:cubicBezTo>
                    <a:pt x="45" y="91"/>
                    <a:pt x="45" y="91"/>
                    <a:pt x="45" y="91"/>
                  </a:cubicBezTo>
                  <a:cubicBezTo>
                    <a:pt x="43" y="94"/>
                    <a:pt x="43" y="94"/>
                    <a:pt x="43" y="94"/>
                  </a:cubicBezTo>
                  <a:cubicBezTo>
                    <a:pt x="37" y="96"/>
                    <a:pt x="37" y="96"/>
                    <a:pt x="37" y="96"/>
                  </a:cubicBezTo>
                  <a:cubicBezTo>
                    <a:pt x="37" y="97"/>
                    <a:pt x="37" y="97"/>
                    <a:pt x="37" y="97"/>
                  </a:cubicBezTo>
                  <a:cubicBezTo>
                    <a:pt x="36" y="100"/>
                    <a:pt x="36" y="100"/>
                    <a:pt x="36" y="100"/>
                  </a:cubicBezTo>
                  <a:cubicBezTo>
                    <a:pt x="36" y="100"/>
                    <a:pt x="32" y="100"/>
                    <a:pt x="31" y="100"/>
                  </a:cubicBezTo>
                  <a:cubicBezTo>
                    <a:pt x="30" y="100"/>
                    <a:pt x="29" y="102"/>
                    <a:pt x="29" y="102"/>
                  </a:cubicBezTo>
                  <a:cubicBezTo>
                    <a:pt x="31" y="108"/>
                    <a:pt x="31" y="108"/>
                    <a:pt x="31" y="108"/>
                  </a:cubicBezTo>
                  <a:cubicBezTo>
                    <a:pt x="27" y="108"/>
                    <a:pt x="27" y="108"/>
                    <a:pt x="27" y="108"/>
                  </a:cubicBezTo>
                  <a:cubicBezTo>
                    <a:pt x="24" y="111"/>
                    <a:pt x="24" y="111"/>
                    <a:pt x="24" y="111"/>
                  </a:cubicBezTo>
                  <a:cubicBezTo>
                    <a:pt x="18" y="113"/>
                    <a:pt x="18" y="113"/>
                    <a:pt x="18" y="113"/>
                  </a:cubicBezTo>
                  <a:cubicBezTo>
                    <a:pt x="13" y="112"/>
                    <a:pt x="13" y="112"/>
                    <a:pt x="13" y="112"/>
                  </a:cubicBezTo>
                  <a:cubicBezTo>
                    <a:pt x="5" y="115"/>
                    <a:pt x="5" y="115"/>
                    <a:pt x="5" y="115"/>
                  </a:cubicBezTo>
                  <a:cubicBezTo>
                    <a:pt x="0" y="116"/>
                    <a:pt x="0" y="116"/>
                    <a:pt x="0" y="116"/>
                  </a:cubicBezTo>
                  <a:cubicBezTo>
                    <a:pt x="1" y="118"/>
                    <a:pt x="1" y="118"/>
                    <a:pt x="1" y="118"/>
                  </a:cubicBezTo>
                  <a:cubicBezTo>
                    <a:pt x="1" y="119"/>
                    <a:pt x="3" y="124"/>
                    <a:pt x="6" y="129"/>
                  </a:cubicBezTo>
                  <a:lnTo>
                    <a:pt x="11" y="138"/>
                  </a:ln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0" name="Freeform 238"/>
            <p:cNvSpPr>
              <a:spLocks/>
            </p:cNvSpPr>
            <p:nvPr/>
          </p:nvSpPr>
          <p:spPr bwMode="auto">
            <a:xfrm>
              <a:off x="5123342" y="1651323"/>
              <a:ext cx="1241965" cy="1669320"/>
            </a:xfrm>
            <a:custGeom>
              <a:avLst/>
              <a:gdLst>
                <a:gd name="T0" fmla="*/ 413 w 429"/>
                <a:gd name="T1" fmla="*/ 45 h 611"/>
                <a:gd name="T2" fmla="*/ 410 w 429"/>
                <a:gd name="T3" fmla="*/ 10 h 611"/>
                <a:gd name="T4" fmla="*/ 367 w 429"/>
                <a:gd name="T5" fmla="*/ 4 h 611"/>
                <a:gd name="T6" fmla="*/ 357 w 429"/>
                <a:gd name="T7" fmla="*/ 18 h 611"/>
                <a:gd name="T8" fmla="*/ 336 w 429"/>
                <a:gd name="T9" fmla="*/ 41 h 611"/>
                <a:gd name="T10" fmla="*/ 333 w 429"/>
                <a:gd name="T11" fmla="*/ 15 h 611"/>
                <a:gd name="T12" fmla="*/ 326 w 429"/>
                <a:gd name="T13" fmla="*/ 32 h 611"/>
                <a:gd name="T14" fmla="*/ 303 w 429"/>
                <a:gd name="T15" fmla="*/ 51 h 611"/>
                <a:gd name="T16" fmla="*/ 291 w 429"/>
                <a:gd name="T17" fmla="*/ 61 h 611"/>
                <a:gd name="T18" fmla="*/ 282 w 429"/>
                <a:gd name="T19" fmla="*/ 71 h 611"/>
                <a:gd name="T20" fmla="*/ 264 w 429"/>
                <a:gd name="T21" fmla="*/ 78 h 611"/>
                <a:gd name="T22" fmla="*/ 250 w 429"/>
                <a:gd name="T23" fmla="*/ 83 h 611"/>
                <a:gd name="T24" fmla="*/ 223 w 429"/>
                <a:gd name="T25" fmla="*/ 115 h 611"/>
                <a:gd name="T26" fmla="*/ 221 w 429"/>
                <a:gd name="T27" fmla="*/ 133 h 611"/>
                <a:gd name="T28" fmla="*/ 189 w 429"/>
                <a:gd name="T29" fmla="*/ 146 h 611"/>
                <a:gd name="T30" fmla="*/ 161 w 429"/>
                <a:gd name="T31" fmla="*/ 179 h 611"/>
                <a:gd name="T32" fmla="*/ 206 w 429"/>
                <a:gd name="T33" fmla="*/ 171 h 611"/>
                <a:gd name="T34" fmla="*/ 194 w 429"/>
                <a:gd name="T35" fmla="*/ 180 h 611"/>
                <a:gd name="T36" fmla="*/ 192 w 429"/>
                <a:gd name="T37" fmla="*/ 196 h 611"/>
                <a:gd name="T38" fmla="*/ 177 w 429"/>
                <a:gd name="T39" fmla="*/ 221 h 611"/>
                <a:gd name="T40" fmla="*/ 179 w 429"/>
                <a:gd name="T41" fmla="*/ 253 h 611"/>
                <a:gd name="T42" fmla="*/ 159 w 429"/>
                <a:gd name="T43" fmla="*/ 284 h 611"/>
                <a:gd name="T44" fmla="*/ 138 w 429"/>
                <a:gd name="T45" fmla="*/ 306 h 611"/>
                <a:gd name="T46" fmla="*/ 143 w 429"/>
                <a:gd name="T47" fmla="*/ 322 h 611"/>
                <a:gd name="T48" fmla="*/ 117 w 429"/>
                <a:gd name="T49" fmla="*/ 351 h 611"/>
                <a:gd name="T50" fmla="*/ 126 w 429"/>
                <a:gd name="T51" fmla="*/ 368 h 611"/>
                <a:gd name="T52" fmla="*/ 91 w 429"/>
                <a:gd name="T53" fmla="*/ 365 h 611"/>
                <a:gd name="T54" fmla="*/ 77 w 429"/>
                <a:gd name="T55" fmla="*/ 388 h 611"/>
                <a:gd name="T56" fmla="*/ 59 w 429"/>
                <a:gd name="T57" fmla="*/ 404 h 611"/>
                <a:gd name="T58" fmla="*/ 29 w 429"/>
                <a:gd name="T59" fmla="*/ 419 h 611"/>
                <a:gd name="T60" fmla="*/ 16 w 429"/>
                <a:gd name="T61" fmla="*/ 428 h 611"/>
                <a:gd name="T62" fmla="*/ 12 w 429"/>
                <a:gd name="T63" fmla="*/ 443 h 611"/>
                <a:gd name="T64" fmla="*/ 13 w 429"/>
                <a:gd name="T65" fmla="*/ 469 h 611"/>
                <a:gd name="T66" fmla="*/ 2 w 429"/>
                <a:gd name="T67" fmla="*/ 507 h 611"/>
                <a:gd name="T68" fmla="*/ 6 w 429"/>
                <a:gd name="T69" fmla="*/ 528 h 611"/>
                <a:gd name="T70" fmla="*/ 11 w 429"/>
                <a:gd name="T71" fmla="*/ 555 h 611"/>
                <a:gd name="T72" fmla="*/ 11 w 429"/>
                <a:gd name="T73" fmla="*/ 574 h 611"/>
                <a:gd name="T74" fmla="*/ 32 w 429"/>
                <a:gd name="T75" fmla="*/ 606 h 611"/>
                <a:gd name="T76" fmla="*/ 77 w 429"/>
                <a:gd name="T77" fmla="*/ 601 h 611"/>
                <a:gd name="T78" fmla="*/ 128 w 429"/>
                <a:gd name="T79" fmla="*/ 557 h 611"/>
                <a:gd name="T80" fmla="*/ 148 w 429"/>
                <a:gd name="T81" fmla="*/ 570 h 611"/>
                <a:gd name="T82" fmla="*/ 151 w 429"/>
                <a:gd name="T83" fmla="*/ 532 h 611"/>
                <a:gd name="T84" fmla="*/ 165 w 429"/>
                <a:gd name="T85" fmla="*/ 515 h 611"/>
                <a:gd name="T86" fmla="*/ 167 w 429"/>
                <a:gd name="T87" fmla="*/ 473 h 611"/>
                <a:gd name="T88" fmla="*/ 151 w 429"/>
                <a:gd name="T89" fmla="*/ 405 h 611"/>
                <a:gd name="T90" fmla="*/ 154 w 429"/>
                <a:gd name="T91" fmla="*/ 359 h 611"/>
                <a:gd name="T92" fmla="*/ 191 w 429"/>
                <a:gd name="T93" fmla="*/ 291 h 611"/>
                <a:gd name="T94" fmla="*/ 205 w 429"/>
                <a:gd name="T95" fmla="*/ 235 h 611"/>
                <a:gd name="T96" fmla="*/ 220 w 429"/>
                <a:gd name="T97" fmla="*/ 183 h 611"/>
                <a:gd name="T98" fmla="*/ 243 w 429"/>
                <a:gd name="T99" fmla="*/ 138 h 611"/>
                <a:gd name="T100" fmla="*/ 271 w 429"/>
                <a:gd name="T101" fmla="*/ 136 h 611"/>
                <a:gd name="T102" fmla="*/ 283 w 429"/>
                <a:gd name="T103" fmla="*/ 109 h 611"/>
                <a:gd name="T104" fmla="*/ 325 w 429"/>
                <a:gd name="T105" fmla="*/ 122 h 611"/>
                <a:gd name="T106" fmla="*/ 349 w 429"/>
                <a:gd name="T107" fmla="*/ 112 h 611"/>
                <a:gd name="T108" fmla="*/ 357 w 429"/>
                <a:gd name="T109" fmla="*/ 64 h 611"/>
                <a:gd name="T110" fmla="*/ 386 w 429"/>
                <a:gd name="T111" fmla="*/ 49 h 611"/>
                <a:gd name="T112" fmla="*/ 408 w 429"/>
                <a:gd name="T113" fmla="*/ 69 h 611"/>
                <a:gd name="T114" fmla="*/ 420 w 429"/>
                <a:gd name="T115" fmla="*/ 63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29" h="611">
                  <a:moveTo>
                    <a:pt x="429" y="54"/>
                  </a:moveTo>
                  <a:cubicBezTo>
                    <a:pt x="429" y="53"/>
                    <a:pt x="428" y="52"/>
                    <a:pt x="428" y="51"/>
                  </a:cubicBezTo>
                  <a:cubicBezTo>
                    <a:pt x="428" y="50"/>
                    <a:pt x="427" y="49"/>
                    <a:pt x="427" y="48"/>
                  </a:cubicBezTo>
                  <a:cubicBezTo>
                    <a:pt x="426" y="47"/>
                    <a:pt x="426" y="47"/>
                    <a:pt x="426" y="47"/>
                  </a:cubicBezTo>
                  <a:cubicBezTo>
                    <a:pt x="427" y="46"/>
                    <a:pt x="427" y="46"/>
                    <a:pt x="427" y="46"/>
                  </a:cubicBezTo>
                  <a:cubicBezTo>
                    <a:pt x="427" y="46"/>
                    <a:pt x="427" y="45"/>
                    <a:pt x="428" y="45"/>
                  </a:cubicBezTo>
                  <a:cubicBezTo>
                    <a:pt x="427" y="44"/>
                    <a:pt x="427" y="44"/>
                    <a:pt x="426" y="44"/>
                  </a:cubicBezTo>
                  <a:cubicBezTo>
                    <a:pt x="424" y="45"/>
                    <a:pt x="420" y="50"/>
                    <a:pt x="420" y="50"/>
                  </a:cubicBezTo>
                  <a:cubicBezTo>
                    <a:pt x="419" y="42"/>
                    <a:pt x="419" y="42"/>
                    <a:pt x="419" y="42"/>
                  </a:cubicBezTo>
                  <a:cubicBezTo>
                    <a:pt x="413" y="45"/>
                    <a:pt x="413" y="45"/>
                    <a:pt x="413" y="45"/>
                  </a:cubicBezTo>
                  <a:cubicBezTo>
                    <a:pt x="406" y="43"/>
                    <a:pt x="406" y="43"/>
                    <a:pt x="406" y="43"/>
                  </a:cubicBezTo>
                  <a:cubicBezTo>
                    <a:pt x="406" y="43"/>
                    <a:pt x="404" y="40"/>
                    <a:pt x="402" y="41"/>
                  </a:cubicBezTo>
                  <a:cubicBezTo>
                    <a:pt x="399" y="41"/>
                    <a:pt x="395" y="41"/>
                    <a:pt x="395" y="41"/>
                  </a:cubicBezTo>
                  <a:cubicBezTo>
                    <a:pt x="395" y="41"/>
                    <a:pt x="391" y="38"/>
                    <a:pt x="394" y="38"/>
                  </a:cubicBezTo>
                  <a:cubicBezTo>
                    <a:pt x="396" y="38"/>
                    <a:pt x="401" y="38"/>
                    <a:pt x="403" y="38"/>
                  </a:cubicBezTo>
                  <a:cubicBezTo>
                    <a:pt x="405" y="38"/>
                    <a:pt x="417" y="34"/>
                    <a:pt x="417" y="34"/>
                  </a:cubicBezTo>
                  <a:cubicBezTo>
                    <a:pt x="418" y="29"/>
                    <a:pt x="418" y="29"/>
                    <a:pt x="418" y="29"/>
                  </a:cubicBezTo>
                  <a:cubicBezTo>
                    <a:pt x="424" y="24"/>
                    <a:pt x="424" y="24"/>
                    <a:pt x="424" y="24"/>
                  </a:cubicBezTo>
                  <a:cubicBezTo>
                    <a:pt x="414" y="17"/>
                    <a:pt x="414" y="17"/>
                    <a:pt x="414" y="17"/>
                  </a:cubicBezTo>
                  <a:cubicBezTo>
                    <a:pt x="410" y="10"/>
                    <a:pt x="410" y="10"/>
                    <a:pt x="410" y="10"/>
                  </a:cubicBezTo>
                  <a:cubicBezTo>
                    <a:pt x="410" y="10"/>
                    <a:pt x="410" y="8"/>
                    <a:pt x="407" y="8"/>
                  </a:cubicBezTo>
                  <a:cubicBezTo>
                    <a:pt x="405" y="8"/>
                    <a:pt x="399" y="11"/>
                    <a:pt x="399" y="11"/>
                  </a:cubicBezTo>
                  <a:cubicBezTo>
                    <a:pt x="394" y="8"/>
                    <a:pt x="394" y="8"/>
                    <a:pt x="394" y="8"/>
                  </a:cubicBezTo>
                  <a:cubicBezTo>
                    <a:pt x="387" y="9"/>
                    <a:pt x="387" y="9"/>
                    <a:pt x="387" y="9"/>
                  </a:cubicBezTo>
                  <a:cubicBezTo>
                    <a:pt x="377" y="6"/>
                    <a:pt x="377" y="6"/>
                    <a:pt x="377" y="6"/>
                  </a:cubicBezTo>
                  <a:cubicBezTo>
                    <a:pt x="376" y="8"/>
                    <a:pt x="376" y="8"/>
                    <a:pt x="376" y="8"/>
                  </a:cubicBezTo>
                  <a:cubicBezTo>
                    <a:pt x="376" y="8"/>
                    <a:pt x="373" y="7"/>
                    <a:pt x="373" y="5"/>
                  </a:cubicBezTo>
                  <a:cubicBezTo>
                    <a:pt x="373" y="4"/>
                    <a:pt x="373" y="2"/>
                    <a:pt x="373" y="2"/>
                  </a:cubicBezTo>
                  <a:cubicBezTo>
                    <a:pt x="369" y="3"/>
                    <a:pt x="369" y="3"/>
                    <a:pt x="369" y="3"/>
                  </a:cubicBezTo>
                  <a:cubicBezTo>
                    <a:pt x="367" y="4"/>
                    <a:pt x="367" y="4"/>
                    <a:pt x="367" y="4"/>
                  </a:cubicBezTo>
                  <a:cubicBezTo>
                    <a:pt x="362" y="0"/>
                    <a:pt x="362" y="0"/>
                    <a:pt x="362" y="0"/>
                  </a:cubicBezTo>
                  <a:cubicBezTo>
                    <a:pt x="360" y="6"/>
                    <a:pt x="360" y="6"/>
                    <a:pt x="360" y="6"/>
                  </a:cubicBezTo>
                  <a:cubicBezTo>
                    <a:pt x="363" y="11"/>
                    <a:pt x="363" y="11"/>
                    <a:pt x="363" y="11"/>
                  </a:cubicBezTo>
                  <a:cubicBezTo>
                    <a:pt x="360" y="17"/>
                    <a:pt x="360" y="17"/>
                    <a:pt x="360" y="17"/>
                  </a:cubicBezTo>
                  <a:cubicBezTo>
                    <a:pt x="362" y="22"/>
                    <a:pt x="362" y="22"/>
                    <a:pt x="362" y="22"/>
                  </a:cubicBezTo>
                  <a:cubicBezTo>
                    <a:pt x="362" y="28"/>
                    <a:pt x="362" y="28"/>
                    <a:pt x="362" y="28"/>
                  </a:cubicBezTo>
                  <a:cubicBezTo>
                    <a:pt x="359" y="34"/>
                    <a:pt x="359" y="34"/>
                    <a:pt x="359" y="34"/>
                  </a:cubicBezTo>
                  <a:cubicBezTo>
                    <a:pt x="354" y="30"/>
                    <a:pt x="354" y="30"/>
                    <a:pt x="354" y="30"/>
                  </a:cubicBezTo>
                  <a:cubicBezTo>
                    <a:pt x="355" y="24"/>
                    <a:pt x="355" y="24"/>
                    <a:pt x="355" y="24"/>
                  </a:cubicBezTo>
                  <a:cubicBezTo>
                    <a:pt x="357" y="18"/>
                    <a:pt x="357" y="18"/>
                    <a:pt x="357" y="18"/>
                  </a:cubicBezTo>
                  <a:cubicBezTo>
                    <a:pt x="354" y="11"/>
                    <a:pt x="354" y="11"/>
                    <a:pt x="354" y="11"/>
                  </a:cubicBezTo>
                  <a:cubicBezTo>
                    <a:pt x="347" y="17"/>
                    <a:pt x="347" y="17"/>
                    <a:pt x="347" y="17"/>
                  </a:cubicBezTo>
                  <a:cubicBezTo>
                    <a:pt x="348" y="25"/>
                    <a:pt x="348" y="25"/>
                    <a:pt x="348" y="25"/>
                  </a:cubicBezTo>
                  <a:cubicBezTo>
                    <a:pt x="345" y="30"/>
                    <a:pt x="345" y="30"/>
                    <a:pt x="345" y="30"/>
                  </a:cubicBezTo>
                  <a:cubicBezTo>
                    <a:pt x="345" y="37"/>
                    <a:pt x="345" y="37"/>
                    <a:pt x="345" y="37"/>
                  </a:cubicBezTo>
                  <a:cubicBezTo>
                    <a:pt x="343" y="43"/>
                    <a:pt x="343" y="43"/>
                    <a:pt x="343" y="43"/>
                  </a:cubicBezTo>
                  <a:cubicBezTo>
                    <a:pt x="342" y="51"/>
                    <a:pt x="342" y="51"/>
                    <a:pt x="342" y="51"/>
                  </a:cubicBezTo>
                  <a:cubicBezTo>
                    <a:pt x="342" y="51"/>
                    <a:pt x="342" y="52"/>
                    <a:pt x="340" y="52"/>
                  </a:cubicBezTo>
                  <a:cubicBezTo>
                    <a:pt x="339" y="53"/>
                    <a:pt x="336" y="52"/>
                    <a:pt x="336" y="52"/>
                  </a:cubicBezTo>
                  <a:cubicBezTo>
                    <a:pt x="336" y="41"/>
                    <a:pt x="336" y="41"/>
                    <a:pt x="336" y="41"/>
                  </a:cubicBezTo>
                  <a:cubicBezTo>
                    <a:pt x="337" y="35"/>
                    <a:pt x="337" y="35"/>
                    <a:pt x="337" y="35"/>
                  </a:cubicBezTo>
                  <a:cubicBezTo>
                    <a:pt x="339" y="30"/>
                    <a:pt x="339" y="30"/>
                    <a:pt x="339" y="30"/>
                  </a:cubicBezTo>
                  <a:cubicBezTo>
                    <a:pt x="343" y="24"/>
                    <a:pt x="343" y="24"/>
                    <a:pt x="343" y="24"/>
                  </a:cubicBezTo>
                  <a:cubicBezTo>
                    <a:pt x="343" y="24"/>
                    <a:pt x="343" y="20"/>
                    <a:pt x="342" y="20"/>
                  </a:cubicBezTo>
                  <a:cubicBezTo>
                    <a:pt x="342" y="19"/>
                    <a:pt x="341" y="18"/>
                    <a:pt x="341" y="18"/>
                  </a:cubicBezTo>
                  <a:cubicBezTo>
                    <a:pt x="341" y="18"/>
                    <a:pt x="345" y="15"/>
                    <a:pt x="345" y="15"/>
                  </a:cubicBezTo>
                  <a:cubicBezTo>
                    <a:pt x="345" y="15"/>
                    <a:pt x="344" y="12"/>
                    <a:pt x="342" y="11"/>
                  </a:cubicBezTo>
                  <a:cubicBezTo>
                    <a:pt x="340" y="9"/>
                    <a:pt x="339" y="8"/>
                    <a:pt x="338" y="9"/>
                  </a:cubicBezTo>
                  <a:cubicBezTo>
                    <a:pt x="336" y="10"/>
                    <a:pt x="332" y="11"/>
                    <a:pt x="332" y="12"/>
                  </a:cubicBezTo>
                  <a:cubicBezTo>
                    <a:pt x="332" y="12"/>
                    <a:pt x="332" y="14"/>
                    <a:pt x="333" y="15"/>
                  </a:cubicBezTo>
                  <a:cubicBezTo>
                    <a:pt x="334" y="16"/>
                    <a:pt x="335" y="16"/>
                    <a:pt x="335" y="16"/>
                  </a:cubicBezTo>
                  <a:cubicBezTo>
                    <a:pt x="335" y="17"/>
                    <a:pt x="336" y="19"/>
                    <a:pt x="335" y="20"/>
                  </a:cubicBezTo>
                  <a:cubicBezTo>
                    <a:pt x="335" y="21"/>
                    <a:pt x="335" y="23"/>
                    <a:pt x="333" y="22"/>
                  </a:cubicBezTo>
                  <a:cubicBezTo>
                    <a:pt x="331" y="21"/>
                    <a:pt x="327" y="19"/>
                    <a:pt x="326" y="19"/>
                  </a:cubicBezTo>
                  <a:cubicBezTo>
                    <a:pt x="326" y="18"/>
                    <a:pt x="326" y="15"/>
                    <a:pt x="325" y="18"/>
                  </a:cubicBezTo>
                  <a:cubicBezTo>
                    <a:pt x="323" y="21"/>
                    <a:pt x="323" y="22"/>
                    <a:pt x="323" y="23"/>
                  </a:cubicBezTo>
                  <a:cubicBezTo>
                    <a:pt x="324" y="25"/>
                    <a:pt x="325" y="25"/>
                    <a:pt x="325" y="25"/>
                  </a:cubicBezTo>
                  <a:cubicBezTo>
                    <a:pt x="325" y="26"/>
                    <a:pt x="322" y="27"/>
                    <a:pt x="322" y="27"/>
                  </a:cubicBezTo>
                  <a:cubicBezTo>
                    <a:pt x="322" y="28"/>
                    <a:pt x="321" y="29"/>
                    <a:pt x="323" y="30"/>
                  </a:cubicBezTo>
                  <a:cubicBezTo>
                    <a:pt x="324" y="31"/>
                    <a:pt x="326" y="32"/>
                    <a:pt x="326" y="32"/>
                  </a:cubicBezTo>
                  <a:cubicBezTo>
                    <a:pt x="326" y="32"/>
                    <a:pt x="327" y="35"/>
                    <a:pt x="327" y="35"/>
                  </a:cubicBezTo>
                  <a:cubicBezTo>
                    <a:pt x="327" y="35"/>
                    <a:pt x="322" y="34"/>
                    <a:pt x="322" y="35"/>
                  </a:cubicBezTo>
                  <a:cubicBezTo>
                    <a:pt x="322" y="36"/>
                    <a:pt x="322" y="38"/>
                    <a:pt x="322" y="39"/>
                  </a:cubicBezTo>
                  <a:cubicBezTo>
                    <a:pt x="322" y="39"/>
                    <a:pt x="322" y="41"/>
                    <a:pt x="322" y="41"/>
                  </a:cubicBezTo>
                  <a:cubicBezTo>
                    <a:pt x="322" y="42"/>
                    <a:pt x="318" y="42"/>
                    <a:pt x="317" y="43"/>
                  </a:cubicBezTo>
                  <a:cubicBezTo>
                    <a:pt x="316" y="43"/>
                    <a:pt x="316" y="46"/>
                    <a:pt x="315" y="48"/>
                  </a:cubicBezTo>
                  <a:cubicBezTo>
                    <a:pt x="315" y="49"/>
                    <a:pt x="315" y="50"/>
                    <a:pt x="314" y="51"/>
                  </a:cubicBezTo>
                  <a:cubicBezTo>
                    <a:pt x="314" y="52"/>
                    <a:pt x="313" y="54"/>
                    <a:pt x="313" y="54"/>
                  </a:cubicBezTo>
                  <a:cubicBezTo>
                    <a:pt x="313" y="54"/>
                    <a:pt x="313" y="54"/>
                    <a:pt x="311" y="54"/>
                  </a:cubicBezTo>
                  <a:cubicBezTo>
                    <a:pt x="310" y="54"/>
                    <a:pt x="305" y="50"/>
                    <a:pt x="303" y="51"/>
                  </a:cubicBezTo>
                  <a:cubicBezTo>
                    <a:pt x="302" y="51"/>
                    <a:pt x="300" y="52"/>
                    <a:pt x="300" y="53"/>
                  </a:cubicBezTo>
                  <a:cubicBezTo>
                    <a:pt x="300" y="54"/>
                    <a:pt x="303" y="56"/>
                    <a:pt x="303" y="56"/>
                  </a:cubicBezTo>
                  <a:cubicBezTo>
                    <a:pt x="304" y="56"/>
                    <a:pt x="308" y="57"/>
                    <a:pt x="308" y="58"/>
                  </a:cubicBezTo>
                  <a:cubicBezTo>
                    <a:pt x="308" y="59"/>
                    <a:pt x="308" y="64"/>
                    <a:pt x="308" y="64"/>
                  </a:cubicBezTo>
                  <a:cubicBezTo>
                    <a:pt x="308" y="64"/>
                    <a:pt x="312" y="71"/>
                    <a:pt x="306" y="65"/>
                  </a:cubicBezTo>
                  <a:cubicBezTo>
                    <a:pt x="300" y="59"/>
                    <a:pt x="300" y="58"/>
                    <a:pt x="299" y="58"/>
                  </a:cubicBezTo>
                  <a:cubicBezTo>
                    <a:pt x="298" y="58"/>
                    <a:pt x="292" y="56"/>
                    <a:pt x="292" y="56"/>
                  </a:cubicBezTo>
                  <a:cubicBezTo>
                    <a:pt x="292" y="56"/>
                    <a:pt x="291" y="54"/>
                    <a:pt x="291" y="56"/>
                  </a:cubicBezTo>
                  <a:cubicBezTo>
                    <a:pt x="290" y="58"/>
                    <a:pt x="292" y="61"/>
                    <a:pt x="292" y="61"/>
                  </a:cubicBezTo>
                  <a:cubicBezTo>
                    <a:pt x="291" y="61"/>
                    <a:pt x="291" y="61"/>
                    <a:pt x="291" y="61"/>
                  </a:cubicBezTo>
                  <a:cubicBezTo>
                    <a:pt x="291" y="61"/>
                    <a:pt x="289" y="59"/>
                    <a:pt x="288" y="58"/>
                  </a:cubicBezTo>
                  <a:cubicBezTo>
                    <a:pt x="287" y="57"/>
                    <a:pt x="284" y="58"/>
                    <a:pt x="284" y="58"/>
                  </a:cubicBezTo>
                  <a:cubicBezTo>
                    <a:pt x="284" y="58"/>
                    <a:pt x="283" y="60"/>
                    <a:pt x="282" y="61"/>
                  </a:cubicBezTo>
                  <a:cubicBezTo>
                    <a:pt x="281" y="62"/>
                    <a:pt x="278" y="59"/>
                    <a:pt x="281" y="62"/>
                  </a:cubicBezTo>
                  <a:cubicBezTo>
                    <a:pt x="283" y="66"/>
                    <a:pt x="285" y="66"/>
                    <a:pt x="286" y="67"/>
                  </a:cubicBezTo>
                  <a:cubicBezTo>
                    <a:pt x="287" y="68"/>
                    <a:pt x="290" y="68"/>
                    <a:pt x="291" y="69"/>
                  </a:cubicBezTo>
                  <a:cubicBezTo>
                    <a:pt x="291" y="70"/>
                    <a:pt x="292" y="73"/>
                    <a:pt x="292" y="73"/>
                  </a:cubicBezTo>
                  <a:cubicBezTo>
                    <a:pt x="292" y="73"/>
                    <a:pt x="294" y="76"/>
                    <a:pt x="290" y="73"/>
                  </a:cubicBezTo>
                  <a:cubicBezTo>
                    <a:pt x="286" y="71"/>
                    <a:pt x="285" y="70"/>
                    <a:pt x="284" y="70"/>
                  </a:cubicBezTo>
                  <a:cubicBezTo>
                    <a:pt x="283" y="70"/>
                    <a:pt x="282" y="71"/>
                    <a:pt x="282" y="71"/>
                  </a:cubicBezTo>
                  <a:cubicBezTo>
                    <a:pt x="282" y="71"/>
                    <a:pt x="277" y="70"/>
                    <a:pt x="277" y="68"/>
                  </a:cubicBezTo>
                  <a:cubicBezTo>
                    <a:pt x="276" y="66"/>
                    <a:pt x="278" y="62"/>
                    <a:pt x="274" y="62"/>
                  </a:cubicBezTo>
                  <a:cubicBezTo>
                    <a:pt x="271" y="63"/>
                    <a:pt x="269" y="64"/>
                    <a:pt x="269" y="65"/>
                  </a:cubicBezTo>
                  <a:cubicBezTo>
                    <a:pt x="269" y="66"/>
                    <a:pt x="267" y="66"/>
                    <a:pt x="270" y="69"/>
                  </a:cubicBezTo>
                  <a:cubicBezTo>
                    <a:pt x="272" y="72"/>
                    <a:pt x="274" y="73"/>
                    <a:pt x="274" y="73"/>
                  </a:cubicBezTo>
                  <a:cubicBezTo>
                    <a:pt x="275" y="73"/>
                    <a:pt x="279" y="73"/>
                    <a:pt x="277" y="74"/>
                  </a:cubicBezTo>
                  <a:cubicBezTo>
                    <a:pt x="275" y="76"/>
                    <a:pt x="272" y="76"/>
                    <a:pt x="271" y="76"/>
                  </a:cubicBezTo>
                  <a:cubicBezTo>
                    <a:pt x="271" y="76"/>
                    <a:pt x="272" y="75"/>
                    <a:pt x="270" y="75"/>
                  </a:cubicBezTo>
                  <a:cubicBezTo>
                    <a:pt x="269" y="76"/>
                    <a:pt x="265" y="80"/>
                    <a:pt x="265" y="80"/>
                  </a:cubicBezTo>
                  <a:cubicBezTo>
                    <a:pt x="265" y="80"/>
                    <a:pt x="264" y="79"/>
                    <a:pt x="264" y="78"/>
                  </a:cubicBezTo>
                  <a:cubicBezTo>
                    <a:pt x="264" y="77"/>
                    <a:pt x="267" y="76"/>
                    <a:pt x="267" y="74"/>
                  </a:cubicBezTo>
                  <a:cubicBezTo>
                    <a:pt x="268" y="72"/>
                    <a:pt x="265" y="67"/>
                    <a:pt x="265" y="67"/>
                  </a:cubicBezTo>
                  <a:cubicBezTo>
                    <a:pt x="265" y="67"/>
                    <a:pt x="263" y="65"/>
                    <a:pt x="262" y="65"/>
                  </a:cubicBezTo>
                  <a:cubicBezTo>
                    <a:pt x="261" y="64"/>
                    <a:pt x="259" y="63"/>
                    <a:pt x="258" y="63"/>
                  </a:cubicBezTo>
                  <a:cubicBezTo>
                    <a:pt x="257" y="64"/>
                    <a:pt x="256" y="67"/>
                    <a:pt x="258" y="68"/>
                  </a:cubicBezTo>
                  <a:cubicBezTo>
                    <a:pt x="259" y="70"/>
                    <a:pt x="261" y="72"/>
                    <a:pt x="260" y="73"/>
                  </a:cubicBezTo>
                  <a:cubicBezTo>
                    <a:pt x="259" y="73"/>
                    <a:pt x="258" y="74"/>
                    <a:pt x="257" y="73"/>
                  </a:cubicBezTo>
                  <a:cubicBezTo>
                    <a:pt x="256" y="73"/>
                    <a:pt x="254" y="71"/>
                    <a:pt x="252" y="72"/>
                  </a:cubicBezTo>
                  <a:cubicBezTo>
                    <a:pt x="250" y="73"/>
                    <a:pt x="247" y="78"/>
                    <a:pt x="247" y="78"/>
                  </a:cubicBezTo>
                  <a:cubicBezTo>
                    <a:pt x="247" y="78"/>
                    <a:pt x="250" y="83"/>
                    <a:pt x="250" y="83"/>
                  </a:cubicBezTo>
                  <a:cubicBezTo>
                    <a:pt x="251" y="84"/>
                    <a:pt x="252" y="85"/>
                    <a:pt x="252" y="87"/>
                  </a:cubicBezTo>
                  <a:cubicBezTo>
                    <a:pt x="251" y="88"/>
                    <a:pt x="252" y="86"/>
                    <a:pt x="250" y="87"/>
                  </a:cubicBezTo>
                  <a:cubicBezTo>
                    <a:pt x="248" y="88"/>
                    <a:pt x="247" y="88"/>
                    <a:pt x="246" y="89"/>
                  </a:cubicBezTo>
                  <a:cubicBezTo>
                    <a:pt x="244" y="89"/>
                    <a:pt x="240" y="93"/>
                    <a:pt x="240" y="93"/>
                  </a:cubicBezTo>
                  <a:cubicBezTo>
                    <a:pt x="242" y="96"/>
                    <a:pt x="242" y="96"/>
                    <a:pt x="242" y="96"/>
                  </a:cubicBezTo>
                  <a:cubicBezTo>
                    <a:pt x="242" y="96"/>
                    <a:pt x="236" y="99"/>
                    <a:pt x="235" y="99"/>
                  </a:cubicBezTo>
                  <a:cubicBezTo>
                    <a:pt x="233" y="100"/>
                    <a:pt x="237" y="99"/>
                    <a:pt x="233" y="100"/>
                  </a:cubicBezTo>
                  <a:cubicBezTo>
                    <a:pt x="229" y="101"/>
                    <a:pt x="227" y="105"/>
                    <a:pt x="227" y="106"/>
                  </a:cubicBezTo>
                  <a:cubicBezTo>
                    <a:pt x="226" y="107"/>
                    <a:pt x="223" y="107"/>
                    <a:pt x="223" y="109"/>
                  </a:cubicBezTo>
                  <a:cubicBezTo>
                    <a:pt x="223" y="111"/>
                    <a:pt x="224" y="114"/>
                    <a:pt x="223" y="115"/>
                  </a:cubicBezTo>
                  <a:cubicBezTo>
                    <a:pt x="223" y="116"/>
                    <a:pt x="223" y="116"/>
                    <a:pt x="223" y="117"/>
                  </a:cubicBezTo>
                  <a:cubicBezTo>
                    <a:pt x="223" y="119"/>
                    <a:pt x="222" y="120"/>
                    <a:pt x="225" y="120"/>
                  </a:cubicBezTo>
                  <a:cubicBezTo>
                    <a:pt x="227" y="120"/>
                    <a:pt x="230" y="119"/>
                    <a:pt x="231" y="118"/>
                  </a:cubicBezTo>
                  <a:cubicBezTo>
                    <a:pt x="231" y="117"/>
                    <a:pt x="232" y="114"/>
                    <a:pt x="233" y="115"/>
                  </a:cubicBezTo>
                  <a:cubicBezTo>
                    <a:pt x="234" y="117"/>
                    <a:pt x="234" y="120"/>
                    <a:pt x="234" y="120"/>
                  </a:cubicBezTo>
                  <a:cubicBezTo>
                    <a:pt x="234" y="120"/>
                    <a:pt x="234" y="123"/>
                    <a:pt x="234" y="124"/>
                  </a:cubicBezTo>
                  <a:cubicBezTo>
                    <a:pt x="234" y="125"/>
                    <a:pt x="239" y="123"/>
                    <a:pt x="233" y="126"/>
                  </a:cubicBezTo>
                  <a:cubicBezTo>
                    <a:pt x="228" y="129"/>
                    <a:pt x="226" y="129"/>
                    <a:pt x="226" y="130"/>
                  </a:cubicBezTo>
                  <a:cubicBezTo>
                    <a:pt x="226" y="131"/>
                    <a:pt x="229" y="136"/>
                    <a:pt x="225" y="134"/>
                  </a:cubicBezTo>
                  <a:cubicBezTo>
                    <a:pt x="221" y="133"/>
                    <a:pt x="222" y="134"/>
                    <a:pt x="221" y="133"/>
                  </a:cubicBezTo>
                  <a:cubicBezTo>
                    <a:pt x="220" y="132"/>
                    <a:pt x="222" y="138"/>
                    <a:pt x="217" y="130"/>
                  </a:cubicBezTo>
                  <a:cubicBezTo>
                    <a:pt x="213" y="123"/>
                    <a:pt x="213" y="124"/>
                    <a:pt x="212" y="122"/>
                  </a:cubicBezTo>
                  <a:cubicBezTo>
                    <a:pt x="212" y="121"/>
                    <a:pt x="212" y="115"/>
                    <a:pt x="212" y="115"/>
                  </a:cubicBezTo>
                  <a:cubicBezTo>
                    <a:pt x="212" y="115"/>
                    <a:pt x="211" y="109"/>
                    <a:pt x="208" y="112"/>
                  </a:cubicBezTo>
                  <a:cubicBezTo>
                    <a:pt x="206" y="114"/>
                    <a:pt x="205" y="118"/>
                    <a:pt x="205" y="118"/>
                  </a:cubicBezTo>
                  <a:cubicBezTo>
                    <a:pt x="205" y="118"/>
                    <a:pt x="201" y="122"/>
                    <a:pt x="201" y="123"/>
                  </a:cubicBezTo>
                  <a:cubicBezTo>
                    <a:pt x="200" y="123"/>
                    <a:pt x="198" y="123"/>
                    <a:pt x="196" y="125"/>
                  </a:cubicBezTo>
                  <a:cubicBezTo>
                    <a:pt x="194" y="127"/>
                    <a:pt x="189" y="135"/>
                    <a:pt x="189" y="135"/>
                  </a:cubicBezTo>
                  <a:cubicBezTo>
                    <a:pt x="189" y="135"/>
                    <a:pt x="185" y="141"/>
                    <a:pt x="186" y="142"/>
                  </a:cubicBezTo>
                  <a:cubicBezTo>
                    <a:pt x="187" y="144"/>
                    <a:pt x="189" y="146"/>
                    <a:pt x="189" y="146"/>
                  </a:cubicBezTo>
                  <a:cubicBezTo>
                    <a:pt x="189" y="146"/>
                    <a:pt x="190" y="145"/>
                    <a:pt x="190" y="148"/>
                  </a:cubicBezTo>
                  <a:cubicBezTo>
                    <a:pt x="190" y="150"/>
                    <a:pt x="194" y="151"/>
                    <a:pt x="194" y="151"/>
                  </a:cubicBezTo>
                  <a:cubicBezTo>
                    <a:pt x="194" y="151"/>
                    <a:pt x="196" y="152"/>
                    <a:pt x="194" y="153"/>
                  </a:cubicBezTo>
                  <a:cubicBezTo>
                    <a:pt x="192" y="155"/>
                    <a:pt x="185" y="156"/>
                    <a:pt x="185" y="156"/>
                  </a:cubicBezTo>
                  <a:cubicBezTo>
                    <a:pt x="179" y="156"/>
                    <a:pt x="179" y="156"/>
                    <a:pt x="179" y="156"/>
                  </a:cubicBezTo>
                  <a:cubicBezTo>
                    <a:pt x="179" y="156"/>
                    <a:pt x="176" y="160"/>
                    <a:pt x="175" y="160"/>
                  </a:cubicBezTo>
                  <a:cubicBezTo>
                    <a:pt x="173" y="161"/>
                    <a:pt x="171" y="163"/>
                    <a:pt x="170" y="164"/>
                  </a:cubicBezTo>
                  <a:cubicBezTo>
                    <a:pt x="170" y="166"/>
                    <a:pt x="162" y="172"/>
                    <a:pt x="162" y="172"/>
                  </a:cubicBezTo>
                  <a:cubicBezTo>
                    <a:pt x="162" y="172"/>
                    <a:pt x="163" y="175"/>
                    <a:pt x="163" y="176"/>
                  </a:cubicBezTo>
                  <a:cubicBezTo>
                    <a:pt x="163" y="177"/>
                    <a:pt x="159" y="179"/>
                    <a:pt x="161" y="179"/>
                  </a:cubicBezTo>
                  <a:cubicBezTo>
                    <a:pt x="163" y="180"/>
                    <a:pt x="165" y="181"/>
                    <a:pt x="167" y="178"/>
                  </a:cubicBezTo>
                  <a:cubicBezTo>
                    <a:pt x="168" y="175"/>
                    <a:pt x="169" y="171"/>
                    <a:pt x="169" y="171"/>
                  </a:cubicBezTo>
                  <a:cubicBezTo>
                    <a:pt x="169" y="171"/>
                    <a:pt x="170" y="169"/>
                    <a:pt x="172" y="169"/>
                  </a:cubicBezTo>
                  <a:cubicBezTo>
                    <a:pt x="174" y="169"/>
                    <a:pt x="177" y="167"/>
                    <a:pt x="179" y="167"/>
                  </a:cubicBezTo>
                  <a:cubicBezTo>
                    <a:pt x="181" y="166"/>
                    <a:pt x="184" y="162"/>
                    <a:pt x="185" y="162"/>
                  </a:cubicBezTo>
                  <a:cubicBezTo>
                    <a:pt x="186" y="162"/>
                    <a:pt x="186" y="163"/>
                    <a:pt x="189" y="163"/>
                  </a:cubicBezTo>
                  <a:cubicBezTo>
                    <a:pt x="193" y="162"/>
                    <a:pt x="196" y="162"/>
                    <a:pt x="197" y="161"/>
                  </a:cubicBezTo>
                  <a:cubicBezTo>
                    <a:pt x="198" y="160"/>
                    <a:pt x="205" y="164"/>
                    <a:pt x="205" y="165"/>
                  </a:cubicBezTo>
                  <a:cubicBezTo>
                    <a:pt x="206" y="166"/>
                    <a:pt x="199" y="167"/>
                    <a:pt x="202" y="169"/>
                  </a:cubicBezTo>
                  <a:cubicBezTo>
                    <a:pt x="205" y="170"/>
                    <a:pt x="205" y="171"/>
                    <a:pt x="206" y="171"/>
                  </a:cubicBezTo>
                  <a:cubicBezTo>
                    <a:pt x="207" y="171"/>
                    <a:pt x="208" y="171"/>
                    <a:pt x="211" y="169"/>
                  </a:cubicBezTo>
                  <a:cubicBezTo>
                    <a:pt x="213" y="168"/>
                    <a:pt x="209" y="165"/>
                    <a:pt x="214" y="167"/>
                  </a:cubicBezTo>
                  <a:cubicBezTo>
                    <a:pt x="219" y="169"/>
                    <a:pt x="218" y="170"/>
                    <a:pt x="218" y="170"/>
                  </a:cubicBezTo>
                  <a:cubicBezTo>
                    <a:pt x="218" y="172"/>
                    <a:pt x="218" y="172"/>
                    <a:pt x="218" y="172"/>
                  </a:cubicBezTo>
                  <a:cubicBezTo>
                    <a:pt x="214" y="173"/>
                    <a:pt x="214" y="173"/>
                    <a:pt x="214" y="173"/>
                  </a:cubicBezTo>
                  <a:cubicBezTo>
                    <a:pt x="209" y="172"/>
                    <a:pt x="209" y="172"/>
                    <a:pt x="209" y="172"/>
                  </a:cubicBezTo>
                  <a:cubicBezTo>
                    <a:pt x="206" y="173"/>
                    <a:pt x="206" y="173"/>
                    <a:pt x="206" y="173"/>
                  </a:cubicBezTo>
                  <a:cubicBezTo>
                    <a:pt x="206" y="173"/>
                    <a:pt x="205" y="174"/>
                    <a:pt x="205" y="174"/>
                  </a:cubicBezTo>
                  <a:cubicBezTo>
                    <a:pt x="204" y="174"/>
                    <a:pt x="197" y="175"/>
                    <a:pt x="197" y="175"/>
                  </a:cubicBezTo>
                  <a:cubicBezTo>
                    <a:pt x="194" y="180"/>
                    <a:pt x="194" y="180"/>
                    <a:pt x="194" y="180"/>
                  </a:cubicBezTo>
                  <a:cubicBezTo>
                    <a:pt x="194" y="180"/>
                    <a:pt x="196" y="184"/>
                    <a:pt x="197" y="183"/>
                  </a:cubicBezTo>
                  <a:cubicBezTo>
                    <a:pt x="198" y="183"/>
                    <a:pt x="202" y="182"/>
                    <a:pt x="202" y="182"/>
                  </a:cubicBezTo>
                  <a:cubicBezTo>
                    <a:pt x="203" y="182"/>
                    <a:pt x="204" y="184"/>
                    <a:pt x="203" y="185"/>
                  </a:cubicBezTo>
                  <a:cubicBezTo>
                    <a:pt x="203" y="186"/>
                    <a:pt x="200" y="188"/>
                    <a:pt x="200" y="188"/>
                  </a:cubicBezTo>
                  <a:cubicBezTo>
                    <a:pt x="198" y="191"/>
                    <a:pt x="198" y="191"/>
                    <a:pt x="198" y="191"/>
                  </a:cubicBezTo>
                  <a:cubicBezTo>
                    <a:pt x="198" y="191"/>
                    <a:pt x="201" y="192"/>
                    <a:pt x="202" y="192"/>
                  </a:cubicBezTo>
                  <a:cubicBezTo>
                    <a:pt x="202" y="192"/>
                    <a:pt x="207" y="192"/>
                    <a:pt x="206" y="193"/>
                  </a:cubicBezTo>
                  <a:cubicBezTo>
                    <a:pt x="206" y="193"/>
                    <a:pt x="199" y="194"/>
                    <a:pt x="199" y="194"/>
                  </a:cubicBezTo>
                  <a:cubicBezTo>
                    <a:pt x="199" y="194"/>
                    <a:pt x="193" y="193"/>
                    <a:pt x="193" y="193"/>
                  </a:cubicBezTo>
                  <a:cubicBezTo>
                    <a:pt x="193" y="194"/>
                    <a:pt x="192" y="195"/>
                    <a:pt x="192" y="196"/>
                  </a:cubicBezTo>
                  <a:cubicBezTo>
                    <a:pt x="192" y="196"/>
                    <a:pt x="191" y="198"/>
                    <a:pt x="191" y="198"/>
                  </a:cubicBezTo>
                  <a:cubicBezTo>
                    <a:pt x="190" y="198"/>
                    <a:pt x="188" y="199"/>
                    <a:pt x="188" y="199"/>
                  </a:cubicBezTo>
                  <a:cubicBezTo>
                    <a:pt x="188" y="200"/>
                    <a:pt x="187" y="202"/>
                    <a:pt x="187" y="203"/>
                  </a:cubicBezTo>
                  <a:cubicBezTo>
                    <a:pt x="187" y="204"/>
                    <a:pt x="190" y="206"/>
                    <a:pt x="190" y="206"/>
                  </a:cubicBezTo>
                  <a:cubicBezTo>
                    <a:pt x="189" y="208"/>
                    <a:pt x="189" y="208"/>
                    <a:pt x="189" y="208"/>
                  </a:cubicBezTo>
                  <a:cubicBezTo>
                    <a:pt x="186" y="211"/>
                    <a:pt x="186" y="211"/>
                    <a:pt x="186" y="211"/>
                  </a:cubicBezTo>
                  <a:cubicBezTo>
                    <a:pt x="186" y="211"/>
                    <a:pt x="184" y="212"/>
                    <a:pt x="184" y="213"/>
                  </a:cubicBezTo>
                  <a:cubicBezTo>
                    <a:pt x="184" y="213"/>
                    <a:pt x="181" y="215"/>
                    <a:pt x="181" y="215"/>
                  </a:cubicBezTo>
                  <a:cubicBezTo>
                    <a:pt x="175" y="218"/>
                    <a:pt x="175" y="218"/>
                    <a:pt x="175" y="218"/>
                  </a:cubicBezTo>
                  <a:cubicBezTo>
                    <a:pt x="175" y="218"/>
                    <a:pt x="176" y="220"/>
                    <a:pt x="177" y="221"/>
                  </a:cubicBezTo>
                  <a:cubicBezTo>
                    <a:pt x="177" y="221"/>
                    <a:pt x="179" y="223"/>
                    <a:pt x="177" y="224"/>
                  </a:cubicBezTo>
                  <a:cubicBezTo>
                    <a:pt x="176" y="225"/>
                    <a:pt x="174" y="226"/>
                    <a:pt x="173" y="226"/>
                  </a:cubicBezTo>
                  <a:cubicBezTo>
                    <a:pt x="173" y="227"/>
                    <a:pt x="171" y="228"/>
                    <a:pt x="172" y="229"/>
                  </a:cubicBezTo>
                  <a:cubicBezTo>
                    <a:pt x="172" y="231"/>
                    <a:pt x="170" y="233"/>
                    <a:pt x="170" y="234"/>
                  </a:cubicBezTo>
                  <a:cubicBezTo>
                    <a:pt x="170" y="234"/>
                    <a:pt x="168" y="235"/>
                    <a:pt x="169" y="237"/>
                  </a:cubicBezTo>
                  <a:cubicBezTo>
                    <a:pt x="169" y="239"/>
                    <a:pt x="168" y="244"/>
                    <a:pt x="168" y="244"/>
                  </a:cubicBezTo>
                  <a:cubicBezTo>
                    <a:pt x="168" y="244"/>
                    <a:pt x="171" y="248"/>
                    <a:pt x="171" y="248"/>
                  </a:cubicBezTo>
                  <a:cubicBezTo>
                    <a:pt x="172" y="248"/>
                    <a:pt x="175" y="246"/>
                    <a:pt x="177" y="246"/>
                  </a:cubicBezTo>
                  <a:cubicBezTo>
                    <a:pt x="178" y="247"/>
                    <a:pt x="180" y="248"/>
                    <a:pt x="180" y="248"/>
                  </a:cubicBezTo>
                  <a:cubicBezTo>
                    <a:pt x="180" y="248"/>
                    <a:pt x="180" y="252"/>
                    <a:pt x="179" y="253"/>
                  </a:cubicBezTo>
                  <a:cubicBezTo>
                    <a:pt x="178" y="253"/>
                    <a:pt x="173" y="254"/>
                    <a:pt x="173" y="254"/>
                  </a:cubicBezTo>
                  <a:cubicBezTo>
                    <a:pt x="173" y="254"/>
                    <a:pt x="171" y="252"/>
                    <a:pt x="170" y="253"/>
                  </a:cubicBezTo>
                  <a:cubicBezTo>
                    <a:pt x="169" y="253"/>
                    <a:pt x="165" y="257"/>
                    <a:pt x="165" y="257"/>
                  </a:cubicBezTo>
                  <a:cubicBezTo>
                    <a:pt x="165" y="257"/>
                    <a:pt x="165" y="259"/>
                    <a:pt x="164" y="260"/>
                  </a:cubicBezTo>
                  <a:cubicBezTo>
                    <a:pt x="163" y="260"/>
                    <a:pt x="162" y="259"/>
                    <a:pt x="162" y="260"/>
                  </a:cubicBezTo>
                  <a:cubicBezTo>
                    <a:pt x="162" y="261"/>
                    <a:pt x="162" y="264"/>
                    <a:pt x="162" y="265"/>
                  </a:cubicBezTo>
                  <a:cubicBezTo>
                    <a:pt x="162" y="266"/>
                    <a:pt x="162" y="268"/>
                    <a:pt x="162" y="268"/>
                  </a:cubicBezTo>
                  <a:cubicBezTo>
                    <a:pt x="162" y="268"/>
                    <a:pt x="160" y="271"/>
                    <a:pt x="159" y="273"/>
                  </a:cubicBezTo>
                  <a:cubicBezTo>
                    <a:pt x="159" y="275"/>
                    <a:pt x="157" y="279"/>
                    <a:pt x="157" y="279"/>
                  </a:cubicBezTo>
                  <a:cubicBezTo>
                    <a:pt x="158" y="280"/>
                    <a:pt x="159" y="284"/>
                    <a:pt x="159" y="284"/>
                  </a:cubicBezTo>
                  <a:cubicBezTo>
                    <a:pt x="154" y="287"/>
                    <a:pt x="154" y="287"/>
                    <a:pt x="154" y="287"/>
                  </a:cubicBezTo>
                  <a:cubicBezTo>
                    <a:pt x="155" y="291"/>
                    <a:pt x="155" y="291"/>
                    <a:pt x="155" y="291"/>
                  </a:cubicBezTo>
                  <a:cubicBezTo>
                    <a:pt x="155" y="291"/>
                    <a:pt x="156" y="292"/>
                    <a:pt x="156" y="293"/>
                  </a:cubicBezTo>
                  <a:cubicBezTo>
                    <a:pt x="156" y="294"/>
                    <a:pt x="153" y="296"/>
                    <a:pt x="153" y="296"/>
                  </a:cubicBezTo>
                  <a:cubicBezTo>
                    <a:pt x="153" y="296"/>
                    <a:pt x="153" y="300"/>
                    <a:pt x="152" y="301"/>
                  </a:cubicBezTo>
                  <a:cubicBezTo>
                    <a:pt x="152" y="302"/>
                    <a:pt x="148" y="299"/>
                    <a:pt x="148" y="299"/>
                  </a:cubicBezTo>
                  <a:cubicBezTo>
                    <a:pt x="145" y="300"/>
                    <a:pt x="145" y="300"/>
                    <a:pt x="145" y="300"/>
                  </a:cubicBezTo>
                  <a:cubicBezTo>
                    <a:pt x="145" y="303"/>
                    <a:pt x="145" y="303"/>
                    <a:pt x="145" y="303"/>
                  </a:cubicBezTo>
                  <a:cubicBezTo>
                    <a:pt x="143" y="306"/>
                    <a:pt x="143" y="306"/>
                    <a:pt x="143" y="306"/>
                  </a:cubicBezTo>
                  <a:cubicBezTo>
                    <a:pt x="138" y="306"/>
                    <a:pt x="138" y="306"/>
                    <a:pt x="138" y="306"/>
                  </a:cubicBezTo>
                  <a:cubicBezTo>
                    <a:pt x="138" y="306"/>
                    <a:pt x="133" y="309"/>
                    <a:pt x="133" y="310"/>
                  </a:cubicBezTo>
                  <a:cubicBezTo>
                    <a:pt x="133" y="310"/>
                    <a:pt x="132" y="312"/>
                    <a:pt x="133" y="312"/>
                  </a:cubicBezTo>
                  <a:cubicBezTo>
                    <a:pt x="135" y="313"/>
                    <a:pt x="136" y="313"/>
                    <a:pt x="137" y="312"/>
                  </a:cubicBezTo>
                  <a:cubicBezTo>
                    <a:pt x="138" y="312"/>
                    <a:pt x="142" y="310"/>
                    <a:pt x="142" y="310"/>
                  </a:cubicBezTo>
                  <a:cubicBezTo>
                    <a:pt x="143" y="310"/>
                    <a:pt x="146" y="310"/>
                    <a:pt x="144" y="312"/>
                  </a:cubicBezTo>
                  <a:cubicBezTo>
                    <a:pt x="143" y="313"/>
                    <a:pt x="141" y="314"/>
                    <a:pt x="140" y="314"/>
                  </a:cubicBezTo>
                  <a:cubicBezTo>
                    <a:pt x="139" y="315"/>
                    <a:pt x="137" y="315"/>
                    <a:pt x="136" y="317"/>
                  </a:cubicBezTo>
                  <a:cubicBezTo>
                    <a:pt x="136" y="320"/>
                    <a:pt x="136" y="322"/>
                    <a:pt x="136" y="322"/>
                  </a:cubicBezTo>
                  <a:cubicBezTo>
                    <a:pt x="141" y="320"/>
                    <a:pt x="141" y="320"/>
                    <a:pt x="141" y="320"/>
                  </a:cubicBezTo>
                  <a:cubicBezTo>
                    <a:pt x="141" y="320"/>
                    <a:pt x="142" y="320"/>
                    <a:pt x="143" y="322"/>
                  </a:cubicBezTo>
                  <a:cubicBezTo>
                    <a:pt x="144" y="325"/>
                    <a:pt x="141" y="326"/>
                    <a:pt x="140" y="326"/>
                  </a:cubicBezTo>
                  <a:cubicBezTo>
                    <a:pt x="139" y="326"/>
                    <a:pt x="135" y="323"/>
                    <a:pt x="135" y="323"/>
                  </a:cubicBezTo>
                  <a:cubicBezTo>
                    <a:pt x="131" y="325"/>
                    <a:pt x="131" y="325"/>
                    <a:pt x="131" y="325"/>
                  </a:cubicBezTo>
                  <a:cubicBezTo>
                    <a:pt x="131" y="325"/>
                    <a:pt x="131" y="324"/>
                    <a:pt x="128" y="327"/>
                  </a:cubicBezTo>
                  <a:cubicBezTo>
                    <a:pt x="124" y="330"/>
                    <a:pt x="123" y="334"/>
                    <a:pt x="123" y="335"/>
                  </a:cubicBezTo>
                  <a:cubicBezTo>
                    <a:pt x="123" y="336"/>
                    <a:pt x="122" y="338"/>
                    <a:pt x="121" y="339"/>
                  </a:cubicBezTo>
                  <a:cubicBezTo>
                    <a:pt x="119" y="340"/>
                    <a:pt x="116" y="343"/>
                    <a:pt x="116" y="343"/>
                  </a:cubicBezTo>
                  <a:cubicBezTo>
                    <a:pt x="116" y="343"/>
                    <a:pt x="115" y="344"/>
                    <a:pt x="115" y="346"/>
                  </a:cubicBezTo>
                  <a:cubicBezTo>
                    <a:pt x="114" y="348"/>
                    <a:pt x="114" y="348"/>
                    <a:pt x="114" y="348"/>
                  </a:cubicBezTo>
                  <a:cubicBezTo>
                    <a:pt x="117" y="351"/>
                    <a:pt x="117" y="351"/>
                    <a:pt x="117" y="351"/>
                  </a:cubicBezTo>
                  <a:cubicBezTo>
                    <a:pt x="111" y="354"/>
                    <a:pt x="111" y="354"/>
                    <a:pt x="111" y="354"/>
                  </a:cubicBezTo>
                  <a:cubicBezTo>
                    <a:pt x="109" y="356"/>
                    <a:pt x="109" y="356"/>
                    <a:pt x="109" y="356"/>
                  </a:cubicBezTo>
                  <a:cubicBezTo>
                    <a:pt x="109" y="356"/>
                    <a:pt x="104" y="361"/>
                    <a:pt x="108" y="362"/>
                  </a:cubicBezTo>
                  <a:cubicBezTo>
                    <a:pt x="111" y="362"/>
                    <a:pt x="113" y="362"/>
                    <a:pt x="113" y="362"/>
                  </a:cubicBezTo>
                  <a:cubicBezTo>
                    <a:pt x="113" y="362"/>
                    <a:pt x="113" y="367"/>
                    <a:pt x="114" y="367"/>
                  </a:cubicBezTo>
                  <a:cubicBezTo>
                    <a:pt x="115" y="367"/>
                    <a:pt x="122" y="368"/>
                    <a:pt x="122" y="368"/>
                  </a:cubicBezTo>
                  <a:cubicBezTo>
                    <a:pt x="126" y="364"/>
                    <a:pt x="126" y="364"/>
                    <a:pt x="126" y="364"/>
                  </a:cubicBezTo>
                  <a:cubicBezTo>
                    <a:pt x="128" y="363"/>
                    <a:pt x="128" y="363"/>
                    <a:pt x="128" y="363"/>
                  </a:cubicBezTo>
                  <a:cubicBezTo>
                    <a:pt x="130" y="366"/>
                    <a:pt x="130" y="366"/>
                    <a:pt x="130" y="366"/>
                  </a:cubicBezTo>
                  <a:cubicBezTo>
                    <a:pt x="130" y="366"/>
                    <a:pt x="129" y="368"/>
                    <a:pt x="126" y="368"/>
                  </a:cubicBezTo>
                  <a:cubicBezTo>
                    <a:pt x="124" y="368"/>
                    <a:pt x="125" y="368"/>
                    <a:pt x="123" y="370"/>
                  </a:cubicBezTo>
                  <a:cubicBezTo>
                    <a:pt x="121" y="372"/>
                    <a:pt x="120" y="373"/>
                    <a:pt x="119" y="373"/>
                  </a:cubicBezTo>
                  <a:cubicBezTo>
                    <a:pt x="118" y="373"/>
                    <a:pt x="116" y="375"/>
                    <a:pt x="115" y="372"/>
                  </a:cubicBezTo>
                  <a:cubicBezTo>
                    <a:pt x="114" y="370"/>
                    <a:pt x="112" y="367"/>
                    <a:pt x="112" y="367"/>
                  </a:cubicBezTo>
                  <a:cubicBezTo>
                    <a:pt x="105" y="364"/>
                    <a:pt x="105" y="364"/>
                    <a:pt x="105" y="364"/>
                  </a:cubicBezTo>
                  <a:cubicBezTo>
                    <a:pt x="103" y="365"/>
                    <a:pt x="103" y="365"/>
                    <a:pt x="103" y="365"/>
                  </a:cubicBezTo>
                  <a:cubicBezTo>
                    <a:pt x="103" y="365"/>
                    <a:pt x="103" y="368"/>
                    <a:pt x="102" y="368"/>
                  </a:cubicBezTo>
                  <a:cubicBezTo>
                    <a:pt x="101" y="368"/>
                    <a:pt x="96" y="368"/>
                    <a:pt x="95" y="368"/>
                  </a:cubicBezTo>
                  <a:cubicBezTo>
                    <a:pt x="93" y="368"/>
                    <a:pt x="92" y="368"/>
                    <a:pt x="92" y="367"/>
                  </a:cubicBezTo>
                  <a:cubicBezTo>
                    <a:pt x="92" y="366"/>
                    <a:pt x="92" y="365"/>
                    <a:pt x="91" y="365"/>
                  </a:cubicBezTo>
                  <a:cubicBezTo>
                    <a:pt x="91" y="364"/>
                    <a:pt x="89" y="361"/>
                    <a:pt x="88" y="361"/>
                  </a:cubicBezTo>
                  <a:cubicBezTo>
                    <a:pt x="86" y="361"/>
                    <a:pt x="83" y="363"/>
                    <a:pt x="83" y="363"/>
                  </a:cubicBezTo>
                  <a:cubicBezTo>
                    <a:pt x="82" y="370"/>
                    <a:pt x="82" y="370"/>
                    <a:pt x="82" y="370"/>
                  </a:cubicBezTo>
                  <a:cubicBezTo>
                    <a:pt x="82" y="370"/>
                    <a:pt x="80" y="369"/>
                    <a:pt x="80" y="371"/>
                  </a:cubicBezTo>
                  <a:cubicBezTo>
                    <a:pt x="80" y="372"/>
                    <a:pt x="83" y="375"/>
                    <a:pt x="83" y="375"/>
                  </a:cubicBezTo>
                  <a:cubicBezTo>
                    <a:pt x="83" y="375"/>
                    <a:pt x="85" y="376"/>
                    <a:pt x="85" y="377"/>
                  </a:cubicBezTo>
                  <a:cubicBezTo>
                    <a:pt x="85" y="378"/>
                    <a:pt x="83" y="380"/>
                    <a:pt x="83" y="380"/>
                  </a:cubicBezTo>
                  <a:cubicBezTo>
                    <a:pt x="83" y="380"/>
                    <a:pt x="79" y="380"/>
                    <a:pt x="79" y="381"/>
                  </a:cubicBezTo>
                  <a:cubicBezTo>
                    <a:pt x="78" y="382"/>
                    <a:pt x="79" y="385"/>
                    <a:pt x="79" y="385"/>
                  </a:cubicBezTo>
                  <a:cubicBezTo>
                    <a:pt x="78" y="385"/>
                    <a:pt x="76" y="387"/>
                    <a:pt x="77" y="388"/>
                  </a:cubicBezTo>
                  <a:cubicBezTo>
                    <a:pt x="77" y="388"/>
                    <a:pt x="78" y="392"/>
                    <a:pt x="78" y="392"/>
                  </a:cubicBezTo>
                  <a:cubicBezTo>
                    <a:pt x="78" y="392"/>
                    <a:pt x="78" y="396"/>
                    <a:pt x="77" y="394"/>
                  </a:cubicBezTo>
                  <a:cubicBezTo>
                    <a:pt x="75" y="392"/>
                    <a:pt x="70" y="390"/>
                    <a:pt x="70" y="390"/>
                  </a:cubicBezTo>
                  <a:cubicBezTo>
                    <a:pt x="67" y="388"/>
                    <a:pt x="67" y="388"/>
                    <a:pt x="67" y="388"/>
                  </a:cubicBezTo>
                  <a:cubicBezTo>
                    <a:pt x="67" y="388"/>
                    <a:pt x="64" y="390"/>
                    <a:pt x="63" y="390"/>
                  </a:cubicBezTo>
                  <a:cubicBezTo>
                    <a:pt x="63" y="390"/>
                    <a:pt x="57" y="389"/>
                    <a:pt x="56" y="390"/>
                  </a:cubicBezTo>
                  <a:cubicBezTo>
                    <a:pt x="55" y="391"/>
                    <a:pt x="55" y="392"/>
                    <a:pt x="54" y="394"/>
                  </a:cubicBezTo>
                  <a:cubicBezTo>
                    <a:pt x="53" y="395"/>
                    <a:pt x="50" y="395"/>
                    <a:pt x="52" y="398"/>
                  </a:cubicBezTo>
                  <a:cubicBezTo>
                    <a:pt x="55" y="400"/>
                    <a:pt x="58" y="401"/>
                    <a:pt x="58" y="401"/>
                  </a:cubicBezTo>
                  <a:cubicBezTo>
                    <a:pt x="58" y="401"/>
                    <a:pt x="60" y="401"/>
                    <a:pt x="59" y="404"/>
                  </a:cubicBezTo>
                  <a:cubicBezTo>
                    <a:pt x="57" y="407"/>
                    <a:pt x="53" y="405"/>
                    <a:pt x="53" y="405"/>
                  </a:cubicBezTo>
                  <a:cubicBezTo>
                    <a:pt x="52" y="404"/>
                    <a:pt x="48" y="402"/>
                    <a:pt x="48" y="402"/>
                  </a:cubicBezTo>
                  <a:cubicBezTo>
                    <a:pt x="47" y="403"/>
                    <a:pt x="44" y="407"/>
                    <a:pt x="44" y="407"/>
                  </a:cubicBezTo>
                  <a:cubicBezTo>
                    <a:pt x="44" y="407"/>
                    <a:pt x="43" y="408"/>
                    <a:pt x="42" y="408"/>
                  </a:cubicBezTo>
                  <a:cubicBezTo>
                    <a:pt x="41" y="407"/>
                    <a:pt x="39" y="404"/>
                    <a:pt x="38" y="404"/>
                  </a:cubicBezTo>
                  <a:cubicBezTo>
                    <a:pt x="37" y="405"/>
                    <a:pt x="36" y="407"/>
                    <a:pt x="36" y="407"/>
                  </a:cubicBezTo>
                  <a:cubicBezTo>
                    <a:pt x="36" y="408"/>
                    <a:pt x="37" y="410"/>
                    <a:pt x="37" y="411"/>
                  </a:cubicBezTo>
                  <a:cubicBezTo>
                    <a:pt x="36" y="411"/>
                    <a:pt x="32" y="412"/>
                    <a:pt x="32" y="413"/>
                  </a:cubicBezTo>
                  <a:cubicBezTo>
                    <a:pt x="32" y="414"/>
                    <a:pt x="31" y="412"/>
                    <a:pt x="30" y="416"/>
                  </a:cubicBezTo>
                  <a:cubicBezTo>
                    <a:pt x="29" y="419"/>
                    <a:pt x="31" y="419"/>
                    <a:pt x="29" y="419"/>
                  </a:cubicBezTo>
                  <a:cubicBezTo>
                    <a:pt x="28" y="419"/>
                    <a:pt x="25" y="417"/>
                    <a:pt x="25" y="417"/>
                  </a:cubicBezTo>
                  <a:cubicBezTo>
                    <a:pt x="25" y="417"/>
                    <a:pt x="22" y="414"/>
                    <a:pt x="22" y="417"/>
                  </a:cubicBezTo>
                  <a:cubicBezTo>
                    <a:pt x="22" y="420"/>
                    <a:pt x="22" y="424"/>
                    <a:pt x="22" y="424"/>
                  </a:cubicBezTo>
                  <a:cubicBezTo>
                    <a:pt x="23" y="425"/>
                    <a:pt x="23" y="425"/>
                    <a:pt x="23" y="425"/>
                  </a:cubicBezTo>
                  <a:cubicBezTo>
                    <a:pt x="23" y="425"/>
                    <a:pt x="23" y="426"/>
                    <a:pt x="22" y="427"/>
                  </a:cubicBezTo>
                  <a:cubicBezTo>
                    <a:pt x="22" y="427"/>
                    <a:pt x="20" y="426"/>
                    <a:pt x="20" y="425"/>
                  </a:cubicBezTo>
                  <a:cubicBezTo>
                    <a:pt x="19" y="424"/>
                    <a:pt x="20" y="423"/>
                    <a:pt x="18" y="422"/>
                  </a:cubicBezTo>
                  <a:cubicBezTo>
                    <a:pt x="15" y="421"/>
                    <a:pt x="13" y="420"/>
                    <a:pt x="13" y="421"/>
                  </a:cubicBezTo>
                  <a:cubicBezTo>
                    <a:pt x="13" y="423"/>
                    <a:pt x="13" y="424"/>
                    <a:pt x="13" y="425"/>
                  </a:cubicBezTo>
                  <a:cubicBezTo>
                    <a:pt x="14" y="427"/>
                    <a:pt x="16" y="428"/>
                    <a:pt x="16" y="428"/>
                  </a:cubicBezTo>
                  <a:cubicBezTo>
                    <a:pt x="17" y="428"/>
                    <a:pt x="17" y="428"/>
                    <a:pt x="17" y="428"/>
                  </a:cubicBezTo>
                  <a:cubicBezTo>
                    <a:pt x="17" y="428"/>
                    <a:pt x="16" y="431"/>
                    <a:pt x="15" y="431"/>
                  </a:cubicBezTo>
                  <a:cubicBezTo>
                    <a:pt x="14" y="431"/>
                    <a:pt x="13" y="429"/>
                    <a:pt x="13" y="430"/>
                  </a:cubicBezTo>
                  <a:cubicBezTo>
                    <a:pt x="12" y="430"/>
                    <a:pt x="10" y="432"/>
                    <a:pt x="10" y="432"/>
                  </a:cubicBezTo>
                  <a:cubicBezTo>
                    <a:pt x="10" y="432"/>
                    <a:pt x="11" y="433"/>
                    <a:pt x="11" y="434"/>
                  </a:cubicBezTo>
                  <a:cubicBezTo>
                    <a:pt x="11" y="434"/>
                    <a:pt x="9" y="436"/>
                    <a:pt x="8" y="436"/>
                  </a:cubicBezTo>
                  <a:cubicBezTo>
                    <a:pt x="8" y="437"/>
                    <a:pt x="7" y="437"/>
                    <a:pt x="7" y="438"/>
                  </a:cubicBezTo>
                  <a:cubicBezTo>
                    <a:pt x="7" y="439"/>
                    <a:pt x="8" y="441"/>
                    <a:pt x="8" y="441"/>
                  </a:cubicBezTo>
                  <a:cubicBezTo>
                    <a:pt x="9" y="441"/>
                    <a:pt x="13" y="441"/>
                    <a:pt x="13" y="441"/>
                  </a:cubicBezTo>
                  <a:cubicBezTo>
                    <a:pt x="13" y="441"/>
                    <a:pt x="13" y="443"/>
                    <a:pt x="12" y="443"/>
                  </a:cubicBezTo>
                  <a:cubicBezTo>
                    <a:pt x="11" y="444"/>
                    <a:pt x="10" y="445"/>
                    <a:pt x="9" y="446"/>
                  </a:cubicBezTo>
                  <a:cubicBezTo>
                    <a:pt x="9" y="448"/>
                    <a:pt x="10" y="451"/>
                    <a:pt x="12" y="452"/>
                  </a:cubicBezTo>
                  <a:cubicBezTo>
                    <a:pt x="14" y="452"/>
                    <a:pt x="17" y="453"/>
                    <a:pt x="16" y="454"/>
                  </a:cubicBezTo>
                  <a:cubicBezTo>
                    <a:pt x="16" y="455"/>
                    <a:pt x="12" y="458"/>
                    <a:pt x="11" y="458"/>
                  </a:cubicBezTo>
                  <a:cubicBezTo>
                    <a:pt x="10" y="459"/>
                    <a:pt x="9" y="459"/>
                    <a:pt x="9" y="461"/>
                  </a:cubicBezTo>
                  <a:cubicBezTo>
                    <a:pt x="8" y="462"/>
                    <a:pt x="9" y="463"/>
                    <a:pt x="7" y="464"/>
                  </a:cubicBezTo>
                  <a:cubicBezTo>
                    <a:pt x="6" y="465"/>
                    <a:pt x="4" y="464"/>
                    <a:pt x="5" y="466"/>
                  </a:cubicBezTo>
                  <a:cubicBezTo>
                    <a:pt x="5" y="469"/>
                    <a:pt x="5" y="470"/>
                    <a:pt x="6" y="469"/>
                  </a:cubicBezTo>
                  <a:cubicBezTo>
                    <a:pt x="6" y="469"/>
                    <a:pt x="7" y="469"/>
                    <a:pt x="7" y="469"/>
                  </a:cubicBezTo>
                  <a:cubicBezTo>
                    <a:pt x="13" y="469"/>
                    <a:pt x="13" y="469"/>
                    <a:pt x="13" y="469"/>
                  </a:cubicBezTo>
                  <a:cubicBezTo>
                    <a:pt x="13" y="469"/>
                    <a:pt x="13" y="470"/>
                    <a:pt x="13" y="471"/>
                  </a:cubicBezTo>
                  <a:cubicBezTo>
                    <a:pt x="12" y="472"/>
                    <a:pt x="8" y="477"/>
                    <a:pt x="8" y="477"/>
                  </a:cubicBezTo>
                  <a:cubicBezTo>
                    <a:pt x="8" y="477"/>
                    <a:pt x="8" y="479"/>
                    <a:pt x="7" y="480"/>
                  </a:cubicBezTo>
                  <a:cubicBezTo>
                    <a:pt x="6" y="481"/>
                    <a:pt x="4" y="481"/>
                    <a:pt x="4" y="482"/>
                  </a:cubicBezTo>
                  <a:cubicBezTo>
                    <a:pt x="4" y="483"/>
                    <a:pt x="4" y="484"/>
                    <a:pt x="4" y="486"/>
                  </a:cubicBezTo>
                  <a:cubicBezTo>
                    <a:pt x="4" y="487"/>
                    <a:pt x="6" y="489"/>
                    <a:pt x="6" y="490"/>
                  </a:cubicBezTo>
                  <a:cubicBezTo>
                    <a:pt x="7" y="491"/>
                    <a:pt x="6" y="492"/>
                    <a:pt x="6" y="492"/>
                  </a:cubicBezTo>
                  <a:cubicBezTo>
                    <a:pt x="4" y="499"/>
                    <a:pt x="4" y="499"/>
                    <a:pt x="4" y="499"/>
                  </a:cubicBezTo>
                  <a:cubicBezTo>
                    <a:pt x="4" y="499"/>
                    <a:pt x="4" y="502"/>
                    <a:pt x="4" y="503"/>
                  </a:cubicBezTo>
                  <a:cubicBezTo>
                    <a:pt x="4" y="503"/>
                    <a:pt x="0" y="505"/>
                    <a:pt x="2" y="507"/>
                  </a:cubicBezTo>
                  <a:cubicBezTo>
                    <a:pt x="4" y="509"/>
                    <a:pt x="5" y="510"/>
                    <a:pt x="6" y="510"/>
                  </a:cubicBezTo>
                  <a:cubicBezTo>
                    <a:pt x="7" y="511"/>
                    <a:pt x="11" y="510"/>
                    <a:pt x="11" y="511"/>
                  </a:cubicBezTo>
                  <a:cubicBezTo>
                    <a:pt x="11" y="511"/>
                    <a:pt x="11" y="512"/>
                    <a:pt x="9" y="512"/>
                  </a:cubicBezTo>
                  <a:cubicBezTo>
                    <a:pt x="7" y="513"/>
                    <a:pt x="5" y="512"/>
                    <a:pt x="5" y="513"/>
                  </a:cubicBezTo>
                  <a:cubicBezTo>
                    <a:pt x="5" y="514"/>
                    <a:pt x="1" y="519"/>
                    <a:pt x="1" y="519"/>
                  </a:cubicBezTo>
                  <a:cubicBezTo>
                    <a:pt x="5" y="524"/>
                    <a:pt x="5" y="524"/>
                    <a:pt x="5" y="524"/>
                  </a:cubicBezTo>
                  <a:cubicBezTo>
                    <a:pt x="5" y="524"/>
                    <a:pt x="7" y="522"/>
                    <a:pt x="8" y="522"/>
                  </a:cubicBezTo>
                  <a:cubicBezTo>
                    <a:pt x="8" y="522"/>
                    <a:pt x="11" y="522"/>
                    <a:pt x="11" y="523"/>
                  </a:cubicBezTo>
                  <a:cubicBezTo>
                    <a:pt x="11" y="523"/>
                    <a:pt x="9" y="525"/>
                    <a:pt x="9" y="526"/>
                  </a:cubicBezTo>
                  <a:cubicBezTo>
                    <a:pt x="8" y="526"/>
                    <a:pt x="6" y="527"/>
                    <a:pt x="6" y="528"/>
                  </a:cubicBezTo>
                  <a:cubicBezTo>
                    <a:pt x="6" y="528"/>
                    <a:pt x="8" y="531"/>
                    <a:pt x="8" y="531"/>
                  </a:cubicBezTo>
                  <a:cubicBezTo>
                    <a:pt x="8" y="531"/>
                    <a:pt x="10" y="531"/>
                    <a:pt x="10" y="532"/>
                  </a:cubicBezTo>
                  <a:cubicBezTo>
                    <a:pt x="10" y="533"/>
                    <a:pt x="7" y="535"/>
                    <a:pt x="7" y="535"/>
                  </a:cubicBezTo>
                  <a:cubicBezTo>
                    <a:pt x="7" y="537"/>
                    <a:pt x="7" y="537"/>
                    <a:pt x="7" y="537"/>
                  </a:cubicBezTo>
                  <a:cubicBezTo>
                    <a:pt x="6" y="542"/>
                    <a:pt x="6" y="542"/>
                    <a:pt x="6" y="542"/>
                  </a:cubicBezTo>
                  <a:cubicBezTo>
                    <a:pt x="9" y="545"/>
                    <a:pt x="9" y="545"/>
                    <a:pt x="9" y="545"/>
                  </a:cubicBezTo>
                  <a:cubicBezTo>
                    <a:pt x="9" y="545"/>
                    <a:pt x="13" y="545"/>
                    <a:pt x="11" y="547"/>
                  </a:cubicBezTo>
                  <a:cubicBezTo>
                    <a:pt x="10" y="549"/>
                    <a:pt x="8" y="550"/>
                    <a:pt x="8" y="551"/>
                  </a:cubicBezTo>
                  <a:cubicBezTo>
                    <a:pt x="8" y="553"/>
                    <a:pt x="7" y="555"/>
                    <a:pt x="9" y="555"/>
                  </a:cubicBezTo>
                  <a:cubicBezTo>
                    <a:pt x="10" y="555"/>
                    <a:pt x="10" y="556"/>
                    <a:pt x="11" y="555"/>
                  </a:cubicBezTo>
                  <a:cubicBezTo>
                    <a:pt x="12" y="555"/>
                    <a:pt x="14" y="554"/>
                    <a:pt x="14" y="554"/>
                  </a:cubicBezTo>
                  <a:cubicBezTo>
                    <a:pt x="14" y="554"/>
                    <a:pt x="17" y="552"/>
                    <a:pt x="18" y="552"/>
                  </a:cubicBezTo>
                  <a:cubicBezTo>
                    <a:pt x="19" y="552"/>
                    <a:pt x="21" y="553"/>
                    <a:pt x="21" y="554"/>
                  </a:cubicBezTo>
                  <a:cubicBezTo>
                    <a:pt x="21" y="555"/>
                    <a:pt x="22" y="555"/>
                    <a:pt x="22" y="556"/>
                  </a:cubicBezTo>
                  <a:cubicBezTo>
                    <a:pt x="23" y="556"/>
                    <a:pt x="21" y="560"/>
                    <a:pt x="21" y="560"/>
                  </a:cubicBezTo>
                  <a:cubicBezTo>
                    <a:pt x="19" y="564"/>
                    <a:pt x="19" y="564"/>
                    <a:pt x="19" y="564"/>
                  </a:cubicBezTo>
                  <a:cubicBezTo>
                    <a:pt x="19" y="564"/>
                    <a:pt x="21" y="566"/>
                    <a:pt x="21" y="566"/>
                  </a:cubicBezTo>
                  <a:cubicBezTo>
                    <a:pt x="20" y="566"/>
                    <a:pt x="17" y="567"/>
                    <a:pt x="16" y="567"/>
                  </a:cubicBezTo>
                  <a:cubicBezTo>
                    <a:pt x="15" y="567"/>
                    <a:pt x="14" y="567"/>
                    <a:pt x="14" y="568"/>
                  </a:cubicBezTo>
                  <a:cubicBezTo>
                    <a:pt x="13" y="570"/>
                    <a:pt x="11" y="574"/>
                    <a:pt x="11" y="574"/>
                  </a:cubicBezTo>
                  <a:cubicBezTo>
                    <a:pt x="11" y="574"/>
                    <a:pt x="10" y="575"/>
                    <a:pt x="11" y="577"/>
                  </a:cubicBezTo>
                  <a:cubicBezTo>
                    <a:pt x="12" y="579"/>
                    <a:pt x="15" y="584"/>
                    <a:pt x="15" y="584"/>
                  </a:cubicBezTo>
                  <a:cubicBezTo>
                    <a:pt x="15" y="585"/>
                    <a:pt x="17" y="587"/>
                    <a:pt x="19" y="589"/>
                  </a:cubicBezTo>
                  <a:cubicBezTo>
                    <a:pt x="21" y="590"/>
                    <a:pt x="23" y="591"/>
                    <a:pt x="23" y="592"/>
                  </a:cubicBezTo>
                  <a:cubicBezTo>
                    <a:pt x="23" y="594"/>
                    <a:pt x="23" y="594"/>
                    <a:pt x="23" y="594"/>
                  </a:cubicBezTo>
                  <a:cubicBezTo>
                    <a:pt x="27" y="597"/>
                    <a:pt x="27" y="597"/>
                    <a:pt x="27" y="597"/>
                  </a:cubicBezTo>
                  <a:cubicBezTo>
                    <a:pt x="27" y="597"/>
                    <a:pt x="28" y="597"/>
                    <a:pt x="31" y="598"/>
                  </a:cubicBezTo>
                  <a:cubicBezTo>
                    <a:pt x="34" y="598"/>
                    <a:pt x="36" y="599"/>
                    <a:pt x="37" y="599"/>
                  </a:cubicBezTo>
                  <a:cubicBezTo>
                    <a:pt x="37" y="600"/>
                    <a:pt x="34" y="602"/>
                    <a:pt x="34" y="602"/>
                  </a:cubicBezTo>
                  <a:cubicBezTo>
                    <a:pt x="34" y="602"/>
                    <a:pt x="30" y="605"/>
                    <a:pt x="32" y="606"/>
                  </a:cubicBezTo>
                  <a:cubicBezTo>
                    <a:pt x="34" y="607"/>
                    <a:pt x="44" y="609"/>
                    <a:pt x="44" y="609"/>
                  </a:cubicBezTo>
                  <a:cubicBezTo>
                    <a:pt x="44" y="609"/>
                    <a:pt x="46" y="610"/>
                    <a:pt x="46" y="611"/>
                  </a:cubicBezTo>
                  <a:cubicBezTo>
                    <a:pt x="47" y="611"/>
                    <a:pt x="49" y="610"/>
                    <a:pt x="49" y="610"/>
                  </a:cubicBezTo>
                  <a:cubicBezTo>
                    <a:pt x="49" y="609"/>
                    <a:pt x="53" y="611"/>
                    <a:pt x="53" y="611"/>
                  </a:cubicBezTo>
                  <a:cubicBezTo>
                    <a:pt x="54" y="610"/>
                    <a:pt x="58" y="610"/>
                    <a:pt x="58" y="610"/>
                  </a:cubicBezTo>
                  <a:cubicBezTo>
                    <a:pt x="62" y="608"/>
                    <a:pt x="62" y="608"/>
                    <a:pt x="62" y="608"/>
                  </a:cubicBezTo>
                  <a:cubicBezTo>
                    <a:pt x="62" y="608"/>
                    <a:pt x="65" y="604"/>
                    <a:pt x="67" y="605"/>
                  </a:cubicBezTo>
                  <a:cubicBezTo>
                    <a:pt x="69" y="606"/>
                    <a:pt x="68" y="607"/>
                    <a:pt x="69" y="607"/>
                  </a:cubicBezTo>
                  <a:cubicBezTo>
                    <a:pt x="71" y="607"/>
                    <a:pt x="72" y="607"/>
                    <a:pt x="74" y="605"/>
                  </a:cubicBezTo>
                  <a:cubicBezTo>
                    <a:pt x="75" y="603"/>
                    <a:pt x="77" y="602"/>
                    <a:pt x="77" y="601"/>
                  </a:cubicBezTo>
                  <a:cubicBezTo>
                    <a:pt x="78" y="601"/>
                    <a:pt x="88" y="595"/>
                    <a:pt x="88" y="595"/>
                  </a:cubicBezTo>
                  <a:cubicBezTo>
                    <a:pt x="95" y="584"/>
                    <a:pt x="95" y="584"/>
                    <a:pt x="95" y="584"/>
                  </a:cubicBezTo>
                  <a:cubicBezTo>
                    <a:pt x="97" y="576"/>
                    <a:pt x="97" y="576"/>
                    <a:pt x="97" y="576"/>
                  </a:cubicBezTo>
                  <a:cubicBezTo>
                    <a:pt x="97" y="576"/>
                    <a:pt x="100" y="572"/>
                    <a:pt x="102" y="572"/>
                  </a:cubicBezTo>
                  <a:cubicBezTo>
                    <a:pt x="104" y="572"/>
                    <a:pt x="110" y="569"/>
                    <a:pt x="109" y="568"/>
                  </a:cubicBezTo>
                  <a:cubicBezTo>
                    <a:pt x="109" y="566"/>
                    <a:pt x="111" y="565"/>
                    <a:pt x="112" y="568"/>
                  </a:cubicBezTo>
                  <a:cubicBezTo>
                    <a:pt x="112" y="571"/>
                    <a:pt x="111" y="574"/>
                    <a:pt x="113" y="573"/>
                  </a:cubicBezTo>
                  <a:cubicBezTo>
                    <a:pt x="115" y="572"/>
                    <a:pt x="119" y="566"/>
                    <a:pt x="119" y="566"/>
                  </a:cubicBezTo>
                  <a:cubicBezTo>
                    <a:pt x="119" y="566"/>
                    <a:pt x="122" y="564"/>
                    <a:pt x="123" y="563"/>
                  </a:cubicBezTo>
                  <a:cubicBezTo>
                    <a:pt x="125" y="563"/>
                    <a:pt x="128" y="557"/>
                    <a:pt x="128" y="557"/>
                  </a:cubicBezTo>
                  <a:cubicBezTo>
                    <a:pt x="128" y="557"/>
                    <a:pt x="131" y="555"/>
                    <a:pt x="132" y="558"/>
                  </a:cubicBezTo>
                  <a:cubicBezTo>
                    <a:pt x="133" y="560"/>
                    <a:pt x="136" y="565"/>
                    <a:pt x="136" y="566"/>
                  </a:cubicBezTo>
                  <a:cubicBezTo>
                    <a:pt x="136" y="566"/>
                    <a:pt x="137" y="567"/>
                    <a:pt x="137" y="567"/>
                  </a:cubicBezTo>
                  <a:cubicBezTo>
                    <a:pt x="137" y="566"/>
                    <a:pt x="137" y="566"/>
                    <a:pt x="137" y="566"/>
                  </a:cubicBezTo>
                  <a:cubicBezTo>
                    <a:pt x="138" y="558"/>
                    <a:pt x="138" y="558"/>
                    <a:pt x="138" y="558"/>
                  </a:cubicBezTo>
                  <a:cubicBezTo>
                    <a:pt x="141" y="560"/>
                    <a:pt x="141" y="560"/>
                    <a:pt x="141" y="560"/>
                  </a:cubicBezTo>
                  <a:cubicBezTo>
                    <a:pt x="147" y="565"/>
                    <a:pt x="147" y="565"/>
                    <a:pt x="147" y="566"/>
                  </a:cubicBezTo>
                  <a:cubicBezTo>
                    <a:pt x="147" y="566"/>
                    <a:pt x="147" y="566"/>
                    <a:pt x="148" y="570"/>
                  </a:cubicBezTo>
                  <a:cubicBezTo>
                    <a:pt x="148" y="570"/>
                    <a:pt x="148" y="570"/>
                    <a:pt x="148" y="570"/>
                  </a:cubicBezTo>
                  <a:cubicBezTo>
                    <a:pt x="148" y="570"/>
                    <a:pt x="148" y="570"/>
                    <a:pt x="148" y="570"/>
                  </a:cubicBezTo>
                  <a:cubicBezTo>
                    <a:pt x="149" y="566"/>
                    <a:pt x="149" y="566"/>
                    <a:pt x="149" y="566"/>
                  </a:cubicBezTo>
                  <a:cubicBezTo>
                    <a:pt x="149" y="561"/>
                    <a:pt x="149" y="561"/>
                    <a:pt x="149" y="561"/>
                  </a:cubicBezTo>
                  <a:cubicBezTo>
                    <a:pt x="152" y="556"/>
                    <a:pt x="152" y="556"/>
                    <a:pt x="152" y="556"/>
                  </a:cubicBezTo>
                  <a:cubicBezTo>
                    <a:pt x="152" y="551"/>
                    <a:pt x="152" y="551"/>
                    <a:pt x="152" y="551"/>
                  </a:cubicBezTo>
                  <a:cubicBezTo>
                    <a:pt x="149" y="546"/>
                    <a:pt x="149" y="546"/>
                    <a:pt x="149" y="546"/>
                  </a:cubicBezTo>
                  <a:cubicBezTo>
                    <a:pt x="147" y="540"/>
                    <a:pt x="147" y="540"/>
                    <a:pt x="147" y="540"/>
                  </a:cubicBezTo>
                  <a:cubicBezTo>
                    <a:pt x="151" y="538"/>
                    <a:pt x="151" y="538"/>
                    <a:pt x="151" y="538"/>
                  </a:cubicBezTo>
                  <a:cubicBezTo>
                    <a:pt x="152" y="537"/>
                    <a:pt x="152" y="537"/>
                    <a:pt x="152" y="537"/>
                  </a:cubicBezTo>
                  <a:cubicBezTo>
                    <a:pt x="152" y="534"/>
                    <a:pt x="152" y="534"/>
                    <a:pt x="152" y="534"/>
                  </a:cubicBezTo>
                  <a:cubicBezTo>
                    <a:pt x="151" y="532"/>
                    <a:pt x="151" y="532"/>
                    <a:pt x="151" y="532"/>
                  </a:cubicBezTo>
                  <a:cubicBezTo>
                    <a:pt x="152" y="529"/>
                    <a:pt x="152" y="529"/>
                    <a:pt x="152" y="529"/>
                  </a:cubicBezTo>
                  <a:cubicBezTo>
                    <a:pt x="152" y="528"/>
                    <a:pt x="152" y="528"/>
                    <a:pt x="152" y="528"/>
                  </a:cubicBezTo>
                  <a:cubicBezTo>
                    <a:pt x="152" y="527"/>
                    <a:pt x="153" y="526"/>
                    <a:pt x="154" y="526"/>
                  </a:cubicBezTo>
                  <a:cubicBezTo>
                    <a:pt x="154" y="526"/>
                    <a:pt x="155" y="525"/>
                    <a:pt x="156" y="525"/>
                  </a:cubicBezTo>
                  <a:cubicBezTo>
                    <a:pt x="156" y="525"/>
                    <a:pt x="157" y="526"/>
                    <a:pt x="157" y="526"/>
                  </a:cubicBezTo>
                  <a:cubicBezTo>
                    <a:pt x="159" y="525"/>
                    <a:pt x="159" y="525"/>
                    <a:pt x="159" y="525"/>
                  </a:cubicBezTo>
                  <a:cubicBezTo>
                    <a:pt x="161" y="523"/>
                    <a:pt x="161" y="523"/>
                    <a:pt x="161" y="523"/>
                  </a:cubicBezTo>
                  <a:cubicBezTo>
                    <a:pt x="162" y="522"/>
                    <a:pt x="163" y="521"/>
                    <a:pt x="163" y="520"/>
                  </a:cubicBezTo>
                  <a:cubicBezTo>
                    <a:pt x="163" y="520"/>
                    <a:pt x="164" y="519"/>
                    <a:pt x="165" y="518"/>
                  </a:cubicBezTo>
                  <a:cubicBezTo>
                    <a:pt x="165" y="515"/>
                    <a:pt x="165" y="515"/>
                    <a:pt x="165" y="515"/>
                  </a:cubicBezTo>
                  <a:cubicBezTo>
                    <a:pt x="163" y="510"/>
                    <a:pt x="163" y="510"/>
                    <a:pt x="163" y="510"/>
                  </a:cubicBezTo>
                  <a:cubicBezTo>
                    <a:pt x="165" y="507"/>
                    <a:pt x="165" y="507"/>
                    <a:pt x="165" y="507"/>
                  </a:cubicBezTo>
                  <a:cubicBezTo>
                    <a:pt x="167" y="503"/>
                    <a:pt x="167" y="503"/>
                    <a:pt x="167" y="503"/>
                  </a:cubicBezTo>
                  <a:cubicBezTo>
                    <a:pt x="166" y="499"/>
                    <a:pt x="166" y="499"/>
                    <a:pt x="166" y="499"/>
                  </a:cubicBezTo>
                  <a:cubicBezTo>
                    <a:pt x="161" y="493"/>
                    <a:pt x="161" y="493"/>
                    <a:pt x="161" y="493"/>
                  </a:cubicBezTo>
                  <a:cubicBezTo>
                    <a:pt x="158" y="486"/>
                    <a:pt x="158" y="486"/>
                    <a:pt x="158" y="486"/>
                  </a:cubicBezTo>
                  <a:cubicBezTo>
                    <a:pt x="157" y="480"/>
                    <a:pt x="157" y="480"/>
                    <a:pt x="157" y="480"/>
                  </a:cubicBezTo>
                  <a:cubicBezTo>
                    <a:pt x="162" y="474"/>
                    <a:pt x="162" y="474"/>
                    <a:pt x="162" y="474"/>
                  </a:cubicBezTo>
                  <a:cubicBezTo>
                    <a:pt x="167" y="473"/>
                    <a:pt x="167" y="473"/>
                    <a:pt x="167" y="473"/>
                  </a:cubicBezTo>
                  <a:cubicBezTo>
                    <a:pt x="167" y="473"/>
                    <a:pt x="167" y="473"/>
                    <a:pt x="167" y="473"/>
                  </a:cubicBezTo>
                  <a:cubicBezTo>
                    <a:pt x="167" y="473"/>
                    <a:pt x="167" y="473"/>
                    <a:pt x="168" y="473"/>
                  </a:cubicBezTo>
                  <a:cubicBezTo>
                    <a:pt x="168" y="473"/>
                    <a:pt x="169" y="473"/>
                    <a:pt x="169" y="473"/>
                  </a:cubicBezTo>
                  <a:cubicBezTo>
                    <a:pt x="169" y="472"/>
                    <a:pt x="170" y="470"/>
                    <a:pt x="170" y="468"/>
                  </a:cubicBezTo>
                  <a:cubicBezTo>
                    <a:pt x="170" y="462"/>
                    <a:pt x="170" y="462"/>
                    <a:pt x="170" y="462"/>
                  </a:cubicBezTo>
                  <a:cubicBezTo>
                    <a:pt x="165" y="458"/>
                    <a:pt x="165" y="458"/>
                    <a:pt x="165" y="458"/>
                  </a:cubicBezTo>
                  <a:cubicBezTo>
                    <a:pt x="159" y="454"/>
                    <a:pt x="159" y="454"/>
                    <a:pt x="159" y="454"/>
                  </a:cubicBezTo>
                  <a:cubicBezTo>
                    <a:pt x="157" y="447"/>
                    <a:pt x="157" y="447"/>
                    <a:pt x="157" y="447"/>
                  </a:cubicBezTo>
                  <a:cubicBezTo>
                    <a:pt x="156" y="422"/>
                    <a:pt x="156" y="422"/>
                    <a:pt x="156" y="422"/>
                  </a:cubicBezTo>
                  <a:cubicBezTo>
                    <a:pt x="150" y="412"/>
                    <a:pt x="150" y="411"/>
                    <a:pt x="150" y="410"/>
                  </a:cubicBezTo>
                  <a:cubicBezTo>
                    <a:pt x="150" y="410"/>
                    <a:pt x="150" y="407"/>
                    <a:pt x="151" y="405"/>
                  </a:cubicBezTo>
                  <a:cubicBezTo>
                    <a:pt x="151" y="405"/>
                    <a:pt x="151" y="404"/>
                    <a:pt x="151" y="404"/>
                  </a:cubicBezTo>
                  <a:cubicBezTo>
                    <a:pt x="150" y="398"/>
                    <a:pt x="150" y="398"/>
                    <a:pt x="150" y="398"/>
                  </a:cubicBezTo>
                  <a:cubicBezTo>
                    <a:pt x="152" y="395"/>
                    <a:pt x="152" y="395"/>
                    <a:pt x="152" y="395"/>
                  </a:cubicBezTo>
                  <a:cubicBezTo>
                    <a:pt x="152" y="391"/>
                    <a:pt x="152" y="391"/>
                    <a:pt x="152" y="391"/>
                  </a:cubicBezTo>
                  <a:cubicBezTo>
                    <a:pt x="148" y="384"/>
                    <a:pt x="148" y="384"/>
                    <a:pt x="148" y="384"/>
                  </a:cubicBezTo>
                  <a:cubicBezTo>
                    <a:pt x="148" y="384"/>
                    <a:pt x="148" y="384"/>
                    <a:pt x="148" y="384"/>
                  </a:cubicBezTo>
                  <a:cubicBezTo>
                    <a:pt x="148" y="384"/>
                    <a:pt x="148" y="379"/>
                    <a:pt x="148" y="378"/>
                  </a:cubicBezTo>
                  <a:cubicBezTo>
                    <a:pt x="149" y="377"/>
                    <a:pt x="149" y="376"/>
                    <a:pt x="152" y="373"/>
                  </a:cubicBezTo>
                  <a:cubicBezTo>
                    <a:pt x="152" y="368"/>
                    <a:pt x="152" y="368"/>
                    <a:pt x="152" y="368"/>
                  </a:cubicBezTo>
                  <a:cubicBezTo>
                    <a:pt x="154" y="359"/>
                    <a:pt x="154" y="359"/>
                    <a:pt x="154" y="359"/>
                  </a:cubicBezTo>
                  <a:cubicBezTo>
                    <a:pt x="165" y="345"/>
                    <a:pt x="165" y="345"/>
                    <a:pt x="165" y="345"/>
                  </a:cubicBezTo>
                  <a:cubicBezTo>
                    <a:pt x="184" y="343"/>
                    <a:pt x="184" y="343"/>
                    <a:pt x="184" y="343"/>
                  </a:cubicBezTo>
                  <a:cubicBezTo>
                    <a:pt x="185" y="343"/>
                    <a:pt x="185" y="343"/>
                    <a:pt x="185" y="343"/>
                  </a:cubicBezTo>
                  <a:cubicBezTo>
                    <a:pt x="187" y="338"/>
                    <a:pt x="187" y="338"/>
                    <a:pt x="187" y="338"/>
                  </a:cubicBezTo>
                  <a:cubicBezTo>
                    <a:pt x="186" y="327"/>
                    <a:pt x="186" y="327"/>
                    <a:pt x="186" y="327"/>
                  </a:cubicBezTo>
                  <a:cubicBezTo>
                    <a:pt x="179" y="326"/>
                    <a:pt x="179" y="326"/>
                    <a:pt x="179" y="326"/>
                  </a:cubicBezTo>
                  <a:cubicBezTo>
                    <a:pt x="176" y="319"/>
                    <a:pt x="176" y="319"/>
                    <a:pt x="176" y="319"/>
                  </a:cubicBezTo>
                  <a:cubicBezTo>
                    <a:pt x="189" y="299"/>
                    <a:pt x="189" y="299"/>
                    <a:pt x="189" y="299"/>
                  </a:cubicBezTo>
                  <a:cubicBezTo>
                    <a:pt x="188" y="293"/>
                    <a:pt x="188" y="293"/>
                    <a:pt x="188" y="293"/>
                  </a:cubicBezTo>
                  <a:cubicBezTo>
                    <a:pt x="191" y="291"/>
                    <a:pt x="191" y="291"/>
                    <a:pt x="191" y="291"/>
                  </a:cubicBezTo>
                  <a:cubicBezTo>
                    <a:pt x="191" y="290"/>
                    <a:pt x="190" y="289"/>
                    <a:pt x="190" y="288"/>
                  </a:cubicBezTo>
                  <a:cubicBezTo>
                    <a:pt x="190" y="288"/>
                    <a:pt x="189" y="287"/>
                    <a:pt x="190" y="281"/>
                  </a:cubicBezTo>
                  <a:cubicBezTo>
                    <a:pt x="191" y="275"/>
                    <a:pt x="191" y="275"/>
                    <a:pt x="191" y="275"/>
                  </a:cubicBezTo>
                  <a:cubicBezTo>
                    <a:pt x="193" y="269"/>
                    <a:pt x="193" y="269"/>
                    <a:pt x="193" y="269"/>
                  </a:cubicBezTo>
                  <a:cubicBezTo>
                    <a:pt x="189" y="255"/>
                    <a:pt x="189" y="255"/>
                    <a:pt x="189" y="255"/>
                  </a:cubicBezTo>
                  <a:cubicBezTo>
                    <a:pt x="193" y="251"/>
                    <a:pt x="193" y="251"/>
                    <a:pt x="193" y="251"/>
                  </a:cubicBezTo>
                  <a:cubicBezTo>
                    <a:pt x="200" y="250"/>
                    <a:pt x="200" y="250"/>
                    <a:pt x="200" y="250"/>
                  </a:cubicBezTo>
                  <a:cubicBezTo>
                    <a:pt x="204" y="246"/>
                    <a:pt x="204" y="246"/>
                    <a:pt x="204" y="246"/>
                  </a:cubicBezTo>
                  <a:cubicBezTo>
                    <a:pt x="205" y="243"/>
                    <a:pt x="205" y="243"/>
                    <a:pt x="205" y="243"/>
                  </a:cubicBezTo>
                  <a:cubicBezTo>
                    <a:pt x="205" y="235"/>
                    <a:pt x="205" y="235"/>
                    <a:pt x="205" y="235"/>
                  </a:cubicBezTo>
                  <a:cubicBezTo>
                    <a:pt x="209" y="224"/>
                    <a:pt x="209" y="224"/>
                    <a:pt x="209" y="224"/>
                  </a:cubicBezTo>
                  <a:cubicBezTo>
                    <a:pt x="209" y="223"/>
                    <a:pt x="209" y="223"/>
                    <a:pt x="209" y="223"/>
                  </a:cubicBezTo>
                  <a:cubicBezTo>
                    <a:pt x="212" y="220"/>
                    <a:pt x="216" y="215"/>
                    <a:pt x="216" y="214"/>
                  </a:cubicBezTo>
                  <a:cubicBezTo>
                    <a:pt x="217" y="213"/>
                    <a:pt x="218" y="209"/>
                    <a:pt x="219" y="208"/>
                  </a:cubicBezTo>
                  <a:cubicBezTo>
                    <a:pt x="218" y="205"/>
                    <a:pt x="218" y="202"/>
                    <a:pt x="217" y="202"/>
                  </a:cubicBezTo>
                  <a:cubicBezTo>
                    <a:pt x="216" y="201"/>
                    <a:pt x="214" y="197"/>
                    <a:pt x="213" y="195"/>
                  </a:cubicBezTo>
                  <a:cubicBezTo>
                    <a:pt x="213" y="195"/>
                    <a:pt x="213" y="195"/>
                    <a:pt x="213" y="195"/>
                  </a:cubicBezTo>
                  <a:cubicBezTo>
                    <a:pt x="213" y="189"/>
                    <a:pt x="213" y="189"/>
                    <a:pt x="213" y="189"/>
                  </a:cubicBezTo>
                  <a:cubicBezTo>
                    <a:pt x="218" y="186"/>
                    <a:pt x="218" y="186"/>
                    <a:pt x="218" y="186"/>
                  </a:cubicBezTo>
                  <a:cubicBezTo>
                    <a:pt x="220" y="183"/>
                    <a:pt x="220" y="183"/>
                    <a:pt x="220" y="183"/>
                  </a:cubicBezTo>
                  <a:cubicBezTo>
                    <a:pt x="220" y="182"/>
                    <a:pt x="219" y="179"/>
                    <a:pt x="219" y="178"/>
                  </a:cubicBezTo>
                  <a:cubicBezTo>
                    <a:pt x="219" y="177"/>
                    <a:pt x="219" y="177"/>
                    <a:pt x="220" y="174"/>
                  </a:cubicBezTo>
                  <a:cubicBezTo>
                    <a:pt x="221" y="173"/>
                    <a:pt x="221" y="173"/>
                    <a:pt x="221" y="173"/>
                  </a:cubicBezTo>
                  <a:cubicBezTo>
                    <a:pt x="221" y="172"/>
                    <a:pt x="221" y="171"/>
                    <a:pt x="225" y="167"/>
                  </a:cubicBezTo>
                  <a:cubicBezTo>
                    <a:pt x="229" y="159"/>
                    <a:pt x="229" y="159"/>
                    <a:pt x="229" y="159"/>
                  </a:cubicBezTo>
                  <a:cubicBezTo>
                    <a:pt x="238" y="164"/>
                    <a:pt x="238" y="164"/>
                    <a:pt x="238" y="164"/>
                  </a:cubicBezTo>
                  <a:cubicBezTo>
                    <a:pt x="240" y="164"/>
                    <a:pt x="240" y="164"/>
                    <a:pt x="240" y="164"/>
                  </a:cubicBezTo>
                  <a:cubicBezTo>
                    <a:pt x="241" y="163"/>
                    <a:pt x="241" y="163"/>
                    <a:pt x="241" y="163"/>
                  </a:cubicBezTo>
                  <a:cubicBezTo>
                    <a:pt x="240" y="159"/>
                    <a:pt x="239" y="144"/>
                    <a:pt x="242" y="139"/>
                  </a:cubicBezTo>
                  <a:cubicBezTo>
                    <a:pt x="243" y="138"/>
                    <a:pt x="243" y="138"/>
                    <a:pt x="243" y="138"/>
                  </a:cubicBezTo>
                  <a:cubicBezTo>
                    <a:pt x="244" y="139"/>
                    <a:pt x="244" y="139"/>
                    <a:pt x="244" y="139"/>
                  </a:cubicBezTo>
                  <a:cubicBezTo>
                    <a:pt x="244" y="139"/>
                    <a:pt x="250" y="139"/>
                    <a:pt x="254" y="139"/>
                  </a:cubicBezTo>
                  <a:cubicBezTo>
                    <a:pt x="255" y="139"/>
                    <a:pt x="256" y="139"/>
                    <a:pt x="256" y="139"/>
                  </a:cubicBezTo>
                  <a:cubicBezTo>
                    <a:pt x="256" y="139"/>
                    <a:pt x="256" y="139"/>
                    <a:pt x="257" y="139"/>
                  </a:cubicBezTo>
                  <a:cubicBezTo>
                    <a:pt x="259" y="139"/>
                    <a:pt x="263" y="141"/>
                    <a:pt x="264" y="141"/>
                  </a:cubicBezTo>
                  <a:cubicBezTo>
                    <a:pt x="264" y="142"/>
                    <a:pt x="266" y="142"/>
                    <a:pt x="268" y="143"/>
                  </a:cubicBezTo>
                  <a:cubicBezTo>
                    <a:pt x="272" y="142"/>
                    <a:pt x="272" y="142"/>
                    <a:pt x="272" y="142"/>
                  </a:cubicBezTo>
                  <a:cubicBezTo>
                    <a:pt x="273" y="140"/>
                    <a:pt x="273" y="140"/>
                    <a:pt x="273" y="140"/>
                  </a:cubicBezTo>
                  <a:cubicBezTo>
                    <a:pt x="270" y="137"/>
                    <a:pt x="270" y="137"/>
                    <a:pt x="270" y="137"/>
                  </a:cubicBezTo>
                  <a:cubicBezTo>
                    <a:pt x="271" y="136"/>
                    <a:pt x="271" y="136"/>
                    <a:pt x="271" y="136"/>
                  </a:cubicBezTo>
                  <a:cubicBezTo>
                    <a:pt x="274" y="132"/>
                    <a:pt x="274" y="127"/>
                    <a:pt x="273" y="127"/>
                  </a:cubicBezTo>
                  <a:cubicBezTo>
                    <a:pt x="273" y="126"/>
                    <a:pt x="272" y="124"/>
                    <a:pt x="272" y="121"/>
                  </a:cubicBezTo>
                  <a:cubicBezTo>
                    <a:pt x="271" y="119"/>
                    <a:pt x="271" y="118"/>
                    <a:pt x="270" y="117"/>
                  </a:cubicBezTo>
                  <a:cubicBezTo>
                    <a:pt x="270" y="117"/>
                    <a:pt x="270" y="115"/>
                    <a:pt x="272" y="113"/>
                  </a:cubicBezTo>
                  <a:cubicBezTo>
                    <a:pt x="273" y="113"/>
                    <a:pt x="273" y="113"/>
                    <a:pt x="273" y="113"/>
                  </a:cubicBezTo>
                  <a:cubicBezTo>
                    <a:pt x="276" y="113"/>
                    <a:pt x="276" y="113"/>
                    <a:pt x="276" y="113"/>
                  </a:cubicBezTo>
                  <a:cubicBezTo>
                    <a:pt x="279" y="110"/>
                    <a:pt x="279" y="110"/>
                    <a:pt x="279" y="110"/>
                  </a:cubicBezTo>
                  <a:cubicBezTo>
                    <a:pt x="279" y="110"/>
                    <a:pt x="279" y="110"/>
                    <a:pt x="279" y="110"/>
                  </a:cubicBezTo>
                  <a:cubicBezTo>
                    <a:pt x="279" y="110"/>
                    <a:pt x="279" y="110"/>
                    <a:pt x="280" y="110"/>
                  </a:cubicBezTo>
                  <a:cubicBezTo>
                    <a:pt x="280" y="110"/>
                    <a:pt x="281" y="109"/>
                    <a:pt x="283" y="109"/>
                  </a:cubicBezTo>
                  <a:cubicBezTo>
                    <a:pt x="283" y="109"/>
                    <a:pt x="283" y="109"/>
                    <a:pt x="284" y="109"/>
                  </a:cubicBezTo>
                  <a:cubicBezTo>
                    <a:pt x="283" y="109"/>
                    <a:pt x="283" y="108"/>
                    <a:pt x="283" y="108"/>
                  </a:cubicBezTo>
                  <a:cubicBezTo>
                    <a:pt x="282" y="105"/>
                    <a:pt x="283" y="103"/>
                    <a:pt x="284" y="101"/>
                  </a:cubicBezTo>
                  <a:cubicBezTo>
                    <a:pt x="285" y="99"/>
                    <a:pt x="287" y="98"/>
                    <a:pt x="289" y="98"/>
                  </a:cubicBezTo>
                  <a:cubicBezTo>
                    <a:pt x="291" y="98"/>
                    <a:pt x="292" y="99"/>
                    <a:pt x="293" y="100"/>
                  </a:cubicBezTo>
                  <a:cubicBezTo>
                    <a:pt x="297" y="100"/>
                    <a:pt x="297" y="100"/>
                    <a:pt x="297" y="100"/>
                  </a:cubicBezTo>
                  <a:cubicBezTo>
                    <a:pt x="302" y="108"/>
                    <a:pt x="302" y="108"/>
                    <a:pt x="302" y="108"/>
                  </a:cubicBezTo>
                  <a:cubicBezTo>
                    <a:pt x="308" y="113"/>
                    <a:pt x="308" y="113"/>
                    <a:pt x="308" y="113"/>
                  </a:cubicBezTo>
                  <a:cubicBezTo>
                    <a:pt x="311" y="116"/>
                    <a:pt x="315" y="119"/>
                    <a:pt x="316" y="119"/>
                  </a:cubicBezTo>
                  <a:cubicBezTo>
                    <a:pt x="317" y="119"/>
                    <a:pt x="323" y="121"/>
                    <a:pt x="325" y="122"/>
                  </a:cubicBezTo>
                  <a:cubicBezTo>
                    <a:pt x="327" y="120"/>
                    <a:pt x="327" y="120"/>
                    <a:pt x="327" y="120"/>
                  </a:cubicBezTo>
                  <a:cubicBezTo>
                    <a:pt x="329" y="118"/>
                    <a:pt x="329" y="118"/>
                    <a:pt x="329" y="118"/>
                  </a:cubicBezTo>
                  <a:cubicBezTo>
                    <a:pt x="328" y="116"/>
                    <a:pt x="328" y="116"/>
                    <a:pt x="328" y="116"/>
                  </a:cubicBezTo>
                  <a:cubicBezTo>
                    <a:pt x="335" y="112"/>
                    <a:pt x="335" y="112"/>
                    <a:pt x="335" y="112"/>
                  </a:cubicBezTo>
                  <a:cubicBezTo>
                    <a:pt x="339" y="115"/>
                    <a:pt x="339" y="115"/>
                    <a:pt x="339" y="115"/>
                  </a:cubicBezTo>
                  <a:cubicBezTo>
                    <a:pt x="347" y="117"/>
                    <a:pt x="347" y="117"/>
                    <a:pt x="347" y="117"/>
                  </a:cubicBezTo>
                  <a:cubicBezTo>
                    <a:pt x="350" y="119"/>
                    <a:pt x="350" y="119"/>
                    <a:pt x="350" y="119"/>
                  </a:cubicBezTo>
                  <a:cubicBezTo>
                    <a:pt x="350" y="119"/>
                    <a:pt x="350" y="119"/>
                    <a:pt x="350" y="119"/>
                  </a:cubicBezTo>
                  <a:cubicBezTo>
                    <a:pt x="350" y="118"/>
                    <a:pt x="350" y="116"/>
                    <a:pt x="350" y="114"/>
                  </a:cubicBezTo>
                  <a:cubicBezTo>
                    <a:pt x="349" y="114"/>
                    <a:pt x="349" y="113"/>
                    <a:pt x="349" y="112"/>
                  </a:cubicBezTo>
                  <a:cubicBezTo>
                    <a:pt x="349" y="111"/>
                    <a:pt x="349" y="110"/>
                    <a:pt x="351" y="108"/>
                  </a:cubicBezTo>
                  <a:cubicBezTo>
                    <a:pt x="356" y="104"/>
                    <a:pt x="356" y="104"/>
                    <a:pt x="356" y="104"/>
                  </a:cubicBezTo>
                  <a:cubicBezTo>
                    <a:pt x="357" y="103"/>
                    <a:pt x="357" y="103"/>
                    <a:pt x="357" y="103"/>
                  </a:cubicBezTo>
                  <a:cubicBezTo>
                    <a:pt x="357" y="103"/>
                    <a:pt x="358" y="103"/>
                    <a:pt x="358" y="102"/>
                  </a:cubicBezTo>
                  <a:cubicBezTo>
                    <a:pt x="358" y="100"/>
                    <a:pt x="356" y="96"/>
                    <a:pt x="356" y="94"/>
                  </a:cubicBezTo>
                  <a:cubicBezTo>
                    <a:pt x="355" y="93"/>
                    <a:pt x="354" y="89"/>
                    <a:pt x="354" y="87"/>
                  </a:cubicBezTo>
                  <a:cubicBezTo>
                    <a:pt x="355" y="83"/>
                    <a:pt x="354" y="79"/>
                    <a:pt x="354" y="76"/>
                  </a:cubicBezTo>
                  <a:cubicBezTo>
                    <a:pt x="353" y="72"/>
                    <a:pt x="352" y="69"/>
                    <a:pt x="356" y="68"/>
                  </a:cubicBezTo>
                  <a:cubicBezTo>
                    <a:pt x="358" y="66"/>
                    <a:pt x="358" y="66"/>
                    <a:pt x="358" y="66"/>
                  </a:cubicBezTo>
                  <a:cubicBezTo>
                    <a:pt x="358" y="66"/>
                    <a:pt x="358" y="65"/>
                    <a:pt x="357" y="64"/>
                  </a:cubicBezTo>
                  <a:cubicBezTo>
                    <a:pt x="356" y="62"/>
                    <a:pt x="355" y="60"/>
                    <a:pt x="356" y="58"/>
                  </a:cubicBezTo>
                  <a:cubicBezTo>
                    <a:pt x="357" y="57"/>
                    <a:pt x="358" y="56"/>
                    <a:pt x="361" y="56"/>
                  </a:cubicBezTo>
                  <a:cubicBezTo>
                    <a:pt x="363" y="54"/>
                    <a:pt x="363" y="54"/>
                    <a:pt x="363" y="54"/>
                  </a:cubicBezTo>
                  <a:cubicBezTo>
                    <a:pt x="369" y="54"/>
                    <a:pt x="369" y="54"/>
                    <a:pt x="369" y="54"/>
                  </a:cubicBezTo>
                  <a:cubicBezTo>
                    <a:pt x="370" y="51"/>
                    <a:pt x="370" y="51"/>
                    <a:pt x="370" y="51"/>
                  </a:cubicBezTo>
                  <a:cubicBezTo>
                    <a:pt x="375" y="46"/>
                    <a:pt x="375" y="46"/>
                    <a:pt x="375" y="46"/>
                  </a:cubicBezTo>
                  <a:cubicBezTo>
                    <a:pt x="376" y="46"/>
                    <a:pt x="376" y="46"/>
                    <a:pt x="376" y="46"/>
                  </a:cubicBezTo>
                  <a:cubicBezTo>
                    <a:pt x="377" y="46"/>
                    <a:pt x="378" y="45"/>
                    <a:pt x="380" y="45"/>
                  </a:cubicBezTo>
                  <a:cubicBezTo>
                    <a:pt x="382" y="45"/>
                    <a:pt x="383" y="46"/>
                    <a:pt x="384" y="47"/>
                  </a:cubicBezTo>
                  <a:cubicBezTo>
                    <a:pt x="385" y="48"/>
                    <a:pt x="386" y="48"/>
                    <a:pt x="386" y="49"/>
                  </a:cubicBezTo>
                  <a:cubicBezTo>
                    <a:pt x="387" y="50"/>
                    <a:pt x="387" y="50"/>
                    <a:pt x="388" y="51"/>
                  </a:cubicBezTo>
                  <a:cubicBezTo>
                    <a:pt x="398" y="54"/>
                    <a:pt x="398" y="54"/>
                    <a:pt x="398" y="54"/>
                  </a:cubicBezTo>
                  <a:cubicBezTo>
                    <a:pt x="404" y="55"/>
                    <a:pt x="404" y="55"/>
                    <a:pt x="404" y="55"/>
                  </a:cubicBezTo>
                  <a:cubicBezTo>
                    <a:pt x="407" y="57"/>
                    <a:pt x="407" y="57"/>
                    <a:pt x="407" y="57"/>
                  </a:cubicBezTo>
                  <a:cubicBezTo>
                    <a:pt x="407" y="58"/>
                    <a:pt x="407" y="58"/>
                    <a:pt x="407" y="58"/>
                  </a:cubicBezTo>
                  <a:cubicBezTo>
                    <a:pt x="407" y="60"/>
                    <a:pt x="407" y="61"/>
                    <a:pt x="407" y="62"/>
                  </a:cubicBezTo>
                  <a:cubicBezTo>
                    <a:pt x="407" y="63"/>
                    <a:pt x="408" y="65"/>
                    <a:pt x="409" y="65"/>
                  </a:cubicBezTo>
                  <a:cubicBezTo>
                    <a:pt x="409" y="66"/>
                    <a:pt x="409" y="66"/>
                    <a:pt x="409" y="66"/>
                  </a:cubicBezTo>
                  <a:cubicBezTo>
                    <a:pt x="409" y="66"/>
                    <a:pt x="409" y="66"/>
                    <a:pt x="409" y="66"/>
                  </a:cubicBezTo>
                  <a:cubicBezTo>
                    <a:pt x="409" y="67"/>
                    <a:pt x="409" y="67"/>
                    <a:pt x="408" y="69"/>
                  </a:cubicBezTo>
                  <a:cubicBezTo>
                    <a:pt x="408" y="70"/>
                    <a:pt x="407" y="71"/>
                    <a:pt x="407" y="71"/>
                  </a:cubicBezTo>
                  <a:cubicBezTo>
                    <a:pt x="407" y="72"/>
                    <a:pt x="407" y="73"/>
                    <a:pt x="407" y="74"/>
                  </a:cubicBezTo>
                  <a:cubicBezTo>
                    <a:pt x="407" y="75"/>
                    <a:pt x="407" y="75"/>
                    <a:pt x="407" y="75"/>
                  </a:cubicBezTo>
                  <a:cubicBezTo>
                    <a:pt x="407" y="75"/>
                    <a:pt x="407" y="76"/>
                    <a:pt x="407" y="76"/>
                  </a:cubicBezTo>
                  <a:cubicBezTo>
                    <a:pt x="407" y="76"/>
                    <a:pt x="407" y="77"/>
                    <a:pt x="407" y="77"/>
                  </a:cubicBezTo>
                  <a:cubicBezTo>
                    <a:pt x="407" y="78"/>
                    <a:pt x="407" y="80"/>
                    <a:pt x="408" y="81"/>
                  </a:cubicBezTo>
                  <a:cubicBezTo>
                    <a:pt x="408" y="81"/>
                    <a:pt x="410" y="82"/>
                    <a:pt x="411" y="83"/>
                  </a:cubicBezTo>
                  <a:cubicBezTo>
                    <a:pt x="411" y="81"/>
                    <a:pt x="412" y="78"/>
                    <a:pt x="412" y="77"/>
                  </a:cubicBezTo>
                  <a:cubicBezTo>
                    <a:pt x="410" y="73"/>
                    <a:pt x="414" y="69"/>
                    <a:pt x="415" y="68"/>
                  </a:cubicBezTo>
                  <a:cubicBezTo>
                    <a:pt x="420" y="63"/>
                    <a:pt x="420" y="63"/>
                    <a:pt x="420" y="63"/>
                  </a:cubicBezTo>
                  <a:cubicBezTo>
                    <a:pt x="418" y="56"/>
                    <a:pt x="418" y="56"/>
                    <a:pt x="418" y="56"/>
                  </a:cubicBezTo>
                  <a:cubicBezTo>
                    <a:pt x="427" y="56"/>
                    <a:pt x="427" y="56"/>
                    <a:pt x="427" y="56"/>
                  </a:cubicBezTo>
                  <a:cubicBezTo>
                    <a:pt x="428" y="55"/>
                    <a:pt x="429" y="54"/>
                    <a:pt x="429" y="54"/>
                  </a:cubicBezTo>
                  <a:close/>
                </a:path>
              </a:pathLst>
            </a:custGeom>
            <a:grp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14" name="Resim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318075" y="4936170"/>
            <a:ext cx="1762476" cy="626178"/>
          </a:xfrm>
          <a:prstGeom prst="rect">
            <a:avLst/>
          </a:prstGeom>
        </p:spPr>
      </p:pic>
      <p:pic>
        <p:nvPicPr>
          <p:cNvPr id="18" name="Resim 17"/>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124112" y="4808211"/>
            <a:ext cx="2506446" cy="751336"/>
          </a:xfrm>
          <a:prstGeom prst="rect">
            <a:avLst/>
          </a:prstGeom>
        </p:spPr>
      </p:pic>
      <p:pic>
        <p:nvPicPr>
          <p:cNvPr id="320513" name="Resim 320512"/>
          <p:cNvPicPr>
            <a:picLocks noChangeAspect="1"/>
          </p:cNvPicPr>
          <p:nvPr/>
        </p:nvPicPr>
        <p:blipFill>
          <a:blip r:embed="rId9">
            <a:duotone>
              <a:schemeClr val="accent1">
                <a:shade val="45000"/>
                <a:satMod val="135000"/>
              </a:schemeClr>
              <a:prstClr val="white"/>
            </a:duotone>
          </a:blip>
          <a:stretch>
            <a:fillRect/>
          </a:stretch>
        </p:blipFill>
        <p:spPr>
          <a:xfrm>
            <a:off x="4718793" y="4597779"/>
            <a:ext cx="1833230" cy="1454944"/>
          </a:xfrm>
          <a:prstGeom prst="rect">
            <a:avLst/>
          </a:prstGeom>
        </p:spPr>
      </p:pic>
      <p:sp>
        <p:nvSpPr>
          <p:cNvPr id="281" name="Dikdörtgen 280"/>
          <p:cNvSpPr/>
          <p:nvPr/>
        </p:nvSpPr>
        <p:spPr>
          <a:xfrm>
            <a:off x="593770" y="224752"/>
            <a:ext cx="12112580" cy="683264"/>
          </a:xfrm>
          <a:prstGeom prst="rect">
            <a:avLst/>
          </a:prstGeom>
        </p:spPr>
        <p:txBody>
          <a:bodyPr wrap="square">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tr-TR" sz="4800" b="0" i="0" u="none" strike="noStrike" kern="1200" cap="none" spc="-90" normalizeH="0" baseline="0" noProof="0" dirty="0">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rPr>
              <a:t>Money transfer</a:t>
            </a:r>
          </a:p>
        </p:txBody>
      </p:sp>
      <p:sp>
        <p:nvSpPr>
          <p:cNvPr id="282" name="Rounded Rectangle 15"/>
          <p:cNvSpPr>
            <a:spLocks/>
          </p:cNvSpPr>
          <p:nvPr/>
        </p:nvSpPr>
        <p:spPr>
          <a:xfrm>
            <a:off x="225449" y="-152401"/>
            <a:ext cx="212701" cy="1102549"/>
          </a:xfrm>
          <a:prstGeom prst="roundRect">
            <a:avLst>
              <a:gd name="adj" fmla="val 50000"/>
            </a:avLst>
          </a:prstGeom>
          <a:gradFill flip="none" rotWithShape="1">
            <a:gsLst>
              <a:gs pos="0">
                <a:srgbClr val="EC2B8C"/>
              </a:gs>
              <a:gs pos="100000">
                <a:srgbClr val="8D27CB"/>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015446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Nesne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7" name="think-cell Slide" r:id="rId5" imgW="344" imgH="345" progId="TCLayout.ActiveDocument.1">
                  <p:embed/>
                </p:oleObj>
              </mc:Choice>
              <mc:Fallback>
                <p:oleObj name="think-cell Slide" r:id="rId5" imgW="344" imgH="345" progId="TCLayout.ActiveDocument.1">
                  <p:embed/>
                  <p:pic>
                    <p:nvPicPr>
                      <p:cNvPr id="3" name="Nesne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ikdörtgen 6"/>
          <p:cNvSpPr/>
          <p:nvPr/>
        </p:nvSpPr>
        <p:spPr>
          <a:xfrm>
            <a:off x="593770" y="224752"/>
            <a:ext cx="12112580" cy="634020"/>
          </a:xfrm>
          <a:prstGeom prst="rect">
            <a:avLst/>
          </a:prstGeom>
        </p:spPr>
        <p:txBody>
          <a:bodyPr wrap="square">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tr-TR" sz="4400" spc="-90" dirty="0" err="1" smtClean="0">
                <a:gradFill>
                  <a:gsLst>
                    <a:gs pos="8000">
                      <a:srgbClr val="EC2B8C"/>
                    </a:gs>
                    <a:gs pos="100000">
                      <a:srgbClr val="8D27CB"/>
                    </a:gs>
                  </a:gsLst>
                  <a:lin ang="2700000" scaled="1"/>
                </a:gradFill>
                <a:latin typeface="Franklin Gothic Medium Cond" panose="020B0606030402020204" pitchFamily="34" charset="0"/>
              </a:rPr>
              <a:t>Fatwa</a:t>
            </a:r>
            <a:endParaRPr kumimoji="0" lang="tr-TR" sz="4400" b="0" i="0" u="none" strike="noStrike" kern="1200" cap="none" spc="-90" normalizeH="0" baseline="0" noProof="0" dirty="0">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endParaRPr>
          </a:p>
        </p:txBody>
      </p:sp>
      <p:sp>
        <p:nvSpPr>
          <p:cNvPr id="8" name="Rounded Rectangle 15"/>
          <p:cNvSpPr>
            <a:spLocks/>
          </p:cNvSpPr>
          <p:nvPr/>
        </p:nvSpPr>
        <p:spPr>
          <a:xfrm>
            <a:off x="225449" y="-152401"/>
            <a:ext cx="212701" cy="1102549"/>
          </a:xfrm>
          <a:prstGeom prst="roundRect">
            <a:avLst>
              <a:gd name="adj" fmla="val 50000"/>
            </a:avLst>
          </a:prstGeom>
          <a:gradFill flip="none" rotWithShape="1">
            <a:gsLst>
              <a:gs pos="0">
                <a:srgbClr val="EC2B8C"/>
              </a:gs>
              <a:gs pos="100000">
                <a:srgbClr val="8D27CB"/>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pic>
        <p:nvPicPr>
          <p:cNvPr id="11" name="Resim 10">
            <a:extLst>
              <a:ext uri="{FF2B5EF4-FFF2-40B4-BE49-F238E27FC236}">
                <a16:creationId xmlns:a16="http://schemas.microsoft.com/office/drawing/2014/main" id="{E5761B01-13E3-9B41-AECE-7E982D73B91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098721" y="858772"/>
            <a:ext cx="7481761" cy="5615807"/>
          </a:xfrm>
          <a:prstGeom prst="rect">
            <a:avLst/>
          </a:prstGeom>
        </p:spPr>
      </p:pic>
    </p:spTree>
    <p:extLst>
      <p:ext uri="{BB962C8B-B14F-4D97-AF65-F5344CB8AC3E}">
        <p14:creationId xmlns:p14="http://schemas.microsoft.com/office/powerpoint/2010/main" val="394569143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dirty="0" err="1" smtClean="0"/>
              <a:t>Tiers</a:t>
            </a:r>
            <a:r>
              <a:rPr lang="tr-TR" smtClean="0"/>
              <a:t> of </a:t>
            </a:r>
            <a:r>
              <a:rPr lang="en-US" smtClean="0"/>
              <a:t>New </a:t>
            </a:r>
            <a:r>
              <a:rPr lang="en-US" dirty="0" smtClean="0"/>
              <a:t>Age Banking</a:t>
            </a:r>
            <a:endParaRPr lang="en-US" dirty="0"/>
          </a:p>
        </p:txBody>
      </p:sp>
      <p:sp>
        <p:nvSpPr>
          <p:cNvPr id="3" name="İçerik Yer Tutucusu 2"/>
          <p:cNvSpPr>
            <a:spLocks noGrp="1"/>
          </p:cNvSpPr>
          <p:nvPr>
            <p:ph idx="1"/>
          </p:nvPr>
        </p:nvSpPr>
        <p:spPr/>
        <p:txBody>
          <a:bodyPr>
            <a:normAutofit/>
          </a:bodyPr>
          <a:lstStyle/>
          <a:p>
            <a:pPr algn="just"/>
            <a:r>
              <a:rPr lang="en-US" dirty="0" smtClean="0"/>
              <a:t>Banking is one of the most technology oriented sector in economies.</a:t>
            </a:r>
          </a:p>
          <a:p>
            <a:pPr lvl="1" algn="just"/>
            <a:r>
              <a:rPr lang="en-US" dirty="0" smtClean="0"/>
              <a:t>The whole system can be considered as at least Tier I New Age Banking</a:t>
            </a:r>
          </a:p>
          <a:p>
            <a:pPr algn="just"/>
            <a:r>
              <a:rPr lang="en-US" dirty="0" smtClean="0"/>
              <a:t>So, the total current banking sector is experiencing new age banking since last three decade through computer technologies they employed.</a:t>
            </a:r>
          </a:p>
          <a:p>
            <a:pPr algn="just"/>
            <a:r>
              <a:rPr lang="en-US" dirty="0" smtClean="0"/>
              <a:t>Although in recent years many banks have been engaged in informatics (A.I) through the whole financial intermediation process.</a:t>
            </a:r>
          </a:p>
          <a:p>
            <a:pPr lvl="1" algn="just"/>
            <a:r>
              <a:rPr lang="en-US" dirty="0" smtClean="0"/>
              <a:t> These banks need to be categorized under Tier II New Age Banking</a:t>
            </a:r>
          </a:p>
        </p:txBody>
      </p:sp>
    </p:spTree>
    <p:extLst>
      <p:ext uri="{BB962C8B-B14F-4D97-AF65-F5344CB8AC3E}">
        <p14:creationId xmlns:p14="http://schemas.microsoft.com/office/powerpoint/2010/main" val="290804387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2464">
            <a:extLst>
              <a:ext uri="{FF2B5EF4-FFF2-40B4-BE49-F238E27FC236}">
                <a16:creationId xmlns:a16="http://schemas.microsoft.com/office/drawing/2014/main" id="{FEEE3827-696B-4C61-BD0E-9979EEC4DFAF}"/>
              </a:ext>
            </a:extLst>
          </p:cNvPr>
          <p:cNvSpPr txBox="1"/>
          <p:nvPr/>
        </p:nvSpPr>
        <p:spPr>
          <a:xfrm>
            <a:off x="760281" y="1903739"/>
            <a:ext cx="4281489" cy="2850011"/>
          </a:xfrm>
          <a:prstGeom prst="rect">
            <a:avLst/>
          </a:prstGeom>
          <a:noFill/>
        </p:spPr>
        <p:txBody>
          <a:bodyPr wrap="square" rtlCol="0">
            <a:spAutoFit/>
          </a:bodyPr>
          <a:lstStyle/>
          <a:p>
            <a:pPr marL="457200" marR="0" lvl="0" indent="-457200" algn="l" defTabSz="914400" rtl="0" eaLnBrk="1" fontAlgn="auto" latinLnBrk="0" hangingPunct="1">
              <a:lnSpc>
                <a:spcPct val="80000"/>
              </a:lnSpc>
              <a:spcBef>
                <a:spcPts val="0"/>
              </a:spcBef>
              <a:spcAft>
                <a:spcPts val="0"/>
              </a:spcAft>
              <a:buClrTx/>
              <a:buSzTx/>
              <a:buFont typeface="Franklin Gothic Medium Cond" panose="020B0606030402020204" pitchFamily="34" charset="0"/>
              <a:buChar char="♦"/>
              <a:tabLst/>
              <a:defRPr/>
            </a:pPr>
            <a:r>
              <a:rPr kumimoji="0" lang="en-US" sz="3200" b="0" i="0" u="none" strike="noStrike" kern="1200" cap="none" spc="-90" normalizeH="0" baseline="0" noProof="0" dirty="0">
                <a:ln>
                  <a:noFill/>
                </a:ln>
                <a:solidFill>
                  <a:prstClr val="black">
                    <a:lumMod val="65000"/>
                    <a:lumOff val="35000"/>
                  </a:prstClr>
                </a:solidFill>
                <a:effectLst/>
                <a:uLnTx/>
                <a:uFillTx/>
                <a:latin typeface="Franklin Gothic Medium Cond" panose="020B0606030402020204" pitchFamily="34" charset="0"/>
                <a:ea typeface="+mn-ea"/>
                <a:cs typeface="+mn-cs"/>
              </a:rPr>
              <a:t>Germany </a:t>
            </a:r>
          </a:p>
          <a:p>
            <a:pPr marL="457200" marR="0" lvl="0" indent="-457200" algn="l" defTabSz="914400" rtl="0" eaLnBrk="1" fontAlgn="auto" latinLnBrk="0" hangingPunct="1">
              <a:lnSpc>
                <a:spcPct val="80000"/>
              </a:lnSpc>
              <a:spcBef>
                <a:spcPts val="0"/>
              </a:spcBef>
              <a:spcAft>
                <a:spcPts val="0"/>
              </a:spcAft>
              <a:buClrTx/>
              <a:buSzTx/>
              <a:buFont typeface="Franklin Gothic Medium Cond" panose="020B0606030402020204" pitchFamily="34" charset="0"/>
              <a:buChar char="♦"/>
              <a:tabLst/>
              <a:defRPr/>
            </a:pPr>
            <a:r>
              <a:rPr kumimoji="0" lang="en-US" sz="3200" b="0" i="0" u="none" strike="noStrike" kern="1200" cap="none" spc="-90" normalizeH="0" baseline="0" noProof="0" dirty="0">
                <a:ln>
                  <a:noFill/>
                </a:ln>
                <a:solidFill>
                  <a:prstClr val="black">
                    <a:lumMod val="65000"/>
                    <a:lumOff val="35000"/>
                  </a:prstClr>
                </a:solidFill>
                <a:effectLst/>
                <a:uLnTx/>
                <a:uFillTx/>
                <a:latin typeface="Franklin Gothic Medium Cond" panose="020B0606030402020204" pitchFamily="34" charset="0"/>
                <a:ea typeface="+mn-ea"/>
                <a:cs typeface="+mn-cs"/>
              </a:rPr>
              <a:t>France </a:t>
            </a:r>
          </a:p>
          <a:p>
            <a:pPr marL="457200" marR="0" lvl="0" indent="-457200" algn="l" defTabSz="914400" rtl="0" eaLnBrk="1" fontAlgn="auto" latinLnBrk="0" hangingPunct="1">
              <a:lnSpc>
                <a:spcPct val="80000"/>
              </a:lnSpc>
              <a:spcBef>
                <a:spcPts val="0"/>
              </a:spcBef>
              <a:spcAft>
                <a:spcPts val="0"/>
              </a:spcAft>
              <a:buClrTx/>
              <a:buSzTx/>
              <a:buFont typeface="Franklin Gothic Medium Cond" panose="020B0606030402020204" pitchFamily="34" charset="0"/>
              <a:buChar char="♦"/>
              <a:tabLst/>
              <a:defRPr/>
            </a:pPr>
            <a:r>
              <a:rPr kumimoji="0" lang="en-US" sz="3200" b="0" i="0" u="none" strike="noStrike" kern="1200" cap="none" spc="-90" normalizeH="0" baseline="0" noProof="0" dirty="0">
                <a:ln>
                  <a:noFill/>
                </a:ln>
                <a:solidFill>
                  <a:prstClr val="black">
                    <a:lumMod val="65000"/>
                    <a:lumOff val="35000"/>
                  </a:prstClr>
                </a:solidFill>
                <a:effectLst/>
                <a:uLnTx/>
                <a:uFillTx/>
                <a:latin typeface="Franklin Gothic Medium Cond" panose="020B0606030402020204" pitchFamily="34" charset="0"/>
                <a:ea typeface="+mn-ea"/>
                <a:cs typeface="+mn-cs"/>
              </a:rPr>
              <a:t>Austria</a:t>
            </a:r>
          </a:p>
          <a:p>
            <a:pPr marL="457200" marR="0" lvl="0" indent="-457200" algn="l" defTabSz="914400" rtl="0" eaLnBrk="1" fontAlgn="auto" latinLnBrk="0" hangingPunct="1">
              <a:lnSpc>
                <a:spcPct val="80000"/>
              </a:lnSpc>
              <a:spcBef>
                <a:spcPts val="0"/>
              </a:spcBef>
              <a:spcAft>
                <a:spcPts val="0"/>
              </a:spcAft>
              <a:buClrTx/>
              <a:buSzTx/>
              <a:buFont typeface="Franklin Gothic Medium Cond" panose="020B0606030402020204" pitchFamily="34" charset="0"/>
              <a:buChar char="♦"/>
              <a:tabLst/>
              <a:defRPr/>
            </a:pPr>
            <a:r>
              <a:rPr kumimoji="0" lang="en-US" sz="3200" b="0" i="0" u="none" strike="noStrike" kern="1200" cap="none" spc="-90" normalizeH="0" baseline="0" noProof="0" dirty="0">
                <a:ln>
                  <a:noFill/>
                </a:ln>
                <a:solidFill>
                  <a:prstClr val="black">
                    <a:lumMod val="65000"/>
                    <a:lumOff val="35000"/>
                  </a:prstClr>
                </a:solidFill>
                <a:effectLst/>
                <a:uLnTx/>
                <a:uFillTx/>
                <a:latin typeface="Franklin Gothic Medium Cond" panose="020B0606030402020204" pitchFamily="34" charset="0"/>
                <a:ea typeface="+mn-ea"/>
                <a:cs typeface="+mn-cs"/>
              </a:rPr>
              <a:t>Spain</a:t>
            </a:r>
          </a:p>
          <a:p>
            <a:pPr marL="457200" marR="0" lvl="0" indent="-457200" algn="l" defTabSz="914400" rtl="0" eaLnBrk="1" fontAlgn="auto" latinLnBrk="0" hangingPunct="1">
              <a:lnSpc>
                <a:spcPct val="80000"/>
              </a:lnSpc>
              <a:spcBef>
                <a:spcPts val="0"/>
              </a:spcBef>
              <a:spcAft>
                <a:spcPts val="0"/>
              </a:spcAft>
              <a:buClrTx/>
              <a:buSzTx/>
              <a:buFont typeface="Franklin Gothic Medium Cond" panose="020B0606030402020204" pitchFamily="34" charset="0"/>
              <a:buChar char="♦"/>
              <a:tabLst/>
              <a:defRPr/>
            </a:pPr>
            <a:r>
              <a:rPr kumimoji="0" lang="en-US" sz="3200" b="0" i="0" u="none" strike="noStrike" kern="1200" cap="none" spc="-90" normalizeH="0" baseline="0" noProof="0" dirty="0">
                <a:ln>
                  <a:noFill/>
                </a:ln>
                <a:solidFill>
                  <a:prstClr val="black">
                    <a:lumMod val="65000"/>
                    <a:lumOff val="35000"/>
                  </a:prstClr>
                </a:solidFill>
                <a:effectLst/>
                <a:uLnTx/>
                <a:uFillTx/>
                <a:latin typeface="Franklin Gothic Medium Cond" panose="020B0606030402020204" pitchFamily="34" charset="0"/>
                <a:ea typeface="+mn-ea"/>
                <a:cs typeface="+mn-cs"/>
              </a:rPr>
              <a:t>Belgium </a:t>
            </a:r>
          </a:p>
          <a:p>
            <a:pPr marL="457200" marR="0" lvl="0" indent="-457200" algn="l" defTabSz="914400" rtl="0" eaLnBrk="1" fontAlgn="auto" latinLnBrk="0" hangingPunct="1">
              <a:lnSpc>
                <a:spcPct val="80000"/>
              </a:lnSpc>
              <a:spcBef>
                <a:spcPts val="0"/>
              </a:spcBef>
              <a:spcAft>
                <a:spcPts val="0"/>
              </a:spcAft>
              <a:buClrTx/>
              <a:buSzTx/>
              <a:buFont typeface="Franklin Gothic Medium Cond" panose="020B0606030402020204" pitchFamily="34" charset="0"/>
              <a:buChar char="♦"/>
              <a:tabLst/>
              <a:defRPr/>
            </a:pPr>
            <a:r>
              <a:rPr kumimoji="0" lang="en-US" sz="3200" b="0" i="0" u="none" strike="noStrike" kern="1200" cap="none" spc="-90" normalizeH="0" baseline="0" noProof="0" dirty="0">
                <a:ln>
                  <a:noFill/>
                </a:ln>
                <a:solidFill>
                  <a:prstClr val="black">
                    <a:lumMod val="65000"/>
                    <a:lumOff val="35000"/>
                  </a:prstClr>
                </a:solidFill>
                <a:effectLst/>
                <a:uLnTx/>
                <a:uFillTx/>
                <a:latin typeface="Franklin Gothic Medium Cond" panose="020B0606030402020204" pitchFamily="34" charset="0"/>
                <a:ea typeface="+mn-ea"/>
                <a:cs typeface="+mn-cs"/>
              </a:rPr>
              <a:t>Poland</a:t>
            </a:r>
          </a:p>
          <a:p>
            <a:pPr marL="457200" marR="0" lvl="0" indent="-457200" algn="l" defTabSz="914400" rtl="0" eaLnBrk="1" fontAlgn="auto" latinLnBrk="0" hangingPunct="1">
              <a:lnSpc>
                <a:spcPct val="80000"/>
              </a:lnSpc>
              <a:spcBef>
                <a:spcPts val="0"/>
              </a:spcBef>
              <a:spcAft>
                <a:spcPts val="0"/>
              </a:spcAft>
              <a:buClrTx/>
              <a:buSzTx/>
              <a:buFont typeface="Franklin Gothic Medium Cond" panose="020B0606030402020204" pitchFamily="34" charset="0"/>
              <a:buChar char="♦"/>
              <a:tabLst/>
              <a:defRPr/>
            </a:pPr>
            <a:r>
              <a:rPr kumimoji="0" lang="en-US" sz="3200" b="0" i="0" u="none" strike="noStrike" kern="1200" cap="none" spc="-90" normalizeH="0" baseline="0" noProof="0" dirty="0">
                <a:ln>
                  <a:noFill/>
                </a:ln>
                <a:solidFill>
                  <a:prstClr val="black">
                    <a:lumMod val="65000"/>
                    <a:lumOff val="35000"/>
                  </a:prstClr>
                </a:solidFill>
                <a:effectLst/>
                <a:uLnTx/>
                <a:uFillTx/>
                <a:latin typeface="Franklin Gothic Medium Cond" panose="020B0606030402020204" pitchFamily="34" charset="0"/>
                <a:ea typeface="+mn-ea"/>
                <a:cs typeface="+mn-cs"/>
              </a:rPr>
              <a:t>Netherlands</a:t>
            </a:r>
          </a:p>
        </p:txBody>
      </p:sp>
      <p:grpSp>
        <p:nvGrpSpPr>
          <p:cNvPr id="20" name="Grup 19"/>
          <p:cNvGrpSpPr/>
          <p:nvPr/>
        </p:nvGrpSpPr>
        <p:grpSpPr>
          <a:xfrm>
            <a:off x="4564663" y="1513172"/>
            <a:ext cx="5513203" cy="4786141"/>
            <a:chOff x="3488260" y="1377795"/>
            <a:chExt cx="6215605" cy="5395913"/>
          </a:xfrm>
        </p:grpSpPr>
        <p:sp>
          <p:nvSpPr>
            <p:cNvPr id="21" name="Dikdörtgen 20"/>
            <p:cNvSpPr/>
            <p:nvPr/>
          </p:nvSpPr>
          <p:spPr>
            <a:xfrm>
              <a:off x="3540246" y="6433398"/>
              <a:ext cx="578545" cy="246482"/>
            </a:xfrm>
            <a:prstGeom prst="rect">
              <a:avLst/>
            </a:prstGeom>
            <a:solidFill>
              <a:schemeClr val="accent1"/>
            </a:solidFill>
            <a:ln>
              <a:solidFill>
                <a:srgbClr val="FA82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Dikdörtgen 21"/>
            <p:cNvSpPr/>
            <p:nvPr/>
          </p:nvSpPr>
          <p:spPr>
            <a:xfrm>
              <a:off x="5828476" y="6435237"/>
              <a:ext cx="578545" cy="246482"/>
            </a:xfrm>
            <a:prstGeom prst="rect">
              <a:avLst/>
            </a:prstGeom>
            <a:solidFill>
              <a:schemeClr val="accent1">
                <a:lumMod val="60000"/>
                <a:lumOff val="40000"/>
              </a:schemeClr>
            </a:solidFill>
            <a:ln>
              <a:solidFill>
                <a:srgbClr val="E9404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Dikdörtgen 22"/>
            <p:cNvSpPr/>
            <p:nvPr/>
          </p:nvSpPr>
          <p:spPr>
            <a:xfrm>
              <a:off x="7980999" y="6435237"/>
              <a:ext cx="578545" cy="246482"/>
            </a:xfrm>
            <a:prstGeom prst="rect">
              <a:avLst/>
            </a:prstGeom>
            <a:solidFill>
              <a:schemeClr val="accent6">
                <a:lumMod val="75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r-T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Dikdörtgen 23"/>
            <p:cNvSpPr/>
            <p:nvPr/>
          </p:nvSpPr>
          <p:spPr>
            <a:xfrm>
              <a:off x="4082121" y="6353767"/>
              <a:ext cx="1059761" cy="41638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0" cap="none" spc="-165" normalizeH="0" baseline="0" noProof="0" dirty="0">
                  <a:ln>
                    <a:noFill/>
                  </a:ln>
                  <a:solidFill>
                    <a:prstClr val="black">
                      <a:lumMod val="65000"/>
                      <a:lumOff val="35000"/>
                    </a:prstClr>
                  </a:solidFill>
                  <a:effectLst/>
                  <a:uLnTx/>
                  <a:uFillTx/>
                  <a:latin typeface="Franklin Gothic Medium Cond" panose="020B0606030402020204" pitchFamily="34" charset="0"/>
                  <a:ea typeface="+mn-ea"/>
                  <a:cs typeface="+mn-cs"/>
                </a:rPr>
                <a:t>MVP Phase</a:t>
              </a:r>
              <a:endParaRPr kumimoji="0" lang="tr-T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Dikdörtgen 24"/>
            <p:cNvSpPr/>
            <p:nvPr/>
          </p:nvSpPr>
          <p:spPr>
            <a:xfrm>
              <a:off x="6409174" y="6357322"/>
              <a:ext cx="737350" cy="41638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0" cap="none" spc="-165" normalizeH="0" baseline="0" noProof="0" dirty="0">
                  <a:ln>
                    <a:noFill/>
                  </a:ln>
                  <a:solidFill>
                    <a:prstClr val="black">
                      <a:lumMod val="65000"/>
                      <a:lumOff val="35000"/>
                    </a:prstClr>
                  </a:solidFill>
                  <a:effectLst/>
                  <a:uLnTx/>
                  <a:uFillTx/>
                  <a:latin typeface="Franklin Gothic Medium Cond" panose="020B0606030402020204" pitchFamily="34" charset="0"/>
                  <a:ea typeface="+mn-ea"/>
                  <a:cs typeface="+mn-cs"/>
                </a:rPr>
                <a:t>Growth</a:t>
              </a:r>
              <a:endParaRPr kumimoji="0" lang="tr-T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Dikdörtgen 25"/>
            <p:cNvSpPr/>
            <p:nvPr/>
          </p:nvSpPr>
          <p:spPr>
            <a:xfrm>
              <a:off x="8559544" y="6345765"/>
              <a:ext cx="864942" cy="41638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0" cap="none" spc="-165" normalizeH="0" baseline="0" noProof="0" dirty="0">
                  <a:ln>
                    <a:noFill/>
                  </a:ln>
                  <a:solidFill>
                    <a:prstClr val="black">
                      <a:lumMod val="65000"/>
                      <a:lumOff val="35000"/>
                    </a:prstClr>
                  </a:solidFill>
                  <a:effectLst/>
                  <a:uLnTx/>
                  <a:uFillTx/>
                  <a:latin typeface="Franklin Gothic Medium Cond" panose="020B0606030402020204" pitchFamily="34" charset="0"/>
                  <a:ea typeface="+mn-ea"/>
                  <a:cs typeface="+mn-cs"/>
                </a:rPr>
                <a:t>Scale Up</a:t>
              </a:r>
              <a:endParaRPr kumimoji="0" lang="tr-T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5"/>
            <p:cNvSpPr>
              <a:spLocks/>
            </p:cNvSpPr>
            <p:nvPr/>
          </p:nvSpPr>
          <p:spPr bwMode="auto">
            <a:xfrm>
              <a:off x="5869657" y="3364368"/>
              <a:ext cx="43324" cy="142968"/>
            </a:xfrm>
            <a:custGeom>
              <a:avLst/>
              <a:gdLst>
                <a:gd name="T0" fmla="*/ 10 w 15"/>
                <a:gd name="T1" fmla="*/ 3 h 52"/>
                <a:gd name="T2" fmla="*/ 10 w 15"/>
                <a:gd name="T3" fmla="*/ 8 h 52"/>
                <a:gd name="T4" fmla="*/ 9 w 15"/>
                <a:gd name="T5" fmla="*/ 12 h 52"/>
                <a:gd name="T6" fmla="*/ 8 w 15"/>
                <a:gd name="T7" fmla="*/ 17 h 52"/>
                <a:gd name="T8" fmla="*/ 6 w 15"/>
                <a:gd name="T9" fmla="*/ 21 h 52"/>
                <a:gd name="T10" fmla="*/ 4 w 15"/>
                <a:gd name="T11" fmla="*/ 24 h 52"/>
                <a:gd name="T12" fmla="*/ 4 w 15"/>
                <a:gd name="T13" fmla="*/ 28 h 52"/>
                <a:gd name="T14" fmla="*/ 2 w 15"/>
                <a:gd name="T15" fmla="*/ 33 h 52"/>
                <a:gd name="T16" fmla="*/ 1 w 15"/>
                <a:gd name="T17" fmla="*/ 38 h 52"/>
                <a:gd name="T18" fmla="*/ 2 w 15"/>
                <a:gd name="T19" fmla="*/ 42 h 52"/>
                <a:gd name="T20" fmla="*/ 3 w 15"/>
                <a:gd name="T21" fmla="*/ 45 h 52"/>
                <a:gd name="T22" fmla="*/ 3 w 15"/>
                <a:gd name="T23" fmla="*/ 51 h 52"/>
                <a:gd name="T24" fmla="*/ 5 w 15"/>
                <a:gd name="T25" fmla="*/ 52 h 52"/>
                <a:gd name="T26" fmla="*/ 5 w 15"/>
                <a:gd name="T27" fmla="*/ 49 h 52"/>
                <a:gd name="T28" fmla="*/ 6 w 15"/>
                <a:gd name="T29" fmla="*/ 43 h 52"/>
                <a:gd name="T30" fmla="*/ 5 w 15"/>
                <a:gd name="T31" fmla="*/ 40 h 52"/>
                <a:gd name="T32" fmla="*/ 8 w 15"/>
                <a:gd name="T33" fmla="*/ 35 h 52"/>
                <a:gd name="T34" fmla="*/ 7 w 15"/>
                <a:gd name="T35" fmla="*/ 31 h 52"/>
                <a:gd name="T36" fmla="*/ 9 w 15"/>
                <a:gd name="T37" fmla="*/ 26 h 52"/>
                <a:gd name="T38" fmla="*/ 10 w 15"/>
                <a:gd name="T39" fmla="*/ 24 h 52"/>
                <a:gd name="T40" fmla="*/ 10 w 15"/>
                <a:gd name="T41" fmla="*/ 21 h 52"/>
                <a:gd name="T42" fmla="*/ 10 w 15"/>
                <a:gd name="T43" fmla="*/ 17 h 52"/>
                <a:gd name="T44" fmla="*/ 12 w 15"/>
                <a:gd name="T45" fmla="*/ 14 h 52"/>
                <a:gd name="T46" fmla="*/ 13 w 15"/>
                <a:gd name="T47" fmla="*/ 11 h 52"/>
                <a:gd name="T48" fmla="*/ 13 w 15"/>
                <a:gd name="T49" fmla="*/ 7 h 52"/>
                <a:gd name="T50" fmla="*/ 12 w 15"/>
                <a:gd name="T51" fmla="*/ 5 h 52"/>
                <a:gd name="T52" fmla="*/ 14 w 15"/>
                <a:gd name="T53" fmla="*/ 4 h 52"/>
                <a:gd name="T54" fmla="*/ 15 w 15"/>
                <a:gd name="T55" fmla="*/ 1 h 52"/>
                <a:gd name="T56" fmla="*/ 12 w 15"/>
                <a:gd name="T57" fmla="*/ 0 h 52"/>
                <a:gd name="T58" fmla="*/ 10 w 15"/>
                <a:gd name="T59"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 h="52">
                  <a:moveTo>
                    <a:pt x="10" y="3"/>
                  </a:moveTo>
                  <a:cubicBezTo>
                    <a:pt x="10" y="4"/>
                    <a:pt x="10" y="7"/>
                    <a:pt x="10" y="8"/>
                  </a:cubicBezTo>
                  <a:cubicBezTo>
                    <a:pt x="11" y="8"/>
                    <a:pt x="9" y="12"/>
                    <a:pt x="9" y="12"/>
                  </a:cubicBezTo>
                  <a:cubicBezTo>
                    <a:pt x="8" y="17"/>
                    <a:pt x="8" y="17"/>
                    <a:pt x="8" y="17"/>
                  </a:cubicBezTo>
                  <a:cubicBezTo>
                    <a:pt x="8" y="17"/>
                    <a:pt x="7" y="20"/>
                    <a:pt x="6" y="21"/>
                  </a:cubicBezTo>
                  <a:cubicBezTo>
                    <a:pt x="6" y="21"/>
                    <a:pt x="5" y="23"/>
                    <a:pt x="4" y="24"/>
                  </a:cubicBezTo>
                  <a:cubicBezTo>
                    <a:pt x="4" y="26"/>
                    <a:pt x="4" y="27"/>
                    <a:pt x="4" y="28"/>
                  </a:cubicBezTo>
                  <a:cubicBezTo>
                    <a:pt x="4" y="30"/>
                    <a:pt x="2" y="31"/>
                    <a:pt x="2" y="33"/>
                  </a:cubicBezTo>
                  <a:cubicBezTo>
                    <a:pt x="2" y="34"/>
                    <a:pt x="1" y="35"/>
                    <a:pt x="1" y="38"/>
                  </a:cubicBezTo>
                  <a:cubicBezTo>
                    <a:pt x="0" y="40"/>
                    <a:pt x="2" y="42"/>
                    <a:pt x="2" y="42"/>
                  </a:cubicBezTo>
                  <a:cubicBezTo>
                    <a:pt x="2" y="43"/>
                    <a:pt x="3" y="45"/>
                    <a:pt x="3" y="45"/>
                  </a:cubicBezTo>
                  <a:cubicBezTo>
                    <a:pt x="3" y="51"/>
                    <a:pt x="3" y="51"/>
                    <a:pt x="3" y="51"/>
                  </a:cubicBezTo>
                  <a:cubicBezTo>
                    <a:pt x="3" y="51"/>
                    <a:pt x="4" y="52"/>
                    <a:pt x="5" y="52"/>
                  </a:cubicBezTo>
                  <a:cubicBezTo>
                    <a:pt x="6" y="52"/>
                    <a:pt x="5" y="49"/>
                    <a:pt x="5" y="49"/>
                  </a:cubicBezTo>
                  <a:cubicBezTo>
                    <a:pt x="5" y="49"/>
                    <a:pt x="6" y="44"/>
                    <a:pt x="6" y="43"/>
                  </a:cubicBezTo>
                  <a:cubicBezTo>
                    <a:pt x="5" y="42"/>
                    <a:pt x="5" y="40"/>
                    <a:pt x="5" y="40"/>
                  </a:cubicBezTo>
                  <a:cubicBezTo>
                    <a:pt x="8" y="35"/>
                    <a:pt x="8" y="35"/>
                    <a:pt x="8" y="35"/>
                  </a:cubicBezTo>
                  <a:cubicBezTo>
                    <a:pt x="7" y="31"/>
                    <a:pt x="7" y="31"/>
                    <a:pt x="7" y="31"/>
                  </a:cubicBezTo>
                  <a:cubicBezTo>
                    <a:pt x="9" y="26"/>
                    <a:pt x="9" y="26"/>
                    <a:pt x="9" y="26"/>
                  </a:cubicBezTo>
                  <a:cubicBezTo>
                    <a:pt x="10" y="24"/>
                    <a:pt x="10" y="24"/>
                    <a:pt x="10" y="24"/>
                  </a:cubicBezTo>
                  <a:cubicBezTo>
                    <a:pt x="10" y="21"/>
                    <a:pt x="10" y="21"/>
                    <a:pt x="10" y="21"/>
                  </a:cubicBezTo>
                  <a:cubicBezTo>
                    <a:pt x="10" y="17"/>
                    <a:pt x="10" y="17"/>
                    <a:pt x="10" y="17"/>
                  </a:cubicBezTo>
                  <a:cubicBezTo>
                    <a:pt x="12" y="14"/>
                    <a:pt x="12" y="14"/>
                    <a:pt x="12" y="14"/>
                  </a:cubicBezTo>
                  <a:cubicBezTo>
                    <a:pt x="13" y="11"/>
                    <a:pt x="13" y="11"/>
                    <a:pt x="13" y="11"/>
                  </a:cubicBezTo>
                  <a:cubicBezTo>
                    <a:pt x="13" y="7"/>
                    <a:pt x="13" y="7"/>
                    <a:pt x="13" y="7"/>
                  </a:cubicBezTo>
                  <a:cubicBezTo>
                    <a:pt x="13" y="7"/>
                    <a:pt x="12" y="6"/>
                    <a:pt x="12" y="5"/>
                  </a:cubicBezTo>
                  <a:cubicBezTo>
                    <a:pt x="12" y="5"/>
                    <a:pt x="13" y="4"/>
                    <a:pt x="14" y="4"/>
                  </a:cubicBezTo>
                  <a:cubicBezTo>
                    <a:pt x="14" y="3"/>
                    <a:pt x="15" y="1"/>
                    <a:pt x="15" y="1"/>
                  </a:cubicBezTo>
                  <a:cubicBezTo>
                    <a:pt x="12" y="0"/>
                    <a:pt x="12" y="0"/>
                    <a:pt x="12" y="0"/>
                  </a:cubicBezTo>
                  <a:cubicBezTo>
                    <a:pt x="12" y="0"/>
                    <a:pt x="10" y="2"/>
                    <a:pt x="10" y="3"/>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6"/>
            <p:cNvSpPr>
              <a:spLocks/>
            </p:cNvSpPr>
            <p:nvPr/>
          </p:nvSpPr>
          <p:spPr bwMode="auto">
            <a:xfrm>
              <a:off x="5966415" y="3277225"/>
              <a:ext cx="75096" cy="141606"/>
            </a:xfrm>
            <a:custGeom>
              <a:avLst/>
              <a:gdLst>
                <a:gd name="T0" fmla="*/ 21 w 26"/>
                <a:gd name="T1" fmla="*/ 1 h 52"/>
                <a:gd name="T2" fmla="*/ 20 w 26"/>
                <a:gd name="T3" fmla="*/ 3 h 52"/>
                <a:gd name="T4" fmla="*/ 17 w 26"/>
                <a:gd name="T5" fmla="*/ 3 h 52"/>
                <a:gd name="T6" fmla="*/ 15 w 26"/>
                <a:gd name="T7" fmla="*/ 4 h 52"/>
                <a:gd name="T8" fmla="*/ 15 w 26"/>
                <a:gd name="T9" fmla="*/ 5 h 52"/>
                <a:gd name="T10" fmla="*/ 12 w 26"/>
                <a:gd name="T11" fmla="*/ 3 h 52"/>
                <a:gd name="T12" fmla="*/ 10 w 26"/>
                <a:gd name="T13" fmla="*/ 7 h 52"/>
                <a:gd name="T14" fmla="*/ 8 w 26"/>
                <a:gd name="T15" fmla="*/ 9 h 52"/>
                <a:gd name="T16" fmla="*/ 7 w 26"/>
                <a:gd name="T17" fmla="*/ 11 h 52"/>
                <a:gd name="T18" fmla="*/ 6 w 26"/>
                <a:gd name="T19" fmla="*/ 15 h 52"/>
                <a:gd name="T20" fmla="*/ 1 w 26"/>
                <a:gd name="T21" fmla="*/ 20 h 52"/>
                <a:gd name="T22" fmla="*/ 1 w 26"/>
                <a:gd name="T23" fmla="*/ 23 h 52"/>
                <a:gd name="T24" fmla="*/ 1 w 26"/>
                <a:gd name="T25" fmla="*/ 27 h 52"/>
                <a:gd name="T26" fmla="*/ 3 w 26"/>
                <a:gd name="T27" fmla="*/ 28 h 52"/>
                <a:gd name="T28" fmla="*/ 4 w 26"/>
                <a:gd name="T29" fmla="*/ 32 h 52"/>
                <a:gd name="T30" fmla="*/ 1 w 26"/>
                <a:gd name="T31" fmla="*/ 33 h 52"/>
                <a:gd name="T32" fmla="*/ 2 w 26"/>
                <a:gd name="T33" fmla="*/ 34 h 52"/>
                <a:gd name="T34" fmla="*/ 4 w 26"/>
                <a:gd name="T35" fmla="*/ 37 h 52"/>
                <a:gd name="T36" fmla="*/ 6 w 26"/>
                <a:gd name="T37" fmla="*/ 40 h 52"/>
                <a:gd name="T38" fmla="*/ 7 w 26"/>
                <a:gd name="T39" fmla="*/ 43 h 52"/>
                <a:gd name="T40" fmla="*/ 5 w 26"/>
                <a:gd name="T41" fmla="*/ 46 h 52"/>
                <a:gd name="T42" fmla="*/ 4 w 26"/>
                <a:gd name="T43" fmla="*/ 49 h 52"/>
                <a:gd name="T44" fmla="*/ 8 w 26"/>
                <a:gd name="T45" fmla="*/ 49 h 52"/>
                <a:gd name="T46" fmla="*/ 10 w 26"/>
                <a:gd name="T47" fmla="*/ 46 h 52"/>
                <a:gd name="T48" fmla="*/ 10 w 26"/>
                <a:gd name="T49" fmla="*/ 43 h 52"/>
                <a:gd name="T50" fmla="*/ 12 w 26"/>
                <a:gd name="T51" fmla="*/ 38 h 52"/>
                <a:gd name="T52" fmla="*/ 15 w 26"/>
                <a:gd name="T53" fmla="*/ 36 h 52"/>
                <a:gd name="T54" fmla="*/ 17 w 26"/>
                <a:gd name="T55" fmla="*/ 34 h 52"/>
                <a:gd name="T56" fmla="*/ 17 w 26"/>
                <a:gd name="T57" fmla="*/ 31 h 52"/>
                <a:gd name="T58" fmla="*/ 18 w 26"/>
                <a:gd name="T59" fmla="*/ 28 h 52"/>
                <a:gd name="T60" fmla="*/ 20 w 26"/>
                <a:gd name="T61" fmla="*/ 26 h 52"/>
                <a:gd name="T62" fmla="*/ 19 w 26"/>
                <a:gd name="T63" fmla="*/ 23 h 52"/>
                <a:gd name="T64" fmla="*/ 17 w 26"/>
                <a:gd name="T65" fmla="*/ 22 h 52"/>
                <a:gd name="T66" fmla="*/ 17 w 26"/>
                <a:gd name="T67" fmla="*/ 20 h 52"/>
                <a:gd name="T68" fmla="*/ 16 w 26"/>
                <a:gd name="T69" fmla="*/ 16 h 52"/>
                <a:gd name="T70" fmla="*/ 17 w 26"/>
                <a:gd name="T71" fmla="*/ 14 h 52"/>
                <a:gd name="T72" fmla="*/ 20 w 26"/>
                <a:gd name="T73" fmla="*/ 11 h 52"/>
                <a:gd name="T74" fmla="*/ 21 w 26"/>
                <a:gd name="T75" fmla="*/ 8 h 52"/>
                <a:gd name="T76" fmla="*/ 22 w 26"/>
                <a:gd name="T77" fmla="*/ 6 h 52"/>
                <a:gd name="T78" fmla="*/ 25 w 26"/>
                <a:gd name="T79" fmla="*/ 4 h 52"/>
                <a:gd name="T80" fmla="*/ 25 w 26"/>
                <a:gd name="T81" fmla="*/ 2 h 52"/>
                <a:gd name="T82" fmla="*/ 25 w 26"/>
                <a:gd name="T83" fmla="*/ 1 h 52"/>
                <a:gd name="T84" fmla="*/ 21 w 26"/>
                <a:gd name="T85" fmla="*/ 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 h="52">
                  <a:moveTo>
                    <a:pt x="21" y="1"/>
                  </a:moveTo>
                  <a:cubicBezTo>
                    <a:pt x="20" y="3"/>
                    <a:pt x="20" y="3"/>
                    <a:pt x="20" y="3"/>
                  </a:cubicBezTo>
                  <a:cubicBezTo>
                    <a:pt x="20" y="3"/>
                    <a:pt x="17" y="3"/>
                    <a:pt x="17" y="3"/>
                  </a:cubicBezTo>
                  <a:cubicBezTo>
                    <a:pt x="16" y="3"/>
                    <a:pt x="15" y="3"/>
                    <a:pt x="15" y="4"/>
                  </a:cubicBezTo>
                  <a:cubicBezTo>
                    <a:pt x="15" y="5"/>
                    <a:pt x="15" y="5"/>
                    <a:pt x="15" y="5"/>
                  </a:cubicBezTo>
                  <a:cubicBezTo>
                    <a:pt x="14" y="5"/>
                    <a:pt x="12" y="3"/>
                    <a:pt x="12" y="3"/>
                  </a:cubicBezTo>
                  <a:cubicBezTo>
                    <a:pt x="10" y="7"/>
                    <a:pt x="10" y="7"/>
                    <a:pt x="10" y="7"/>
                  </a:cubicBezTo>
                  <a:cubicBezTo>
                    <a:pt x="8" y="9"/>
                    <a:pt x="8" y="9"/>
                    <a:pt x="8" y="9"/>
                  </a:cubicBezTo>
                  <a:cubicBezTo>
                    <a:pt x="8" y="9"/>
                    <a:pt x="6" y="10"/>
                    <a:pt x="7" y="11"/>
                  </a:cubicBezTo>
                  <a:cubicBezTo>
                    <a:pt x="7" y="13"/>
                    <a:pt x="7" y="13"/>
                    <a:pt x="6" y="15"/>
                  </a:cubicBezTo>
                  <a:cubicBezTo>
                    <a:pt x="4" y="17"/>
                    <a:pt x="1" y="20"/>
                    <a:pt x="1" y="20"/>
                  </a:cubicBezTo>
                  <a:cubicBezTo>
                    <a:pt x="1" y="20"/>
                    <a:pt x="0" y="22"/>
                    <a:pt x="1" y="23"/>
                  </a:cubicBezTo>
                  <a:cubicBezTo>
                    <a:pt x="1" y="23"/>
                    <a:pt x="1" y="25"/>
                    <a:pt x="1" y="27"/>
                  </a:cubicBezTo>
                  <a:cubicBezTo>
                    <a:pt x="2" y="28"/>
                    <a:pt x="3" y="27"/>
                    <a:pt x="3" y="28"/>
                  </a:cubicBezTo>
                  <a:cubicBezTo>
                    <a:pt x="3" y="29"/>
                    <a:pt x="4" y="32"/>
                    <a:pt x="4" y="32"/>
                  </a:cubicBezTo>
                  <a:cubicBezTo>
                    <a:pt x="1" y="33"/>
                    <a:pt x="1" y="33"/>
                    <a:pt x="1" y="33"/>
                  </a:cubicBezTo>
                  <a:cubicBezTo>
                    <a:pt x="2" y="34"/>
                    <a:pt x="2" y="34"/>
                    <a:pt x="2" y="34"/>
                  </a:cubicBezTo>
                  <a:cubicBezTo>
                    <a:pt x="4" y="37"/>
                    <a:pt x="4" y="37"/>
                    <a:pt x="4" y="37"/>
                  </a:cubicBezTo>
                  <a:cubicBezTo>
                    <a:pt x="6" y="40"/>
                    <a:pt x="6" y="40"/>
                    <a:pt x="6" y="40"/>
                  </a:cubicBezTo>
                  <a:cubicBezTo>
                    <a:pt x="7" y="43"/>
                    <a:pt x="7" y="43"/>
                    <a:pt x="7" y="43"/>
                  </a:cubicBezTo>
                  <a:cubicBezTo>
                    <a:pt x="7" y="43"/>
                    <a:pt x="6" y="45"/>
                    <a:pt x="5" y="46"/>
                  </a:cubicBezTo>
                  <a:cubicBezTo>
                    <a:pt x="5" y="48"/>
                    <a:pt x="2" y="49"/>
                    <a:pt x="4" y="49"/>
                  </a:cubicBezTo>
                  <a:cubicBezTo>
                    <a:pt x="7" y="49"/>
                    <a:pt x="7" y="52"/>
                    <a:pt x="8" y="49"/>
                  </a:cubicBezTo>
                  <a:cubicBezTo>
                    <a:pt x="10" y="47"/>
                    <a:pt x="10" y="47"/>
                    <a:pt x="10" y="46"/>
                  </a:cubicBezTo>
                  <a:cubicBezTo>
                    <a:pt x="11" y="46"/>
                    <a:pt x="10" y="44"/>
                    <a:pt x="10" y="43"/>
                  </a:cubicBezTo>
                  <a:cubicBezTo>
                    <a:pt x="10" y="42"/>
                    <a:pt x="11" y="39"/>
                    <a:pt x="12" y="38"/>
                  </a:cubicBezTo>
                  <a:cubicBezTo>
                    <a:pt x="12" y="38"/>
                    <a:pt x="14" y="36"/>
                    <a:pt x="15" y="36"/>
                  </a:cubicBezTo>
                  <a:cubicBezTo>
                    <a:pt x="15" y="35"/>
                    <a:pt x="17" y="36"/>
                    <a:pt x="17" y="34"/>
                  </a:cubicBezTo>
                  <a:cubicBezTo>
                    <a:pt x="17" y="33"/>
                    <a:pt x="17" y="31"/>
                    <a:pt x="17" y="31"/>
                  </a:cubicBezTo>
                  <a:cubicBezTo>
                    <a:pt x="17" y="31"/>
                    <a:pt x="18" y="29"/>
                    <a:pt x="18" y="28"/>
                  </a:cubicBezTo>
                  <a:cubicBezTo>
                    <a:pt x="19" y="28"/>
                    <a:pt x="20" y="27"/>
                    <a:pt x="20" y="26"/>
                  </a:cubicBezTo>
                  <a:cubicBezTo>
                    <a:pt x="21" y="25"/>
                    <a:pt x="20" y="23"/>
                    <a:pt x="19" y="23"/>
                  </a:cubicBezTo>
                  <a:cubicBezTo>
                    <a:pt x="19" y="23"/>
                    <a:pt x="18" y="23"/>
                    <a:pt x="17" y="22"/>
                  </a:cubicBezTo>
                  <a:cubicBezTo>
                    <a:pt x="17" y="21"/>
                    <a:pt x="17" y="21"/>
                    <a:pt x="17" y="20"/>
                  </a:cubicBezTo>
                  <a:cubicBezTo>
                    <a:pt x="17" y="19"/>
                    <a:pt x="16" y="17"/>
                    <a:pt x="16" y="16"/>
                  </a:cubicBezTo>
                  <a:cubicBezTo>
                    <a:pt x="16" y="16"/>
                    <a:pt x="16" y="14"/>
                    <a:pt x="17" y="14"/>
                  </a:cubicBezTo>
                  <a:cubicBezTo>
                    <a:pt x="18" y="13"/>
                    <a:pt x="20" y="12"/>
                    <a:pt x="20" y="11"/>
                  </a:cubicBezTo>
                  <a:cubicBezTo>
                    <a:pt x="21" y="11"/>
                    <a:pt x="21" y="8"/>
                    <a:pt x="21" y="8"/>
                  </a:cubicBezTo>
                  <a:cubicBezTo>
                    <a:pt x="21" y="8"/>
                    <a:pt x="19" y="6"/>
                    <a:pt x="22" y="6"/>
                  </a:cubicBezTo>
                  <a:cubicBezTo>
                    <a:pt x="24" y="5"/>
                    <a:pt x="25" y="4"/>
                    <a:pt x="25" y="4"/>
                  </a:cubicBezTo>
                  <a:cubicBezTo>
                    <a:pt x="25" y="3"/>
                    <a:pt x="25" y="3"/>
                    <a:pt x="25" y="2"/>
                  </a:cubicBezTo>
                  <a:cubicBezTo>
                    <a:pt x="25" y="1"/>
                    <a:pt x="26" y="1"/>
                    <a:pt x="25" y="1"/>
                  </a:cubicBezTo>
                  <a:cubicBezTo>
                    <a:pt x="24" y="0"/>
                    <a:pt x="21" y="1"/>
                    <a:pt x="21" y="1"/>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7"/>
            <p:cNvSpPr>
              <a:spLocks/>
            </p:cNvSpPr>
            <p:nvPr/>
          </p:nvSpPr>
          <p:spPr bwMode="auto">
            <a:xfrm>
              <a:off x="5492735" y="1955113"/>
              <a:ext cx="652754" cy="1672043"/>
            </a:xfrm>
            <a:custGeom>
              <a:avLst/>
              <a:gdLst>
                <a:gd name="T0" fmla="*/ 169 w 225"/>
                <a:gd name="T1" fmla="*/ 413 h 612"/>
                <a:gd name="T2" fmla="*/ 175 w 225"/>
                <a:gd name="T3" fmla="*/ 405 h 612"/>
                <a:gd name="T4" fmla="*/ 160 w 225"/>
                <a:gd name="T5" fmla="*/ 389 h 612"/>
                <a:gd name="T6" fmla="*/ 140 w 225"/>
                <a:gd name="T7" fmla="*/ 374 h 612"/>
                <a:gd name="T8" fmla="*/ 129 w 225"/>
                <a:gd name="T9" fmla="*/ 366 h 612"/>
                <a:gd name="T10" fmla="*/ 121 w 225"/>
                <a:gd name="T11" fmla="*/ 341 h 612"/>
                <a:gd name="T12" fmla="*/ 128 w 225"/>
                <a:gd name="T13" fmla="*/ 329 h 612"/>
                <a:gd name="T14" fmla="*/ 125 w 225"/>
                <a:gd name="T15" fmla="*/ 302 h 612"/>
                <a:gd name="T16" fmla="*/ 131 w 225"/>
                <a:gd name="T17" fmla="*/ 283 h 612"/>
                <a:gd name="T18" fmla="*/ 141 w 225"/>
                <a:gd name="T19" fmla="*/ 268 h 612"/>
                <a:gd name="T20" fmla="*/ 150 w 225"/>
                <a:gd name="T21" fmla="*/ 255 h 612"/>
                <a:gd name="T22" fmla="*/ 159 w 225"/>
                <a:gd name="T23" fmla="*/ 245 h 612"/>
                <a:gd name="T24" fmla="*/ 170 w 225"/>
                <a:gd name="T25" fmla="*/ 233 h 612"/>
                <a:gd name="T26" fmla="*/ 180 w 225"/>
                <a:gd name="T27" fmla="*/ 211 h 612"/>
                <a:gd name="T28" fmla="*/ 187 w 225"/>
                <a:gd name="T29" fmla="*/ 191 h 612"/>
                <a:gd name="T30" fmla="*/ 178 w 225"/>
                <a:gd name="T31" fmla="*/ 177 h 612"/>
                <a:gd name="T32" fmla="*/ 185 w 225"/>
                <a:gd name="T33" fmla="*/ 161 h 612"/>
                <a:gd name="T34" fmla="*/ 188 w 225"/>
                <a:gd name="T35" fmla="*/ 148 h 612"/>
                <a:gd name="T36" fmla="*/ 196 w 225"/>
                <a:gd name="T37" fmla="*/ 140 h 612"/>
                <a:gd name="T38" fmla="*/ 210 w 225"/>
                <a:gd name="T39" fmla="*/ 133 h 612"/>
                <a:gd name="T40" fmla="*/ 216 w 225"/>
                <a:gd name="T41" fmla="*/ 138 h 612"/>
                <a:gd name="T42" fmla="*/ 221 w 225"/>
                <a:gd name="T43" fmla="*/ 133 h 612"/>
                <a:gd name="T44" fmla="*/ 224 w 225"/>
                <a:gd name="T45" fmla="*/ 130 h 612"/>
                <a:gd name="T46" fmla="*/ 212 w 225"/>
                <a:gd name="T47" fmla="*/ 97 h 612"/>
                <a:gd name="T48" fmla="*/ 199 w 225"/>
                <a:gd name="T49" fmla="*/ 63 h 612"/>
                <a:gd name="T50" fmla="*/ 188 w 225"/>
                <a:gd name="T51" fmla="*/ 34 h 612"/>
                <a:gd name="T52" fmla="*/ 162 w 225"/>
                <a:gd name="T53" fmla="*/ 21 h 612"/>
                <a:gd name="T54" fmla="*/ 145 w 225"/>
                <a:gd name="T55" fmla="*/ 4 h 612"/>
                <a:gd name="T56" fmla="*/ 134 w 225"/>
                <a:gd name="T57" fmla="*/ 23 h 612"/>
                <a:gd name="T58" fmla="*/ 103 w 225"/>
                <a:gd name="T59" fmla="*/ 52 h 612"/>
                <a:gd name="T60" fmla="*/ 76 w 225"/>
                <a:gd name="T61" fmla="*/ 76 h 612"/>
                <a:gd name="T62" fmla="*/ 67 w 225"/>
                <a:gd name="T63" fmla="*/ 133 h 612"/>
                <a:gd name="T64" fmla="*/ 54 w 225"/>
                <a:gd name="T65" fmla="*/ 178 h 612"/>
                <a:gd name="T66" fmla="*/ 46 w 225"/>
                <a:gd name="T67" fmla="*/ 231 h 612"/>
                <a:gd name="T68" fmla="*/ 15 w 225"/>
                <a:gd name="T69" fmla="*/ 281 h 612"/>
                <a:gd name="T70" fmla="*/ 28 w 225"/>
                <a:gd name="T71" fmla="*/ 343 h 612"/>
                <a:gd name="T72" fmla="*/ 24 w 225"/>
                <a:gd name="T73" fmla="*/ 378 h 612"/>
                <a:gd name="T74" fmla="*/ 23 w 225"/>
                <a:gd name="T75" fmla="*/ 410 h 612"/>
                <a:gd name="T76" fmla="*/ 13 w 225"/>
                <a:gd name="T77" fmla="*/ 426 h 612"/>
                <a:gd name="T78" fmla="*/ 10 w 225"/>
                <a:gd name="T79" fmla="*/ 458 h 612"/>
                <a:gd name="T80" fmla="*/ 2 w 225"/>
                <a:gd name="T81" fmla="*/ 474 h 612"/>
                <a:gd name="T82" fmla="*/ 11 w 225"/>
                <a:gd name="T83" fmla="*/ 483 h 612"/>
                <a:gd name="T84" fmla="*/ 13 w 225"/>
                <a:gd name="T85" fmla="*/ 498 h 612"/>
                <a:gd name="T86" fmla="*/ 18 w 225"/>
                <a:gd name="T87" fmla="*/ 510 h 612"/>
                <a:gd name="T88" fmla="*/ 24 w 225"/>
                <a:gd name="T89" fmla="*/ 523 h 612"/>
                <a:gd name="T90" fmla="*/ 40 w 225"/>
                <a:gd name="T91" fmla="*/ 553 h 612"/>
                <a:gd name="T92" fmla="*/ 40 w 225"/>
                <a:gd name="T93" fmla="*/ 563 h 612"/>
                <a:gd name="T94" fmla="*/ 45 w 225"/>
                <a:gd name="T95" fmla="*/ 586 h 612"/>
                <a:gd name="T96" fmla="*/ 49 w 225"/>
                <a:gd name="T97" fmla="*/ 608 h 612"/>
                <a:gd name="T98" fmla="*/ 67 w 225"/>
                <a:gd name="T99" fmla="*/ 606 h 612"/>
                <a:gd name="T100" fmla="*/ 84 w 225"/>
                <a:gd name="T101" fmla="*/ 604 h 612"/>
                <a:gd name="T102" fmla="*/ 82 w 225"/>
                <a:gd name="T103" fmla="*/ 588 h 612"/>
                <a:gd name="T104" fmla="*/ 96 w 225"/>
                <a:gd name="T105" fmla="*/ 583 h 612"/>
                <a:gd name="T106" fmla="*/ 105 w 225"/>
                <a:gd name="T107" fmla="*/ 573 h 612"/>
                <a:gd name="T108" fmla="*/ 129 w 225"/>
                <a:gd name="T109" fmla="*/ 547 h 612"/>
                <a:gd name="T110" fmla="*/ 132 w 225"/>
                <a:gd name="T111" fmla="*/ 502 h 612"/>
                <a:gd name="T112" fmla="*/ 129 w 225"/>
                <a:gd name="T113" fmla="*/ 472 h 612"/>
                <a:gd name="T114" fmla="*/ 145 w 225"/>
                <a:gd name="T115" fmla="*/ 452 h 612"/>
                <a:gd name="T116" fmla="*/ 151 w 225"/>
                <a:gd name="T117" fmla="*/ 449 h 612"/>
                <a:gd name="T118" fmla="*/ 164 w 225"/>
                <a:gd name="T119" fmla="*/ 433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5" h="612">
                  <a:moveTo>
                    <a:pt x="162" y="432"/>
                  </a:moveTo>
                  <a:cubicBezTo>
                    <a:pt x="161" y="430"/>
                    <a:pt x="161" y="430"/>
                    <a:pt x="161" y="430"/>
                  </a:cubicBezTo>
                  <a:cubicBezTo>
                    <a:pt x="161" y="430"/>
                    <a:pt x="162" y="428"/>
                    <a:pt x="162" y="429"/>
                  </a:cubicBezTo>
                  <a:cubicBezTo>
                    <a:pt x="163" y="430"/>
                    <a:pt x="164" y="432"/>
                    <a:pt x="164" y="432"/>
                  </a:cubicBezTo>
                  <a:cubicBezTo>
                    <a:pt x="165" y="431"/>
                    <a:pt x="167" y="429"/>
                    <a:pt x="167" y="429"/>
                  </a:cubicBezTo>
                  <a:cubicBezTo>
                    <a:pt x="168" y="427"/>
                    <a:pt x="162" y="424"/>
                    <a:pt x="160" y="423"/>
                  </a:cubicBezTo>
                  <a:cubicBezTo>
                    <a:pt x="160" y="420"/>
                    <a:pt x="168" y="416"/>
                    <a:pt x="169" y="415"/>
                  </a:cubicBezTo>
                  <a:cubicBezTo>
                    <a:pt x="169" y="414"/>
                    <a:pt x="169" y="413"/>
                    <a:pt x="169" y="413"/>
                  </a:cubicBezTo>
                  <a:cubicBezTo>
                    <a:pt x="169" y="412"/>
                    <a:pt x="168" y="412"/>
                    <a:pt x="168" y="412"/>
                  </a:cubicBezTo>
                  <a:cubicBezTo>
                    <a:pt x="167" y="413"/>
                    <a:pt x="167" y="414"/>
                    <a:pt x="166" y="414"/>
                  </a:cubicBezTo>
                  <a:cubicBezTo>
                    <a:pt x="166" y="414"/>
                    <a:pt x="165" y="414"/>
                    <a:pt x="165" y="414"/>
                  </a:cubicBezTo>
                  <a:cubicBezTo>
                    <a:pt x="165" y="414"/>
                    <a:pt x="164" y="412"/>
                    <a:pt x="165" y="412"/>
                  </a:cubicBezTo>
                  <a:cubicBezTo>
                    <a:pt x="165" y="411"/>
                    <a:pt x="164" y="411"/>
                    <a:pt x="166" y="410"/>
                  </a:cubicBezTo>
                  <a:cubicBezTo>
                    <a:pt x="167" y="409"/>
                    <a:pt x="167" y="409"/>
                    <a:pt x="168" y="409"/>
                  </a:cubicBezTo>
                  <a:cubicBezTo>
                    <a:pt x="169" y="408"/>
                    <a:pt x="169" y="408"/>
                    <a:pt x="170" y="408"/>
                  </a:cubicBezTo>
                  <a:cubicBezTo>
                    <a:pt x="171" y="408"/>
                    <a:pt x="175" y="405"/>
                    <a:pt x="175" y="405"/>
                  </a:cubicBezTo>
                  <a:cubicBezTo>
                    <a:pt x="175" y="403"/>
                    <a:pt x="175" y="403"/>
                    <a:pt x="175" y="403"/>
                  </a:cubicBezTo>
                  <a:cubicBezTo>
                    <a:pt x="175" y="403"/>
                    <a:pt x="174" y="401"/>
                    <a:pt x="173" y="401"/>
                  </a:cubicBezTo>
                  <a:cubicBezTo>
                    <a:pt x="173" y="401"/>
                    <a:pt x="169" y="398"/>
                    <a:pt x="169" y="398"/>
                  </a:cubicBezTo>
                  <a:cubicBezTo>
                    <a:pt x="169" y="398"/>
                    <a:pt x="168" y="398"/>
                    <a:pt x="168" y="397"/>
                  </a:cubicBezTo>
                  <a:cubicBezTo>
                    <a:pt x="167" y="397"/>
                    <a:pt x="166" y="395"/>
                    <a:pt x="166" y="395"/>
                  </a:cubicBezTo>
                  <a:cubicBezTo>
                    <a:pt x="164" y="392"/>
                    <a:pt x="163" y="394"/>
                    <a:pt x="160" y="393"/>
                  </a:cubicBezTo>
                  <a:cubicBezTo>
                    <a:pt x="159" y="393"/>
                    <a:pt x="158" y="390"/>
                    <a:pt x="158" y="390"/>
                  </a:cubicBezTo>
                  <a:cubicBezTo>
                    <a:pt x="158" y="390"/>
                    <a:pt x="160" y="390"/>
                    <a:pt x="160" y="389"/>
                  </a:cubicBezTo>
                  <a:cubicBezTo>
                    <a:pt x="160" y="388"/>
                    <a:pt x="158" y="386"/>
                    <a:pt x="158" y="386"/>
                  </a:cubicBezTo>
                  <a:cubicBezTo>
                    <a:pt x="156" y="384"/>
                    <a:pt x="156" y="384"/>
                    <a:pt x="156" y="384"/>
                  </a:cubicBezTo>
                  <a:cubicBezTo>
                    <a:pt x="154" y="381"/>
                    <a:pt x="154" y="388"/>
                    <a:pt x="151" y="382"/>
                  </a:cubicBezTo>
                  <a:cubicBezTo>
                    <a:pt x="151" y="382"/>
                    <a:pt x="151" y="382"/>
                    <a:pt x="150" y="380"/>
                  </a:cubicBezTo>
                  <a:cubicBezTo>
                    <a:pt x="149" y="379"/>
                    <a:pt x="146" y="377"/>
                    <a:pt x="146" y="377"/>
                  </a:cubicBezTo>
                  <a:cubicBezTo>
                    <a:pt x="146" y="377"/>
                    <a:pt x="146" y="375"/>
                    <a:pt x="145" y="374"/>
                  </a:cubicBezTo>
                  <a:cubicBezTo>
                    <a:pt x="145" y="374"/>
                    <a:pt x="144" y="372"/>
                    <a:pt x="144" y="372"/>
                  </a:cubicBezTo>
                  <a:cubicBezTo>
                    <a:pt x="140" y="374"/>
                    <a:pt x="140" y="374"/>
                    <a:pt x="140" y="374"/>
                  </a:cubicBezTo>
                  <a:cubicBezTo>
                    <a:pt x="138" y="377"/>
                    <a:pt x="138" y="377"/>
                    <a:pt x="138" y="377"/>
                  </a:cubicBezTo>
                  <a:cubicBezTo>
                    <a:pt x="138" y="377"/>
                    <a:pt x="137" y="376"/>
                    <a:pt x="137" y="375"/>
                  </a:cubicBezTo>
                  <a:cubicBezTo>
                    <a:pt x="137" y="375"/>
                    <a:pt x="137" y="372"/>
                    <a:pt x="137" y="372"/>
                  </a:cubicBezTo>
                  <a:cubicBezTo>
                    <a:pt x="137" y="372"/>
                    <a:pt x="135" y="371"/>
                    <a:pt x="134" y="371"/>
                  </a:cubicBezTo>
                  <a:cubicBezTo>
                    <a:pt x="134" y="371"/>
                    <a:pt x="131" y="371"/>
                    <a:pt x="131" y="371"/>
                  </a:cubicBezTo>
                  <a:cubicBezTo>
                    <a:pt x="128" y="370"/>
                    <a:pt x="128" y="370"/>
                    <a:pt x="128" y="370"/>
                  </a:cubicBezTo>
                  <a:cubicBezTo>
                    <a:pt x="128" y="368"/>
                    <a:pt x="128" y="368"/>
                    <a:pt x="128" y="368"/>
                  </a:cubicBezTo>
                  <a:cubicBezTo>
                    <a:pt x="128" y="368"/>
                    <a:pt x="129" y="367"/>
                    <a:pt x="129" y="366"/>
                  </a:cubicBezTo>
                  <a:cubicBezTo>
                    <a:pt x="129" y="365"/>
                    <a:pt x="127" y="363"/>
                    <a:pt x="127" y="363"/>
                  </a:cubicBezTo>
                  <a:cubicBezTo>
                    <a:pt x="127" y="361"/>
                    <a:pt x="127" y="361"/>
                    <a:pt x="127" y="361"/>
                  </a:cubicBezTo>
                  <a:cubicBezTo>
                    <a:pt x="124" y="359"/>
                    <a:pt x="124" y="359"/>
                    <a:pt x="124" y="359"/>
                  </a:cubicBezTo>
                  <a:cubicBezTo>
                    <a:pt x="124" y="359"/>
                    <a:pt x="125" y="356"/>
                    <a:pt x="125" y="356"/>
                  </a:cubicBezTo>
                  <a:cubicBezTo>
                    <a:pt x="125" y="355"/>
                    <a:pt x="123" y="348"/>
                    <a:pt x="123" y="348"/>
                  </a:cubicBezTo>
                  <a:cubicBezTo>
                    <a:pt x="123" y="348"/>
                    <a:pt x="124" y="344"/>
                    <a:pt x="124" y="344"/>
                  </a:cubicBezTo>
                  <a:cubicBezTo>
                    <a:pt x="124" y="344"/>
                    <a:pt x="123" y="341"/>
                    <a:pt x="123" y="341"/>
                  </a:cubicBezTo>
                  <a:cubicBezTo>
                    <a:pt x="121" y="341"/>
                    <a:pt x="121" y="341"/>
                    <a:pt x="121" y="341"/>
                  </a:cubicBezTo>
                  <a:cubicBezTo>
                    <a:pt x="121" y="337"/>
                    <a:pt x="121" y="337"/>
                    <a:pt x="121" y="337"/>
                  </a:cubicBezTo>
                  <a:cubicBezTo>
                    <a:pt x="121" y="335"/>
                    <a:pt x="121" y="335"/>
                    <a:pt x="121" y="335"/>
                  </a:cubicBezTo>
                  <a:cubicBezTo>
                    <a:pt x="120" y="333"/>
                    <a:pt x="120" y="333"/>
                    <a:pt x="120" y="333"/>
                  </a:cubicBezTo>
                  <a:cubicBezTo>
                    <a:pt x="120" y="333"/>
                    <a:pt x="121" y="332"/>
                    <a:pt x="122" y="332"/>
                  </a:cubicBezTo>
                  <a:cubicBezTo>
                    <a:pt x="122" y="332"/>
                    <a:pt x="122" y="329"/>
                    <a:pt x="122" y="329"/>
                  </a:cubicBezTo>
                  <a:cubicBezTo>
                    <a:pt x="122" y="329"/>
                    <a:pt x="123" y="327"/>
                    <a:pt x="123" y="327"/>
                  </a:cubicBezTo>
                  <a:cubicBezTo>
                    <a:pt x="123" y="327"/>
                    <a:pt x="126" y="329"/>
                    <a:pt x="126" y="329"/>
                  </a:cubicBezTo>
                  <a:cubicBezTo>
                    <a:pt x="126" y="329"/>
                    <a:pt x="128" y="330"/>
                    <a:pt x="128" y="329"/>
                  </a:cubicBezTo>
                  <a:cubicBezTo>
                    <a:pt x="128" y="328"/>
                    <a:pt x="128" y="326"/>
                    <a:pt x="128" y="326"/>
                  </a:cubicBezTo>
                  <a:cubicBezTo>
                    <a:pt x="128" y="326"/>
                    <a:pt x="126" y="324"/>
                    <a:pt x="125" y="324"/>
                  </a:cubicBezTo>
                  <a:cubicBezTo>
                    <a:pt x="125" y="323"/>
                    <a:pt x="125" y="319"/>
                    <a:pt x="125" y="319"/>
                  </a:cubicBezTo>
                  <a:cubicBezTo>
                    <a:pt x="125" y="319"/>
                    <a:pt x="124" y="316"/>
                    <a:pt x="124" y="316"/>
                  </a:cubicBezTo>
                  <a:cubicBezTo>
                    <a:pt x="124" y="316"/>
                    <a:pt x="125" y="314"/>
                    <a:pt x="125" y="314"/>
                  </a:cubicBezTo>
                  <a:cubicBezTo>
                    <a:pt x="126" y="308"/>
                    <a:pt x="126" y="308"/>
                    <a:pt x="126" y="308"/>
                  </a:cubicBezTo>
                  <a:cubicBezTo>
                    <a:pt x="126" y="304"/>
                    <a:pt x="126" y="304"/>
                    <a:pt x="126" y="304"/>
                  </a:cubicBezTo>
                  <a:cubicBezTo>
                    <a:pt x="125" y="302"/>
                    <a:pt x="125" y="302"/>
                    <a:pt x="125" y="302"/>
                  </a:cubicBezTo>
                  <a:cubicBezTo>
                    <a:pt x="124" y="300"/>
                    <a:pt x="124" y="300"/>
                    <a:pt x="124" y="300"/>
                  </a:cubicBezTo>
                  <a:cubicBezTo>
                    <a:pt x="122" y="298"/>
                    <a:pt x="122" y="298"/>
                    <a:pt x="122" y="298"/>
                  </a:cubicBezTo>
                  <a:cubicBezTo>
                    <a:pt x="124" y="294"/>
                    <a:pt x="124" y="294"/>
                    <a:pt x="124" y="294"/>
                  </a:cubicBezTo>
                  <a:cubicBezTo>
                    <a:pt x="126" y="293"/>
                    <a:pt x="126" y="293"/>
                    <a:pt x="126" y="293"/>
                  </a:cubicBezTo>
                  <a:cubicBezTo>
                    <a:pt x="128" y="291"/>
                    <a:pt x="128" y="291"/>
                    <a:pt x="128" y="291"/>
                  </a:cubicBezTo>
                  <a:cubicBezTo>
                    <a:pt x="128" y="291"/>
                    <a:pt x="131" y="289"/>
                    <a:pt x="131" y="289"/>
                  </a:cubicBezTo>
                  <a:cubicBezTo>
                    <a:pt x="131" y="288"/>
                    <a:pt x="131" y="285"/>
                    <a:pt x="131" y="285"/>
                  </a:cubicBezTo>
                  <a:cubicBezTo>
                    <a:pt x="131" y="283"/>
                    <a:pt x="131" y="283"/>
                    <a:pt x="131" y="283"/>
                  </a:cubicBezTo>
                  <a:cubicBezTo>
                    <a:pt x="133" y="284"/>
                    <a:pt x="133" y="284"/>
                    <a:pt x="133" y="284"/>
                  </a:cubicBezTo>
                  <a:cubicBezTo>
                    <a:pt x="132" y="281"/>
                    <a:pt x="132" y="281"/>
                    <a:pt x="132" y="281"/>
                  </a:cubicBezTo>
                  <a:cubicBezTo>
                    <a:pt x="132" y="281"/>
                    <a:pt x="133" y="279"/>
                    <a:pt x="133" y="279"/>
                  </a:cubicBezTo>
                  <a:cubicBezTo>
                    <a:pt x="134" y="279"/>
                    <a:pt x="135" y="278"/>
                    <a:pt x="135" y="278"/>
                  </a:cubicBezTo>
                  <a:cubicBezTo>
                    <a:pt x="135" y="278"/>
                    <a:pt x="136" y="275"/>
                    <a:pt x="136" y="275"/>
                  </a:cubicBezTo>
                  <a:cubicBezTo>
                    <a:pt x="136" y="275"/>
                    <a:pt x="137" y="276"/>
                    <a:pt x="138" y="275"/>
                  </a:cubicBezTo>
                  <a:cubicBezTo>
                    <a:pt x="139" y="274"/>
                    <a:pt x="139" y="274"/>
                    <a:pt x="139" y="273"/>
                  </a:cubicBezTo>
                  <a:cubicBezTo>
                    <a:pt x="139" y="272"/>
                    <a:pt x="141" y="268"/>
                    <a:pt x="141" y="268"/>
                  </a:cubicBezTo>
                  <a:cubicBezTo>
                    <a:pt x="141" y="268"/>
                    <a:pt x="141" y="267"/>
                    <a:pt x="141" y="267"/>
                  </a:cubicBezTo>
                  <a:cubicBezTo>
                    <a:pt x="142" y="267"/>
                    <a:pt x="144" y="267"/>
                    <a:pt x="143" y="266"/>
                  </a:cubicBezTo>
                  <a:cubicBezTo>
                    <a:pt x="143" y="265"/>
                    <a:pt x="141" y="263"/>
                    <a:pt x="141" y="263"/>
                  </a:cubicBezTo>
                  <a:cubicBezTo>
                    <a:pt x="143" y="260"/>
                    <a:pt x="143" y="260"/>
                    <a:pt x="143" y="260"/>
                  </a:cubicBezTo>
                  <a:cubicBezTo>
                    <a:pt x="143" y="260"/>
                    <a:pt x="146" y="258"/>
                    <a:pt x="146" y="258"/>
                  </a:cubicBezTo>
                  <a:cubicBezTo>
                    <a:pt x="146" y="258"/>
                    <a:pt x="147" y="259"/>
                    <a:pt x="147" y="258"/>
                  </a:cubicBezTo>
                  <a:cubicBezTo>
                    <a:pt x="148" y="258"/>
                    <a:pt x="148" y="257"/>
                    <a:pt x="149" y="257"/>
                  </a:cubicBezTo>
                  <a:cubicBezTo>
                    <a:pt x="149" y="257"/>
                    <a:pt x="150" y="256"/>
                    <a:pt x="150" y="255"/>
                  </a:cubicBezTo>
                  <a:cubicBezTo>
                    <a:pt x="151" y="255"/>
                    <a:pt x="152" y="253"/>
                    <a:pt x="152" y="253"/>
                  </a:cubicBezTo>
                  <a:cubicBezTo>
                    <a:pt x="152" y="252"/>
                    <a:pt x="153" y="248"/>
                    <a:pt x="153" y="248"/>
                  </a:cubicBezTo>
                  <a:cubicBezTo>
                    <a:pt x="153" y="246"/>
                    <a:pt x="153" y="246"/>
                    <a:pt x="153" y="246"/>
                  </a:cubicBezTo>
                  <a:cubicBezTo>
                    <a:pt x="154" y="245"/>
                    <a:pt x="154" y="245"/>
                    <a:pt x="154" y="245"/>
                  </a:cubicBezTo>
                  <a:cubicBezTo>
                    <a:pt x="156" y="243"/>
                    <a:pt x="156" y="243"/>
                    <a:pt x="156" y="243"/>
                  </a:cubicBezTo>
                  <a:cubicBezTo>
                    <a:pt x="156" y="243"/>
                    <a:pt x="157" y="243"/>
                    <a:pt x="157" y="243"/>
                  </a:cubicBezTo>
                  <a:cubicBezTo>
                    <a:pt x="157" y="244"/>
                    <a:pt x="157" y="245"/>
                    <a:pt x="157" y="245"/>
                  </a:cubicBezTo>
                  <a:cubicBezTo>
                    <a:pt x="159" y="245"/>
                    <a:pt x="159" y="245"/>
                    <a:pt x="159" y="245"/>
                  </a:cubicBezTo>
                  <a:cubicBezTo>
                    <a:pt x="159" y="245"/>
                    <a:pt x="159" y="244"/>
                    <a:pt x="159" y="244"/>
                  </a:cubicBezTo>
                  <a:cubicBezTo>
                    <a:pt x="159" y="245"/>
                    <a:pt x="160" y="245"/>
                    <a:pt x="160" y="245"/>
                  </a:cubicBezTo>
                  <a:cubicBezTo>
                    <a:pt x="160" y="245"/>
                    <a:pt x="161" y="243"/>
                    <a:pt x="161" y="243"/>
                  </a:cubicBezTo>
                  <a:cubicBezTo>
                    <a:pt x="161" y="240"/>
                    <a:pt x="161" y="240"/>
                    <a:pt x="161" y="240"/>
                  </a:cubicBezTo>
                  <a:cubicBezTo>
                    <a:pt x="161" y="240"/>
                    <a:pt x="163" y="239"/>
                    <a:pt x="163" y="238"/>
                  </a:cubicBezTo>
                  <a:cubicBezTo>
                    <a:pt x="164" y="237"/>
                    <a:pt x="166" y="234"/>
                    <a:pt x="166" y="234"/>
                  </a:cubicBezTo>
                  <a:cubicBezTo>
                    <a:pt x="168" y="234"/>
                    <a:pt x="168" y="234"/>
                    <a:pt x="168" y="234"/>
                  </a:cubicBezTo>
                  <a:cubicBezTo>
                    <a:pt x="168" y="234"/>
                    <a:pt x="169" y="233"/>
                    <a:pt x="170" y="233"/>
                  </a:cubicBezTo>
                  <a:cubicBezTo>
                    <a:pt x="170" y="233"/>
                    <a:pt x="173" y="230"/>
                    <a:pt x="173" y="230"/>
                  </a:cubicBezTo>
                  <a:cubicBezTo>
                    <a:pt x="173" y="230"/>
                    <a:pt x="173" y="229"/>
                    <a:pt x="173" y="228"/>
                  </a:cubicBezTo>
                  <a:cubicBezTo>
                    <a:pt x="174" y="228"/>
                    <a:pt x="175" y="227"/>
                    <a:pt x="175" y="227"/>
                  </a:cubicBezTo>
                  <a:cubicBezTo>
                    <a:pt x="175" y="227"/>
                    <a:pt x="177" y="223"/>
                    <a:pt x="177" y="223"/>
                  </a:cubicBezTo>
                  <a:cubicBezTo>
                    <a:pt x="178" y="223"/>
                    <a:pt x="178" y="223"/>
                    <a:pt x="178" y="222"/>
                  </a:cubicBezTo>
                  <a:cubicBezTo>
                    <a:pt x="178" y="221"/>
                    <a:pt x="179" y="218"/>
                    <a:pt x="179" y="218"/>
                  </a:cubicBezTo>
                  <a:cubicBezTo>
                    <a:pt x="180" y="216"/>
                    <a:pt x="180" y="216"/>
                    <a:pt x="180" y="216"/>
                  </a:cubicBezTo>
                  <a:cubicBezTo>
                    <a:pt x="180" y="211"/>
                    <a:pt x="180" y="211"/>
                    <a:pt x="180" y="211"/>
                  </a:cubicBezTo>
                  <a:cubicBezTo>
                    <a:pt x="182" y="207"/>
                    <a:pt x="182" y="207"/>
                    <a:pt x="182" y="207"/>
                  </a:cubicBezTo>
                  <a:cubicBezTo>
                    <a:pt x="182" y="207"/>
                    <a:pt x="183" y="205"/>
                    <a:pt x="183" y="205"/>
                  </a:cubicBezTo>
                  <a:cubicBezTo>
                    <a:pt x="183" y="205"/>
                    <a:pt x="184" y="203"/>
                    <a:pt x="185" y="203"/>
                  </a:cubicBezTo>
                  <a:cubicBezTo>
                    <a:pt x="185" y="202"/>
                    <a:pt x="187" y="199"/>
                    <a:pt x="187" y="199"/>
                  </a:cubicBezTo>
                  <a:cubicBezTo>
                    <a:pt x="187" y="199"/>
                    <a:pt x="188" y="197"/>
                    <a:pt x="188" y="196"/>
                  </a:cubicBezTo>
                  <a:cubicBezTo>
                    <a:pt x="188" y="196"/>
                    <a:pt x="188" y="196"/>
                    <a:pt x="188" y="196"/>
                  </a:cubicBezTo>
                  <a:cubicBezTo>
                    <a:pt x="188" y="194"/>
                    <a:pt x="188" y="194"/>
                    <a:pt x="188" y="194"/>
                  </a:cubicBezTo>
                  <a:cubicBezTo>
                    <a:pt x="187" y="191"/>
                    <a:pt x="187" y="191"/>
                    <a:pt x="187" y="191"/>
                  </a:cubicBezTo>
                  <a:cubicBezTo>
                    <a:pt x="183" y="188"/>
                    <a:pt x="183" y="188"/>
                    <a:pt x="183" y="188"/>
                  </a:cubicBezTo>
                  <a:cubicBezTo>
                    <a:pt x="181" y="188"/>
                    <a:pt x="181" y="188"/>
                    <a:pt x="181" y="188"/>
                  </a:cubicBezTo>
                  <a:cubicBezTo>
                    <a:pt x="180" y="186"/>
                    <a:pt x="180" y="186"/>
                    <a:pt x="180" y="186"/>
                  </a:cubicBezTo>
                  <a:cubicBezTo>
                    <a:pt x="181" y="185"/>
                    <a:pt x="181" y="185"/>
                    <a:pt x="181" y="185"/>
                  </a:cubicBezTo>
                  <a:cubicBezTo>
                    <a:pt x="179" y="182"/>
                    <a:pt x="179" y="182"/>
                    <a:pt x="179" y="182"/>
                  </a:cubicBezTo>
                  <a:cubicBezTo>
                    <a:pt x="178" y="181"/>
                    <a:pt x="178" y="181"/>
                    <a:pt x="178" y="181"/>
                  </a:cubicBezTo>
                  <a:cubicBezTo>
                    <a:pt x="177" y="179"/>
                    <a:pt x="177" y="179"/>
                    <a:pt x="177" y="179"/>
                  </a:cubicBezTo>
                  <a:cubicBezTo>
                    <a:pt x="177" y="179"/>
                    <a:pt x="178" y="177"/>
                    <a:pt x="178" y="177"/>
                  </a:cubicBezTo>
                  <a:cubicBezTo>
                    <a:pt x="178" y="177"/>
                    <a:pt x="179" y="176"/>
                    <a:pt x="179" y="175"/>
                  </a:cubicBezTo>
                  <a:cubicBezTo>
                    <a:pt x="179" y="175"/>
                    <a:pt x="181" y="173"/>
                    <a:pt x="181" y="173"/>
                  </a:cubicBezTo>
                  <a:cubicBezTo>
                    <a:pt x="181" y="173"/>
                    <a:pt x="182" y="171"/>
                    <a:pt x="182" y="170"/>
                  </a:cubicBezTo>
                  <a:cubicBezTo>
                    <a:pt x="182" y="170"/>
                    <a:pt x="183" y="170"/>
                    <a:pt x="183" y="169"/>
                  </a:cubicBezTo>
                  <a:cubicBezTo>
                    <a:pt x="183" y="168"/>
                    <a:pt x="182" y="165"/>
                    <a:pt x="182" y="165"/>
                  </a:cubicBezTo>
                  <a:cubicBezTo>
                    <a:pt x="182" y="165"/>
                    <a:pt x="182" y="163"/>
                    <a:pt x="183" y="162"/>
                  </a:cubicBezTo>
                  <a:cubicBezTo>
                    <a:pt x="183" y="162"/>
                    <a:pt x="183" y="161"/>
                    <a:pt x="183" y="161"/>
                  </a:cubicBezTo>
                  <a:cubicBezTo>
                    <a:pt x="183" y="161"/>
                    <a:pt x="185" y="161"/>
                    <a:pt x="185" y="161"/>
                  </a:cubicBezTo>
                  <a:cubicBezTo>
                    <a:pt x="186" y="162"/>
                    <a:pt x="186" y="160"/>
                    <a:pt x="186" y="160"/>
                  </a:cubicBezTo>
                  <a:cubicBezTo>
                    <a:pt x="186" y="160"/>
                    <a:pt x="186" y="157"/>
                    <a:pt x="185" y="157"/>
                  </a:cubicBezTo>
                  <a:cubicBezTo>
                    <a:pt x="185" y="157"/>
                    <a:pt x="184" y="156"/>
                    <a:pt x="184" y="156"/>
                  </a:cubicBezTo>
                  <a:cubicBezTo>
                    <a:pt x="184" y="156"/>
                    <a:pt x="184" y="155"/>
                    <a:pt x="184" y="155"/>
                  </a:cubicBezTo>
                  <a:cubicBezTo>
                    <a:pt x="185" y="155"/>
                    <a:pt x="186" y="154"/>
                    <a:pt x="186" y="154"/>
                  </a:cubicBezTo>
                  <a:cubicBezTo>
                    <a:pt x="189" y="153"/>
                    <a:pt x="189" y="153"/>
                    <a:pt x="189" y="153"/>
                  </a:cubicBezTo>
                  <a:cubicBezTo>
                    <a:pt x="188" y="150"/>
                    <a:pt x="188" y="150"/>
                    <a:pt x="188" y="150"/>
                  </a:cubicBezTo>
                  <a:cubicBezTo>
                    <a:pt x="188" y="148"/>
                    <a:pt x="188" y="148"/>
                    <a:pt x="188" y="148"/>
                  </a:cubicBezTo>
                  <a:cubicBezTo>
                    <a:pt x="188" y="148"/>
                    <a:pt x="191" y="149"/>
                    <a:pt x="191" y="149"/>
                  </a:cubicBezTo>
                  <a:cubicBezTo>
                    <a:pt x="191" y="149"/>
                    <a:pt x="191" y="151"/>
                    <a:pt x="192" y="151"/>
                  </a:cubicBezTo>
                  <a:cubicBezTo>
                    <a:pt x="193" y="150"/>
                    <a:pt x="193" y="149"/>
                    <a:pt x="193" y="149"/>
                  </a:cubicBezTo>
                  <a:cubicBezTo>
                    <a:pt x="193" y="149"/>
                    <a:pt x="193" y="147"/>
                    <a:pt x="194" y="147"/>
                  </a:cubicBezTo>
                  <a:cubicBezTo>
                    <a:pt x="196" y="148"/>
                    <a:pt x="197" y="146"/>
                    <a:pt x="197" y="146"/>
                  </a:cubicBezTo>
                  <a:cubicBezTo>
                    <a:pt x="197" y="146"/>
                    <a:pt x="199" y="144"/>
                    <a:pt x="199" y="144"/>
                  </a:cubicBezTo>
                  <a:cubicBezTo>
                    <a:pt x="199" y="144"/>
                    <a:pt x="199" y="141"/>
                    <a:pt x="198" y="141"/>
                  </a:cubicBezTo>
                  <a:cubicBezTo>
                    <a:pt x="197" y="141"/>
                    <a:pt x="197" y="141"/>
                    <a:pt x="196" y="140"/>
                  </a:cubicBezTo>
                  <a:cubicBezTo>
                    <a:pt x="196" y="139"/>
                    <a:pt x="197" y="139"/>
                    <a:pt x="198" y="138"/>
                  </a:cubicBezTo>
                  <a:cubicBezTo>
                    <a:pt x="199" y="138"/>
                    <a:pt x="199" y="139"/>
                    <a:pt x="200" y="138"/>
                  </a:cubicBezTo>
                  <a:cubicBezTo>
                    <a:pt x="201" y="137"/>
                    <a:pt x="202" y="136"/>
                    <a:pt x="202" y="136"/>
                  </a:cubicBezTo>
                  <a:cubicBezTo>
                    <a:pt x="202" y="135"/>
                    <a:pt x="204" y="135"/>
                    <a:pt x="204" y="135"/>
                  </a:cubicBezTo>
                  <a:cubicBezTo>
                    <a:pt x="207" y="134"/>
                    <a:pt x="207" y="134"/>
                    <a:pt x="207" y="134"/>
                  </a:cubicBezTo>
                  <a:cubicBezTo>
                    <a:pt x="207" y="132"/>
                    <a:pt x="207" y="132"/>
                    <a:pt x="207" y="132"/>
                  </a:cubicBezTo>
                  <a:cubicBezTo>
                    <a:pt x="207" y="132"/>
                    <a:pt x="209" y="132"/>
                    <a:pt x="209" y="132"/>
                  </a:cubicBezTo>
                  <a:cubicBezTo>
                    <a:pt x="209" y="132"/>
                    <a:pt x="210" y="133"/>
                    <a:pt x="210" y="133"/>
                  </a:cubicBezTo>
                  <a:cubicBezTo>
                    <a:pt x="210" y="133"/>
                    <a:pt x="211" y="133"/>
                    <a:pt x="212" y="132"/>
                  </a:cubicBezTo>
                  <a:cubicBezTo>
                    <a:pt x="212" y="132"/>
                    <a:pt x="211" y="131"/>
                    <a:pt x="212" y="131"/>
                  </a:cubicBezTo>
                  <a:cubicBezTo>
                    <a:pt x="213" y="132"/>
                    <a:pt x="213" y="132"/>
                    <a:pt x="213" y="132"/>
                  </a:cubicBezTo>
                  <a:cubicBezTo>
                    <a:pt x="213" y="133"/>
                    <a:pt x="214" y="133"/>
                    <a:pt x="214" y="133"/>
                  </a:cubicBezTo>
                  <a:cubicBezTo>
                    <a:pt x="214" y="133"/>
                    <a:pt x="215" y="134"/>
                    <a:pt x="215" y="134"/>
                  </a:cubicBezTo>
                  <a:cubicBezTo>
                    <a:pt x="216" y="134"/>
                    <a:pt x="216" y="135"/>
                    <a:pt x="216" y="136"/>
                  </a:cubicBezTo>
                  <a:cubicBezTo>
                    <a:pt x="216" y="136"/>
                    <a:pt x="216" y="136"/>
                    <a:pt x="216" y="137"/>
                  </a:cubicBezTo>
                  <a:cubicBezTo>
                    <a:pt x="216" y="138"/>
                    <a:pt x="216" y="138"/>
                    <a:pt x="216" y="138"/>
                  </a:cubicBezTo>
                  <a:cubicBezTo>
                    <a:pt x="216" y="138"/>
                    <a:pt x="218" y="140"/>
                    <a:pt x="218" y="139"/>
                  </a:cubicBezTo>
                  <a:cubicBezTo>
                    <a:pt x="218" y="139"/>
                    <a:pt x="218" y="139"/>
                    <a:pt x="218" y="138"/>
                  </a:cubicBezTo>
                  <a:cubicBezTo>
                    <a:pt x="218" y="136"/>
                    <a:pt x="218" y="136"/>
                    <a:pt x="218" y="135"/>
                  </a:cubicBezTo>
                  <a:cubicBezTo>
                    <a:pt x="218" y="134"/>
                    <a:pt x="216" y="132"/>
                    <a:pt x="217" y="132"/>
                  </a:cubicBezTo>
                  <a:cubicBezTo>
                    <a:pt x="217" y="132"/>
                    <a:pt x="217" y="131"/>
                    <a:pt x="218" y="131"/>
                  </a:cubicBezTo>
                  <a:cubicBezTo>
                    <a:pt x="219" y="131"/>
                    <a:pt x="218" y="130"/>
                    <a:pt x="219" y="131"/>
                  </a:cubicBezTo>
                  <a:cubicBezTo>
                    <a:pt x="220" y="132"/>
                    <a:pt x="220" y="132"/>
                    <a:pt x="221" y="133"/>
                  </a:cubicBezTo>
                  <a:cubicBezTo>
                    <a:pt x="221" y="133"/>
                    <a:pt x="221" y="132"/>
                    <a:pt x="221" y="133"/>
                  </a:cubicBezTo>
                  <a:cubicBezTo>
                    <a:pt x="222" y="133"/>
                    <a:pt x="222" y="134"/>
                    <a:pt x="222" y="135"/>
                  </a:cubicBezTo>
                  <a:cubicBezTo>
                    <a:pt x="222" y="135"/>
                    <a:pt x="222" y="136"/>
                    <a:pt x="222" y="136"/>
                  </a:cubicBezTo>
                  <a:cubicBezTo>
                    <a:pt x="222" y="137"/>
                    <a:pt x="224" y="139"/>
                    <a:pt x="224" y="139"/>
                  </a:cubicBezTo>
                  <a:cubicBezTo>
                    <a:pt x="224" y="139"/>
                    <a:pt x="225" y="137"/>
                    <a:pt x="225" y="137"/>
                  </a:cubicBezTo>
                  <a:cubicBezTo>
                    <a:pt x="225" y="137"/>
                    <a:pt x="225" y="136"/>
                    <a:pt x="225" y="135"/>
                  </a:cubicBezTo>
                  <a:cubicBezTo>
                    <a:pt x="225" y="135"/>
                    <a:pt x="225" y="134"/>
                    <a:pt x="225" y="134"/>
                  </a:cubicBezTo>
                  <a:cubicBezTo>
                    <a:pt x="225" y="134"/>
                    <a:pt x="223" y="131"/>
                    <a:pt x="223" y="131"/>
                  </a:cubicBezTo>
                  <a:cubicBezTo>
                    <a:pt x="223" y="131"/>
                    <a:pt x="223" y="131"/>
                    <a:pt x="224" y="130"/>
                  </a:cubicBezTo>
                  <a:cubicBezTo>
                    <a:pt x="224" y="130"/>
                    <a:pt x="224" y="129"/>
                    <a:pt x="225" y="129"/>
                  </a:cubicBezTo>
                  <a:cubicBezTo>
                    <a:pt x="219" y="119"/>
                    <a:pt x="219" y="119"/>
                    <a:pt x="219" y="119"/>
                  </a:cubicBezTo>
                  <a:cubicBezTo>
                    <a:pt x="211" y="113"/>
                    <a:pt x="211" y="113"/>
                    <a:pt x="211" y="113"/>
                  </a:cubicBezTo>
                  <a:cubicBezTo>
                    <a:pt x="211" y="108"/>
                    <a:pt x="211" y="108"/>
                    <a:pt x="211" y="108"/>
                  </a:cubicBezTo>
                  <a:cubicBezTo>
                    <a:pt x="209" y="105"/>
                    <a:pt x="209" y="105"/>
                    <a:pt x="209" y="105"/>
                  </a:cubicBezTo>
                  <a:cubicBezTo>
                    <a:pt x="209" y="105"/>
                    <a:pt x="209" y="105"/>
                    <a:pt x="209" y="105"/>
                  </a:cubicBezTo>
                  <a:cubicBezTo>
                    <a:pt x="209" y="105"/>
                    <a:pt x="209" y="101"/>
                    <a:pt x="210" y="100"/>
                  </a:cubicBezTo>
                  <a:cubicBezTo>
                    <a:pt x="211" y="100"/>
                    <a:pt x="211" y="98"/>
                    <a:pt x="212" y="97"/>
                  </a:cubicBezTo>
                  <a:cubicBezTo>
                    <a:pt x="211" y="96"/>
                    <a:pt x="211" y="94"/>
                    <a:pt x="211" y="92"/>
                  </a:cubicBezTo>
                  <a:cubicBezTo>
                    <a:pt x="211" y="92"/>
                    <a:pt x="212" y="88"/>
                    <a:pt x="212" y="88"/>
                  </a:cubicBezTo>
                  <a:cubicBezTo>
                    <a:pt x="211" y="85"/>
                    <a:pt x="211" y="85"/>
                    <a:pt x="211" y="85"/>
                  </a:cubicBezTo>
                  <a:cubicBezTo>
                    <a:pt x="202" y="73"/>
                    <a:pt x="202" y="73"/>
                    <a:pt x="202" y="73"/>
                  </a:cubicBezTo>
                  <a:cubicBezTo>
                    <a:pt x="202" y="67"/>
                    <a:pt x="202" y="67"/>
                    <a:pt x="202" y="67"/>
                  </a:cubicBezTo>
                  <a:cubicBezTo>
                    <a:pt x="201" y="66"/>
                    <a:pt x="201" y="66"/>
                    <a:pt x="201" y="66"/>
                  </a:cubicBezTo>
                  <a:cubicBezTo>
                    <a:pt x="201" y="65"/>
                    <a:pt x="201" y="64"/>
                    <a:pt x="201" y="63"/>
                  </a:cubicBezTo>
                  <a:cubicBezTo>
                    <a:pt x="199" y="63"/>
                    <a:pt x="199" y="63"/>
                    <a:pt x="199" y="63"/>
                  </a:cubicBezTo>
                  <a:cubicBezTo>
                    <a:pt x="196" y="59"/>
                    <a:pt x="196" y="59"/>
                    <a:pt x="196" y="59"/>
                  </a:cubicBezTo>
                  <a:cubicBezTo>
                    <a:pt x="197" y="54"/>
                    <a:pt x="197" y="54"/>
                    <a:pt x="197" y="54"/>
                  </a:cubicBezTo>
                  <a:cubicBezTo>
                    <a:pt x="195" y="44"/>
                    <a:pt x="195" y="44"/>
                    <a:pt x="195" y="44"/>
                  </a:cubicBezTo>
                  <a:cubicBezTo>
                    <a:pt x="196" y="40"/>
                    <a:pt x="196" y="40"/>
                    <a:pt x="196" y="40"/>
                  </a:cubicBezTo>
                  <a:cubicBezTo>
                    <a:pt x="193" y="39"/>
                    <a:pt x="193" y="39"/>
                    <a:pt x="193" y="39"/>
                  </a:cubicBezTo>
                  <a:cubicBezTo>
                    <a:pt x="190" y="35"/>
                    <a:pt x="190" y="35"/>
                    <a:pt x="190" y="35"/>
                  </a:cubicBezTo>
                  <a:cubicBezTo>
                    <a:pt x="190" y="35"/>
                    <a:pt x="190" y="35"/>
                    <a:pt x="190" y="35"/>
                  </a:cubicBezTo>
                  <a:cubicBezTo>
                    <a:pt x="189" y="35"/>
                    <a:pt x="188" y="35"/>
                    <a:pt x="188" y="34"/>
                  </a:cubicBezTo>
                  <a:cubicBezTo>
                    <a:pt x="188" y="34"/>
                    <a:pt x="187" y="33"/>
                    <a:pt x="183" y="27"/>
                  </a:cubicBezTo>
                  <a:cubicBezTo>
                    <a:pt x="177" y="25"/>
                    <a:pt x="177" y="25"/>
                    <a:pt x="177" y="25"/>
                  </a:cubicBezTo>
                  <a:cubicBezTo>
                    <a:pt x="173" y="24"/>
                    <a:pt x="173" y="24"/>
                    <a:pt x="173" y="24"/>
                  </a:cubicBezTo>
                  <a:cubicBezTo>
                    <a:pt x="171" y="23"/>
                    <a:pt x="171" y="23"/>
                    <a:pt x="171" y="23"/>
                  </a:cubicBezTo>
                  <a:cubicBezTo>
                    <a:pt x="170" y="24"/>
                    <a:pt x="170" y="24"/>
                    <a:pt x="169" y="24"/>
                  </a:cubicBezTo>
                  <a:cubicBezTo>
                    <a:pt x="168" y="24"/>
                    <a:pt x="167" y="24"/>
                    <a:pt x="166" y="22"/>
                  </a:cubicBezTo>
                  <a:cubicBezTo>
                    <a:pt x="166" y="21"/>
                    <a:pt x="165" y="21"/>
                    <a:pt x="165" y="20"/>
                  </a:cubicBezTo>
                  <a:cubicBezTo>
                    <a:pt x="162" y="21"/>
                    <a:pt x="162" y="21"/>
                    <a:pt x="162" y="21"/>
                  </a:cubicBezTo>
                  <a:cubicBezTo>
                    <a:pt x="159" y="18"/>
                    <a:pt x="159" y="18"/>
                    <a:pt x="159" y="18"/>
                  </a:cubicBezTo>
                  <a:cubicBezTo>
                    <a:pt x="159" y="17"/>
                    <a:pt x="159" y="17"/>
                    <a:pt x="158" y="17"/>
                  </a:cubicBezTo>
                  <a:cubicBezTo>
                    <a:pt x="157" y="17"/>
                    <a:pt x="155" y="16"/>
                    <a:pt x="155" y="15"/>
                  </a:cubicBezTo>
                  <a:cubicBezTo>
                    <a:pt x="155" y="15"/>
                    <a:pt x="155" y="15"/>
                    <a:pt x="155" y="15"/>
                  </a:cubicBezTo>
                  <a:cubicBezTo>
                    <a:pt x="153" y="11"/>
                    <a:pt x="153" y="11"/>
                    <a:pt x="153" y="11"/>
                  </a:cubicBezTo>
                  <a:cubicBezTo>
                    <a:pt x="150" y="11"/>
                    <a:pt x="150" y="11"/>
                    <a:pt x="150" y="11"/>
                  </a:cubicBezTo>
                  <a:cubicBezTo>
                    <a:pt x="145" y="8"/>
                    <a:pt x="145" y="8"/>
                    <a:pt x="145" y="8"/>
                  </a:cubicBezTo>
                  <a:cubicBezTo>
                    <a:pt x="145" y="4"/>
                    <a:pt x="145" y="4"/>
                    <a:pt x="145" y="4"/>
                  </a:cubicBezTo>
                  <a:cubicBezTo>
                    <a:pt x="140" y="2"/>
                    <a:pt x="140" y="2"/>
                    <a:pt x="140" y="2"/>
                  </a:cubicBezTo>
                  <a:cubicBezTo>
                    <a:pt x="140" y="2"/>
                    <a:pt x="140" y="2"/>
                    <a:pt x="140" y="2"/>
                  </a:cubicBezTo>
                  <a:cubicBezTo>
                    <a:pt x="140" y="2"/>
                    <a:pt x="139" y="1"/>
                    <a:pt x="139" y="0"/>
                  </a:cubicBezTo>
                  <a:cubicBezTo>
                    <a:pt x="137" y="1"/>
                    <a:pt x="137" y="1"/>
                    <a:pt x="137" y="1"/>
                  </a:cubicBezTo>
                  <a:cubicBezTo>
                    <a:pt x="134" y="1"/>
                    <a:pt x="134" y="1"/>
                    <a:pt x="134" y="1"/>
                  </a:cubicBezTo>
                  <a:cubicBezTo>
                    <a:pt x="134" y="1"/>
                    <a:pt x="133" y="2"/>
                    <a:pt x="133" y="2"/>
                  </a:cubicBezTo>
                  <a:cubicBezTo>
                    <a:pt x="133" y="3"/>
                    <a:pt x="136" y="10"/>
                    <a:pt x="136" y="12"/>
                  </a:cubicBezTo>
                  <a:cubicBezTo>
                    <a:pt x="137" y="13"/>
                    <a:pt x="137" y="18"/>
                    <a:pt x="134" y="23"/>
                  </a:cubicBezTo>
                  <a:cubicBezTo>
                    <a:pt x="137" y="25"/>
                    <a:pt x="137" y="25"/>
                    <a:pt x="137" y="25"/>
                  </a:cubicBezTo>
                  <a:cubicBezTo>
                    <a:pt x="134" y="30"/>
                    <a:pt x="134" y="30"/>
                    <a:pt x="134" y="30"/>
                  </a:cubicBezTo>
                  <a:cubicBezTo>
                    <a:pt x="129" y="31"/>
                    <a:pt x="129" y="31"/>
                    <a:pt x="129" y="31"/>
                  </a:cubicBezTo>
                  <a:cubicBezTo>
                    <a:pt x="129" y="31"/>
                    <a:pt x="124" y="30"/>
                    <a:pt x="123" y="29"/>
                  </a:cubicBezTo>
                  <a:cubicBezTo>
                    <a:pt x="122" y="28"/>
                    <a:pt x="119" y="26"/>
                    <a:pt x="117" y="27"/>
                  </a:cubicBezTo>
                  <a:cubicBezTo>
                    <a:pt x="116" y="27"/>
                    <a:pt x="105" y="27"/>
                    <a:pt x="105" y="27"/>
                  </a:cubicBezTo>
                  <a:cubicBezTo>
                    <a:pt x="102" y="30"/>
                    <a:pt x="104" y="47"/>
                    <a:pt x="104" y="49"/>
                  </a:cubicBezTo>
                  <a:cubicBezTo>
                    <a:pt x="103" y="52"/>
                    <a:pt x="103" y="52"/>
                    <a:pt x="103" y="52"/>
                  </a:cubicBezTo>
                  <a:cubicBezTo>
                    <a:pt x="98" y="52"/>
                    <a:pt x="98" y="52"/>
                    <a:pt x="98" y="52"/>
                  </a:cubicBezTo>
                  <a:cubicBezTo>
                    <a:pt x="91" y="48"/>
                    <a:pt x="91" y="48"/>
                    <a:pt x="91" y="48"/>
                  </a:cubicBezTo>
                  <a:cubicBezTo>
                    <a:pt x="87" y="55"/>
                    <a:pt x="87" y="55"/>
                    <a:pt x="87" y="55"/>
                  </a:cubicBezTo>
                  <a:cubicBezTo>
                    <a:pt x="87" y="55"/>
                    <a:pt x="84" y="58"/>
                    <a:pt x="84" y="59"/>
                  </a:cubicBezTo>
                  <a:cubicBezTo>
                    <a:pt x="84" y="60"/>
                    <a:pt x="82" y="63"/>
                    <a:pt x="82" y="64"/>
                  </a:cubicBezTo>
                  <a:cubicBezTo>
                    <a:pt x="82" y="64"/>
                    <a:pt x="83" y="70"/>
                    <a:pt x="83" y="70"/>
                  </a:cubicBezTo>
                  <a:cubicBezTo>
                    <a:pt x="81" y="73"/>
                    <a:pt x="81" y="73"/>
                    <a:pt x="81" y="73"/>
                  </a:cubicBezTo>
                  <a:cubicBezTo>
                    <a:pt x="76" y="76"/>
                    <a:pt x="76" y="76"/>
                    <a:pt x="76" y="76"/>
                  </a:cubicBezTo>
                  <a:cubicBezTo>
                    <a:pt x="76" y="80"/>
                    <a:pt x="76" y="80"/>
                    <a:pt x="76" y="80"/>
                  </a:cubicBezTo>
                  <a:cubicBezTo>
                    <a:pt x="76" y="80"/>
                    <a:pt x="79" y="85"/>
                    <a:pt x="80" y="86"/>
                  </a:cubicBezTo>
                  <a:cubicBezTo>
                    <a:pt x="81" y="87"/>
                    <a:pt x="82" y="94"/>
                    <a:pt x="82" y="94"/>
                  </a:cubicBezTo>
                  <a:cubicBezTo>
                    <a:pt x="82" y="94"/>
                    <a:pt x="80" y="99"/>
                    <a:pt x="79" y="101"/>
                  </a:cubicBezTo>
                  <a:cubicBezTo>
                    <a:pt x="78" y="103"/>
                    <a:pt x="72" y="111"/>
                    <a:pt x="72" y="111"/>
                  </a:cubicBezTo>
                  <a:cubicBezTo>
                    <a:pt x="68" y="121"/>
                    <a:pt x="68" y="121"/>
                    <a:pt x="68" y="121"/>
                  </a:cubicBezTo>
                  <a:cubicBezTo>
                    <a:pt x="68" y="129"/>
                    <a:pt x="68" y="129"/>
                    <a:pt x="68" y="129"/>
                  </a:cubicBezTo>
                  <a:cubicBezTo>
                    <a:pt x="67" y="133"/>
                    <a:pt x="67" y="133"/>
                    <a:pt x="67" y="133"/>
                  </a:cubicBezTo>
                  <a:cubicBezTo>
                    <a:pt x="62" y="138"/>
                    <a:pt x="62" y="138"/>
                    <a:pt x="62" y="138"/>
                  </a:cubicBezTo>
                  <a:cubicBezTo>
                    <a:pt x="54" y="139"/>
                    <a:pt x="54" y="139"/>
                    <a:pt x="54" y="139"/>
                  </a:cubicBezTo>
                  <a:cubicBezTo>
                    <a:pt x="52" y="142"/>
                    <a:pt x="52" y="142"/>
                    <a:pt x="52" y="142"/>
                  </a:cubicBezTo>
                  <a:cubicBezTo>
                    <a:pt x="56" y="155"/>
                    <a:pt x="56" y="155"/>
                    <a:pt x="56" y="155"/>
                  </a:cubicBezTo>
                  <a:cubicBezTo>
                    <a:pt x="54" y="161"/>
                    <a:pt x="54" y="161"/>
                    <a:pt x="54" y="161"/>
                  </a:cubicBezTo>
                  <a:cubicBezTo>
                    <a:pt x="53" y="167"/>
                    <a:pt x="53" y="167"/>
                    <a:pt x="53" y="167"/>
                  </a:cubicBezTo>
                  <a:cubicBezTo>
                    <a:pt x="53" y="167"/>
                    <a:pt x="52" y="172"/>
                    <a:pt x="53" y="173"/>
                  </a:cubicBezTo>
                  <a:cubicBezTo>
                    <a:pt x="54" y="174"/>
                    <a:pt x="54" y="178"/>
                    <a:pt x="54" y="178"/>
                  </a:cubicBezTo>
                  <a:cubicBezTo>
                    <a:pt x="51" y="180"/>
                    <a:pt x="51" y="180"/>
                    <a:pt x="51" y="180"/>
                  </a:cubicBezTo>
                  <a:cubicBezTo>
                    <a:pt x="52" y="185"/>
                    <a:pt x="52" y="185"/>
                    <a:pt x="52" y="185"/>
                  </a:cubicBezTo>
                  <a:cubicBezTo>
                    <a:pt x="39" y="205"/>
                    <a:pt x="39" y="205"/>
                    <a:pt x="39" y="205"/>
                  </a:cubicBezTo>
                  <a:cubicBezTo>
                    <a:pt x="42" y="210"/>
                    <a:pt x="42" y="210"/>
                    <a:pt x="42" y="210"/>
                  </a:cubicBezTo>
                  <a:cubicBezTo>
                    <a:pt x="49" y="211"/>
                    <a:pt x="49" y="211"/>
                    <a:pt x="49" y="211"/>
                  </a:cubicBezTo>
                  <a:cubicBezTo>
                    <a:pt x="50" y="224"/>
                    <a:pt x="50" y="224"/>
                    <a:pt x="50" y="224"/>
                  </a:cubicBezTo>
                  <a:cubicBezTo>
                    <a:pt x="47" y="230"/>
                    <a:pt x="47" y="230"/>
                    <a:pt x="47" y="230"/>
                  </a:cubicBezTo>
                  <a:cubicBezTo>
                    <a:pt x="46" y="231"/>
                    <a:pt x="46" y="231"/>
                    <a:pt x="46" y="231"/>
                  </a:cubicBezTo>
                  <a:cubicBezTo>
                    <a:pt x="27" y="233"/>
                    <a:pt x="27" y="233"/>
                    <a:pt x="27" y="233"/>
                  </a:cubicBezTo>
                  <a:cubicBezTo>
                    <a:pt x="16" y="246"/>
                    <a:pt x="16" y="246"/>
                    <a:pt x="16" y="246"/>
                  </a:cubicBezTo>
                  <a:cubicBezTo>
                    <a:pt x="15" y="254"/>
                    <a:pt x="15" y="254"/>
                    <a:pt x="15" y="254"/>
                  </a:cubicBezTo>
                  <a:cubicBezTo>
                    <a:pt x="15" y="259"/>
                    <a:pt x="15" y="259"/>
                    <a:pt x="15" y="259"/>
                  </a:cubicBezTo>
                  <a:cubicBezTo>
                    <a:pt x="15" y="259"/>
                    <a:pt x="12" y="263"/>
                    <a:pt x="11" y="264"/>
                  </a:cubicBezTo>
                  <a:cubicBezTo>
                    <a:pt x="11" y="265"/>
                    <a:pt x="11" y="270"/>
                    <a:pt x="11" y="270"/>
                  </a:cubicBezTo>
                  <a:cubicBezTo>
                    <a:pt x="15" y="276"/>
                    <a:pt x="15" y="276"/>
                    <a:pt x="15" y="276"/>
                  </a:cubicBezTo>
                  <a:cubicBezTo>
                    <a:pt x="15" y="281"/>
                    <a:pt x="15" y="281"/>
                    <a:pt x="15" y="281"/>
                  </a:cubicBezTo>
                  <a:cubicBezTo>
                    <a:pt x="13" y="284"/>
                    <a:pt x="13" y="284"/>
                    <a:pt x="13" y="284"/>
                  </a:cubicBezTo>
                  <a:cubicBezTo>
                    <a:pt x="14" y="289"/>
                    <a:pt x="14" y="289"/>
                    <a:pt x="14" y="289"/>
                  </a:cubicBezTo>
                  <a:cubicBezTo>
                    <a:pt x="14" y="289"/>
                    <a:pt x="15" y="291"/>
                    <a:pt x="14" y="292"/>
                  </a:cubicBezTo>
                  <a:cubicBezTo>
                    <a:pt x="13" y="293"/>
                    <a:pt x="13" y="295"/>
                    <a:pt x="13" y="296"/>
                  </a:cubicBezTo>
                  <a:cubicBezTo>
                    <a:pt x="13" y="297"/>
                    <a:pt x="19" y="308"/>
                    <a:pt x="19" y="308"/>
                  </a:cubicBezTo>
                  <a:cubicBezTo>
                    <a:pt x="20" y="333"/>
                    <a:pt x="20" y="333"/>
                    <a:pt x="20" y="333"/>
                  </a:cubicBezTo>
                  <a:cubicBezTo>
                    <a:pt x="22" y="339"/>
                    <a:pt x="22" y="339"/>
                    <a:pt x="22" y="339"/>
                  </a:cubicBezTo>
                  <a:cubicBezTo>
                    <a:pt x="28" y="343"/>
                    <a:pt x="28" y="343"/>
                    <a:pt x="28" y="343"/>
                  </a:cubicBezTo>
                  <a:cubicBezTo>
                    <a:pt x="32" y="348"/>
                    <a:pt x="32" y="348"/>
                    <a:pt x="32" y="348"/>
                  </a:cubicBezTo>
                  <a:cubicBezTo>
                    <a:pt x="33" y="354"/>
                    <a:pt x="33" y="354"/>
                    <a:pt x="33" y="354"/>
                  </a:cubicBezTo>
                  <a:cubicBezTo>
                    <a:pt x="33" y="354"/>
                    <a:pt x="32" y="360"/>
                    <a:pt x="32" y="361"/>
                  </a:cubicBezTo>
                  <a:cubicBezTo>
                    <a:pt x="32" y="362"/>
                    <a:pt x="28" y="361"/>
                    <a:pt x="28" y="361"/>
                  </a:cubicBezTo>
                  <a:cubicBezTo>
                    <a:pt x="24" y="362"/>
                    <a:pt x="24" y="362"/>
                    <a:pt x="24" y="362"/>
                  </a:cubicBezTo>
                  <a:cubicBezTo>
                    <a:pt x="20" y="366"/>
                    <a:pt x="20" y="366"/>
                    <a:pt x="20" y="366"/>
                  </a:cubicBezTo>
                  <a:cubicBezTo>
                    <a:pt x="21" y="371"/>
                    <a:pt x="21" y="371"/>
                    <a:pt x="21" y="371"/>
                  </a:cubicBezTo>
                  <a:cubicBezTo>
                    <a:pt x="24" y="378"/>
                    <a:pt x="24" y="378"/>
                    <a:pt x="24" y="378"/>
                  </a:cubicBezTo>
                  <a:cubicBezTo>
                    <a:pt x="29" y="384"/>
                    <a:pt x="29" y="384"/>
                    <a:pt x="29" y="384"/>
                  </a:cubicBezTo>
                  <a:cubicBezTo>
                    <a:pt x="30" y="389"/>
                    <a:pt x="30" y="389"/>
                    <a:pt x="30" y="389"/>
                  </a:cubicBezTo>
                  <a:cubicBezTo>
                    <a:pt x="28" y="394"/>
                    <a:pt x="28" y="394"/>
                    <a:pt x="28" y="394"/>
                  </a:cubicBezTo>
                  <a:cubicBezTo>
                    <a:pt x="26" y="396"/>
                    <a:pt x="26" y="396"/>
                    <a:pt x="26" y="396"/>
                  </a:cubicBezTo>
                  <a:cubicBezTo>
                    <a:pt x="28" y="400"/>
                    <a:pt x="28" y="400"/>
                    <a:pt x="28" y="400"/>
                  </a:cubicBezTo>
                  <a:cubicBezTo>
                    <a:pt x="28" y="404"/>
                    <a:pt x="28" y="404"/>
                    <a:pt x="28" y="404"/>
                  </a:cubicBezTo>
                  <a:cubicBezTo>
                    <a:pt x="28" y="404"/>
                    <a:pt x="26" y="407"/>
                    <a:pt x="26" y="407"/>
                  </a:cubicBezTo>
                  <a:cubicBezTo>
                    <a:pt x="26" y="408"/>
                    <a:pt x="23" y="410"/>
                    <a:pt x="23" y="410"/>
                  </a:cubicBezTo>
                  <a:cubicBezTo>
                    <a:pt x="21" y="413"/>
                    <a:pt x="21" y="413"/>
                    <a:pt x="21" y="413"/>
                  </a:cubicBezTo>
                  <a:cubicBezTo>
                    <a:pt x="18" y="414"/>
                    <a:pt x="18" y="414"/>
                    <a:pt x="18" y="414"/>
                  </a:cubicBezTo>
                  <a:cubicBezTo>
                    <a:pt x="18" y="414"/>
                    <a:pt x="17" y="413"/>
                    <a:pt x="16" y="413"/>
                  </a:cubicBezTo>
                  <a:cubicBezTo>
                    <a:pt x="15" y="414"/>
                    <a:pt x="14" y="415"/>
                    <a:pt x="14" y="415"/>
                  </a:cubicBezTo>
                  <a:cubicBezTo>
                    <a:pt x="14" y="418"/>
                    <a:pt x="14" y="418"/>
                    <a:pt x="14" y="418"/>
                  </a:cubicBezTo>
                  <a:cubicBezTo>
                    <a:pt x="16" y="420"/>
                    <a:pt x="16" y="420"/>
                    <a:pt x="16" y="420"/>
                  </a:cubicBezTo>
                  <a:cubicBezTo>
                    <a:pt x="15" y="424"/>
                    <a:pt x="15" y="424"/>
                    <a:pt x="15" y="424"/>
                  </a:cubicBezTo>
                  <a:cubicBezTo>
                    <a:pt x="13" y="426"/>
                    <a:pt x="13" y="426"/>
                    <a:pt x="13" y="426"/>
                  </a:cubicBezTo>
                  <a:cubicBezTo>
                    <a:pt x="10" y="427"/>
                    <a:pt x="10" y="427"/>
                    <a:pt x="10" y="427"/>
                  </a:cubicBezTo>
                  <a:cubicBezTo>
                    <a:pt x="11" y="432"/>
                    <a:pt x="11" y="432"/>
                    <a:pt x="11" y="432"/>
                  </a:cubicBezTo>
                  <a:cubicBezTo>
                    <a:pt x="15" y="437"/>
                    <a:pt x="15" y="437"/>
                    <a:pt x="15" y="437"/>
                  </a:cubicBezTo>
                  <a:cubicBezTo>
                    <a:pt x="15" y="442"/>
                    <a:pt x="15" y="442"/>
                    <a:pt x="15" y="442"/>
                  </a:cubicBezTo>
                  <a:cubicBezTo>
                    <a:pt x="12" y="447"/>
                    <a:pt x="12" y="447"/>
                    <a:pt x="12" y="447"/>
                  </a:cubicBezTo>
                  <a:cubicBezTo>
                    <a:pt x="12" y="453"/>
                    <a:pt x="12" y="453"/>
                    <a:pt x="12" y="453"/>
                  </a:cubicBezTo>
                  <a:cubicBezTo>
                    <a:pt x="11" y="457"/>
                    <a:pt x="11" y="457"/>
                    <a:pt x="11" y="457"/>
                  </a:cubicBezTo>
                  <a:cubicBezTo>
                    <a:pt x="10" y="458"/>
                    <a:pt x="10" y="458"/>
                    <a:pt x="10" y="458"/>
                  </a:cubicBezTo>
                  <a:cubicBezTo>
                    <a:pt x="7" y="458"/>
                    <a:pt x="7" y="458"/>
                    <a:pt x="7" y="458"/>
                  </a:cubicBezTo>
                  <a:cubicBezTo>
                    <a:pt x="7" y="458"/>
                    <a:pt x="7" y="453"/>
                    <a:pt x="6" y="453"/>
                  </a:cubicBezTo>
                  <a:cubicBezTo>
                    <a:pt x="6" y="452"/>
                    <a:pt x="1" y="448"/>
                    <a:pt x="1" y="448"/>
                  </a:cubicBezTo>
                  <a:cubicBezTo>
                    <a:pt x="0" y="452"/>
                    <a:pt x="0" y="452"/>
                    <a:pt x="0" y="452"/>
                  </a:cubicBezTo>
                  <a:cubicBezTo>
                    <a:pt x="0" y="458"/>
                    <a:pt x="0" y="458"/>
                    <a:pt x="0" y="458"/>
                  </a:cubicBezTo>
                  <a:cubicBezTo>
                    <a:pt x="0" y="458"/>
                    <a:pt x="1" y="461"/>
                    <a:pt x="1" y="462"/>
                  </a:cubicBezTo>
                  <a:cubicBezTo>
                    <a:pt x="2" y="463"/>
                    <a:pt x="3" y="468"/>
                    <a:pt x="3" y="468"/>
                  </a:cubicBezTo>
                  <a:cubicBezTo>
                    <a:pt x="2" y="474"/>
                    <a:pt x="2" y="474"/>
                    <a:pt x="2" y="474"/>
                  </a:cubicBezTo>
                  <a:cubicBezTo>
                    <a:pt x="2" y="474"/>
                    <a:pt x="3" y="478"/>
                    <a:pt x="4" y="478"/>
                  </a:cubicBezTo>
                  <a:cubicBezTo>
                    <a:pt x="4" y="479"/>
                    <a:pt x="4" y="482"/>
                    <a:pt x="4" y="482"/>
                  </a:cubicBezTo>
                  <a:cubicBezTo>
                    <a:pt x="7" y="481"/>
                    <a:pt x="7" y="481"/>
                    <a:pt x="7" y="481"/>
                  </a:cubicBezTo>
                  <a:cubicBezTo>
                    <a:pt x="7" y="479"/>
                    <a:pt x="7" y="479"/>
                    <a:pt x="7" y="479"/>
                  </a:cubicBezTo>
                  <a:cubicBezTo>
                    <a:pt x="9" y="482"/>
                    <a:pt x="9" y="482"/>
                    <a:pt x="9" y="482"/>
                  </a:cubicBezTo>
                  <a:cubicBezTo>
                    <a:pt x="9" y="482"/>
                    <a:pt x="8" y="483"/>
                    <a:pt x="9" y="483"/>
                  </a:cubicBezTo>
                  <a:cubicBezTo>
                    <a:pt x="10" y="482"/>
                    <a:pt x="12" y="481"/>
                    <a:pt x="12" y="481"/>
                  </a:cubicBezTo>
                  <a:cubicBezTo>
                    <a:pt x="11" y="483"/>
                    <a:pt x="11" y="483"/>
                    <a:pt x="11" y="483"/>
                  </a:cubicBezTo>
                  <a:cubicBezTo>
                    <a:pt x="9" y="486"/>
                    <a:pt x="9" y="486"/>
                    <a:pt x="9" y="486"/>
                  </a:cubicBezTo>
                  <a:cubicBezTo>
                    <a:pt x="10" y="487"/>
                    <a:pt x="10" y="487"/>
                    <a:pt x="10" y="487"/>
                  </a:cubicBezTo>
                  <a:cubicBezTo>
                    <a:pt x="12" y="488"/>
                    <a:pt x="12" y="488"/>
                    <a:pt x="12" y="488"/>
                  </a:cubicBezTo>
                  <a:cubicBezTo>
                    <a:pt x="9" y="492"/>
                    <a:pt x="9" y="492"/>
                    <a:pt x="9" y="492"/>
                  </a:cubicBezTo>
                  <a:cubicBezTo>
                    <a:pt x="9" y="492"/>
                    <a:pt x="11" y="494"/>
                    <a:pt x="11" y="495"/>
                  </a:cubicBezTo>
                  <a:cubicBezTo>
                    <a:pt x="11" y="495"/>
                    <a:pt x="15" y="492"/>
                    <a:pt x="15" y="492"/>
                  </a:cubicBezTo>
                  <a:cubicBezTo>
                    <a:pt x="15" y="492"/>
                    <a:pt x="15" y="493"/>
                    <a:pt x="15" y="494"/>
                  </a:cubicBezTo>
                  <a:cubicBezTo>
                    <a:pt x="15" y="495"/>
                    <a:pt x="12" y="497"/>
                    <a:pt x="13" y="498"/>
                  </a:cubicBezTo>
                  <a:cubicBezTo>
                    <a:pt x="13" y="499"/>
                    <a:pt x="18" y="498"/>
                    <a:pt x="17" y="498"/>
                  </a:cubicBezTo>
                  <a:cubicBezTo>
                    <a:pt x="16" y="499"/>
                    <a:pt x="16" y="501"/>
                    <a:pt x="16" y="501"/>
                  </a:cubicBezTo>
                  <a:cubicBezTo>
                    <a:pt x="16" y="501"/>
                    <a:pt x="14" y="503"/>
                    <a:pt x="15" y="504"/>
                  </a:cubicBezTo>
                  <a:cubicBezTo>
                    <a:pt x="16" y="504"/>
                    <a:pt x="18" y="505"/>
                    <a:pt x="18" y="506"/>
                  </a:cubicBezTo>
                  <a:cubicBezTo>
                    <a:pt x="17" y="506"/>
                    <a:pt x="15" y="508"/>
                    <a:pt x="15" y="508"/>
                  </a:cubicBezTo>
                  <a:cubicBezTo>
                    <a:pt x="15" y="508"/>
                    <a:pt x="14" y="510"/>
                    <a:pt x="15" y="510"/>
                  </a:cubicBezTo>
                  <a:cubicBezTo>
                    <a:pt x="16" y="511"/>
                    <a:pt x="18" y="511"/>
                    <a:pt x="18" y="511"/>
                  </a:cubicBezTo>
                  <a:cubicBezTo>
                    <a:pt x="18" y="511"/>
                    <a:pt x="18" y="510"/>
                    <a:pt x="18" y="510"/>
                  </a:cubicBezTo>
                  <a:cubicBezTo>
                    <a:pt x="18" y="511"/>
                    <a:pt x="17" y="513"/>
                    <a:pt x="17" y="513"/>
                  </a:cubicBezTo>
                  <a:cubicBezTo>
                    <a:pt x="17" y="513"/>
                    <a:pt x="17" y="514"/>
                    <a:pt x="17" y="515"/>
                  </a:cubicBezTo>
                  <a:cubicBezTo>
                    <a:pt x="18" y="515"/>
                    <a:pt x="20" y="515"/>
                    <a:pt x="20" y="515"/>
                  </a:cubicBezTo>
                  <a:cubicBezTo>
                    <a:pt x="20" y="515"/>
                    <a:pt x="20" y="516"/>
                    <a:pt x="20" y="517"/>
                  </a:cubicBezTo>
                  <a:cubicBezTo>
                    <a:pt x="20" y="518"/>
                    <a:pt x="20" y="520"/>
                    <a:pt x="19" y="521"/>
                  </a:cubicBezTo>
                  <a:cubicBezTo>
                    <a:pt x="19" y="521"/>
                    <a:pt x="20" y="523"/>
                    <a:pt x="20" y="523"/>
                  </a:cubicBezTo>
                  <a:cubicBezTo>
                    <a:pt x="20" y="523"/>
                    <a:pt x="19" y="524"/>
                    <a:pt x="21" y="524"/>
                  </a:cubicBezTo>
                  <a:cubicBezTo>
                    <a:pt x="23" y="524"/>
                    <a:pt x="23" y="523"/>
                    <a:pt x="24" y="523"/>
                  </a:cubicBezTo>
                  <a:cubicBezTo>
                    <a:pt x="24" y="523"/>
                    <a:pt x="25" y="524"/>
                    <a:pt x="25" y="525"/>
                  </a:cubicBezTo>
                  <a:cubicBezTo>
                    <a:pt x="25" y="526"/>
                    <a:pt x="26" y="527"/>
                    <a:pt x="26" y="528"/>
                  </a:cubicBezTo>
                  <a:cubicBezTo>
                    <a:pt x="26" y="529"/>
                    <a:pt x="29" y="537"/>
                    <a:pt x="29" y="537"/>
                  </a:cubicBezTo>
                  <a:cubicBezTo>
                    <a:pt x="29" y="537"/>
                    <a:pt x="30" y="540"/>
                    <a:pt x="31" y="541"/>
                  </a:cubicBezTo>
                  <a:cubicBezTo>
                    <a:pt x="31" y="542"/>
                    <a:pt x="32" y="543"/>
                    <a:pt x="32" y="543"/>
                  </a:cubicBezTo>
                  <a:cubicBezTo>
                    <a:pt x="33" y="544"/>
                    <a:pt x="35" y="546"/>
                    <a:pt x="35" y="546"/>
                  </a:cubicBezTo>
                  <a:cubicBezTo>
                    <a:pt x="37" y="547"/>
                    <a:pt x="37" y="547"/>
                    <a:pt x="37" y="547"/>
                  </a:cubicBezTo>
                  <a:cubicBezTo>
                    <a:pt x="40" y="553"/>
                    <a:pt x="40" y="553"/>
                    <a:pt x="40" y="553"/>
                  </a:cubicBezTo>
                  <a:cubicBezTo>
                    <a:pt x="40" y="553"/>
                    <a:pt x="42" y="555"/>
                    <a:pt x="43" y="555"/>
                  </a:cubicBezTo>
                  <a:cubicBezTo>
                    <a:pt x="43" y="555"/>
                    <a:pt x="45" y="553"/>
                    <a:pt x="45" y="553"/>
                  </a:cubicBezTo>
                  <a:cubicBezTo>
                    <a:pt x="45" y="553"/>
                    <a:pt x="47" y="554"/>
                    <a:pt x="47" y="555"/>
                  </a:cubicBezTo>
                  <a:cubicBezTo>
                    <a:pt x="47" y="555"/>
                    <a:pt x="45" y="559"/>
                    <a:pt x="46" y="560"/>
                  </a:cubicBezTo>
                  <a:cubicBezTo>
                    <a:pt x="46" y="560"/>
                    <a:pt x="46" y="562"/>
                    <a:pt x="46" y="562"/>
                  </a:cubicBezTo>
                  <a:cubicBezTo>
                    <a:pt x="45" y="563"/>
                    <a:pt x="45" y="563"/>
                    <a:pt x="45" y="563"/>
                  </a:cubicBezTo>
                  <a:cubicBezTo>
                    <a:pt x="43" y="564"/>
                    <a:pt x="43" y="564"/>
                    <a:pt x="43" y="564"/>
                  </a:cubicBezTo>
                  <a:cubicBezTo>
                    <a:pt x="40" y="563"/>
                    <a:pt x="40" y="563"/>
                    <a:pt x="40" y="563"/>
                  </a:cubicBezTo>
                  <a:cubicBezTo>
                    <a:pt x="39" y="566"/>
                    <a:pt x="39" y="566"/>
                    <a:pt x="39" y="566"/>
                  </a:cubicBezTo>
                  <a:cubicBezTo>
                    <a:pt x="42" y="568"/>
                    <a:pt x="42" y="568"/>
                    <a:pt x="42" y="568"/>
                  </a:cubicBezTo>
                  <a:cubicBezTo>
                    <a:pt x="42" y="568"/>
                    <a:pt x="44" y="570"/>
                    <a:pt x="44" y="570"/>
                  </a:cubicBezTo>
                  <a:cubicBezTo>
                    <a:pt x="44" y="571"/>
                    <a:pt x="45" y="574"/>
                    <a:pt x="44" y="574"/>
                  </a:cubicBezTo>
                  <a:cubicBezTo>
                    <a:pt x="44" y="574"/>
                    <a:pt x="40" y="573"/>
                    <a:pt x="40" y="573"/>
                  </a:cubicBezTo>
                  <a:cubicBezTo>
                    <a:pt x="40" y="573"/>
                    <a:pt x="39" y="576"/>
                    <a:pt x="39" y="576"/>
                  </a:cubicBezTo>
                  <a:cubicBezTo>
                    <a:pt x="39" y="577"/>
                    <a:pt x="38" y="577"/>
                    <a:pt x="39" y="579"/>
                  </a:cubicBezTo>
                  <a:cubicBezTo>
                    <a:pt x="41" y="581"/>
                    <a:pt x="45" y="586"/>
                    <a:pt x="45" y="586"/>
                  </a:cubicBezTo>
                  <a:cubicBezTo>
                    <a:pt x="45" y="586"/>
                    <a:pt x="48" y="591"/>
                    <a:pt x="48" y="591"/>
                  </a:cubicBezTo>
                  <a:cubicBezTo>
                    <a:pt x="48" y="591"/>
                    <a:pt x="50" y="594"/>
                    <a:pt x="50" y="595"/>
                  </a:cubicBezTo>
                  <a:cubicBezTo>
                    <a:pt x="51" y="595"/>
                    <a:pt x="51" y="598"/>
                    <a:pt x="51" y="598"/>
                  </a:cubicBezTo>
                  <a:cubicBezTo>
                    <a:pt x="50" y="599"/>
                    <a:pt x="50" y="599"/>
                    <a:pt x="50" y="599"/>
                  </a:cubicBezTo>
                  <a:cubicBezTo>
                    <a:pt x="49" y="602"/>
                    <a:pt x="49" y="602"/>
                    <a:pt x="49" y="602"/>
                  </a:cubicBezTo>
                  <a:cubicBezTo>
                    <a:pt x="49" y="604"/>
                    <a:pt x="49" y="604"/>
                    <a:pt x="49" y="604"/>
                  </a:cubicBezTo>
                  <a:cubicBezTo>
                    <a:pt x="49" y="606"/>
                    <a:pt x="49" y="606"/>
                    <a:pt x="49" y="606"/>
                  </a:cubicBezTo>
                  <a:cubicBezTo>
                    <a:pt x="49" y="608"/>
                    <a:pt x="49" y="608"/>
                    <a:pt x="49" y="608"/>
                  </a:cubicBezTo>
                  <a:cubicBezTo>
                    <a:pt x="47" y="610"/>
                    <a:pt x="47" y="610"/>
                    <a:pt x="47" y="610"/>
                  </a:cubicBezTo>
                  <a:cubicBezTo>
                    <a:pt x="51" y="611"/>
                    <a:pt x="51" y="611"/>
                    <a:pt x="51" y="611"/>
                  </a:cubicBezTo>
                  <a:cubicBezTo>
                    <a:pt x="56" y="610"/>
                    <a:pt x="56" y="610"/>
                    <a:pt x="56" y="610"/>
                  </a:cubicBezTo>
                  <a:cubicBezTo>
                    <a:pt x="56" y="610"/>
                    <a:pt x="56" y="611"/>
                    <a:pt x="57" y="612"/>
                  </a:cubicBezTo>
                  <a:cubicBezTo>
                    <a:pt x="58" y="612"/>
                    <a:pt x="61" y="612"/>
                    <a:pt x="61" y="612"/>
                  </a:cubicBezTo>
                  <a:cubicBezTo>
                    <a:pt x="65" y="610"/>
                    <a:pt x="65" y="610"/>
                    <a:pt x="65" y="610"/>
                  </a:cubicBezTo>
                  <a:cubicBezTo>
                    <a:pt x="67" y="609"/>
                    <a:pt x="67" y="609"/>
                    <a:pt x="67" y="609"/>
                  </a:cubicBezTo>
                  <a:cubicBezTo>
                    <a:pt x="67" y="606"/>
                    <a:pt x="67" y="606"/>
                    <a:pt x="67" y="606"/>
                  </a:cubicBezTo>
                  <a:cubicBezTo>
                    <a:pt x="67" y="606"/>
                    <a:pt x="68" y="604"/>
                    <a:pt x="69" y="604"/>
                  </a:cubicBezTo>
                  <a:cubicBezTo>
                    <a:pt x="69" y="604"/>
                    <a:pt x="72" y="605"/>
                    <a:pt x="72" y="605"/>
                  </a:cubicBezTo>
                  <a:cubicBezTo>
                    <a:pt x="72" y="605"/>
                    <a:pt x="74" y="605"/>
                    <a:pt x="74" y="606"/>
                  </a:cubicBezTo>
                  <a:cubicBezTo>
                    <a:pt x="74" y="606"/>
                    <a:pt x="76" y="607"/>
                    <a:pt x="76" y="607"/>
                  </a:cubicBezTo>
                  <a:cubicBezTo>
                    <a:pt x="79" y="607"/>
                    <a:pt x="79" y="607"/>
                    <a:pt x="79" y="607"/>
                  </a:cubicBezTo>
                  <a:cubicBezTo>
                    <a:pt x="81" y="607"/>
                    <a:pt x="81" y="607"/>
                    <a:pt x="81" y="607"/>
                  </a:cubicBezTo>
                  <a:cubicBezTo>
                    <a:pt x="84" y="606"/>
                    <a:pt x="84" y="606"/>
                    <a:pt x="84" y="606"/>
                  </a:cubicBezTo>
                  <a:cubicBezTo>
                    <a:pt x="84" y="606"/>
                    <a:pt x="83" y="604"/>
                    <a:pt x="84" y="604"/>
                  </a:cubicBezTo>
                  <a:cubicBezTo>
                    <a:pt x="85" y="604"/>
                    <a:pt x="87" y="605"/>
                    <a:pt x="87" y="605"/>
                  </a:cubicBezTo>
                  <a:cubicBezTo>
                    <a:pt x="87" y="605"/>
                    <a:pt x="88" y="606"/>
                    <a:pt x="88" y="606"/>
                  </a:cubicBezTo>
                  <a:cubicBezTo>
                    <a:pt x="89" y="606"/>
                    <a:pt x="91" y="604"/>
                    <a:pt x="90" y="603"/>
                  </a:cubicBezTo>
                  <a:cubicBezTo>
                    <a:pt x="89" y="602"/>
                    <a:pt x="86" y="601"/>
                    <a:pt x="86" y="601"/>
                  </a:cubicBezTo>
                  <a:cubicBezTo>
                    <a:pt x="86" y="601"/>
                    <a:pt x="84" y="599"/>
                    <a:pt x="84" y="598"/>
                  </a:cubicBezTo>
                  <a:cubicBezTo>
                    <a:pt x="84" y="597"/>
                    <a:pt x="83" y="595"/>
                    <a:pt x="82" y="594"/>
                  </a:cubicBezTo>
                  <a:cubicBezTo>
                    <a:pt x="81" y="594"/>
                    <a:pt x="81" y="593"/>
                    <a:pt x="81" y="591"/>
                  </a:cubicBezTo>
                  <a:cubicBezTo>
                    <a:pt x="81" y="589"/>
                    <a:pt x="82" y="588"/>
                    <a:pt x="82" y="588"/>
                  </a:cubicBezTo>
                  <a:cubicBezTo>
                    <a:pt x="82" y="587"/>
                    <a:pt x="81" y="584"/>
                    <a:pt x="81" y="584"/>
                  </a:cubicBezTo>
                  <a:cubicBezTo>
                    <a:pt x="81" y="584"/>
                    <a:pt x="81" y="583"/>
                    <a:pt x="83" y="581"/>
                  </a:cubicBezTo>
                  <a:cubicBezTo>
                    <a:pt x="85" y="579"/>
                    <a:pt x="86" y="578"/>
                    <a:pt x="86" y="579"/>
                  </a:cubicBezTo>
                  <a:cubicBezTo>
                    <a:pt x="87" y="579"/>
                    <a:pt x="89" y="581"/>
                    <a:pt x="89" y="581"/>
                  </a:cubicBezTo>
                  <a:cubicBezTo>
                    <a:pt x="90" y="582"/>
                    <a:pt x="91" y="582"/>
                    <a:pt x="91" y="583"/>
                  </a:cubicBezTo>
                  <a:cubicBezTo>
                    <a:pt x="91" y="583"/>
                    <a:pt x="91" y="584"/>
                    <a:pt x="92" y="584"/>
                  </a:cubicBezTo>
                  <a:cubicBezTo>
                    <a:pt x="93" y="584"/>
                    <a:pt x="94" y="584"/>
                    <a:pt x="94" y="584"/>
                  </a:cubicBezTo>
                  <a:cubicBezTo>
                    <a:pt x="94" y="584"/>
                    <a:pt x="96" y="584"/>
                    <a:pt x="96" y="583"/>
                  </a:cubicBezTo>
                  <a:cubicBezTo>
                    <a:pt x="95" y="583"/>
                    <a:pt x="95" y="580"/>
                    <a:pt x="94" y="580"/>
                  </a:cubicBezTo>
                  <a:cubicBezTo>
                    <a:pt x="94" y="580"/>
                    <a:pt x="93" y="578"/>
                    <a:pt x="93" y="578"/>
                  </a:cubicBezTo>
                  <a:cubicBezTo>
                    <a:pt x="93" y="578"/>
                    <a:pt x="94" y="578"/>
                    <a:pt x="92" y="577"/>
                  </a:cubicBezTo>
                  <a:cubicBezTo>
                    <a:pt x="90" y="575"/>
                    <a:pt x="89" y="575"/>
                    <a:pt x="91" y="574"/>
                  </a:cubicBezTo>
                  <a:cubicBezTo>
                    <a:pt x="92" y="573"/>
                    <a:pt x="95" y="573"/>
                    <a:pt x="95" y="573"/>
                  </a:cubicBezTo>
                  <a:cubicBezTo>
                    <a:pt x="98" y="573"/>
                    <a:pt x="98" y="573"/>
                    <a:pt x="98" y="573"/>
                  </a:cubicBezTo>
                  <a:cubicBezTo>
                    <a:pt x="98" y="573"/>
                    <a:pt x="99" y="572"/>
                    <a:pt x="101" y="572"/>
                  </a:cubicBezTo>
                  <a:cubicBezTo>
                    <a:pt x="102" y="573"/>
                    <a:pt x="105" y="573"/>
                    <a:pt x="105" y="573"/>
                  </a:cubicBezTo>
                  <a:cubicBezTo>
                    <a:pt x="109" y="573"/>
                    <a:pt x="109" y="573"/>
                    <a:pt x="109" y="573"/>
                  </a:cubicBezTo>
                  <a:cubicBezTo>
                    <a:pt x="111" y="571"/>
                    <a:pt x="111" y="571"/>
                    <a:pt x="111" y="571"/>
                  </a:cubicBezTo>
                  <a:cubicBezTo>
                    <a:pt x="114" y="573"/>
                    <a:pt x="114" y="573"/>
                    <a:pt x="114" y="573"/>
                  </a:cubicBezTo>
                  <a:cubicBezTo>
                    <a:pt x="114" y="573"/>
                    <a:pt x="114" y="573"/>
                    <a:pt x="116" y="573"/>
                  </a:cubicBezTo>
                  <a:cubicBezTo>
                    <a:pt x="118" y="574"/>
                    <a:pt x="120" y="572"/>
                    <a:pt x="121" y="572"/>
                  </a:cubicBezTo>
                  <a:cubicBezTo>
                    <a:pt x="121" y="571"/>
                    <a:pt x="124" y="566"/>
                    <a:pt x="124" y="566"/>
                  </a:cubicBezTo>
                  <a:cubicBezTo>
                    <a:pt x="127" y="549"/>
                    <a:pt x="127" y="549"/>
                    <a:pt x="127" y="549"/>
                  </a:cubicBezTo>
                  <a:cubicBezTo>
                    <a:pt x="127" y="549"/>
                    <a:pt x="129" y="547"/>
                    <a:pt x="129" y="547"/>
                  </a:cubicBezTo>
                  <a:cubicBezTo>
                    <a:pt x="129" y="546"/>
                    <a:pt x="129" y="540"/>
                    <a:pt x="129" y="540"/>
                  </a:cubicBezTo>
                  <a:cubicBezTo>
                    <a:pt x="129" y="539"/>
                    <a:pt x="131" y="533"/>
                    <a:pt x="131" y="533"/>
                  </a:cubicBezTo>
                  <a:cubicBezTo>
                    <a:pt x="131" y="533"/>
                    <a:pt x="134" y="531"/>
                    <a:pt x="133" y="528"/>
                  </a:cubicBezTo>
                  <a:cubicBezTo>
                    <a:pt x="131" y="526"/>
                    <a:pt x="130" y="523"/>
                    <a:pt x="130" y="523"/>
                  </a:cubicBezTo>
                  <a:cubicBezTo>
                    <a:pt x="130" y="523"/>
                    <a:pt x="129" y="518"/>
                    <a:pt x="130" y="518"/>
                  </a:cubicBezTo>
                  <a:cubicBezTo>
                    <a:pt x="130" y="517"/>
                    <a:pt x="133" y="513"/>
                    <a:pt x="133" y="513"/>
                  </a:cubicBezTo>
                  <a:cubicBezTo>
                    <a:pt x="130" y="505"/>
                    <a:pt x="130" y="505"/>
                    <a:pt x="130" y="505"/>
                  </a:cubicBezTo>
                  <a:cubicBezTo>
                    <a:pt x="130" y="505"/>
                    <a:pt x="132" y="503"/>
                    <a:pt x="132" y="502"/>
                  </a:cubicBezTo>
                  <a:cubicBezTo>
                    <a:pt x="132" y="502"/>
                    <a:pt x="131" y="495"/>
                    <a:pt x="131" y="495"/>
                  </a:cubicBezTo>
                  <a:cubicBezTo>
                    <a:pt x="130" y="492"/>
                    <a:pt x="130" y="492"/>
                    <a:pt x="130" y="492"/>
                  </a:cubicBezTo>
                  <a:cubicBezTo>
                    <a:pt x="130" y="492"/>
                    <a:pt x="133" y="489"/>
                    <a:pt x="133" y="488"/>
                  </a:cubicBezTo>
                  <a:cubicBezTo>
                    <a:pt x="133" y="487"/>
                    <a:pt x="132" y="483"/>
                    <a:pt x="132" y="483"/>
                  </a:cubicBezTo>
                  <a:cubicBezTo>
                    <a:pt x="131" y="478"/>
                    <a:pt x="131" y="478"/>
                    <a:pt x="131" y="478"/>
                  </a:cubicBezTo>
                  <a:cubicBezTo>
                    <a:pt x="131" y="478"/>
                    <a:pt x="132" y="477"/>
                    <a:pt x="132" y="476"/>
                  </a:cubicBezTo>
                  <a:cubicBezTo>
                    <a:pt x="131" y="475"/>
                    <a:pt x="130" y="474"/>
                    <a:pt x="130" y="474"/>
                  </a:cubicBezTo>
                  <a:cubicBezTo>
                    <a:pt x="129" y="472"/>
                    <a:pt x="129" y="472"/>
                    <a:pt x="129" y="472"/>
                  </a:cubicBezTo>
                  <a:cubicBezTo>
                    <a:pt x="130" y="471"/>
                    <a:pt x="130" y="471"/>
                    <a:pt x="130" y="471"/>
                  </a:cubicBezTo>
                  <a:cubicBezTo>
                    <a:pt x="133" y="469"/>
                    <a:pt x="133" y="469"/>
                    <a:pt x="133" y="469"/>
                  </a:cubicBezTo>
                  <a:cubicBezTo>
                    <a:pt x="131" y="465"/>
                    <a:pt x="131" y="465"/>
                    <a:pt x="131" y="465"/>
                  </a:cubicBezTo>
                  <a:cubicBezTo>
                    <a:pt x="128" y="464"/>
                    <a:pt x="128" y="464"/>
                    <a:pt x="128" y="464"/>
                  </a:cubicBezTo>
                  <a:cubicBezTo>
                    <a:pt x="128" y="464"/>
                    <a:pt x="128" y="462"/>
                    <a:pt x="129" y="462"/>
                  </a:cubicBezTo>
                  <a:cubicBezTo>
                    <a:pt x="130" y="462"/>
                    <a:pt x="136" y="459"/>
                    <a:pt x="136" y="459"/>
                  </a:cubicBezTo>
                  <a:cubicBezTo>
                    <a:pt x="136" y="459"/>
                    <a:pt x="138" y="456"/>
                    <a:pt x="138" y="456"/>
                  </a:cubicBezTo>
                  <a:cubicBezTo>
                    <a:pt x="139" y="456"/>
                    <a:pt x="145" y="452"/>
                    <a:pt x="145" y="452"/>
                  </a:cubicBezTo>
                  <a:cubicBezTo>
                    <a:pt x="145" y="452"/>
                    <a:pt x="145" y="449"/>
                    <a:pt x="145" y="449"/>
                  </a:cubicBezTo>
                  <a:cubicBezTo>
                    <a:pt x="146" y="448"/>
                    <a:pt x="146" y="447"/>
                    <a:pt x="146" y="446"/>
                  </a:cubicBezTo>
                  <a:cubicBezTo>
                    <a:pt x="146" y="446"/>
                    <a:pt x="145" y="439"/>
                    <a:pt x="145" y="436"/>
                  </a:cubicBezTo>
                  <a:cubicBezTo>
                    <a:pt x="146" y="434"/>
                    <a:pt x="147" y="438"/>
                    <a:pt x="147" y="438"/>
                  </a:cubicBezTo>
                  <a:cubicBezTo>
                    <a:pt x="149" y="440"/>
                    <a:pt x="149" y="440"/>
                    <a:pt x="149" y="440"/>
                  </a:cubicBezTo>
                  <a:cubicBezTo>
                    <a:pt x="148" y="446"/>
                    <a:pt x="148" y="446"/>
                    <a:pt x="148" y="446"/>
                  </a:cubicBezTo>
                  <a:cubicBezTo>
                    <a:pt x="151" y="446"/>
                    <a:pt x="151" y="446"/>
                    <a:pt x="151" y="446"/>
                  </a:cubicBezTo>
                  <a:cubicBezTo>
                    <a:pt x="151" y="449"/>
                    <a:pt x="151" y="449"/>
                    <a:pt x="151" y="449"/>
                  </a:cubicBezTo>
                  <a:cubicBezTo>
                    <a:pt x="151" y="449"/>
                    <a:pt x="150" y="451"/>
                    <a:pt x="151" y="451"/>
                  </a:cubicBezTo>
                  <a:cubicBezTo>
                    <a:pt x="152" y="450"/>
                    <a:pt x="153" y="450"/>
                    <a:pt x="153" y="450"/>
                  </a:cubicBezTo>
                  <a:cubicBezTo>
                    <a:pt x="153" y="445"/>
                    <a:pt x="153" y="445"/>
                    <a:pt x="153" y="445"/>
                  </a:cubicBezTo>
                  <a:cubicBezTo>
                    <a:pt x="153" y="445"/>
                    <a:pt x="156" y="445"/>
                    <a:pt x="156" y="444"/>
                  </a:cubicBezTo>
                  <a:cubicBezTo>
                    <a:pt x="156" y="443"/>
                    <a:pt x="155" y="441"/>
                    <a:pt x="156" y="441"/>
                  </a:cubicBezTo>
                  <a:cubicBezTo>
                    <a:pt x="161" y="441"/>
                    <a:pt x="158" y="441"/>
                    <a:pt x="161" y="439"/>
                  </a:cubicBezTo>
                  <a:cubicBezTo>
                    <a:pt x="161" y="439"/>
                    <a:pt x="163" y="436"/>
                    <a:pt x="163" y="435"/>
                  </a:cubicBezTo>
                  <a:cubicBezTo>
                    <a:pt x="163" y="435"/>
                    <a:pt x="164" y="433"/>
                    <a:pt x="164" y="433"/>
                  </a:cubicBezTo>
                  <a:lnTo>
                    <a:pt x="162" y="432"/>
                  </a:ln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8"/>
            <p:cNvSpPr>
              <a:spLocks/>
            </p:cNvSpPr>
            <p:nvPr/>
          </p:nvSpPr>
          <p:spPr bwMode="auto">
            <a:xfrm>
              <a:off x="6197478" y="3388877"/>
              <a:ext cx="414470" cy="298190"/>
            </a:xfrm>
            <a:custGeom>
              <a:avLst/>
              <a:gdLst>
                <a:gd name="T0" fmla="*/ 84 w 143"/>
                <a:gd name="T1" fmla="*/ 108 h 109"/>
                <a:gd name="T2" fmla="*/ 103 w 143"/>
                <a:gd name="T3" fmla="*/ 104 h 109"/>
                <a:gd name="T4" fmla="*/ 107 w 143"/>
                <a:gd name="T5" fmla="*/ 97 h 109"/>
                <a:gd name="T6" fmla="*/ 113 w 143"/>
                <a:gd name="T7" fmla="*/ 93 h 109"/>
                <a:gd name="T8" fmla="*/ 115 w 143"/>
                <a:gd name="T9" fmla="*/ 90 h 109"/>
                <a:gd name="T10" fmla="*/ 123 w 143"/>
                <a:gd name="T11" fmla="*/ 85 h 109"/>
                <a:gd name="T12" fmla="*/ 124 w 143"/>
                <a:gd name="T13" fmla="*/ 72 h 109"/>
                <a:gd name="T14" fmla="*/ 124 w 143"/>
                <a:gd name="T15" fmla="*/ 59 h 109"/>
                <a:gd name="T16" fmla="*/ 132 w 143"/>
                <a:gd name="T17" fmla="*/ 47 h 109"/>
                <a:gd name="T18" fmla="*/ 140 w 143"/>
                <a:gd name="T19" fmla="*/ 41 h 109"/>
                <a:gd name="T20" fmla="*/ 135 w 143"/>
                <a:gd name="T21" fmla="*/ 39 h 109"/>
                <a:gd name="T22" fmla="*/ 135 w 143"/>
                <a:gd name="T23" fmla="*/ 23 h 109"/>
                <a:gd name="T24" fmla="*/ 130 w 143"/>
                <a:gd name="T25" fmla="*/ 22 h 109"/>
                <a:gd name="T26" fmla="*/ 123 w 143"/>
                <a:gd name="T27" fmla="*/ 17 h 109"/>
                <a:gd name="T28" fmla="*/ 116 w 143"/>
                <a:gd name="T29" fmla="*/ 11 h 109"/>
                <a:gd name="T30" fmla="*/ 109 w 143"/>
                <a:gd name="T31" fmla="*/ 8 h 109"/>
                <a:gd name="T32" fmla="*/ 97 w 143"/>
                <a:gd name="T33" fmla="*/ 10 h 109"/>
                <a:gd name="T34" fmla="*/ 90 w 143"/>
                <a:gd name="T35" fmla="*/ 4 h 109"/>
                <a:gd name="T36" fmla="*/ 82 w 143"/>
                <a:gd name="T37" fmla="*/ 7 h 109"/>
                <a:gd name="T38" fmla="*/ 74 w 143"/>
                <a:gd name="T39" fmla="*/ 11 h 109"/>
                <a:gd name="T40" fmla="*/ 60 w 143"/>
                <a:gd name="T41" fmla="*/ 10 h 109"/>
                <a:gd name="T42" fmla="*/ 50 w 143"/>
                <a:gd name="T43" fmla="*/ 11 h 109"/>
                <a:gd name="T44" fmla="*/ 42 w 143"/>
                <a:gd name="T45" fmla="*/ 11 h 109"/>
                <a:gd name="T46" fmla="*/ 27 w 143"/>
                <a:gd name="T47" fmla="*/ 15 h 109"/>
                <a:gd name="T48" fmla="*/ 15 w 143"/>
                <a:gd name="T49" fmla="*/ 21 h 109"/>
                <a:gd name="T50" fmla="*/ 7 w 143"/>
                <a:gd name="T51" fmla="*/ 26 h 109"/>
                <a:gd name="T52" fmla="*/ 1 w 143"/>
                <a:gd name="T53" fmla="*/ 34 h 109"/>
                <a:gd name="T54" fmla="*/ 3 w 143"/>
                <a:gd name="T55" fmla="*/ 43 h 109"/>
                <a:gd name="T56" fmla="*/ 9 w 143"/>
                <a:gd name="T57" fmla="*/ 55 h 109"/>
                <a:gd name="T58" fmla="*/ 12 w 143"/>
                <a:gd name="T59" fmla="*/ 64 h 109"/>
                <a:gd name="T60" fmla="*/ 14 w 143"/>
                <a:gd name="T61" fmla="*/ 64 h 109"/>
                <a:gd name="T62" fmla="*/ 16 w 143"/>
                <a:gd name="T63" fmla="*/ 65 h 109"/>
                <a:gd name="T64" fmla="*/ 26 w 143"/>
                <a:gd name="T65" fmla="*/ 70 h 109"/>
                <a:gd name="T66" fmla="*/ 39 w 143"/>
                <a:gd name="T67" fmla="*/ 68 h 109"/>
                <a:gd name="T68" fmla="*/ 50 w 143"/>
                <a:gd name="T69" fmla="*/ 70 h 109"/>
                <a:gd name="T70" fmla="*/ 56 w 143"/>
                <a:gd name="T71" fmla="*/ 76 h 109"/>
                <a:gd name="T72" fmla="*/ 55 w 143"/>
                <a:gd name="T73" fmla="*/ 83 h 109"/>
                <a:gd name="T74" fmla="*/ 57 w 143"/>
                <a:gd name="T75" fmla="*/ 95 h 109"/>
                <a:gd name="T76" fmla="*/ 58 w 143"/>
                <a:gd name="T77" fmla="*/ 95 h 109"/>
                <a:gd name="T78" fmla="*/ 60 w 143"/>
                <a:gd name="T79" fmla="*/ 93 h 109"/>
                <a:gd name="T80" fmla="*/ 63 w 143"/>
                <a:gd name="T81" fmla="*/ 94 h 109"/>
                <a:gd name="T82" fmla="*/ 65 w 143"/>
                <a:gd name="T83" fmla="*/ 97 h 109"/>
                <a:gd name="T84" fmla="*/ 69 w 143"/>
                <a:gd name="T85" fmla="*/ 97 h 109"/>
                <a:gd name="T86" fmla="*/ 79 w 143"/>
                <a:gd name="T87" fmla="*/ 10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3" h="109">
                  <a:moveTo>
                    <a:pt x="79" y="106"/>
                  </a:moveTo>
                  <a:cubicBezTo>
                    <a:pt x="80" y="109"/>
                    <a:pt x="80" y="109"/>
                    <a:pt x="80" y="109"/>
                  </a:cubicBezTo>
                  <a:cubicBezTo>
                    <a:pt x="84" y="108"/>
                    <a:pt x="84" y="108"/>
                    <a:pt x="84" y="108"/>
                  </a:cubicBezTo>
                  <a:cubicBezTo>
                    <a:pt x="93" y="104"/>
                    <a:pt x="93" y="104"/>
                    <a:pt x="93" y="104"/>
                  </a:cubicBezTo>
                  <a:cubicBezTo>
                    <a:pt x="98" y="105"/>
                    <a:pt x="98" y="105"/>
                    <a:pt x="98" y="105"/>
                  </a:cubicBezTo>
                  <a:cubicBezTo>
                    <a:pt x="103" y="104"/>
                    <a:pt x="103" y="104"/>
                    <a:pt x="103" y="104"/>
                  </a:cubicBezTo>
                  <a:cubicBezTo>
                    <a:pt x="106" y="101"/>
                    <a:pt x="106" y="101"/>
                    <a:pt x="106" y="101"/>
                  </a:cubicBezTo>
                  <a:cubicBezTo>
                    <a:pt x="108" y="101"/>
                    <a:pt x="108" y="101"/>
                    <a:pt x="108" y="101"/>
                  </a:cubicBezTo>
                  <a:cubicBezTo>
                    <a:pt x="107" y="97"/>
                    <a:pt x="107" y="97"/>
                    <a:pt x="107" y="97"/>
                  </a:cubicBezTo>
                  <a:cubicBezTo>
                    <a:pt x="107" y="97"/>
                    <a:pt x="107" y="97"/>
                    <a:pt x="107" y="97"/>
                  </a:cubicBezTo>
                  <a:cubicBezTo>
                    <a:pt x="107" y="96"/>
                    <a:pt x="108" y="93"/>
                    <a:pt x="111" y="93"/>
                  </a:cubicBezTo>
                  <a:cubicBezTo>
                    <a:pt x="112" y="93"/>
                    <a:pt x="112" y="93"/>
                    <a:pt x="113" y="93"/>
                  </a:cubicBezTo>
                  <a:cubicBezTo>
                    <a:pt x="114" y="93"/>
                    <a:pt x="114" y="93"/>
                    <a:pt x="114" y="93"/>
                  </a:cubicBezTo>
                  <a:cubicBezTo>
                    <a:pt x="115" y="92"/>
                    <a:pt x="115" y="92"/>
                    <a:pt x="115" y="92"/>
                  </a:cubicBezTo>
                  <a:cubicBezTo>
                    <a:pt x="115" y="90"/>
                    <a:pt x="115" y="90"/>
                    <a:pt x="115" y="90"/>
                  </a:cubicBezTo>
                  <a:cubicBezTo>
                    <a:pt x="122" y="87"/>
                    <a:pt x="122" y="87"/>
                    <a:pt x="122" y="87"/>
                  </a:cubicBezTo>
                  <a:cubicBezTo>
                    <a:pt x="123" y="85"/>
                    <a:pt x="123" y="85"/>
                    <a:pt x="123" y="85"/>
                  </a:cubicBezTo>
                  <a:cubicBezTo>
                    <a:pt x="123" y="85"/>
                    <a:pt x="123" y="85"/>
                    <a:pt x="123" y="85"/>
                  </a:cubicBezTo>
                  <a:cubicBezTo>
                    <a:pt x="123" y="84"/>
                    <a:pt x="122" y="83"/>
                    <a:pt x="123" y="82"/>
                  </a:cubicBezTo>
                  <a:cubicBezTo>
                    <a:pt x="124" y="76"/>
                    <a:pt x="124" y="76"/>
                    <a:pt x="124" y="76"/>
                  </a:cubicBezTo>
                  <a:cubicBezTo>
                    <a:pt x="124" y="72"/>
                    <a:pt x="124" y="72"/>
                    <a:pt x="124" y="72"/>
                  </a:cubicBezTo>
                  <a:cubicBezTo>
                    <a:pt x="123" y="65"/>
                    <a:pt x="123" y="65"/>
                    <a:pt x="123" y="65"/>
                  </a:cubicBezTo>
                  <a:cubicBezTo>
                    <a:pt x="124" y="62"/>
                    <a:pt x="124" y="62"/>
                    <a:pt x="124" y="62"/>
                  </a:cubicBezTo>
                  <a:cubicBezTo>
                    <a:pt x="124" y="59"/>
                    <a:pt x="124" y="59"/>
                    <a:pt x="124" y="59"/>
                  </a:cubicBezTo>
                  <a:cubicBezTo>
                    <a:pt x="126" y="55"/>
                    <a:pt x="126" y="55"/>
                    <a:pt x="126" y="55"/>
                  </a:cubicBezTo>
                  <a:cubicBezTo>
                    <a:pt x="132" y="52"/>
                    <a:pt x="132" y="52"/>
                    <a:pt x="132" y="52"/>
                  </a:cubicBezTo>
                  <a:cubicBezTo>
                    <a:pt x="132" y="47"/>
                    <a:pt x="132" y="47"/>
                    <a:pt x="132" y="47"/>
                  </a:cubicBezTo>
                  <a:cubicBezTo>
                    <a:pt x="136" y="43"/>
                    <a:pt x="136" y="43"/>
                    <a:pt x="136" y="43"/>
                  </a:cubicBezTo>
                  <a:cubicBezTo>
                    <a:pt x="141" y="43"/>
                    <a:pt x="141" y="43"/>
                    <a:pt x="141" y="43"/>
                  </a:cubicBezTo>
                  <a:cubicBezTo>
                    <a:pt x="140" y="41"/>
                    <a:pt x="140" y="41"/>
                    <a:pt x="140" y="41"/>
                  </a:cubicBezTo>
                  <a:cubicBezTo>
                    <a:pt x="143" y="40"/>
                    <a:pt x="143" y="40"/>
                    <a:pt x="143" y="40"/>
                  </a:cubicBezTo>
                  <a:cubicBezTo>
                    <a:pt x="139" y="41"/>
                    <a:pt x="139" y="41"/>
                    <a:pt x="139" y="41"/>
                  </a:cubicBezTo>
                  <a:cubicBezTo>
                    <a:pt x="135" y="39"/>
                    <a:pt x="135" y="39"/>
                    <a:pt x="135" y="39"/>
                  </a:cubicBezTo>
                  <a:cubicBezTo>
                    <a:pt x="135" y="33"/>
                    <a:pt x="135" y="33"/>
                    <a:pt x="135" y="33"/>
                  </a:cubicBezTo>
                  <a:cubicBezTo>
                    <a:pt x="136" y="29"/>
                    <a:pt x="136" y="29"/>
                    <a:pt x="136" y="29"/>
                  </a:cubicBezTo>
                  <a:cubicBezTo>
                    <a:pt x="135" y="23"/>
                    <a:pt x="135" y="23"/>
                    <a:pt x="135" y="23"/>
                  </a:cubicBezTo>
                  <a:cubicBezTo>
                    <a:pt x="135" y="23"/>
                    <a:pt x="135" y="22"/>
                    <a:pt x="135" y="22"/>
                  </a:cubicBezTo>
                  <a:cubicBezTo>
                    <a:pt x="135" y="22"/>
                    <a:pt x="135" y="22"/>
                    <a:pt x="135" y="22"/>
                  </a:cubicBezTo>
                  <a:cubicBezTo>
                    <a:pt x="130" y="22"/>
                    <a:pt x="130" y="22"/>
                    <a:pt x="130" y="22"/>
                  </a:cubicBezTo>
                  <a:cubicBezTo>
                    <a:pt x="127" y="21"/>
                    <a:pt x="127" y="21"/>
                    <a:pt x="127" y="21"/>
                  </a:cubicBezTo>
                  <a:cubicBezTo>
                    <a:pt x="125" y="18"/>
                    <a:pt x="125" y="18"/>
                    <a:pt x="125" y="18"/>
                  </a:cubicBezTo>
                  <a:cubicBezTo>
                    <a:pt x="123" y="17"/>
                    <a:pt x="123" y="17"/>
                    <a:pt x="123" y="17"/>
                  </a:cubicBezTo>
                  <a:cubicBezTo>
                    <a:pt x="121" y="15"/>
                    <a:pt x="121" y="15"/>
                    <a:pt x="121" y="15"/>
                  </a:cubicBezTo>
                  <a:cubicBezTo>
                    <a:pt x="118" y="14"/>
                    <a:pt x="118" y="14"/>
                    <a:pt x="118" y="14"/>
                  </a:cubicBezTo>
                  <a:cubicBezTo>
                    <a:pt x="116" y="11"/>
                    <a:pt x="116" y="11"/>
                    <a:pt x="116" y="11"/>
                  </a:cubicBezTo>
                  <a:cubicBezTo>
                    <a:pt x="112" y="11"/>
                    <a:pt x="112" y="11"/>
                    <a:pt x="112" y="11"/>
                  </a:cubicBezTo>
                  <a:cubicBezTo>
                    <a:pt x="109" y="9"/>
                    <a:pt x="109" y="9"/>
                    <a:pt x="109" y="9"/>
                  </a:cubicBezTo>
                  <a:cubicBezTo>
                    <a:pt x="109" y="8"/>
                    <a:pt x="109" y="8"/>
                    <a:pt x="109" y="8"/>
                  </a:cubicBezTo>
                  <a:cubicBezTo>
                    <a:pt x="106" y="8"/>
                    <a:pt x="106" y="8"/>
                    <a:pt x="106" y="8"/>
                  </a:cubicBezTo>
                  <a:cubicBezTo>
                    <a:pt x="103" y="8"/>
                    <a:pt x="103" y="8"/>
                    <a:pt x="103" y="8"/>
                  </a:cubicBezTo>
                  <a:cubicBezTo>
                    <a:pt x="97" y="10"/>
                    <a:pt x="97" y="10"/>
                    <a:pt x="97" y="10"/>
                  </a:cubicBezTo>
                  <a:cubicBezTo>
                    <a:pt x="94" y="8"/>
                    <a:pt x="94" y="8"/>
                    <a:pt x="94" y="8"/>
                  </a:cubicBezTo>
                  <a:cubicBezTo>
                    <a:pt x="94" y="7"/>
                    <a:pt x="94" y="7"/>
                    <a:pt x="94" y="7"/>
                  </a:cubicBezTo>
                  <a:cubicBezTo>
                    <a:pt x="90" y="4"/>
                    <a:pt x="90" y="4"/>
                    <a:pt x="90" y="4"/>
                  </a:cubicBezTo>
                  <a:cubicBezTo>
                    <a:pt x="88" y="0"/>
                    <a:pt x="88" y="0"/>
                    <a:pt x="88" y="0"/>
                  </a:cubicBezTo>
                  <a:cubicBezTo>
                    <a:pt x="88" y="0"/>
                    <a:pt x="85" y="2"/>
                    <a:pt x="85" y="2"/>
                  </a:cubicBezTo>
                  <a:cubicBezTo>
                    <a:pt x="84" y="2"/>
                    <a:pt x="82" y="7"/>
                    <a:pt x="82" y="7"/>
                  </a:cubicBezTo>
                  <a:cubicBezTo>
                    <a:pt x="81" y="9"/>
                    <a:pt x="81" y="9"/>
                    <a:pt x="81" y="9"/>
                  </a:cubicBezTo>
                  <a:cubicBezTo>
                    <a:pt x="77" y="8"/>
                    <a:pt x="77" y="8"/>
                    <a:pt x="77" y="8"/>
                  </a:cubicBezTo>
                  <a:cubicBezTo>
                    <a:pt x="77" y="8"/>
                    <a:pt x="74" y="11"/>
                    <a:pt x="74" y="11"/>
                  </a:cubicBezTo>
                  <a:cubicBezTo>
                    <a:pt x="73" y="12"/>
                    <a:pt x="70" y="10"/>
                    <a:pt x="70" y="10"/>
                  </a:cubicBezTo>
                  <a:cubicBezTo>
                    <a:pt x="65" y="10"/>
                    <a:pt x="65" y="10"/>
                    <a:pt x="65" y="10"/>
                  </a:cubicBezTo>
                  <a:cubicBezTo>
                    <a:pt x="65" y="10"/>
                    <a:pt x="60" y="10"/>
                    <a:pt x="60" y="10"/>
                  </a:cubicBezTo>
                  <a:cubicBezTo>
                    <a:pt x="59" y="9"/>
                    <a:pt x="59" y="11"/>
                    <a:pt x="59" y="11"/>
                  </a:cubicBezTo>
                  <a:cubicBezTo>
                    <a:pt x="55" y="11"/>
                    <a:pt x="55" y="11"/>
                    <a:pt x="55" y="11"/>
                  </a:cubicBezTo>
                  <a:cubicBezTo>
                    <a:pt x="50" y="11"/>
                    <a:pt x="50" y="11"/>
                    <a:pt x="50" y="11"/>
                  </a:cubicBezTo>
                  <a:cubicBezTo>
                    <a:pt x="50" y="11"/>
                    <a:pt x="49" y="15"/>
                    <a:pt x="48" y="16"/>
                  </a:cubicBezTo>
                  <a:cubicBezTo>
                    <a:pt x="47" y="16"/>
                    <a:pt x="45" y="13"/>
                    <a:pt x="44" y="12"/>
                  </a:cubicBezTo>
                  <a:cubicBezTo>
                    <a:pt x="44" y="12"/>
                    <a:pt x="42" y="11"/>
                    <a:pt x="42" y="11"/>
                  </a:cubicBezTo>
                  <a:cubicBezTo>
                    <a:pt x="39" y="13"/>
                    <a:pt x="39" y="13"/>
                    <a:pt x="39" y="13"/>
                  </a:cubicBezTo>
                  <a:cubicBezTo>
                    <a:pt x="39" y="13"/>
                    <a:pt x="33" y="14"/>
                    <a:pt x="32" y="14"/>
                  </a:cubicBezTo>
                  <a:cubicBezTo>
                    <a:pt x="32" y="14"/>
                    <a:pt x="27" y="15"/>
                    <a:pt x="27" y="15"/>
                  </a:cubicBezTo>
                  <a:cubicBezTo>
                    <a:pt x="22" y="15"/>
                    <a:pt x="22" y="15"/>
                    <a:pt x="22" y="15"/>
                  </a:cubicBezTo>
                  <a:cubicBezTo>
                    <a:pt x="20" y="18"/>
                    <a:pt x="20" y="18"/>
                    <a:pt x="20" y="18"/>
                  </a:cubicBezTo>
                  <a:cubicBezTo>
                    <a:pt x="15" y="21"/>
                    <a:pt x="15" y="21"/>
                    <a:pt x="15" y="21"/>
                  </a:cubicBezTo>
                  <a:cubicBezTo>
                    <a:pt x="12" y="21"/>
                    <a:pt x="12" y="21"/>
                    <a:pt x="12" y="21"/>
                  </a:cubicBezTo>
                  <a:cubicBezTo>
                    <a:pt x="10" y="24"/>
                    <a:pt x="10" y="24"/>
                    <a:pt x="10" y="24"/>
                  </a:cubicBezTo>
                  <a:cubicBezTo>
                    <a:pt x="7" y="26"/>
                    <a:pt x="7" y="26"/>
                    <a:pt x="7" y="26"/>
                  </a:cubicBezTo>
                  <a:cubicBezTo>
                    <a:pt x="5" y="28"/>
                    <a:pt x="5" y="28"/>
                    <a:pt x="5" y="28"/>
                  </a:cubicBezTo>
                  <a:cubicBezTo>
                    <a:pt x="5" y="32"/>
                    <a:pt x="5" y="32"/>
                    <a:pt x="5" y="32"/>
                  </a:cubicBezTo>
                  <a:cubicBezTo>
                    <a:pt x="5" y="32"/>
                    <a:pt x="3" y="33"/>
                    <a:pt x="1" y="34"/>
                  </a:cubicBezTo>
                  <a:cubicBezTo>
                    <a:pt x="0" y="34"/>
                    <a:pt x="2" y="35"/>
                    <a:pt x="2" y="35"/>
                  </a:cubicBezTo>
                  <a:cubicBezTo>
                    <a:pt x="1" y="39"/>
                    <a:pt x="1" y="39"/>
                    <a:pt x="1" y="39"/>
                  </a:cubicBezTo>
                  <a:cubicBezTo>
                    <a:pt x="3" y="43"/>
                    <a:pt x="3" y="43"/>
                    <a:pt x="3" y="43"/>
                  </a:cubicBezTo>
                  <a:cubicBezTo>
                    <a:pt x="4" y="48"/>
                    <a:pt x="4" y="48"/>
                    <a:pt x="4" y="48"/>
                  </a:cubicBezTo>
                  <a:cubicBezTo>
                    <a:pt x="5" y="51"/>
                    <a:pt x="5" y="51"/>
                    <a:pt x="5" y="51"/>
                  </a:cubicBezTo>
                  <a:cubicBezTo>
                    <a:pt x="9" y="55"/>
                    <a:pt x="9" y="55"/>
                    <a:pt x="9" y="55"/>
                  </a:cubicBezTo>
                  <a:cubicBezTo>
                    <a:pt x="10" y="59"/>
                    <a:pt x="10" y="59"/>
                    <a:pt x="10" y="59"/>
                  </a:cubicBezTo>
                  <a:cubicBezTo>
                    <a:pt x="11" y="63"/>
                    <a:pt x="11" y="63"/>
                    <a:pt x="11" y="63"/>
                  </a:cubicBezTo>
                  <a:cubicBezTo>
                    <a:pt x="12" y="64"/>
                    <a:pt x="12" y="64"/>
                    <a:pt x="12" y="64"/>
                  </a:cubicBezTo>
                  <a:cubicBezTo>
                    <a:pt x="13" y="64"/>
                    <a:pt x="13" y="64"/>
                    <a:pt x="13" y="64"/>
                  </a:cubicBezTo>
                  <a:cubicBezTo>
                    <a:pt x="13" y="64"/>
                    <a:pt x="13" y="64"/>
                    <a:pt x="13" y="64"/>
                  </a:cubicBezTo>
                  <a:cubicBezTo>
                    <a:pt x="14" y="64"/>
                    <a:pt x="14" y="64"/>
                    <a:pt x="14" y="64"/>
                  </a:cubicBezTo>
                  <a:cubicBezTo>
                    <a:pt x="14" y="64"/>
                    <a:pt x="14" y="64"/>
                    <a:pt x="15" y="64"/>
                  </a:cubicBezTo>
                  <a:cubicBezTo>
                    <a:pt x="16" y="64"/>
                    <a:pt x="16" y="64"/>
                    <a:pt x="16" y="64"/>
                  </a:cubicBezTo>
                  <a:cubicBezTo>
                    <a:pt x="16" y="65"/>
                    <a:pt x="16" y="65"/>
                    <a:pt x="16" y="65"/>
                  </a:cubicBezTo>
                  <a:cubicBezTo>
                    <a:pt x="19" y="67"/>
                    <a:pt x="19" y="67"/>
                    <a:pt x="19" y="67"/>
                  </a:cubicBezTo>
                  <a:cubicBezTo>
                    <a:pt x="21" y="67"/>
                    <a:pt x="21" y="67"/>
                    <a:pt x="21" y="67"/>
                  </a:cubicBezTo>
                  <a:cubicBezTo>
                    <a:pt x="26" y="70"/>
                    <a:pt x="26" y="70"/>
                    <a:pt x="26" y="70"/>
                  </a:cubicBezTo>
                  <a:cubicBezTo>
                    <a:pt x="34" y="71"/>
                    <a:pt x="34" y="71"/>
                    <a:pt x="34" y="71"/>
                  </a:cubicBezTo>
                  <a:cubicBezTo>
                    <a:pt x="35" y="69"/>
                    <a:pt x="35" y="69"/>
                    <a:pt x="35" y="69"/>
                  </a:cubicBezTo>
                  <a:cubicBezTo>
                    <a:pt x="39" y="68"/>
                    <a:pt x="39" y="68"/>
                    <a:pt x="39" y="68"/>
                  </a:cubicBezTo>
                  <a:cubicBezTo>
                    <a:pt x="46" y="66"/>
                    <a:pt x="46" y="66"/>
                    <a:pt x="46" y="66"/>
                  </a:cubicBezTo>
                  <a:cubicBezTo>
                    <a:pt x="49" y="70"/>
                    <a:pt x="49" y="70"/>
                    <a:pt x="49" y="70"/>
                  </a:cubicBezTo>
                  <a:cubicBezTo>
                    <a:pt x="50" y="70"/>
                    <a:pt x="50" y="70"/>
                    <a:pt x="50" y="70"/>
                  </a:cubicBezTo>
                  <a:cubicBezTo>
                    <a:pt x="50" y="70"/>
                    <a:pt x="50" y="70"/>
                    <a:pt x="50" y="70"/>
                  </a:cubicBezTo>
                  <a:cubicBezTo>
                    <a:pt x="51" y="71"/>
                    <a:pt x="53" y="73"/>
                    <a:pt x="54" y="74"/>
                  </a:cubicBezTo>
                  <a:cubicBezTo>
                    <a:pt x="55" y="75"/>
                    <a:pt x="56" y="76"/>
                    <a:pt x="56" y="76"/>
                  </a:cubicBezTo>
                  <a:cubicBezTo>
                    <a:pt x="56" y="76"/>
                    <a:pt x="56" y="76"/>
                    <a:pt x="56" y="76"/>
                  </a:cubicBezTo>
                  <a:cubicBezTo>
                    <a:pt x="57" y="77"/>
                    <a:pt x="57" y="77"/>
                    <a:pt x="57" y="77"/>
                  </a:cubicBezTo>
                  <a:cubicBezTo>
                    <a:pt x="55" y="83"/>
                    <a:pt x="55" y="83"/>
                    <a:pt x="55" y="83"/>
                  </a:cubicBezTo>
                  <a:cubicBezTo>
                    <a:pt x="56" y="86"/>
                    <a:pt x="56" y="86"/>
                    <a:pt x="56" y="86"/>
                  </a:cubicBezTo>
                  <a:cubicBezTo>
                    <a:pt x="55" y="93"/>
                    <a:pt x="55" y="93"/>
                    <a:pt x="55" y="93"/>
                  </a:cubicBezTo>
                  <a:cubicBezTo>
                    <a:pt x="57" y="95"/>
                    <a:pt x="57" y="95"/>
                    <a:pt x="57" y="95"/>
                  </a:cubicBezTo>
                  <a:cubicBezTo>
                    <a:pt x="57" y="95"/>
                    <a:pt x="57" y="95"/>
                    <a:pt x="57" y="95"/>
                  </a:cubicBezTo>
                  <a:cubicBezTo>
                    <a:pt x="57" y="95"/>
                    <a:pt x="57" y="95"/>
                    <a:pt x="57" y="95"/>
                  </a:cubicBezTo>
                  <a:cubicBezTo>
                    <a:pt x="58" y="95"/>
                    <a:pt x="58" y="95"/>
                    <a:pt x="58" y="95"/>
                  </a:cubicBezTo>
                  <a:cubicBezTo>
                    <a:pt x="59" y="94"/>
                    <a:pt x="59" y="94"/>
                    <a:pt x="60" y="93"/>
                  </a:cubicBezTo>
                  <a:cubicBezTo>
                    <a:pt x="60" y="93"/>
                    <a:pt x="60" y="93"/>
                    <a:pt x="60" y="93"/>
                  </a:cubicBezTo>
                  <a:cubicBezTo>
                    <a:pt x="60" y="93"/>
                    <a:pt x="60" y="93"/>
                    <a:pt x="60" y="93"/>
                  </a:cubicBezTo>
                  <a:cubicBezTo>
                    <a:pt x="61" y="93"/>
                    <a:pt x="61" y="93"/>
                    <a:pt x="61" y="93"/>
                  </a:cubicBezTo>
                  <a:cubicBezTo>
                    <a:pt x="61" y="93"/>
                    <a:pt x="61" y="93"/>
                    <a:pt x="61" y="93"/>
                  </a:cubicBezTo>
                  <a:cubicBezTo>
                    <a:pt x="62" y="93"/>
                    <a:pt x="63" y="94"/>
                    <a:pt x="63" y="94"/>
                  </a:cubicBezTo>
                  <a:cubicBezTo>
                    <a:pt x="64" y="95"/>
                    <a:pt x="64" y="95"/>
                    <a:pt x="64" y="95"/>
                  </a:cubicBezTo>
                  <a:cubicBezTo>
                    <a:pt x="64" y="95"/>
                    <a:pt x="64" y="95"/>
                    <a:pt x="64" y="95"/>
                  </a:cubicBezTo>
                  <a:cubicBezTo>
                    <a:pt x="64" y="96"/>
                    <a:pt x="64" y="96"/>
                    <a:pt x="65" y="97"/>
                  </a:cubicBezTo>
                  <a:cubicBezTo>
                    <a:pt x="65" y="97"/>
                    <a:pt x="65" y="97"/>
                    <a:pt x="65" y="97"/>
                  </a:cubicBezTo>
                  <a:cubicBezTo>
                    <a:pt x="65" y="97"/>
                    <a:pt x="65" y="97"/>
                    <a:pt x="65" y="97"/>
                  </a:cubicBezTo>
                  <a:cubicBezTo>
                    <a:pt x="66" y="97"/>
                    <a:pt x="67" y="97"/>
                    <a:pt x="69" y="97"/>
                  </a:cubicBezTo>
                  <a:cubicBezTo>
                    <a:pt x="72" y="97"/>
                    <a:pt x="74" y="97"/>
                    <a:pt x="75" y="99"/>
                  </a:cubicBezTo>
                  <a:cubicBezTo>
                    <a:pt x="75" y="100"/>
                    <a:pt x="75" y="101"/>
                    <a:pt x="76" y="103"/>
                  </a:cubicBezTo>
                  <a:lnTo>
                    <a:pt x="79" y="106"/>
                  </a:ln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9"/>
            <p:cNvSpPr>
              <a:spLocks/>
            </p:cNvSpPr>
            <p:nvPr/>
          </p:nvSpPr>
          <p:spPr bwMode="auto">
            <a:xfrm>
              <a:off x="8742064" y="4666056"/>
              <a:ext cx="40436" cy="5446"/>
            </a:xfrm>
            <a:custGeom>
              <a:avLst/>
              <a:gdLst>
                <a:gd name="T0" fmla="*/ 12 w 14"/>
                <a:gd name="T1" fmla="*/ 2 h 2"/>
                <a:gd name="T2" fmla="*/ 12 w 14"/>
                <a:gd name="T3" fmla="*/ 2 h 2"/>
                <a:gd name="T4" fmla="*/ 12 w 14"/>
                <a:gd name="T5" fmla="*/ 2 h 2"/>
                <a:gd name="T6" fmla="*/ 12 w 14"/>
                <a:gd name="T7" fmla="*/ 2 h 2"/>
                <a:gd name="T8" fmla="*/ 13 w 14"/>
                <a:gd name="T9" fmla="*/ 2 h 2"/>
                <a:gd name="T10" fmla="*/ 13 w 14"/>
                <a:gd name="T11" fmla="*/ 2 h 2"/>
                <a:gd name="T12" fmla="*/ 13 w 14"/>
                <a:gd name="T13" fmla="*/ 1 h 2"/>
                <a:gd name="T14" fmla="*/ 13 w 14"/>
                <a:gd name="T15" fmla="*/ 1 h 2"/>
                <a:gd name="T16" fmla="*/ 13 w 14"/>
                <a:gd name="T17" fmla="*/ 1 h 2"/>
                <a:gd name="T18" fmla="*/ 13 w 14"/>
                <a:gd name="T19" fmla="*/ 1 h 2"/>
                <a:gd name="T20" fmla="*/ 13 w 14"/>
                <a:gd name="T21" fmla="*/ 1 h 2"/>
                <a:gd name="T22" fmla="*/ 13 w 14"/>
                <a:gd name="T23" fmla="*/ 1 h 2"/>
                <a:gd name="T24" fmla="*/ 13 w 14"/>
                <a:gd name="T25" fmla="*/ 1 h 2"/>
                <a:gd name="T26" fmla="*/ 13 w 14"/>
                <a:gd name="T27" fmla="*/ 1 h 2"/>
                <a:gd name="T28" fmla="*/ 13 w 14"/>
                <a:gd name="T29" fmla="*/ 1 h 2"/>
                <a:gd name="T30" fmla="*/ 13 w 14"/>
                <a:gd name="T31" fmla="*/ 1 h 2"/>
                <a:gd name="T32" fmla="*/ 13 w 14"/>
                <a:gd name="T33" fmla="*/ 1 h 2"/>
                <a:gd name="T34" fmla="*/ 13 w 14"/>
                <a:gd name="T35" fmla="*/ 1 h 2"/>
                <a:gd name="T36" fmla="*/ 13 w 14"/>
                <a:gd name="T37" fmla="*/ 1 h 2"/>
                <a:gd name="T38" fmla="*/ 13 w 14"/>
                <a:gd name="T39" fmla="*/ 1 h 2"/>
                <a:gd name="T40" fmla="*/ 13 w 14"/>
                <a:gd name="T41" fmla="*/ 1 h 2"/>
                <a:gd name="T42" fmla="*/ 13 w 14"/>
                <a:gd name="T43" fmla="*/ 1 h 2"/>
                <a:gd name="T44" fmla="*/ 13 w 14"/>
                <a:gd name="T45" fmla="*/ 1 h 2"/>
                <a:gd name="T46" fmla="*/ 14 w 14"/>
                <a:gd name="T47" fmla="*/ 1 h 2"/>
                <a:gd name="T48" fmla="*/ 14 w 14"/>
                <a:gd name="T49" fmla="*/ 1 h 2"/>
                <a:gd name="T50" fmla="*/ 14 w 14"/>
                <a:gd name="T51" fmla="*/ 1 h 2"/>
                <a:gd name="T52" fmla="*/ 14 w 14"/>
                <a:gd name="T53" fmla="*/ 1 h 2"/>
                <a:gd name="T54" fmla="*/ 0 w 14"/>
                <a:gd name="T55" fmla="*/ 0 h 2"/>
                <a:gd name="T56" fmla="*/ 0 w 14"/>
                <a:gd name="T57" fmla="*/ 1 h 2"/>
                <a:gd name="T58" fmla="*/ 12 w 14"/>
                <a:gd name="T5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 h="2">
                  <a:moveTo>
                    <a:pt x="12" y="2"/>
                  </a:moveTo>
                  <a:cubicBezTo>
                    <a:pt x="12" y="2"/>
                    <a:pt x="12" y="2"/>
                    <a:pt x="12" y="2"/>
                  </a:cubicBezTo>
                  <a:cubicBezTo>
                    <a:pt x="12" y="2"/>
                    <a:pt x="12" y="2"/>
                    <a:pt x="12" y="2"/>
                  </a:cubicBezTo>
                  <a:cubicBezTo>
                    <a:pt x="12" y="2"/>
                    <a:pt x="12" y="2"/>
                    <a:pt x="12" y="2"/>
                  </a:cubicBezTo>
                  <a:cubicBezTo>
                    <a:pt x="13" y="2"/>
                    <a:pt x="13" y="2"/>
                    <a:pt x="13" y="2"/>
                  </a:cubicBezTo>
                  <a:cubicBezTo>
                    <a:pt x="13" y="2"/>
                    <a:pt x="13" y="2"/>
                    <a:pt x="13" y="2"/>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4" y="1"/>
                    <a:pt x="14" y="1"/>
                    <a:pt x="14" y="1"/>
                  </a:cubicBezTo>
                  <a:cubicBezTo>
                    <a:pt x="14" y="1"/>
                    <a:pt x="14" y="1"/>
                    <a:pt x="14" y="1"/>
                  </a:cubicBezTo>
                  <a:cubicBezTo>
                    <a:pt x="14" y="1"/>
                    <a:pt x="14" y="1"/>
                    <a:pt x="14" y="1"/>
                  </a:cubicBezTo>
                  <a:cubicBezTo>
                    <a:pt x="14" y="1"/>
                    <a:pt x="14" y="1"/>
                    <a:pt x="14" y="1"/>
                  </a:cubicBezTo>
                  <a:cubicBezTo>
                    <a:pt x="0" y="0"/>
                    <a:pt x="0" y="0"/>
                    <a:pt x="0" y="0"/>
                  </a:cubicBezTo>
                  <a:cubicBezTo>
                    <a:pt x="0" y="1"/>
                    <a:pt x="0" y="1"/>
                    <a:pt x="0" y="1"/>
                  </a:cubicBezTo>
                  <a:cubicBezTo>
                    <a:pt x="0" y="1"/>
                    <a:pt x="9" y="2"/>
                    <a:pt x="12" y="2"/>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10"/>
            <p:cNvSpPr>
              <a:spLocks/>
            </p:cNvSpPr>
            <p:nvPr/>
          </p:nvSpPr>
          <p:spPr bwMode="auto">
            <a:xfrm>
              <a:off x="6997535" y="4704181"/>
              <a:ext cx="1848507" cy="936780"/>
            </a:xfrm>
            <a:custGeom>
              <a:avLst/>
              <a:gdLst>
                <a:gd name="T0" fmla="*/ 608 w 638"/>
                <a:gd name="T1" fmla="*/ 105 h 343"/>
                <a:gd name="T2" fmla="*/ 576 w 638"/>
                <a:gd name="T3" fmla="*/ 69 h 343"/>
                <a:gd name="T4" fmla="*/ 578 w 638"/>
                <a:gd name="T5" fmla="*/ 46 h 343"/>
                <a:gd name="T6" fmla="*/ 553 w 638"/>
                <a:gd name="T7" fmla="*/ 49 h 343"/>
                <a:gd name="T8" fmla="*/ 544 w 638"/>
                <a:gd name="T9" fmla="*/ 36 h 343"/>
                <a:gd name="T10" fmla="*/ 541 w 638"/>
                <a:gd name="T11" fmla="*/ 15 h 343"/>
                <a:gd name="T12" fmla="*/ 523 w 638"/>
                <a:gd name="T13" fmla="*/ 11 h 343"/>
                <a:gd name="T14" fmla="*/ 501 w 638"/>
                <a:gd name="T15" fmla="*/ 6 h 343"/>
                <a:gd name="T16" fmla="*/ 465 w 638"/>
                <a:gd name="T17" fmla="*/ 12 h 343"/>
                <a:gd name="T18" fmla="*/ 448 w 638"/>
                <a:gd name="T19" fmla="*/ 35 h 343"/>
                <a:gd name="T20" fmla="*/ 426 w 638"/>
                <a:gd name="T21" fmla="*/ 49 h 343"/>
                <a:gd name="T22" fmla="*/ 401 w 638"/>
                <a:gd name="T23" fmla="*/ 56 h 343"/>
                <a:gd name="T24" fmla="*/ 378 w 638"/>
                <a:gd name="T25" fmla="*/ 69 h 343"/>
                <a:gd name="T26" fmla="*/ 355 w 638"/>
                <a:gd name="T27" fmla="*/ 68 h 343"/>
                <a:gd name="T28" fmla="*/ 330 w 638"/>
                <a:gd name="T29" fmla="*/ 68 h 343"/>
                <a:gd name="T30" fmla="*/ 304 w 638"/>
                <a:gd name="T31" fmla="*/ 66 h 343"/>
                <a:gd name="T32" fmla="*/ 274 w 638"/>
                <a:gd name="T33" fmla="*/ 64 h 343"/>
                <a:gd name="T34" fmla="*/ 240 w 638"/>
                <a:gd name="T35" fmla="*/ 66 h 343"/>
                <a:gd name="T36" fmla="*/ 178 w 638"/>
                <a:gd name="T37" fmla="*/ 99 h 343"/>
                <a:gd name="T38" fmla="*/ 162 w 638"/>
                <a:gd name="T39" fmla="*/ 125 h 343"/>
                <a:gd name="T40" fmla="*/ 107 w 638"/>
                <a:gd name="T41" fmla="*/ 130 h 343"/>
                <a:gd name="T42" fmla="*/ 64 w 638"/>
                <a:gd name="T43" fmla="*/ 124 h 343"/>
                <a:gd name="T44" fmla="*/ 45 w 638"/>
                <a:gd name="T45" fmla="*/ 109 h 343"/>
                <a:gd name="T46" fmla="*/ 18 w 638"/>
                <a:gd name="T47" fmla="*/ 115 h 343"/>
                <a:gd name="T48" fmla="*/ 1 w 638"/>
                <a:gd name="T49" fmla="*/ 129 h 343"/>
                <a:gd name="T50" fmla="*/ 8 w 638"/>
                <a:gd name="T51" fmla="*/ 131 h 343"/>
                <a:gd name="T52" fmla="*/ 19 w 638"/>
                <a:gd name="T53" fmla="*/ 147 h 343"/>
                <a:gd name="T54" fmla="*/ 10 w 638"/>
                <a:gd name="T55" fmla="*/ 173 h 343"/>
                <a:gd name="T56" fmla="*/ 8 w 638"/>
                <a:gd name="T57" fmla="*/ 180 h 343"/>
                <a:gd name="T58" fmla="*/ 18 w 638"/>
                <a:gd name="T59" fmla="*/ 184 h 343"/>
                <a:gd name="T60" fmla="*/ 11 w 638"/>
                <a:gd name="T61" fmla="*/ 204 h 343"/>
                <a:gd name="T62" fmla="*/ 24 w 638"/>
                <a:gd name="T63" fmla="*/ 184 h 343"/>
                <a:gd name="T64" fmla="*/ 54 w 638"/>
                <a:gd name="T65" fmla="*/ 150 h 343"/>
                <a:gd name="T66" fmla="*/ 103 w 638"/>
                <a:gd name="T67" fmla="*/ 143 h 343"/>
                <a:gd name="T68" fmla="*/ 107 w 638"/>
                <a:gd name="T69" fmla="*/ 151 h 343"/>
                <a:gd name="T70" fmla="*/ 104 w 638"/>
                <a:gd name="T71" fmla="*/ 162 h 343"/>
                <a:gd name="T72" fmla="*/ 73 w 638"/>
                <a:gd name="T73" fmla="*/ 173 h 343"/>
                <a:gd name="T74" fmla="*/ 60 w 638"/>
                <a:gd name="T75" fmla="*/ 170 h 343"/>
                <a:gd name="T76" fmla="*/ 46 w 638"/>
                <a:gd name="T77" fmla="*/ 178 h 343"/>
                <a:gd name="T78" fmla="*/ 27 w 638"/>
                <a:gd name="T79" fmla="*/ 184 h 343"/>
                <a:gd name="T80" fmla="*/ 15 w 638"/>
                <a:gd name="T81" fmla="*/ 209 h 343"/>
                <a:gd name="T82" fmla="*/ 23 w 638"/>
                <a:gd name="T83" fmla="*/ 228 h 343"/>
                <a:gd name="T84" fmla="*/ 38 w 638"/>
                <a:gd name="T85" fmla="*/ 230 h 343"/>
                <a:gd name="T86" fmla="*/ 48 w 638"/>
                <a:gd name="T87" fmla="*/ 248 h 343"/>
                <a:gd name="T88" fmla="*/ 46 w 638"/>
                <a:gd name="T89" fmla="*/ 260 h 343"/>
                <a:gd name="T90" fmla="*/ 46 w 638"/>
                <a:gd name="T91" fmla="*/ 267 h 343"/>
                <a:gd name="T92" fmla="*/ 39 w 638"/>
                <a:gd name="T93" fmla="*/ 271 h 343"/>
                <a:gd name="T94" fmla="*/ 46 w 638"/>
                <a:gd name="T95" fmla="*/ 284 h 343"/>
                <a:gd name="T96" fmla="*/ 71 w 638"/>
                <a:gd name="T97" fmla="*/ 285 h 343"/>
                <a:gd name="T98" fmla="*/ 69 w 638"/>
                <a:gd name="T99" fmla="*/ 300 h 343"/>
                <a:gd name="T100" fmla="*/ 80 w 638"/>
                <a:gd name="T101" fmla="*/ 321 h 343"/>
                <a:gd name="T102" fmla="*/ 103 w 638"/>
                <a:gd name="T103" fmla="*/ 331 h 343"/>
                <a:gd name="T104" fmla="*/ 142 w 638"/>
                <a:gd name="T105" fmla="*/ 335 h 343"/>
                <a:gd name="T106" fmla="*/ 209 w 638"/>
                <a:gd name="T107" fmla="*/ 303 h 343"/>
                <a:gd name="T108" fmla="*/ 300 w 638"/>
                <a:gd name="T109" fmla="*/ 302 h 343"/>
                <a:gd name="T110" fmla="*/ 352 w 638"/>
                <a:gd name="T111" fmla="*/ 267 h 343"/>
                <a:gd name="T112" fmla="*/ 379 w 638"/>
                <a:gd name="T113" fmla="*/ 299 h 343"/>
                <a:gd name="T114" fmla="*/ 400 w 638"/>
                <a:gd name="T115" fmla="*/ 256 h 343"/>
                <a:gd name="T116" fmla="*/ 504 w 638"/>
                <a:gd name="T117" fmla="*/ 205 h 343"/>
                <a:gd name="T118" fmla="*/ 562 w 638"/>
                <a:gd name="T119" fmla="*/ 178 h 343"/>
                <a:gd name="T120" fmla="*/ 619 w 638"/>
                <a:gd name="T121" fmla="*/ 15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38" h="343">
                  <a:moveTo>
                    <a:pt x="636" y="140"/>
                  </a:moveTo>
                  <a:cubicBezTo>
                    <a:pt x="632" y="139"/>
                    <a:pt x="626" y="140"/>
                    <a:pt x="626" y="138"/>
                  </a:cubicBezTo>
                  <a:cubicBezTo>
                    <a:pt x="629" y="133"/>
                    <a:pt x="621" y="135"/>
                    <a:pt x="623" y="132"/>
                  </a:cubicBezTo>
                  <a:cubicBezTo>
                    <a:pt x="624" y="128"/>
                    <a:pt x="619" y="126"/>
                    <a:pt x="620" y="125"/>
                  </a:cubicBezTo>
                  <a:cubicBezTo>
                    <a:pt x="619" y="124"/>
                    <a:pt x="608" y="126"/>
                    <a:pt x="607" y="123"/>
                  </a:cubicBezTo>
                  <a:cubicBezTo>
                    <a:pt x="605" y="111"/>
                    <a:pt x="606" y="118"/>
                    <a:pt x="607" y="109"/>
                  </a:cubicBezTo>
                  <a:cubicBezTo>
                    <a:pt x="607" y="106"/>
                    <a:pt x="607" y="105"/>
                    <a:pt x="608" y="105"/>
                  </a:cubicBezTo>
                  <a:cubicBezTo>
                    <a:pt x="608" y="105"/>
                    <a:pt x="607" y="105"/>
                    <a:pt x="607" y="104"/>
                  </a:cubicBezTo>
                  <a:cubicBezTo>
                    <a:pt x="601" y="103"/>
                    <a:pt x="601" y="103"/>
                    <a:pt x="601" y="103"/>
                  </a:cubicBezTo>
                  <a:cubicBezTo>
                    <a:pt x="596" y="92"/>
                    <a:pt x="596" y="92"/>
                    <a:pt x="596" y="92"/>
                  </a:cubicBezTo>
                  <a:cubicBezTo>
                    <a:pt x="589" y="84"/>
                    <a:pt x="589" y="84"/>
                    <a:pt x="589" y="84"/>
                  </a:cubicBezTo>
                  <a:cubicBezTo>
                    <a:pt x="586" y="75"/>
                    <a:pt x="586" y="75"/>
                    <a:pt x="586" y="75"/>
                  </a:cubicBezTo>
                  <a:cubicBezTo>
                    <a:pt x="581" y="74"/>
                    <a:pt x="581" y="74"/>
                    <a:pt x="581" y="74"/>
                  </a:cubicBezTo>
                  <a:cubicBezTo>
                    <a:pt x="576" y="69"/>
                    <a:pt x="576" y="69"/>
                    <a:pt x="576" y="69"/>
                  </a:cubicBezTo>
                  <a:cubicBezTo>
                    <a:pt x="576" y="67"/>
                    <a:pt x="576" y="67"/>
                    <a:pt x="576" y="67"/>
                  </a:cubicBezTo>
                  <a:cubicBezTo>
                    <a:pt x="584" y="63"/>
                    <a:pt x="584" y="63"/>
                    <a:pt x="584" y="63"/>
                  </a:cubicBezTo>
                  <a:cubicBezTo>
                    <a:pt x="584" y="63"/>
                    <a:pt x="587" y="60"/>
                    <a:pt x="587" y="58"/>
                  </a:cubicBezTo>
                  <a:cubicBezTo>
                    <a:pt x="586" y="57"/>
                    <a:pt x="584" y="55"/>
                    <a:pt x="583" y="54"/>
                  </a:cubicBezTo>
                  <a:cubicBezTo>
                    <a:pt x="583" y="54"/>
                    <a:pt x="584" y="52"/>
                    <a:pt x="584" y="50"/>
                  </a:cubicBezTo>
                  <a:cubicBezTo>
                    <a:pt x="584" y="49"/>
                    <a:pt x="582" y="48"/>
                    <a:pt x="582" y="48"/>
                  </a:cubicBezTo>
                  <a:cubicBezTo>
                    <a:pt x="582" y="48"/>
                    <a:pt x="579" y="46"/>
                    <a:pt x="578" y="46"/>
                  </a:cubicBezTo>
                  <a:cubicBezTo>
                    <a:pt x="577" y="46"/>
                    <a:pt x="575" y="46"/>
                    <a:pt x="574" y="46"/>
                  </a:cubicBezTo>
                  <a:cubicBezTo>
                    <a:pt x="573" y="46"/>
                    <a:pt x="569" y="46"/>
                    <a:pt x="569" y="46"/>
                  </a:cubicBezTo>
                  <a:cubicBezTo>
                    <a:pt x="565" y="48"/>
                    <a:pt x="565" y="48"/>
                    <a:pt x="565" y="48"/>
                  </a:cubicBezTo>
                  <a:cubicBezTo>
                    <a:pt x="565" y="48"/>
                    <a:pt x="564" y="49"/>
                    <a:pt x="563" y="49"/>
                  </a:cubicBezTo>
                  <a:cubicBezTo>
                    <a:pt x="561" y="49"/>
                    <a:pt x="560" y="50"/>
                    <a:pt x="560" y="50"/>
                  </a:cubicBezTo>
                  <a:cubicBezTo>
                    <a:pt x="560" y="50"/>
                    <a:pt x="557" y="49"/>
                    <a:pt x="556" y="49"/>
                  </a:cubicBezTo>
                  <a:cubicBezTo>
                    <a:pt x="555" y="49"/>
                    <a:pt x="555" y="49"/>
                    <a:pt x="553" y="49"/>
                  </a:cubicBezTo>
                  <a:cubicBezTo>
                    <a:pt x="552" y="49"/>
                    <a:pt x="548" y="49"/>
                    <a:pt x="548" y="49"/>
                  </a:cubicBezTo>
                  <a:cubicBezTo>
                    <a:pt x="550" y="46"/>
                    <a:pt x="550" y="46"/>
                    <a:pt x="550" y="46"/>
                  </a:cubicBezTo>
                  <a:cubicBezTo>
                    <a:pt x="550" y="46"/>
                    <a:pt x="551" y="45"/>
                    <a:pt x="550" y="44"/>
                  </a:cubicBezTo>
                  <a:cubicBezTo>
                    <a:pt x="550" y="44"/>
                    <a:pt x="549" y="43"/>
                    <a:pt x="548" y="42"/>
                  </a:cubicBezTo>
                  <a:cubicBezTo>
                    <a:pt x="548" y="42"/>
                    <a:pt x="546" y="41"/>
                    <a:pt x="546" y="41"/>
                  </a:cubicBezTo>
                  <a:cubicBezTo>
                    <a:pt x="546" y="41"/>
                    <a:pt x="546" y="40"/>
                    <a:pt x="545" y="39"/>
                  </a:cubicBezTo>
                  <a:cubicBezTo>
                    <a:pt x="545" y="38"/>
                    <a:pt x="544" y="36"/>
                    <a:pt x="544" y="36"/>
                  </a:cubicBezTo>
                  <a:cubicBezTo>
                    <a:pt x="543" y="35"/>
                    <a:pt x="543" y="35"/>
                    <a:pt x="543" y="35"/>
                  </a:cubicBezTo>
                  <a:cubicBezTo>
                    <a:pt x="543" y="35"/>
                    <a:pt x="541" y="33"/>
                    <a:pt x="541" y="32"/>
                  </a:cubicBezTo>
                  <a:cubicBezTo>
                    <a:pt x="542" y="30"/>
                    <a:pt x="544" y="26"/>
                    <a:pt x="544" y="26"/>
                  </a:cubicBezTo>
                  <a:cubicBezTo>
                    <a:pt x="545" y="21"/>
                    <a:pt x="545" y="21"/>
                    <a:pt x="545" y="21"/>
                  </a:cubicBezTo>
                  <a:cubicBezTo>
                    <a:pt x="544" y="19"/>
                    <a:pt x="544" y="19"/>
                    <a:pt x="544" y="19"/>
                  </a:cubicBezTo>
                  <a:cubicBezTo>
                    <a:pt x="542" y="17"/>
                    <a:pt x="542" y="17"/>
                    <a:pt x="542" y="17"/>
                  </a:cubicBezTo>
                  <a:cubicBezTo>
                    <a:pt x="542" y="17"/>
                    <a:pt x="541" y="17"/>
                    <a:pt x="541" y="15"/>
                  </a:cubicBezTo>
                  <a:cubicBezTo>
                    <a:pt x="541" y="14"/>
                    <a:pt x="540" y="14"/>
                    <a:pt x="540" y="13"/>
                  </a:cubicBezTo>
                  <a:cubicBezTo>
                    <a:pt x="540" y="13"/>
                    <a:pt x="539" y="12"/>
                    <a:pt x="539" y="12"/>
                  </a:cubicBezTo>
                  <a:cubicBezTo>
                    <a:pt x="536" y="13"/>
                    <a:pt x="536" y="13"/>
                    <a:pt x="536" y="13"/>
                  </a:cubicBezTo>
                  <a:cubicBezTo>
                    <a:pt x="532" y="11"/>
                    <a:pt x="532" y="11"/>
                    <a:pt x="532" y="11"/>
                  </a:cubicBezTo>
                  <a:cubicBezTo>
                    <a:pt x="528" y="12"/>
                    <a:pt x="528" y="12"/>
                    <a:pt x="528" y="12"/>
                  </a:cubicBezTo>
                  <a:cubicBezTo>
                    <a:pt x="523" y="12"/>
                    <a:pt x="523" y="12"/>
                    <a:pt x="523" y="12"/>
                  </a:cubicBezTo>
                  <a:cubicBezTo>
                    <a:pt x="523" y="12"/>
                    <a:pt x="523" y="12"/>
                    <a:pt x="523" y="11"/>
                  </a:cubicBezTo>
                  <a:cubicBezTo>
                    <a:pt x="522" y="10"/>
                    <a:pt x="520" y="8"/>
                    <a:pt x="520" y="8"/>
                  </a:cubicBezTo>
                  <a:cubicBezTo>
                    <a:pt x="516" y="6"/>
                    <a:pt x="516" y="6"/>
                    <a:pt x="516" y="6"/>
                  </a:cubicBezTo>
                  <a:cubicBezTo>
                    <a:pt x="512" y="3"/>
                    <a:pt x="512" y="3"/>
                    <a:pt x="512" y="3"/>
                  </a:cubicBezTo>
                  <a:cubicBezTo>
                    <a:pt x="510" y="1"/>
                    <a:pt x="510" y="1"/>
                    <a:pt x="510" y="1"/>
                  </a:cubicBezTo>
                  <a:cubicBezTo>
                    <a:pt x="510" y="1"/>
                    <a:pt x="508" y="0"/>
                    <a:pt x="506" y="0"/>
                  </a:cubicBezTo>
                  <a:cubicBezTo>
                    <a:pt x="505" y="1"/>
                    <a:pt x="500" y="3"/>
                    <a:pt x="500" y="3"/>
                  </a:cubicBezTo>
                  <a:cubicBezTo>
                    <a:pt x="501" y="6"/>
                    <a:pt x="501" y="6"/>
                    <a:pt x="501" y="6"/>
                  </a:cubicBezTo>
                  <a:cubicBezTo>
                    <a:pt x="501" y="6"/>
                    <a:pt x="500" y="7"/>
                    <a:pt x="498" y="9"/>
                  </a:cubicBezTo>
                  <a:cubicBezTo>
                    <a:pt x="496" y="10"/>
                    <a:pt x="487" y="11"/>
                    <a:pt x="487" y="11"/>
                  </a:cubicBezTo>
                  <a:cubicBezTo>
                    <a:pt x="483" y="12"/>
                    <a:pt x="483" y="12"/>
                    <a:pt x="483" y="12"/>
                  </a:cubicBezTo>
                  <a:cubicBezTo>
                    <a:pt x="479" y="13"/>
                    <a:pt x="479" y="13"/>
                    <a:pt x="479" y="13"/>
                  </a:cubicBezTo>
                  <a:cubicBezTo>
                    <a:pt x="479" y="13"/>
                    <a:pt x="472" y="16"/>
                    <a:pt x="470" y="15"/>
                  </a:cubicBezTo>
                  <a:cubicBezTo>
                    <a:pt x="468" y="15"/>
                    <a:pt x="467" y="13"/>
                    <a:pt x="466" y="12"/>
                  </a:cubicBezTo>
                  <a:cubicBezTo>
                    <a:pt x="466" y="12"/>
                    <a:pt x="465" y="12"/>
                    <a:pt x="465" y="12"/>
                  </a:cubicBezTo>
                  <a:cubicBezTo>
                    <a:pt x="462" y="12"/>
                    <a:pt x="464" y="14"/>
                    <a:pt x="463" y="16"/>
                  </a:cubicBezTo>
                  <a:cubicBezTo>
                    <a:pt x="461" y="18"/>
                    <a:pt x="462" y="19"/>
                    <a:pt x="462" y="21"/>
                  </a:cubicBezTo>
                  <a:cubicBezTo>
                    <a:pt x="461" y="22"/>
                    <a:pt x="460" y="23"/>
                    <a:pt x="459" y="25"/>
                  </a:cubicBezTo>
                  <a:cubicBezTo>
                    <a:pt x="457" y="26"/>
                    <a:pt x="456" y="27"/>
                    <a:pt x="455" y="28"/>
                  </a:cubicBezTo>
                  <a:cubicBezTo>
                    <a:pt x="453" y="29"/>
                    <a:pt x="454" y="28"/>
                    <a:pt x="454" y="30"/>
                  </a:cubicBezTo>
                  <a:cubicBezTo>
                    <a:pt x="454" y="31"/>
                    <a:pt x="452" y="32"/>
                    <a:pt x="451" y="33"/>
                  </a:cubicBezTo>
                  <a:cubicBezTo>
                    <a:pt x="450" y="33"/>
                    <a:pt x="449" y="35"/>
                    <a:pt x="448" y="35"/>
                  </a:cubicBezTo>
                  <a:cubicBezTo>
                    <a:pt x="447" y="35"/>
                    <a:pt x="447" y="37"/>
                    <a:pt x="447" y="39"/>
                  </a:cubicBezTo>
                  <a:cubicBezTo>
                    <a:pt x="447" y="40"/>
                    <a:pt x="446" y="39"/>
                    <a:pt x="445" y="40"/>
                  </a:cubicBezTo>
                  <a:cubicBezTo>
                    <a:pt x="443" y="40"/>
                    <a:pt x="443" y="41"/>
                    <a:pt x="441" y="42"/>
                  </a:cubicBezTo>
                  <a:cubicBezTo>
                    <a:pt x="439" y="43"/>
                    <a:pt x="439" y="45"/>
                    <a:pt x="439" y="45"/>
                  </a:cubicBezTo>
                  <a:cubicBezTo>
                    <a:pt x="439" y="45"/>
                    <a:pt x="437" y="48"/>
                    <a:pt x="434" y="50"/>
                  </a:cubicBezTo>
                  <a:cubicBezTo>
                    <a:pt x="431" y="52"/>
                    <a:pt x="430" y="51"/>
                    <a:pt x="430" y="51"/>
                  </a:cubicBezTo>
                  <a:cubicBezTo>
                    <a:pt x="429" y="51"/>
                    <a:pt x="427" y="50"/>
                    <a:pt x="426" y="49"/>
                  </a:cubicBezTo>
                  <a:cubicBezTo>
                    <a:pt x="425" y="49"/>
                    <a:pt x="423" y="53"/>
                    <a:pt x="421" y="53"/>
                  </a:cubicBezTo>
                  <a:cubicBezTo>
                    <a:pt x="420" y="54"/>
                    <a:pt x="415" y="53"/>
                    <a:pt x="415" y="53"/>
                  </a:cubicBezTo>
                  <a:cubicBezTo>
                    <a:pt x="408" y="52"/>
                    <a:pt x="408" y="52"/>
                    <a:pt x="408" y="52"/>
                  </a:cubicBezTo>
                  <a:cubicBezTo>
                    <a:pt x="407" y="53"/>
                    <a:pt x="407" y="53"/>
                    <a:pt x="407" y="53"/>
                  </a:cubicBezTo>
                  <a:cubicBezTo>
                    <a:pt x="404" y="54"/>
                    <a:pt x="404" y="54"/>
                    <a:pt x="404" y="54"/>
                  </a:cubicBezTo>
                  <a:cubicBezTo>
                    <a:pt x="403" y="54"/>
                    <a:pt x="403" y="54"/>
                    <a:pt x="403" y="54"/>
                  </a:cubicBezTo>
                  <a:cubicBezTo>
                    <a:pt x="403" y="54"/>
                    <a:pt x="402" y="55"/>
                    <a:pt x="401" y="56"/>
                  </a:cubicBezTo>
                  <a:cubicBezTo>
                    <a:pt x="400" y="56"/>
                    <a:pt x="399" y="58"/>
                    <a:pt x="399" y="58"/>
                  </a:cubicBezTo>
                  <a:cubicBezTo>
                    <a:pt x="399" y="58"/>
                    <a:pt x="394" y="59"/>
                    <a:pt x="393" y="59"/>
                  </a:cubicBezTo>
                  <a:cubicBezTo>
                    <a:pt x="392" y="59"/>
                    <a:pt x="392" y="60"/>
                    <a:pt x="392" y="60"/>
                  </a:cubicBezTo>
                  <a:cubicBezTo>
                    <a:pt x="392" y="60"/>
                    <a:pt x="392" y="62"/>
                    <a:pt x="390" y="63"/>
                  </a:cubicBezTo>
                  <a:cubicBezTo>
                    <a:pt x="387" y="64"/>
                    <a:pt x="387" y="64"/>
                    <a:pt x="387" y="64"/>
                  </a:cubicBezTo>
                  <a:cubicBezTo>
                    <a:pt x="387" y="64"/>
                    <a:pt x="383" y="67"/>
                    <a:pt x="380" y="68"/>
                  </a:cubicBezTo>
                  <a:cubicBezTo>
                    <a:pt x="378" y="69"/>
                    <a:pt x="377" y="69"/>
                    <a:pt x="378" y="69"/>
                  </a:cubicBezTo>
                  <a:cubicBezTo>
                    <a:pt x="378" y="69"/>
                    <a:pt x="378" y="69"/>
                    <a:pt x="378" y="69"/>
                  </a:cubicBezTo>
                  <a:cubicBezTo>
                    <a:pt x="378" y="69"/>
                    <a:pt x="378" y="69"/>
                    <a:pt x="378" y="69"/>
                  </a:cubicBezTo>
                  <a:cubicBezTo>
                    <a:pt x="376" y="70"/>
                    <a:pt x="370" y="70"/>
                    <a:pt x="369" y="70"/>
                  </a:cubicBezTo>
                  <a:cubicBezTo>
                    <a:pt x="368" y="70"/>
                    <a:pt x="365" y="69"/>
                    <a:pt x="364" y="69"/>
                  </a:cubicBezTo>
                  <a:cubicBezTo>
                    <a:pt x="363" y="68"/>
                    <a:pt x="359" y="68"/>
                    <a:pt x="359" y="68"/>
                  </a:cubicBezTo>
                  <a:cubicBezTo>
                    <a:pt x="358" y="67"/>
                    <a:pt x="359" y="68"/>
                    <a:pt x="356" y="68"/>
                  </a:cubicBezTo>
                  <a:cubicBezTo>
                    <a:pt x="354" y="68"/>
                    <a:pt x="355" y="68"/>
                    <a:pt x="355" y="68"/>
                  </a:cubicBezTo>
                  <a:cubicBezTo>
                    <a:pt x="355" y="68"/>
                    <a:pt x="355" y="71"/>
                    <a:pt x="354" y="72"/>
                  </a:cubicBezTo>
                  <a:cubicBezTo>
                    <a:pt x="354" y="72"/>
                    <a:pt x="352" y="73"/>
                    <a:pt x="352" y="73"/>
                  </a:cubicBezTo>
                  <a:cubicBezTo>
                    <a:pt x="345" y="71"/>
                    <a:pt x="345" y="71"/>
                    <a:pt x="345" y="71"/>
                  </a:cubicBezTo>
                  <a:cubicBezTo>
                    <a:pt x="342" y="71"/>
                    <a:pt x="342" y="71"/>
                    <a:pt x="342" y="71"/>
                  </a:cubicBezTo>
                  <a:cubicBezTo>
                    <a:pt x="337" y="72"/>
                    <a:pt x="337" y="72"/>
                    <a:pt x="337" y="72"/>
                  </a:cubicBezTo>
                  <a:cubicBezTo>
                    <a:pt x="337" y="72"/>
                    <a:pt x="333" y="70"/>
                    <a:pt x="333" y="69"/>
                  </a:cubicBezTo>
                  <a:cubicBezTo>
                    <a:pt x="333" y="69"/>
                    <a:pt x="330" y="68"/>
                    <a:pt x="330" y="68"/>
                  </a:cubicBezTo>
                  <a:cubicBezTo>
                    <a:pt x="330" y="68"/>
                    <a:pt x="326" y="67"/>
                    <a:pt x="323" y="67"/>
                  </a:cubicBezTo>
                  <a:cubicBezTo>
                    <a:pt x="321" y="68"/>
                    <a:pt x="320" y="69"/>
                    <a:pt x="320" y="69"/>
                  </a:cubicBezTo>
                  <a:cubicBezTo>
                    <a:pt x="319" y="75"/>
                    <a:pt x="319" y="75"/>
                    <a:pt x="319" y="75"/>
                  </a:cubicBezTo>
                  <a:cubicBezTo>
                    <a:pt x="319" y="75"/>
                    <a:pt x="314" y="74"/>
                    <a:pt x="313" y="74"/>
                  </a:cubicBezTo>
                  <a:cubicBezTo>
                    <a:pt x="312" y="73"/>
                    <a:pt x="309" y="72"/>
                    <a:pt x="309" y="72"/>
                  </a:cubicBezTo>
                  <a:cubicBezTo>
                    <a:pt x="304" y="69"/>
                    <a:pt x="304" y="69"/>
                    <a:pt x="304" y="69"/>
                  </a:cubicBezTo>
                  <a:cubicBezTo>
                    <a:pt x="304" y="69"/>
                    <a:pt x="304" y="67"/>
                    <a:pt x="304" y="66"/>
                  </a:cubicBezTo>
                  <a:cubicBezTo>
                    <a:pt x="305" y="65"/>
                    <a:pt x="302" y="62"/>
                    <a:pt x="302" y="62"/>
                  </a:cubicBezTo>
                  <a:cubicBezTo>
                    <a:pt x="301" y="62"/>
                    <a:pt x="299" y="59"/>
                    <a:pt x="299" y="59"/>
                  </a:cubicBezTo>
                  <a:cubicBezTo>
                    <a:pt x="299" y="59"/>
                    <a:pt x="293" y="61"/>
                    <a:pt x="291" y="62"/>
                  </a:cubicBezTo>
                  <a:cubicBezTo>
                    <a:pt x="289" y="63"/>
                    <a:pt x="288" y="64"/>
                    <a:pt x="287" y="64"/>
                  </a:cubicBezTo>
                  <a:cubicBezTo>
                    <a:pt x="287" y="65"/>
                    <a:pt x="283" y="66"/>
                    <a:pt x="283" y="66"/>
                  </a:cubicBezTo>
                  <a:cubicBezTo>
                    <a:pt x="283" y="66"/>
                    <a:pt x="279" y="65"/>
                    <a:pt x="278" y="64"/>
                  </a:cubicBezTo>
                  <a:cubicBezTo>
                    <a:pt x="277" y="64"/>
                    <a:pt x="275" y="64"/>
                    <a:pt x="274" y="64"/>
                  </a:cubicBezTo>
                  <a:cubicBezTo>
                    <a:pt x="274" y="63"/>
                    <a:pt x="271" y="62"/>
                    <a:pt x="269" y="61"/>
                  </a:cubicBezTo>
                  <a:cubicBezTo>
                    <a:pt x="266" y="60"/>
                    <a:pt x="267" y="59"/>
                    <a:pt x="267" y="58"/>
                  </a:cubicBezTo>
                  <a:cubicBezTo>
                    <a:pt x="267" y="58"/>
                    <a:pt x="268" y="55"/>
                    <a:pt x="268" y="55"/>
                  </a:cubicBezTo>
                  <a:cubicBezTo>
                    <a:pt x="261" y="54"/>
                    <a:pt x="261" y="54"/>
                    <a:pt x="261" y="54"/>
                  </a:cubicBezTo>
                  <a:cubicBezTo>
                    <a:pt x="260" y="57"/>
                    <a:pt x="260" y="57"/>
                    <a:pt x="260" y="57"/>
                  </a:cubicBezTo>
                  <a:cubicBezTo>
                    <a:pt x="254" y="62"/>
                    <a:pt x="254" y="62"/>
                    <a:pt x="254" y="62"/>
                  </a:cubicBezTo>
                  <a:cubicBezTo>
                    <a:pt x="240" y="66"/>
                    <a:pt x="240" y="66"/>
                    <a:pt x="240" y="66"/>
                  </a:cubicBezTo>
                  <a:cubicBezTo>
                    <a:pt x="240" y="66"/>
                    <a:pt x="218" y="69"/>
                    <a:pt x="215" y="70"/>
                  </a:cubicBezTo>
                  <a:cubicBezTo>
                    <a:pt x="211" y="70"/>
                    <a:pt x="211" y="71"/>
                    <a:pt x="210" y="73"/>
                  </a:cubicBezTo>
                  <a:cubicBezTo>
                    <a:pt x="208" y="74"/>
                    <a:pt x="203" y="79"/>
                    <a:pt x="201" y="79"/>
                  </a:cubicBezTo>
                  <a:cubicBezTo>
                    <a:pt x="199" y="78"/>
                    <a:pt x="191" y="85"/>
                    <a:pt x="189" y="85"/>
                  </a:cubicBezTo>
                  <a:cubicBezTo>
                    <a:pt x="187" y="86"/>
                    <a:pt x="184" y="92"/>
                    <a:pt x="184" y="92"/>
                  </a:cubicBezTo>
                  <a:cubicBezTo>
                    <a:pt x="182" y="95"/>
                    <a:pt x="182" y="95"/>
                    <a:pt x="182" y="95"/>
                  </a:cubicBezTo>
                  <a:cubicBezTo>
                    <a:pt x="182" y="95"/>
                    <a:pt x="178" y="99"/>
                    <a:pt x="178" y="99"/>
                  </a:cubicBezTo>
                  <a:cubicBezTo>
                    <a:pt x="177" y="99"/>
                    <a:pt x="176" y="102"/>
                    <a:pt x="175" y="103"/>
                  </a:cubicBezTo>
                  <a:cubicBezTo>
                    <a:pt x="175" y="103"/>
                    <a:pt x="173" y="106"/>
                    <a:pt x="173" y="106"/>
                  </a:cubicBezTo>
                  <a:cubicBezTo>
                    <a:pt x="172" y="107"/>
                    <a:pt x="170" y="109"/>
                    <a:pt x="168" y="111"/>
                  </a:cubicBezTo>
                  <a:cubicBezTo>
                    <a:pt x="166" y="112"/>
                    <a:pt x="165" y="113"/>
                    <a:pt x="163" y="114"/>
                  </a:cubicBezTo>
                  <a:cubicBezTo>
                    <a:pt x="161" y="115"/>
                    <a:pt x="162" y="116"/>
                    <a:pt x="162" y="116"/>
                  </a:cubicBezTo>
                  <a:cubicBezTo>
                    <a:pt x="162" y="116"/>
                    <a:pt x="163" y="118"/>
                    <a:pt x="163" y="120"/>
                  </a:cubicBezTo>
                  <a:cubicBezTo>
                    <a:pt x="164" y="122"/>
                    <a:pt x="162" y="125"/>
                    <a:pt x="162" y="125"/>
                  </a:cubicBezTo>
                  <a:cubicBezTo>
                    <a:pt x="162" y="125"/>
                    <a:pt x="155" y="127"/>
                    <a:pt x="154" y="127"/>
                  </a:cubicBezTo>
                  <a:cubicBezTo>
                    <a:pt x="153" y="127"/>
                    <a:pt x="144" y="129"/>
                    <a:pt x="144" y="129"/>
                  </a:cubicBezTo>
                  <a:cubicBezTo>
                    <a:pt x="135" y="119"/>
                    <a:pt x="135" y="119"/>
                    <a:pt x="135" y="119"/>
                  </a:cubicBezTo>
                  <a:cubicBezTo>
                    <a:pt x="128" y="123"/>
                    <a:pt x="128" y="123"/>
                    <a:pt x="128" y="123"/>
                  </a:cubicBezTo>
                  <a:cubicBezTo>
                    <a:pt x="124" y="126"/>
                    <a:pt x="124" y="126"/>
                    <a:pt x="124" y="126"/>
                  </a:cubicBezTo>
                  <a:cubicBezTo>
                    <a:pt x="124" y="126"/>
                    <a:pt x="117" y="128"/>
                    <a:pt x="115" y="128"/>
                  </a:cubicBezTo>
                  <a:cubicBezTo>
                    <a:pt x="113" y="127"/>
                    <a:pt x="109" y="129"/>
                    <a:pt x="107" y="130"/>
                  </a:cubicBezTo>
                  <a:cubicBezTo>
                    <a:pt x="106" y="130"/>
                    <a:pt x="101" y="131"/>
                    <a:pt x="99" y="130"/>
                  </a:cubicBezTo>
                  <a:cubicBezTo>
                    <a:pt x="98" y="130"/>
                    <a:pt x="95" y="129"/>
                    <a:pt x="95" y="129"/>
                  </a:cubicBezTo>
                  <a:cubicBezTo>
                    <a:pt x="90" y="130"/>
                    <a:pt x="90" y="130"/>
                    <a:pt x="90" y="130"/>
                  </a:cubicBezTo>
                  <a:cubicBezTo>
                    <a:pt x="85" y="126"/>
                    <a:pt x="85" y="126"/>
                    <a:pt x="85" y="126"/>
                  </a:cubicBezTo>
                  <a:cubicBezTo>
                    <a:pt x="75" y="128"/>
                    <a:pt x="75" y="128"/>
                    <a:pt x="75" y="128"/>
                  </a:cubicBezTo>
                  <a:cubicBezTo>
                    <a:pt x="75" y="128"/>
                    <a:pt x="69" y="125"/>
                    <a:pt x="69" y="125"/>
                  </a:cubicBezTo>
                  <a:cubicBezTo>
                    <a:pt x="69" y="124"/>
                    <a:pt x="64" y="124"/>
                    <a:pt x="64" y="124"/>
                  </a:cubicBezTo>
                  <a:cubicBezTo>
                    <a:pt x="64" y="124"/>
                    <a:pt x="59" y="121"/>
                    <a:pt x="58" y="120"/>
                  </a:cubicBezTo>
                  <a:cubicBezTo>
                    <a:pt x="58" y="119"/>
                    <a:pt x="59" y="118"/>
                    <a:pt x="58" y="117"/>
                  </a:cubicBezTo>
                  <a:cubicBezTo>
                    <a:pt x="50" y="112"/>
                    <a:pt x="54" y="120"/>
                    <a:pt x="52" y="105"/>
                  </a:cubicBezTo>
                  <a:cubicBezTo>
                    <a:pt x="52" y="105"/>
                    <a:pt x="52" y="105"/>
                    <a:pt x="52" y="105"/>
                  </a:cubicBezTo>
                  <a:cubicBezTo>
                    <a:pt x="52" y="105"/>
                    <a:pt x="52" y="105"/>
                    <a:pt x="52" y="105"/>
                  </a:cubicBezTo>
                  <a:cubicBezTo>
                    <a:pt x="51" y="105"/>
                    <a:pt x="47" y="107"/>
                    <a:pt x="47" y="107"/>
                  </a:cubicBezTo>
                  <a:cubicBezTo>
                    <a:pt x="45" y="109"/>
                    <a:pt x="45" y="109"/>
                    <a:pt x="45" y="109"/>
                  </a:cubicBezTo>
                  <a:cubicBezTo>
                    <a:pt x="45" y="109"/>
                    <a:pt x="43" y="108"/>
                    <a:pt x="42" y="109"/>
                  </a:cubicBezTo>
                  <a:cubicBezTo>
                    <a:pt x="40" y="110"/>
                    <a:pt x="36" y="112"/>
                    <a:pt x="36" y="112"/>
                  </a:cubicBezTo>
                  <a:cubicBezTo>
                    <a:pt x="30" y="109"/>
                    <a:pt x="30" y="109"/>
                    <a:pt x="30" y="109"/>
                  </a:cubicBezTo>
                  <a:cubicBezTo>
                    <a:pt x="26" y="107"/>
                    <a:pt x="26" y="107"/>
                    <a:pt x="26" y="107"/>
                  </a:cubicBezTo>
                  <a:cubicBezTo>
                    <a:pt x="24" y="110"/>
                    <a:pt x="24" y="110"/>
                    <a:pt x="24" y="110"/>
                  </a:cubicBezTo>
                  <a:cubicBezTo>
                    <a:pt x="20" y="111"/>
                    <a:pt x="20" y="111"/>
                    <a:pt x="20" y="111"/>
                  </a:cubicBezTo>
                  <a:cubicBezTo>
                    <a:pt x="18" y="115"/>
                    <a:pt x="18" y="115"/>
                    <a:pt x="18" y="115"/>
                  </a:cubicBezTo>
                  <a:cubicBezTo>
                    <a:pt x="18" y="115"/>
                    <a:pt x="12" y="117"/>
                    <a:pt x="10" y="117"/>
                  </a:cubicBezTo>
                  <a:cubicBezTo>
                    <a:pt x="9" y="118"/>
                    <a:pt x="6" y="121"/>
                    <a:pt x="6" y="121"/>
                  </a:cubicBezTo>
                  <a:cubicBezTo>
                    <a:pt x="7" y="124"/>
                    <a:pt x="7" y="124"/>
                    <a:pt x="7" y="124"/>
                  </a:cubicBezTo>
                  <a:cubicBezTo>
                    <a:pt x="4" y="126"/>
                    <a:pt x="4" y="126"/>
                    <a:pt x="4" y="126"/>
                  </a:cubicBezTo>
                  <a:cubicBezTo>
                    <a:pt x="4" y="126"/>
                    <a:pt x="1" y="127"/>
                    <a:pt x="1" y="129"/>
                  </a:cubicBezTo>
                  <a:cubicBezTo>
                    <a:pt x="1" y="129"/>
                    <a:pt x="1" y="129"/>
                    <a:pt x="1" y="129"/>
                  </a:cubicBezTo>
                  <a:cubicBezTo>
                    <a:pt x="1" y="129"/>
                    <a:pt x="1" y="129"/>
                    <a:pt x="1" y="129"/>
                  </a:cubicBezTo>
                  <a:cubicBezTo>
                    <a:pt x="1" y="129"/>
                    <a:pt x="1" y="129"/>
                    <a:pt x="1" y="129"/>
                  </a:cubicBezTo>
                  <a:cubicBezTo>
                    <a:pt x="1" y="129"/>
                    <a:pt x="1" y="129"/>
                    <a:pt x="1" y="129"/>
                  </a:cubicBezTo>
                  <a:cubicBezTo>
                    <a:pt x="1" y="129"/>
                    <a:pt x="1" y="129"/>
                    <a:pt x="1" y="129"/>
                  </a:cubicBezTo>
                  <a:cubicBezTo>
                    <a:pt x="1" y="129"/>
                    <a:pt x="1" y="129"/>
                    <a:pt x="1" y="129"/>
                  </a:cubicBezTo>
                  <a:cubicBezTo>
                    <a:pt x="1" y="129"/>
                    <a:pt x="2" y="129"/>
                    <a:pt x="2" y="129"/>
                  </a:cubicBezTo>
                  <a:cubicBezTo>
                    <a:pt x="3" y="129"/>
                    <a:pt x="4" y="130"/>
                    <a:pt x="5" y="130"/>
                  </a:cubicBezTo>
                  <a:cubicBezTo>
                    <a:pt x="7" y="130"/>
                    <a:pt x="8" y="130"/>
                    <a:pt x="8" y="131"/>
                  </a:cubicBezTo>
                  <a:cubicBezTo>
                    <a:pt x="9" y="131"/>
                    <a:pt x="13" y="133"/>
                    <a:pt x="14" y="133"/>
                  </a:cubicBezTo>
                  <a:cubicBezTo>
                    <a:pt x="14" y="133"/>
                    <a:pt x="14" y="133"/>
                    <a:pt x="14" y="133"/>
                  </a:cubicBezTo>
                  <a:cubicBezTo>
                    <a:pt x="14" y="134"/>
                    <a:pt x="14" y="134"/>
                    <a:pt x="14" y="134"/>
                  </a:cubicBezTo>
                  <a:cubicBezTo>
                    <a:pt x="15" y="134"/>
                    <a:pt x="16" y="140"/>
                    <a:pt x="16" y="140"/>
                  </a:cubicBezTo>
                  <a:cubicBezTo>
                    <a:pt x="16" y="140"/>
                    <a:pt x="17" y="140"/>
                    <a:pt x="17" y="141"/>
                  </a:cubicBezTo>
                  <a:cubicBezTo>
                    <a:pt x="19" y="143"/>
                    <a:pt x="20" y="145"/>
                    <a:pt x="19" y="146"/>
                  </a:cubicBezTo>
                  <a:cubicBezTo>
                    <a:pt x="19" y="147"/>
                    <a:pt x="19" y="147"/>
                    <a:pt x="19" y="147"/>
                  </a:cubicBezTo>
                  <a:cubicBezTo>
                    <a:pt x="18" y="147"/>
                    <a:pt x="18" y="147"/>
                    <a:pt x="18" y="147"/>
                  </a:cubicBezTo>
                  <a:cubicBezTo>
                    <a:pt x="17" y="148"/>
                    <a:pt x="15" y="148"/>
                    <a:pt x="14" y="149"/>
                  </a:cubicBezTo>
                  <a:cubicBezTo>
                    <a:pt x="13" y="150"/>
                    <a:pt x="13" y="150"/>
                    <a:pt x="13" y="150"/>
                  </a:cubicBezTo>
                  <a:cubicBezTo>
                    <a:pt x="12" y="151"/>
                    <a:pt x="12" y="152"/>
                    <a:pt x="11" y="153"/>
                  </a:cubicBezTo>
                  <a:cubicBezTo>
                    <a:pt x="12" y="154"/>
                    <a:pt x="11" y="156"/>
                    <a:pt x="11" y="157"/>
                  </a:cubicBezTo>
                  <a:cubicBezTo>
                    <a:pt x="15" y="167"/>
                    <a:pt x="15" y="167"/>
                    <a:pt x="15" y="167"/>
                  </a:cubicBezTo>
                  <a:cubicBezTo>
                    <a:pt x="10" y="173"/>
                    <a:pt x="10" y="173"/>
                    <a:pt x="10" y="173"/>
                  </a:cubicBezTo>
                  <a:cubicBezTo>
                    <a:pt x="6" y="177"/>
                    <a:pt x="6" y="177"/>
                    <a:pt x="6" y="177"/>
                  </a:cubicBezTo>
                  <a:cubicBezTo>
                    <a:pt x="4" y="177"/>
                    <a:pt x="4" y="177"/>
                    <a:pt x="4" y="177"/>
                  </a:cubicBezTo>
                  <a:cubicBezTo>
                    <a:pt x="4" y="177"/>
                    <a:pt x="4" y="177"/>
                    <a:pt x="4" y="177"/>
                  </a:cubicBezTo>
                  <a:cubicBezTo>
                    <a:pt x="3" y="177"/>
                    <a:pt x="1" y="177"/>
                    <a:pt x="0" y="177"/>
                  </a:cubicBezTo>
                  <a:cubicBezTo>
                    <a:pt x="1" y="179"/>
                    <a:pt x="1" y="179"/>
                    <a:pt x="1" y="179"/>
                  </a:cubicBezTo>
                  <a:cubicBezTo>
                    <a:pt x="1" y="179"/>
                    <a:pt x="3" y="181"/>
                    <a:pt x="5" y="180"/>
                  </a:cubicBezTo>
                  <a:cubicBezTo>
                    <a:pt x="6" y="180"/>
                    <a:pt x="7" y="180"/>
                    <a:pt x="8" y="180"/>
                  </a:cubicBezTo>
                  <a:cubicBezTo>
                    <a:pt x="9" y="180"/>
                    <a:pt x="15" y="178"/>
                    <a:pt x="15" y="178"/>
                  </a:cubicBezTo>
                  <a:cubicBezTo>
                    <a:pt x="15" y="178"/>
                    <a:pt x="18" y="177"/>
                    <a:pt x="20" y="176"/>
                  </a:cubicBezTo>
                  <a:cubicBezTo>
                    <a:pt x="22" y="176"/>
                    <a:pt x="25" y="174"/>
                    <a:pt x="27" y="174"/>
                  </a:cubicBezTo>
                  <a:cubicBezTo>
                    <a:pt x="29" y="174"/>
                    <a:pt x="28" y="175"/>
                    <a:pt x="28" y="176"/>
                  </a:cubicBezTo>
                  <a:cubicBezTo>
                    <a:pt x="28" y="177"/>
                    <a:pt x="25" y="179"/>
                    <a:pt x="24" y="179"/>
                  </a:cubicBezTo>
                  <a:cubicBezTo>
                    <a:pt x="24" y="180"/>
                    <a:pt x="23" y="181"/>
                    <a:pt x="21" y="182"/>
                  </a:cubicBezTo>
                  <a:cubicBezTo>
                    <a:pt x="19" y="184"/>
                    <a:pt x="19" y="183"/>
                    <a:pt x="18" y="184"/>
                  </a:cubicBezTo>
                  <a:cubicBezTo>
                    <a:pt x="16" y="184"/>
                    <a:pt x="17" y="185"/>
                    <a:pt x="16" y="187"/>
                  </a:cubicBezTo>
                  <a:cubicBezTo>
                    <a:pt x="14" y="188"/>
                    <a:pt x="14" y="188"/>
                    <a:pt x="13" y="189"/>
                  </a:cubicBezTo>
                  <a:cubicBezTo>
                    <a:pt x="12" y="190"/>
                    <a:pt x="13" y="190"/>
                    <a:pt x="12" y="192"/>
                  </a:cubicBezTo>
                  <a:cubicBezTo>
                    <a:pt x="11" y="195"/>
                    <a:pt x="12" y="193"/>
                    <a:pt x="12" y="193"/>
                  </a:cubicBezTo>
                  <a:cubicBezTo>
                    <a:pt x="13" y="197"/>
                    <a:pt x="13" y="197"/>
                    <a:pt x="13" y="197"/>
                  </a:cubicBezTo>
                  <a:cubicBezTo>
                    <a:pt x="13" y="197"/>
                    <a:pt x="13" y="199"/>
                    <a:pt x="12" y="199"/>
                  </a:cubicBezTo>
                  <a:cubicBezTo>
                    <a:pt x="11" y="200"/>
                    <a:pt x="11" y="203"/>
                    <a:pt x="11" y="204"/>
                  </a:cubicBezTo>
                  <a:cubicBezTo>
                    <a:pt x="11" y="205"/>
                    <a:pt x="13" y="203"/>
                    <a:pt x="13" y="203"/>
                  </a:cubicBezTo>
                  <a:cubicBezTo>
                    <a:pt x="13" y="200"/>
                    <a:pt x="13" y="200"/>
                    <a:pt x="13" y="200"/>
                  </a:cubicBezTo>
                  <a:cubicBezTo>
                    <a:pt x="15" y="198"/>
                    <a:pt x="15" y="198"/>
                    <a:pt x="15" y="198"/>
                  </a:cubicBezTo>
                  <a:cubicBezTo>
                    <a:pt x="15" y="198"/>
                    <a:pt x="17" y="194"/>
                    <a:pt x="18" y="193"/>
                  </a:cubicBezTo>
                  <a:cubicBezTo>
                    <a:pt x="18" y="192"/>
                    <a:pt x="20" y="188"/>
                    <a:pt x="20" y="188"/>
                  </a:cubicBezTo>
                  <a:cubicBezTo>
                    <a:pt x="20" y="188"/>
                    <a:pt x="23" y="184"/>
                    <a:pt x="23" y="183"/>
                  </a:cubicBezTo>
                  <a:cubicBezTo>
                    <a:pt x="23" y="183"/>
                    <a:pt x="24" y="184"/>
                    <a:pt x="24" y="184"/>
                  </a:cubicBezTo>
                  <a:cubicBezTo>
                    <a:pt x="24" y="184"/>
                    <a:pt x="30" y="179"/>
                    <a:pt x="30" y="179"/>
                  </a:cubicBezTo>
                  <a:cubicBezTo>
                    <a:pt x="31" y="178"/>
                    <a:pt x="34" y="175"/>
                    <a:pt x="34" y="175"/>
                  </a:cubicBezTo>
                  <a:cubicBezTo>
                    <a:pt x="39" y="171"/>
                    <a:pt x="39" y="171"/>
                    <a:pt x="39" y="171"/>
                  </a:cubicBezTo>
                  <a:cubicBezTo>
                    <a:pt x="39" y="171"/>
                    <a:pt x="43" y="166"/>
                    <a:pt x="43" y="164"/>
                  </a:cubicBezTo>
                  <a:cubicBezTo>
                    <a:pt x="43" y="163"/>
                    <a:pt x="44" y="157"/>
                    <a:pt x="46" y="156"/>
                  </a:cubicBezTo>
                  <a:cubicBezTo>
                    <a:pt x="47" y="155"/>
                    <a:pt x="49" y="154"/>
                    <a:pt x="51" y="153"/>
                  </a:cubicBezTo>
                  <a:cubicBezTo>
                    <a:pt x="53" y="152"/>
                    <a:pt x="54" y="150"/>
                    <a:pt x="54" y="150"/>
                  </a:cubicBezTo>
                  <a:cubicBezTo>
                    <a:pt x="54" y="150"/>
                    <a:pt x="58" y="151"/>
                    <a:pt x="60" y="150"/>
                  </a:cubicBezTo>
                  <a:cubicBezTo>
                    <a:pt x="61" y="149"/>
                    <a:pt x="65" y="145"/>
                    <a:pt x="65" y="145"/>
                  </a:cubicBezTo>
                  <a:cubicBezTo>
                    <a:pt x="66" y="144"/>
                    <a:pt x="70" y="143"/>
                    <a:pt x="71" y="143"/>
                  </a:cubicBezTo>
                  <a:cubicBezTo>
                    <a:pt x="71" y="143"/>
                    <a:pt x="76" y="144"/>
                    <a:pt x="78" y="144"/>
                  </a:cubicBezTo>
                  <a:cubicBezTo>
                    <a:pt x="80" y="144"/>
                    <a:pt x="89" y="143"/>
                    <a:pt x="89" y="143"/>
                  </a:cubicBezTo>
                  <a:cubicBezTo>
                    <a:pt x="89" y="143"/>
                    <a:pt x="95" y="141"/>
                    <a:pt x="96" y="141"/>
                  </a:cubicBezTo>
                  <a:cubicBezTo>
                    <a:pt x="96" y="141"/>
                    <a:pt x="101" y="141"/>
                    <a:pt x="103" y="143"/>
                  </a:cubicBezTo>
                  <a:cubicBezTo>
                    <a:pt x="105" y="145"/>
                    <a:pt x="107" y="146"/>
                    <a:pt x="108" y="146"/>
                  </a:cubicBezTo>
                  <a:cubicBezTo>
                    <a:pt x="109" y="146"/>
                    <a:pt x="116" y="145"/>
                    <a:pt x="119" y="143"/>
                  </a:cubicBezTo>
                  <a:cubicBezTo>
                    <a:pt x="123" y="140"/>
                    <a:pt x="121" y="142"/>
                    <a:pt x="123" y="142"/>
                  </a:cubicBezTo>
                  <a:cubicBezTo>
                    <a:pt x="125" y="141"/>
                    <a:pt x="127" y="142"/>
                    <a:pt x="128" y="142"/>
                  </a:cubicBezTo>
                  <a:cubicBezTo>
                    <a:pt x="128" y="142"/>
                    <a:pt x="126" y="144"/>
                    <a:pt x="122" y="145"/>
                  </a:cubicBezTo>
                  <a:cubicBezTo>
                    <a:pt x="118" y="146"/>
                    <a:pt x="118" y="146"/>
                    <a:pt x="117" y="146"/>
                  </a:cubicBezTo>
                  <a:cubicBezTo>
                    <a:pt x="116" y="146"/>
                    <a:pt x="110" y="150"/>
                    <a:pt x="107" y="151"/>
                  </a:cubicBezTo>
                  <a:cubicBezTo>
                    <a:pt x="103" y="153"/>
                    <a:pt x="103" y="153"/>
                    <a:pt x="102" y="154"/>
                  </a:cubicBezTo>
                  <a:cubicBezTo>
                    <a:pt x="100" y="154"/>
                    <a:pt x="100" y="155"/>
                    <a:pt x="99" y="156"/>
                  </a:cubicBezTo>
                  <a:cubicBezTo>
                    <a:pt x="97" y="156"/>
                    <a:pt x="97" y="157"/>
                    <a:pt x="96" y="158"/>
                  </a:cubicBezTo>
                  <a:cubicBezTo>
                    <a:pt x="94" y="159"/>
                    <a:pt x="95" y="159"/>
                    <a:pt x="94" y="161"/>
                  </a:cubicBezTo>
                  <a:cubicBezTo>
                    <a:pt x="93" y="162"/>
                    <a:pt x="96" y="162"/>
                    <a:pt x="96" y="162"/>
                  </a:cubicBezTo>
                  <a:cubicBezTo>
                    <a:pt x="96" y="163"/>
                    <a:pt x="100" y="162"/>
                    <a:pt x="100" y="162"/>
                  </a:cubicBezTo>
                  <a:cubicBezTo>
                    <a:pt x="104" y="162"/>
                    <a:pt x="104" y="162"/>
                    <a:pt x="104" y="162"/>
                  </a:cubicBezTo>
                  <a:cubicBezTo>
                    <a:pt x="106" y="163"/>
                    <a:pt x="106" y="163"/>
                    <a:pt x="106" y="163"/>
                  </a:cubicBezTo>
                  <a:cubicBezTo>
                    <a:pt x="106" y="163"/>
                    <a:pt x="104" y="165"/>
                    <a:pt x="103" y="166"/>
                  </a:cubicBezTo>
                  <a:cubicBezTo>
                    <a:pt x="103" y="167"/>
                    <a:pt x="101" y="166"/>
                    <a:pt x="99" y="166"/>
                  </a:cubicBezTo>
                  <a:cubicBezTo>
                    <a:pt x="97" y="165"/>
                    <a:pt x="90" y="170"/>
                    <a:pt x="90" y="170"/>
                  </a:cubicBezTo>
                  <a:cubicBezTo>
                    <a:pt x="85" y="171"/>
                    <a:pt x="85" y="171"/>
                    <a:pt x="85" y="171"/>
                  </a:cubicBezTo>
                  <a:cubicBezTo>
                    <a:pt x="77" y="172"/>
                    <a:pt x="77" y="172"/>
                    <a:pt x="77" y="172"/>
                  </a:cubicBezTo>
                  <a:cubicBezTo>
                    <a:pt x="77" y="172"/>
                    <a:pt x="74" y="173"/>
                    <a:pt x="73" y="173"/>
                  </a:cubicBezTo>
                  <a:cubicBezTo>
                    <a:pt x="72" y="174"/>
                    <a:pt x="72" y="175"/>
                    <a:pt x="72" y="175"/>
                  </a:cubicBezTo>
                  <a:cubicBezTo>
                    <a:pt x="72" y="175"/>
                    <a:pt x="68" y="176"/>
                    <a:pt x="67" y="176"/>
                  </a:cubicBezTo>
                  <a:cubicBezTo>
                    <a:pt x="67" y="176"/>
                    <a:pt x="67" y="175"/>
                    <a:pt x="67" y="174"/>
                  </a:cubicBezTo>
                  <a:cubicBezTo>
                    <a:pt x="66" y="174"/>
                    <a:pt x="67" y="173"/>
                    <a:pt x="68" y="173"/>
                  </a:cubicBezTo>
                  <a:cubicBezTo>
                    <a:pt x="69" y="172"/>
                    <a:pt x="68" y="170"/>
                    <a:pt x="68" y="170"/>
                  </a:cubicBezTo>
                  <a:cubicBezTo>
                    <a:pt x="68" y="170"/>
                    <a:pt x="65" y="170"/>
                    <a:pt x="63" y="170"/>
                  </a:cubicBezTo>
                  <a:cubicBezTo>
                    <a:pt x="62" y="170"/>
                    <a:pt x="61" y="170"/>
                    <a:pt x="60" y="170"/>
                  </a:cubicBezTo>
                  <a:cubicBezTo>
                    <a:pt x="60" y="170"/>
                    <a:pt x="58" y="174"/>
                    <a:pt x="58" y="174"/>
                  </a:cubicBezTo>
                  <a:cubicBezTo>
                    <a:pt x="58" y="175"/>
                    <a:pt x="58" y="175"/>
                    <a:pt x="58" y="175"/>
                  </a:cubicBezTo>
                  <a:cubicBezTo>
                    <a:pt x="58" y="175"/>
                    <a:pt x="63" y="176"/>
                    <a:pt x="63" y="176"/>
                  </a:cubicBezTo>
                  <a:cubicBezTo>
                    <a:pt x="64" y="176"/>
                    <a:pt x="63" y="178"/>
                    <a:pt x="63" y="178"/>
                  </a:cubicBezTo>
                  <a:cubicBezTo>
                    <a:pt x="59" y="180"/>
                    <a:pt x="59" y="180"/>
                    <a:pt x="59" y="180"/>
                  </a:cubicBezTo>
                  <a:cubicBezTo>
                    <a:pt x="50" y="182"/>
                    <a:pt x="50" y="182"/>
                    <a:pt x="50" y="182"/>
                  </a:cubicBezTo>
                  <a:cubicBezTo>
                    <a:pt x="50" y="182"/>
                    <a:pt x="46" y="178"/>
                    <a:pt x="46" y="178"/>
                  </a:cubicBezTo>
                  <a:cubicBezTo>
                    <a:pt x="46" y="177"/>
                    <a:pt x="44" y="178"/>
                    <a:pt x="43" y="179"/>
                  </a:cubicBezTo>
                  <a:cubicBezTo>
                    <a:pt x="41" y="179"/>
                    <a:pt x="40" y="179"/>
                    <a:pt x="40" y="179"/>
                  </a:cubicBezTo>
                  <a:cubicBezTo>
                    <a:pt x="39" y="179"/>
                    <a:pt x="37" y="180"/>
                    <a:pt x="37" y="180"/>
                  </a:cubicBezTo>
                  <a:cubicBezTo>
                    <a:pt x="35" y="180"/>
                    <a:pt x="35" y="180"/>
                    <a:pt x="35" y="180"/>
                  </a:cubicBezTo>
                  <a:cubicBezTo>
                    <a:pt x="34" y="182"/>
                    <a:pt x="34" y="182"/>
                    <a:pt x="34" y="182"/>
                  </a:cubicBezTo>
                  <a:cubicBezTo>
                    <a:pt x="34" y="182"/>
                    <a:pt x="31" y="184"/>
                    <a:pt x="31" y="184"/>
                  </a:cubicBezTo>
                  <a:cubicBezTo>
                    <a:pt x="30" y="184"/>
                    <a:pt x="27" y="184"/>
                    <a:pt x="27" y="184"/>
                  </a:cubicBezTo>
                  <a:cubicBezTo>
                    <a:pt x="25" y="187"/>
                    <a:pt x="25" y="187"/>
                    <a:pt x="25" y="187"/>
                  </a:cubicBezTo>
                  <a:cubicBezTo>
                    <a:pt x="25" y="187"/>
                    <a:pt x="20" y="192"/>
                    <a:pt x="19" y="193"/>
                  </a:cubicBezTo>
                  <a:cubicBezTo>
                    <a:pt x="19" y="193"/>
                    <a:pt x="17" y="196"/>
                    <a:pt x="17" y="197"/>
                  </a:cubicBezTo>
                  <a:cubicBezTo>
                    <a:pt x="17" y="197"/>
                    <a:pt x="16" y="200"/>
                    <a:pt x="16" y="200"/>
                  </a:cubicBezTo>
                  <a:cubicBezTo>
                    <a:pt x="15" y="202"/>
                    <a:pt x="15" y="202"/>
                    <a:pt x="15" y="202"/>
                  </a:cubicBezTo>
                  <a:cubicBezTo>
                    <a:pt x="14" y="205"/>
                    <a:pt x="14" y="205"/>
                    <a:pt x="14" y="205"/>
                  </a:cubicBezTo>
                  <a:cubicBezTo>
                    <a:pt x="15" y="209"/>
                    <a:pt x="15" y="209"/>
                    <a:pt x="15" y="209"/>
                  </a:cubicBezTo>
                  <a:cubicBezTo>
                    <a:pt x="15" y="209"/>
                    <a:pt x="16" y="212"/>
                    <a:pt x="16" y="213"/>
                  </a:cubicBezTo>
                  <a:cubicBezTo>
                    <a:pt x="16" y="214"/>
                    <a:pt x="16" y="218"/>
                    <a:pt x="16" y="218"/>
                  </a:cubicBezTo>
                  <a:cubicBezTo>
                    <a:pt x="16" y="219"/>
                    <a:pt x="17" y="222"/>
                    <a:pt x="18" y="222"/>
                  </a:cubicBezTo>
                  <a:cubicBezTo>
                    <a:pt x="18" y="223"/>
                    <a:pt x="16" y="224"/>
                    <a:pt x="16" y="224"/>
                  </a:cubicBezTo>
                  <a:cubicBezTo>
                    <a:pt x="16" y="224"/>
                    <a:pt x="15" y="229"/>
                    <a:pt x="16" y="230"/>
                  </a:cubicBezTo>
                  <a:cubicBezTo>
                    <a:pt x="16" y="230"/>
                    <a:pt x="19" y="230"/>
                    <a:pt x="19" y="230"/>
                  </a:cubicBezTo>
                  <a:cubicBezTo>
                    <a:pt x="19" y="230"/>
                    <a:pt x="23" y="228"/>
                    <a:pt x="23" y="228"/>
                  </a:cubicBezTo>
                  <a:cubicBezTo>
                    <a:pt x="24" y="228"/>
                    <a:pt x="26" y="226"/>
                    <a:pt x="26" y="226"/>
                  </a:cubicBezTo>
                  <a:cubicBezTo>
                    <a:pt x="27" y="225"/>
                    <a:pt x="30" y="224"/>
                    <a:pt x="31" y="224"/>
                  </a:cubicBezTo>
                  <a:cubicBezTo>
                    <a:pt x="31" y="224"/>
                    <a:pt x="34" y="223"/>
                    <a:pt x="34" y="223"/>
                  </a:cubicBezTo>
                  <a:cubicBezTo>
                    <a:pt x="34" y="223"/>
                    <a:pt x="37" y="220"/>
                    <a:pt x="37" y="220"/>
                  </a:cubicBezTo>
                  <a:cubicBezTo>
                    <a:pt x="38" y="220"/>
                    <a:pt x="43" y="220"/>
                    <a:pt x="43" y="220"/>
                  </a:cubicBezTo>
                  <a:cubicBezTo>
                    <a:pt x="43" y="220"/>
                    <a:pt x="42" y="225"/>
                    <a:pt x="39" y="227"/>
                  </a:cubicBezTo>
                  <a:cubicBezTo>
                    <a:pt x="37" y="229"/>
                    <a:pt x="38" y="230"/>
                    <a:pt x="38" y="230"/>
                  </a:cubicBezTo>
                  <a:cubicBezTo>
                    <a:pt x="38" y="231"/>
                    <a:pt x="38" y="233"/>
                    <a:pt x="38" y="234"/>
                  </a:cubicBezTo>
                  <a:cubicBezTo>
                    <a:pt x="38" y="234"/>
                    <a:pt x="43" y="237"/>
                    <a:pt x="43" y="237"/>
                  </a:cubicBezTo>
                  <a:cubicBezTo>
                    <a:pt x="43" y="237"/>
                    <a:pt x="44" y="239"/>
                    <a:pt x="44" y="239"/>
                  </a:cubicBezTo>
                  <a:cubicBezTo>
                    <a:pt x="45" y="240"/>
                    <a:pt x="45" y="241"/>
                    <a:pt x="45" y="241"/>
                  </a:cubicBezTo>
                  <a:cubicBezTo>
                    <a:pt x="45" y="241"/>
                    <a:pt x="45" y="243"/>
                    <a:pt x="45" y="244"/>
                  </a:cubicBezTo>
                  <a:cubicBezTo>
                    <a:pt x="44" y="244"/>
                    <a:pt x="45" y="246"/>
                    <a:pt x="45" y="247"/>
                  </a:cubicBezTo>
                  <a:cubicBezTo>
                    <a:pt x="46" y="247"/>
                    <a:pt x="47" y="248"/>
                    <a:pt x="48" y="248"/>
                  </a:cubicBezTo>
                  <a:cubicBezTo>
                    <a:pt x="48" y="248"/>
                    <a:pt x="53" y="246"/>
                    <a:pt x="54" y="246"/>
                  </a:cubicBezTo>
                  <a:cubicBezTo>
                    <a:pt x="55" y="246"/>
                    <a:pt x="53" y="249"/>
                    <a:pt x="53" y="249"/>
                  </a:cubicBezTo>
                  <a:cubicBezTo>
                    <a:pt x="52" y="253"/>
                    <a:pt x="52" y="253"/>
                    <a:pt x="52" y="253"/>
                  </a:cubicBezTo>
                  <a:cubicBezTo>
                    <a:pt x="52" y="253"/>
                    <a:pt x="49" y="254"/>
                    <a:pt x="49" y="254"/>
                  </a:cubicBezTo>
                  <a:cubicBezTo>
                    <a:pt x="48" y="254"/>
                    <a:pt x="46" y="255"/>
                    <a:pt x="46" y="255"/>
                  </a:cubicBezTo>
                  <a:cubicBezTo>
                    <a:pt x="45" y="255"/>
                    <a:pt x="45" y="257"/>
                    <a:pt x="45" y="258"/>
                  </a:cubicBezTo>
                  <a:cubicBezTo>
                    <a:pt x="45" y="258"/>
                    <a:pt x="46" y="260"/>
                    <a:pt x="46" y="260"/>
                  </a:cubicBezTo>
                  <a:cubicBezTo>
                    <a:pt x="46" y="260"/>
                    <a:pt x="48" y="261"/>
                    <a:pt x="49" y="262"/>
                  </a:cubicBezTo>
                  <a:cubicBezTo>
                    <a:pt x="49" y="262"/>
                    <a:pt x="50" y="263"/>
                    <a:pt x="51" y="263"/>
                  </a:cubicBezTo>
                  <a:cubicBezTo>
                    <a:pt x="51" y="264"/>
                    <a:pt x="56" y="267"/>
                    <a:pt x="56" y="267"/>
                  </a:cubicBezTo>
                  <a:cubicBezTo>
                    <a:pt x="56" y="267"/>
                    <a:pt x="55" y="271"/>
                    <a:pt x="54" y="271"/>
                  </a:cubicBezTo>
                  <a:cubicBezTo>
                    <a:pt x="53" y="271"/>
                    <a:pt x="52" y="270"/>
                    <a:pt x="50" y="270"/>
                  </a:cubicBezTo>
                  <a:cubicBezTo>
                    <a:pt x="49" y="269"/>
                    <a:pt x="48" y="271"/>
                    <a:pt x="48" y="271"/>
                  </a:cubicBezTo>
                  <a:cubicBezTo>
                    <a:pt x="47" y="270"/>
                    <a:pt x="46" y="267"/>
                    <a:pt x="46" y="267"/>
                  </a:cubicBezTo>
                  <a:cubicBezTo>
                    <a:pt x="46" y="267"/>
                    <a:pt x="43" y="264"/>
                    <a:pt x="43" y="264"/>
                  </a:cubicBezTo>
                  <a:cubicBezTo>
                    <a:pt x="42" y="264"/>
                    <a:pt x="41" y="262"/>
                    <a:pt x="41" y="262"/>
                  </a:cubicBezTo>
                  <a:cubicBezTo>
                    <a:pt x="39" y="261"/>
                    <a:pt x="39" y="261"/>
                    <a:pt x="39" y="261"/>
                  </a:cubicBezTo>
                  <a:cubicBezTo>
                    <a:pt x="38" y="261"/>
                    <a:pt x="39" y="261"/>
                    <a:pt x="38" y="261"/>
                  </a:cubicBezTo>
                  <a:cubicBezTo>
                    <a:pt x="37" y="260"/>
                    <a:pt x="34" y="263"/>
                    <a:pt x="35" y="266"/>
                  </a:cubicBezTo>
                  <a:cubicBezTo>
                    <a:pt x="35" y="267"/>
                    <a:pt x="37" y="268"/>
                    <a:pt x="37" y="268"/>
                  </a:cubicBezTo>
                  <a:cubicBezTo>
                    <a:pt x="37" y="268"/>
                    <a:pt x="38" y="270"/>
                    <a:pt x="39" y="271"/>
                  </a:cubicBezTo>
                  <a:cubicBezTo>
                    <a:pt x="39" y="272"/>
                    <a:pt x="42" y="272"/>
                    <a:pt x="41" y="272"/>
                  </a:cubicBezTo>
                  <a:cubicBezTo>
                    <a:pt x="40" y="272"/>
                    <a:pt x="40" y="277"/>
                    <a:pt x="40" y="277"/>
                  </a:cubicBezTo>
                  <a:cubicBezTo>
                    <a:pt x="40" y="277"/>
                    <a:pt x="35" y="275"/>
                    <a:pt x="36" y="275"/>
                  </a:cubicBezTo>
                  <a:cubicBezTo>
                    <a:pt x="37" y="275"/>
                    <a:pt x="34" y="279"/>
                    <a:pt x="34" y="279"/>
                  </a:cubicBezTo>
                  <a:cubicBezTo>
                    <a:pt x="34" y="279"/>
                    <a:pt x="37" y="280"/>
                    <a:pt x="37" y="281"/>
                  </a:cubicBezTo>
                  <a:cubicBezTo>
                    <a:pt x="38" y="282"/>
                    <a:pt x="41" y="282"/>
                    <a:pt x="42" y="282"/>
                  </a:cubicBezTo>
                  <a:cubicBezTo>
                    <a:pt x="43" y="281"/>
                    <a:pt x="45" y="283"/>
                    <a:pt x="46" y="284"/>
                  </a:cubicBezTo>
                  <a:cubicBezTo>
                    <a:pt x="49" y="287"/>
                    <a:pt x="49" y="284"/>
                    <a:pt x="49" y="283"/>
                  </a:cubicBezTo>
                  <a:cubicBezTo>
                    <a:pt x="49" y="283"/>
                    <a:pt x="49" y="279"/>
                    <a:pt x="49" y="280"/>
                  </a:cubicBezTo>
                  <a:cubicBezTo>
                    <a:pt x="49" y="280"/>
                    <a:pt x="52" y="279"/>
                    <a:pt x="52" y="279"/>
                  </a:cubicBezTo>
                  <a:cubicBezTo>
                    <a:pt x="56" y="281"/>
                    <a:pt x="56" y="281"/>
                    <a:pt x="56" y="281"/>
                  </a:cubicBezTo>
                  <a:cubicBezTo>
                    <a:pt x="56" y="281"/>
                    <a:pt x="58" y="282"/>
                    <a:pt x="59" y="283"/>
                  </a:cubicBezTo>
                  <a:cubicBezTo>
                    <a:pt x="61" y="284"/>
                    <a:pt x="60" y="284"/>
                    <a:pt x="60" y="284"/>
                  </a:cubicBezTo>
                  <a:cubicBezTo>
                    <a:pt x="71" y="285"/>
                    <a:pt x="71" y="285"/>
                    <a:pt x="71" y="285"/>
                  </a:cubicBezTo>
                  <a:cubicBezTo>
                    <a:pt x="71" y="285"/>
                    <a:pt x="72" y="285"/>
                    <a:pt x="73" y="286"/>
                  </a:cubicBezTo>
                  <a:cubicBezTo>
                    <a:pt x="74" y="287"/>
                    <a:pt x="73" y="287"/>
                    <a:pt x="73" y="288"/>
                  </a:cubicBezTo>
                  <a:cubicBezTo>
                    <a:pt x="72" y="293"/>
                    <a:pt x="76" y="295"/>
                    <a:pt x="76" y="296"/>
                  </a:cubicBezTo>
                  <a:cubicBezTo>
                    <a:pt x="76" y="296"/>
                    <a:pt x="72" y="297"/>
                    <a:pt x="71" y="297"/>
                  </a:cubicBezTo>
                  <a:cubicBezTo>
                    <a:pt x="70" y="297"/>
                    <a:pt x="70" y="297"/>
                    <a:pt x="70" y="297"/>
                  </a:cubicBezTo>
                  <a:cubicBezTo>
                    <a:pt x="70" y="297"/>
                    <a:pt x="70" y="297"/>
                    <a:pt x="70" y="297"/>
                  </a:cubicBezTo>
                  <a:cubicBezTo>
                    <a:pt x="70" y="298"/>
                    <a:pt x="69" y="299"/>
                    <a:pt x="69" y="300"/>
                  </a:cubicBezTo>
                  <a:cubicBezTo>
                    <a:pt x="70" y="300"/>
                    <a:pt x="70" y="300"/>
                    <a:pt x="70" y="300"/>
                  </a:cubicBezTo>
                  <a:cubicBezTo>
                    <a:pt x="78" y="302"/>
                    <a:pt x="74" y="302"/>
                    <a:pt x="76" y="308"/>
                  </a:cubicBezTo>
                  <a:cubicBezTo>
                    <a:pt x="80" y="319"/>
                    <a:pt x="79" y="304"/>
                    <a:pt x="81" y="308"/>
                  </a:cubicBezTo>
                  <a:cubicBezTo>
                    <a:pt x="81" y="309"/>
                    <a:pt x="84" y="308"/>
                    <a:pt x="86" y="311"/>
                  </a:cubicBezTo>
                  <a:cubicBezTo>
                    <a:pt x="87" y="314"/>
                    <a:pt x="91" y="306"/>
                    <a:pt x="93" y="315"/>
                  </a:cubicBezTo>
                  <a:cubicBezTo>
                    <a:pt x="94" y="317"/>
                    <a:pt x="89" y="319"/>
                    <a:pt x="87" y="320"/>
                  </a:cubicBezTo>
                  <a:cubicBezTo>
                    <a:pt x="83" y="322"/>
                    <a:pt x="83" y="320"/>
                    <a:pt x="80" y="321"/>
                  </a:cubicBezTo>
                  <a:cubicBezTo>
                    <a:pt x="80" y="321"/>
                    <a:pt x="78" y="327"/>
                    <a:pt x="82" y="327"/>
                  </a:cubicBezTo>
                  <a:cubicBezTo>
                    <a:pt x="83" y="327"/>
                    <a:pt x="83" y="325"/>
                    <a:pt x="85" y="325"/>
                  </a:cubicBezTo>
                  <a:cubicBezTo>
                    <a:pt x="88" y="324"/>
                    <a:pt x="88" y="327"/>
                    <a:pt x="90" y="326"/>
                  </a:cubicBezTo>
                  <a:cubicBezTo>
                    <a:pt x="94" y="326"/>
                    <a:pt x="94" y="325"/>
                    <a:pt x="100" y="323"/>
                  </a:cubicBezTo>
                  <a:cubicBezTo>
                    <a:pt x="104" y="322"/>
                    <a:pt x="108" y="315"/>
                    <a:pt x="109" y="315"/>
                  </a:cubicBezTo>
                  <a:cubicBezTo>
                    <a:pt x="110" y="315"/>
                    <a:pt x="118" y="319"/>
                    <a:pt x="118" y="321"/>
                  </a:cubicBezTo>
                  <a:cubicBezTo>
                    <a:pt x="118" y="322"/>
                    <a:pt x="105" y="331"/>
                    <a:pt x="103" y="331"/>
                  </a:cubicBezTo>
                  <a:cubicBezTo>
                    <a:pt x="93" y="334"/>
                    <a:pt x="102" y="336"/>
                    <a:pt x="104" y="335"/>
                  </a:cubicBezTo>
                  <a:cubicBezTo>
                    <a:pt x="111" y="331"/>
                    <a:pt x="110" y="336"/>
                    <a:pt x="113" y="334"/>
                  </a:cubicBezTo>
                  <a:cubicBezTo>
                    <a:pt x="115" y="333"/>
                    <a:pt x="114" y="339"/>
                    <a:pt x="116" y="338"/>
                  </a:cubicBezTo>
                  <a:cubicBezTo>
                    <a:pt x="118" y="337"/>
                    <a:pt x="121" y="330"/>
                    <a:pt x="123" y="328"/>
                  </a:cubicBezTo>
                  <a:cubicBezTo>
                    <a:pt x="127" y="324"/>
                    <a:pt x="130" y="323"/>
                    <a:pt x="131" y="324"/>
                  </a:cubicBezTo>
                  <a:cubicBezTo>
                    <a:pt x="132" y="325"/>
                    <a:pt x="132" y="322"/>
                    <a:pt x="138" y="324"/>
                  </a:cubicBezTo>
                  <a:cubicBezTo>
                    <a:pt x="141" y="325"/>
                    <a:pt x="139" y="324"/>
                    <a:pt x="142" y="335"/>
                  </a:cubicBezTo>
                  <a:cubicBezTo>
                    <a:pt x="143" y="337"/>
                    <a:pt x="151" y="343"/>
                    <a:pt x="151" y="341"/>
                  </a:cubicBezTo>
                  <a:cubicBezTo>
                    <a:pt x="165" y="342"/>
                    <a:pt x="165" y="342"/>
                    <a:pt x="165" y="342"/>
                  </a:cubicBezTo>
                  <a:cubicBezTo>
                    <a:pt x="173" y="336"/>
                    <a:pt x="173" y="336"/>
                    <a:pt x="173" y="336"/>
                  </a:cubicBezTo>
                  <a:cubicBezTo>
                    <a:pt x="187" y="334"/>
                    <a:pt x="187" y="334"/>
                    <a:pt x="187" y="334"/>
                  </a:cubicBezTo>
                  <a:cubicBezTo>
                    <a:pt x="191" y="331"/>
                    <a:pt x="186" y="320"/>
                    <a:pt x="190" y="319"/>
                  </a:cubicBezTo>
                  <a:cubicBezTo>
                    <a:pt x="190" y="309"/>
                    <a:pt x="191" y="315"/>
                    <a:pt x="189" y="306"/>
                  </a:cubicBezTo>
                  <a:cubicBezTo>
                    <a:pt x="192" y="305"/>
                    <a:pt x="207" y="303"/>
                    <a:pt x="209" y="303"/>
                  </a:cubicBezTo>
                  <a:cubicBezTo>
                    <a:pt x="217" y="303"/>
                    <a:pt x="217" y="303"/>
                    <a:pt x="217" y="303"/>
                  </a:cubicBezTo>
                  <a:cubicBezTo>
                    <a:pt x="230" y="307"/>
                    <a:pt x="230" y="307"/>
                    <a:pt x="230" y="307"/>
                  </a:cubicBezTo>
                  <a:cubicBezTo>
                    <a:pt x="235" y="313"/>
                    <a:pt x="240" y="305"/>
                    <a:pt x="241" y="311"/>
                  </a:cubicBezTo>
                  <a:cubicBezTo>
                    <a:pt x="243" y="317"/>
                    <a:pt x="261" y="322"/>
                    <a:pt x="267" y="323"/>
                  </a:cubicBezTo>
                  <a:cubicBezTo>
                    <a:pt x="268" y="322"/>
                    <a:pt x="277" y="315"/>
                    <a:pt x="279" y="315"/>
                  </a:cubicBezTo>
                  <a:cubicBezTo>
                    <a:pt x="283" y="315"/>
                    <a:pt x="288" y="311"/>
                    <a:pt x="291" y="310"/>
                  </a:cubicBezTo>
                  <a:cubicBezTo>
                    <a:pt x="297" y="309"/>
                    <a:pt x="298" y="303"/>
                    <a:pt x="300" y="302"/>
                  </a:cubicBezTo>
                  <a:cubicBezTo>
                    <a:pt x="304" y="301"/>
                    <a:pt x="297" y="298"/>
                    <a:pt x="306" y="295"/>
                  </a:cubicBezTo>
                  <a:cubicBezTo>
                    <a:pt x="312" y="286"/>
                    <a:pt x="312" y="286"/>
                    <a:pt x="312" y="286"/>
                  </a:cubicBezTo>
                  <a:cubicBezTo>
                    <a:pt x="314" y="284"/>
                    <a:pt x="315" y="279"/>
                    <a:pt x="317" y="275"/>
                  </a:cubicBezTo>
                  <a:cubicBezTo>
                    <a:pt x="324" y="271"/>
                    <a:pt x="324" y="271"/>
                    <a:pt x="324" y="271"/>
                  </a:cubicBezTo>
                  <a:cubicBezTo>
                    <a:pt x="327" y="272"/>
                    <a:pt x="334" y="273"/>
                    <a:pt x="340" y="276"/>
                  </a:cubicBezTo>
                  <a:cubicBezTo>
                    <a:pt x="345" y="278"/>
                    <a:pt x="350" y="273"/>
                    <a:pt x="351" y="274"/>
                  </a:cubicBezTo>
                  <a:cubicBezTo>
                    <a:pt x="355" y="275"/>
                    <a:pt x="345" y="267"/>
                    <a:pt x="352" y="267"/>
                  </a:cubicBezTo>
                  <a:cubicBezTo>
                    <a:pt x="358" y="263"/>
                    <a:pt x="358" y="263"/>
                    <a:pt x="358" y="263"/>
                  </a:cubicBezTo>
                  <a:cubicBezTo>
                    <a:pt x="363" y="254"/>
                    <a:pt x="363" y="254"/>
                    <a:pt x="363" y="254"/>
                  </a:cubicBezTo>
                  <a:cubicBezTo>
                    <a:pt x="364" y="256"/>
                    <a:pt x="371" y="258"/>
                    <a:pt x="372" y="260"/>
                  </a:cubicBezTo>
                  <a:cubicBezTo>
                    <a:pt x="373" y="265"/>
                    <a:pt x="374" y="264"/>
                    <a:pt x="373" y="267"/>
                  </a:cubicBezTo>
                  <a:cubicBezTo>
                    <a:pt x="373" y="268"/>
                    <a:pt x="363" y="280"/>
                    <a:pt x="365" y="284"/>
                  </a:cubicBezTo>
                  <a:cubicBezTo>
                    <a:pt x="366" y="287"/>
                    <a:pt x="371" y="289"/>
                    <a:pt x="373" y="292"/>
                  </a:cubicBezTo>
                  <a:cubicBezTo>
                    <a:pt x="375" y="295"/>
                    <a:pt x="377" y="297"/>
                    <a:pt x="379" y="299"/>
                  </a:cubicBezTo>
                  <a:cubicBezTo>
                    <a:pt x="382" y="301"/>
                    <a:pt x="387" y="291"/>
                    <a:pt x="387" y="291"/>
                  </a:cubicBezTo>
                  <a:cubicBezTo>
                    <a:pt x="388" y="291"/>
                    <a:pt x="383" y="282"/>
                    <a:pt x="386" y="280"/>
                  </a:cubicBezTo>
                  <a:cubicBezTo>
                    <a:pt x="388" y="278"/>
                    <a:pt x="393" y="278"/>
                    <a:pt x="393" y="276"/>
                  </a:cubicBezTo>
                  <a:cubicBezTo>
                    <a:pt x="394" y="273"/>
                    <a:pt x="387" y="271"/>
                    <a:pt x="387" y="268"/>
                  </a:cubicBezTo>
                  <a:cubicBezTo>
                    <a:pt x="386" y="265"/>
                    <a:pt x="388" y="264"/>
                    <a:pt x="386" y="261"/>
                  </a:cubicBezTo>
                  <a:cubicBezTo>
                    <a:pt x="382" y="256"/>
                    <a:pt x="386" y="251"/>
                    <a:pt x="393" y="251"/>
                  </a:cubicBezTo>
                  <a:cubicBezTo>
                    <a:pt x="400" y="256"/>
                    <a:pt x="400" y="256"/>
                    <a:pt x="400" y="256"/>
                  </a:cubicBezTo>
                  <a:cubicBezTo>
                    <a:pt x="405" y="256"/>
                    <a:pt x="410" y="254"/>
                    <a:pt x="414" y="251"/>
                  </a:cubicBezTo>
                  <a:cubicBezTo>
                    <a:pt x="425" y="242"/>
                    <a:pt x="425" y="242"/>
                    <a:pt x="425" y="242"/>
                  </a:cubicBezTo>
                  <a:cubicBezTo>
                    <a:pt x="425" y="242"/>
                    <a:pt x="433" y="233"/>
                    <a:pt x="435" y="233"/>
                  </a:cubicBezTo>
                  <a:cubicBezTo>
                    <a:pt x="438" y="232"/>
                    <a:pt x="443" y="231"/>
                    <a:pt x="443" y="231"/>
                  </a:cubicBezTo>
                  <a:cubicBezTo>
                    <a:pt x="453" y="236"/>
                    <a:pt x="453" y="236"/>
                    <a:pt x="453" y="236"/>
                  </a:cubicBezTo>
                  <a:cubicBezTo>
                    <a:pt x="466" y="233"/>
                    <a:pt x="480" y="230"/>
                    <a:pt x="489" y="221"/>
                  </a:cubicBezTo>
                  <a:cubicBezTo>
                    <a:pt x="502" y="209"/>
                    <a:pt x="490" y="209"/>
                    <a:pt x="504" y="205"/>
                  </a:cubicBezTo>
                  <a:cubicBezTo>
                    <a:pt x="512" y="197"/>
                    <a:pt x="512" y="197"/>
                    <a:pt x="512" y="197"/>
                  </a:cubicBezTo>
                  <a:cubicBezTo>
                    <a:pt x="530" y="192"/>
                    <a:pt x="530" y="192"/>
                    <a:pt x="530" y="192"/>
                  </a:cubicBezTo>
                  <a:cubicBezTo>
                    <a:pt x="538" y="187"/>
                    <a:pt x="538" y="187"/>
                    <a:pt x="538" y="187"/>
                  </a:cubicBezTo>
                  <a:cubicBezTo>
                    <a:pt x="550" y="182"/>
                    <a:pt x="550" y="182"/>
                    <a:pt x="550" y="182"/>
                  </a:cubicBezTo>
                  <a:cubicBezTo>
                    <a:pt x="554" y="173"/>
                    <a:pt x="554" y="173"/>
                    <a:pt x="554" y="173"/>
                  </a:cubicBezTo>
                  <a:cubicBezTo>
                    <a:pt x="559" y="174"/>
                    <a:pt x="559" y="174"/>
                    <a:pt x="559" y="174"/>
                  </a:cubicBezTo>
                  <a:cubicBezTo>
                    <a:pt x="560" y="174"/>
                    <a:pt x="556" y="177"/>
                    <a:pt x="562" y="178"/>
                  </a:cubicBezTo>
                  <a:cubicBezTo>
                    <a:pt x="564" y="178"/>
                    <a:pt x="565" y="176"/>
                    <a:pt x="567" y="175"/>
                  </a:cubicBezTo>
                  <a:cubicBezTo>
                    <a:pt x="571" y="173"/>
                    <a:pt x="570" y="163"/>
                    <a:pt x="571" y="163"/>
                  </a:cubicBezTo>
                  <a:cubicBezTo>
                    <a:pt x="579" y="164"/>
                    <a:pt x="573" y="163"/>
                    <a:pt x="580" y="162"/>
                  </a:cubicBezTo>
                  <a:cubicBezTo>
                    <a:pt x="583" y="155"/>
                    <a:pt x="586" y="162"/>
                    <a:pt x="592" y="159"/>
                  </a:cubicBezTo>
                  <a:cubicBezTo>
                    <a:pt x="608" y="157"/>
                    <a:pt x="608" y="157"/>
                    <a:pt x="608" y="157"/>
                  </a:cubicBezTo>
                  <a:cubicBezTo>
                    <a:pt x="611" y="151"/>
                    <a:pt x="611" y="151"/>
                    <a:pt x="611" y="151"/>
                  </a:cubicBezTo>
                  <a:cubicBezTo>
                    <a:pt x="619" y="150"/>
                    <a:pt x="619" y="150"/>
                    <a:pt x="619" y="150"/>
                  </a:cubicBezTo>
                  <a:cubicBezTo>
                    <a:pt x="620" y="157"/>
                    <a:pt x="620" y="157"/>
                    <a:pt x="620" y="157"/>
                  </a:cubicBezTo>
                  <a:cubicBezTo>
                    <a:pt x="626" y="160"/>
                    <a:pt x="626" y="160"/>
                    <a:pt x="626" y="160"/>
                  </a:cubicBezTo>
                  <a:cubicBezTo>
                    <a:pt x="627" y="159"/>
                    <a:pt x="628" y="158"/>
                    <a:pt x="629" y="156"/>
                  </a:cubicBezTo>
                  <a:cubicBezTo>
                    <a:pt x="629" y="155"/>
                    <a:pt x="626" y="153"/>
                    <a:pt x="631" y="149"/>
                  </a:cubicBezTo>
                  <a:cubicBezTo>
                    <a:pt x="635" y="146"/>
                    <a:pt x="635" y="148"/>
                    <a:pt x="637" y="145"/>
                  </a:cubicBezTo>
                  <a:cubicBezTo>
                    <a:pt x="638" y="145"/>
                    <a:pt x="638" y="141"/>
                    <a:pt x="636" y="140"/>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11"/>
            <p:cNvSpPr>
              <a:spLocks/>
            </p:cNvSpPr>
            <p:nvPr/>
          </p:nvSpPr>
          <p:spPr bwMode="auto">
            <a:xfrm>
              <a:off x="6232138" y="4657887"/>
              <a:ext cx="423135" cy="428904"/>
            </a:xfrm>
            <a:custGeom>
              <a:avLst/>
              <a:gdLst>
                <a:gd name="T0" fmla="*/ 135 w 146"/>
                <a:gd name="T1" fmla="*/ 101 h 157"/>
                <a:gd name="T2" fmla="*/ 121 w 146"/>
                <a:gd name="T3" fmla="*/ 88 h 157"/>
                <a:gd name="T4" fmla="*/ 125 w 146"/>
                <a:gd name="T5" fmla="*/ 73 h 157"/>
                <a:gd name="T6" fmla="*/ 124 w 146"/>
                <a:gd name="T7" fmla="*/ 63 h 157"/>
                <a:gd name="T8" fmla="*/ 120 w 146"/>
                <a:gd name="T9" fmla="*/ 54 h 157"/>
                <a:gd name="T10" fmla="*/ 124 w 146"/>
                <a:gd name="T11" fmla="*/ 50 h 157"/>
                <a:gd name="T12" fmla="*/ 111 w 146"/>
                <a:gd name="T13" fmla="*/ 51 h 157"/>
                <a:gd name="T14" fmla="*/ 102 w 146"/>
                <a:gd name="T15" fmla="*/ 55 h 157"/>
                <a:gd name="T16" fmla="*/ 91 w 146"/>
                <a:gd name="T17" fmla="*/ 54 h 157"/>
                <a:gd name="T18" fmla="*/ 81 w 146"/>
                <a:gd name="T19" fmla="*/ 46 h 157"/>
                <a:gd name="T20" fmla="*/ 79 w 146"/>
                <a:gd name="T21" fmla="*/ 40 h 157"/>
                <a:gd name="T22" fmla="*/ 81 w 146"/>
                <a:gd name="T23" fmla="*/ 32 h 157"/>
                <a:gd name="T24" fmla="*/ 71 w 146"/>
                <a:gd name="T25" fmla="*/ 30 h 157"/>
                <a:gd name="T26" fmla="*/ 59 w 146"/>
                <a:gd name="T27" fmla="*/ 24 h 157"/>
                <a:gd name="T28" fmla="*/ 57 w 146"/>
                <a:gd name="T29" fmla="*/ 14 h 157"/>
                <a:gd name="T30" fmla="*/ 47 w 146"/>
                <a:gd name="T31" fmla="*/ 5 h 157"/>
                <a:gd name="T32" fmla="*/ 38 w 146"/>
                <a:gd name="T33" fmla="*/ 1 h 157"/>
                <a:gd name="T34" fmla="*/ 27 w 146"/>
                <a:gd name="T35" fmla="*/ 1 h 157"/>
                <a:gd name="T36" fmla="*/ 18 w 146"/>
                <a:gd name="T37" fmla="*/ 3 h 157"/>
                <a:gd name="T38" fmla="*/ 8 w 146"/>
                <a:gd name="T39" fmla="*/ 11 h 157"/>
                <a:gd name="T40" fmla="*/ 4 w 146"/>
                <a:gd name="T41" fmla="*/ 12 h 157"/>
                <a:gd name="T42" fmla="*/ 3 w 146"/>
                <a:gd name="T43" fmla="*/ 25 h 157"/>
                <a:gd name="T44" fmla="*/ 7 w 146"/>
                <a:gd name="T45" fmla="*/ 33 h 157"/>
                <a:gd name="T46" fmla="*/ 9 w 146"/>
                <a:gd name="T47" fmla="*/ 37 h 157"/>
                <a:gd name="T48" fmla="*/ 14 w 146"/>
                <a:gd name="T49" fmla="*/ 39 h 157"/>
                <a:gd name="T50" fmla="*/ 21 w 146"/>
                <a:gd name="T51" fmla="*/ 41 h 157"/>
                <a:gd name="T52" fmla="*/ 12 w 146"/>
                <a:gd name="T53" fmla="*/ 47 h 157"/>
                <a:gd name="T54" fmla="*/ 12 w 146"/>
                <a:gd name="T55" fmla="*/ 53 h 157"/>
                <a:gd name="T56" fmla="*/ 18 w 146"/>
                <a:gd name="T57" fmla="*/ 69 h 157"/>
                <a:gd name="T58" fmla="*/ 16 w 146"/>
                <a:gd name="T59" fmla="*/ 75 h 157"/>
                <a:gd name="T60" fmla="*/ 23 w 146"/>
                <a:gd name="T61" fmla="*/ 82 h 157"/>
                <a:gd name="T62" fmla="*/ 30 w 146"/>
                <a:gd name="T63" fmla="*/ 88 h 157"/>
                <a:gd name="T64" fmla="*/ 33 w 146"/>
                <a:gd name="T65" fmla="*/ 94 h 157"/>
                <a:gd name="T66" fmla="*/ 30 w 146"/>
                <a:gd name="T67" fmla="*/ 102 h 157"/>
                <a:gd name="T68" fmla="*/ 31 w 146"/>
                <a:gd name="T69" fmla="*/ 114 h 157"/>
                <a:gd name="T70" fmla="*/ 26 w 146"/>
                <a:gd name="T71" fmla="*/ 115 h 157"/>
                <a:gd name="T72" fmla="*/ 29 w 146"/>
                <a:gd name="T73" fmla="*/ 118 h 157"/>
                <a:gd name="T74" fmla="*/ 32 w 146"/>
                <a:gd name="T75" fmla="*/ 120 h 157"/>
                <a:gd name="T76" fmla="*/ 37 w 146"/>
                <a:gd name="T77" fmla="*/ 124 h 157"/>
                <a:gd name="T78" fmla="*/ 43 w 146"/>
                <a:gd name="T79" fmla="*/ 126 h 157"/>
                <a:gd name="T80" fmla="*/ 48 w 146"/>
                <a:gd name="T81" fmla="*/ 126 h 157"/>
                <a:gd name="T82" fmla="*/ 53 w 146"/>
                <a:gd name="T83" fmla="*/ 128 h 157"/>
                <a:gd name="T84" fmla="*/ 60 w 146"/>
                <a:gd name="T85" fmla="*/ 132 h 157"/>
                <a:gd name="T86" fmla="*/ 68 w 146"/>
                <a:gd name="T87" fmla="*/ 138 h 157"/>
                <a:gd name="T88" fmla="*/ 73 w 146"/>
                <a:gd name="T89" fmla="*/ 126 h 157"/>
                <a:gd name="T90" fmla="*/ 76 w 146"/>
                <a:gd name="T91" fmla="*/ 118 h 157"/>
                <a:gd name="T92" fmla="*/ 90 w 146"/>
                <a:gd name="T93" fmla="*/ 126 h 157"/>
                <a:gd name="T94" fmla="*/ 104 w 146"/>
                <a:gd name="T95" fmla="*/ 136 h 157"/>
                <a:gd name="T96" fmla="*/ 112 w 146"/>
                <a:gd name="T97" fmla="*/ 140 h 157"/>
                <a:gd name="T98" fmla="*/ 109 w 146"/>
                <a:gd name="T99" fmla="*/ 150 h 157"/>
                <a:gd name="T100" fmla="*/ 109 w 146"/>
                <a:gd name="T101" fmla="*/ 156 h 157"/>
                <a:gd name="T102" fmla="*/ 113 w 146"/>
                <a:gd name="T103" fmla="*/ 156 h 157"/>
                <a:gd name="T104" fmla="*/ 124 w 146"/>
                <a:gd name="T105" fmla="*/ 151 h 157"/>
                <a:gd name="T106" fmla="*/ 134 w 146"/>
                <a:gd name="T107" fmla="*/ 148 h 157"/>
                <a:gd name="T108" fmla="*/ 133 w 146"/>
                <a:gd name="T109" fmla="*/ 131 h 157"/>
                <a:gd name="T110" fmla="*/ 140 w 146"/>
                <a:gd name="T111" fmla="*/ 12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6" h="157">
                  <a:moveTo>
                    <a:pt x="146" y="107"/>
                  </a:moveTo>
                  <a:cubicBezTo>
                    <a:pt x="143" y="107"/>
                    <a:pt x="143" y="107"/>
                    <a:pt x="143" y="107"/>
                  </a:cubicBezTo>
                  <a:cubicBezTo>
                    <a:pt x="140" y="106"/>
                    <a:pt x="140" y="106"/>
                    <a:pt x="140" y="106"/>
                  </a:cubicBezTo>
                  <a:cubicBezTo>
                    <a:pt x="139" y="105"/>
                    <a:pt x="137" y="102"/>
                    <a:pt x="136" y="101"/>
                  </a:cubicBezTo>
                  <a:cubicBezTo>
                    <a:pt x="136" y="101"/>
                    <a:pt x="136" y="101"/>
                    <a:pt x="135" y="101"/>
                  </a:cubicBezTo>
                  <a:cubicBezTo>
                    <a:pt x="134" y="100"/>
                    <a:pt x="132" y="100"/>
                    <a:pt x="132" y="99"/>
                  </a:cubicBezTo>
                  <a:cubicBezTo>
                    <a:pt x="131" y="99"/>
                    <a:pt x="129" y="98"/>
                    <a:pt x="128" y="98"/>
                  </a:cubicBezTo>
                  <a:cubicBezTo>
                    <a:pt x="128" y="98"/>
                    <a:pt x="125" y="94"/>
                    <a:pt x="125" y="93"/>
                  </a:cubicBezTo>
                  <a:cubicBezTo>
                    <a:pt x="124" y="91"/>
                    <a:pt x="123" y="91"/>
                    <a:pt x="123" y="91"/>
                  </a:cubicBezTo>
                  <a:cubicBezTo>
                    <a:pt x="123" y="91"/>
                    <a:pt x="122" y="89"/>
                    <a:pt x="121" y="88"/>
                  </a:cubicBezTo>
                  <a:cubicBezTo>
                    <a:pt x="121" y="87"/>
                    <a:pt x="120" y="85"/>
                    <a:pt x="120" y="85"/>
                  </a:cubicBezTo>
                  <a:cubicBezTo>
                    <a:pt x="120" y="85"/>
                    <a:pt x="121" y="83"/>
                    <a:pt x="121" y="82"/>
                  </a:cubicBezTo>
                  <a:cubicBezTo>
                    <a:pt x="120" y="81"/>
                    <a:pt x="120" y="77"/>
                    <a:pt x="120" y="77"/>
                  </a:cubicBezTo>
                  <a:cubicBezTo>
                    <a:pt x="122" y="74"/>
                    <a:pt x="122" y="74"/>
                    <a:pt x="122" y="74"/>
                  </a:cubicBezTo>
                  <a:cubicBezTo>
                    <a:pt x="122" y="74"/>
                    <a:pt x="124" y="73"/>
                    <a:pt x="125" y="73"/>
                  </a:cubicBezTo>
                  <a:cubicBezTo>
                    <a:pt x="126" y="72"/>
                    <a:pt x="126" y="72"/>
                    <a:pt x="125" y="71"/>
                  </a:cubicBezTo>
                  <a:cubicBezTo>
                    <a:pt x="125" y="68"/>
                    <a:pt x="125" y="68"/>
                    <a:pt x="125" y="68"/>
                  </a:cubicBezTo>
                  <a:cubicBezTo>
                    <a:pt x="125" y="62"/>
                    <a:pt x="125" y="62"/>
                    <a:pt x="125" y="62"/>
                  </a:cubicBezTo>
                  <a:cubicBezTo>
                    <a:pt x="125" y="63"/>
                    <a:pt x="125" y="63"/>
                    <a:pt x="125" y="63"/>
                  </a:cubicBezTo>
                  <a:cubicBezTo>
                    <a:pt x="124" y="63"/>
                    <a:pt x="124" y="63"/>
                    <a:pt x="124" y="63"/>
                  </a:cubicBezTo>
                  <a:cubicBezTo>
                    <a:pt x="121" y="62"/>
                    <a:pt x="121" y="62"/>
                    <a:pt x="121" y="62"/>
                  </a:cubicBezTo>
                  <a:cubicBezTo>
                    <a:pt x="121" y="62"/>
                    <a:pt x="121" y="61"/>
                    <a:pt x="121" y="60"/>
                  </a:cubicBezTo>
                  <a:cubicBezTo>
                    <a:pt x="121" y="60"/>
                    <a:pt x="119" y="59"/>
                    <a:pt x="118" y="58"/>
                  </a:cubicBezTo>
                  <a:cubicBezTo>
                    <a:pt x="116" y="56"/>
                    <a:pt x="116" y="56"/>
                    <a:pt x="116" y="56"/>
                  </a:cubicBezTo>
                  <a:cubicBezTo>
                    <a:pt x="120" y="54"/>
                    <a:pt x="120" y="54"/>
                    <a:pt x="120" y="54"/>
                  </a:cubicBezTo>
                  <a:cubicBezTo>
                    <a:pt x="120" y="54"/>
                    <a:pt x="120" y="52"/>
                    <a:pt x="120" y="52"/>
                  </a:cubicBezTo>
                  <a:cubicBezTo>
                    <a:pt x="121" y="51"/>
                    <a:pt x="122" y="52"/>
                    <a:pt x="122" y="52"/>
                  </a:cubicBezTo>
                  <a:cubicBezTo>
                    <a:pt x="123" y="52"/>
                    <a:pt x="124" y="53"/>
                    <a:pt x="124" y="53"/>
                  </a:cubicBezTo>
                  <a:cubicBezTo>
                    <a:pt x="125" y="53"/>
                    <a:pt x="126" y="52"/>
                    <a:pt x="126" y="51"/>
                  </a:cubicBezTo>
                  <a:cubicBezTo>
                    <a:pt x="126" y="51"/>
                    <a:pt x="125" y="51"/>
                    <a:pt x="124" y="50"/>
                  </a:cubicBezTo>
                  <a:cubicBezTo>
                    <a:pt x="120" y="50"/>
                    <a:pt x="120" y="50"/>
                    <a:pt x="120" y="50"/>
                  </a:cubicBezTo>
                  <a:cubicBezTo>
                    <a:pt x="120" y="50"/>
                    <a:pt x="118" y="48"/>
                    <a:pt x="116" y="47"/>
                  </a:cubicBezTo>
                  <a:cubicBezTo>
                    <a:pt x="116" y="47"/>
                    <a:pt x="115" y="47"/>
                    <a:pt x="115" y="47"/>
                  </a:cubicBezTo>
                  <a:cubicBezTo>
                    <a:pt x="114" y="48"/>
                    <a:pt x="112" y="49"/>
                    <a:pt x="112" y="49"/>
                  </a:cubicBezTo>
                  <a:cubicBezTo>
                    <a:pt x="112" y="50"/>
                    <a:pt x="111" y="50"/>
                    <a:pt x="111" y="51"/>
                  </a:cubicBezTo>
                  <a:cubicBezTo>
                    <a:pt x="111" y="52"/>
                    <a:pt x="110" y="52"/>
                    <a:pt x="110" y="53"/>
                  </a:cubicBezTo>
                  <a:cubicBezTo>
                    <a:pt x="109" y="54"/>
                    <a:pt x="108" y="56"/>
                    <a:pt x="108" y="56"/>
                  </a:cubicBezTo>
                  <a:cubicBezTo>
                    <a:pt x="108" y="56"/>
                    <a:pt x="107" y="57"/>
                    <a:pt x="107" y="57"/>
                  </a:cubicBezTo>
                  <a:cubicBezTo>
                    <a:pt x="107" y="57"/>
                    <a:pt x="107" y="58"/>
                    <a:pt x="107" y="58"/>
                  </a:cubicBezTo>
                  <a:cubicBezTo>
                    <a:pt x="106" y="58"/>
                    <a:pt x="103" y="57"/>
                    <a:pt x="102" y="55"/>
                  </a:cubicBezTo>
                  <a:cubicBezTo>
                    <a:pt x="102" y="53"/>
                    <a:pt x="101" y="53"/>
                    <a:pt x="101" y="53"/>
                  </a:cubicBezTo>
                  <a:cubicBezTo>
                    <a:pt x="101" y="53"/>
                    <a:pt x="97" y="53"/>
                    <a:pt x="96" y="53"/>
                  </a:cubicBezTo>
                  <a:cubicBezTo>
                    <a:pt x="95" y="53"/>
                    <a:pt x="95" y="53"/>
                    <a:pt x="95" y="53"/>
                  </a:cubicBezTo>
                  <a:cubicBezTo>
                    <a:pt x="95" y="53"/>
                    <a:pt x="94" y="53"/>
                    <a:pt x="94" y="53"/>
                  </a:cubicBezTo>
                  <a:cubicBezTo>
                    <a:pt x="93" y="53"/>
                    <a:pt x="92" y="53"/>
                    <a:pt x="91" y="54"/>
                  </a:cubicBezTo>
                  <a:cubicBezTo>
                    <a:pt x="90" y="54"/>
                    <a:pt x="89" y="53"/>
                    <a:pt x="89" y="51"/>
                  </a:cubicBezTo>
                  <a:cubicBezTo>
                    <a:pt x="88" y="50"/>
                    <a:pt x="88" y="50"/>
                    <a:pt x="88" y="50"/>
                  </a:cubicBezTo>
                  <a:cubicBezTo>
                    <a:pt x="87" y="50"/>
                    <a:pt x="86" y="49"/>
                    <a:pt x="85" y="49"/>
                  </a:cubicBezTo>
                  <a:cubicBezTo>
                    <a:pt x="84" y="49"/>
                    <a:pt x="83" y="50"/>
                    <a:pt x="82" y="49"/>
                  </a:cubicBezTo>
                  <a:cubicBezTo>
                    <a:pt x="81" y="48"/>
                    <a:pt x="81" y="46"/>
                    <a:pt x="81" y="46"/>
                  </a:cubicBezTo>
                  <a:cubicBezTo>
                    <a:pt x="82" y="46"/>
                    <a:pt x="84" y="46"/>
                    <a:pt x="84" y="45"/>
                  </a:cubicBezTo>
                  <a:cubicBezTo>
                    <a:pt x="85" y="45"/>
                    <a:pt x="86" y="44"/>
                    <a:pt x="87" y="43"/>
                  </a:cubicBezTo>
                  <a:cubicBezTo>
                    <a:pt x="86" y="42"/>
                    <a:pt x="86" y="42"/>
                    <a:pt x="86" y="42"/>
                  </a:cubicBezTo>
                  <a:cubicBezTo>
                    <a:pt x="84" y="41"/>
                    <a:pt x="84" y="41"/>
                    <a:pt x="84" y="41"/>
                  </a:cubicBezTo>
                  <a:cubicBezTo>
                    <a:pt x="84" y="41"/>
                    <a:pt x="81" y="41"/>
                    <a:pt x="79" y="40"/>
                  </a:cubicBezTo>
                  <a:cubicBezTo>
                    <a:pt x="79" y="40"/>
                    <a:pt x="78" y="40"/>
                    <a:pt x="78" y="39"/>
                  </a:cubicBezTo>
                  <a:cubicBezTo>
                    <a:pt x="78" y="39"/>
                    <a:pt x="79" y="38"/>
                    <a:pt x="80" y="38"/>
                  </a:cubicBezTo>
                  <a:cubicBezTo>
                    <a:pt x="79" y="36"/>
                    <a:pt x="79" y="36"/>
                    <a:pt x="79" y="36"/>
                  </a:cubicBezTo>
                  <a:cubicBezTo>
                    <a:pt x="81" y="33"/>
                    <a:pt x="81" y="33"/>
                    <a:pt x="81" y="33"/>
                  </a:cubicBezTo>
                  <a:cubicBezTo>
                    <a:pt x="81" y="32"/>
                    <a:pt x="81" y="32"/>
                    <a:pt x="81" y="32"/>
                  </a:cubicBezTo>
                  <a:cubicBezTo>
                    <a:pt x="81" y="32"/>
                    <a:pt x="80" y="31"/>
                    <a:pt x="78" y="31"/>
                  </a:cubicBezTo>
                  <a:cubicBezTo>
                    <a:pt x="77" y="31"/>
                    <a:pt x="77" y="31"/>
                    <a:pt x="76" y="31"/>
                  </a:cubicBezTo>
                  <a:cubicBezTo>
                    <a:pt x="75" y="31"/>
                    <a:pt x="75" y="31"/>
                    <a:pt x="75" y="31"/>
                  </a:cubicBezTo>
                  <a:cubicBezTo>
                    <a:pt x="75" y="31"/>
                    <a:pt x="74" y="31"/>
                    <a:pt x="72" y="30"/>
                  </a:cubicBezTo>
                  <a:cubicBezTo>
                    <a:pt x="71" y="30"/>
                    <a:pt x="71" y="30"/>
                    <a:pt x="71" y="30"/>
                  </a:cubicBezTo>
                  <a:cubicBezTo>
                    <a:pt x="69" y="29"/>
                    <a:pt x="69" y="29"/>
                    <a:pt x="69" y="29"/>
                  </a:cubicBezTo>
                  <a:cubicBezTo>
                    <a:pt x="69" y="29"/>
                    <a:pt x="68" y="28"/>
                    <a:pt x="67" y="28"/>
                  </a:cubicBezTo>
                  <a:cubicBezTo>
                    <a:pt x="67" y="28"/>
                    <a:pt x="66" y="28"/>
                    <a:pt x="65" y="27"/>
                  </a:cubicBezTo>
                  <a:cubicBezTo>
                    <a:pt x="63" y="26"/>
                    <a:pt x="62" y="26"/>
                    <a:pt x="61" y="26"/>
                  </a:cubicBezTo>
                  <a:cubicBezTo>
                    <a:pt x="61" y="26"/>
                    <a:pt x="59" y="25"/>
                    <a:pt x="59" y="24"/>
                  </a:cubicBezTo>
                  <a:cubicBezTo>
                    <a:pt x="58" y="23"/>
                    <a:pt x="58" y="23"/>
                    <a:pt x="58" y="23"/>
                  </a:cubicBezTo>
                  <a:cubicBezTo>
                    <a:pt x="58" y="23"/>
                    <a:pt x="58" y="22"/>
                    <a:pt x="58" y="22"/>
                  </a:cubicBezTo>
                  <a:cubicBezTo>
                    <a:pt x="58" y="21"/>
                    <a:pt x="57" y="20"/>
                    <a:pt x="57" y="20"/>
                  </a:cubicBezTo>
                  <a:cubicBezTo>
                    <a:pt x="56" y="18"/>
                    <a:pt x="56" y="17"/>
                    <a:pt x="56" y="17"/>
                  </a:cubicBezTo>
                  <a:cubicBezTo>
                    <a:pt x="56" y="17"/>
                    <a:pt x="56" y="14"/>
                    <a:pt x="57" y="14"/>
                  </a:cubicBezTo>
                  <a:cubicBezTo>
                    <a:pt x="57" y="13"/>
                    <a:pt x="56" y="12"/>
                    <a:pt x="56" y="11"/>
                  </a:cubicBezTo>
                  <a:cubicBezTo>
                    <a:pt x="56" y="11"/>
                    <a:pt x="55" y="11"/>
                    <a:pt x="55" y="11"/>
                  </a:cubicBezTo>
                  <a:cubicBezTo>
                    <a:pt x="54" y="11"/>
                    <a:pt x="53" y="11"/>
                    <a:pt x="53" y="10"/>
                  </a:cubicBezTo>
                  <a:cubicBezTo>
                    <a:pt x="53" y="10"/>
                    <a:pt x="52" y="10"/>
                    <a:pt x="52" y="10"/>
                  </a:cubicBezTo>
                  <a:cubicBezTo>
                    <a:pt x="51" y="9"/>
                    <a:pt x="47" y="6"/>
                    <a:pt x="47" y="5"/>
                  </a:cubicBezTo>
                  <a:cubicBezTo>
                    <a:pt x="47" y="5"/>
                    <a:pt x="45" y="4"/>
                    <a:pt x="44" y="4"/>
                  </a:cubicBezTo>
                  <a:cubicBezTo>
                    <a:pt x="44" y="4"/>
                    <a:pt x="43" y="4"/>
                    <a:pt x="42" y="3"/>
                  </a:cubicBezTo>
                  <a:cubicBezTo>
                    <a:pt x="42" y="3"/>
                    <a:pt x="41" y="3"/>
                    <a:pt x="41" y="3"/>
                  </a:cubicBezTo>
                  <a:cubicBezTo>
                    <a:pt x="40" y="3"/>
                    <a:pt x="39" y="2"/>
                    <a:pt x="39" y="2"/>
                  </a:cubicBezTo>
                  <a:cubicBezTo>
                    <a:pt x="38" y="1"/>
                    <a:pt x="38" y="1"/>
                    <a:pt x="38" y="1"/>
                  </a:cubicBezTo>
                  <a:cubicBezTo>
                    <a:pt x="37" y="1"/>
                    <a:pt x="36" y="1"/>
                    <a:pt x="35" y="1"/>
                  </a:cubicBezTo>
                  <a:cubicBezTo>
                    <a:pt x="34" y="1"/>
                    <a:pt x="34" y="1"/>
                    <a:pt x="34" y="1"/>
                  </a:cubicBezTo>
                  <a:cubicBezTo>
                    <a:pt x="33" y="1"/>
                    <a:pt x="33" y="1"/>
                    <a:pt x="33" y="1"/>
                  </a:cubicBezTo>
                  <a:cubicBezTo>
                    <a:pt x="32" y="0"/>
                    <a:pt x="32" y="0"/>
                    <a:pt x="32" y="0"/>
                  </a:cubicBezTo>
                  <a:cubicBezTo>
                    <a:pt x="27" y="1"/>
                    <a:pt x="27" y="1"/>
                    <a:pt x="27" y="1"/>
                  </a:cubicBezTo>
                  <a:cubicBezTo>
                    <a:pt x="22" y="3"/>
                    <a:pt x="22" y="3"/>
                    <a:pt x="22" y="3"/>
                  </a:cubicBezTo>
                  <a:cubicBezTo>
                    <a:pt x="22" y="2"/>
                    <a:pt x="22" y="2"/>
                    <a:pt x="22" y="2"/>
                  </a:cubicBezTo>
                  <a:cubicBezTo>
                    <a:pt x="21" y="2"/>
                    <a:pt x="21" y="2"/>
                    <a:pt x="21" y="2"/>
                  </a:cubicBezTo>
                  <a:cubicBezTo>
                    <a:pt x="20" y="2"/>
                    <a:pt x="19" y="2"/>
                    <a:pt x="19" y="2"/>
                  </a:cubicBezTo>
                  <a:cubicBezTo>
                    <a:pt x="19" y="3"/>
                    <a:pt x="18" y="3"/>
                    <a:pt x="18" y="3"/>
                  </a:cubicBezTo>
                  <a:cubicBezTo>
                    <a:pt x="18" y="4"/>
                    <a:pt x="16" y="5"/>
                    <a:pt x="16" y="5"/>
                  </a:cubicBezTo>
                  <a:cubicBezTo>
                    <a:pt x="16" y="5"/>
                    <a:pt x="14" y="6"/>
                    <a:pt x="14" y="7"/>
                  </a:cubicBezTo>
                  <a:cubicBezTo>
                    <a:pt x="11" y="10"/>
                    <a:pt x="11" y="10"/>
                    <a:pt x="11" y="10"/>
                  </a:cubicBezTo>
                  <a:cubicBezTo>
                    <a:pt x="11" y="11"/>
                    <a:pt x="11" y="11"/>
                    <a:pt x="11" y="11"/>
                  </a:cubicBezTo>
                  <a:cubicBezTo>
                    <a:pt x="10" y="11"/>
                    <a:pt x="9" y="11"/>
                    <a:pt x="8" y="11"/>
                  </a:cubicBezTo>
                  <a:cubicBezTo>
                    <a:pt x="8" y="11"/>
                    <a:pt x="8" y="11"/>
                    <a:pt x="8" y="11"/>
                  </a:cubicBezTo>
                  <a:cubicBezTo>
                    <a:pt x="7" y="11"/>
                    <a:pt x="7" y="11"/>
                    <a:pt x="5" y="12"/>
                  </a:cubicBezTo>
                  <a:cubicBezTo>
                    <a:pt x="5" y="12"/>
                    <a:pt x="5" y="12"/>
                    <a:pt x="5" y="12"/>
                  </a:cubicBezTo>
                  <a:cubicBezTo>
                    <a:pt x="4" y="12"/>
                    <a:pt x="4" y="12"/>
                    <a:pt x="4" y="12"/>
                  </a:cubicBezTo>
                  <a:cubicBezTo>
                    <a:pt x="4" y="12"/>
                    <a:pt x="4" y="12"/>
                    <a:pt x="4" y="12"/>
                  </a:cubicBezTo>
                  <a:cubicBezTo>
                    <a:pt x="2" y="15"/>
                    <a:pt x="2" y="15"/>
                    <a:pt x="2" y="15"/>
                  </a:cubicBezTo>
                  <a:cubicBezTo>
                    <a:pt x="0" y="16"/>
                    <a:pt x="0" y="16"/>
                    <a:pt x="0" y="16"/>
                  </a:cubicBezTo>
                  <a:cubicBezTo>
                    <a:pt x="2" y="16"/>
                    <a:pt x="2" y="16"/>
                    <a:pt x="2" y="16"/>
                  </a:cubicBezTo>
                  <a:cubicBezTo>
                    <a:pt x="2" y="22"/>
                    <a:pt x="2" y="22"/>
                    <a:pt x="2" y="22"/>
                  </a:cubicBezTo>
                  <a:cubicBezTo>
                    <a:pt x="3" y="25"/>
                    <a:pt x="3" y="25"/>
                    <a:pt x="3" y="25"/>
                  </a:cubicBezTo>
                  <a:cubicBezTo>
                    <a:pt x="3" y="25"/>
                    <a:pt x="3" y="25"/>
                    <a:pt x="3" y="25"/>
                  </a:cubicBezTo>
                  <a:cubicBezTo>
                    <a:pt x="3" y="26"/>
                    <a:pt x="3" y="26"/>
                    <a:pt x="3" y="27"/>
                  </a:cubicBezTo>
                  <a:cubicBezTo>
                    <a:pt x="3" y="27"/>
                    <a:pt x="3" y="27"/>
                    <a:pt x="4" y="27"/>
                  </a:cubicBezTo>
                  <a:cubicBezTo>
                    <a:pt x="5" y="27"/>
                    <a:pt x="7" y="27"/>
                    <a:pt x="8" y="29"/>
                  </a:cubicBezTo>
                  <a:cubicBezTo>
                    <a:pt x="8" y="30"/>
                    <a:pt x="8" y="31"/>
                    <a:pt x="7" y="33"/>
                  </a:cubicBezTo>
                  <a:cubicBezTo>
                    <a:pt x="6" y="34"/>
                    <a:pt x="6" y="34"/>
                    <a:pt x="6" y="34"/>
                  </a:cubicBezTo>
                  <a:cubicBezTo>
                    <a:pt x="6" y="34"/>
                    <a:pt x="6" y="34"/>
                    <a:pt x="6" y="34"/>
                  </a:cubicBezTo>
                  <a:cubicBezTo>
                    <a:pt x="6" y="35"/>
                    <a:pt x="7" y="35"/>
                    <a:pt x="8" y="37"/>
                  </a:cubicBezTo>
                  <a:cubicBezTo>
                    <a:pt x="8" y="37"/>
                    <a:pt x="9" y="37"/>
                    <a:pt x="9" y="37"/>
                  </a:cubicBezTo>
                  <a:cubicBezTo>
                    <a:pt x="9" y="37"/>
                    <a:pt x="9" y="37"/>
                    <a:pt x="9" y="37"/>
                  </a:cubicBezTo>
                  <a:cubicBezTo>
                    <a:pt x="10" y="37"/>
                    <a:pt x="11" y="37"/>
                    <a:pt x="11" y="37"/>
                  </a:cubicBezTo>
                  <a:cubicBezTo>
                    <a:pt x="11" y="37"/>
                    <a:pt x="11" y="37"/>
                    <a:pt x="11" y="37"/>
                  </a:cubicBezTo>
                  <a:cubicBezTo>
                    <a:pt x="12" y="38"/>
                    <a:pt x="12" y="38"/>
                    <a:pt x="12" y="38"/>
                  </a:cubicBezTo>
                  <a:cubicBezTo>
                    <a:pt x="12" y="38"/>
                    <a:pt x="12" y="38"/>
                    <a:pt x="12" y="38"/>
                  </a:cubicBezTo>
                  <a:cubicBezTo>
                    <a:pt x="12" y="38"/>
                    <a:pt x="13" y="39"/>
                    <a:pt x="14" y="39"/>
                  </a:cubicBezTo>
                  <a:cubicBezTo>
                    <a:pt x="14" y="39"/>
                    <a:pt x="14" y="39"/>
                    <a:pt x="14" y="39"/>
                  </a:cubicBezTo>
                  <a:cubicBezTo>
                    <a:pt x="15" y="39"/>
                    <a:pt x="15" y="38"/>
                    <a:pt x="16" y="38"/>
                  </a:cubicBezTo>
                  <a:cubicBezTo>
                    <a:pt x="16" y="38"/>
                    <a:pt x="16" y="38"/>
                    <a:pt x="16" y="38"/>
                  </a:cubicBezTo>
                  <a:cubicBezTo>
                    <a:pt x="18" y="38"/>
                    <a:pt x="19" y="40"/>
                    <a:pt x="20" y="41"/>
                  </a:cubicBezTo>
                  <a:cubicBezTo>
                    <a:pt x="21" y="41"/>
                    <a:pt x="21" y="41"/>
                    <a:pt x="21" y="41"/>
                  </a:cubicBezTo>
                  <a:cubicBezTo>
                    <a:pt x="20" y="42"/>
                    <a:pt x="20" y="42"/>
                    <a:pt x="20" y="42"/>
                  </a:cubicBezTo>
                  <a:cubicBezTo>
                    <a:pt x="20" y="44"/>
                    <a:pt x="17" y="46"/>
                    <a:pt x="15" y="47"/>
                  </a:cubicBezTo>
                  <a:cubicBezTo>
                    <a:pt x="14" y="47"/>
                    <a:pt x="14" y="47"/>
                    <a:pt x="14" y="47"/>
                  </a:cubicBezTo>
                  <a:cubicBezTo>
                    <a:pt x="14" y="47"/>
                    <a:pt x="14" y="47"/>
                    <a:pt x="13" y="47"/>
                  </a:cubicBezTo>
                  <a:cubicBezTo>
                    <a:pt x="13" y="47"/>
                    <a:pt x="13" y="47"/>
                    <a:pt x="12" y="47"/>
                  </a:cubicBezTo>
                  <a:cubicBezTo>
                    <a:pt x="12" y="47"/>
                    <a:pt x="11" y="47"/>
                    <a:pt x="10" y="47"/>
                  </a:cubicBezTo>
                  <a:cubicBezTo>
                    <a:pt x="10" y="47"/>
                    <a:pt x="10" y="47"/>
                    <a:pt x="10" y="47"/>
                  </a:cubicBezTo>
                  <a:cubicBezTo>
                    <a:pt x="10" y="47"/>
                    <a:pt x="10" y="47"/>
                    <a:pt x="10" y="47"/>
                  </a:cubicBezTo>
                  <a:cubicBezTo>
                    <a:pt x="11" y="49"/>
                    <a:pt x="12" y="51"/>
                    <a:pt x="12" y="51"/>
                  </a:cubicBezTo>
                  <a:cubicBezTo>
                    <a:pt x="12" y="53"/>
                    <a:pt x="12" y="53"/>
                    <a:pt x="12" y="53"/>
                  </a:cubicBezTo>
                  <a:cubicBezTo>
                    <a:pt x="20" y="54"/>
                    <a:pt x="20" y="54"/>
                    <a:pt x="20" y="54"/>
                  </a:cubicBezTo>
                  <a:cubicBezTo>
                    <a:pt x="21" y="59"/>
                    <a:pt x="21" y="59"/>
                    <a:pt x="21" y="59"/>
                  </a:cubicBezTo>
                  <a:cubicBezTo>
                    <a:pt x="21" y="62"/>
                    <a:pt x="21" y="62"/>
                    <a:pt x="21" y="62"/>
                  </a:cubicBezTo>
                  <a:cubicBezTo>
                    <a:pt x="20" y="66"/>
                    <a:pt x="20" y="66"/>
                    <a:pt x="20" y="66"/>
                  </a:cubicBezTo>
                  <a:cubicBezTo>
                    <a:pt x="18" y="69"/>
                    <a:pt x="18" y="69"/>
                    <a:pt x="18" y="69"/>
                  </a:cubicBezTo>
                  <a:cubicBezTo>
                    <a:pt x="18" y="69"/>
                    <a:pt x="18" y="70"/>
                    <a:pt x="18" y="71"/>
                  </a:cubicBezTo>
                  <a:cubicBezTo>
                    <a:pt x="18" y="71"/>
                    <a:pt x="18" y="72"/>
                    <a:pt x="17" y="73"/>
                  </a:cubicBezTo>
                  <a:cubicBezTo>
                    <a:pt x="17" y="75"/>
                    <a:pt x="17" y="75"/>
                    <a:pt x="17" y="75"/>
                  </a:cubicBezTo>
                  <a:cubicBezTo>
                    <a:pt x="16" y="75"/>
                    <a:pt x="16" y="75"/>
                    <a:pt x="16" y="75"/>
                  </a:cubicBezTo>
                  <a:cubicBezTo>
                    <a:pt x="16" y="75"/>
                    <a:pt x="16" y="75"/>
                    <a:pt x="16" y="75"/>
                  </a:cubicBezTo>
                  <a:cubicBezTo>
                    <a:pt x="17" y="76"/>
                    <a:pt x="17" y="79"/>
                    <a:pt x="17" y="81"/>
                  </a:cubicBezTo>
                  <a:cubicBezTo>
                    <a:pt x="17" y="81"/>
                    <a:pt x="17" y="81"/>
                    <a:pt x="17" y="81"/>
                  </a:cubicBezTo>
                  <a:cubicBezTo>
                    <a:pt x="18" y="81"/>
                    <a:pt x="18" y="81"/>
                    <a:pt x="18" y="81"/>
                  </a:cubicBezTo>
                  <a:cubicBezTo>
                    <a:pt x="19" y="81"/>
                    <a:pt x="19" y="81"/>
                    <a:pt x="19" y="81"/>
                  </a:cubicBezTo>
                  <a:cubicBezTo>
                    <a:pt x="21" y="81"/>
                    <a:pt x="22" y="81"/>
                    <a:pt x="23" y="82"/>
                  </a:cubicBezTo>
                  <a:cubicBezTo>
                    <a:pt x="25" y="83"/>
                    <a:pt x="25" y="84"/>
                    <a:pt x="25" y="84"/>
                  </a:cubicBezTo>
                  <a:cubicBezTo>
                    <a:pt x="25" y="85"/>
                    <a:pt x="25" y="85"/>
                    <a:pt x="26" y="85"/>
                  </a:cubicBezTo>
                  <a:cubicBezTo>
                    <a:pt x="26" y="85"/>
                    <a:pt x="26" y="85"/>
                    <a:pt x="26" y="85"/>
                  </a:cubicBezTo>
                  <a:cubicBezTo>
                    <a:pt x="27" y="85"/>
                    <a:pt x="27" y="85"/>
                    <a:pt x="27" y="85"/>
                  </a:cubicBezTo>
                  <a:cubicBezTo>
                    <a:pt x="28" y="85"/>
                    <a:pt x="30" y="87"/>
                    <a:pt x="30" y="88"/>
                  </a:cubicBezTo>
                  <a:cubicBezTo>
                    <a:pt x="30" y="88"/>
                    <a:pt x="30" y="88"/>
                    <a:pt x="30" y="88"/>
                  </a:cubicBezTo>
                  <a:cubicBezTo>
                    <a:pt x="30" y="88"/>
                    <a:pt x="30" y="88"/>
                    <a:pt x="31" y="88"/>
                  </a:cubicBezTo>
                  <a:cubicBezTo>
                    <a:pt x="32" y="89"/>
                    <a:pt x="33" y="89"/>
                    <a:pt x="34" y="90"/>
                  </a:cubicBezTo>
                  <a:cubicBezTo>
                    <a:pt x="34" y="91"/>
                    <a:pt x="34" y="92"/>
                    <a:pt x="34" y="93"/>
                  </a:cubicBezTo>
                  <a:cubicBezTo>
                    <a:pt x="34" y="94"/>
                    <a:pt x="33" y="94"/>
                    <a:pt x="33" y="94"/>
                  </a:cubicBezTo>
                  <a:cubicBezTo>
                    <a:pt x="32" y="95"/>
                    <a:pt x="32" y="96"/>
                    <a:pt x="30" y="97"/>
                  </a:cubicBezTo>
                  <a:cubicBezTo>
                    <a:pt x="26" y="97"/>
                    <a:pt x="26" y="97"/>
                    <a:pt x="26" y="97"/>
                  </a:cubicBezTo>
                  <a:cubicBezTo>
                    <a:pt x="26" y="98"/>
                    <a:pt x="26" y="98"/>
                    <a:pt x="26" y="98"/>
                  </a:cubicBezTo>
                  <a:cubicBezTo>
                    <a:pt x="27" y="99"/>
                    <a:pt x="28" y="100"/>
                    <a:pt x="29" y="100"/>
                  </a:cubicBezTo>
                  <a:cubicBezTo>
                    <a:pt x="29" y="101"/>
                    <a:pt x="30" y="102"/>
                    <a:pt x="30" y="102"/>
                  </a:cubicBezTo>
                  <a:cubicBezTo>
                    <a:pt x="33" y="106"/>
                    <a:pt x="33" y="106"/>
                    <a:pt x="33" y="106"/>
                  </a:cubicBezTo>
                  <a:cubicBezTo>
                    <a:pt x="33" y="106"/>
                    <a:pt x="33" y="106"/>
                    <a:pt x="33" y="106"/>
                  </a:cubicBezTo>
                  <a:cubicBezTo>
                    <a:pt x="34" y="107"/>
                    <a:pt x="34" y="108"/>
                    <a:pt x="34" y="111"/>
                  </a:cubicBezTo>
                  <a:cubicBezTo>
                    <a:pt x="34" y="114"/>
                    <a:pt x="32" y="114"/>
                    <a:pt x="31" y="114"/>
                  </a:cubicBezTo>
                  <a:cubicBezTo>
                    <a:pt x="31" y="114"/>
                    <a:pt x="31" y="114"/>
                    <a:pt x="31" y="114"/>
                  </a:cubicBezTo>
                  <a:cubicBezTo>
                    <a:pt x="30" y="114"/>
                    <a:pt x="30" y="114"/>
                    <a:pt x="30" y="114"/>
                  </a:cubicBezTo>
                  <a:cubicBezTo>
                    <a:pt x="29" y="114"/>
                    <a:pt x="29" y="114"/>
                    <a:pt x="29" y="114"/>
                  </a:cubicBezTo>
                  <a:cubicBezTo>
                    <a:pt x="28" y="114"/>
                    <a:pt x="28" y="114"/>
                    <a:pt x="27" y="114"/>
                  </a:cubicBezTo>
                  <a:cubicBezTo>
                    <a:pt x="27" y="114"/>
                    <a:pt x="27" y="114"/>
                    <a:pt x="27" y="114"/>
                  </a:cubicBezTo>
                  <a:cubicBezTo>
                    <a:pt x="26" y="115"/>
                    <a:pt x="26" y="115"/>
                    <a:pt x="26" y="115"/>
                  </a:cubicBezTo>
                  <a:cubicBezTo>
                    <a:pt x="28" y="116"/>
                    <a:pt x="28" y="116"/>
                    <a:pt x="28" y="116"/>
                  </a:cubicBezTo>
                  <a:cubicBezTo>
                    <a:pt x="27" y="116"/>
                    <a:pt x="27" y="116"/>
                    <a:pt x="27" y="116"/>
                  </a:cubicBezTo>
                  <a:cubicBezTo>
                    <a:pt x="28" y="117"/>
                    <a:pt x="28" y="117"/>
                    <a:pt x="28" y="117"/>
                  </a:cubicBezTo>
                  <a:cubicBezTo>
                    <a:pt x="28" y="117"/>
                    <a:pt x="28" y="117"/>
                    <a:pt x="28" y="117"/>
                  </a:cubicBezTo>
                  <a:cubicBezTo>
                    <a:pt x="28" y="117"/>
                    <a:pt x="28" y="117"/>
                    <a:pt x="29" y="118"/>
                  </a:cubicBezTo>
                  <a:cubicBezTo>
                    <a:pt x="29" y="118"/>
                    <a:pt x="29" y="118"/>
                    <a:pt x="29" y="118"/>
                  </a:cubicBezTo>
                  <a:cubicBezTo>
                    <a:pt x="30" y="118"/>
                    <a:pt x="30" y="118"/>
                    <a:pt x="30" y="118"/>
                  </a:cubicBezTo>
                  <a:cubicBezTo>
                    <a:pt x="30" y="118"/>
                    <a:pt x="31" y="119"/>
                    <a:pt x="31" y="119"/>
                  </a:cubicBezTo>
                  <a:cubicBezTo>
                    <a:pt x="32" y="120"/>
                    <a:pt x="32" y="120"/>
                    <a:pt x="32" y="120"/>
                  </a:cubicBezTo>
                  <a:cubicBezTo>
                    <a:pt x="32" y="120"/>
                    <a:pt x="32" y="120"/>
                    <a:pt x="32" y="120"/>
                  </a:cubicBezTo>
                  <a:cubicBezTo>
                    <a:pt x="32" y="120"/>
                    <a:pt x="33" y="120"/>
                    <a:pt x="33" y="120"/>
                  </a:cubicBezTo>
                  <a:cubicBezTo>
                    <a:pt x="33" y="120"/>
                    <a:pt x="33" y="120"/>
                    <a:pt x="33" y="120"/>
                  </a:cubicBezTo>
                  <a:cubicBezTo>
                    <a:pt x="35" y="120"/>
                    <a:pt x="35" y="122"/>
                    <a:pt x="35" y="123"/>
                  </a:cubicBezTo>
                  <a:cubicBezTo>
                    <a:pt x="35" y="123"/>
                    <a:pt x="36" y="123"/>
                    <a:pt x="36" y="123"/>
                  </a:cubicBezTo>
                  <a:cubicBezTo>
                    <a:pt x="36" y="123"/>
                    <a:pt x="37" y="123"/>
                    <a:pt x="37" y="124"/>
                  </a:cubicBezTo>
                  <a:cubicBezTo>
                    <a:pt x="39" y="125"/>
                    <a:pt x="39" y="125"/>
                    <a:pt x="39" y="125"/>
                  </a:cubicBezTo>
                  <a:cubicBezTo>
                    <a:pt x="39" y="125"/>
                    <a:pt x="39" y="126"/>
                    <a:pt x="39" y="126"/>
                  </a:cubicBezTo>
                  <a:cubicBezTo>
                    <a:pt x="40" y="125"/>
                    <a:pt x="40" y="125"/>
                    <a:pt x="41" y="125"/>
                  </a:cubicBezTo>
                  <a:cubicBezTo>
                    <a:pt x="42" y="125"/>
                    <a:pt x="42" y="125"/>
                    <a:pt x="42" y="125"/>
                  </a:cubicBezTo>
                  <a:cubicBezTo>
                    <a:pt x="43" y="126"/>
                    <a:pt x="43" y="126"/>
                    <a:pt x="43" y="126"/>
                  </a:cubicBezTo>
                  <a:cubicBezTo>
                    <a:pt x="43" y="126"/>
                    <a:pt x="44" y="127"/>
                    <a:pt x="44" y="127"/>
                  </a:cubicBezTo>
                  <a:cubicBezTo>
                    <a:pt x="44" y="127"/>
                    <a:pt x="44" y="127"/>
                    <a:pt x="44" y="127"/>
                  </a:cubicBezTo>
                  <a:cubicBezTo>
                    <a:pt x="44" y="127"/>
                    <a:pt x="44" y="127"/>
                    <a:pt x="44" y="127"/>
                  </a:cubicBezTo>
                  <a:cubicBezTo>
                    <a:pt x="45" y="127"/>
                    <a:pt x="45" y="127"/>
                    <a:pt x="45" y="127"/>
                  </a:cubicBezTo>
                  <a:cubicBezTo>
                    <a:pt x="46" y="126"/>
                    <a:pt x="47" y="126"/>
                    <a:pt x="48" y="126"/>
                  </a:cubicBezTo>
                  <a:cubicBezTo>
                    <a:pt x="48" y="126"/>
                    <a:pt x="48" y="126"/>
                    <a:pt x="48" y="126"/>
                  </a:cubicBezTo>
                  <a:cubicBezTo>
                    <a:pt x="49" y="126"/>
                    <a:pt x="49" y="126"/>
                    <a:pt x="50" y="126"/>
                  </a:cubicBezTo>
                  <a:cubicBezTo>
                    <a:pt x="50" y="126"/>
                    <a:pt x="50" y="126"/>
                    <a:pt x="50" y="126"/>
                  </a:cubicBezTo>
                  <a:cubicBezTo>
                    <a:pt x="51" y="128"/>
                    <a:pt x="51" y="128"/>
                    <a:pt x="51" y="128"/>
                  </a:cubicBezTo>
                  <a:cubicBezTo>
                    <a:pt x="51" y="128"/>
                    <a:pt x="53" y="128"/>
                    <a:pt x="53" y="128"/>
                  </a:cubicBezTo>
                  <a:cubicBezTo>
                    <a:pt x="53" y="128"/>
                    <a:pt x="54" y="129"/>
                    <a:pt x="56" y="131"/>
                  </a:cubicBezTo>
                  <a:cubicBezTo>
                    <a:pt x="57" y="131"/>
                    <a:pt x="57" y="131"/>
                    <a:pt x="57" y="131"/>
                  </a:cubicBezTo>
                  <a:cubicBezTo>
                    <a:pt x="57" y="131"/>
                    <a:pt x="57" y="131"/>
                    <a:pt x="57" y="131"/>
                  </a:cubicBezTo>
                  <a:cubicBezTo>
                    <a:pt x="58" y="131"/>
                    <a:pt x="58" y="131"/>
                    <a:pt x="58" y="131"/>
                  </a:cubicBezTo>
                  <a:cubicBezTo>
                    <a:pt x="59" y="131"/>
                    <a:pt x="60" y="132"/>
                    <a:pt x="60" y="132"/>
                  </a:cubicBezTo>
                  <a:cubicBezTo>
                    <a:pt x="62" y="132"/>
                    <a:pt x="63" y="133"/>
                    <a:pt x="63" y="134"/>
                  </a:cubicBezTo>
                  <a:cubicBezTo>
                    <a:pt x="64" y="134"/>
                    <a:pt x="64" y="135"/>
                    <a:pt x="65" y="135"/>
                  </a:cubicBezTo>
                  <a:cubicBezTo>
                    <a:pt x="66" y="136"/>
                    <a:pt x="67" y="137"/>
                    <a:pt x="67" y="137"/>
                  </a:cubicBezTo>
                  <a:cubicBezTo>
                    <a:pt x="68" y="138"/>
                    <a:pt x="68" y="138"/>
                    <a:pt x="68" y="138"/>
                  </a:cubicBezTo>
                  <a:cubicBezTo>
                    <a:pt x="68" y="138"/>
                    <a:pt x="68" y="138"/>
                    <a:pt x="68" y="138"/>
                  </a:cubicBezTo>
                  <a:cubicBezTo>
                    <a:pt x="69" y="137"/>
                    <a:pt x="69" y="137"/>
                    <a:pt x="69" y="137"/>
                  </a:cubicBezTo>
                  <a:cubicBezTo>
                    <a:pt x="67" y="134"/>
                    <a:pt x="67" y="134"/>
                    <a:pt x="67" y="134"/>
                  </a:cubicBezTo>
                  <a:cubicBezTo>
                    <a:pt x="72" y="130"/>
                    <a:pt x="72" y="130"/>
                    <a:pt x="72" y="130"/>
                  </a:cubicBezTo>
                  <a:cubicBezTo>
                    <a:pt x="73" y="126"/>
                    <a:pt x="73" y="126"/>
                    <a:pt x="73" y="126"/>
                  </a:cubicBezTo>
                  <a:cubicBezTo>
                    <a:pt x="73" y="126"/>
                    <a:pt x="73" y="126"/>
                    <a:pt x="73" y="126"/>
                  </a:cubicBezTo>
                  <a:cubicBezTo>
                    <a:pt x="73" y="126"/>
                    <a:pt x="72" y="125"/>
                    <a:pt x="71" y="124"/>
                  </a:cubicBezTo>
                  <a:cubicBezTo>
                    <a:pt x="70" y="123"/>
                    <a:pt x="70" y="122"/>
                    <a:pt x="71" y="122"/>
                  </a:cubicBezTo>
                  <a:cubicBezTo>
                    <a:pt x="71" y="121"/>
                    <a:pt x="72" y="121"/>
                    <a:pt x="72" y="121"/>
                  </a:cubicBezTo>
                  <a:cubicBezTo>
                    <a:pt x="73" y="120"/>
                    <a:pt x="73" y="120"/>
                    <a:pt x="74" y="120"/>
                  </a:cubicBezTo>
                  <a:cubicBezTo>
                    <a:pt x="75" y="119"/>
                    <a:pt x="76" y="119"/>
                    <a:pt x="76" y="118"/>
                  </a:cubicBezTo>
                  <a:cubicBezTo>
                    <a:pt x="78" y="117"/>
                    <a:pt x="79" y="119"/>
                    <a:pt x="79" y="119"/>
                  </a:cubicBezTo>
                  <a:cubicBezTo>
                    <a:pt x="79" y="119"/>
                    <a:pt x="79" y="122"/>
                    <a:pt x="81" y="122"/>
                  </a:cubicBezTo>
                  <a:cubicBezTo>
                    <a:pt x="82" y="123"/>
                    <a:pt x="83" y="123"/>
                    <a:pt x="83" y="123"/>
                  </a:cubicBezTo>
                  <a:cubicBezTo>
                    <a:pt x="86" y="123"/>
                    <a:pt x="86" y="123"/>
                    <a:pt x="86" y="123"/>
                  </a:cubicBezTo>
                  <a:cubicBezTo>
                    <a:pt x="90" y="126"/>
                    <a:pt x="90" y="126"/>
                    <a:pt x="90" y="126"/>
                  </a:cubicBezTo>
                  <a:cubicBezTo>
                    <a:pt x="90" y="126"/>
                    <a:pt x="91" y="127"/>
                    <a:pt x="91" y="127"/>
                  </a:cubicBezTo>
                  <a:cubicBezTo>
                    <a:pt x="92" y="128"/>
                    <a:pt x="93" y="130"/>
                    <a:pt x="93" y="131"/>
                  </a:cubicBezTo>
                  <a:cubicBezTo>
                    <a:pt x="99" y="133"/>
                    <a:pt x="99" y="133"/>
                    <a:pt x="99" y="133"/>
                  </a:cubicBezTo>
                  <a:cubicBezTo>
                    <a:pt x="100" y="136"/>
                    <a:pt x="100" y="136"/>
                    <a:pt x="100" y="136"/>
                  </a:cubicBezTo>
                  <a:cubicBezTo>
                    <a:pt x="100" y="136"/>
                    <a:pt x="103" y="136"/>
                    <a:pt x="104" y="136"/>
                  </a:cubicBezTo>
                  <a:cubicBezTo>
                    <a:pt x="106" y="137"/>
                    <a:pt x="107" y="138"/>
                    <a:pt x="107" y="138"/>
                  </a:cubicBezTo>
                  <a:cubicBezTo>
                    <a:pt x="107" y="138"/>
                    <a:pt x="107" y="138"/>
                    <a:pt x="107" y="138"/>
                  </a:cubicBezTo>
                  <a:cubicBezTo>
                    <a:pt x="108" y="137"/>
                    <a:pt x="108" y="137"/>
                    <a:pt x="108" y="137"/>
                  </a:cubicBezTo>
                  <a:cubicBezTo>
                    <a:pt x="113" y="138"/>
                    <a:pt x="113" y="138"/>
                    <a:pt x="113" y="138"/>
                  </a:cubicBezTo>
                  <a:cubicBezTo>
                    <a:pt x="113" y="139"/>
                    <a:pt x="113" y="139"/>
                    <a:pt x="112" y="140"/>
                  </a:cubicBezTo>
                  <a:cubicBezTo>
                    <a:pt x="111" y="140"/>
                    <a:pt x="111" y="142"/>
                    <a:pt x="112" y="143"/>
                  </a:cubicBezTo>
                  <a:cubicBezTo>
                    <a:pt x="112" y="144"/>
                    <a:pt x="112" y="145"/>
                    <a:pt x="111" y="146"/>
                  </a:cubicBezTo>
                  <a:cubicBezTo>
                    <a:pt x="111" y="147"/>
                    <a:pt x="110" y="147"/>
                    <a:pt x="109" y="147"/>
                  </a:cubicBezTo>
                  <a:cubicBezTo>
                    <a:pt x="108" y="147"/>
                    <a:pt x="109" y="148"/>
                    <a:pt x="109" y="149"/>
                  </a:cubicBezTo>
                  <a:cubicBezTo>
                    <a:pt x="109" y="149"/>
                    <a:pt x="109" y="150"/>
                    <a:pt x="109" y="150"/>
                  </a:cubicBezTo>
                  <a:cubicBezTo>
                    <a:pt x="110" y="151"/>
                    <a:pt x="110" y="151"/>
                    <a:pt x="109" y="152"/>
                  </a:cubicBezTo>
                  <a:cubicBezTo>
                    <a:pt x="108" y="153"/>
                    <a:pt x="107" y="154"/>
                    <a:pt x="107" y="154"/>
                  </a:cubicBezTo>
                  <a:cubicBezTo>
                    <a:pt x="107" y="154"/>
                    <a:pt x="107" y="154"/>
                    <a:pt x="107" y="154"/>
                  </a:cubicBezTo>
                  <a:cubicBezTo>
                    <a:pt x="109" y="156"/>
                    <a:pt x="109" y="156"/>
                    <a:pt x="109" y="156"/>
                  </a:cubicBezTo>
                  <a:cubicBezTo>
                    <a:pt x="109" y="156"/>
                    <a:pt x="109" y="156"/>
                    <a:pt x="109" y="156"/>
                  </a:cubicBezTo>
                  <a:cubicBezTo>
                    <a:pt x="109" y="156"/>
                    <a:pt x="111" y="156"/>
                    <a:pt x="112" y="156"/>
                  </a:cubicBezTo>
                  <a:cubicBezTo>
                    <a:pt x="112" y="157"/>
                    <a:pt x="112" y="157"/>
                    <a:pt x="112" y="157"/>
                  </a:cubicBezTo>
                  <a:cubicBezTo>
                    <a:pt x="112" y="157"/>
                    <a:pt x="112" y="157"/>
                    <a:pt x="112" y="157"/>
                  </a:cubicBezTo>
                  <a:cubicBezTo>
                    <a:pt x="112" y="156"/>
                    <a:pt x="112" y="156"/>
                    <a:pt x="112" y="156"/>
                  </a:cubicBezTo>
                  <a:cubicBezTo>
                    <a:pt x="112" y="156"/>
                    <a:pt x="113" y="156"/>
                    <a:pt x="113" y="156"/>
                  </a:cubicBezTo>
                  <a:cubicBezTo>
                    <a:pt x="113" y="155"/>
                    <a:pt x="115" y="153"/>
                    <a:pt x="115" y="153"/>
                  </a:cubicBezTo>
                  <a:cubicBezTo>
                    <a:pt x="117" y="153"/>
                    <a:pt x="117" y="153"/>
                    <a:pt x="117" y="153"/>
                  </a:cubicBezTo>
                  <a:cubicBezTo>
                    <a:pt x="119" y="151"/>
                    <a:pt x="119" y="151"/>
                    <a:pt x="119" y="151"/>
                  </a:cubicBezTo>
                  <a:cubicBezTo>
                    <a:pt x="119" y="151"/>
                    <a:pt x="121" y="151"/>
                    <a:pt x="121" y="151"/>
                  </a:cubicBezTo>
                  <a:cubicBezTo>
                    <a:pt x="122" y="151"/>
                    <a:pt x="123" y="151"/>
                    <a:pt x="124" y="151"/>
                  </a:cubicBezTo>
                  <a:cubicBezTo>
                    <a:pt x="125" y="151"/>
                    <a:pt x="125" y="150"/>
                    <a:pt x="125" y="150"/>
                  </a:cubicBezTo>
                  <a:cubicBezTo>
                    <a:pt x="125" y="150"/>
                    <a:pt x="127" y="149"/>
                    <a:pt x="129" y="148"/>
                  </a:cubicBezTo>
                  <a:cubicBezTo>
                    <a:pt x="130" y="148"/>
                    <a:pt x="131" y="148"/>
                    <a:pt x="131" y="148"/>
                  </a:cubicBezTo>
                  <a:cubicBezTo>
                    <a:pt x="131" y="148"/>
                    <a:pt x="132" y="148"/>
                    <a:pt x="133" y="148"/>
                  </a:cubicBezTo>
                  <a:cubicBezTo>
                    <a:pt x="133" y="148"/>
                    <a:pt x="134" y="148"/>
                    <a:pt x="134" y="148"/>
                  </a:cubicBezTo>
                  <a:cubicBezTo>
                    <a:pt x="135" y="148"/>
                    <a:pt x="135" y="147"/>
                    <a:pt x="135" y="147"/>
                  </a:cubicBezTo>
                  <a:cubicBezTo>
                    <a:pt x="137" y="142"/>
                    <a:pt x="137" y="142"/>
                    <a:pt x="137" y="142"/>
                  </a:cubicBezTo>
                  <a:cubicBezTo>
                    <a:pt x="137" y="142"/>
                    <a:pt x="136" y="140"/>
                    <a:pt x="136" y="140"/>
                  </a:cubicBezTo>
                  <a:cubicBezTo>
                    <a:pt x="136" y="140"/>
                    <a:pt x="135" y="139"/>
                    <a:pt x="133" y="139"/>
                  </a:cubicBezTo>
                  <a:cubicBezTo>
                    <a:pt x="133" y="131"/>
                    <a:pt x="133" y="131"/>
                    <a:pt x="133" y="131"/>
                  </a:cubicBezTo>
                  <a:cubicBezTo>
                    <a:pt x="131" y="128"/>
                    <a:pt x="131" y="128"/>
                    <a:pt x="131" y="128"/>
                  </a:cubicBezTo>
                  <a:cubicBezTo>
                    <a:pt x="131" y="127"/>
                    <a:pt x="133" y="126"/>
                    <a:pt x="133" y="126"/>
                  </a:cubicBezTo>
                  <a:cubicBezTo>
                    <a:pt x="133" y="125"/>
                    <a:pt x="134" y="124"/>
                    <a:pt x="135" y="124"/>
                  </a:cubicBezTo>
                  <a:cubicBezTo>
                    <a:pt x="138" y="124"/>
                    <a:pt x="138" y="124"/>
                    <a:pt x="138" y="124"/>
                  </a:cubicBezTo>
                  <a:cubicBezTo>
                    <a:pt x="139" y="123"/>
                    <a:pt x="140" y="123"/>
                    <a:pt x="140" y="122"/>
                  </a:cubicBezTo>
                  <a:cubicBezTo>
                    <a:pt x="140" y="122"/>
                    <a:pt x="140" y="120"/>
                    <a:pt x="140" y="119"/>
                  </a:cubicBezTo>
                  <a:cubicBezTo>
                    <a:pt x="140" y="118"/>
                    <a:pt x="141" y="116"/>
                    <a:pt x="142" y="115"/>
                  </a:cubicBezTo>
                  <a:cubicBezTo>
                    <a:pt x="142" y="115"/>
                    <a:pt x="144" y="113"/>
                    <a:pt x="145" y="112"/>
                  </a:cubicBezTo>
                  <a:cubicBezTo>
                    <a:pt x="145" y="111"/>
                    <a:pt x="146" y="108"/>
                    <a:pt x="146" y="107"/>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12"/>
            <p:cNvSpPr>
              <a:spLocks/>
            </p:cNvSpPr>
            <p:nvPr/>
          </p:nvSpPr>
          <p:spPr bwMode="auto">
            <a:xfrm>
              <a:off x="6006851" y="5056835"/>
              <a:ext cx="23106" cy="10893"/>
            </a:xfrm>
            <a:custGeom>
              <a:avLst/>
              <a:gdLst>
                <a:gd name="T0" fmla="*/ 7 w 8"/>
                <a:gd name="T1" fmla="*/ 0 h 4"/>
                <a:gd name="T2" fmla="*/ 5 w 8"/>
                <a:gd name="T3" fmla="*/ 0 h 4"/>
                <a:gd name="T4" fmla="*/ 4 w 8"/>
                <a:gd name="T5" fmla="*/ 0 h 4"/>
                <a:gd name="T6" fmla="*/ 1 w 8"/>
                <a:gd name="T7" fmla="*/ 1 h 4"/>
                <a:gd name="T8" fmla="*/ 1 w 8"/>
                <a:gd name="T9" fmla="*/ 2 h 4"/>
                <a:gd name="T10" fmla="*/ 3 w 8"/>
                <a:gd name="T11" fmla="*/ 3 h 4"/>
                <a:gd name="T12" fmla="*/ 4 w 8"/>
                <a:gd name="T13" fmla="*/ 4 h 4"/>
                <a:gd name="T14" fmla="*/ 7 w 8"/>
                <a:gd name="T15" fmla="*/ 2 h 4"/>
                <a:gd name="T16" fmla="*/ 8 w 8"/>
                <a:gd name="T17" fmla="*/ 1 h 4"/>
                <a:gd name="T18" fmla="*/ 7 w 8"/>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4">
                  <a:moveTo>
                    <a:pt x="7" y="0"/>
                  </a:moveTo>
                  <a:cubicBezTo>
                    <a:pt x="6" y="0"/>
                    <a:pt x="5" y="0"/>
                    <a:pt x="5" y="0"/>
                  </a:cubicBezTo>
                  <a:cubicBezTo>
                    <a:pt x="5" y="0"/>
                    <a:pt x="4" y="0"/>
                    <a:pt x="4" y="0"/>
                  </a:cubicBezTo>
                  <a:cubicBezTo>
                    <a:pt x="4" y="0"/>
                    <a:pt x="2" y="0"/>
                    <a:pt x="1" y="1"/>
                  </a:cubicBezTo>
                  <a:cubicBezTo>
                    <a:pt x="0" y="1"/>
                    <a:pt x="1" y="2"/>
                    <a:pt x="1" y="2"/>
                  </a:cubicBezTo>
                  <a:cubicBezTo>
                    <a:pt x="1" y="2"/>
                    <a:pt x="2" y="3"/>
                    <a:pt x="3" y="3"/>
                  </a:cubicBezTo>
                  <a:cubicBezTo>
                    <a:pt x="4" y="4"/>
                    <a:pt x="4" y="4"/>
                    <a:pt x="4" y="4"/>
                  </a:cubicBezTo>
                  <a:cubicBezTo>
                    <a:pt x="4" y="4"/>
                    <a:pt x="6" y="3"/>
                    <a:pt x="7" y="2"/>
                  </a:cubicBezTo>
                  <a:cubicBezTo>
                    <a:pt x="7" y="1"/>
                    <a:pt x="7" y="2"/>
                    <a:pt x="8" y="1"/>
                  </a:cubicBezTo>
                  <a:cubicBezTo>
                    <a:pt x="8" y="1"/>
                    <a:pt x="7" y="0"/>
                    <a:pt x="7" y="0"/>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13"/>
            <p:cNvSpPr>
              <a:spLocks/>
            </p:cNvSpPr>
            <p:nvPr/>
          </p:nvSpPr>
          <p:spPr bwMode="auto">
            <a:xfrm>
              <a:off x="5834997" y="4837618"/>
              <a:ext cx="28883" cy="70803"/>
            </a:xfrm>
            <a:custGeom>
              <a:avLst/>
              <a:gdLst>
                <a:gd name="T0" fmla="*/ 7 w 10"/>
                <a:gd name="T1" fmla="*/ 22 h 26"/>
                <a:gd name="T2" fmla="*/ 5 w 10"/>
                <a:gd name="T3" fmla="*/ 19 h 26"/>
                <a:gd name="T4" fmla="*/ 4 w 10"/>
                <a:gd name="T5" fmla="*/ 16 h 26"/>
                <a:gd name="T6" fmla="*/ 6 w 10"/>
                <a:gd name="T7" fmla="*/ 18 h 26"/>
                <a:gd name="T8" fmla="*/ 8 w 10"/>
                <a:gd name="T9" fmla="*/ 17 h 26"/>
                <a:gd name="T10" fmla="*/ 6 w 10"/>
                <a:gd name="T11" fmla="*/ 13 h 26"/>
                <a:gd name="T12" fmla="*/ 5 w 10"/>
                <a:gd name="T13" fmla="*/ 11 h 26"/>
                <a:gd name="T14" fmla="*/ 5 w 10"/>
                <a:gd name="T15" fmla="*/ 9 h 26"/>
                <a:gd name="T16" fmla="*/ 4 w 10"/>
                <a:gd name="T17" fmla="*/ 7 h 26"/>
                <a:gd name="T18" fmla="*/ 4 w 10"/>
                <a:gd name="T19" fmla="*/ 5 h 26"/>
                <a:gd name="T20" fmla="*/ 4 w 10"/>
                <a:gd name="T21" fmla="*/ 3 h 26"/>
                <a:gd name="T22" fmla="*/ 7 w 10"/>
                <a:gd name="T23" fmla="*/ 3 h 26"/>
                <a:gd name="T24" fmla="*/ 5 w 10"/>
                <a:gd name="T25" fmla="*/ 2 h 26"/>
                <a:gd name="T26" fmla="*/ 3 w 10"/>
                <a:gd name="T27" fmla="*/ 2 h 26"/>
                <a:gd name="T28" fmla="*/ 2 w 10"/>
                <a:gd name="T29" fmla="*/ 0 h 26"/>
                <a:gd name="T30" fmla="*/ 1 w 10"/>
                <a:gd name="T31" fmla="*/ 1 h 26"/>
                <a:gd name="T32" fmla="*/ 1 w 10"/>
                <a:gd name="T33" fmla="*/ 3 h 26"/>
                <a:gd name="T34" fmla="*/ 2 w 10"/>
                <a:gd name="T35" fmla="*/ 6 h 26"/>
                <a:gd name="T36" fmla="*/ 0 w 10"/>
                <a:gd name="T37" fmla="*/ 5 h 26"/>
                <a:gd name="T38" fmla="*/ 1 w 10"/>
                <a:gd name="T39" fmla="*/ 7 h 26"/>
                <a:gd name="T40" fmla="*/ 1 w 10"/>
                <a:gd name="T41" fmla="*/ 10 h 26"/>
                <a:gd name="T42" fmla="*/ 2 w 10"/>
                <a:gd name="T43" fmla="*/ 12 h 26"/>
                <a:gd name="T44" fmla="*/ 4 w 10"/>
                <a:gd name="T45" fmla="*/ 13 h 26"/>
                <a:gd name="T46" fmla="*/ 2 w 10"/>
                <a:gd name="T47" fmla="*/ 14 h 26"/>
                <a:gd name="T48" fmla="*/ 2 w 10"/>
                <a:gd name="T49" fmla="*/ 17 h 26"/>
                <a:gd name="T50" fmla="*/ 3 w 10"/>
                <a:gd name="T51" fmla="*/ 18 h 26"/>
                <a:gd name="T52" fmla="*/ 3 w 10"/>
                <a:gd name="T53" fmla="*/ 19 h 26"/>
                <a:gd name="T54" fmla="*/ 4 w 10"/>
                <a:gd name="T55" fmla="*/ 20 h 26"/>
                <a:gd name="T56" fmla="*/ 5 w 10"/>
                <a:gd name="T57" fmla="*/ 21 h 26"/>
                <a:gd name="T58" fmla="*/ 8 w 10"/>
                <a:gd name="T59" fmla="*/ 24 h 26"/>
                <a:gd name="T60" fmla="*/ 9 w 10"/>
                <a:gd name="T61" fmla="*/ 25 h 26"/>
                <a:gd name="T62" fmla="*/ 8 w 10"/>
                <a:gd name="T63" fmla="*/ 2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 h="26">
                  <a:moveTo>
                    <a:pt x="8" y="23"/>
                  </a:moveTo>
                  <a:cubicBezTo>
                    <a:pt x="8" y="22"/>
                    <a:pt x="7" y="22"/>
                    <a:pt x="7" y="22"/>
                  </a:cubicBezTo>
                  <a:cubicBezTo>
                    <a:pt x="7" y="22"/>
                    <a:pt x="6" y="21"/>
                    <a:pt x="5" y="20"/>
                  </a:cubicBezTo>
                  <a:cubicBezTo>
                    <a:pt x="5" y="19"/>
                    <a:pt x="5" y="19"/>
                    <a:pt x="5" y="19"/>
                  </a:cubicBezTo>
                  <a:cubicBezTo>
                    <a:pt x="5" y="19"/>
                    <a:pt x="4" y="18"/>
                    <a:pt x="4" y="18"/>
                  </a:cubicBezTo>
                  <a:cubicBezTo>
                    <a:pt x="4" y="18"/>
                    <a:pt x="4" y="17"/>
                    <a:pt x="4" y="16"/>
                  </a:cubicBezTo>
                  <a:cubicBezTo>
                    <a:pt x="5" y="16"/>
                    <a:pt x="5" y="17"/>
                    <a:pt x="5" y="17"/>
                  </a:cubicBezTo>
                  <a:cubicBezTo>
                    <a:pt x="5" y="17"/>
                    <a:pt x="6" y="18"/>
                    <a:pt x="6" y="18"/>
                  </a:cubicBezTo>
                  <a:cubicBezTo>
                    <a:pt x="7" y="19"/>
                    <a:pt x="7" y="18"/>
                    <a:pt x="7" y="18"/>
                  </a:cubicBezTo>
                  <a:cubicBezTo>
                    <a:pt x="7" y="18"/>
                    <a:pt x="8" y="17"/>
                    <a:pt x="8" y="17"/>
                  </a:cubicBezTo>
                  <a:cubicBezTo>
                    <a:pt x="8" y="16"/>
                    <a:pt x="7" y="15"/>
                    <a:pt x="6" y="15"/>
                  </a:cubicBezTo>
                  <a:cubicBezTo>
                    <a:pt x="6" y="15"/>
                    <a:pt x="6" y="13"/>
                    <a:pt x="6" y="13"/>
                  </a:cubicBezTo>
                  <a:cubicBezTo>
                    <a:pt x="6" y="12"/>
                    <a:pt x="6" y="12"/>
                    <a:pt x="6" y="12"/>
                  </a:cubicBezTo>
                  <a:cubicBezTo>
                    <a:pt x="5" y="11"/>
                    <a:pt x="5" y="11"/>
                    <a:pt x="5" y="11"/>
                  </a:cubicBezTo>
                  <a:cubicBezTo>
                    <a:pt x="5" y="11"/>
                    <a:pt x="5" y="10"/>
                    <a:pt x="5" y="10"/>
                  </a:cubicBezTo>
                  <a:cubicBezTo>
                    <a:pt x="5" y="10"/>
                    <a:pt x="5" y="9"/>
                    <a:pt x="5" y="9"/>
                  </a:cubicBezTo>
                  <a:cubicBezTo>
                    <a:pt x="5" y="8"/>
                    <a:pt x="5" y="8"/>
                    <a:pt x="5" y="8"/>
                  </a:cubicBezTo>
                  <a:cubicBezTo>
                    <a:pt x="5" y="8"/>
                    <a:pt x="4" y="7"/>
                    <a:pt x="4" y="7"/>
                  </a:cubicBezTo>
                  <a:cubicBezTo>
                    <a:pt x="4" y="6"/>
                    <a:pt x="4" y="6"/>
                    <a:pt x="4" y="5"/>
                  </a:cubicBezTo>
                  <a:cubicBezTo>
                    <a:pt x="5" y="5"/>
                    <a:pt x="4" y="5"/>
                    <a:pt x="4" y="5"/>
                  </a:cubicBezTo>
                  <a:cubicBezTo>
                    <a:pt x="4" y="4"/>
                    <a:pt x="4" y="3"/>
                    <a:pt x="4" y="3"/>
                  </a:cubicBezTo>
                  <a:cubicBezTo>
                    <a:pt x="4" y="2"/>
                    <a:pt x="4" y="3"/>
                    <a:pt x="4" y="3"/>
                  </a:cubicBezTo>
                  <a:cubicBezTo>
                    <a:pt x="4" y="3"/>
                    <a:pt x="5" y="4"/>
                    <a:pt x="6" y="4"/>
                  </a:cubicBezTo>
                  <a:cubicBezTo>
                    <a:pt x="6" y="4"/>
                    <a:pt x="7" y="3"/>
                    <a:pt x="7" y="3"/>
                  </a:cubicBezTo>
                  <a:cubicBezTo>
                    <a:pt x="7" y="2"/>
                    <a:pt x="6" y="2"/>
                    <a:pt x="6" y="2"/>
                  </a:cubicBezTo>
                  <a:cubicBezTo>
                    <a:pt x="6" y="2"/>
                    <a:pt x="5" y="2"/>
                    <a:pt x="5" y="2"/>
                  </a:cubicBezTo>
                  <a:cubicBezTo>
                    <a:pt x="5" y="2"/>
                    <a:pt x="4" y="2"/>
                    <a:pt x="4" y="2"/>
                  </a:cubicBezTo>
                  <a:cubicBezTo>
                    <a:pt x="3" y="2"/>
                    <a:pt x="4" y="2"/>
                    <a:pt x="3" y="2"/>
                  </a:cubicBezTo>
                  <a:cubicBezTo>
                    <a:pt x="3" y="2"/>
                    <a:pt x="3" y="2"/>
                    <a:pt x="3" y="1"/>
                  </a:cubicBezTo>
                  <a:cubicBezTo>
                    <a:pt x="2" y="1"/>
                    <a:pt x="2" y="0"/>
                    <a:pt x="2" y="0"/>
                  </a:cubicBezTo>
                  <a:cubicBezTo>
                    <a:pt x="2" y="0"/>
                    <a:pt x="1" y="0"/>
                    <a:pt x="1" y="0"/>
                  </a:cubicBezTo>
                  <a:cubicBezTo>
                    <a:pt x="1" y="0"/>
                    <a:pt x="1" y="1"/>
                    <a:pt x="1" y="1"/>
                  </a:cubicBezTo>
                  <a:cubicBezTo>
                    <a:pt x="1" y="1"/>
                    <a:pt x="1" y="2"/>
                    <a:pt x="1" y="2"/>
                  </a:cubicBezTo>
                  <a:cubicBezTo>
                    <a:pt x="1" y="3"/>
                    <a:pt x="1" y="3"/>
                    <a:pt x="1" y="3"/>
                  </a:cubicBezTo>
                  <a:cubicBezTo>
                    <a:pt x="1" y="3"/>
                    <a:pt x="2" y="3"/>
                    <a:pt x="2" y="4"/>
                  </a:cubicBezTo>
                  <a:cubicBezTo>
                    <a:pt x="3" y="4"/>
                    <a:pt x="2" y="5"/>
                    <a:pt x="2" y="6"/>
                  </a:cubicBezTo>
                  <a:cubicBezTo>
                    <a:pt x="2" y="6"/>
                    <a:pt x="2" y="5"/>
                    <a:pt x="1" y="5"/>
                  </a:cubicBezTo>
                  <a:cubicBezTo>
                    <a:pt x="1" y="5"/>
                    <a:pt x="0" y="5"/>
                    <a:pt x="0" y="5"/>
                  </a:cubicBezTo>
                  <a:cubicBezTo>
                    <a:pt x="0" y="5"/>
                    <a:pt x="0" y="6"/>
                    <a:pt x="0" y="6"/>
                  </a:cubicBezTo>
                  <a:cubicBezTo>
                    <a:pt x="0" y="7"/>
                    <a:pt x="0" y="7"/>
                    <a:pt x="1" y="7"/>
                  </a:cubicBezTo>
                  <a:cubicBezTo>
                    <a:pt x="1" y="8"/>
                    <a:pt x="1" y="8"/>
                    <a:pt x="1" y="8"/>
                  </a:cubicBezTo>
                  <a:cubicBezTo>
                    <a:pt x="1" y="8"/>
                    <a:pt x="1" y="9"/>
                    <a:pt x="1" y="10"/>
                  </a:cubicBezTo>
                  <a:cubicBezTo>
                    <a:pt x="2" y="10"/>
                    <a:pt x="2" y="10"/>
                    <a:pt x="2" y="11"/>
                  </a:cubicBezTo>
                  <a:cubicBezTo>
                    <a:pt x="2" y="11"/>
                    <a:pt x="2" y="12"/>
                    <a:pt x="2" y="12"/>
                  </a:cubicBezTo>
                  <a:cubicBezTo>
                    <a:pt x="2" y="12"/>
                    <a:pt x="3" y="13"/>
                    <a:pt x="3" y="13"/>
                  </a:cubicBezTo>
                  <a:cubicBezTo>
                    <a:pt x="3" y="13"/>
                    <a:pt x="4" y="13"/>
                    <a:pt x="4" y="13"/>
                  </a:cubicBezTo>
                  <a:cubicBezTo>
                    <a:pt x="3" y="15"/>
                    <a:pt x="3" y="15"/>
                    <a:pt x="3" y="15"/>
                  </a:cubicBezTo>
                  <a:cubicBezTo>
                    <a:pt x="2" y="14"/>
                    <a:pt x="2" y="14"/>
                    <a:pt x="2" y="14"/>
                  </a:cubicBezTo>
                  <a:cubicBezTo>
                    <a:pt x="2" y="14"/>
                    <a:pt x="2" y="15"/>
                    <a:pt x="2" y="16"/>
                  </a:cubicBezTo>
                  <a:cubicBezTo>
                    <a:pt x="2" y="16"/>
                    <a:pt x="2" y="16"/>
                    <a:pt x="2" y="17"/>
                  </a:cubicBezTo>
                  <a:cubicBezTo>
                    <a:pt x="2" y="17"/>
                    <a:pt x="2" y="17"/>
                    <a:pt x="3" y="17"/>
                  </a:cubicBezTo>
                  <a:cubicBezTo>
                    <a:pt x="3" y="17"/>
                    <a:pt x="3" y="17"/>
                    <a:pt x="3" y="18"/>
                  </a:cubicBezTo>
                  <a:cubicBezTo>
                    <a:pt x="3" y="18"/>
                    <a:pt x="4" y="19"/>
                    <a:pt x="4" y="19"/>
                  </a:cubicBezTo>
                  <a:cubicBezTo>
                    <a:pt x="4" y="19"/>
                    <a:pt x="3" y="19"/>
                    <a:pt x="3" y="19"/>
                  </a:cubicBezTo>
                  <a:cubicBezTo>
                    <a:pt x="2" y="19"/>
                    <a:pt x="2" y="20"/>
                    <a:pt x="2" y="20"/>
                  </a:cubicBezTo>
                  <a:cubicBezTo>
                    <a:pt x="2" y="20"/>
                    <a:pt x="4" y="20"/>
                    <a:pt x="4" y="20"/>
                  </a:cubicBezTo>
                  <a:cubicBezTo>
                    <a:pt x="4" y="20"/>
                    <a:pt x="5" y="20"/>
                    <a:pt x="5" y="20"/>
                  </a:cubicBezTo>
                  <a:cubicBezTo>
                    <a:pt x="5" y="20"/>
                    <a:pt x="5" y="21"/>
                    <a:pt x="5" y="21"/>
                  </a:cubicBezTo>
                  <a:cubicBezTo>
                    <a:pt x="5" y="21"/>
                    <a:pt x="6" y="22"/>
                    <a:pt x="7" y="22"/>
                  </a:cubicBezTo>
                  <a:cubicBezTo>
                    <a:pt x="7" y="22"/>
                    <a:pt x="7" y="24"/>
                    <a:pt x="8" y="24"/>
                  </a:cubicBezTo>
                  <a:cubicBezTo>
                    <a:pt x="8" y="25"/>
                    <a:pt x="8" y="25"/>
                    <a:pt x="9" y="25"/>
                  </a:cubicBezTo>
                  <a:cubicBezTo>
                    <a:pt x="9" y="26"/>
                    <a:pt x="9" y="25"/>
                    <a:pt x="9" y="25"/>
                  </a:cubicBezTo>
                  <a:cubicBezTo>
                    <a:pt x="10" y="25"/>
                    <a:pt x="9" y="24"/>
                    <a:pt x="9" y="24"/>
                  </a:cubicBezTo>
                  <a:cubicBezTo>
                    <a:pt x="9" y="23"/>
                    <a:pt x="9" y="23"/>
                    <a:pt x="8" y="23"/>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14"/>
            <p:cNvSpPr>
              <a:spLocks/>
            </p:cNvSpPr>
            <p:nvPr/>
          </p:nvSpPr>
          <p:spPr bwMode="auto">
            <a:xfrm>
              <a:off x="6006851" y="5067728"/>
              <a:ext cx="5777" cy="5446"/>
            </a:xfrm>
            <a:custGeom>
              <a:avLst/>
              <a:gdLst>
                <a:gd name="T0" fmla="*/ 1 w 2"/>
                <a:gd name="T1" fmla="*/ 0 h 2"/>
                <a:gd name="T2" fmla="*/ 0 w 2"/>
                <a:gd name="T3" fmla="*/ 2 h 2"/>
                <a:gd name="T4" fmla="*/ 1 w 2"/>
                <a:gd name="T5" fmla="*/ 2 h 2"/>
                <a:gd name="T6" fmla="*/ 2 w 2"/>
                <a:gd name="T7" fmla="*/ 1 h 2"/>
                <a:gd name="T8" fmla="*/ 1 w 2"/>
                <a:gd name="T9" fmla="*/ 0 h 2"/>
              </a:gdLst>
              <a:ahLst/>
              <a:cxnLst>
                <a:cxn ang="0">
                  <a:pos x="T0" y="T1"/>
                </a:cxn>
                <a:cxn ang="0">
                  <a:pos x="T2" y="T3"/>
                </a:cxn>
                <a:cxn ang="0">
                  <a:pos x="T4" y="T5"/>
                </a:cxn>
                <a:cxn ang="0">
                  <a:pos x="T6" y="T7"/>
                </a:cxn>
                <a:cxn ang="0">
                  <a:pos x="T8" y="T9"/>
                </a:cxn>
              </a:cxnLst>
              <a:rect l="0" t="0" r="r" b="b"/>
              <a:pathLst>
                <a:path w="2" h="2">
                  <a:moveTo>
                    <a:pt x="1" y="0"/>
                  </a:moveTo>
                  <a:cubicBezTo>
                    <a:pt x="0" y="0"/>
                    <a:pt x="0" y="2"/>
                    <a:pt x="0" y="2"/>
                  </a:cubicBezTo>
                  <a:cubicBezTo>
                    <a:pt x="0" y="2"/>
                    <a:pt x="1" y="2"/>
                    <a:pt x="1" y="2"/>
                  </a:cubicBezTo>
                  <a:cubicBezTo>
                    <a:pt x="1" y="2"/>
                    <a:pt x="2" y="1"/>
                    <a:pt x="2" y="1"/>
                  </a:cubicBezTo>
                  <a:cubicBezTo>
                    <a:pt x="2" y="0"/>
                    <a:pt x="1" y="0"/>
                    <a:pt x="1" y="0"/>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15"/>
            <p:cNvSpPr>
              <a:spLocks/>
            </p:cNvSpPr>
            <p:nvPr/>
          </p:nvSpPr>
          <p:spPr bwMode="auto">
            <a:xfrm>
              <a:off x="6018404" y="5010541"/>
              <a:ext cx="63542" cy="16339"/>
            </a:xfrm>
            <a:custGeom>
              <a:avLst/>
              <a:gdLst>
                <a:gd name="T0" fmla="*/ 6 w 22"/>
                <a:gd name="T1" fmla="*/ 3 h 6"/>
                <a:gd name="T2" fmla="*/ 4 w 22"/>
                <a:gd name="T3" fmla="*/ 2 h 6"/>
                <a:gd name="T4" fmla="*/ 2 w 22"/>
                <a:gd name="T5" fmla="*/ 0 h 6"/>
                <a:gd name="T6" fmla="*/ 0 w 22"/>
                <a:gd name="T7" fmla="*/ 1 h 6"/>
                <a:gd name="T8" fmla="*/ 1 w 22"/>
                <a:gd name="T9" fmla="*/ 2 h 6"/>
                <a:gd name="T10" fmla="*/ 3 w 22"/>
                <a:gd name="T11" fmla="*/ 2 h 6"/>
                <a:gd name="T12" fmla="*/ 6 w 22"/>
                <a:gd name="T13" fmla="*/ 4 h 6"/>
                <a:gd name="T14" fmla="*/ 8 w 22"/>
                <a:gd name="T15" fmla="*/ 5 h 6"/>
                <a:gd name="T16" fmla="*/ 11 w 22"/>
                <a:gd name="T17" fmla="*/ 5 h 6"/>
                <a:gd name="T18" fmla="*/ 12 w 22"/>
                <a:gd name="T19" fmla="*/ 6 h 6"/>
                <a:gd name="T20" fmla="*/ 16 w 22"/>
                <a:gd name="T21" fmla="*/ 5 h 6"/>
                <a:gd name="T22" fmla="*/ 18 w 22"/>
                <a:gd name="T23" fmla="*/ 5 h 6"/>
                <a:gd name="T24" fmla="*/ 21 w 22"/>
                <a:gd name="T25" fmla="*/ 4 h 6"/>
                <a:gd name="T26" fmla="*/ 21 w 22"/>
                <a:gd name="T27" fmla="*/ 2 h 6"/>
                <a:gd name="T28" fmla="*/ 19 w 22"/>
                <a:gd name="T29" fmla="*/ 1 h 6"/>
                <a:gd name="T30" fmla="*/ 17 w 22"/>
                <a:gd name="T31" fmla="*/ 1 h 6"/>
                <a:gd name="T32" fmla="*/ 14 w 22"/>
                <a:gd name="T33" fmla="*/ 1 h 6"/>
                <a:gd name="T34" fmla="*/ 11 w 22"/>
                <a:gd name="T35" fmla="*/ 0 h 6"/>
                <a:gd name="T36" fmla="*/ 9 w 22"/>
                <a:gd name="T37" fmla="*/ 0 h 6"/>
                <a:gd name="T38" fmla="*/ 7 w 22"/>
                <a:gd name="T39" fmla="*/ 0 h 6"/>
                <a:gd name="T40" fmla="*/ 8 w 22"/>
                <a:gd name="T41" fmla="*/ 1 h 6"/>
                <a:gd name="T42" fmla="*/ 7 w 22"/>
                <a:gd name="T43" fmla="*/ 3 h 6"/>
                <a:gd name="T44" fmla="*/ 6 w 22"/>
                <a:gd name="T4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6">
                  <a:moveTo>
                    <a:pt x="6" y="3"/>
                  </a:moveTo>
                  <a:cubicBezTo>
                    <a:pt x="6" y="3"/>
                    <a:pt x="4" y="2"/>
                    <a:pt x="4" y="2"/>
                  </a:cubicBezTo>
                  <a:cubicBezTo>
                    <a:pt x="3" y="2"/>
                    <a:pt x="3" y="1"/>
                    <a:pt x="2" y="0"/>
                  </a:cubicBezTo>
                  <a:cubicBezTo>
                    <a:pt x="1" y="0"/>
                    <a:pt x="1" y="1"/>
                    <a:pt x="0" y="1"/>
                  </a:cubicBezTo>
                  <a:cubicBezTo>
                    <a:pt x="0" y="1"/>
                    <a:pt x="1" y="2"/>
                    <a:pt x="1" y="2"/>
                  </a:cubicBezTo>
                  <a:cubicBezTo>
                    <a:pt x="2" y="2"/>
                    <a:pt x="3" y="2"/>
                    <a:pt x="3" y="2"/>
                  </a:cubicBezTo>
                  <a:cubicBezTo>
                    <a:pt x="3" y="3"/>
                    <a:pt x="6" y="4"/>
                    <a:pt x="6" y="4"/>
                  </a:cubicBezTo>
                  <a:cubicBezTo>
                    <a:pt x="6" y="4"/>
                    <a:pt x="7" y="4"/>
                    <a:pt x="8" y="5"/>
                  </a:cubicBezTo>
                  <a:cubicBezTo>
                    <a:pt x="8" y="5"/>
                    <a:pt x="9" y="5"/>
                    <a:pt x="11" y="5"/>
                  </a:cubicBezTo>
                  <a:cubicBezTo>
                    <a:pt x="13" y="6"/>
                    <a:pt x="12" y="6"/>
                    <a:pt x="12" y="6"/>
                  </a:cubicBezTo>
                  <a:cubicBezTo>
                    <a:pt x="12" y="6"/>
                    <a:pt x="14" y="6"/>
                    <a:pt x="16" y="5"/>
                  </a:cubicBezTo>
                  <a:cubicBezTo>
                    <a:pt x="18" y="5"/>
                    <a:pt x="17" y="5"/>
                    <a:pt x="18" y="5"/>
                  </a:cubicBezTo>
                  <a:cubicBezTo>
                    <a:pt x="20" y="5"/>
                    <a:pt x="19" y="5"/>
                    <a:pt x="21" y="4"/>
                  </a:cubicBezTo>
                  <a:cubicBezTo>
                    <a:pt x="22" y="3"/>
                    <a:pt x="21" y="3"/>
                    <a:pt x="21" y="2"/>
                  </a:cubicBezTo>
                  <a:cubicBezTo>
                    <a:pt x="21" y="2"/>
                    <a:pt x="20" y="1"/>
                    <a:pt x="19" y="1"/>
                  </a:cubicBezTo>
                  <a:cubicBezTo>
                    <a:pt x="19" y="1"/>
                    <a:pt x="18" y="1"/>
                    <a:pt x="17" y="1"/>
                  </a:cubicBezTo>
                  <a:cubicBezTo>
                    <a:pt x="16" y="1"/>
                    <a:pt x="16" y="0"/>
                    <a:pt x="14" y="1"/>
                  </a:cubicBezTo>
                  <a:cubicBezTo>
                    <a:pt x="11" y="1"/>
                    <a:pt x="12" y="1"/>
                    <a:pt x="11" y="0"/>
                  </a:cubicBezTo>
                  <a:cubicBezTo>
                    <a:pt x="11" y="0"/>
                    <a:pt x="10" y="0"/>
                    <a:pt x="9" y="0"/>
                  </a:cubicBezTo>
                  <a:cubicBezTo>
                    <a:pt x="9" y="0"/>
                    <a:pt x="7" y="0"/>
                    <a:pt x="7" y="0"/>
                  </a:cubicBezTo>
                  <a:cubicBezTo>
                    <a:pt x="7" y="1"/>
                    <a:pt x="7" y="1"/>
                    <a:pt x="8" y="1"/>
                  </a:cubicBezTo>
                  <a:cubicBezTo>
                    <a:pt x="8" y="2"/>
                    <a:pt x="7" y="3"/>
                    <a:pt x="7" y="3"/>
                  </a:cubicBezTo>
                  <a:cubicBezTo>
                    <a:pt x="7" y="4"/>
                    <a:pt x="6" y="3"/>
                    <a:pt x="6" y="3"/>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Freeform 16"/>
            <p:cNvSpPr>
              <a:spLocks/>
            </p:cNvSpPr>
            <p:nvPr/>
          </p:nvSpPr>
          <p:spPr bwMode="auto">
            <a:xfrm>
              <a:off x="5829221" y="4821279"/>
              <a:ext cx="11553" cy="16339"/>
            </a:xfrm>
            <a:custGeom>
              <a:avLst/>
              <a:gdLst>
                <a:gd name="T0" fmla="*/ 2 w 4"/>
                <a:gd name="T1" fmla="*/ 1 h 6"/>
                <a:gd name="T2" fmla="*/ 1 w 4"/>
                <a:gd name="T3" fmla="*/ 1 h 6"/>
                <a:gd name="T4" fmla="*/ 1 w 4"/>
                <a:gd name="T5" fmla="*/ 2 h 6"/>
                <a:gd name="T6" fmla="*/ 1 w 4"/>
                <a:gd name="T7" fmla="*/ 4 h 6"/>
                <a:gd name="T8" fmla="*/ 1 w 4"/>
                <a:gd name="T9" fmla="*/ 5 h 6"/>
                <a:gd name="T10" fmla="*/ 2 w 4"/>
                <a:gd name="T11" fmla="*/ 6 h 6"/>
                <a:gd name="T12" fmla="*/ 4 w 4"/>
                <a:gd name="T13" fmla="*/ 6 h 6"/>
                <a:gd name="T14" fmla="*/ 3 w 4"/>
                <a:gd name="T15" fmla="*/ 5 h 6"/>
                <a:gd name="T16" fmla="*/ 3 w 4"/>
                <a:gd name="T17" fmla="*/ 4 h 6"/>
                <a:gd name="T18" fmla="*/ 3 w 4"/>
                <a:gd name="T19" fmla="*/ 3 h 6"/>
                <a:gd name="T20" fmla="*/ 2 w 4"/>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6">
                  <a:moveTo>
                    <a:pt x="2" y="1"/>
                  </a:moveTo>
                  <a:cubicBezTo>
                    <a:pt x="2" y="0"/>
                    <a:pt x="1" y="1"/>
                    <a:pt x="1" y="1"/>
                  </a:cubicBezTo>
                  <a:cubicBezTo>
                    <a:pt x="1" y="1"/>
                    <a:pt x="1" y="2"/>
                    <a:pt x="1" y="2"/>
                  </a:cubicBezTo>
                  <a:cubicBezTo>
                    <a:pt x="0" y="3"/>
                    <a:pt x="1" y="3"/>
                    <a:pt x="1" y="4"/>
                  </a:cubicBezTo>
                  <a:cubicBezTo>
                    <a:pt x="1" y="4"/>
                    <a:pt x="1" y="4"/>
                    <a:pt x="1" y="5"/>
                  </a:cubicBezTo>
                  <a:cubicBezTo>
                    <a:pt x="1" y="5"/>
                    <a:pt x="2" y="6"/>
                    <a:pt x="2" y="6"/>
                  </a:cubicBezTo>
                  <a:cubicBezTo>
                    <a:pt x="4" y="6"/>
                    <a:pt x="4" y="6"/>
                    <a:pt x="4" y="6"/>
                  </a:cubicBezTo>
                  <a:cubicBezTo>
                    <a:pt x="4" y="6"/>
                    <a:pt x="4" y="5"/>
                    <a:pt x="3" y="5"/>
                  </a:cubicBezTo>
                  <a:cubicBezTo>
                    <a:pt x="3" y="4"/>
                    <a:pt x="3" y="4"/>
                    <a:pt x="3" y="4"/>
                  </a:cubicBezTo>
                  <a:cubicBezTo>
                    <a:pt x="3" y="4"/>
                    <a:pt x="3" y="3"/>
                    <a:pt x="3" y="3"/>
                  </a:cubicBezTo>
                  <a:cubicBezTo>
                    <a:pt x="3" y="2"/>
                    <a:pt x="3" y="1"/>
                    <a:pt x="2" y="1"/>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17"/>
            <p:cNvSpPr>
              <a:spLocks/>
            </p:cNvSpPr>
            <p:nvPr/>
          </p:nvSpPr>
          <p:spPr bwMode="auto">
            <a:xfrm>
              <a:off x="5829221" y="4878466"/>
              <a:ext cx="5777" cy="10893"/>
            </a:xfrm>
            <a:custGeom>
              <a:avLst/>
              <a:gdLst>
                <a:gd name="T0" fmla="*/ 2 w 2"/>
                <a:gd name="T1" fmla="*/ 0 h 4"/>
                <a:gd name="T2" fmla="*/ 1 w 2"/>
                <a:gd name="T3" fmla="*/ 1 h 4"/>
                <a:gd name="T4" fmla="*/ 1 w 2"/>
                <a:gd name="T5" fmla="*/ 2 h 4"/>
                <a:gd name="T6" fmla="*/ 0 w 2"/>
                <a:gd name="T7" fmla="*/ 3 h 4"/>
                <a:gd name="T8" fmla="*/ 1 w 2"/>
                <a:gd name="T9" fmla="*/ 4 h 4"/>
                <a:gd name="T10" fmla="*/ 2 w 2"/>
                <a:gd name="T11" fmla="*/ 3 h 4"/>
                <a:gd name="T12" fmla="*/ 2 w 2"/>
                <a:gd name="T13" fmla="*/ 1 h 4"/>
                <a:gd name="T14" fmla="*/ 2 w 2"/>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2" y="0"/>
                  </a:moveTo>
                  <a:cubicBezTo>
                    <a:pt x="2" y="0"/>
                    <a:pt x="1" y="1"/>
                    <a:pt x="1" y="1"/>
                  </a:cubicBezTo>
                  <a:cubicBezTo>
                    <a:pt x="1" y="1"/>
                    <a:pt x="1" y="2"/>
                    <a:pt x="1" y="2"/>
                  </a:cubicBezTo>
                  <a:cubicBezTo>
                    <a:pt x="0" y="2"/>
                    <a:pt x="0" y="2"/>
                    <a:pt x="0" y="3"/>
                  </a:cubicBezTo>
                  <a:cubicBezTo>
                    <a:pt x="0" y="3"/>
                    <a:pt x="1" y="4"/>
                    <a:pt x="1" y="4"/>
                  </a:cubicBezTo>
                  <a:cubicBezTo>
                    <a:pt x="1" y="4"/>
                    <a:pt x="2" y="3"/>
                    <a:pt x="2" y="3"/>
                  </a:cubicBezTo>
                  <a:cubicBezTo>
                    <a:pt x="2" y="3"/>
                    <a:pt x="2" y="1"/>
                    <a:pt x="2" y="1"/>
                  </a:cubicBezTo>
                  <a:cubicBezTo>
                    <a:pt x="2" y="1"/>
                    <a:pt x="2" y="0"/>
                    <a:pt x="2" y="0"/>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Freeform 18"/>
            <p:cNvSpPr>
              <a:spLocks/>
            </p:cNvSpPr>
            <p:nvPr/>
          </p:nvSpPr>
          <p:spPr bwMode="auto">
            <a:xfrm>
              <a:off x="5834997" y="4897528"/>
              <a:ext cx="5777" cy="5446"/>
            </a:xfrm>
            <a:custGeom>
              <a:avLst/>
              <a:gdLst>
                <a:gd name="T0" fmla="*/ 0 w 2"/>
                <a:gd name="T1" fmla="*/ 0 h 2"/>
                <a:gd name="T2" fmla="*/ 0 w 2"/>
                <a:gd name="T3" fmla="*/ 1 h 2"/>
                <a:gd name="T4" fmla="*/ 1 w 2"/>
                <a:gd name="T5" fmla="*/ 2 h 2"/>
                <a:gd name="T6" fmla="*/ 2 w 2"/>
                <a:gd name="T7" fmla="*/ 1 h 2"/>
                <a:gd name="T8" fmla="*/ 2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cubicBezTo>
                    <a:pt x="0" y="1"/>
                    <a:pt x="0" y="1"/>
                    <a:pt x="0" y="1"/>
                  </a:cubicBezTo>
                  <a:cubicBezTo>
                    <a:pt x="0" y="1"/>
                    <a:pt x="1" y="2"/>
                    <a:pt x="1" y="2"/>
                  </a:cubicBezTo>
                  <a:cubicBezTo>
                    <a:pt x="1" y="2"/>
                    <a:pt x="2" y="1"/>
                    <a:pt x="2" y="1"/>
                  </a:cubicBezTo>
                  <a:cubicBezTo>
                    <a:pt x="2" y="1"/>
                    <a:pt x="2" y="0"/>
                    <a:pt x="2" y="0"/>
                  </a:cubicBezTo>
                  <a:cubicBezTo>
                    <a:pt x="1" y="0"/>
                    <a:pt x="0" y="0"/>
                    <a:pt x="0" y="0"/>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Freeform 19"/>
            <p:cNvSpPr>
              <a:spLocks/>
            </p:cNvSpPr>
            <p:nvPr/>
          </p:nvSpPr>
          <p:spPr bwMode="auto">
            <a:xfrm>
              <a:off x="5849439" y="488935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20"/>
            <p:cNvSpPr>
              <a:spLocks/>
            </p:cNvSpPr>
            <p:nvPr/>
          </p:nvSpPr>
          <p:spPr bwMode="auto">
            <a:xfrm>
              <a:off x="6035734" y="5029603"/>
              <a:ext cx="77984" cy="16339"/>
            </a:xfrm>
            <a:custGeom>
              <a:avLst/>
              <a:gdLst>
                <a:gd name="T0" fmla="*/ 9 w 27"/>
                <a:gd name="T1" fmla="*/ 5 h 6"/>
                <a:gd name="T2" fmla="*/ 11 w 27"/>
                <a:gd name="T3" fmla="*/ 6 h 6"/>
                <a:gd name="T4" fmla="*/ 11 w 27"/>
                <a:gd name="T5" fmla="*/ 5 h 6"/>
                <a:gd name="T6" fmla="*/ 11 w 27"/>
                <a:gd name="T7" fmla="*/ 4 h 6"/>
                <a:gd name="T8" fmla="*/ 14 w 27"/>
                <a:gd name="T9" fmla="*/ 3 h 6"/>
                <a:gd name="T10" fmla="*/ 16 w 27"/>
                <a:gd name="T11" fmla="*/ 3 h 6"/>
                <a:gd name="T12" fmla="*/ 18 w 27"/>
                <a:gd name="T13" fmla="*/ 3 h 6"/>
                <a:gd name="T14" fmla="*/ 20 w 27"/>
                <a:gd name="T15" fmla="*/ 3 h 6"/>
                <a:gd name="T16" fmla="*/ 21 w 27"/>
                <a:gd name="T17" fmla="*/ 4 h 6"/>
                <a:gd name="T18" fmla="*/ 23 w 27"/>
                <a:gd name="T19" fmla="*/ 3 h 6"/>
                <a:gd name="T20" fmla="*/ 24 w 27"/>
                <a:gd name="T21" fmla="*/ 4 h 6"/>
                <a:gd name="T22" fmla="*/ 25 w 27"/>
                <a:gd name="T23" fmla="*/ 5 h 6"/>
                <a:gd name="T24" fmla="*/ 27 w 27"/>
                <a:gd name="T25" fmla="*/ 4 h 6"/>
                <a:gd name="T26" fmla="*/ 27 w 27"/>
                <a:gd name="T27" fmla="*/ 3 h 6"/>
                <a:gd name="T28" fmla="*/ 27 w 27"/>
                <a:gd name="T29" fmla="*/ 1 h 6"/>
                <a:gd name="T30" fmla="*/ 25 w 27"/>
                <a:gd name="T31" fmla="*/ 1 h 6"/>
                <a:gd name="T32" fmla="*/ 24 w 27"/>
                <a:gd name="T33" fmla="*/ 2 h 6"/>
                <a:gd name="T34" fmla="*/ 23 w 27"/>
                <a:gd name="T35" fmla="*/ 2 h 6"/>
                <a:gd name="T36" fmla="*/ 22 w 27"/>
                <a:gd name="T37" fmla="*/ 3 h 6"/>
                <a:gd name="T38" fmla="*/ 21 w 27"/>
                <a:gd name="T39" fmla="*/ 2 h 6"/>
                <a:gd name="T40" fmla="*/ 19 w 27"/>
                <a:gd name="T41" fmla="*/ 2 h 6"/>
                <a:gd name="T42" fmla="*/ 18 w 27"/>
                <a:gd name="T43" fmla="*/ 2 h 6"/>
                <a:gd name="T44" fmla="*/ 13 w 27"/>
                <a:gd name="T45" fmla="*/ 1 h 6"/>
                <a:gd name="T46" fmla="*/ 11 w 27"/>
                <a:gd name="T47" fmla="*/ 2 h 6"/>
                <a:gd name="T48" fmla="*/ 10 w 27"/>
                <a:gd name="T49" fmla="*/ 1 h 6"/>
                <a:gd name="T50" fmla="*/ 9 w 27"/>
                <a:gd name="T51" fmla="*/ 0 h 6"/>
                <a:gd name="T52" fmla="*/ 7 w 27"/>
                <a:gd name="T53" fmla="*/ 1 h 6"/>
                <a:gd name="T54" fmla="*/ 6 w 27"/>
                <a:gd name="T55" fmla="*/ 0 h 6"/>
                <a:gd name="T56" fmla="*/ 5 w 27"/>
                <a:gd name="T57" fmla="*/ 1 h 6"/>
                <a:gd name="T58" fmla="*/ 4 w 27"/>
                <a:gd name="T59" fmla="*/ 2 h 6"/>
                <a:gd name="T60" fmla="*/ 3 w 27"/>
                <a:gd name="T61" fmla="*/ 2 h 6"/>
                <a:gd name="T62" fmla="*/ 2 w 27"/>
                <a:gd name="T63" fmla="*/ 1 h 6"/>
                <a:gd name="T64" fmla="*/ 1 w 27"/>
                <a:gd name="T65" fmla="*/ 2 h 6"/>
                <a:gd name="T66" fmla="*/ 0 w 27"/>
                <a:gd name="T67" fmla="*/ 4 h 6"/>
                <a:gd name="T68" fmla="*/ 2 w 27"/>
                <a:gd name="T69" fmla="*/ 4 h 6"/>
                <a:gd name="T70" fmla="*/ 3 w 27"/>
                <a:gd name="T71" fmla="*/ 3 h 6"/>
                <a:gd name="T72" fmla="*/ 6 w 27"/>
                <a:gd name="T73" fmla="*/ 4 h 6"/>
                <a:gd name="T74" fmla="*/ 8 w 27"/>
                <a:gd name="T75" fmla="*/ 4 h 6"/>
                <a:gd name="T76" fmla="*/ 9 w 27"/>
                <a:gd name="T7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 h="6">
                  <a:moveTo>
                    <a:pt x="9" y="5"/>
                  </a:moveTo>
                  <a:cubicBezTo>
                    <a:pt x="10" y="6"/>
                    <a:pt x="10" y="6"/>
                    <a:pt x="11" y="6"/>
                  </a:cubicBezTo>
                  <a:cubicBezTo>
                    <a:pt x="12" y="6"/>
                    <a:pt x="11" y="5"/>
                    <a:pt x="11" y="5"/>
                  </a:cubicBezTo>
                  <a:cubicBezTo>
                    <a:pt x="11" y="5"/>
                    <a:pt x="11" y="4"/>
                    <a:pt x="11" y="4"/>
                  </a:cubicBezTo>
                  <a:cubicBezTo>
                    <a:pt x="11" y="4"/>
                    <a:pt x="13" y="4"/>
                    <a:pt x="14" y="3"/>
                  </a:cubicBezTo>
                  <a:cubicBezTo>
                    <a:pt x="14" y="3"/>
                    <a:pt x="15" y="3"/>
                    <a:pt x="16" y="3"/>
                  </a:cubicBezTo>
                  <a:cubicBezTo>
                    <a:pt x="17" y="3"/>
                    <a:pt x="17" y="3"/>
                    <a:pt x="18" y="3"/>
                  </a:cubicBezTo>
                  <a:cubicBezTo>
                    <a:pt x="18" y="3"/>
                    <a:pt x="20" y="3"/>
                    <a:pt x="20" y="3"/>
                  </a:cubicBezTo>
                  <a:cubicBezTo>
                    <a:pt x="20" y="3"/>
                    <a:pt x="20" y="4"/>
                    <a:pt x="21" y="4"/>
                  </a:cubicBezTo>
                  <a:cubicBezTo>
                    <a:pt x="21" y="4"/>
                    <a:pt x="23" y="3"/>
                    <a:pt x="23" y="3"/>
                  </a:cubicBezTo>
                  <a:cubicBezTo>
                    <a:pt x="23" y="3"/>
                    <a:pt x="24" y="4"/>
                    <a:pt x="24" y="4"/>
                  </a:cubicBezTo>
                  <a:cubicBezTo>
                    <a:pt x="24" y="4"/>
                    <a:pt x="25" y="5"/>
                    <a:pt x="25" y="5"/>
                  </a:cubicBezTo>
                  <a:cubicBezTo>
                    <a:pt x="25" y="5"/>
                    <a:pt x="27" y="4"/>
                    <a:pt x="27" y="4"/>
                  </a:cubicBezTo>
                  <a:cubicBezTo>
                    <a:pt x="27" y="3"/>
                    <a:pt x="27" y="3"/>
                    <a:pt x="27" y="3"/>
                  </a:cubicBezTo>
                  <a:cubicBezTo>
                    <a:pt x="27" y="1"/>
                    <a:pt x="27" y="1"/>
                    <a:pt x="27" y="1"/>
                  </a:cubicBezTo>
                  <a:cubicBezTo>
                    <a:pt x="25" y="1"/>
                    <a:pt x="25" y="1"/>
                    <a:pt x="25" y="1"/>
                  </a:cubicBezTo>
                  <a:cubicBezTo>
                    <a:pt x="25" y="1"/>
                    <a:pt x="25" y="1"/>
                    <a:pt x="24" y="2"/>
                  </a:cubicBezTo>
                  <a:cubicBezTo>
                    <a:pt x="23" y="3"/>
                    <a:pt x="23" y="2"/>
                    <a:pt x="23" y="2"/>
                  </a:cubicBezTo>
                  <a:cubicBezTo>
                    <a:pt x="23" y="2"/>
                    <a:pt x="23" y="3"/>
                    <a:pt x="22" y="3"/>
                  </a:cubicBezTo>
                  <a:cubicBezTo>
                    <a:pt x="21" y="3"/>
                    <a:pt x="22" y="3"/>
                    <a:pt x="21" y="2"/>
                  </a:cubicBezTo>
                  <a:cubicBezTo>
                    <a:pt x="21" y="2"/>
                    <a:pt x="20" y="2"/>
                    <a:pt x="19" y="2"/>
                  </a:cubicBezTo>
                  <a:cubicBezTo>
                    <a:pt x="18" y="2"/>
                    <a:pt x="18" y="2"/>
                    <a:pt x="18" y="2"/>
                  </a:cubicBezTo>
                  <a:cubicBezTo>
                    <a:pt x="17" y="2"/>
                    <a:pt x="15" y="1"/>
                    <a:pt x="13" y="1"/>
                  </a:cubicBezTo>
                  <a:cubicBezTo>
                    <a:pt x="12" y="1"/>
                    <a:pt x="12" y="2"/>
                    <a:pt x="11" y="2"/>
                  </a:cubicBezTo>
                  <a:cubicBezTo>
                    <a:pt x="11" y="2"/>
                    <a:pt x="10" y="1"/>
                    <a:pt x="10" y="1"/>
                  </a:cubicBezTo>
                  <a:cubicBezTo>
                    <a:pt x="10" y="1"/>
                    <a:pt x="9" y="1"/>
                    <a:pt x="9" y="0"/>
                  </a:cubicBezTo>
                  <a:cubicBezTo>
                    <a:pt x="8" y="0"/>
                    <a:pt x="7" y="1"/>
                    <a:pt x="7" y="1"/>
                  </a:cubicBezTo>
                  <a:cubicBezTo>
                    <a:pt x="7" y="1"/>
                    <a:pt x="6" y="0"/>
                    <a:pt x="6" y="0"/>
                  </a:cubicBezTo>
                  <a:cubicBezTo>
                    <a:pt x="6" y="0"/>
                    <a:pt x="5" y="0"/>
                    <a:pt x="5" y="1"/>
                  </a:cubicBezTo>
                  <a:cubicBezTo>
                    <a:pt x="5" y="1"/>
                    <a:pt x="4" y="2"/>
                    <a:pt x="4" y="2"/>
                  </a:cubicBezTo>
                  <a:cubicBezTo>
                    <a:pt x="4" y="2"/>
                    <a:pt x="3" y="2"/>
                    <a:pt x="3" y="2"/>
                  </a:cubicBezTo>
                  <a:cubicBezTo>
                    <a:pt x="3" y="2"/>
                    <a:pt x="2" y="1"/>
                    <a:pt x="2" y="1"/>
                  </a:cubicBezTo>
                  <a:cubicBezTo>
                    <a:pt x="1" y="1"/>
                    <a:pt x="1" y="2"/>
                    <a:pt x="1" y="2"/>
                  </a:cubicBezTo>
                  <a:cubicBezTo>
                    <a:pt x="0" y="2"/>
                    <a:pt x="0" y="4"/>
                    <a:pt x="0" y="4"/>
                  </a:cubicBezTo>
                  <a:cubicBezTo>
                    <a:pt x="0" y="4"/>
                    <a:pt x="2" y="4"/>
                    <a:pt x="2" y="4"/>
                  </a:cubicBezTo>
                  <a:cubicBezTo>
                    <a:pt x="2" y="4"/>
                    <a:pt x="3" y="3"/>
                    <a:pt x="3" y="3"/>
                  </a:cubicBezTo>
                  <a:cubicBezTo>
                    <a:pt x="4" y="3"/>
                    <a:pt x="6" y="4"/>
                    <a:pt x="6" y="4"/>
                  </a:cubicBezTo>
                  <a:cubicBezTo>
                    <a:pt x="6" y="4"/>
                    <a:pt x="7" y="4"/>
                    <a:pt x="8" y="4"/>
                  </a:cubicBezTo>
                  <a:cubicBezTo>
                    <a:pt x="10" y="4"/>
                    <a:pt x="9" y="4"/>
                    <a:pt x="9" y="5"/>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21"/>
            <p:cNvSpPr>
              <a:spLocks/>
            </p:cNvSpPr>
            <p:nvPr/>
          </p:nvSpPr>
          <p:spPr bwMode="auto">
            <a:xfrm>
              <a:off x="5872545" y="4908421"/>
              <a:ext cx="5777" cy="8170"/>
            </a:xfrm>
            <a:custGeom>
              <a:avLst/>
              <a:gdLst>
                <a:gd name="T0" fmla="*/ 1 w 2"/>
                <a:gd name="T1" fmla="*/ 0 h 3"/>
                <a:gd name="T2" fmla="*/ 0 w 2"/>
                <a:gd name="T3" fmla="*/ 0 h 3"/>
                <a:gd name="T4" fmla="*/ 0 w 2"/>
                <a:gd name="T5" fmla="*/ 0 h 3"/>
                <a:gd name="T6" fmla="*/ 0 w 2"/>
                <a:gd name="T7" fmla="*/ 1 h 3"/>
                <a:gd name="T8" fmla="*/ 0 w 2"/>
                <a:gd name="T9" fmla="*/ 2 h 3"/>
                <a:gd name="T10" fmla="*/ 1 w 2"/>
                <a:gd name="T11" fmla="*/ 3 h 3"/>
                <a:gd name="T12" fmla="*/ 1 w 2"/>
                <a:gd name="T13" fmla="*/ 2 h 3"/>
                <a:gd name="T14" fmla="*/ 1 w 2"/>
                <a:gd name="T15" fmla="*/ 1 h 3"/>
                <a:gd name="T16" fmla="*/ 1 w 2"/>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3">
                  <a:moveTo>
                    <a:pt x="1" y="0"/>
                  </a:moveTo>
                  <a:cubicBezTo>
                    <a:pt x="1" y="0"/>
                    <a:pt x="0" y="0"/>
                    <a:pt x="0" y="0"/>
                  </a:cubicBezTo>
                  <a:cubicBezTo>
                    <a:pt x="0" y="0"/>
                    <a:pt x="0" y="0"/>
                    <a:pt x="0" y="0"/>
                  </a:cubicBezTo>
                  <a:cubicBezTo>
                    <a:pt x="0" y="1"/>
                    <a:pt x="0" y="1"/>
                    <a:pt x="0" y="1"/>
                  </a:cubicBezTo>
                  <a:cubicBezTo>
                    <a:pt x="0" y="2"/>
                    <a:pt x="0" y="2"/>
                    <a:pt x="0" y="2"/>
                  </a:cubicBezTo>
                  <a:cubicBezTo>
                    <a:pt x="0" y="2"/>
                    <a:pt x="0" y="2"/>
                    <a:pt x="1" y="3"/>
                  </a:cubicBezTo>
                  <a:cubicBezTo>
                    <a:pt x="2" y="3"/>
                    <a:pt x="1" y="3"/>
                    <a:pt x="1" y="2"/>
                  </a:cubicBezTo>
                  <a:cubicBezTo>
                    <a:pt x="1" y="2"/>
                    <a:pt x="1" y="2"/>
                    <a:pt x="1" y="1"/>
                  </a:cubicBezTo>
                  <a:cubicBezTo>
                    <a:pt x="1" y="1"/>
                    <a:pt x="1" y="1"/>
                    <a:pt x="1" y="0"/>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22"/>
            <p:cNvSpPr>
              <a:spLocks/>
            </p:cNvSpPr>
            <p:nvPr/>
          </p:nvSpPr>
          <p:spPr bwMode="auto">
            <a:xfrm>
              <a:off x="5881210" y="4905698"/>
              <a:ext cx="2888" cy="10893"/>
            </a:xfrm>
            <a:custGeom>
              <a:avLst/>
              <a:gdLst>
                <a:gd name="T0" fmla="*/ 1 w 1"/>
                <a:gd name="T1" fmla="*/ 1 h 4"/>
                <a:gd name="T2" fmla="*/ 0 w 1"/>
                <a:gd name="T3" fmla="*/ 0 h 4"/>
                <a:gd name="T4" fmla="*/ 0 w 1"/>
                <a:gd name="T5" fmla="*/ 1 h 4"/>
                <a:gd name="T6" fmla="*/ 0 w 1"/>
                <a:gd name="T7" fmla="*/ 2 h 4"/>
                <a:gd name="T8" fmla="*/ 0 w 1"/>
                <a:gd name="T9" fmla="*/ 3 h 4"/>
                <a:gd name="T10" fmla="*/ 1 w 1"/>
                <a:gd name="T11" fmla="*/ 4 h 4"/>
                <a:gd name="T12" fmla="*/ 1 w 1"/>
                <a:gd name="T13" fmla="*/ 3 h 4"/>
                <a:gd name="T14" fmla="*/ 1 w 1"/>
                <a:gd name="T15" fmla="*/ 2 h 4"/>
                <a:gd name="T16" fmla="*/ 1 w 1"/>
                <a:gd name="T17"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4">
                  <a:moveTo>
                    <a:pt x="1" y="1"/>
                  </a:moveTo>
                  <a:cubicBezTo>
                    <a:pt x="1" y="0"/>
                    <a:pt x="0" y="0"/>
                    <a:pt x="0" y="0"/>
                  </a:cubicBezTo>
                  <a:cubicBezTo>
                    <a:pt x="0" y="0"/>
                    <a:pt x="0" y="1"/>
                    <a:pt x="0" y="1"/>
                  </a:cubicBezTo>
                  <a:cubicBezTo>
                    <a:pt x="0" y="1"/>
                    <a:pt x="0" y="2"/>
                    <a:pt x="0" y="2"/>
                  </a:cubicBezTo>
                  <a:cubicBezTo>
                    <a:pt x="0" y="2"/>
                    <a:pt x="0" y="3"/>
                    <a:pt x="0" y="3"/>
                  </a:cubicBezTo>
                  <a:cubicBezTo>
                    <a:pt x="0" y="3"/>
                    <a:pt x="0" y="4"/>
                    <a:pt x="1" y="4"/>
                  </a:cubicBezTo>
                  <a:cubicBezTo>
                    <a:pt x="1" y="4"/>
                    <a:pt x="1" y="3"/>
                    <a:pt x="1" y="3"/>
                  </a:cubicBezTo>
                  <a:cubicBezTo>
                    <a:pt x="1" y="2"/>
                    <a:pt x="1" y="2"/>
                    <a:pt x="1" y="2"/>
                  </a:cubicBezTo>
                  <a:cubicBezTo>
                    <a:pt x="1" y="1"/>
                    <a:pt x="1" y="1"/>
                    <a:pt x="1" y="1"/>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23"/>
            <p:cNvSpPr>
              <a:spLocks/>
            </p:cNvSpPr>
            <p:nvPr/>
          </p:nvSpPr>
          <p:spPr bwMode="auto">
            <a:xfrm>
              <a:off x="5872545" y="4845787"/>
              <a:ext cx="8665" cy="8170"/>
            </a:xfrm>
            <a:custGeom>
              <a:avLst/>
              <a:gdLst>
                <a:gd name="T0" fmla="*/ 1 w 3"/>
                <a:gd name="T1" fmla="*/ 2 h 3"/>
                <a:gd name="T2" fmla="*/ 2 w 3"/>
                <a:gd name="T3" fmla="*/ 3 h 3"/>
                <a:gd name="T4" fmla="*/ 3 w 3"/>
                <a:gd name="T5" fmla="*/ 2 h 3"/>
                <a:gd name="T6" fmla="*/ 3 w 3"/>
                <a:gd name="T7" fmla="*/ 1 h 3"/>
                <a:gd name="T8" fmla="*/ 2 w 3"/>
                <a:gd name="T9" fmla="*/ 1 h 3"/>
                <a:gd name="T10" fmla="*/ 1 w 3"/>
                <a:gd name="T11" fmla="*/ 1 h 3"/>
                <a:gd name="T12" fmla="*/ 1 w 3"/>
                <a:gd name="T13" fmla="*/ 0 h 3"/>
                <a:gd name="T14" fmla="*/ 0 w 3"/>
                <a:gd name="T15" fmla="*/ 0 h 3"/>
                <a:gd name="T16" fmla="*/ 0 w 3"/>
                <a:gd name="T17" fmla="*/ 1 h 3"/>
                <a:gd name="T18" fmla="*/ 1 w 3"/>
                <a:gd name="T19"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1" y="2"/>
                  </a:moveTo>
                  <a:cubicBezTo>
                    <a:pt x="1" y="2"/>
                    <a:pt x="2" y="3"/>
                    <a:pt x="2" y="3"/>
                  </a:cubicBezTo>
                  <a:cubicBezTo>
                    <a:pt x="3" y="3"/>
                    <a:pt x="3" y="2"/>
                    <a:pt x="3" y="2"/>
                  </a:cubicBezTo>
                  <a:cubicBezTo>
                    <a:pt x="3" y="2"/>
                    <a:pt x="3" y="2"/>
                    <a:pt x="3" y="1"/>
                  </a:cubicBezTo>
                  <a:cubicBezTo>
                    <a:pt x="2" y="1"/>
                    <a:pt x="2" y="1"/>
                    <a:pt x="2" y="1"/>
                  </a:cubicBezTo>
                  <a:cubicBezTo>
                    <a:pt x="1" y="1"/>
                    <a:pt x="1" y="1"/>
                    <a:pt x="1" y="1"/>
                  </a:cubicBezTo>
                  <a:cubicBezTo>
                    <a:pt x="1" y="0"/>
                    <a:pt x="1" y="0"/>
                    <a:pt x="1" y="0"/>
                  </a:cubicBezTo>
                  <a:cubicBezTo>
                    <a:pt x="0" y="0"/>
                    <a:pt x="0" y="0"/>
                    <a:pt x="0" y="0"/>
                  </a:cubicBezTo>
                  <a:cubicBezTo>
                    <a:pt x="0" y="0"/>
                    <a:pt x="0" y="1"/>
                    <a:pt x="0" y="1"/>
                  </a:cubicBezTo>
                  <a:cubicBezTo>
                    <a:pt x="0" y="1"/>
                    <a:pt x="1" y="2"/>
                    <a:pt x="1" y="2"/>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Freeform 24"/>
            <p:cNvSpPr>
              <a:spLocks/>
            </p:cNvSpPr>
            <p:nvPr/>
          </p:nvSpPr>
          <p:spPr bwMode="auto">
            <a:xfrm>
              <a:off x="5886987" y="4897528"/>
              <a:ext cx="11553" cy="10893"/>
            </a:xfrm>
            <a:custGeom>
              <a:avLst/>
              <a:gdLst>
                <a:gd name="T0" fmla="*/ 2 w 4"/>
                <a:gd name="T1" fmla="*/ 4 h 4"/>
                <a:gd name="T2" fmla="*/ 3 w 4"/>
                <a:gd name="T3" fmla="*/ 4 h 4"/>
                <a:gd name="T4" fmla="*/ 3 w 4"/>
                <a:gd name="T5" fmla="*/ 2 h 4"/>
                <a:gd name="T6" fmla="*/ 1 w 4"/>
                <a:gd name="T7" fmla="*/ 2 h 4"/>
                <a:gd name="T8" fmla="*/ 1 w 4"/>
                <a:gd name="T9" fmla="*/ 1 h 4"/>
                <a:gd name="T10" fmla="*/ 0 w 4"/>
                <a:gd name="T11" fmla="*/ 1 h 4"/>
                <a:gd name="T12" fmla="*/ 1 w 4"/>
                <a:gd name="T13" fmla="*/ 2 h 4"/>
                <a:gd name="T14" fmla="*/ 2 w 4"/>
                <a:gd name="T15" fmla="*/ 3 h 4"/>
                <a:gd name="T16" fmla="*/ 2 w 4"/>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2" y="4"/>
                  </a:moveTo>
                  <a:cubicBezTo>
                    <a:pt x="3" y="4"/>
                    <a:pt x="3" y="4"/>
                    <a:pt x="3" y="4"/>
                  </a:cubicBezTo>
                  <a:cubicBezTo>
                    <a:pt x="4" y="4"/>
                    <a:pt x="3" y="3"/>
                    <a:pt x="3" y="2"/>
                  </a:cubicBezTo>
                  <a:cubicBezTo>
                    <a:pt x="3" y="2"/>
                    <a:pt x="2" y="2"/>
                    <a:pt x="1" y="2"/>
                  </a:cubicBezTo>
                  <a:cubicBezTo>
                    <a:pt x="1" y="1"/>
                    <a:pt x="1" y="1"/>
                    <a:pt x="1" y="1"/>
                  </a:cubicBezTo>
                  <a:cubicBezTo>
                    <a:pt x="0" y="0"/>
                    <a:pt x="0" y="1"/>
                    <a:pt x="0" y="1"/>
                  </a:cubicBezTo>
                  <a:cubicBezTo>
                    <a:pt x="0" y="1"/>
                    <a:pt x="1" y="2"/>
                    <a:pt x="1" y="2"/>
                  </a:cubicBezTo>
                  <a:cubicBezTo>
                    <a:pt x="1" y="3"/>
                    <a:pt x="2" y="3"/>
                    <a:pt x="2" y="3"/>
                  </a:cubicBezTo>
                  <a:cubicBezTo>
                    <a:pt x="2" y="3"/>
                    <a:pt x="2" y="3"/>
                    <a:pt x="2" y="4"/>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25"/>
            <p:cNvSpPr>
              <a:spLocks/>
            </p:cNvSpPr>
            <p:nvPr/>
          </p:nvSpPr>
          <p:spPr bwMode="auto">
            <a:xfrm>
              <a:off x="6165707" y="5059558"/>
              <a:ext cx="72207" cy="46294"/>
            </a:xfrm>
            <a:custGeom>
              <a:avLst/>
              <a:gdLst>
                <a:gd name="T0" fmla="*/ 23 w 25"/>
                <a:gd name="T1" fmla="*/ 12 h 17"/>
                <a:gd name="T2" fmla="*/ 19 w 25"/>
                <a:gd name="T3" fmla="*/ 10 h 17"/>
                <a:gd name="T4" fmla="*/ 13 w 25"/>
                <a:gd name="T5" fmla="*/ 8 h 17"/>
                <a:gd name="T6" fmla="*/ 10 w 25"/>
                <a:gd name="T7" fmla="*/ 6 h 17"/>
                <a:gd name="T8" fmla="*/ 8 w 25"/>
                <a:gd name="T9" fmla="*/ 4 h 17"/>
                <a:gd name="T10" fmla="*/ 7 w 25"/>
                <a:gd name="T11" fmla="*/ 3 h 17"/>
                <a:gd name="T12" fmla="*/ 5 w 25"/>
                <a:gd name="T13" fmla="*/ 1 h 17"/>
                <a:gd name="T14" fmla="*/ 3 w 25"/>
                <a:gd name="T15" fmla="*/ 0 h 17"/>
                <a:gd name="T16" fmla="*/ 3 w 25"/>
                <a:gd name="T17" fmla="*/ 0 h 17"/>
                <a:gd name="T18" fmla="*/ 1 w 25"/>
                <a:gd name="T19" fmla="*/ 0 h 17"/>
                <a:gd name="T20" fmla="*/ 0 w 25"/>
                <a:gd name="T21" fmla="*/ 1 h 17"/>
                <a:gd name="T22" fmla="*/ 0 w 25"/>
                <a:gd name="T23" fmla="*/ 2 h 17"/>
                <a:gd name="T24" fmla="*/ 2 w 25"/>
                <a:gd name="T25" fmla="*/ 1 h 17"/>
                <a:gd name="T26" fmla="*/ 3 w 25"/>
                <a:gd name="T27" fmla="*/ 2 h 17"/>
                <a:gd name="T28" fmla="*/ 4 w 25"/>
                <a:gd name="T29" fmla="*/ 2 h 17"/>
                <a:gd name="T30" fmla="*/ 5 w 25"/>
                <a:gd name="T31" fmla="*/ 4 h 17"/>
                <a:gd name="T32" fmla="*/ 9 w 25"/>
                <a:gd name="T33" fmla="*/ 5 h 17"/>
                <a:gd name="T34" fmla="*/ 10 w 25"/>
                <a:gd name="T35" fmla="*/ 7 h 17"/>
                <a:gd name="T36" fmla="*/ 14 w 25"/>
                <a:gd name="T37" fmla="*/ 9 h 17"/>
                <a:gd name="T38" fmla="*/ 16 w 25"/>
                <a:gd name="T39" fmla="*/ 11 h 17"/>
                <a:gd name="T40" fmla="*/ 18 w 25"/>
                <a:gd name="T41" fmla="*/ 12 h 17"/>
                <a:gd name="T42" fmla="*/ 21 w 25"/>
                <a:gd name="T43" fmla="*/ 14 h 17"/>
                <a:gd name="T44" fmla="*/ 23 w 25"/>
                <a:gd name="T45" fmla="*/ 16 h 17"/>
                <a:gd name="T46" fmla="*/ 25 w 25"/>
                <a:gd name="T47" fmla="*/ 16 h 17"/>
                <a:gd name="T48" fmla="*/ 23 w 25"/>
                <a:gd name="T49" fmla="*/ 13 h 17"/>
                <a:gd name="T50" fmla="*/ 23 w 25"/>
                <a:gd name="T5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 h="17">
                  <a:moveTo>
                    <a:pt x="23" y="12"/>
                  </a:moveTo>
                  <a:cubicBezTo>
                    <a:pt x="21" y="12"/>
                    <a:pt x="19" y="10"/>
                    <a:pt x="19" y="10"/>
                  </a:cubicBezTo>
                  <a:cubicBezTo>
                    <a:pt x="13" y="8"/>
                    <a:pt x="13" y="8"/>
                    <a:pt x="13" y="8"/>
                  </a:cubicBezTo>
                  <a:cubicBezTo>
                    <a:pt x="10" y="6"/>
                    <a:pt x="10" y="6"/>
                    <a:pt x="10" y="6"/>
                  </a:cubicBezTo>
                  <a:cubicBezTo>
                    <a:pt x="8" y="4"/>
                    <a:pt x="8" y="4"/>
                    <a:pt x="8" y="4"/>
                  </a:cubicBezTo>
                  <a:cubicBezTo>
                    <a:pt x="7" y="3"/>
                    <a:pt x="7" y="3"/>
                    <a:pt x="7" y="3"/>
                  </a:cubicBezTo>
                  <a:cubicBezTo>
                    <a:pt x="5" y="1"/>
                    <a:pt x="5" y="1"/>
                    <a:pt x="5" y="1"/>
                  </a:cubicBezTo>
                  <a:cubicBezTo>
                    <a:pt x="3" y="0"/>
                    <a:pt x="3" y="0"/>
                    <a:pt x="3" y="0"/>
                  </a:cubicBezTo>
                  <a:cubicBezTo>
                    <a:pt x="3" y="0"/>
                    <a:pt x="3" y="0"/>
                    <a:pt x="3" y="0"/>
                  </a:cubicBezTo>
                  <a:cubicBezTo>
                    <a:pt x="1" y="0"/>
                    <a:pt x="1" y="0"/>
                    <a:pt x="1" y="0"/>
                  </a:cubicBezTo>
                  <a:cubicBezTo>
                    <a:pt x="1" y="0"/>
                    <a:pt x="0" y="1"/>
                    <a:pt x="0" y="1"/>
                  </a:cubicBezTo>
                  <a:cubicBezTo>
                    <a:pt x="0" y="2"/>
                    <a:pt x="0" y="2"/>
                    <a:pt x="0" y="2"/>
                  </a:cubicBezTo>
                  <a:cubicBezTo>
                    <a:pt x="1" y="2"/>
                    <a:pt x="2" y="1"/>
                    <a:pt x="2" y="1"/>
                  </a:cubicBezTo>
                  <a:cubicBezTo>
                    <a:pt x="2" y="1"/>
                    <a:pt x="2" y="1"/>
                    <a:pt x="3" y="2"/>
                  </a:cubicBezTo>
                  <a:cubicBezTo>
                    <a:pt x="4" y="2"/>
                    <a:pt x="3" y="1"/>
                    <a:pt x="4" y="2"/>
                  </a:cubicBezTo>
                  <a:cubicBezTo>
                    <a:pt x="4" y="3"/>
                    <a:pt x="2" y="3"/>
                    <a:pt x="5" y="4"/>
                  </a:cubicBezTo>
                  <a:cubicBezTo>
                    <a:pt x="8" y="5"/>
                    <a:pt x="7" y="5"/>
                    <a:pt x="9" y="5"/>
                  </a:cubicBezTo>
                  <a:cubicBezTo>
                    <a:pt x="10" y="6"/>
                    <a:pt x="10" y="5"/>
                    <a:pt x="10" y="7"/>
                  </a:cubicBezTo>
                  <a:cubicBezTo>
                    <a:pt x="11" y="9"/>
                    <a:pt x="11" y="8"/>
                    <a:pt x="14" y="9"/>
                  </a:cubicBezTo>
                  <a:cubicBezTo>
                    <a:pt x="16" y="9"/>
                    <a:pt x="16" y="10"/>
                    <a:pt x="16" y="11"/>
                  </a:cubicBezTo>
                  <a:cubicBezTo>
                    <a:pt x="17" y="11"/>
                    <a:pt x="17" y="12"/>
                    <a:pt x="18" y="12"/>
                  </a:cubicBezTo>
                  <a:cubicBezTo>
                    <a:pt x="18" y="13"/>
                    <a:pt x="20" y="13"/>
                    <a:pt x="21" y="14"/>
                  </a:cubicBezTo>
                  <a:cubicBezTo>
                    <a:pt x="22" y="14"/>
                    <a:pt x="23" y="16"/>
                    <a:pt x="23" y="16"/>
                  </a:cubicBezTo>
                  <a:cubicBezTo>
                    <a:pt x="23" y="16"/>
                    <a:pt x="25" y="17"/>
                    <a:pt x="25" y="16"/>
                  </a:cubicBezTo>
                  <a:cubicBezTo>
                    <a:pt x="25" y="16"/>
                    <a:pt x="23" y="14"/>
                    <a:pt x="23" y="13"/>
                  </a:cubicBezTo>
                  <a:cubicBezTo>
                    <a:pt x="23" y="13"/>
                    <a:pt x="23" y="13"/>
                    <a:pt x="23" y="12"/>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Freeform 26"/>
            <p:cNvSpPr>
              <a:spLocks/>
            </p:cNvSpPr>
            <p:nvPr/>
          </p:nvSpPr>
          <p:spPr bwMode="auto">
            <a:xfrm>
              <a:off x="6128159" y="5070451"/>
              <a:ext cx="40436" cy="10893"/>
            </a:xfrm>
            <a:custGeom>
              <a:avLst/>
              <a:gdLst>
                <a:gd name="T0" fmla="*/ 12 w 14"/>
                <a:gd name="T1" fmla="*/ 2 h 4"/>
                <a:gd name="T2" fmla="*/ 10 w 14"/>
                <a:gd name="T3" fmla="*/ 1 h 4"/>
                <a:gd name="T4" fmla="*/ 9 w 14"/>
                <a:gd name="T5" fmla="*/ 1 h 4"/>
                <a:gd name="T6" fmla="*/ 6 w 14"/>
                <a:gd name="T7" fmla="*/ 1 h 4"/>
                <a:gd name="T8" fmla="*/ 1 w 14"/>
                <a:gd name="T9" fmla="*/ 0 h 4"/>
                <a:gd name="T10" fmla="*/ 0 w 14"/>
                <a:gd name="T11" fmla="*/ 0 h 4"/>
                <a:gd name="T12" fmla="*/ 0 w 14"/>
                <a:gd name="T13" fmla="*/ 1 h 4"/>
                <a:gd name="T14" fmla="*/ 1 w 14"/>
                <a:gd name="T15" fmla="*/ 2 h 4"/>
                <a:gd name="T16" fmla="*/ 4 w 14"/>
                <a:gd name="T17" fmla="*/ 2 h 4"/>
                <a:gd name="T18" fmla="*/ 6 w 14"/>
                <a:gd name="T19" fmla="*/ 3 h 4"/>
                <a:gd name="T20" fmla="*/ 8 w 14"/>
                <a:gd name="T21" fmla="*/ 3 h 4"/>
                <a:gd name="T22" fmla="*/ 9 w 14"/>
                <a:gd name="T23" fmla="*/ 3 h 4"/>
                <a:gd name="T24" fmla="*/ 11 w 14"/>
                <a:gd name="T25" fmla="*/ 3 h 4"/>
                <a:gd name="T26" fmla="*/ 12 w 14"/>
                <a:gd name="T27" fmla="*/ 4 h 4"/>
                <a:gd name="T28" fmla="*/ 13 w 14"/>
                <a:gd name="T29" fmla="*/ 3 h 4"/>
                <a:gd name="T30" fmla="*/ 13 w 14"/>
                <a:gd name="T31" fmla="*/ 2 h 4"/>
                <a:gd name="T32" fmla="*/ 12 w 14"/>
                <a:gd name="T33"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4">
                  <a:moveTo>
                    <a:pt x="12" y="2"/>
                  </a:moveTo>
                  <a:cubicBezTo>
                    <a:pt x="12" y="1"/>
                    <a:pt x="11" y="1"/>
                    <a:pt x="10" y="1"/>
                  </a:cubicBezTo>
                  <a:cubicBezTo>
                    <a:pt x="10" y="1"/>
                    <a:pt x="9" y="1"/>
                    <a:pt x="9" y="1"/>
                  </a:cubicBezTo>
                  <a:cubicBezTo>
                    <a:pt x="6" y="1"/>
                    <a:pt x="6" y="1"/>
                    <a:pt x="6" y="1"/>
                  </a:cubicBezTo>
                  <a:cubicBezTo>
                    <a:pt x="6" y="1"/>
                    <a:pt x="2" y="0"/>
                    <a:pt x="1" y="0"/>
                  </a:cubicBezTo>
                  <a:cubicBezTo>
                    <a:pt x="1" y="0"/>
                    <a:pt x="0" y="0"/>
                    <a:pt x="0" y="0"/>
                  </a:cubicBezTo>
                  <a:cubicBezTo>
                    <a:pt x="0" y="0"/>
                    <a:pt x="0" y="1"/>
                    <a:pt x="0" y="1"/>
                  </a:cubicBezTo>
                  <a:cubicBezTo>
                    <a:pt x="0" y="1"/>
                    <a:pt x="1" y="2"/>
                    <a:pt x="1" y="2"/>
                  </a:cubicBezTo>
                  <a:cubicBezTo>
                    <a:pt x="1" y="2"/>
                    <a:pt x="4" y="2"/>
                    <a:pt x="4" y="2"/>
                  </a:cubicBezTo>
                  <a:cubicBezTo>
                    <a:pt x="5" y="2"/>
                    <a:pt x="6" y="2"/>
                    <a:pt x="6" y="3"/>
                  </a:cubicBezTo>
                  <a:cubicBezTo>
                    <a:pt x="6" y="3"/>
                    <a:pt x="8" y="3"/>
                    <a:pt x="8" y="3"/>
                  </a:cubicBezTo>
                  <a:cubicBezTo>
                    <a:pt x="9" y="3"/>
                    <a:pt x="9" y="3"/>
                    <a:pt x="9" y="3"/>
                  </a:cubicBezTo>
                  <a:cubicBezTo>
                    <a:pt x="11" y="3"/>
                    <a:pt x="11" y="3"/>
                    <a:pt x="11" y="3"/>
                  </a:cubicBezTo>
                  <a:cubicBezTo>
                    <a:pt x="11" y="3"/>
                    <a:pt x="12" y="3"/>
                    <a:pt x="12" y="4"/>
                  </a:cubicBezTo>
                  <a:cubicBezTo>
                    <a:pt x="12" y="4"/>
                    <a:pt x="13" y="4"/>
                    <a:pt x="13" y="3"/>
                  </a:cubicBezTo>
                  <a:cubicBezTo>
                    <a:pt x="14" y="3"/>
                    <a:pt x="13" y="3"/>
                    <a:pt x="13" y="2"/>
                  </a:cubicBezTo>
                  <a:cubicBezTo>
                    <a:pt x="13" y="2"/>
                    <a:pt x="13" y="2"/>
                    <a:pt x="12" y="2"/>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27"/>
            <p:cNvSpPr>
              <a:spLocks/>
            </p:cNvSpPr>
            <p:nvPr/>
          </p:nvSpPr>
          <p:spPr bwMode="auto">
            <a:xfrm>
              <a:off x="5866769" y="4853957"/>
              <a:ext cx="17330" cy="19062"/>
            </a:xfrm>
            <a:custGeom>
              <a:avLst/>
              <a:gdLst>
                <a:gd name="T0" fmla="*/ 1 w 6"/>
                <a:gd name="T1" fmla="*/ 2 h 7"/>
                <a:gd name="T2" fmla="*/ 0 w 6"/>
                <a:gd name="T3" fmla="*/ 3 h 7"/>
                <a:gd name="T4" fmla="*/ 0 w 6"/>
                <a:gd name="T5" fmla="*/ 4 h 7"/>
                <a:gd name="T6" fmla="*/ 2 w 6"/>
                <a:gd name="T7" fmla="*/ 5 h 7"/>
                <a:gd name="T8" fmla="*/ 3 w 6"/>
                <a:gd name="T9" fmla="*/ 6 h 7"/>
                <a:gd name="T10" fmla="*/ 5 w 6"/>
                <a:gd name="T11" fmla="*/ 7 h 7"/>
                <a:gd name="T12" fmla="*/ 5 w 6"/>
                <a:gd name="T13" fmla="*/ 7 h 7"/>
                <a:gd name="T14" fmla="*/ 6 w 6"/>
                <a:gd name="T15" fmla="*/ 6 h 7"/>
                <a:gd name="T16" fmla="*/ 5 w 6"/>
                <a:gd name="T17" fmla="*/ 5 h 7"/>
                <a:gd name="T18" fmla="*/ 4 w 6"/>
                <a:gd name="T19" fmla="*/ 4 h 7"/>
                <a:gd name="T20" fmla="*/ 3 w 6"/>
                <a:gd name="T21" fmla="*/ 4 h 7"/>
                <a:gd name="T22" fmla="*/ 3 w 6"/>
                <a:gd name="T23" fmla="*/ 2 h 7"/>
                <a:gd name="T24" fmla="*/ 5 w 6"/>
                <a:gd name="T25" fmla="*/ 2 h 7"/>
                <a:gd name="T26" fmla="*/ 3 w 6"/>
                <a:gd name="T27" fmla="*/ 0 h 7"/>
                <a:gd name="T28" fmla="*/ 2 w 6"/>
                <a:gd name="T29" fmla="*/ 0 h 7"/>
                <a:gd name="T30" fmla="*/ 2 w 6"/>
                <a:gd name="T31" fmla="*/ 1 h 7"/>
                <a:gd name="T32" fmla="*/ 2 w 6"/>
                <a:gd name="T33" fmla="*/ 2 h 7"/>
                <a:gd name="T34" fmla="*/ 1 w 6"/>
                <a:gd name="T35"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 h="7">
                  <a:moveTo>
                    <a:pt x="1" y="2"/>
                  </a:moveTo>
                  <a:cubicBezTo>
                    <a:pt x="1" y="2"/>
                    <a:pt x="1" y="3"/>
                    <a:pt x="0" y="3"/>
                  </a:cubicBezTo>
                  <a:cubicBezTo>
                    <a:pt x="0" y="4"/>
                    <a:pt x="0" y="4"/>
                    <a:pt x="0" y="4"/>
                  </a:cubicBezTo>
                  <a:cubicBezTo>
                    <a:pt x="1" y="4"/>
                    <a:pt x="2" y="5"/>
                    <a:pt x="2" y="5"/>
                  </a:cubicBezTo>
                  <a:cubicBezTo>
                    <a:pt x="3" y="5"/>
                    <a:pt x="3" y="6"/>
                    <a:pt x="3" y="6"/>
                  </a:cubicBezTo>
                  <a:cubicBezTo>
                    <a:pt x="4" y="6"/>
                    <a:pt x="5" y="7"/>
                    <a:pt x="5" y="7"/>
                  </a:cubicBezTo>
                  <a:cubicBezTo>
                    <a:pt x="5" y="7"/>
                    <a:pt x="5" y="7"/>
                    <a:pt x="5" y="7"/>
                  </a:cubicBezTo>
                  <a:cubicBezTo>
                    <a:pt x="6" y="7"/>
                    <a:pt x="6" y="7"/>
                    <a:pt x="6" y="6"/>
                  </a:cubicBezTo>
                  <a:cubicBezTo>
                    <a:pt x="6" y="5"/>
                    <a:pt x="6" y="5"/>
                    <a:pt x="5" y="5"/>
                  </a:cubicBezTo>
                  <a:cubicBezTo>
                    <a:pt x="4" y="4"/>
                    <a:pt x="4" y="4"/>
                    <a:pt x="4" y="4"/>
                  </a:cubicBezTo>
                  <a:cubicBezTo>
                    <a:pt x="4" y="4"/>
                    <a:pt x="4" y="5"/>
                    <a:pt x="3" y="4"/>
                  </a:cubicBezTo>
                  <a:cubicBezTo>
                    <a:pt x="3" y="2"/>
                    <a:pt x="3" y="2"/>
                    <a:pt x="3" y="2"/>
                  </a:cubicBezTo>
                  <a:cubicBezTo>
                    <a:pt x="3" y="2"/>
                    <a:pt x="5" y="2"/>
                    <a:pt x="5" y="2"/>
                  </a:cubicBezTo>
                  <a:cubicBezTo>
                    <a:pt x="5" y="2"/>
                    <a:pt x="3" y="0"/>
                    <a:pt x="3" y="0"/>
                  </a:cubicBezTo>
                  <a:cubicBezTo>
                    <a:pt x="3" y="0"/>
                    <a:pt x="2" y="0"/>
                    <a:pt x="2" y="0"/>
                  </a:cubicBezTo>
                  <a:cubicBezTo>
                    <a:pt x="2" y="1"/>
                    <a:pt x="2" y="1"/>
                    <a:pt x="2" y="1"/>
                  </a:cubicBezTo>
                  <a:cubicBezTo>
                    <a:pt x="2" y="2"/>
                    <a:pt x="2" y="2"/>
                    <a:pt x="2" y="2"/>
                  </a:cubicBezTo>
                  <a:cubicBezTo>
                    <a:pt x="2" y="2"/>
                    <a:pt x="1" y="2"/>
                    <a:pt x="1" y="2"/>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28"/>
            <p:cNvSpPr>
              <a:spLocks/>
            </p:cNvSpPr>
            <p:nvPr/>
          </p:nvSpPr>
          <p:spPr bwMode="auto">
            <a:xfrm>
              <a:off x="6079058" y="5075897"/>
              <a:ext cx="14441" cy="10893"/>
            </a:xfrm>
            <a:custGeom>
              <a:avLst/>
              <a:gdLst>
                <a:gd name="T0" fmla="*/ 0 w 5"/>
                <a:gd name="T1" fmla="*/ 1 h 4"/>
                <a:gd name="T2" fmla="*/ 0 w 5"/>
                <a:gd name="T3" fmla="*/ 3 h 4"/>
                <a:gd name="T4" fmla="*/ 3 w 5"/>
                <a:gd name="T5" fmla="*/ 4 h 4"/>
                <a:gd name="T6" fmla="*/ 4 w 5"/>
                <a:gd name="T7" fmla="*/ 2 h 4"/>
                <a:gd name="T8" fmla="*/ 5 w 5"/>
                <a:gd name="T9" fmla="*/ 1 h 4"/>
                <a:gd name="T10" fmla="*/ 3 w 5"/>
                <a:gd name="T11" fmla="*/ 0 h 4"/>
                <a:gd name="T12" fmla="*/ 0 w 5"/>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0" y="1"/>
                  </a:moveTo>
                  <a:cubicBezTo>
                    <a:pt x="0" y="3"/>
                    <a:pt x="0" y="3"/>
                    <a:pt x="0" y="3"/>
                  </a:cubicBezTo>
                  <a:cubicBezTo>
                    <a:pt x="3" y="4"/>
                    <a:pt x="3" y="4"/>
                    <a:pt x="3" y="4"/>
                  </a:cubicBezTo>
                  <a:cubicBezTo>
                    <a:pt x="3" y="4"/>
                    <a:pt x="4" y="2"/>
                    <a:pt x="4" y="2"/>
                  </a:cubicBezTo>
                  <a:cubicBezTo>
                    <a:pt x="5" y="2"/>
                    <a:pt x="5" y="1"/>
                    <a:pt x="5" y="1"/>
                  </a:cubicBezTo>
                  <a:cubicBezTo>
                    <a:pt x="3" y="0"/>
                    <a:pt x="3" y="0"/>
                    <a:pt x="3" y="0"/>
                  </a:cubicBezTo>
                  <a:cubicBezTo>
                    <a:pt x="3" y="0"/>
                    <a:pt x="0" y="1"/>
                    <a:pt x="0" y="1"/>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29"/>
            <p:cNvSpPr>
              <a:spLocks/>
            </p:cNvSpPr>
            <p:nvPr/>
          </p:nvSpPr>
          <p:spPr bwMode="auto">
            <a:xfrm>
              <a:off x="5759902" y="4649717"/>
              <a:ext cx="524225" cy="431627"/>
            </a:xfrm>
            <a:custGeom>
              <a:avLst/>
              <a:gdLst>
                <a:gd name="T0" fmla="*/ 166 w 181"/>
                <a:gd name="T1" fmla="*/ 36 h 158"/>
                <a:gd name="T2" fmla="*/ 163 w 181"/>
                <a:gd name="T3" fmla="*/ 26 h 158"/>
                <a:gd name="T4" fmla="*/ 141 w 181"/>
                <a:gd name="T5" fmla="*/ 28 h 158"/>
                <a:gd name="T6" fmla="*/ 122 w 181"/>
                <a:gd name="T7" fmla="*/ 25 h 158"/>
                <a:gd name="T8" fmla="*/ 90 w 181"/>
                <a:gd name="T9" fmla="*/ 4 h 158"/>
                <a:gd name="T10" fmla="*/ 81 w 181"/>
                <a:gd name="T11" fmla="*/ 7 h 158"/>
                <a:gd name="T12" fmla="*/ 69 w 181"/>
                <a:gd name="T13" fmla="*/ 14 h 158"/>
                <a:gd name="T14" fmla="*/ 66 w 181"/>
                <a:gd name="T15" fmla="*/ 19 h 158"/>
                <a:gd name="T16" fmla="*/ 64 w 181"/>
                <a:gd name="T17" fmla="*/ 33 h 158"/>
                <a:gd name="T18" fmla="*/ 59 w 181"/>
                <a:gd name="T19" fmla="*/ 39 h 158"/>
                <a:gd name="T20" fmla="*/ 58 w 181"/>
                <a:gd name="T21" fmla="*/ 48 h 158"/>
                <a:gd name="T22" fmla="*/ 49 w 181"/>
                <a:gd name="T23" fmla="*/ 51 h 158"/>
                <a:gd name="T24" fmla="*/ 37 w 181"/>
                <a:gd name="T25" fmla="*/ 49 h 158"/>
                <a:gd name="T26" fmla="*/ 26 w 181"/>
                <a:gd name="T27" fmla="*/ 52 h 158"/>
                <a:gd name="T28" fmla="*/ 16 w 181"/>
                <a:gd name="T29" fmla="*/ 53 h 158"/>
                <a:gd name="T30" fmla="*/ 8 w 181"/>
                <a:gd name="T31" fmla="*/ 54 h 158"/>
                <a:gd name="T32" fmla="*/ 2 w 181"/>
                <a:gd name="T33" fmla="*/ 59 h 158"/>
                <a:gd name="T34" fmla="*/ 7 w 181"/>
                <a:gd name="T35" fmla="*/ 71 h 158"/>
                <a:gd name="T36" fmla="*/ 16 w 181"/>
                <a:gd name="T37" fmla="*/ 80 h 158"/>
                <a:gd name="T38" fmla="*/ 21 w 181"/>
                <a:gd name="T39" fmla="*/ 69 h 158"/>
                <a:gd name="T40" fmla="*/ 31 w 181"/>
                <a:gd name="T41" fmla="*/ 64 h 158"/>
                <a:gd name="T42" fmla="*/ 39 w 181"/>
                <a:gd name="T43" fmla="*/ 72 h 158"/>
                <a:gd name="T44" fmla="*/ 41 w 181"/>
                <a:gd name="T45" fmla="*/ 67 h 158"/>
                <a:gd name="T46" fmla="*/ 57 w 181"/>
                <a:gd name="T47" fmla="*/ 95 h 158"/>
                <a:gd name="T48" fmla="*/ 49 w 181"/>
                <a:gd name="T49" fmla="*/ 89 h 158"/>
                <a:gd name="T50" fmla="*/ 45 w 181"/>
                <a:gd name="T51" fmla="*/ 89 h 158"/>
                <a:gd name="T52" fmla="*/ 54 w 181"/>
                <a:gd name="T53" fmla="*/ 98 h 158"/>
                <a:gd name="T54" fmla="*/ 55 w 181"/>
                <a:gd name="T55" fmla="*/ 99 h 158"/>
                <a:gd name="T56" fmla="*/ 61 w 181"/>
                <a:gd name="T57" fmla="*/ 111 h 158"/>
                <a:gd name="T58" fmla="*/ 64 w 181"/>
                <a:gd name="T59" fmla="*/ 115 h 158"/>
                <a:gd name="T60" fmla="*/ 53 w 181"/>
                <a:gd name="T61" fmla="*/ 110 h 158"/>
                <a:gd name="T62" fmla="*/ 48 w 181"/>
                <a:gd name="T63" fmla="*/ 104 h 158"/>
                <a:gd name="T64" fmla="*/ 40 w 181"/>
                <a:gd name="T65" fmla="*/ 101 h 158"/>
                <a:gd name="T66" fmla="*/ 52 w 181"/>
                <a:gd name="T67" fmla="*/ 110 h 158"/>
                <a:gd name="T68" fmla="*/ 59 w 181"/>
                <a:gd name="T69" fmla="*/ 118 h 158"/>
                <a:gd name="T70" fmla="*/ 67 w 181"/>
                <a:gd name="T71" fmla="*/ 124 h 158"/>
                <a:gd name="T72" fmla="*/ 58 w 181"/>
                <a:gd name="T73" fmla="*/ 115 h 158"/>
                <a:gd name="T74" fmla="*/ 70 w 181"/>
                <a:gd name="T75" fmla="*/ 117 h 158"/>
                <a:gd name="T76" fmla="*/ 70 w 181"/>
                <a:gd name="T77" fmla="*/ 123 h 158"/>
                <a:gd name="T78" fmla="*/ 76 w 181"/>
                <a:gd name="T79" fmla="*/ 122 h 158"/>
                <a:gd name="T80" fmla="*/ 84 w 181"/>
                <a:gd name="T81" fmla="*/ 131 h 158"/>
                <a:gd name="T82" fmla="*/ 99 w 181"/>
                <a:gd name="T83" fmla="*/ 129 h 158"/>
                <a:gd name="T84" fmla="*/ 123 w 181"/>
                <a:gd name="T85" fmla="*/ 140 h 158"/>
                <a:gd name="T86" fmla="*/ 124 w 181"/>
                <a:gd name="T87" fmla="*/ 146 h 158"/>
                <a:gd name="T88" fmla="*/ 105 w 181"/>
                <a:gd name="T89" fmla="*/ 149 h 158"/>
                <a:gd name="T90" fmla="*/ 122 w 181"/>
                <a:gd name="T91" fmla="*/ 147 h 158"/>
                <a:gd name="T92" fmla="*/ 143 w 181"/>
                <a:gd name="T93" fmla="*/ 157 h 158"/>
                <a:gd name="T94" fmla="*/ 139 w 181"/>
                <a:gd name="T95" fmla="*/ 152 h 158"/>
                <a:gd name="T96" fmla="*/ 135 w 181"/>
                <a:gd name="T97" fmla="*/ 148 h 158"/>
                <a:gd name="T98" fmla="*/ 124 w 181"/>
                <a:gd name="T99" fmla="*/ 134 h 158"/>
                <a:gd name="T100" fmla="*/ 111 w 181"/>
                <a:gd name="T101" fmla="*/ 120 h 158"/>
                <a:gd name="T102" fmla="*/ 97 w 181"/>
                <a:gd name="T103" fmla="*/ 108 h 158"/>
                <a:gd name="T104" fmla="*/ 85 w 181"/>
                <a:gd name="T105" fmla="*/ 93 h 158"/>
                <a:gd name="T106" fmla="*/ 75 w 181"/>
                <a:gd name="T107" fmla="*/ 78 h 158"/>
                <a:gd name="T108" fmla="*/ 69 w 181"/>
                <a:gd name="T109" fmla="*/ 66 h 158"/>
                <a:gd name="T110" fmla="*/ 80 w 181"/>
                <a:gd name="T111" fmla="*/ 60 h 158"/>
                <a:gd name="T112" fmla="*/ 94 w 181"/>
                <a:gd name="T113" fmla="*/ 55 h 158"/>
                <a:gd name="T114" fmla="*/ 112 w 181"/>
                <a:gd name="T115" fmla="*/ 55 h 158"/>
                <a:gd name="T116" fmla="*/ 132 w 181"/>
                <a:gd name="T117" fmla="*/ 56 h 158"/>
                <a:gd name="T118" fmla="*/ 144 w 181"/>
                <a:gd name="T119" fmla="*/ 53 h 158"/>
                <a:gd name="T120" fmla="*/ 158 w 181"/>
                <a:gd name="T121" fmla="*/ 53 h 158"/>
                <a:gd name="T122" fmla="*/ 175 w 181"/>
                <a:gd name="T123" fmla="*/ 58 h 158"/>
                <a:gd name="T124" fmla="*/ 170 w 181"/>
                <a:gd name="T125" fmla="*/ 5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1" h="158">
                  <a:moveTo>
                    <a:pt x="179" y="44"/>
                  </a:moveTo>
                  <a:cubicBezTo>
                    <a:pt x="178" y="44"/>
                    <a:pt x="179" y="45"/>
                    <a:pt x="177" y="44"/>
                  </a:cubicBezTo>
                  <a:cubicBezTo>
                    <a:pt x="174" y="44"/>
                    <a:pt x="173" y="43"/>
                    <a:pt x="173" y="43"/>
                  </a:cubicBezTo>
                  <a:cubicBezTo>
                    <a:pt x="173" y="43"/>
                    <a:pt x="173" y="42"/>
                    <a:pt x="172" y="43"/>
                  </a:cubicBezTo>
                  <a:cubicBezTo>
                    <a:pt x="171" y="43"/>
                    <a:pt x="171" y="43"/>
                    <a:pt x="170" y="42"/>
                  </a:cubicBezTo>
                  <a:cubicBezTo>
                    <a:pt x="169" y="41"/>
                    <a:pt x="167" y="39"/>
                    <a:pt x="167" y="39"/>
                  </a:cubicBezTo>
                  <a:cubicBezTo>
                    <a:pt x="167" y="39"/>
                    <a:pt x="166" y="40"/>
                    <a:pt x="166" y="39"/>
                  </a:cubicBezTo>
                  <a:cubicBezTo>
                    <a:pt x="166" y="38"/>
                    <a:pt x="166" y="37"/>
                    <a:pt x="167" y="37"/>
                  </a:cubicBezTo>
                  <a:cubicBezTo>
                    <a:pt x="166" y="36"/>
                    <a:pt x="166" y="36"/>
                    <a:pt x="166" y="36"/>
                  </a:cubicBezTo>
                  <a:cubicBezTo>
                    <a:pt x="166" y="35"/>
                    <a:pt x="166" y="35"/>
                    <a:pt x="166" y="35"/>
                  </a:cubicBezTo>
                  <a:cubicBezTo>
                    <a:pt x="166" y="35"/>
                    <a:pt x="167" y="35"/>
                    <a:pt x="167" y="35"/>
                  </a:cubicBezTo>
                  <a:cubicBezTo>
                    <a:pt x="168" y="34"/>
                    <a:pt x="168" y="34"/>
                    <a:pt x="168" y="34"/>
                  </a:cubicBezTo>
                  <a:cubicBezTo>
                    <a:pt x="169" y="33"/>
                    <a:pt x="168" y="31"/>
                    <a:pt x="165" y="32"/>
                  </a:cubicBezTo>
                  <a:cubicBezTo>
                    <a:pt x="165" y="32"/>
                    <a:pt x="164" y="33"/>
                    <a:pt x="164" y="33"/>
                  </a:cubicBezTo>
                  <a:cubicBezTo>
                    <a:pt x="163" y="33"/>
                    <a:pt x="162" y="32"/>
                    <a:pt x="162" y="31"/>
                  </a:cubicBezTo>
                  <a:cubicBezTo>
                    <a:pt x="162" y="31"/>
                    <a:pt x="161" y="30"/>
                    <a:pt x="162" y="30"/>
                  </a:cubicBezTo>
                  <a:cubicBezTo>
                    <a:pt x="163" y="30"/>
                    <a:pt x="164" y="28"/>
                    <a:pt x="164" y="28"/>
                  </a:cubicBezTo>
                  <a:cubicBezTo>
                    <a:pt x="163" y="26"/>
                    <a:pt x="163" y="26"/>
                    <a:pt x="163" y="26"/>
                  </a:cubicBezTo>
                  <a:cubicBezTo>
                    <a:pt x="163" y="21"/>
                    <a:pt x="163" y="21"/>
                    <a:pt x="163" y="21"/>
                  </a:cubicBezTo>
                  <a:cubicBezTo>
                    <a:pt x="161" y="20"/>
                    <a:pt x="161" y="20"/>
                    <a:pt x="161" y="20"/>
                  </a:cubicBezTo>
                  <a:cubicBezTo>
                    <a:pt x="160" y="21"/>
                    <a:pt x="160" y="21"/>
                    <a:pt x="160" y="21"/>
                  </a:cubicBezTo>
                  <a:cubicBezTo>
                    <a:pt x="159" y="21"/>
                    <a:pt x="159" y="21"/>
                    <a:pt x="159" y="21"/>
                  </a:cubicBezTo>
                  <a:cubicBezTo>
                    <a:pt x="158" y="23"/>
                    <a:pt x="158" y="23"/>
                    <a:pt x="158" y="23"/>
                  </a:cubicBezTo>
                  <a:cubicBezTo>
                    <a:pt x="158" y="23"/>
                    <a:pt x="158" y="23"/>
                    <a:pt x="158" y="23"/>
                  </a:cubicBezTo>
                  <a:cubicBezTo>
                    <a:pt x="157" y="24"/>
                    <a:pt x="156" y="24"/>
                    <a:pt x="156" y="25"/>
                  </a:cubicBezTo>
                  <a:cubicBezTo>
                    <a:pt x="155" y="26"/>
                    <a:pt x="154" y="26"/>
                    <a:pt x="150" y="26"/>
                  </a:cubicBezTo>
                  <a:cubicBezTo>
                    <a:pt x="141" y="28"/>
                    <a:pt x="141" y="28"/>
                    <a:pt x="141" y="28"/>
                  </a:cubicBezTo>
                  <a:cubicBezTo>
                    <a:pt x="141" y="28"/>
                    <a:pt x="139" y="28"/>
                    <a:pt x="138" y="28"/>
                  </a:cubicBezTo>
                  <a:cubicBezTo>
                    <a:pt x="138" y="28"/>
                    <a:pt x="138" y="28"/>
                    <a:pt x="138" y="28"/>
                  </a:cubicBezTo>
                  <a:cubicBezTo>
                    <a:pt x="136" y="28"/>
                    <a:pt x="134" y="28"/>
                    <a:pt x="134" y="28"/>
                  </a:cubicBezTo>
                  <a:cubicBezTo>
                    <a:pt x="131" y="29"/>
                    <a:pt x="131" y="29"/>
                    <a:pt x="131" y="29"/>
                  </a:cubicBezTo>
                  <a:cubicBezTo>
                    <a:pt x="131" y="29"/>
                    <a:pt x="131" y="29"/>
                    <a:pt x="131" y="29"/>
                  </a:cubicBezTo>
                  <a:cubicBezTo>
                    <a:pt x="130" y="29"/>
                    <a:pt x="130" y="29"/>
                    <a:pt x="130" y="29"/>
                  </a:cubicBezTo>
                  <a:cubicBezTo>
                    <a:pt x="130" y="29"/>
                    <a:pt x="130" y="29"/>
                    <a:pt x="130" y="29"/>
                  </a:cubicBezTo>
                  <a:cubicBezTo>
                    <a:pt x="124" y="27"/>
                    <a:pt x="124" y="27"/>
                    <a:pt x="124" y="27"/>
                  </a:cubicBezTo>
                  <a:cubicBezTo>
                    <a:pt x="122" y="25"/>
                    <a:pt x="122" y="25"/>
                    <a:pt x="122" y="25"/>
                  </a:cubicBezTo>
                  <a:cubicBezTo>
                    <a:pt x="118" y="24"/>
                    <a:pt x="118" y="24"/>
                    <a:pt x="118" y="24"/>
                  </a:cubicBezTo>
                  <a:cubicBezTo>
                    <a:pt x="117" y="22"/>
                    <a:pt x="117" y="22"/>
                    <a:pt x="117" y="22"/>
                  </a:cubicBezTo>
                  <a:cubicBezTo>
                    <a:pt x="114" y="22"/>
                    <a:pt x="114" y="22"/>
                    <a:pt x="114" y="22"/>
                  </a:cubicBezTo>
                  <a:cubicBezTo>
                    <a:pt x="110" y="19"/>
                    <a:pt x="110" y="19"/>
                    <a:pt x="110" y="19"/>
                  </a:cubicBezTo>
                  <a:cubicBezTo>
                    <a:pt x="106" y="14"/>
                    <a:pt x="106" y="14"/>
                    <a:pt x="106" y="14"/>
                  </a:cubicBezTo>
                  <a:cubicBezTo>
                    <a:pt x="99" y="12"/>
                    <a:pt x="99" y="12"/>
                    <a:pt x="99" y="12"/>
                  </a:cubicBezTo>
                  <a:cubicBezTo>
                    <a:pt x="96" y="8"/>
                    <a:pt x="96" y="8"/>
                    <a:pt x="96" y="8"/>
                  </a:cubicBezTo>
                  <a:cubicBezTo>
                    <a:pt x="93" y="7"/>
                    <a:pt x="93" y="7"/>
                    <a:pt x="93" y="7"/>
                  </a:cubicBezTo>
                  <a:cubicBezTo>
                    <a:pt x="90" y="4"/>
                    <a:pt x="90" y="4"/>
                    <a:pt x="90" y="4"/>
                  </a:cubicBezTo>
                  <a:cubicBezTo>
                    <a:pt x="85" y="0"/>
                    <a:pt x="85" y="0"/>
                    <a:pt x="85" y="0"/>
                  </a:cubicBezTo>
                  <a:cubicBezTo>
                    <a:pt x="85" y="0"/>
                    <a:pt x="85" y="0"/>
                    <a:pt x="85" y="0"/>
                  </a:cubicBezTo>
                  <a:cubicBezTo>
                    <a:pt x="85" y="0"/>
                    <a:pt x="85" y="0"/>
                    <a:pt x="85" y="0"/>
                  </a:cubicBezTo>
                  <a:cubicBezTo>
                    <a:pt x="83" y="0"/>
                    <a:pt x="83" y="0"/>
                    <a:pt x="83" y="0"/>
                  </a:cubicBezTo>
                  <a:cubicBezTo>
                    <a:pt x="83" y="0"/>
                    <a:pt x="83" y="0"/>
                    <a:pt x="83" y="0"/>
                  </a:cubicBezTo>
                  <a:cubicBezTo>
                    <a:pt x="83" y="0"/>
                    <a:pt x="83" y="1"/>
                    <a:pt x="83" y="1"/>
                  </a:cubicBezTo>
                  <a:cubicBezTo>
                    <a:pt x="83" y="2"/>
                    <a:pt x="83" y="2"/>
                    <a:pt x="83" y="2"/>
                  </a:cubicBezTo>
                  <a:cubicBezTo>
                    <a:pt x="84" y="3"/>
                    <a:pt x="84" y="4"/>
                    <a:pt x="83" y="6"/>
                  </a:cubicBezTo>
                  <a:cubicBezTo>
                    <a:pt x="83" y="7"/>
                    <a:pt x="81" y="7"/>
                    <a:pt x="81" y="7"/>
                  </a:cubicBezTo>
                  <a:cubicBezTo>
                    <a:pt x="80" y="7"/>
                    <a:pt x="80" y="7"/>
                    <a:pt x="78" y="7"/>
                  </a:cubicBezTo>
                  <a:cubicBezTo>
                    <a:pt x="78" y="6"/>
                    <a:pt x="78" y="6"/>
                    <a:pt x="78" y="6"/>
                  </a:cubicBezTo>
                  <a:cubicBezTo>
                    <a:pt x="77" y="6"/>
                    <a:pt x="77" y="6"/>
                    <a:pt x="77" y="6"/>
                  </a:cubicBezTo>
                  <a:cubicBezTo>
                    <a:pt x="77" y="7"/>
                    <a:pt x="77" y="7"/>
                    <a:pt x="77" y="7"/>
                  </a:cubicBezTo>
                  <a:cubicBezTo>
                    <a:pt x="75" y="10"/>
                    <a:pt x="75" y="10"/>
                    <a:pt x="75" y="10"/>
                  </a:cubicBezTo>
                  <a:cubicBezTo>
                    <a:pt x="71" y="12"/>
                    <a:pt x="71" y="12"/>
                    <a:pt x="71" y="12"/>
                  </a:cubicBezTo>
                  <a:cubicBezTo>
                    <a:pt x="69" y="13"/>
                    <a:pt x="69" y="13"/>
                    <a:pt x="69" y="13"/>
                  </a:cubicBezTo>
                  <a:cubicBezTo>
                    <a:pt x="69" y="13"/>
                    <a:pt x="69" y="13"/>
                    <a:pt x="69" y="13"/>
                  </a:cubicBezTo>
                  <a:cubicBezTo>
                    <a:pt x="69" y="14"/>
                    <a:pt x="69" y="14"/>
                    <a:pt x="69" y="14"/>
                  </a:cubicBezTo>
                  <a:cubicBezTo>
                    <a:pt x="68" y="15"/>
                    <a:pt x="68" y="15"/>
                    <a:pt x="68" y="15"/>
                  </a:cubicBezTo>
                  <a:cubicBezTo>
                    <a:pt x="67" y="15"/>
                    <a:pt x="66" y="15"/>
                    <a:pt x="66" y="15"/>
                  </a:cubicBezTo>
                  <a:cubicBezTo>
                    <a:pt x="65" y="15"/>
                    <a:pt x="65" y="15"/>
                    <a:pt x="64" y="15"/>
                  </a:cubicBezTo>
                  <a:cubicBezTo>
                    <a:pt x="64" y="15"/>
                    <a:pt x="64" y="15"/>
                    <a:pt x="64" y="15"/>
                  </a:cubicBezTo>
                  <a:cubicBezTo>
                    <a:pt x="64" y="16"/>
                    <a:pt x="64" y="16"/>
                    <a:pt x="64" y="16"/>
                  </a:cubicBezTo>
                  <a:cubicBezTo>
                    <a:pt x="64" y="16"/>
                    <a:pt x="63" y="16"/>
                    <a:pt x="63" y="16"/>
                  </a:cubicBezTo>
                  <a:cubicBezTo>
                    <a:pt x="63" y="17"/>
                    <a:pt x="63" y="17"/>
                    <a:pt x="63" y="17"/>
                  </a:cubicBezTo>
                  <a:cubicBezTo>
                    <a:pt x="64" y="17"/>
                    <a:pt x="65" y="18"/>
                    <a:pt x="65" y="18"/>
                  </a:cubicBezTo>
                  <a:cubicBezTo>
                    <a:pt x="66" y="19"/>
                    <a:pt x="66" y="19"/>
                    <a:pt x="66" y="19"/>
                  </a:cubicBezTo>
                  <a:cubicBezTo>
                    <a:pt x="67" y="20"/>
                    <a:pt x="67" y="20"/>
                    <a:pt x="67" y="20"/>
                  </a:cubicBezTo>
                  <a:cubicBezTo>
                    <a:pt x="67" y="21"/>
                    <a:pt x="67" y="22"/>
                    <a:pt x="67" y="23"/>
                  </a:cubicBezTo>
                  <a:cubicBezTo>
                    <a:pt x="67" y="23"/>
                    <a:pt x="67" y="23"/>
                    <a:pt x="67" y="24"/>
                  </a:cubicBezTo>
                  <a:cubicBezTo>
                    <a:pt x="67" y="26"/>
                    <a:pt x="67" y="26"/>
                    <a:pt x="67" y="26"/>
                  </a:cubicBezTo>
                  <a:cubicBezTo>
                    <a:pt x="67" y="27"/>
                    <a:pt x="67" y="27"/>
                    <a:pt x="67" y="27"/>
                  </a:cubicBezTo>
                  <a:cubicBezTo>
                    <a:pt x="67" y="27"/>
                    <a:pt x="67" y="27"/>
                    <a:pt x="67" y="27"/>
                  </a:cubicBezTo>
                  <a:cubicBezTo>
                    <a:pt x="68" y="28"/>
                    <a:pt x="68" y="30"/>
                    <a:pt x="67" y="31"/>
                  </a:cubicBezTo>
                  <a:cubicBezTo>
                    <a:pt x="65" y="33"/>
                    <a:pt x="65" y="33"/>
                    <a:pt x="64" y="33"/>
                  </a:cubicBezTo>
                  <a:cubicBezTo>
                    <a:pt x="64" y="33"/>
                    <a:pt x="64" y="33"/>
                    <a:pt x="64" y="33"/>
                  </a:cubicBezTo>
                  <a:cubicBezTo>
                    <a:pt x="64" y="33"/>
                    <a:pt x="62" y="33"/>
                    <a:pt x="61" y="33"/>
                  </a:cubicBezTo>
                  <a:cubicBezTo>
                    <a:pt x="60" y="34"/>
                    <a:pt x="60" y="34"/>
                    <a:pt x="60" y="34"/>
                  </a:cubicBezTo>
                  <a:cubicBezTo>
                    <a:pt x="60" y="34"/>
                    <a:pt x="60" y="34"/>
                    <a:pt x="60" y="34"/>
                  </a:cubicBezTo>
                  <a:cubicBezTo>
                    <a:pt x="57" y="35"/>
                    <a:pt x="57" y="35"/>
                    <a:pt x="57" y="35"/>
                  </a:cubicBezTo>
                  <a:cubicBezTo>
                    <a:pt x="57" y="36"/>
                    <a:pt x="58" y="36"/>
                    <a:pt x="58" y="36"/>
                  </a:cubicBezTo>
                  <a:cubicBezTo>
                    <a:pt x="59" y="39"/>
                    <a:pt x="59" y="39"/>
                    <a:pt x="59" y="39"/>
                  </a:cubicBezTo>
                  <a:cubicBezTo>
                    <a:pt x="59" y="39"/>
                    <a:pt x="59" y="39"/>
                    <a:pt x="59" y="39"/>
                  </a:cubicBezTo>
                  <a:cubicBezTo>
                    <a:pt x="60" y="39"/>
                    <a:pt x="60" y="39"/>
                    <a:pt x="60" y="39"/>
                  </a:cubicBezTo>
                  <a:cubicBezTo>
                    <a:pt x="59" y="39"/>
                    <a:pt x="59" y="39"/>
                    <a:pt x="59" y="39"/>
                  </a:cubicBezTo>
                  <a:cubicBezTo>
                    <a:pt x="59" y="40"/>
                    <a:pt x="58" y="41"/>
                    <a:pt x="57" y="41"/>
                  </a:cubicBezTo>
                  <a:cubicBezTo>
                    <a:pt x="57" y="42"/>
                    <a:pt x="56" y="42"/>
                    <a:pt x="56" y="42"/>
                  </a:cubicBezTo>
                  <a:cubicBezTo>
                    <a:pt x="56" y="42"/>
                    <a:pt x="56" y="42"/>
                    <a:pt x="56" y="43"/>
                  </a:cubicBezTo>
                  <a:cubicBezTo>
                    <a:pt x="56" y="43"/>
                    <a:pt x="56" y="43"/>
                    <a:pt x="56" y="43"/>
                  </a:cubicBezTo>
                  <a:cubicBezTo>
                    <a:pt x="56" y="43"/>
                    <a:pt x="57" y="43"/>
                    <a:pt x="57" y="43"/>
                  </a:cubicBezTo>
                  <a:cubicBezTo>
                    <a:pt x="57" y="43"/>
                    <a:pt x="58" y="44"/>
                    <a:pt x="58" y="44"/>
                  </a:cubicBezTo>
                  <a:cubicBezTo>
                    <a:pt x="59" y="45"/>
                    <a:pt x="59" y="46"/>
                    <a:pt x="59" y="47"/>
                  </a:cubicBezTo>
                  <a:cubicBezTo>
                    <a:pt x="59" y="48"/>
                    <a:pt x="59" y="48"/>
                    <a:pt x="59" y="48"/>
                  </a:cubicBezTo>
                  <a:cubicBezTo>
                    <a:pt x="58" y="48"/>
                    <a:pt x="58" y="48"/>
                    <a:pt x="58" y="48"/>
                  </a:cubicBezTo>
                  <a:cubicBezTo>
                    <a:pt x="58" y="49"/>
                    <a:pt x="56" y="50"/>
                    <a:pt x="55" y="50"/>
                  </a:cubicBezTo>
                  <a:cubicBezTo>
                    <a:pt x="55" y="50"/>
                    <a:pt x="55" y="50"/>
                    <a:pt x="55" y="50"/>
                  </a:cubicBezTo>
                  <a:cubicBezTo>
                    <a:pt x="55" y="50"/>
                    <a:pt x="54" y="50"/>
                    <a:pt x="54" y="50"/>
                  </a:cubicBezTo>
                  <a:cubicBezTo>
                    <a:pt x="54" y="50"/>
                    <a:pt x="54" y="51"/>
                    <a:pt x="54" y="51"/>
                  </a:cubicBezTo>
                  <a:cubicBezTo>
                    <a:pt x="53" y="51"/>
                    <a:pt x="53" y="51"/>
                    <a:pt x="53" y="51"/>
                  </a:cubicBezTo>
                  <a:cubicBezTo>
                    <a:pt x="52" y="51"/>
                    <a:pt x="52" y="51"/>
                    <a:pt x="52" y="51"/>
                  </a:cubicBezTo>
                  <a:cubicBezTo>
                    <a:pt x="51" y="51"/>
                    <a:pt x="51" y="51"/>
                    <a:pt x="50" y="51"/>
                  </a:cubicBezTo>
                  <a:cubicBezTo>
                    <a:pt x="50" y="51"/>
                    <a:pt x="50" y="51"/>
                    <a:pt x="50" y="51"/>
                  </a:cubicBezTo>
                  <a:cubicBezTo>
                    <a:pt x="50" y="51"/>
                    <a:pt x="49" y="51"/>
                    <a:pt x="49" y="51"/>
                  </a:cubicBezTo>
                  <a:cubicBezTo>
                    <a:pt x="48" y="50"/>
                    <a:pt x="47" y="50"/>
                    <a:pt x="47" y="50"/>
                  </a:cubicBezTo>
                  <a:cubicBezTo>
                    <a:pt x="46" y="50"/>
                    <a:pt x="46" y="50"/>
                    <a:pt x="46" y="50"/>
                  </a:cubicBezTo>
                  <a:cubicBezTo>
                    <a:pt x="46" y="50"/>
                    <a:pt x="46" y="49"/>
                    <a:pt x="46" y="49"/>
                  </a:cubicBezTo>
                  <a:cubicBezTo>
                    <a:pt x="46" y="49"/>
                    <a:pt x="46" y="49"/>
                    <a:pt x="46" y="49"/>
                  </a:cubicBezTo>
                  <a:cubicBezTo>
                    <a:pt x="45" y="49"/>
                    <a:pt x="45" y="49"/>
                    <a:pt x="45" y="49"/>
                  </a:cubicBezTo>
                  <a:cubicBezTo>
                    <a:pt x="44" y="50"/>
                    <a:pt x="44" y="50"/>
                    <a:pt x="43" y="50"/>
                  </a:cubicBezTo>
                  <a:cubicBezTo>
                    <a:pt x="42" y="51"/>
                    <a:pt x="42" y="51"/>
                    <a:pt x="42" y="51"/>
                  </a:cubicBezTo>
                  <a:cubicBezTo>
                    <a:pt x="41" y="51"/>
                    <a:pt x="41" y="51"/>
                    <a:pt x="41" y="51"/>
                  </a:cubicBezTo>
                  <a:cubicBezTo>
                    <a:pt x="39" y="51"/>
                    <a:pt x="38" y="50"/>
                    <a:pt x="37" y="49"/>
                  </a:cubicBezTo>
                  <a:cubicBezTo>
                    <a:pt x="37" y="49"/>
                    <a:pt x="36" y="49"/>
                    <a:pt x="36" y="48"/>
                  </a:cubicBezTo>
                  <a:cubicBezTo>
                    <a:pt x="36" y="48"/>
                    <a:pt x="35" y="48"/>
                    <a:pt x="35" y="48"/>
                  </a:cubicBezTo>
                  <a:cubicBezTo>
                    <a:pt x="34" y="48"/>
                    <a:pt x="33" y="48"/>
                    <a:pt x="33" y="46"/>
                  </a:cubicBezTo>
                  <a:cubicBezTo>
                    <a:pt x="33" y="45"/>
                    <a:pt x="32" y="45"/>
                    <a:pt x="32" y="45"/>
                  </a:cubicBezTo>
                  <a:cubicBezTo>
                    <a:pt x="32" y="45"/>
                    <a:pt x="32" y="45"/>
                    <a:pt x="32" y="45"/>
                  </a:cubicBezTo>
                  <a:cubicBezTo>
                    <a:pt x="32" y="45"/>
                    <a:pt x="32" y="45"/>
                    <a:pt x="32" y="45"/>
                  </a:cubicBezTo>
                  <a:cubicBezTo>
                    <a:pt x="32" y="47"/>
                    <a:pt x="31" y="48"/>
                    <a:pt x="30" y="49"/>
                  </a:cubicBezTo>
                  <a:cubicBezTo>
                    <a:pt x="29" y="49"/>
                    <a:pt x="29" y="49"/>
                    <a:pt x="29" y="49"/>
                  </a:cubicBezTo>
                  <a:cubicBezTo>
                    <a:pt x="26" y="52"/>
                    <a:pt x="26" y="52"/>
                    <a:pt x="26" y="52"/>
                  </a:cubicBezTo>
                  <a:cubicBezTo>
                    <a:pt x="22" y="51"/>
                    <a:pt x="22" y="51"/>
                    <a:pt x="22" y="51"/>
                  </a:cubicBezTo>
                  <a:cubicBezTo>
                    <a:pt x="21" y="52"/>
                    <a:pt x="21" y="52"/>
                    <a:pt x="21" y="52"/>
                  </a:cubicBezTo>
                  <a:cubicBezTo>
                    <a:pt x="21" y="52"/>
                    <a:pt x="21" y="52"/>
                    <a:pt x="20" y="52"/>
                  </a:cubicBezTo>
                  <a:cubicBezTo>
                    <a:pt x="20" y="52"/>
                    <a:pt x="20" y="52"/>
                    <a:pt x="20" y="52"/>
                  </a:cubicBezTo>
                  <a:cubicBezTo>
                    <a:pt x="19" y="52"/>
                    <a:pt x="19" y="52"/>
                    <a:pt x="19" y="52"/>
                  </a:cubicBezTo>
                  <a:cubicBezTo>
                    <a:pt x="18" y="52"/>
                    <a:pt x="18" y="52"/>
                    <a:pt x="17" y="52"/>
                  </a:cubicBezTo>
                  <a:cubicBezTo>
                    <a:pt x="17" y="52"/>
                    <a:pt x="17" y="52"/>
                    <a:pt x="17" y="52"/>
                  </a:cubicBezTo>
                  <a:cubicBezTo>
                    <a:pt x="17" y="52"/>
                    <a:pt x="17" y="52"/>
                    <a:pt x="16" y="53"/>
                  </a:cubicBezTo>
                  <a:cubicBezTo>
                    <a:pt x="16" y="53"/>
                    <a:pt x="16" y="53"/>
                    <a:pt x="16" y="53"/>
                  </a:cubicBezTo>
                  <a:cubicBezTo>
                    <a:pt x="16" y="53"/>
                    <a:pt x="15" y="54"/>
                    <a:pt x="15" y="54"/>
                  </a:cubicBezTo>
                  <a:cubicBezTo>
                    <a:pt x="15" y="54"/>
                    <a:pt x="14" y="54"/>
                    <a:pt x="14" y="54"/>
                  </a:cubicBezTo>
                  <a:cubicBezTo>
                    <a:pt x="14" y="54"/>
                    <a:pt x="14" y="55"/>
                    <a:pt x="14" y="55"/>
                  </a:cubicBezTo>
                  <a:cubicBezTo>
                    <a:pt x="12" y="55"/>
                    <a:pt x="12" y="55"/>
                    <a:pt x="12" y="55"/>
                  </a:cubicBezTo>
                  <a:cubicBezTo>
                    <a:pt x="12" y="55"/>
                    <a:pt x="12" y="55"/>
                    <a:pt x="12" y="55"/>
                  </a:cubicBezTo>
                  <a:cubicBezTo>
                    <a:pt x="10" y="55"/>
                    <a:pt x="10" y="55"/>
                    <a:pt x="10" y="55"/>
                  </a:cubicBezTo>
                  <a:cubicBezTo>
                    <a:pt x="10" y="55"/>
                    <a:pt x="10" y="55"/>
                    <a:pt x="10" y="55"/>
                  </a:cubicBezTo>
                  <a:cubicBezTo>
                    <a:pt x="10" y="55"/>
                    <a:pt x="9" y="55"/>
                    <a:pt x="9" y="55"/>
                  </a:cubicBezTo>
                  <a:cubicBezTo>
                    <a:pt x="9" y="55"/>
                    <a:pt x="8" y="54"/>
                    <a:pt x="8" y="54"/>
                  </a:cubicBezTo>
                  <a:cubicBezTo>
                    <a:pt x="7" y="54"/>
                    <a:pt x="6" y="54"/>
                    <a:pt x="6" y="54"/>
                  </a:cubicBezTo>
                  <a:cubicBezTo>
                    <a:pt x="5" y="54"/>
                    <a:pt x="5" y="54"/>
                    <a:pt x="4" y="54"/>
                  </a:cubicBezTo>
                  <a:cubicBezTo>
                    <a:pt x="3" y="54"/>
                    <a:pt x="2" y="54"/>
                    <a:pt x="2" y="54"/>
                  </a:cubicBezTo>
                  <a:cubicBezTo>
                    <a:pt x="1" y="54"/>
                    <a:pt x="1" y="53"/>
                    <a:pt x="0" y="53"/>
                  </a:cubicBezTo>
                  <a:cubicBezTo>
                    <a:pt x="1" y="54"/>
                    <a:pt x="1" y="54"/>
                    <a:pt x="1" y="54"/>
                  </a:cubicBezTo>
                  <a:cubicBezTo>
                    <a:pt x="0" y="56"/>
                    <a:pt x="0" y="56"/>
                    <a:pt x="0" y="56"/>
                  </a:cubicBezTo>
                  <a:cubicBezTo>
                    <a:pt x="0" y="56"/>
                    <a:pt x="1" y="56"/>
                    <a:pt x="1" y="57"/>
                  </a:cubicBezTo>
                  <a:cubicBezTo>
                    <a:pt x="1" y="57"/>
                    <a:pt x="2" y="57"/>
                    <a:pt x="2" y="58"/>
                  </a:cubicBezTo>
                  <a:cubicBezTo>
                    <a:pt x="2" y="58"/>
                    <a:pt x="2" y="59"/>
                    <a:pt x="2" y="59"/>
                  </a:cubicBezTo>
                  <a:cubicBezTo>
                    <a:pt x="2" y="59"/>
                    <a:pt x="2" y="59"/>
                    <a:pt x="2" y="59"/>
                  </a:cubicBezTo>
                  <a:cubicBezTo>
                    <a:pt x="3" y="61"/>
                    <a:pt x="3" y="61"/>
                    <a:pt x="3" y="61"/>
                  </a:cubicBezTo>
                  <a:cubicBezTo>
                    <a:pt x="3" y="62"/>
                    <a:pt x="3" y="62"/>
                    <a:pt x="3" y="62"/>
                  </a:cubicBezTo>
                  <a:cubicBezTo>
                    <a:pt x="4" y="64"/>
                    <a:pt x="4" y="64"/>
                    <a:pt x="4" y="64"/>
                  </a:cubicBezTo>
                  <a:cubicBezTo>
                    <a:pt x="4" y="64"/>
                    <a:pt x="4" y="65"/>
                    <a:pt x="4" y="65"/>
                  </a:cubicBezTo>
                  <a:cubicBezTo>
                    <a:pt x="4" y="65"/>
                    <a:pt x="4" y="66"/>
                    <a:pt x="4" y="66"/>
                  </a:cubicBezTo>
                  <a:cubicBezTo>
                    <a:pt x="4" y="67"/>
                    <a:pt x="5" y="68"/>
                    <a:pt x="5" y="68"/>
                  </a:cubicBezTo>
                  <a:cubicBezTo>
                    <a:pt x="5" y="70"/>
                    <a:pt x="5" y="70"/>
                    <a:pt x="5" y="70"/>
                  </a:cubicBezTo>
                  <a:cubicBezTo>
                    <a:pt x="5" y="70"/>
                    <a:pt x="7" y="71"/>
                    <a:pt x="7" y="71"/>
                  </a:cubicBezTo>
                  <a:cubicBezTo>
                    <a:pt x="7" y="71"/>
                    <a:pt x="8" y="72"/>
                    <a:pt x="8" y="72"/>
                  </a:cubicBezTo>
                  <a:cubicBezTo>
                    <a:pt x="9" y="74"/>
                    <a:pt x="9" y="74"/>
                    <a:pt x="9" y="74"/>
                  </a:cubicBezTo>
                  <a:cubicBezTo>
                    <a:pt x="9" y="75"/>
                    <a:pt x="9" y="75"/>
                    <a:pt x="9" y="75"/>
                  </a:cubicBezTo>
                  <a:cubicBezTo>
                    <a:pt x="11" y="77"/>
                    <a:pt x="11" y="77"/>
                    <a:pt x="11" y="77"/>
                  </a:cubicBezTo>
                  <a:cubicBezTo>
                    <a:pt x="11" y="78"/>
                    <a:pt x="11" y="78"/>
                    <a:pt x="11" y="78"/>
                  </a:cubicBezTo>
                  <a:cubicBezTo>
                    <a:pt x="12" y="79"/>
                    <a:pt x="12" y="79"/>
                    <a:pt x="12" y="79"/>
                  </a:cubicBezTo>
                  <a:cubicBezTo>
                    <a:pt x="13" y="80"/>
                    <a:pt x="13" y="80"/>
                    <a:pt x="13" y="80"/>
                  </a:cubicBezTo>
                  <a:cubicBezTo>
                    <a:pt x="13" y="80"/>
                    <a:pt x="13" y="80"/>
                    <a:pt x="13" y="80"/>
                  </a:cubicBezTo>
                  <a:cubicBezTo>
                    <a:pt x="14" y="80"/>
                    <a:pt x="15" y="81"/>
                    <a:pt x="16" y="80"/>
                  </a:cubicBezTo>
                  <a:cubicBezTo>
                    <a:pt x="16" y="80"/>
                    <a:pt x="16" y="81"/>
                    <a:pt x="17" y="79"/>
                  </a:cubicBezTo>
                  <a:cubicBezTo>
                    <a:pt x="17" y="77"/>
                    <a:pt x="17" y="77"/>
                    <a:pt x="17" y="77"/>
                  </a:cubicBezTo>
                  <a:cubicBezTo>
                    <a:pt x="17" y="77"/>
                    <a:pt x="17" y="76"/>
                    <a:pt x="18" y="76"/>
                  </a:cubicBezTo>
                  <a:cubicBezTo>
                    <a:pt x="19" y="75"/>
                    <a:pt x="19" y="75"/>
                    <a:pt x="19" y="74"/>
                  </a:cubicBezTo>
                  <a:cubicBezTo>
                    <a:pt x="19" y="73"/>
                    <a:pt x="17" y="72"/>
                    <a:pt x="17" y="72"/>
                  </a:cubicBezTo>
                  <a:cubicBezTo>
                    <a:pt x="17" y="72"/>
                    <a:pt x="20" y="72"/>
                    <a:pt x="20" y="72"/>
                  </a:cubicBezTo>
                  <a:cubicBezTo>
                    <a:pt x="20" y="73"/>
                    <a:pt x="20" y="74"/>
                    <a:pt x="21" y="73"/>
                  </a:cubicBezTo>
                  <a:cubicBezTo>
                    <a:pt x="22" y="71"/>
                    <a:pt x="22" y="72"/>
                    <a:pt x="21" y="71"/>
                  </a:cubicBezTo>
                  <a:cubicBezTo>
                    <a:pt x="21" y="70"/>
                    <a:pt x="21" y="70"/>
                    <a:pt x="21" y="69"/>
                  </a:cubicBezTo>
                  <a:cubicBezTo>
                    <a:pt x="21" y="69"/>
                    <a:pt x="22" y="69"/>
                    <a:pt x="22" y="68"/>
                  </a:cubicBezTo>
                  <a:cubicBezTo>
                    <a:pt x="22" y="66"/>
                    <a:pt x="22" y="66"/>
                    <a:pt x="22" y="65"/>
                  </a:cubicBezTo>
                  <a:cubicBezTo>
                    <a:pt x="23" y="64"/>
                    <a:pt x="23" y="64"/>
                    <a:pt x="23" y="63"/>
                  </a:cubicBezTo>
                  <a:cubicBezTo>
                    <a:pt x="23" y="62"/>
                    <a:pt x="23" y="62"/>
                    <a:pt x="24" y="60"/>
                  </a:cubicBezTo>
                  <a:cubicBezTo>
                    <a:pt x="24" y="57"/>
                    <a:pt x="25" y="57"/>
                    <a:pt x="25" y="57"/>
                  </a:cubicBezTo>
                  <a:cubicBezTo>
                    <a:pt x="25" y="57"/>
                    <a:pt x="31" y="59"/>
                    <a:pt x="31" y="59"/>
                  </a:cubicBezTo>
                  <a:cubicBezTo>
                    <a:pt x="31" y="59"/>
                    <a:pt x="32" y="60"/>
                    <a:pt x="32" y="60"/>
                  </a:cubicBezTo>
                  <a:cubicBezTo>
                    <a:pt x="32" y="61"/>
                    <a:pt x="32" y="62"/>
                    <a:pt x="32" y="62"/>
                  </a:cubicBezTo>
                  <a:cubicBezTo>
                    <a:pt x="32" y="63"/>
                    <a:pt x="31" y="64"/>
                    <a:pt x="31" y="64"/>
                  </a:cubicBezTo>
                  <a:cubicBezTo>
                    <a:pt x="31" y="65"/>
                    <a:pt x="31" y="65"/>
                    <a:pt x="31" y="65"/>
                  </a:cubicBezTo>
                  <a:cubicBezTo>
                    <a:pt x="31" y="65"/>
                    <a:pt x="30" y="65"/>
                    <a:pt x="30" y="66"/>
                  </a:cubicBezTo>
                  <a:cubicBezTo>
                    <a:pt x="29" y="67"/>
                    <a:pt x="29" y="68"/>
                    <a:pt x="30" y="69"/>
                  </a:cubicBezTo>
                  <a:cubicBezTo>
                    <a:pt x="31" y="69"/>
                    <a:pt x="31" y="70"/>
                    <a:pt x="32" y="70"/>
                  </a:cubicBezTo>
                  <a:cubicBezTo>
                    <a:pt x="32" y="70"/>
                    <a:pt x="33" y="69"/>
                    <a:pt x="33" y="69"/>
                  </a:cubicBezTo>
                  <a:cubicBezTo>
                    <a:pt x="34" y="69"/>
                    <a:pt x="35" y="69"/>
                    <a:pt x="35" y="69"/>
                  </a:cubicBezTo>
                  <a:cubicBezTo>
                    <a:pt x="35" y="70"/>
                    <a:pt x="35" y="71"/>
                    <a:pt x="35" y="71"/>
                  </a:cubicBezTo>
                  <a:cubicBezTo>
                    <a:pt x="36" y="72"/>
                    <a:pt x="37" y="72"/>
                    <a:pt x="37" y="72"/>
                  </a:cubicBezTo>
                  <a:cubicBezTo>
                    <a:pt x="38" y="72"/>
                    <a:pt x="39" y="72"/>
                    <a:pt x="39" y="72"/>
                  </a:cubicBezTo>
                  <a:cubicBezTo>
                    <a:pt x="39" y="72"/>
                    <a:pt x="39" y="72"/>
                    <a:pt x="40" y="71"/>
                  </a:cubicBezTo>
                  <a:cubicBezTo>
                    <a:pt x="41" y="71"/>
                    <a:pt x="42" y="74"/>
                    <a:pt x="41" y="71"/>
                  </a:cubicBezTo>
                  <a:cubicBezTo>
                    <a:pt x="39" y="68"/>
                    <a:pt x="39" y="68"/>
                    <a:pt x="38" y="68"/>
                  </a:cubicBezTo>
                  <a:cubicBezTo>
                    <a:pt x="38" y="67"/>
                    <a:pt x="37" y="67"/>
                    <a:pt x="37" y="67"/>
                  </a:cubicBezTo>
                  <a:cubicBezTo>
                    <a:pt x="37" y="67"/>
                    <a:pt x="37" y="67"/>
                    <a:pt x="37" y="67"/>
                  </a:cubicBezTo>
                  <a:cubicBezTo>
                    <a:pt x="37" y="67"/>
                    <a:pt x="36" y="66"/>
                    <a:pt x="36" y="65"/>
                  </a:cubicBezTo>
                  <a:cubicBezTo>
                    <a:pt x="37" y="64"/>
                    <a:pt x="37" y="64"/>
                    <a:pt x="38" y="64"/>
                  </a:cubicBezTo>
                  <a:cubicBezTo>
                    <a:pt x="38" y="64"/>
                    <a:pt x="39" y="64"/>
                    <a:pt x="40" y="65"/>
                  </a:cubicBezTo>
                  <a:cubicBezTo>
                    <a:pt x="41" y="66"/>
                    <a:pt x="41" y="66"/>
                    <a:pt x="41" y="67"/>
                  </a:cubicBezTo>
                  <a:cubicBezTo>
                    <a:pt x="42" y="68"/>
                    <a:pt x="43" y="69"/>
                    <a:pt x="43" y="70"/>
                  </a:cubicBezTo>
                  <a:cubicBezTo>
                    <a:pt x="44" y="70"/>
                    <a:pt x="44" y="70"/>
                    <a:pt x="44" y="71"/>
                  </a:cubicBezTo>
                  <a:cubicBezTo>
                    <a:pt x="44" y="73"/>
                    <a:pt x="44" y="75"/>
                    <a:pt x="44" y="75"/>
                  </a:cubicBezTo>
                  <a:cubicBezTo>
                    <a:pt x="44" y="76"/>
                    <a:pt x="44" y="79"/>
                    <a:pt x="44" y="79"/>
                  </a:cubicBezTo>
                  <a:cubicBezTo>
                    <a:pt x="44" y="79"/>
                    <a:pt x="44" y="80"/>
                    <a:pt x="44" y="81"/>
                  </a:cubicBezTo>
                  <a:cubicBezTo>
                    <a:pt x="44" y="82"/>
                    <a:pt x="48" y="87"/>
                    <a:pt x="48" y="87"/>
                  </a:cubicBezTo>
                  <a:cubicBezTo>
                    <a:pt x="48" y="87"/>
                    <a:pt x="50" y="90"/>
                    <a:pt x="50" y="90"/>
                  </a:cubicBezTo>
                  <a:cubicBezTo>
                    <a:pt x="51" y="90"/>
                    <a:pt x="51" y="92"/>
                    <a:pt x="52" y="93"/>
                  </a:cubicBezTo>
                  <a:cubicBezTo>
                    <a:pt x="54" y="93"/>
                    <a:pt x="57" y="95"/>
                    <a:pt x="57" y="95"/>
                  </a:cubicBezTo>
                  <a:cubicBezTo>
                    <a:pt x="62" y="98"/>
                    <a:pt x="62" y="98"/>
                    <a:pt x="62" y="98"/>
                  </a:cubicBezTo>
                  <a:cubicBezTo>
                    <a:pt x="62" y="98"/>
                    <a:pt x="65" y="100"/>
                    <a:pt x="65" y="100"/>
                  </a:cubicBezTo>
                  <a:cubicBezTo>
                    <a:pt x="65" y="100"/>
                    <a:pt x="69" y="100"/>
                    <a:pt x="66" y="100"/>
                  </a:cubicBezTo>
                  <a:cubicBezTo>
                    <a:pt x="64" y="100"/>
                    <a:pt x="60" y="98"/>
                    <a:pt x="60" y="98"/>
                  </a:cubicBezTo>
                  <a:cubicBezTo>
                    <a:pt x="60" y="98"/>
                    <a:pt x="60" y="97"/>
                    <a:pt x="59" y="97"/>
                  </a:cubicBezTo>
                  <a:cubicBezTo>
                    <a:pt x="59" y="97"/>
                    <a:pt x="55" y="96"/>
                    <a:pt x="55" y="96"/>
                  </a:cubicBezTo>
                  <a:cubicBezTo>
                    <a:pt x="54" y="95"/>
                    <a:pt x="54" y="95"/>
                    <a:pt x="53" y="94"/>
                  </a:cubicBezTo>
                  <a:cubicBezTo>
                    <a:pt x="52" y="93"/>
                    <a:pt x="51" y="91"/>
                    <a:pt x="51" y="91"/>
                  </a:cubicBezTo>
                  <a:cubicBezTo>
                    <a:pt x="51" y="91"/>
                    <a:pt x="50" y="90"/>
                    <a:pt x="49" y="89"/>
                  </a:cubicBezTo>
                  <a:cubicBezTo>
                    <a:pt x="48" y="88"/>
                    <a:pt x="49" y="88"/>
                    <a:pt x="48" y="88"/>
                  </a:cubicBezTo>
                  <a:cubicBezTo>
                    <a:pt x="47" y="87"/>
                    <a:pt x="48" y="88"/>
                    <a:pt x="47" y="87"/>
                  </a:cubicBezTo>
                  <a:cubicBezTo>
                    <a:pt x="45" y="86"/>
                    <a:pt x="45" y="85"/>
                    <a:pt x="44" y="85"/>
                  </a:cubicBezTo>
                  <a:cubicBezTo>
                    <a:pt x="44" y="85"/>
                    <a:pt x="42" y="85"/>
                    <a:pt x="42" y="84"/>
                  </a:cubicBezTo>
                  <a:cubicBezTo>
                    <a:pt x="41" y="84"/>
                    <a:pt x="40" y="83"/>
                    <a:pt x="40" y="83"/>
                  </a:cubicBezTo>
                  <a:cubicBezTo>
                    <a:pt x="40" y="83"/>
                    <a:pt x="40" y="84"/>
                    <a:pt x="41" y="85"/>
                  </a:cubicBezTo>
                  <a:cubicBezTo>
                    <a:pt x="42" y="85"/>
                    <a:pt x="44" y="87"/>
                    <a:pt x="44" y="87"/>
                  </a:cubicBezTo>
                  <a:cubicBezTo>
                    <a:pt x="44" y="87"/>
                    <a:pt x="45" y="87"/>
                    <a:pt x="45" y="87"/>
                  </a:cubicBezTo>
                  <a:cubicBezTo>
                    <a:pt x="45" y="87"/>
                    <a:pt x="45" y="89"/>
                    <a:pt x="45" y="89"/>
                  </a:cubicBezTo>
                  <a:cubicBezTo>
                    <a:pt x="45" y="89"/>
                    <a:pt x="43" y="88"/>
                    <a:pt x="45" y="89"/>
                  </a:cubicBezTo>
                  <a:cubicBezTo>
                    <a:pt x="47" y="90"/>
                    <a:pt x="48" y="90"/>
                    <a:pt x="48" y="90"/>
                  </a:cubicBezTo>
                  <a:cubicBezTo>
                    <a:pt x="48" y="90"/>
                    <a:pt x="46" y="91"/>
                    <a:pt x="46" y="91"/>
                  </a:cubicBezTo>
                  <a:cubicBezTo>
                    <a:pt x="46" y="91"/>
                    <a:pt x="47" y="94"/>
                    <a:pt x="48" y="94"/>
                  </a:cubicBezTo>
                  <a:cubicBezTo>
                    <a:pt x="48" y="94"/>
                    <a:pt x="49" y="94"/>
                    <a:pt x="50" y="94"/>
                  </a:cubicBezTo>
                  <a:cubicBezTo>
                    <a:pt x="50" y="94"/>
                    <a:pt x="51" y="94"/>
                    <a:pt x="52" y="94"/>
                  </a:cubicBezTo>
                  <a:cubicBezTo>
                    <a:pt x="52" y="95"/>
                    <a:pt x="52" y="95"/>
                    <a:pt x="52" y="95"/>
                  </a:cubicBezTo>
                  <a:cubicBezTo>
                    <a:pt x="52" y="96"/>
                    <a:pt x="52" y="98"/>
                    <a:pt x="52" y="98"/>
                  </a:cubicBezTo>
                  <a:cubicBezTo>
                    <a:pt x="54" y="98"/>
                    <a:pt x="54" y="98"/>
                    <a:pt x="54" y="98"/>
                  </a:cubicBezTo>
                  <a:cubicBezTo>
                    <a:pt x="54" y="98"/>
                    <a:pt x="52" y="98"/>
                    <a:pt x="51" y="98"/>
                  </a:cubicBezTo>
                  <a:cubicBezTo>
                    <a:pt x="51" y="97"/>
                    <a:pt x="50" y="97"/>
                    <a:pt x="50" y="97"/>
                  </a:cubicBezTo>
                  <a:cubicBezTo>
                    <a:pt x="49" y="98"/>
                    <a:pt x="49" y="98"/>
                    <a:pt x="49" y="99"/>
                  </a:cubicBezTo>
                  <a:cubicBezTo>
                    <a:pt x="50" y="99"/>
                    <a:pt x="51" y="100"/>
                    <a:pt x="51" y="100"/>
                  </a:cubicBezTo>
                  <a:cubicBezTo>
                    <a:pt x="52" y="99"/>
                    <a:pt x="52" y="99"/>
                    <a:pt x="52" y="99"/>
                  </a:cubicBezTo>
                  <a:cubicBezTo>
                    <a:pt x="52" y="99"/>
                    <a:pt x="52" y="99"/>
                    <a:pt x="53" y="99"/>
                  </a:cubicBezTo>
                  <a:cubicBezTo>
                    <a:pt x="53" y="99"/>
                    <a:pt x="54" y="99"/>
                    <a:pt x="54" y="99"/>
                  </a:cubicBezTo>
                  <a:cubicBezTo>
                    <a:pt x="55" y="98"/>
                    <a:pt x="55" y="98"/>
                    <a:pt x="55" y="98"/>
                  </a:cubicBezTo>
                  <a:cubicBezTo>
                    <a:pt x="55" y="98"/>
                    <a:pt x="55" y="98"/>
                    <a:pt x="55" y="99"/>
                  </a:cubicBezTo>
                  <a:cubicBezTo>
                    <a:pt x="55" y="99"/>
                    <a:pt x="55" y="99"/>
                    <a:pt x="55" y="100"/>
                  </a:cubicBezTo>
                  <a:cubicBezTo>
                    <a:pt x="54" y="101"/>
                    <a:pt x="54" y="100"/>
                    <a:pt x="54" y="101"/>
                  </a:cubicBezTo>
                  <a:cubicBezTo>
                    <a:pt x="54" y="101"/>
                    <a:pt x="53" y="101"/>
                    <a:pt x="54" y="102"/>
                  </a:cubicBezTo>
                  <a:cubicBezTo>
                    <a:pt x="54" y="103"/>
                    <a:pt x="54" y="103"/>
                    <a:pt x="54" y="103"/>
                  </a:cubicBezTo>
                  <a:cubicBezTo>
                    <a:pt x="54" y="103"/>
                    <a:pt x="54" y="103"/>
                    <a:pt x="55" y="104"/>
                  </a:cubicBezTo>
                  <a:cubicBezTo>
                    <a:pt x="55" y="105"/>
                    <a:pt x="55" y="105"/>
                    <a:pt x="56" y="106"/>
                  </a:cubicBezTo>
                  <a:cubicBezTo>
                    <a:pt x="56" y="106"/>
                    <a:pt x="58" y="108"/>
                    <a:pt x="58" y="108"/>
                  </a:cubicBezTo>
                  <a:cubicBezTo>
                    <a:pt x="58" y="108"/>
                    <a:pt x="60" y="110"/>
                    <a:pt x="60" y="110"/>
                  </a:cubicBezTo>
                  <a:cubicBezTo>
                    <a:pt x="60" y="110"/>
                    <a:pt x="61" y="111"/>
                    <a:pt x="61" y="111"/>
                  </a:cubicBezTo>
                  <a:cubicBezTo>
                    <a:pt x="61" y="111"/>
                    <a:pt x="61" y="112"/>
                    <a:pt x="61" y="111"/>
                  </a:cubicBezTo>
                  <a:cubicBezTo>
                    <a:pt x="60" y="110"/>
                    <a:pt x="58" y="109"/>
                    <a:pt x="58" y="109"/>
                  </a:cubicBezTo>
                  <a:cubicBezTo>
                    <a:pt x="58" y="111"/>
                    <a:pt x="58" y="111"/>
                    <a:pt x="58" y="111"/>
                  </a:cubicBezTo>
                  <a:cubicBezTo>
                    <a:pt x="58" y="111"/>
                    <a:pt x="59" y="112"/>
                    <a:pt x="59" y="112"/>
                  </a:cubicBezTo>
                  <a:cubicBezTo>
                    <a:pt x="60" y="112"/>
                    <a:pt x="60" y="113"/>
                    <a:pt x="60" y="113"/>
                  </a:cubicBezTo>
                  <a:cubicBezTo>
                    <a:pt x="61" y="113"/>
                    <a:pt x="62" y="113"/>
                    <a:pt x="62" y="114"/>
                  </a:cubicBezTo>
                  <a:cubicBezTo>
                    <a:pt x="63" y="114"/>
                    <a:pt x="63" y="113"/>
                    <a:pt x="63" y="113"/>
                  </a:cubicBezTo>
                  <a:cubicBezTo>
                    <a:pt x="63" y="113"/>
                    <a:pt x="63" y="113"/>
                    <a:pt x="64" y="113"/>
                  </a:cubicBezTo>
                  <a:cubicBezTo>
                    <a:pt x="64" y="113"/>
                    <a:pt x="64" y="114"/>
                    <a:pt x="64" y="115"/>
                  </a:cubicBezTo>
                  <a:cubicBezTo>
                    <a:pt x="64" y="115"/>
                    <a:pt x="63" y="116"/>
                    <a:pt x="63" y="115"/>
                  </a:cubicBezTo>
                  <a:cubicBezTo>
                    <a:pt x="62" y="115"/>
                    <a:pt x="61" y="114"/>
                    <a:pt x="61" y="114"/>
                  </a:cubicBezTo>
                  <a:cubicBezTo>
                    <a:pt x="60" y="114"/>
                    <a:pt x="60" y="114"/>
                    <a:pt x="59" y="114"/>
                  </a:cubicBezTo>
                  <a:cubicBezTo>
                    <a:pt x="58" y="114"/>
                    <a:pt x="57" y="113"/>
                    <a:pt x="57" y="114"/>
                  </a:cubicBezTo>
                  <a:cubicBezTo>
                    <a:pt x="57" y="115"/>
                    <a:pt x="57" y="115"/>
                    <a:pt x="57" y="115"/>
                  </a:cubicBezTo>
                  <a:cubicBezTo>
                    <a:pt x="57" y="115"/>
                    <a:pt x="56" y="113"/>
                    <a:pt x="55" y="112"/>
                  </a:cubicBezTo>
                  <a:cubicBezTo>
                    <a:pt x="54" y="112"/>
                    <a:pt x="53" y="111"/>
                    <a:pt x="53" y="111"/>
                  </a:cubicBezTo>
                  <a:cubicBezTo>
                    <a:pt x="52" y="110"/>
                    <a:pt x="52" y="110"/>
                    <a:pt x="52" y="110"/>
                  </a:cubicBezTo>
                  <a:cubicBezTo>
                    <a:pt x="52" y="110"/>
                    <a:pt x="53" y="110"/>
                    <a:pt x="53" y="110"/>
                  </a:cubicBezTo>
                  <a:cubicBezTo>
                    <a:pt x="54" y="111"/>
                    <a:pt x="53" y="111"/>
                    <a:pt x="54" y="111"/>
                  </a:cubicBezTo>
                  <a:cubicBezTo>
                    <a:pt x="55" y="111"/>
                    <a:pt x="53" y="109"/>
                    <a:pt x="55" y="109"/>
                  </a:cubicBezTo>
                  <a:cubicBezTo>
                    <a:pt x="56" y="109"/>
                    <a:pt x="56" y="109"/>
                    <a:pt x="56" y="109"/>
                  </a:cubicBezTo>
                  <a:cubicBezTo>
                    <a:pt x="57" y="109"/>
                    <a:pt x="58" y="108"/>
                    <a:pt x="56" y="108"/>
                  </a:cubicBezTo>
                  <a:cubicBezTo>
                    <a:pt x="55" y="107"/>
                    <a:pt x="55" y="107"/>
                    <a:pt x="54" y="107"/>
                  </a:cubicBezTo>
                  <a:cubicBezTo>
                    <a:pt x="54" y="107"/>
                    <a:pt x="54" y="107"/>
                    <a:pt x="54" y="106"/>
                  </a:cubicBezTo>
                  <a:cubicBezTo>
                    <a:pt x="53" y="105"/>
                    <a:pt x="53" y="104"/>
                    <a:pt x="52" y="104"/>
                  </a:cubicBezTo>
                  <a:cubicBezTo>
                    <a:pt x="52" y="104"/>
                    <a:pt x="50" y="104"/>
                    <a:pt x="50" y="104"/>
                  </a:cubicBezTo>
                  <a:cubicBezTo>
                    <a:pt x="50" y="104"/>
                    <a:pt x="49" y="104"/>
                    <a:pt x="48" y="104"/>
                  </a:cubicBezTo>
                  <a:cubicBezTo>
                    <a:pt x="47" y="103"/>
                    <a:pt x="46" y="102"/>
                    <a:pt x="46" y="102"/>
                  </a:cubicBezTo>
                  <a:cubicBezTo>
                    <a:pt x="45" y="102"/>
                    <a:pt x="43" y="101"/>
                    <a:pt x="43" y="100"/>
                  </a:cubicBezTo>
                  <a:cubicBezTo>
                    <a:pt x="43" y="100"/>
                    <a:pt x="42" y="99"/>
                    <a:pt x="41" y="99"/>
                  </a:cubicBezTo>
                  <a:cubicBezTo>
                    <a:pt x="40" y="99"/>
                    <a:pt x="40" y="100"/>
                    <a:pt x="39" y="100"/>
                  </a:cubicBezTo>
                  <a:cubicBezTo>
                    <a:pt x="39" y="99"/>
                    <a:pt x="38" y="98"/>
                    <a:pt x="38" y="98"/>
                  </a:cubicBezTo>
                  <a:cubicBezTo>
                    <a:pt x="37" y="98"/>
                    <a:pt x="37" y="97"/>
                    <a:pt x="37" y="97"/>
                  </a:cubicBezTo>
                  <a:cubicBezTo>
                    <a:pt x="37" y="98"/>
                    <a:pt x="36" y="98"/>
                    <a:pt x="38" y="99"/>
                  </a:cubicBezTo>
                  <a:cubicBezTo>
                    <a:pt x="39" y="99"/>
                    <a:pt x="40" y="100"/>
                    <a:pt x="40" y="100"/>
                  </a:cubicBezTo>
                  <a:cubicBezTo>
                    <a:pt x="40" y="100"/>
                    <a:pt x="40" y="100"/>
                    <a:pt x="40" y="101"/>
                  </a:cubicBezTo>
                  <a:cubicBezTo>
                    <a:pt x="40" y="101"/>
                    <a:pt x="41" y="101"/>
                    <a:pt x="41" y="101"/>
                  </a:cubicBezTo>
                  <a:cubicBezTo>
                    <a:pt x="42" y="101"/>
                    <a:pt x="43" y="101"/>
                    <a:pt x="43" y="102"/>
                  </a:cubicBezTo>
                  <a:cubicBezTo>
                    <a:pt x="43" y="102"/>
                    <a:pt x="45" y="102"/>
                    <a:pt x="45" y="103"/>
                  </a:cubicBezTo>
                  <a:cubicBezTo>
                    <a:pt x="45" y="104"/>
                    <a:pt x="46" y="104"/>
                    <a:pt x="45" y="104"/>
                  </a:cubicBezTo>
                  <a:cubicBezTo>
                    <a:pt x="45" y="104"/>
                    <a:pt x="44" y="105"/>
                    <a:pt x="45" y="105"/>
                  </a:cubicBezTo>
                  <a:cubicBezTo>
                    <a:pt x="45" y="106"/>
                    <a:pt x="46" y="106"/>
                    <a:pt x="46" y="106"/>
                  </a:cubicBezTo>
                  <a:cubicBezTo>
                    <a:pt x="47" y="106"/>
                    <a:pt x="47" y="106"/>
                    <a:pt x="48" y="107"/>
                  </a:cubicBezTo>
                  <a:cubicBezTo>
                    <a:pt x="50" y="107"/>
                    <a:pt x="50" y="108"/>
                    <a:pt x="50" y="109"/>
                  </a:cubicBezTo>
                  <a:cubicBezTo>
                    <a:pt x="50" y="109"/>
                    <a:pt x="52" y="110"/>
                    <a:pt x="52" y="110"/>
                  </a:cubicBezTo>
                  <a:cubicBezTo>
                    <a:pt x="52" y="110"/>
                    <a:pt x="51" y="110"/>
                    <a:pt x="51" y="111"/>
                  </a:cubicBezTo>
                  <a:cubicBezTo>
                    <a:pt x="51" y="111"/>
                    <a:pt x="51" y="111"/>
                    <a:pt x="52" y="112"/>
                  </a:cubicBezTo>
                  <a:cubicBezTo>
                    <a:pt x="53" y="112"/>
                    <a:pt x="53" y="112"/>
                    <a:pt x="53" y="112"/>
                  </a:cubicBezTo>
                  <a:cubicBezTo>
                    <a:pt x="53" y="112"/>
                    <a:pt x="53" y="113"/>
                    <a:pt x="53" y="113"/>
                  </a:cubicBezTo>
                  <a:cubicBezTo>
                    <a:pt x="53" y="114"/>
                    <a:pt x="52" y="114"/>
                    <a:pt x="54" y="115"/>
                  </a:cubicBezTo>
                  <a:cubicBezTo>
                    <a:pt x="56" y="115"/>
                    <a:pt x="56" y="115"/>
                    <a:pt x="56" y="115"/>
                  </a:cubicBezTo>
                  <a:cubicBezTo>
                    <a:pt x="56" y="116"/>
                    <a:pt x="56" y="116"/>
                    <a:pt x="56" y="116"/>
                  </a:cubicBezTo>
                  <a:cubicBezTo>
                    <a:pt x="56" y="116"/>
                    <a:pt x="55" y="116"/>
                    <a:pt x="56" y="117"/>
                  </a:cubicBezTo>
                  <a:cubicBezTo>
                    <a:pt x="57" y="118"/>
                    <a:pt x="59" y="118"/>
                    <a:pt x="59" y="118"/>
                  </a:cubicBezTo>
                  <a:cubicBezTo>
                    <a:pt x="60" y="117"/>
                    <a:pt x="60" y="117"/>
                    <a:pt x="60" y="117"/>
                  </a:cubicBezTo>
                  <a:cubicBezTo>
                    <a:pt x="60" y="117"/>
                    <a:pt x="61" y="118"/>
                    <a:pt x="61" y="118"/>
                  </a:cubicBezTo>
                  <a:cubicBezTo>
                    <a:pt x="60" y="119"/>
                    <a:pt x="60" y="119"/>
                    <a:pt x="60" y="119"/>
                  </a:cubicBezTo>
                  <a:cubicBezTo>
                    <a:pt x="60" y="119"/>
                    <a:pt x="60" y="120"/>
                    <a:pt x="60" y="120"/>
                  </a:cubicBezTo>
                  <a:cubicBezTo>
                    <a:pt x="61" y="121"/>
                    <a:pt x="62" y="121"/>
                    <a:pt x="62" y="121"/>
                  </a:cubicBezTo>
                  <a:cubicBezTo>
                    <a:pt x="62" y="121"/>
                    <a:pt x="63" y="121"/>
                    <a:pt x="63" y="122"/>
                  </a:cubicBezTo>
                  <a:cubicBezTo>
                    <a:pt x="63" y="122"/>
                    <a:pt x="63" y="123"/>
                    <a:pt x="64" y="123"/>
                  </a:cubicBezTo>
                  <a:cubicBezTo>
                    <a:pt x="64" y="123"/>
                    <a:pt x="65" y="123"/>
                    <a:pt x="65" y="123"/>
                  </a:cubicBezTo>
                  <a:cubicBezTo>
                    <a:pt x="66" y="124"/>
                    <a:pt x="66" y="124"/>
                    <a:pt x="67" y="124"/>
                  </a:cubicBezTo>
                  <a:cubicBezTo>
                    <a:pt x="67" y="123"/>
                    <a:pt x="67" y="123"/>
                    <a:pt x="67" y="122"/>
                  </a:cubicBezTo>
                  <a:cubicBezTo>
                    <a:pt x="66" y="122"/>
                    <a:pt x="65" y="121"/>
                    <a:pt x="64" y="121"/>
                  </a:cubicBezTo>
                  <a:cubicBezTo>
                    <a:pt x="64" y="121"/>
                    <a:pt x="63" y="121"/>
                    <a:pt x="63" y="121"/>
                  </a:cubicBezTo>
                  <a:cubicBezTo>
                    <a:pt x="63" y="120"/>
                    <a:pt x="63" y="121"/>
                    <a:pt x="63" y="120"/>
                  </a:cubicBezTo>
                  <a:cubicBezTo>
                    <a:pt x="63" y="119"/>
                    <a:pt x="62" y="118"/>
                    <a:pt x="62" y="118"/>
                  </a:cubicBezTo>
                  <a:cubicBezTo>
                    <a:pt x="62" y="118"/>
                    <a:pt x="62" y="117"/>
                    <a:pt x="62" y="117"/>
                  </a:cubicBezTo>
                  <a:cubicBezTo>
                    <a:pt x="61" y="117"/>
                    <a:pt x="61" y="117"/>
                    <a:pt x="60" y="116"/>
                  </a:cubicBezTo>
                  <a:cubicBezTo>
                    <a:pt x="60" y="116"/>
                    <a:pt x="60" y="116"/>
                    <a:pt x="59" y="116"/>
                  </a:cubicBezTo>
                  <a:cubicBezTo>
                    <a:pt x="59" y="116"/>
                    <a:pt x="58" y="116"/>
                    <a:pt x="58" y="115"/>
                  </a:cubicBezTo>
                  <a:cubicBezTo>
                    <a:pt x="58" y="115"/>
                    <a:pt x="58" y="115"/>
                    <a:pt x="59" y="115"/>
                  </a:cubicBezTo>
                  <a:cubicBezTo>
                    <a:pt x="59" y="115"/>
                    <a:pt x="60" y="115"/>
                    <a:pt x="60" y="115"/>
                  </a:cubicBezTo>
                  <a:cubicBezTo>
                    <a:pt x="61" y="115"/>
                    <a:pt x="61" y="115"/>
                    <a:pt x="62" y="115"/>
                  </a:cubicBezTo>
                  <a:cubicBezTo>
                    <a:pt x="63" y="116"/>
                    <a:pt x="62" y="116"/>
                    <a:pt x="63" y="116"/>
                  </a:cubicBezTo>
                  <a:cubicBezTo>
                    <a:pt x="64" y="116"/>
                    <a:pt x="64" y="116"/>
                    <a:pt x="64" y="116"/>
                  </a:cubicBezTo>
                  <a:cubicBezTo>
                    <a:pt x="66" y="115"/>
                    <a:pt x="66" y="115"/>
                    <a:pt x="66" y="115"/>
                  </a:cubicBezTo>
                  <a:cubicBezTo>
                    <a:pt x="66" y="115"/>
                    <a:pt x="66" y="115"/>
                    <a:pt x="66" y="115"/>
                  </a:cubicBezTo>
                  <a:cubicBezTo>
                    <a:pt x="67" y="116"/>
                    <a:pt x="66" y="116"/>
                    <a:pt x="68" y="116"/>
                  </a:cubicBezTo>
                  <a:cubicBezTo>
                    <a:pt x="70" y="116"/>
                    <a:pt x="70" y="116"/>
                    <a:pt x="70" y="117"/>
                  </a:cubicBezTo>
                  <a:cubicBezTo>
                    <a:pt x="70" y="117"/>
                    <a:pt x="70" y="118"/>
                    <a:pt x="70" y="118"/>
                  </a:cubicBezTo>
                  <a:cubicBezTo>
                    <a:pt x="70" y="118"/>
                    <a:pt x="70" y="119"/>
                    <a:pt x="70" y="119"/>
                  </a:cubicBezTo>
                  <a:cubicBezTo>
                    <a:pt x="71" y="119"/>
                    <a:pt x="72" y="119"/>
                    <a:pt x="72" y="119"/>
                  </a:cubicBezTo>
                  <a:cubicBezTo>
                    <a:pt x="72" y="119"/>
                    <a:pt x="74" y="119"/>
                    <a:pt x="74" y="120"/>
                  </a:cubicBezTo>
                  <a:cubicBezTo>
                    <a:pt x="74" y="120"/>
                    <a:pt x="72" y="121"/>
                    <a:pt x="72" y="121"/>
                  </a:cubicBezTo>
                  <a:cubicBezTo>
                    <a:pt x="72" y="121"/>
                    <a:pt x="71" y="121"/>
                    <a:pt x="71" y="121"/>
                  </a:cubicBezTo>
                  <a:cubicBezTo>
                    <a:pt x="71" y="122"/>
                    <a:pt x="70" y="123"/>
                    <a:pt x="71" y="123"/>
                  </a:cubicBezTo>
                  <a:cubicBezTo>
                    <a:pt x="71" y="123"/>
                    <a:pt x="71" y="123"/>
                    <a:pt x="70" y="123"/>
                  </a:cubicBezTo>
                  <a:cubicBezTo>
                    <a:pt x="70" y="123"/>
                    <a:pt x="69" y="122"/>
                    <a:pt x="70" y="123"/>
                  </a:cubicBezTo>
                  <a:cubicBezTo>
                    <a:pt x="70" y="125"/>
                    <a:pt x="71" y="125"/>
                    <a:pt x="71" y="125"/>
                  </a:cubicBezTo>
                  <a:cubicBezTo>
                    <a:pt x="72" y="125"/>
                    <a:pt x="73" y="125"/>
                    <a:pt x="74" y="125"/>
                  </a:cubicBezTo>
                  <a:cubicBezTo>
                    <a:pt x="74" y="125"/>
                    <a:pt x="74" y="125"/>
                    <a:pt x="74" y="125"/>
                  </a:cubicBezTo>
                  <a:cubicBezTo>
                    <a:pt x="73" y="125"/>
                    <a:pt x="73" y="124"/>
                    <a:pt x="73" y="124"/>
                  </a:cubicBezTo>
                  <a:cubicBezTo>
                    <a:pt x="73" y="124"/>
                    <a:pt x="72" y="124"/>
                    <a:pt x="72" y="124"/>
                  </a:cubicBezTo>
                  <a:cubicBezTo>
                    <a:pt x="72" y="124"/>
                    <a:pt x="73" y="124"/>
                    <a:pt x="73" y="123"/>
                  </a:cubicBezTo>
                  <a:cubicBezTo>
                    <a:pt x="73" y="123"/>
                    <a:pt x="74" y="122"/>
                    <a:pt x="74" y="122"/>
                  </a:cubicBezTo>
                  <a:cubicBezTo>
                    <a:pt x="74" y="122"/>
                    <a:pt x="75" y="120"/>
                    <a:pt x="75" y="121"/>
                  </a:cubicBezTo>
                  <a:cubicBezTo>
                    <a:pt x="76" y="122"/>
                    <a:pt x="75" y="122"/>
                    <a:pt x="76" y="122"/>
                  </a:cubicBezTo>
                  <a:cubicBezTo>
                    <a:pt x="77" y="122"/>
                    <a:pt x="79" y="120"/>
                    <a:pt x="79" y="120"/>
                  </a:cubicBezTo>
                  <a:cubicBezTo>
                    <a:pt x="79" y="120"/>
                    <a:pt x="80" y="120"/>
                    <a:pt x="79" y="121"/>
                  </a:cubicBezTo>
                  <a:cubicBezTo>
                    <a:pt x="79" y="121"/>
                    <a:pt x="78" y="122"/>
                    <a:pt x="78" y="123"/>
                  </a:cubicBezTo>
                  <a:cubicBezTo>
                    <a:pt x="79" y="124"/>
                    <a:pt x="79" y="123"/>
                    <a:pt x="79" y="124"/>
                  </a:cubicBezTo>
                  <a:cubicBezTo>
                    <a:pt x="79" y="125"/>
                    <a:pt x="79" y="125"/>
                    <a:pt x="79" y="125"/>
                  </a:cubicBezTo>
                  <a:cubicBezTo>
                    <a:pt x="80" y="126"/>
                    <a:pt x="80" y="126"/>
                    <a:pt x="80" y="126"/>
                  </a:cubicBezTo>
                  <a:cubicBezTo>
                    <a:pt x="80" y="127"/>
                    <a:pt x="81" y="128"/>
                    <a:pt x="81" y="128"/>
                  </a:cubicBezTo>
                  <a:cubicBezTo>
                    <a:pt x="81" y="129"/>
                    <a:pt x="81" y="129"/>
                    <a:pt x="81" y="130"/>
                  </a:cubicBezTo>
                  <a:cubicBezTo>
                    <a:pt x="82" y="130"/>
                    <a:pt x="84" y="131"/>
                    <a:pt x="84" y="131"/>
                  </a:cubicBezTo>
                  <a:cubicBezTo>
                    <a:pt x="84" y="130"/>
                    <a:pt x="84" y="130"/>
                    <a:pt x="84" y="130"/>
                  </a:cubicBezTo>
                  <a:cubicBezTo>
                    <a:pt x="84" y="130"/>
                    <a:pt x="84" y="131"/>
                    <a:pt x="85" y="130"/>
                  </a:cubicBezTo>
                  <a:cubicBezTo>
                    <a:pt x="85" y="129"/>
                    <a:pt x="86" y="129"/>
                    <a:pt x="86" y="129"/>
                  </a:cubicBezTo>
                  <a:cubicBezTo>
                    <a:pt x="87" y="129"/>
                    <a:pt x="86" y="129"/>
                    <a:pt x="88" y="129"/>
                  </a:cubicBezTo>
                  <a:cubicBezTo>
                    <a:pt x="89" y="129"/>
                    <a:pt x="90" y="130"/>
                    <a:pt x="90" y="129"/>
                  </a:cubicBezTo>
                  <a:cubicBezTo>
                    <a:pt x="91" y="129"/>
                    <a:pt x="90" y="129"/>
                    <a:pt x="92" y="129"/>
                  </a:cubicBezTo>
                  <a:cubicBezTo>
                    <a:pt x="93" y="129"/>
                    <a:pt x="95" y="128"/>
                    <a:pt x="95" y="127"/>
                  </a:cubicBezTo>
                  <a:cubicBezTo>
                    <a:pt x="95" y="127"/>
                    <a:pt x="98" y="128"/>
                    <a:pt x="98" y="128"/>
                  </a:cubicBezTo>
                  <a:cubicBezTo>
                    <a:pt x="99" y="129"/>
                    <a:pt x="99" y="129"/>
                    <a:pt x="99" y="129"/>
                  </a:cubicBezTo>
                  <a:cubicBezTo>
                    <a:pt x="99" y="129"/>
                    <a:pt x="100" y="129"/>
                    <a:pt x="100" y="129"/>
                  </a:cubicBezTo>
                  <a:cubicBezTo>
                    <a:pt x="101" y="129"/>
                    <a:pt x="102" y="129"/>
                    <a:pt x="102" y="129"/>
                  </a:cubicBezTo>
                  <a:cubicBezTo>
                    <a:pt x="102" y="129"/>
                    <a:pt x="106" y="130"/>
                    <a:pt x="106" y="130"/>
                  </a:cubicBezTo>
                  <a:cubicBezTo>
                    <a:pt x="108" y="131"/>
                    <a:pt x="108" y="131"/>
                    <a:pt x="108" y="131"/>
                  </a:cubicBezTo>
                  <a:cubicBezTo>
                    <a:pt x="110" y="132"/>
                    <a:pt x="110" y="132"/>
                    <a:pt x="110" y="132"/>
                  </a:cubicBezTo>
                  <a:cubicBezTo>
                    <a:pt x="114" y="134"/>
                    <a:pt x="114" y="134"/>
                    <a:pt x="114" y="134"/>
                  </a:cubicBezTo>
                  <a:cubicBezTo>
                    <a:pt x="117" y="138"/>
                    <a:pt x="117" y="138"/>
                    <a:pt x="117" y="138"/>
                  </a:cubicBezTo>
                  <a:cubicBezTo>
                    <a:pt x="120" y="139"/>
                    <a:pt x="120" y="139"/>
                    <a:pt x="120" y="139"/>
                  </a:cubicBezTo>
                  <a:cubicBezTo>
                    <a:pt x="123" y="140"/>
                    <a:pt x="123" y="140"/>
                    <a:pt x="123" y="140"/>
                  </a:cubicBezTo>
                  <a:cubicBezTo>
                    <a:pt x="125" y="142"/>
                    <a:pt x="125" y="142"/>
                    <a:pt x="125" y="142"/>
                  </a:cubicBezTo>
                  <a:cubicBezTo>
                    <a:pt x="125" y="142"/>
                    <a:pt x="127" y="144"/>
                    <a:pt x="127" y="144"/>
                  </a:cubicBezTo>
                  <a:cubicBezTo>
                    <a:pt x="128" y="144"/>
                    <a:pt x="130" y="146"/>
                    <a:pt x="130" y="146"/>
                  </a:cubicBezTo>
                  <a:cubicBezTo>
                    <a:pt x="133" y="147"/>
                    <a:pt x="133" y="147"/>
                    <a:pt x="133" y="147"/>
                  </a:cubicBezTo>
                  <a:cubicBezTo>
                    <a:pt x="133" y="147"/>
                    <a:pt x="134" y="149"/>
                    <a:pt x="134" y="149"/>
                  </a:cubicBezTo>
                  <a:cubicBezTo>
                    <a:pt x="133" y="149"/>
                    <a:pt x="132" y="149"/>
                    <a:pt x="132" y="149"/>
                  </a:cubicBezTo>
                  <a:cubicBezTo>
                    <a:pt x="131" y="149"/>
                    <a:pt x="128" y="148"/>
                    <a:pt x="128" y="148"/>
                  </a:cubicBezTo>
                  <a:cubicBezTo>
                    <a:pt x="126" y="146"/>
                    <a:pt x="126" y="146"/>
                    <a:pt x="126" y="146"/>
                  </a:cubicBezTo>
                  <a:cubicBezTo>
                    <a:pt x="124" y="146"/>
                    <a:pt x="124" y="146"/>
                    <a:pt x="124" y="146"/>
                  </a:cubicBezTo>
                  <a:cubicBezTo>
                    <a:pt x="122" y="146"/>
                    <a:pt x="122" y="146"/>
                    <a:pt x="122" y="146"/>
                  </a:cubicBezTo>
                  <a:cubicBezTo>
                    <a:pt x="119" y="146"/>
                    <a:pt x="119" y="146"/>
                    <a:pt x="119" y="146"/>
                  </a:cubicBezTo>
                  <a:cubicBezTo>
                    <a:pt x="117" y="145"/>
                    <a:pt x="117" y="145"/>
                    <a:pt x="117" y="145"/>
                  </a:cubicBezTo>
                  <a:cubicBezTo>
                    <a:pt x="117" y="145"/>
                    <a:pt x="116" y="146"/>
                    <a:pt x="116" y="146"/>
                  </a:cubicBezTo>
                  <a:cubicBezTo>
                    <a:pt x="116" y="146"/>
                    <a:pt x="116" y="147"/>
                    <a:pt x="116" y="147"/>
                  </a:cubicBezTo>
                  <a:cubicBezTo>
                    <a:pt x="115" y="148"/>
                    <a:pt x="115" y="148"/>
                    <a:pt x="115" y="148"/>
                  </a:cubicBezTo>
                  <a:cubicBezTo>
                    <a:pt x="111" y="149"/>
                    <a:pt x="111" y="149"/>
                    <a:pt x="111" y="149"/>
                  </a:cubicBezTo>
                  <a:cubicBezTo>
                    <a:pt x="108" y="149"/>
                    <a:pt x="108" y="149"/>
                    <a:pt x="108" y="149"/>
                  </a:cubicBezTo>
                  <a:cubicBezTo>
                    <a:pt x="105" y="149"/>
                    <a:pt x="105" y="149"/>
                    <a:pt x="105" y="149"/>
                  </a:cubicBezTo>
                  <a:cubicBezTo>
                    <a:pt x="105" y="151"/>
                    <a:pt x="105" y="151"/>
                    <a:pt x="105" y="151"/>
                  </a:cubicBezTo>
                  <a:cubicBezTo>
                    <a:pt x="105" y="151"/>
                    <a:pt x="102" y="151"/>
                    <a:pt x="105" y="152"/>
                  </a:cubicBezTo>
                  <a:cubicBezTo>
                    <a:pt x="108" y="152"/>
                    <a:pt x="110" y="152"/>
                    <a:pt x="110" y="151"/>
                  </a:cubicBezTo>
                  <a:cubicBezTo>
                    <a:pt x="111" y="151"/>
                    <a:pt x="111" y="150"/>
                    <a:pt x="111" y="150"/>
                  </a:cubicBezTo>
                  <a:cubicBezTo>
                    <a:pt x="112" y="150"/>
                    <a:pt x="114" y="150"/>
                    <a:pt x="115" y="150"/>
                  </a:cubicBezTo>
                  <a:cubicBezTo>
                    <a:pt x="115" y="150"/>
                    <a:pt x="116" y="150"/>
                    <a:pt x="117" y="150"/>
                  </a:cubicBezTo>
                  <a:cubicBezTo>
                    <a:pt x="119" y="150"/>
                    <a:pt x="119" y="149"/>
                    <a:pt x="120" y="150"/>
                  </a:cubicBezTo>
                  <a:cubicBezTo>
                    <a:pt x="121" y="150"/>
                    <a:pt x="121" y="148"/>
                    <a:pt x="121" y="148"/>
                  </a:cubicBezTo>
                  <a:cubicBezTo>
                    <a:pt x="121" y="148"/>
                    <a:pt x="120" y="147"/>
                    <a:pt x="122" y="147"/>
                  </a:cubicBezTo>
                  <a:cubicBezTo>
                    <a:pt x="123" y="148"/>
                    <a:pt x="123" y="148"/>
                    <a:pt x="123" y="148"/>
                  </a:cubicBezTo>
                  <a:cubicBezTo>
                    <a:pt x="124" y="148"/>
                    <a:pt x="125" y="149"/>
                    <a:pt x="126" y="149"/>
                  </a:cubicBezTo>
                  <a:cubicBezTo>
                    <a:pt x="126" y="149"/>
                    <a:pt x="129" y="149"/>
                    <a:pt x="129" y="149"/>
                  </a:cubicBezTo>
                  <a:cubicBezTo>
                    <a:pt x="129" y="149"/>
                    <a:pt x="130" y="152"/>
                    <a:pt x="130" y="152"/>
                  </a:cubicBezTo>
                  <a:cubicBezTo>
                    <a:pt x="131" y="152"/>
                    <a:pt x="133" y="152"/>
                    <a:pt x="134" y="152"/>
                  </a:cubicBezTo>
                  <a:cubicBezTo>
                    <a:pt x="135" y="152"/>
                    <a:pt x="137" y="152"/>
                    <a:pt x="137" y="152"/>
                  </a:cubicBezTo>
                  <a:cubicBezTo>
                    <a:pt x="138" y="153"/>
                    <a:pt x="139" y="153"/>
                    <a:pt x="139" y="153"/>
                  </a:cubicBezTo>
                  <a:cubicBezTo>
                    <a:pt x="139" y="153"/>
                    <a:pt x="140" y="154"/>
                    <a:pt x="140" y="155"/>
                  </a:cubicBezTo>
                  <a:cubicBezTo>
                    <a:pt x="141" y="155"/>
                    <a:pt x="143" y="157"/>
                    <a:pt x="143" y="157"/>
                  </a:cubicBezTo>
                  <a:cubicBezTo>
                    <a:pt x="143" y="157"/>
                    <a:pt x="147" y="158"/>
                    <a:pt x="147" y="158"/>
                  </a:cubicBezTo>
                  <a:cubicBezTo>
                    <a:pt x="148" y="158"/>
                    <a:pt x="148" y="158"/>
                    <a:pt x="148" y="157"/>
                  </a:cubicBezTo>
                  <a:cubicBezTo>
                    <a:pt x="148" y="157"/>
                    <a:pt x="148" y="156"/>
                    <a:pt x="148" y="156"/>
                  </a:cubicBezTo>
                  <a:cubicBezTo>
                    <a:pt x="147" y="155"/>
                    <a:pt x="144" y="154"/>
                    <a:pt x="144" y="154"/>
                  </a:cubicBezTo>
                  <a:cubicBezTo>
                    <a:pt x="144" y="154"/>
                    <a:pt x="142" y="154"/>
                    <a:pt x="142" y="153"/>
                  </a:cubicBezTo>
                  <a:cubicBezTo>
                    <a:pt x="141" y="150"/>
                    <a:pt x="142" y="153"/>
                    <a:pt x="140" y="152"/>
                  </a:cubicBezTo>
                  <a:cubicBezTo>
                    <a:pt x="140" y="152"/>
                    <a:pt x="140" y="152"/>
                    <a:pt x="140" y="152"/>
                  </a:cubicBezTo>
                  <a:cubicBezTo>
                    <a:pt x="139" y="152"/>
                    <a:pt x="139" y="152"/>
                    <a:pt x="139" y="152"/>
                  </a:cubicBezTo>
                  <a:cubicBezTo>
                    <a:pt x="139" y="153"/>
                    <a:pt x="139" y="152"/>
                    <a:pt x="139" y="152"/>
                  </a:cubicBezTo>
                  <a:cubicBezTo>
                    <a:pt x="138" y="151"/>
                    <a:pt x="138" y="151"/>
                    <a:pt x="138" y="151"/>
                  </a:cubicBezTo>
                  <a:cubicBezTo>
                    <a:pt x="138" y="150"/>
                    <a:pt x="138" y="150"/>
                    <a:pt x="138" y="150"/>
                  </a:cubicBezTo>
                  <a:cubicBezTo>
                    <a:pt x="138" y="150"/>
                    <a:pt x="136" y="149"/>
                    <a:pt x="137" y="148"/>
                  </a:cubicBezTo>
                  <a:cubicBezTo>
                    <a:pt x="138" y="148"/>
                    <a:pt x="137" y="152"/>
                    <a:pt x="140" y="147"/>
                  </a:cubicBezTo>
                  <a:cubicBezTo>
                    <a:pt x="140" y="147"/>
                    <a:pt x="140" y="146"/>
                    <a:pt x="140" y="146"/>
                  </a:cubicBezTo>
                  <a:cubicBezTo>
                    <a:pt x="139" y="146"/>
                    <a:pt x="139" y="146"/>
                    <a:pt x="139" y="146"/>
                  </a:cubicBezTo>
                  <a:cubicBezTo>
                    <a:pt x="137" y="146"/>
                    <a:pt x="137" y="146"/>
                    <a:pt x="137" y="146"/>
                  </a:cubicBezTo>
                  <a:cubicBezTo>
                    <a:pt x="137" y="146"/>
                    <a:pt x="136" y="147"/>
                    <a:pt x="136" y="148"/>
                  </a:cubicBezTo>
                  <a:cubicBezTo>
                    <a:pt x="135" y="149"/>
                    <a:pt x="135" y="148"/>
                    <a:pt x="135" y="148"/>
                  </a:cubicBezTo>
                  <a:cubicBezTo>
                    <a:pt x="135" y="147"/>
                    <a:pt x="135" y="147"/>
                    <a:pt x="135" y="147"/>
                  </a:cubicBezTo>
                  <a:cubicBezTo>
                    <a:pt x="136" y="146"/>
                    <a:pt x="136" y="146"/>
                    <a:pt x="136" y="146"/>
                  </a:cubicBezTo>
                  <a:cubicBezTo>
                    <a:pt x="136" y="146"/>
                    <a:pt x="136" y="144"/>
                    <a:pt x="136" y="143"/>
                  </a:cubicBezTo>
                  <a:cubicBezTo>
                    <a:pt x="136" y="143"/>
                    <a:pt x="136" y="143"/>
                    <a:pt x="136" y="143"/>
                  </a:cubicBezTo>
                  <a:cubicBezTo>
                    <a:pt x="133" y="141"/>
                    <a:pt x="133" y="141"/>
                    <a:pt x="133" y="141"/>
                  </a:cubicBezTo>
                  <a:cubicBezTo>
                    <a:pt x="132" y="140"/>
                    <a:pt x="132" y="140"/>
                    <a:pt x="132" y="140"/>
                  </a:cubicBezTo>
                  <a:cubicBezTo>
                    <a:pt x="130" y="138"/>
                    <a:pt x="130" y="138"/>
                    <a:pt x="130" y="138"/>
                  </a:cubicBezTo>
                  <a:cubicBezTo>
                    <a:pt x="126" y="135"/>
                    <a:pt x="126" y="135"/>
                    <a:pt x="126" y="135"/>
                  </a:cubicBezTo>
                  <a:cubicBezTo>
                    <a:pt x="124" y="134"/>
                    <a:pt x="124" y="134"/>
                    <a:pt x="124" y="134"/>
                  </a:cubicBezTo>
                  <a:cubicBezTo>
                    <a:pt x="123" y="132"/>
                    <a:pt x="123" y="132"/>
                    <a:pt x="123" y="132"/>
                  </a:cubicBezTo>
                  <a:cubicBezTo>
                    <a:pt x="123" y="131"/>
                    <a:pt x="123" y="131"/>
                    <a:pt x="123" y="131"/>
                  </a:cubicBezTo>
                  <a:cubicBezTo>
                    <a:pt x="122" y="128"/>
                    <a:pt x="122" y="128"/>
                    <a:pt x="122" y="128"/>
                  </a:cubicBezTo>
                  <a:cubicBezTo>
                    <a:pt x="122" y="128"/>
                    <a:pt x="122" y="128"/>
                    <a:pt x="122" y="128"/>
                  </a:cubicBezTo>
                  <a:cubicBezTo>
                    <a:pt x="122" y="128"/>
                    <a:pt x="119" y="127"/>
                    <a:pt x="118" y="126"/>
                  </a:cubicBezTo>
                  <a:cubicBezTo>
                    <a:pt x="116" y="125"/>
                    <a:pt x="116" y="125"/>
                    <a:pt x="116" y="125"/>
                  </a:cubicBezTo>
                  <a:cubicBezTo>
                    <a:pt x="114" y="123"/>
                    <a:pt x="114" y="123"/>
                    <a:pt x="114" y="123"/>
                  </a:cubicBezTo>
                  <a:cubicBezTo>
                    <a:pt x="113" y="122"/>
                    <a:pt x="113" y="122"/>
                    <a:pt x="113" y="122"/>
                  </a:cubicBezTo>
                  <a:cubicBezTo>
                    <a:pt x="111" y="120"/>
                    <a:pt x="111" y="120"/>
                    <a:pt x="111" y="120"/>
                  </a:cubicBezTo>
                  <a:cubicBezTo>
                    <a:pt x="111" y="119"/>
                    <a:pt x="111" y="119"/>
                    <a:pt x="111" y="119"/>
                  </a:cubicBezTo>
                  <a:cubicBezTo>
                    <a:pt x="106" y="118"/>
                    <a:pt x="106" y="118"/>
                    <a:pt x="106" y="118"/>
                  </a:cubicBezTo>
                  <a:cubicBezTo>
                    <a:pt x="105" y="116"/>
                    <a:pt x="105" y="116"/>
                    <a:pt x="105" y="116"/>
                  </a:cubicBezTo>
                  <a:cubicBezTo>
                    <a:pt x="104" y="116"/>
                    <a:pt x="104" y="116"/>
                    <a:pt x="104" y="116"/>
                  </a:cubicBezTo>
                  <a:cubicBezTo>
                    <a:pt x="103" y="114"/>
                    <a:pt x="103" y="114"/>
                    <a:pt x="103" y="114"/>
                  </a:cubicBezTo>
                  <a:cubicBezTo>
                    <a:pt x="101" y="113"/>
                    <a:pt x="101" y="113"/>
                    <a:pt x="101" y="113"/>
                  </a:cubicBezTo>
                  <a:cubicBezTo>
                    <a:pt x="100" y="112"/>
                    <a:pt x="100" y="112"/>
                    <a:pt x="100" y="112"/>
                  </a:cubicBezTo>
                  <a:cubicBezTo>
                    <a:pt x="99" y="111"/>
                    <a:pt x="99" y="111"/>
                    <a:pt x="99" y="111"/>
                  </a:cubicBezTo>
                  <a:cubicBezTo>
                    <a:pt x="97" y="108"/>
                    <a:pt x="97" y="108"/>
                    <a:pt x="97" y="108"/>
                  </a:cubicBezTo>
                  <a:cubicBezTo>
                    <a:pt x="94" y="106"/>
                    <a:pt x="94" y="106"/>
                    <a:pt x="94" y="106"/>
                  </a:cubicBezTo>
                  <a:cubicBezTo>
                    <a:pt x="93" y="105"/>
                    <a:pt x="93" y="105"/>
                    <a:pt x="93" y="105"/>
                  </a:cubicBezTo>
                  <a:cubicBezTo>
                    <a:pt x="92" y="105"/>
                    <a:pt x="92" y="105"/>
                    <a:pt x="92" y="105"/>
                  </a:cubicBezTo>
                  <a:cubicBezTo>
                    <a:pt x="91" y="102"/>
                    <a:pt x="91" y="102"/>
                    <a:pt x="91" y="102"/>
                  </a:cubicBezTo>
                  <a:cubicBezTo>
                    <a:pt x="88" y="99"/>
                    <a:pt x="88" y="99"/>
                    <a:pt x="88" y="99"/>
                  </a:cubicBezTo>
                  <a:cubicBezTo>
                    <a:pt x="87" y="98"/>
                    <a:pt x="87" y="98"/>
                    <a:pt x="87" y="98"/>
                  </a:cubicBezTo>
                  <a:cubicBezTo>
                    <a:pt x="85" y="96"/>
                    <a:pt x="85" y="96"/>
                    <a:pt x="85" y="96"/>
                  </a:cubicBezTo>
                  <a:cubicBezTo>
                    <a:pt x="86" y="94"/>
                    <a:pt x="86" y="94"/>
                    <a:pt x="86" y="94"/>
                  </a:cubicBezTo>
                  <a:cubicBezTo>
                    <a:pt x="86" y="93"/>
                    <a:pt x="85" y="93"/>
                    <a:pt x="85" y="93"/>
                  </a:cubicBezTo>
                  <a:cubicBezTo>
                    <a:pt x="84" y="92"/>
                    <a:pt x="83" y="91"/>
                    <a:pt x="83" y="91"/>
                  </a:cubicBezTo>
                  <a:cubicBezTo>
                    <a:pt x="84" y="90"/>
                    <a:pt x="83" y="89"/>
                    <a:pt x="83" y="87"/>
                  </a:cubicBezTo>
                  <a:cubicBezTo>
                    <a:pt x="83" y="87"/>
                    <a:pt x="83" y="86"/>
                    <a:pt x="82" y="86"/>
                  </a:cubicBezTo>
                  <a:cubicBezTo>
                    <a:pt x="81" y="85"/>
                    <a:pt x="81" y="85"/>
                    <a:pt x="81" y="85"/>
                  </a:cubicBezTo>
                  <a:cubicBezTo>
                    <a:pt x="80" y="85"/>
                    <a:pt x="80" y="85"/>
                    <a:pt x="80" y="85"/>
                  </a:cubicBezTo>
                  <a:cubicBezTo>
                    <a:pt x="79" y="85"/>
                    <a:pt x="79" y="85"/>
                    <a:pt x="79" y="85"/>
                  </a:cubicBezTo>
                  <a:cubicBezTo>
                    <a:pt x="79" y="85"/>
                    <a:pt x="79" y="83"/>
                    <a:pt x="79" y="82"/>
                  </a:cubicBezTo>
                  <a:cubicBezTo>
                    <a:pt x="77" y="81"/>
                    <a:pt x="77" y="81"/>
                    <a:pt x="77" y="81"/>
                  </a:cubicBezTo>
                  <a:cubicBezTo>
                    <a:pt x="77" y="81"/>
                    <a:pt x="76" y="79"/>
                    <a:pt x="75" y="78"/>
                  </a:cubicBezTo>
                  <a:cubicBezTo>
                    <a:pt x="73" y="78"/>
                    <a:pt x="73" y="78"/>
                    <a:pt x="73" y="78"/>
                  </a:cubicBezTo>
                  <a:cubicBezTo>
                    <a:pt x="73" y="79"/>
                    <a:pt x="72" y="79"/>
                    <a:pt x="72" y="79"/>
                  </a:cubicBezTo>
                  <a:cubicBezTo>
                    <a:pt x="69" y="77"/>
                    <a:pt x="69" y="77"/>
                    <a:pt x="69" y="77"/>
                  </a:cubicBezTo>
                  <a:cubicBezTo>
                    <a:pt x="69" y="77"/>
                    <a:pt x="69" y="75"/>
                    <a:pt x="70" y="74"/>
                  </a:cubicBezTo>
                  <a:cubicBezTo>
                    <a:pt x="72" y="72"/>
                    <a:pt x="70" y="72"/>
                    <a:pt x="70" y="72"/>
                  </a:cubicBezTo>
                  <a:cubicBezTo>
                    <a:pt x="69" y="69"/>
                    <a:pt x="69" y="69"/>
                    <a:pt x="69" y="69"/>
                  </a:cubicBezTo>
                  <a:cubicBezTo>
                    <a:pt x="70" y="67"/>
                    <a:pt x="70" y="67"/>
                    <a:pt x="70" y="67"/>
                  </a:cubicBezTo>
                  <a:cubicBezTo>
                    <a:pt x="69" y="66"/>
                    <a:pt x="69" y="66"/>
                    <a:pt x="69" y="66"/>
                  </a:cubicBezTo>
                  <a:cubicBezTo>
                    <a:pt x="69" y="66"/>
                    <a:pt x="69" y="66"/>
                    <a:pt x="69" y="66"/>
                  </a:cubicBezTo>
                  <a:cubicBezTo>
                    <a:pt x="69" y="66"/>
                    <a:pt x="69" y="66"/>
                    <a:pt x="69" y="66"/>
                  </a:cubicBezTo>
                  <a:cubicBezTo>
                    <a:pt x="69" y="66"/>
                    <a:pt x="69" y="66"/>
                    <a:pt x="69" y="66"/>
                  </a:cubicBezTo>
                  <a:cubicBezTo>
                    <a:pt x="70" y="63"/>
                    <a:pt x="70" y="63"/>
                    <a:pt x="70" y="63"/>
                  </a:cubicBezTo>
                  <a:cubicBezTo>
                    <a:pt x="70" y="63"/>
                    <a:pt x="69" y="59"/>
                    <a:pt x="70" y="59"/>
                  </a:cubicBezTo>
                  <a:cubicBezTo>
                    <a:pt x="70" y="59"/>
                    <a:pt x="70" y="58"/>
                    <a:pt x="70" y="58"/>
                  </a:cubicBezTo>
                  <a:cubicBezTo>
                    <a:pt x="70" y="58"/>
                    <a:pt x="70" y="58"/>
                    <a:pt x="70" y="58"/>
                  </a:cubicBezTo>
                  <a:cubicBezTo>
                    <a:pt x="71" y="57"/>
                    <a:pt x="74" y="56"/>
                    <a:pt x="74" y="56"/>
                  </a:cubicBezTo>
                  <a:cubicBezTo>
                    <a:pt x="76" y="56"/>
                    <a:pt x="76" y="56"/>
                    <a:pt x="76" y="56"/>
                  </a:cubicBezTo>
                  <a:cubicBezTo>
                    <a:pt x="80" y="60"/>
                    <a:pt x="80" y="60"/>
                    <a:pt x="80" y="60"/>
                  </a:cubicBezTo>
                  <a:cubicBezTo>
                    <a:pt x="82" y="63"/>
                    <a:pt x="82" y="63"/>
                    <a:pt x="82" y="63"/>
                  </a:cubicBezTo>
                  <a:cubicBezTo>
                    <a:pt x="85" y="64"/>
                    <a:pt x="85" y="64"/>
                    <a:pt x="85" y="64"/>
                  </a:cubicBezTo>
                  <a:cubicBezTo>
                    <a:pt x="85" y="64"/>
                    <a:pt x="86" y="64"/>
                    <a:pt x="87" y="63"/>
                  </a:cubicBezTo>
                  <a:cubicBezTo>
                    <a:pt x="87" y="62"/>
                    <a:pt x="87" y="61"/>
                    <a:pt x="87" y="61"/>
                  </a:cubicBezTo>
                  <a:cubicBezTo>
                    <a:pt x="88" y="59"/>
                    <a:pt x="88" y="59"/>
                    <a:pt x="88" y="59"/>
                  </a:cubicBezTo>
                  <a:cubicBezTo>
                    <a:pt x="89" y="58"/>
                    <a:pt x="89" y="58"/>
                    <a:pt x="89" y="58"/>
                  </a:cubicBezTo>
                  <a:cubicBezTo>
                    <a:pt x="90" y="57"/>
                    <a:pt x="90" y="57"/>
                    <a:pt x="90" y="57"/>
                  </a:cubicBezTo>
                  <a:cubicBezTo>
                    <a:pt x="91" y="55"/>
                    <a:pt x="91" y="55"/>
                    <a:pt x="91" y="55"/>
                  </a:cubicBezTo>
                  <a:cubicBezTo>
                    <a:pt x="94" y="55"/>
                    <a:pt x="94" y="55"/>
                    <a:pt x="94" y="55"/>
                  </a:cubicBezTo>
                  <a:cubicBezTo>
                    <a:pt x="96" y="54"/>
                    <a:pt x="96" y="54"/>
                    <a:pt x="96" y="54"/>
                  </a:cubicBezTo>
                  <a:cubicBezTo>
                    <a:pt x="96" y="54"/>
                    <a:pt x="99" y="54"/>
                    <a:pt x="100" y="54"/>
                  </a:cubicBezTo>
                  <a:cubicBezTo>
                    <a:pt x="100" y="54"/>
                    <a:pt x="100" y="54"/>
                    <a:pt x="101" y="54"/>
                  </a:cubicBezTo>
                  <a:cubicBezTo>
                    <a:pt x="102" y="52"/>
                    <a:pt x="102" y="52"/>
                    <a:pt x="102" y="52"/>
                  </a:cubicBezTo>
                  <a:cubicBezTo>
                    <a:pt x="102" y="52"/>
                    <a:pt x="102" y="52"/>
                    <a:pt x="102" y="52"/>
                  </a:cubicBezTo>
                  <a:cubicBezTo>
                    <a:pt x="103" y="51"/>
                    <a:pt x="103" y="51"/>
                    <a:pt x="103" y="51"/>
                  </a:cubicBezTo>
                  <a:cubicBezTo>
                    <a:pt x="107" y="52"/>
                    <a:pt x="107" y="52"/>
                    <a:pt x="107" y="52"/>
                  </a:cubicBezTo>
                  <a:cubicBezTo>
                    <a:pt x="109" y="54"/>
                    <a:pt x="109" y="54"/>
                    <a:pt x="109" y="54"/>
                  </a:cubicBezTo>
                  <a:cubicBezTo>
                    <a:pt x="112" y="55"/>
                    <a:pt x="112" y="55"/>
                    <a:pt x="112" y="55"/>
                  </a:cubicBezTo>
                  <a:cubicBezTo>
                    <a:pt x="112" y="55"/>
                    <a:pt x="112" y="55"/>
                    <a:pt x="112" y="55"/>
                  </a:cubicBezTo>
                  <a:cubicBezTo>
                    <a:pt x="114" y="54"/>
                    <a:pt x="114" y="54"/>
                    <a:pt x="114" y="54"/>
                  </a:cubicBezTo>
                  <a:cubicBezTo>
                    <a:pt x="114" y="54"/>
                    <a:pt x="114" y="54"/>
                    <a:pt x="114" y="54"/>
                  </a:cubicBezTo>
                  <a:cubicBezTo>
                    <a:pt x="118" y="53"/>
                    <a:pt x="118" y="53"/>
                    <a:pt x="118" y="53"/>
                  </a:cubicBezTo>
                  <a:cubicBezTo>
                    <a:pt x="121" y="55"/>
                    <a:pt x="121" y="55"/>
                    <a:pt x="121" y="55"/>
                  </a:cubicBezTo>
                  <a:cubicBezTo>
                    <a:pt x="124" y="54"/>
                    <a:pt x="124" y="54"/>
                    <a:pt x="124" y="54"/>
                  </a:cubicBezTo>
                  <a:cubicBezTo>
                    <a:pt x="128" y="55"/>
                    <a:pt x="128" y="55"/>
                    <a:pt x="128" y="55"/>
                  </a:cubicBezTo>
                  <a:cubicBezTo>
                    <a:pt x="130" y="55"/>
                    <a:pt x="130" y="55"/>
                    <a:pt x="130" y="55"/>
                  </a:cubicBezTo>
                  <a:cubicBezTo>
                    <a:pt x="132" y="56"/>
                    <a:pt x="132" y="56"/>
                    <a:pt x="132" y="56"/>
                  </a:cubicBezTo>
                  <a:cubicBezTo>
                    <a:pt x="132" y="56"/>
                    <a:pt x="132" y="56"/>
                    <a:pt x="132" y="56"/>
                  </a:cubicBezTo>
                  <a:cubicBezTo>
                    <a:pt x="133" y="55"/>
                    <a:pt x="135" y="55"/>
                    <a:pt x="135" y="55"/>
                  </a:cubicBezTo>
                  <a:cubicBezTo>
                    <a:pt x="136" y="53"/>
                    <a:pt x="136" y="53"/>
                    <a:pt x="136" y="53"/>
                  </a:cubicBezTo>
                  <a:cubicBezTo>
                    <a:pt x="137" y="55"/>
                    <a:pt x="137" y="55"/>
                    <a:pt x="137" y="55"/>
                  </a:cubicBezTo>
                  <a:cubicBezTo>
                    <a:pt x="138" y="54"/>
                    <a:pt x="139" y="54"/>
                    <a:pt x="139" y="54"/>
                  </a:cubicBezTo>
                  <a:cubicBezTo>
                    <a:pt x="140" y="52"/>
                    <a:pt x="140" y="52"/>
                    <a:pt x="140" y="52"/>
                  </a:cubicBezTo>
                  <a:cubicBezTo>
                    <a:pt x="141" y="53"/>
                    <a:pt x="141" y="53"/>
                    <a:pt x="141" y="53"/>
                  </a:cubicBezTo>
                  <a:cubicBezTo>
                    <a:pt x="141" y="53"/>
                    <a:pt x="142" y="53"/>
                    <a:pt x="142" y="53"/>
                  </a:cubicBezTo>
                  <a:cubicBezTo>
                    <a:pt x="143" y="53"/>
                    <a:pt x="144" y="53"/>
                    <a:pt x="144" y="53"/>
                  </a:cubicBezTo>
                  <a:cubicBezTo>
                    <a:pt x="144" y="53"/>
                    <a:pt x="144" y="53"/>
                    <a:pt x="145" y="53"/>
                  </a:cubicBezTo>
                  <a:cubicBezTo>
                    <a:pt x="145" y="53"/>
                    <a:pt x="146" y="52"/>
                    <a:pt x="146" y="52"/>
                  </a:cubicBezTo>
                  <a:cubicBezTo>
                    <a:pt x="148" y="52"/>
                    <a:pt x="149" y="52"/>
                    <a:pt x="149" y="52"/>
                  </a:cubicBezTo>
                  <a:cubicBezTo>
                    <a:pt x="149" y="52"/>
                    <a:pt x="150" y="53"/>
                    <a:pt x="151" y="54"/>
                  </a:cubicBezTo>
                  <a:cubicBezTo>
                    <a:pt x="151" y="54"/>
                    <a:pt x="151" y="54"/>
                    <a:pt x="151" y="54"/>
                  </a:cubicBezTo>
                  <a:cubicBezTo>
                    <a:pt x="153" y="54"/>
                    <a:pt x="153" y="54"/>
                    <a:pt x="153" y="54"/>
                  </a:cubicBezTo>
                  <a:cubicBezTo>
                    <a:pt x="153" y="54"/>
                    <a:pt x="153" y="54"/>
                    <a:pt x="153" y="54"/>
                  </a:cubicBezTo>
                  <a:cubicBezTo>
                    <a:pt x="153" y="53"/>
                    <a:pt x="153" y="53"/>
                    <a:pt x="154" y="53"/>
                  </a:cubicBezTo>
                  <a:cubicBezTo>
                    <a:pt x="156" y="53"/>
                    <a:pt x="157" y="53"/>
                    <a:pt x="158" y="53"/>
                  </a:cubicBezTo>
                  <a:cubicBezTo>
                    <a:pt x="159" y="53"/>
                    <a:pt x="160" y="55"/>
                    <a:pt x="160" y="55"/>
                  </a:cubicBezTo>
                  <a:cubicBezTo>
                    <a:pt x="162" y="57"/>
                    <a:pt x="162" y="57"/>
                    <a:pt x="162" y="57"/>
                  </a:cubicBezTo>
                  <a:cubicBezTo>
                    <a:pt x="162" y="57"/>
                    <a:pt x="163" y="59"/>
                    <a:pt x="163" y="60"/>
                  </a:cubicBezTo>
                  <a:cubicBezTo>
                    <a:pt x="164" y="60"/>
                    <a:pt x="164" y="61"/>
                    <a:pt x="164" y="61"/>
                  </a:cubicBezTo>
                  <a:cubicBezTo>
                    <a:pt x="164" y="61"/>
                    <a:pt x="171" y="63"/>
                    <a:pt x="171" y="63"/>
                  </a:cubicBezTo>
                  <a:cubicBezTo>
                    <a:pt x="171" y="63"/>
                    <a:pt x="172" y="63"/>
                    <a:pt x="172" y="63"/>
                  </a:cubicBezTo>
                  <a:cubicBezTo>
                    <a:pt x="172" y="62"/>
                    <a:pt x="172" y="61"/>
                    <a:pt x="173" y="61"/>
                  </a:cubicBezTo>
                  <a:cubicBezTo>
                    <a:pt x="173" y="60"/>
                    <a:pt x="175" y="62"/>
                    <a:pt x="175" y="60"/>
                  </a:cubicBezTo>
                  <a:cubicBezTo>
                    <a:pt x="175" y="59"/>
                    <a:pt x="175" y="59"/>
                    <a:pt x="175" y="58"/>
                  </a:cubicBezTo>
                  <a:cubicBezTo>
                    <a:pt x="175" y="58"/>
                    <a:pt x="175" y="58"/>
                    <a:pt x="175" y="58"/>
                  </a:cubicBezTo>
                  <a:cubicBezTo>
                    <a:pt x="175" y="58"/>
                    <a:pt x="175" y="58"/>
                    <a:pt x="175" y="58"/>
                  </a:cubicBezTo>
                  <a:cubicBezTo>
                    <a:pt x="175" y="58"/>
                    <a:pt x="174" y="60"/>
                    <a:pt x="174" y="60"/>
                  </a:cubicBezTo>
                  <a:cubicBezTo>
                    <a:pt x="173" y="60"/>
                    <a:pt x="173" y="60"/>
                    <a:pt x="172" y="60"/>
                  </a:cubicBezTo>
                  <a:cubicBezTo>
                    <a:pt x="171" y="60"/>
                    <a:pt x="171" y="59"/>
                    <a:pt x="171" y="59"/>
                  </a:cubicBezTo>
                  <a:cubicBezTo>
                    <a:pt x="173" y="57"/>
                    <a:pt x="173" y="57"/>
                    <a:pt x="173" y="57"/>
                  </a:cubicBezTo>
                  <a:cubicBezTo>
                    <a:pt x="173" y="54"/>
                    <a:pt x="173" y="54"/>
                    <a:pt x="173" y="54"/>
                  </a:cubicBezTo>
                  <a:cubicBezTo>
                    <a:pt x="173" y="54"/>
                    <a:pt x="172" y="53"/>
                    <a:pt x="171" y="52"/>
                  </a:cubicBezTo>
                  <a:cubicBezTo>
                    <a:pt x="171" y="51"/>
                    <a:pt x="170" y="50"/>
                    <a:pt x="170" y="50"/>
                  </a:cubicBezTo>
                  <a:cubicBezTo>
                    <a:pt x="172" y="48"/>
                    <a:pt x="172" y="48"/>
                    <a:pt x="172" y="48"/>
                  </a:cubicBezTo>
                  <a:cubicBezTo>
                    <a:pt x="172" y="48"/>
                    <a:pt x="172" y="48"/>
                    <a:pt x="172" y="48"/>
                  </a:cubicBezTo>
                  <a:cubicBezTo>
                    <a:pt x="173" y="47"/>
                    <a:pt x="173" y="47"/>
                    <a:pt x="173" y="47"/>
                  </a:cubicBezTo>
                  <a:cubicBezTo>
                    <a:pt x="173" y="47"/>
                    <a:pt x="174" y="48"/>
                    <a:pt x="176" y="48"/>
                  </a:cubicBezTo>
                  <a:cubicBezTo>
                    <a:pt x="177" y="48"/>
                    <a:pt x="176" y="48"/>
                    <a:pt x="178" y="48"/>
                  </a:cubicBezTo>
                  <a:cubicBezTo>
                    <a:pt x="179" y="47"/>
                    <a:pt x="181" y="45"/>
                    <a:pt x="181" y="45"/>
                  </a:cubicBezTo>
                  <a:cubicBezTo>
                    <a:pt x="181" y="45"/>
                    <a:pt x="180" y="43"/>
                    <a:pt x="179" y="44"/>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Freeform 30"/>
            <p:cNvSpPr>
              <a:spLocks/>
            </p:cNvSpPr>
            <p:nvPr/>
          </p:nvSpPr>
          <p:spPr bwMode="auto">
            <a:xfrm>
              <a:off x="5742572" y="3646219"/>
              <a:ext cx="817387" cy="648121"/>
            </a:xfrm>
            <a:custGeom>
              <a:avLst/>
              <a:gdLst>
                <a:gd name="T0" fmla="*/ 263 w 282"/>
                <a:gd name="T1" fmla="*/ 130 h 237"/>
                <a:gd name="T2" fmla="*/ 255 w 282"/>
                <a:gd name="T3" fmla="*/ 112 h 237"/>
                <a:gd name="T4" fmla="*/ 242 w 282"/>
                <a:gd name="T5" fmla="*/ 90 h 237"/>
                <a:gd name="T6" fmla="*/ 256 w 282"/>
                <a:gd name="T7" fmla="*/ 63 h 237"/>
                <a:gd name="T8" fmla="*/ 235 w 282"/>
                <a:gd name="T9" fmla="*/ 20 h 237"/>
                <a:gd name="T10" fmla="*/ 216 w 282"/>
                <a:gd name="T11" fmla="*/ 3 h 237"/>
                <a:gd name="T12" fmla="*/ 155 w 282"/>
                <a:gd name="T13" fmla="*/ 13 h 237"/>
                <a:gd name="T14" fmla="*/ 118 w 282"/>
                <a:gd name="T15" fmla="*/ 20 h 237"/>
                <a:gd name="T16" fmla="*/ 103 w 282"/>
                <a:gd name="T17" fmla="*/ 6 h 237"/>
                <a:gd name="T18" fmla="*/ 76 w 282"/>
                <a:gd name="T19" fmla="*/ 8 h 237"/>
                <a:gd name="T20" fmla="*/ 53 w 282"/>
                <a:gd name="T21" fmla="*/ 23 h 237"/>
                <a:gd name="T22" fmla="*/ 36 w 282"/>
                <a:gd name="T23" fmla="*/ 37 h 237"/>
                <a:gd name="T24" fmla="*/ 1 w 282"/>
                <a:gd name="T25" fmla="*/ 52 h 237"/>
                <a:gd name="T26" fmla="*/ 4 w 282"/>
                <a:gd name="T27" fmla="*/ 59 h 237"/>
                <a:gd name="T28" fmla="*/ 9 w 282"/>
                <a:gd name="T29" fmla="*/ 82 h 237"/>
                <a:gd name="T30" fmla="*/ 15 w 282"/>
                <a:gd name="T31" fmla="*/ 105 h 237"/>
                <a:gd name="T32" fmla="*/ 21 w 282"/>
                <a:gd name="T33" fmla="*/ 131 h 237"/>
                <a:gd name="T34" fmla="*/ 25 w 282"/>
                <a:gd name="T35" fmla="*/ 147 h 237"/>
                <a:gd name="T36" fmla="*/ 30 w 282"/>
                <a:gd name="T37" fmla="*/ 156 h 237"/>
                <a:gd name="T38" fmla="*/ 35 w 282"/>
                <a:gd name="T39" fmla="*/ 166 h 237"/>
                <a:gd name="T40" fmla="*/ 36 w 282"/>
                <a:gd name="T41" fmla="*/ 174 h 237"/>
                <a:gd name="T42" fmla="*/ 42 w 282"/>
                <a:gd name="T43" fmla="*/ 180 h 237"/>
                <a:gd name="T44" fmla="*/ 52 w 282"/>
                <a:gd name="T45" fmla="*/ 184 h 237"/>
                <a:gd name="T46" fmla="*/ 61 w 282"/>
                <a:gd name="T47" fmla="*/ 185 h 237"/>
                <a:gd name="T48" fmla="*/ 73 w 282"/>
                <a:gd name="T49" fmla="*/ 192 h 237"/>
                <a:gd name="T50" fmla="*/ 80 w 282"/>
                <a:gd name="T51" fmla="*/ 207 h 237"/>
                <a:gd name="T52" fmla="*/ 84 w 282"/>
                <a:gd name="T53" fmla="*/ 195 h 237"/>
                <a:gd name="T54" fmla="*/ 95 w 282"/>
                <a:gd name="T55" fmla="*/ 194 h 237"/>
                <a:gd name="T56" fmla="*/ 108 w 282"/>
                <a:gd name="T57" fmla="*/ 195 h 237"/>
                <a:gd name="T58" fmla="*/ 112 w 282"/>
                <a:gd name="T59" fmla="*/ 207 h 237"/>
                <a:gd name="T60" fmla="*/ 125 w 282"/>
                <a:gd name="T61" fmla="*/ 209 h 237"/>
                <a:gd name="T62" fmla="*/ 145 w 282"/>
                <a:gd name="T63" fmla="*/ 222 h 237"/>
                <a:gd name="T64" fmla="*/ 148 w 282"/>
                <a:gd name="T65" fmla="*/ 233 h 237"/>
                <a:gd name="T66" fmla="*/ 158 w 282"/>
                <a:gd name="T67" fmla="*/ 224 h 237"/>
                <a:gd name="T68" fmla="*/ 169 w 282"/>
                <a:gd name="T69" fmla="*/ 230 h 237"/>
                <a:gd name="T70" fmla="*/ 171 w 282"/>
                <a:gd name="T71" fmla="*/ 237 h 237"/>
                <a:gd name="T72" fmla="*/ 178 w 282"/>
                <a:gd name="T73" fmla="*/ 235 h 237"/>
                <a:gd name="T74" fmla="*/ 181 w 282"/>
                <a:gd name="T75" fmla="*/ 233 h 237"/>
                <a:gd name="T76" fmla="*/ 185 w 282"/>
                <a:gd name="T77" fmla="*/ 229 h 237"/>
                <a:gd name="T78" fmla="*/ 190 w 282"/>
                <a:gd name="T79" fmla="*/ 225 h 237"/>
                <a:gd name="T80" fmla="*/ 194 w 282"/>
                <a:gd name="T81" fmla="*/ 224 h 237"/>
                <a:gd name="T82" fmla="*/ 200 w 282"/>
                <a:gd name="T83" fmla="*/ 227 h 237"/>
                <a:gd name="T84" fmla="*/ 205 w 282"/>
                <a:gd name="T85" fmla="*/ 225 h 237"/>
                <a:gd name="T86" fmla="*/ 210 w 282"/>
                <a:gd name="T87" fmla="*/ 221 h 237"/>
                <a:gd name="T88" fmla="*/ 216 w 282"/>
                <a:gd name="T89" fmla="*/ 220 h 237"/>
                <a:gd name="T90" fmla="*/ 225 w 282"/>
                <a:gd name="T91" fmla="*/ 220 h 237"/>
                <a:gd name="T92" fmla="*/ 232 w 282"/>
                <a:gd name="T93" fmla="*/ 220 h 237"/>
                <a:gd name="T94" fmla="*/ 237 w 282"/>
                <a:gd name="T95" fmla="*/ 226 h 237"/>
                <a:gd name="T96" fmla="*/ 243 w 282"/>
                <a:gd name="T97" fmla="*/ 227 h 237"/>
                <a:gd name="T98" fmla="*/ 251 w 282"/>
                <a:gd name="T99" fmla="*/ 229 h 237"/>
                <a:gd name="T100" fmla="*/ 260 w 282"/>
                <a:gd name="T101" fmla="*/ 229 h 237"/>
                <a:gd name="T102" fmla="*/ 255 w 282"/>
                <a:gd name="T103" fmla="*/ 220 h 237"/>
                <a:gd name="T104" fmla="*/ 263 w 282"/>
                <a:gd name="T105" fmla="*/ 189 h 237"/>
                <a:gd name="T106" fmla="*/ 278 w 282"/>
                <a:gd name="T107" fmla="*/ 167 h 237"/>
                <a:gd name="T108" fmla="*/ 277 w 282"/>
                <a:gd name="T109" fmla="*/ 14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2" h="237">
                  <a:moveTo>
                    <a:pt x="279" y="146"/>
                  </a:moveTo>
                  <a:cubicBezTo>
                    <a:pt x="278" y="145"/>
                    <a:pt x="278" y="142"/>
                    <a:pt x="276" y="142"/>
                  </a:cubicBezTo>
                  <a:cubicBezTo>
                    <a:pt x="274" y="141"/>
                    <a:pt x="272" y="140"/>
                    <a:pt x="271" y="140"/>
                  </a:cubicBezTo>
                  <a:cubicBezTo>
                    <a:pt x="269" y="139"/>
                    <a:pt x="270" y="136"/>
                    <a:pt x="270" y="136"/>
                  </a:cubicBezTo>
                  <a:cubicBezTo>
                    <a:pt x="270" y="136"/>
                    <a:pt x="266" y="134"/>
                    <a:pt x="265" y="132"/>
                  </a:cubicBezTo>
                  <a:cubicBezTo>
                    <a:pt x="265" y="131"/>
                    <a:pt x="265" y="130"/>
                    <a:pt x="263" y="130"/>
                  </a:cubicBezTo>
                  <a:cubicBezTo>
                    <a:pt x="262" y="130"/>
                    <a:pt x="261" y="127"/>
                    <a:pt x="261" y="127"/>
                  </a:cubicBezTo>
                  <a:cubicBezTo>
                    <a:pt x="262" y="124"/>
                    <a:pt x="262" y="124"/>
                    <a:pt x="262" y="124"/>
                  </a:cubicBezTo>
                  <a:cubicBezTo>
                    <a:pt x="260" y="120"/>
                    <a:pt x="260" y="120"/>
                    <a:pt x="260" y="120"/>
                  </a:cubicBezTo>
                  <a:cubicBezTo>
                    <a:pt x="260" y="120"/>
                    <a:pt x="260" y="120"/>
                    <a:pt x="260" y="119"/>
                  </a:cubicBezTo>
                  <a:cubicBezTo>
                    <a:pt x="259" y="119"/>
                    <a:pt x="258" y="117"/>
                    <a:pt x="257" y="116"/>
                  </a:cubicBezTo>
                  <a:cubicBezTo>
                    <a:pt x="256" y="115"/>
                    <a:pt x="255" y="112"/>
                    <a:pt x="255" y="112"/>
                  </a:cubicBezTo>
                  <a:cubicBezTo>
                    <a:pt x="255" y="112"/>
                    <a:pt x="256" y="107"/>
                    <a:pt x="256" y="106"/>
                  </a:cubicBezTo>
                  <a:cubicBezTo>
                    <a:pt x="256" y="106"/>
                    <a:pt x="255" y="100"/>
                    <a:pt x="255" y="100"/>
                  </a:cubicBezTo>
                  <a:cubicBezTo>
                    <a:pt x="255" y="96"/>
                    <a:pt x="255" y="96"/>
                    <a:pt x="255" y="96"/>
                  </a:cubicBezTo>
                  <a:cubicBezTo>
                    <a:pt x="250" y="93"/>
                    <a:pt x="250" y="93"/>
                    <a:pt x="250" y="93"/>
                  </a:cubicBezTo>
                  <a:cubicBezTo>
                    <a:pt x="250" y="93"/>
                    <a:pt x="245" y="92"/>
                    <a:pt x="243" y="92"/>
                  </a:cubicBezTo>
                  <a:cubicBezTo>
                    <a:pt x="242" y="92"/>
                    <a:pt x="242" y="90"/>
                    <a:pt x="242" y="90"/>
                  </a:cubicBezTo>
                  <a:cubicBezTo>
                    <a:pt x="242" y="88"/>
                    <a:pt x="242" y="88"/>
                    <a:pt x="242" y="88"/>
                  </a:cubicBezTo>
                  <a:cubicBezTo>
                    <a:pt x="245" y="80"/>
                    <a:pt x="245" y="80"/>
                    <a:pt x="245" y="80"/>
                  </a:cubicBezTo>
                  <a:cubicBezTo>
                    <a:pt x="249" y="75"/>
                    <a:pt x="249" y="75"/>
                    <a:pt x="249" y="75"/>
                  </a:cubicBezTo>
                  <a:cubicBezTo>
                    <a:pt x="252" y="73"/>
                    <a:pt x="252" y="73"/>
                    <a:pt x="252" y="73"/>
                  </a:cubicBezTo>
                  <a:cubicBezTo>
                    <a:pt x="252" y="73"/>
                    <a:pt x="256" y="68"/>
                    <a:pt x="256" y="67"/>
                  </a:cubicBezTo>
                  <a:cubicBezTo>
                    <a:pt x="257" y="67"/>
                    <a:pt x="256" y="64"/>
                    <a:pt x="256" y="63"/>
                  </a:cubicBezTo>
                  <a:cubicBezTo>
                    <a:pt x="255" y="62"/>
                    <a:pt x="255" y="60"/>
                    <a:pt x="255" y="59"/>
                  </a:cubicBezTo>
                  <a:cubicBezTo>
                    <a:pt x="255" y="58"/>
                    <a:pt x="253" y="55"/>
                    <a:pt x="253" y="55"/>
                  </a:cubicBezTo>
                  <a:cubicBezTo>
                    <a:pt x="252" y="49"/>
                    <a:pt x="252" y="49"/>
                    <a:pt x="252" y="49"/>
                  </a:cubicBezTo>
                  <a:cubicBezTo>
                    <a:pt x="246" y="40"/>
                    <a:pt x="246" y="40"/>
                    <a:pt x="246" y="40"/>
                  </a:cubicBezTo>
                  <a:cubicBezTo>
                    <a:pt x="241" y="31"/>
                    <a:pt x="241" y="31"/>
                    <a:pt x="241" y="31"/>
                  </a:cubicBezTo>
                  <a:cubicBezTo>
                    <a:pt x="241" y="31"/>
                    <a:pt x="236" y="22"/>
                    <a:pt x="235" y="20"/>
                  </a:cubicBezTo>
                  <a:cubicBezTo>
                    <a:pt x="235" y="17"/>
                    <a:pt x="234" y="13"/>
                    <a:pt x="234" y="13"/>
                  </a:cubicBezTo>
                  <a:cubicBezTo>
                    <a:pt x="231" y="11"/>
                    <a:pt x="231" y="11"/>
                    <a:pt x="231" y="11"/>
                  </a:cubicBezTo>
                  <a:cubicBezTo>
                    <a:pt x="231" y="11"/>
                    <a:pt x="230" y="7"/>
                    <a:pt x="230" y="6"/>
                  </a:cubicBezTo>
                  <a:cubicBezTo>
                    <a:pt x="229" y="5"/>
                    <a:pt x="220" y="5"/>
                    <a:pt x="220" y="5"/>
                  </a:cubicBezTo>
                  <a:cubicBezTo>
                    <a:pt x="220" y="5"/>
                    <a:pt x="219" y="3"/>
                    <a:pt x="219" y="2"/>
                  </a:cubicBezTo>
                  <a:cubicBezTo>
                    <a:pt x="218" y="0"/>
                    <a:pt x="216" y="3"/>
                    <a:pt x="216" y="3"/>
                  </a:cubicBezTo>
                  <a:cubicBezTo>
                    <a:pt x="208" y="4"/>
                    <a:pt x="208" y="4"/>
                    <a:pt x="208" y="4"/>
                  </a:cubicBezTo>
                  <a:cubicBezTo>
                    <a:pt x="202" y="9"/>
                    <a:pt x="202" y="9"/>
                    <a:pt x="202" y="9"/>
                  </a:cubicBezTo>
                  <a:cubicBezTo>
                    <a:pt x="202" y="9"/>
                    <a:pt x="187" y="10"/>
                    <a:pt x="186" y="10"/>
                  </a:cubicBezTo>
                  <a:cubicBezTo>
                    <a:pt x="184" y="10"/>
                    <a:pt x="174" y="11"/>
                    <a:pt x="174" y="11"/>
                  </a:cubicBezTo>
                  <a:cubicBezTo>
                    <a:pt x="173" y="11"/>
                    <a:pt x="167" y="12"/>
                    <a:pt x="166" y="12"/>
                  </a:cubicBezTo>
                  <a:cubicBezTo>
                    <a:pt x="164" y="13"/>
                    <a:pt x="157" y="13"/>
                    <a:pt x="155" y="13"/>
                  </a:cubicBezTo>
                  <a:cubicBezTo>
                    <a:pt x="154" y="13"/>
                    <a:pt x="150" y="13"/>
                    <a:pt x="150" y="13"/>
                  </a:cubicBezTo>
                  <a:cubicBezTo>
                    <a:pt x="150" y="13"/>
                    <a:pt x="142" y="15"/>
                    <a:pt x="139" y="15"/>
                  </a:cubicBezTo>
                  <a:cubicBezTo>
                    <a:pt x="137" y="15"/>
                    <a:pt x="133" y="13"/>
                    <a:pt x="133" y="13"/>
                  </a:cubicBezTo>
                  <a:cubicBezTo>
                    <a:pt x="133" y="13"/>
                    <a:pt x="126" y="19"/>
                    <a:pt x="124" y="19"/>
                  </a:cubicBezTo>
                  <a:cubicBezTo>
                    <a:pt x="124" y="19"/>
                    <a:pt x="122" y="20"/>
                    <a:pt x="121" y="20"/>
                  </a:cubicBezTo>
                  <a:cubicBezTo>
                    <a:pt x="120" y="20"/>
                    <a:pt x="118" y="20"/>
                    <a:pt x="118" y="20"/>
                  </a:cubicBezTo>
                  <a:cubicBezTo>
                    <a:pt x="118" y="20"/>
                    <a:pt x="115" y="21"/>
                    <a:pt x="112" y="20"/>
                  </a:cubicBezTo>
                  <a:cubicBezTo>
                    <a:pt x="109" y="18"/>
                    <a:pt x="110" y="18"/>
                    <a:pt x="110" y="18"/>
                  </a:cubicBezTo>
                  <a:cubicBezTo>
                    <a:pt x="110" y="18"/>
                    <a:pt x="108" y="16"/>
                    <a:pt x="107" y="15"/>
                  </a:cubicBezTo>
                  <a:cubicBezTo>
                    <a:pt x="106" y="14"/>
                    <a:pt x="105" y="13"/>
                    <a:pt x="105" y="12"/>
                  </a:cubicBezTo>
                  <a:cubicBezTo>
                    <a:pt x="105" y="12"/>
                    <a:pt x="107" y="10"/>
                    <a:pt x="107" y="10"/>
                  </a:cubicBezTo>
                  <a:cubicBezTo>
                    <a:pt x="107" y="10"/>
                    <a:pt x="103" y="7"/>
                    <a:pt x="103" y="6"/>
                  </a:cubicBezTo>
                  <a:cubicBezTo>
                    <a:pt x="102" y="5"/>
                    <a:pt x="103" y="5"/>
                    <a:pt x="103" y="4"/>
                  </a:cubicBezTo>
                  <a:cubicBezTo>
                    <a:pt x="104" y="3"/>
                    <a:pt x="102" y="2"/>
                    <a:pt x="102" y="2"/>
                  </a:cubicBezTo>
                  <a:cubicBezTo>
                    <a:pt x="102" y="2"/>
                    <a:pt x="97" y="3"/>
                    <a:pt x="97" y="2"/>
                  </a:cubicBezTo>
                  <a:cubicBezTo>
                    <a:pt x="96" y="2"/>
                    <a:pt x="92" y="3"/>
                    <a:pt x="91" y="3"/>
                  </a:cubicBezTo>
                  <a:cubicBezTo>
                    <a:pt x="91" y="2"/>
                    <a:pt x="85" y="5"/>
                    <a:pt x="85" y="5"/>
                  </a:cubicBezTo>
                  <a:cubicBezTo>
                    <a:pt x="85" y="5"/>
                    <a:pt x="77" y="8"/>
                    <a:pt x="76" y="8"/>
                  </a:cubicBezTo>
                  <a:cubicBezTo>
                    <a:pt x="75" y="8"/>
                    <a:pt x="75" y="9"/>
                    <a:pt x="75" y="9"/>
                  </a:cubicBezTo>
                  <a:cubicBezTo>
                    <a:pt x="74" y="9"/>
                    <a:pt x="72" y="10"/>
                    <a:pt x="71" y="10"/>
                  </a:cubicBezTo>
                  <a:cubicBezTo>
                    <a:pt x="71" y="11"/>
                    <a:pt x="69" y="14"/>
                    <a:pt x="69" y="14"/>
                  </a:cubicBezTo>
                  <a:cubicBezTo>
                    <a:pt x="69" y="15"/>
                    <a:pt x="62" y="18"/>
                    <a:pt x="61" y="18"/>
                  </a:cubicBezTo>
                  <a:cubicBezTo>
                    <a:pt x="60" y="19"/>
                    <a:pt x="56" y="20"/>
                    <a:pt x="55" y="20"/>
                  </a:cubicBezTo>
                  <a:cubicBezTo>
                    <a:pt x="55" y="21"/>
                    <a:pt x="54" y="22"/>
                    <a:pt x="53" y="23"/>
                  </a:cubicBezTo>
                  <a:cubicBezTo>
                    <a:pt x="53" y="24"/>
                    <a:pt x="52" y="25"/>
                    <a:pt x="51" y="26"/>
                  </a:cubicBezTo>
                  <a:cubicBezTo>
                    <a:pt x="51" y="27"/>
                    <a:pt x="50" y="29"/>
                    <a:pt x="50" y="30"/>
                  </a:cubicBezTo>
                  <a:cubicBezTo>
                    <a:pt x="49" y="31"/>
                    <a:pt x="48" y="33"/>
                    <a:pt x="48" y="33"/>
                  </a:cubicBezTo>
                  <a:cubicBezTo>
                    <a:pt x="48" y="33"/>
                    <a:pt x="45" y="33"/>
                    <a:pt x="43" y="33"/>
                  </a:cubicBezTo>
                  <a:cubicBezTo>
                    <a:pt x="42" y="33"/>
                    <a:pt x="42" y="34"/>
                    <a:pt x="41" y="34"/>
                  </a:cubicBezTo>
                  <a:cubicBezTo>
                    <a:pt x="40" y="34"/>
                    <a:pt x="36" y="37"/>
                    <a:pt x="36" y="37"/>
                  </a:cubicBezTo>
                  <a:cubicBezTo>
                    <a:pt x="36" y="37"/>
                    <a:pt x="20" y="42"/>
                    <a:pt x="19" y="43"/>
                  </a:cubicBezTo>
                  <a:cubicBezTo>
                    <a:pt x="18" y="44"/>
                    <a:pt x="18" y="44"/>
                    <a:pt x="16" y="46"/>
                  </a:cubicBezTo>
                  <a:cubicBezTo>
                    <a:pt x="13" y="47"/>
                    <a:pt x="11" y="47"/>
                    <a:pt x="10" y="47"/>
                  </a:cubicBezTo>
                  <a:cubicBezTo>
                    <a:pt x="9" y="48"/>
                    <a:pt x="9" y="48"/>
                    <a:pt x="8" y="49"/>
                  </a:cubicBezTo>
                  <a:cubicBezTo>
                    <a:pt x="7" y="50"/>
                    <a:pt x="6" y="51"/>
                    <a:pt x="4" y="51"/>
                  </a:cubicBezTo>
                  <a:cubicBezTo>
                    <a:pt x="3" y="51"/>
                    <a:pt x="2" y="52"/>
                    <a:pt x="1" y="52"/>
                  </a:cubicBezTo>
                  <a:cubicBezTo>
                    <a:pt x="1" y="52"/>
                    <a:pt x="0" y="52"/>
                    <a:pt x="0" y="53"/>
                  </a:cubicBezTo>
                  <a:cubicBezTo>
                    <a:pt x="0" y="54"/>
                    <a:pt x="0" y="54"/>
                    <a:pt x="0" y="54"/>
                  </a:cubicBezTo>
                  <a:cubicBezTo>
                    <a:pt x="0" y="54"/>
                    <a:pt x="1" y="55"/>
                    <a:pt x="1" y="56"/>
                  </a:cubicBezTo>
                  <a:cubicBezTo>
                    <a:pt x="2" y="56"/>
                    <a:pt x="2" y="56"/>
                    <a:pt x="2" y="56"/>
                  </a:cubicBezTo>
                  <a:cubicBezTo>
                    <a:pt x="3" y="57"/>
                    <a:pt x="3" y="57"/>
                    <a:pt x="3" y="57"/>
                  </a:cubicBezTo>
                  <a:cubicBezTo>
                    <a:pt x="3" y="58"/>
                    <a:pt x="4" y="58"/>
                    <a:pt x="4" y="59"/>
                  </a:cubicBezTo>
                  <a:cubicBezTo>
                    <a:pt x="4" y="59"/>
                    <a:pt x="4" y="60"/>
                    <a:pt x="4" y="60"/>
                  </a:cubicBezTo>
                  <a:cubicBezTo>
                    <a:pt x="4" y="60"/>
                    <a:pt x="4" y="61"/>
                    <a:pt x="5" y="62"/>
                  </a:cubicBezTo>
                  <a:cubicBezTo>
                    <a:pt x="5" y="63"/>
                    <a:pt x="5" y="64"/>
                    <a:pt x="5" y="64"/>
                  </a:cubicBezTo>
                  <a:cubicBezTo>
                    <a:pt x="5" y="65"/>
                    <a:pt x="6" y="67"/>
                    <a:pt x="7" y="69"/>
                  </a:cubicBezTo>
                  <a:cubicBezTo>
                    <a:pt x="9" y="72"/>
                    <a:pt x="9" y="74"/>
                    <a:pt x="9" y="75"/>
                  </a:cubicBezTo>
                  <a:cubicBezTo>
                    <a:pt x="9" y="82"/>
                    <a:pt x="9" y="82"/>
                    <a:pt x="9" y="82"/>
                  </a:cubicBezTo>
                  <a:cubicBezTo>
                    <a:pt x="9" y="90"/>
                    <a:pt x="9" y="90"/>
                    <a:pt x="9" y="90"/>
                  </a:cubicBezTo>
                  <a:cubicBezTo>
                    <a:pt x="5" y="93"/>
                    <a:pt x="5" y="93"/>
                    <a:pt x="5" y="93"/>
                  </a:cubicBezTo>
                  <a:cubicBezTo>
                    <a:pt x="4" y="97"/>
                    <a:pt x="4" y="97"/>
                    <a:pt x="4" y="97"/>
                  </a:cubicBezTo>
                  <a:cubicBezTo>
                    <a:pt x="5" y="98"/>
                    <a:pt x="6" y="99"/>
                    <a:pt x="8" y="101"/>
                  </a:cubicBezTo>
                  <a:cubicBezTo>
                    <a:pt x="8" y="102"/>
                    <a:pt x="11" y="103"/>
                    <a:pt x="12" y="104"/>
                  </a:cubicBezTo>
                  <a:cubicBezTo>
                    <a:pt x="15" y="105"/>
                    <a:pt x="15" y="105"/>
                    <a:pt x="15" y="105"/>
                  </a:cubicBezTo>
                  <a:cubicBezTo>
                    <a:pt x="18" y="106"/>
                    <a:pt x="19" y="110"/>
                    <a:pt x="18" y="112"/>
                  </a:cubicBezTo>
                  <a:cubicBezTo>
                    <a:pt x="18" y="113"/>
                    <a:pt x="18" y="113"/>
                    <a:pt x="18" y="113"/>
                  </a:cubicBezTo>
                  <a:cubicBezTo>
                    <a:pt x="16" y="118"/>
                    <a:pt x="16" y="118"/>
                    <a:pt x="16" y="118"/>
                  </a:cubicBezTo>
                  <a:cubicBezTo>
                    <a:pt x="17" y="118"/>
                    <a:pt x="17" y="118"/>
                    <a:pt x="17" y="119"/>
                  </a:cubicBezTo>
                  <a:cubicBezTo>
                    <a:pt x="19" y="119"/>
                    <a:pt x="20" y="121"/>
                    <a:pt x="20" y="125"/>
                  </a:cubicBezTo>
                  <a:cubicBezTo>
                    <a:pt x="21" y="128"/>
                    <a:pt x="21" y="130"/>
                    <a:pt x="21" y="131"/>
                  </a:cubicBezTo>
                  <a:cubicBezTo>
                    <a:pt x="23" y="135"/>
                    <a:pt x="23" y="135"/>
                    <a:pt x="23" y="135"/>
                  </a:cubicBezTo>
                  <a:cubicBezTo>
                    <a:pt x="23" y="135"/>
                    <a:pt x="23" y="135"/>
                    <a:pt x="23" y="135"/>
                  </a:cubicBezTo>
                  <a:cubicBezTo>
                    <a:pt x="23" y="136"/>
                    <a:pt x="21" y="140"/>
                    <a:pt x="21" y="140"/>
                  </a:cubicBezTo>
                  <a:cubicBezTo>
                    <a:pt x="21" y="141"/>
                    <a:pt x="21" y="141"/>
                    <a:pt x="20" y="142"/>
                  </a:cubicBezTo>
                  <a:cubicBezTo>
                    <a:pt x="21" y="143"/>
                    <a:pt x="21" y="143"/>
                    <a:pt x="21" y="143"/>
                  </a:cubicBezTo>
                  <a:cubicBezTo>
                    <a:pt x="25" y="147"/>
                    <a:pt x="25" y="147"/>
                    <a:pt x="25" y="147"/>
                  </a:cubicBezTo>
                  <a:cubicBezTo>
                    <a:pt x="24" y="152"/>
                    <a:pt x="24" y="152"/>
                    <a:pt x="24" y="152"/>
                  </a:cubicBezTo>
                  <a:cubicBezTo>
                    <a:pt x="24" y="153"/>
                    <a:pt x="24" y="153"/>
                    <a:pt x="24" y="153"/>
                  </a:cubicBezTo>
                  <a:cubicBezTo>
                    <a:pt x="25" y="153"/>
                    <a:pt x="25" y="153"/>
                    <a:pt x="26" y="153"/>
                  </a:cubicBezTo>
                  <a:cubicBezTo>
                    <a:pt x="27" y="154"/>
                    <a:pt x="28" y="155"/>
                    <a:pt x="29" y="155"/>
                  </a:cubicBezTo>
                  <a:cubicBezTo>
                    <a:pt x="29" y="155"/>
                    <a:pt x="29" y="155"/>
                    <a:pt x="29" y="155"/>
                  </a:cubicBezTo>
                  <a:cubicBezTo>
                    <a:pt x="30" y="156"/>
                    <a:pt x="30" y="156"/>
                    <a:pt x="30" y="156"/>
                  </a:cubicBezTo>
                  <a:cubicBezTo>
                    <a:pt x="30" y="156"/>
                    <a:pt x="30" y="157"/>
                    <a:pt x="30" y="158"/>
                  </a:cubicBezTo>
                  <a:cubicBezTo>
                    <a:pt x="30" y="158"/>
                    <a:pt x="30" y="158"/>
                    <a:pt x="30" y="159"/>
                  </a:cubicBezTo>
                  <a:cubicBezTo>
                    <a:pt x="30" y="159"/>
                    <a:pt x="32" y="161"/>
                    <a:pt x="32" y="161"/>
                  </a:cubicBezTo>
                  <a:cubicBezTo>
                    <a:pt x="32" y="162"/>
                    <a:pt x="34" y="164"/>
                    <a:pt x="35" y="165"/>
                  </a:cubicBezTo>
                  <a:cubicBezTo>
                    <a:pt x="35" y="165"/>
                    <a:pt x="35" y="165"/>
                    <a:pt x="35" y="165"/>
                  </a:cubicBezTo>
                  <a:cubicBezTo>
                    <a:pt x="35" y="166"/>
                    <a:pt x="35" y="166"/>
                    <a:pt x="35" y="166"/>
                  </a:cubicBezTo>
                  <a:cubicBezTo>
                    <a:pt x="35" y="167"/>
                    <a:pt x="35" y="169"/>
                    <a:pt x="32" y="171"/>
                  </a:cubicBezTo>
                  <a:cubicBezTo>
                    <a:pt x="32" y="172"/>
                    <a:pt x="32" y="172"/>
                    <a:pt x="32" y="172"/>
                  </a:cubicBezTo>
                  <a:cubicBezTo>
                    <a:pt x="32" y="172"/>
                    <a:pt x="32" y="173"/>
                    <a:pt x="32" y="173"/>
                  </a:cubicBezTo>
                  <a:cubicBezTo>
                    <a:pt x="32" y="173"/>
                    <a:pt x="32" y="173"/>
                    <a:pt x="32" y="173"/>
                  </a:cubicBezTo>
                  <a:cubicBezTo>
                    <a:pt x="33" y="173"/>
                    <a:pt x="33" y="173"/>
                    <a:pt x="33" y="173"/>
                  </a:cubicBezTo>
                  <a:cubicBezTo>
                    <a:pt x="34" y="173"/>
                    <a:pt x="35" y="174"/>
                    <a:pt x="36" y="174"/>
                  </a:cubicBezTo>
                  <a:cubicBezTo>
                    <a:pt x="36" y="174"/>
                    <a:pt x="36" y="174"/>
                    <a:pt x="36" y="174"/>
                  </a:cubicBezTo>
                  <a:cubicBezTo>
                    <a:pt x="36" y="174"/>
                    <a:pt x="36" y="174"/>
                    <a:pt x="36" y="174"/>
                  </a:cubicBezTo>
                  <a:cubicBezTo>
                    <a:pt x="37" y="175"/>
                    <a:pt x="37" y="175"/>
                    <a:pt x="38" y="175"/>
                  </a:cubicBezTo>
                  <a:cubicBezTo>
                    <a:pt x="39" y="175"/>
                    <a:pt x="40" y="176"/>
                    <a:pt x="40" y="176"/>
                  </a:cubicBezTo>
                  <a:cubicBezTo>
                    <a:pt x="41" y="177"/>
                    <a:pt x="41" y="178"/>
                    <a:pt x="41" y="179"/>
                  </a:cubicBezTo>
                  <a:cubicBezTo>
                    <a:pt x="41" y="179"/>
                    <a:pt x="42" y="180"/>
                    <a:pt x="42" y="180"/>
                  </a:cubicBezTo>
                  <a:cubicBezTo>
                    <a:pt x="43" y="181"/>
                    <a:pt x="44" y="182"/>
                    <a:pt x="44" y="182"/>
                  </a:cubicBezTo>
                  <a:cubicBezTo>
                    <a:pt x="47" y="181"/>
                    <a:pt x="47" y="181"/>
                    <a:pt x="47" y="181"/>
                  </a:cubicBezTo>
                  <a:cubicBezTo>
                    <a:pt x="48" y="181"/>
                    <a:pt x="48" y="181"/>
                    <a:pt x="48" y="181"/>
                  </a:cubicBezTo>
                  <a:cubicBezTo>
                    <a:pt x="49" y="182"/>
                    <a:pt x="50" y="183"/>
                    <a:pt x="51" y="184"/>
                  </a:cubicBezTo>
                  <a:cubicBezTo>
                    <a:pt x="51" y="184"/>
                    <a:pt x="51" y="184"/>
                    <a:pt x="51" y="184"/>
                  </a:cubicBezTo>
                  <a:cubicBezTo>
                    <a:pt x="51" y="184"/>
                    <a:pt x="52" y="184"/>
                    <a:pt x="52" y="184"/>
                  </a:cubicBezTo>
                  <a:cubicBezTo>
                    <a:pt x="52" y="183"/>
                    <a:pt x="52" y="183"/>
                    <a:pt x="52" y="183"/>
                  </a:cubicBezTo>
                  <a:cubicBezTo>
                    <a:pt x="56" y="185"/>
                    <a:pt x="56" y="185"/>
                    <a:pt x="56" y="185"/>
                  </a:cubicBezTo>
                  <a:cubicBezTo>
                    <a:pt x="57" y="186"/>
                    <a:pt x="57" y="186"/>
                    <a:pt x="57" y="186"/>
                  </a:cubicBezTo>
                  <a:cubicBezTo>
                    <a:pt x="58" y="185"/>
                    <a:pt x="59" y="185"/>
                    <a:pt x="59" y="185"/>
                  </a:cubicBezTo>
                  <a:cubicBezTo>
                    <a:pt x="60" y="185"/>
                    <a:pt x="60" y="185"/>
                    <a:pt x="60" y="185"/>
                  </a:cubicBezTo>
                  <a:cubicBezTo>
                    <a:pt x="61" y="185"/>
                    <a:pt x="61" y="185"/>
                    <a:pt x="61" y="185"/>
                  </a:cubicBezTo>
                  <a:cubicBezTo>
                    <a:pt x="61" y="185"/>
                    <a:pt x="62" y="186"/>
                    <a:pt x="62" y="188"/>
                  </a:cubicBezTo>
                  <a:cubicBezTo>
                    <a:pt x="63" y="188"/>
                    <a:pt x="63" y="188"/>
                    <a:pt x="63" y="188"/>
                  </a:cubicBezTo>
                  <a:cubicBezTo>
                    <a:pt x="68" y="186"/>
                    <a:pt x="68" y="186"/>
                    <a:pt x="68" y="186"/>
                  </a:cubicBezTo>
                  <a:cubicBezTo>
                    <a:pt x="69" y="186"/>
                    <a:pt x="69" y="186"/>
                    <a:pt x="69" y="186"/>
                  </a:cubicBezTo>
                  <a:cubicBezTo>
                    <a:pt x="70" y="186"/>
                    <a:pt x="71" y="186"/>
                    <a:pt x="72" y="187"/>
                  </a:cubicBezTo>
                  <a:cubicBezTo>
                    <a:pt x="73" y="188"/>
                    <a:pt x="73" y="190"/>
                    <a:pt x="73" y="192"/>
                  </a:cubicBezTo>
                  <a:cubicBezTo>
                    <a:pt x="73" y="194"/>
                    <a:pt x="72" y="196"/>
                    <a:pt x="71" y="197"/>
                  </a:cubicBezTo>
                  <a:cubicBezTo>
                    <a:pt x="70" y="197"/>
                    <a:pt x="70" y="197"/>
                    <a:pt x="70" y="197"/>
                  </a:cubicBezTo>
                  <a:cubicBezTo>
                    <a:pt x="72" y="198"/>
                    <a:pt x="73" y="199"/>
                    <a:pt x="73" y="201"/>
                  </a:cubicBezTo>
                  <a:cubicBezTo>
                    <a:pt x="75" y="201"/>
                    <a:pt x="75" y="201"/>
                    <a:pt x="75" y="201"/>
                  </a:cubicBezTo>
                  <a:cubicBezTo>
                    <a:pt x="76" y="202"/>
                    <a:pt x="77" y="203"/>
                    <a:pt x="77" y="203"/>
                  </a:cubicBezTo>
                  <a:cubicBezTo>
                    <a:pt x="79" y="204"/>
                    <a:pt x="80" y="206"/>
                    <a:pt x="80" y="207"/>
                  </a:cubicBezTo>
                  <a:cubicBezTo>
                    <a:pt x="80" y="209"/>
                    <a:pt x="80" y="209"/>
                    <a:pt x="80" y="209"/>
                  </a:cubicBezTo>
                  <a:cubicBezTo>
                    <a:pt x="81" y="208"/>
                    <a:pt x="81" y="208"/>
                    <a:pt x="82" y="208"/>
                  </a:cubicBezTo>
                  <a:cubicBezTo>
                    <a:pt x="83" y="204"/>
                    <a:pt x="83" y="204"/>
                    <a:pt x="83" y="204"/>
                  </a:cubicBezTo>
                  <a:cubicBezTo>
                    <a:pt x="87" y="202"/>
                    <a:pt x="87" y="202"/>
                    <a:pt x="87" y="202"/>
                  </a:cubicBezTo>
                  <a:cubicBezTo>
                    <a:pt x="84" y="196"/>
                    <a:pt x="84" y="196"/>
                    <a:pt x="84" y="196"/>
                  </a:cubicBezTo>
                  <a:cubicBezTo>
                    <a:pt x="84" y="195"/>
                    <a:pt x="84" y="195"/>
                    <a:pt x="84" y="195"/>
                  </a:cubicBezTo>
                  <a:cubicBezTo>
                    <a:pt x="85" y="194"/>
                    <a:pt x="86" y="194"/>
                    <a:pt x="87" y="194"/>
                  </a:cubicBezTo>
                  <a:cubicBezTo>
                    <a:pt x="87" y="194"/>
                    <a:pt x="88" y="194"/>
                    <a:pt x="89" y="194"/>
                  </a:cubicBezTo>
                  <a:cubicBezTo>
                    <a:pt x="89" y="194"/>
                    <a:pt x="90" y="194"/>
                    <a:pt x="90" y="194"/>
                  </a:cubicBezTo>
                  <a:cubicBezTo>
                    <a:pt x="90" y="194"/>
                    <a:pt x="90" y="194"/>
                    <a:pt x="90" y="194"/>
                  </a:cubicBezTo>
                  <a:cubicBezTo>
                    <a:pt x="92" y="194"/>
                    <a:pt x="94" y="194"/>
                    <a:pt x="94" y="194"/>
                  </a:cubicBezTo>
                  <a:cubicBezTo>
                    <a:pt x="95" y="194"/>
                    <a:pt x="95" y="194"/>
                    <a:pt x="95" y="194"/>
                  </a:cubicBezTo>
                  <a:cubicBezTo>
                    <a:pt x="103" y="198"/>
                    <a:pt x="103" y="198"/>
                    <a:pt x="103" y="198"/>
                  </a:cubicBezTo>
                  <a:cubicBezTo>
                    <a:pt x="103" y="198"/>
                    <a:pt x="103" y="198"/>
                    <a:pt x="103" y="198"/>
                  </a:cubicBezTo>
                  <a:cubicBezTo>
                    <a:pt x="104" y="198"/>
                    <a:pt x="105" y="198"/>
                    <a:pt x="106" y="197"/>
                  </a:cubicBezTo>
                  <a:cubicBezTo>
                    <a:pt x="106" y="196"/>
                    <a:pt x="106" y="196"/>
                    <a:pt x="106" y="196"/>
                  </a:cubicBezTo>
                  <a:cubicBezTo>
                    <a:pt x="107" y="195"/>
                    <a:pt x="107" y="195"/>
                    <a:pt x="107" y="195"/>
                  </a:cubicBezTo>
                  <a:cubicBezTo>
                    <a:pt x="108" y="195"/>
                    <a:pt x="108" y="195"/>
                    <a:pt x="108" y="195"/>
                  </a:cubicBezTo>
                  <a:cubicBezTo>
                    <a:pt x="108" y="195"/>
                    <a:pt x="108" y="195"/>
                    <a:pt x="108" y="195"/>
                  </a:cubicBezTo>
                  <a:cubicBezTo>
                    <a:pt x="110" y="195"/>
                    <a:pt x="111" y="197"/>
                    <a:pt x="112" y="199"/>
                  </a:cubicBezTo>
                  <a:cubicBezTo>
                    <a:pt x="113" y="200"/>
                    <a:pt x="113" y="201"/>
                    <a:pt x="113" y="202"/>
                  </a:cubicBezTo>
                  <a:cubicBezTo>
                    <a:pt x="113" y="203"/>
                    <a:pt x="112" y="204"/>
                    <a:pt x="111" y="204"/>
                  </a:cubicBezTo>
                  <a:cubicBezTo>
                    <a:pt x="111" y="204"/>
                    <a:pt x="111" y="204"/>
                    <a:pt x="110" y="205"/>
                  </a:cubicBezTo>
                  <a:cubicBezTo>
                    <a:pt x="112" y="205"/>
                    <a:pt x="112" y="206"/>
                    <a:pt x="112" y="207"/>
                  </a:cubicBezTo>
                  <a:cubicBezTo>
                    <a:pt x="112" y="207"/>
                    <a:pt x="113" y="207"/>
                    <a:pt x="113" y="208"/>
                  </a:cubicBezTo>
                  <a:cubicBezTo>
                    <a:pt x="113" y="208"/>
                    <a:pt x="114" y="208"/>
                    <a:pt x="116" y="209"/>
                  </a:cubicBezTo>
                  <a:cubicBezTo>
                    <a:pt x="117" y="209"/>
                    <a:pt x="117" y="209"/>
                    <a:pt x="117" y="209"/>
                  </a:cubicBezTo>
                  <a:cubicBezTo>
                    <a:pt x="119" y="206"/>
                    <a:pt x="119" y="206"/>
                    <a:pt x="119" y="206"/>
                  </a:cubicBezTo>
                  <a:cubicBezTo>
                    <a:pt x="120" y="206"/>
                    <a:pt x="120" y="206"/>
                    <a:pt x="120" y="206"/>
                  </a:cubicBezTo>
                  <a:cubicBezTo>
                    <a:pt x="121" y="206"/>
                    <a:pt x="124" y="208"/>
                    <a:pt x="125" y="209"/>
                  </a:cubicBezTo>
                  <a:cubicBezTo>
                    <a:pt x="125" y="209"/>
                    <a:pt x="127" y="210"/>
                    <a:pt x="129" y="210"/>
                  </a:cubicBezTo>
                  <a:cubicBezTo>
                    <a:pt x="136" y="208"/>
                    <a:pt x="136" y="208"/>
                    <a:pt x="136" y="208"/>
                  </a:cubicBezTo>
                  <a:cubicBezTo>
                    <a:pt x="138" y="216"/>
                    <a:pt x="138" y="216"/>
                    <a:pt x="138" y="216"/>
                  </a:cubicBezTo>
                  <a:cubicBezTo>
                    <a:pt x="139" y="216"/>
                    <a:pt x="140" y="217"/>
                    <a:pt x="141" y="219"/>
                  </a:cubicBezTo>
                  <a:cubicBezTo>
                    <a:pt x="141" y="219"/>
                    <a:pt x="141" y="219"/>
                    <a:pt x="141" y="219"/>
                  </a:cubicBezTo>
                  <a:cubicBezTo>
                    <a:pt x="142" y="219"/>
                    <a:pt x="145" y="220"/>
                    <a:pt x="145" y="222"/>
                  </a:cubicBezTo>
                  <a:cubicBezTo>
                    <a:pt x="145" y="223"/>
                    <a:pt x="145" y="223"/>
                    <a:pt x="146" y="224"/>
                  </a:cubicBezTo>
                  <a:cubicBezTo>
                    <a:pt x="146" y="224"/>
                    <a:pt x="146" y="224"/>
                    <a:pt x="146" y="224"/>
                  </a:cubicBezTo>
                  <a:cubicBezTo>
                    <a:pt x="148" y="229"/>
                    <a:pt x="148" y="229"/>
                    <a:pt x="148" y="229"/>
                  </a:cubicBezTo>
                  <a:cubicBezTo>
                    <a:pt x="147" y="230"/>
                    <a:pt x="147" y="230"/>
                    <a:pt x="147" y="230"/>
                  </a:cubicBezTo>
                  <a:cubicBezTo>
                    <a:pt x="147" y="230"/>
                    <a:pt x="147" y="230"/>
                    <a:pt x="147" y="231"/>
                  </a:cubicBezTo>
                  <a:cubicBezTo>
                    <a:pt x="147" y="231"/>
                    <a:pt x="148" y="233"/>
                    <a:pt x="148" y="233"/>
                  </a:cubicBezTo>
                  <a:cubicBezTo>
                    <a:pt x="148" y="233"/>
                    <a:pt x="150" y="233"/>
                    <a:pt x="151" y="232"/>
                  </a:cubicBezTo>
                  <a:cubicBezTo>
                    <a:pt x="151" y="231"/>
                    <a:pt x="153" y="230"/>
                    <a:pt x="153" y="230"/>
                  </a:cubicBezTo>
                  <a:cubicBezTo>
                    <a:pt x="153" y="230"/>
                    <a:pt x="155" y="232"/>
                    <a:pt x="155" y="231"/>
                  </a:cubicBezTo>
                  <a:cubicBezTo>
                    <a:pt x="155" y="230"/>
                    <a:pt x="155" y="227"/>
                    <a:pt x="155" y="227"/>
                  </a:cubicBezTo>
                  <a:cubicBezTo>
                    <a:pt x="157" y="225"/>
                    <a:pt x="157" y="225"/>
                    <a:pt x="157" y="225"/>
                  </a:cubicBezTo>
                  <a:cubicBezTo>
                    <a:pt x="157" y="225"/>
                    <a:pt x="158" y="225"/>
                    <a:pt x="158" y="224"/>
                  </a:cubicBezTo>
                  <a:cubicBezTo>
                    <a:pt x="158" y="223"/>
                    <a:pt x="159" y="221"/>
                    <a:pt x="159" y="221"/>
                  </a:cubicBezTo>
                  <a:cubicBezTo>
                    <a:pt x="162" y="222"/>
                    <a:pt x="162" y="222"/>
                    <a:pt x="162" y="222"/>
                  </a:cubicBezTo>
                  <a:cubicBezTo>
                    <a:pt x="164" y="226"/>
                    <a:pt x="164" y="226"/>
                    <a:pt x="164" y="226"/>
                  </a:cubicBezTo>
                  <a:cubicBezTo>
                    <a:pt x="166" y="228"/>
                    <a:pt x="166" y="228"/>
                    <a:pt x="166" y="228"/>
                  </a:cubicBezTo>
                  <a:cubicBezTo>
                    <a:pt x="167" y="229"/>
                    <a:pt x="167" y="229"/>
                    <a:pt x="167" y="229"/>
                  </a:cubicBezTo>
                  <a:cubicBezTo>
                    <a:pt x="169" y="230"/>
                    <a:pt x="169" y="230"/>
                    <a:pt x="169" y="230"/>
                  </a:cubicBezTo>
                  <a:cubicBezTo>
                    <a:pt x="171" y="229"/>
                    <a:pt x="171" y="229"/>
                    <a:pt x="171" y="229"/>
                  </a:cubicBezTo>
                  <a:cubicBezTo>
                    <a:pt x="171" y="231"/>
                    <a:pt x="171" y="231"/>
                    <a:pt x="171" y="231"/>
                  </a:cubicBezTo>
                  <a:cubicBezTo>
                    <a:pt x="172" y="232"/>
                    <a:pt x="172" y="232"/>
                    <a:pt x="172" y="232"/>
                  </a:cubicBezTo>
                  <a:cubicBezTo>
                    <a:pt x="173" y="235"/>
                    <a:pt x="173" y="235"/>
                    <a:pt x="173" y="235"/>
                  </a:cubicBezTo>
                  <a:cubicBezTo>
                    <a:pt x="172" y="236"/>
                    <a:pt x="172" y="236"/>
                    <a:pt x="172" y="236"/>
                  </a:cubicBezTo>
                  <a:cubicBezTo>
                    <a:pt x="171" y="237"/>
                    <a:pt x="171" y="237"/>
                    <a:pt x="171" y="237"/>
                  </a:cubicBezTo>
                  <a:cubicBezTo>
                    <a:pt x="172" y="237"/>
                    <a:pt x="172" y="237"/>
                    <a:pt x="172" y="237"/>
                  </a:cubicBezTo>
                  <a:cubicBezTo>
                    <a:pt x="172" y="237"/>
                    <a:pt x="173" y="237"/>
                    <a:pt x="173" y="237"/>
                  </a:cubicBezTo>
                  <a:cubicBezTo>
                    <a:pt x="174" y="237"/>
                    <a:pt x="175" y="237"/>
                    <a:pt x="175" y="237"/>
                  </a:cubicBezTo>
                  <a:cubicBezTo>
                    <a:pt x="175" y="236"/>
                    <a:pt x="176" y="236"/>
                    <a:pt x="176" y="236"/>
                  </a:cubicBezTo>
                  <a:cubicBezTo>
                    <a:pt x="176" y="236"/>
                    <a:pt x="177" y="235"/>
                    <a:pt x="177" y="235"/>
                  </a:cubicBezTo>
                  <a:cubicBezTo>
                    <a:pt x="177" y="235"/>
                    <a:pt x="178" y="235"/>
                    <a:pt x="178" y="235"/>
                  </a:cubicBezTo>
                  <a:cubicBezTo>
                    <a:pt x="178" y="236"/>
                    <a:pt x="179" y="237"/>
                    <a:pt x="179" y="237"/>
                  </a:cubicBezTo>
                  <a:cubicBezTo>
                    <a:pt x="179" y="237"/>
                    <a:pt x="179" y="236"/>
                    <a:pt x="180" y="237"/>
                  </a:cubicBezTo>
                  <a:cubicBezTo>
                    <a:pt x="180" y="237"/>
                    <a:pt x="180" y="237"/>
                    <a:pt x="180" y="237"/>
                  </a:cubicBezTo>
                  <a:cubicBezTo>
                    <a:pt x="180" y="237"/>
                    <a:pt x="181" y="237"/>
                    <a:pt x="181" y="236"/>
                  </a:cubicBezTo>
                  <a:cubicBezTo>
                    <a:pt x="180" y="235"/>
                    <a:pt x="180" y="234"/>
                    <a:pt x="180" y="234"/>
                  </a:cubicBezTo>
                  <a:cubicBezTo>
                    <a:pt x="180" y="234"/>
                    <a:pt x="180" y="233"/>
                    <a:pt x="181" y="233"/>
                  </a:cubicBezTo>
                  <a:cubicBezTo>
                    <a:pt x="181" y="232"/>
                    <a:pt x="181" y="232"/>
                    <a:pt x="181" y="231"/>
                  </a:cubicBezTo>
                  <a:cubicBezTo>
                    <a:pt x="181" y="231"/>
                    <a:pt x="181" y="231"/>
                    <a:pt x="181" y="231"/>
                  </a:cubicBezTo>
                  <a:cubicBezTo>
                    <a:pt x="182" y="231"/>
                    <a:pt x="183" y="230"/>
                    <a:pt x="183" y="230"/>
                  </a:cubicBezTo>
                  <a:cubicBezTo>
                    <a:pt x="183" y="230"/>
                    <a:pt x="183" y="230"/>
                    <a:pt x="183" y="229"/>
                  </a:cubicBezTo>
                  <a:cubicBezTo>
                    <a:pt x="183" y="229"/>
                    <a:pt x="184" y="229"/>
                    <a:pt x="184" y="229"/>
                  </a:cubicBezTo>
                  <a:cubicBezTo>
                    <a:pt x="185" y="229"/>
                    <a:pt x="184" y="229"/>
                    <a:pt x="185" y="229"/>
                  </a:cubicBezTo>
                  <a:cubicBezTo>
                    <a:pt x="186" y="228"/>
                    <a:pt x="186" y="228"/>
                    <a:pt x="185" y="228"/>
                  </a:cubicBezTo>
                  <a:cubicBezTo>
                    <a:pt x="185" y="227"/>
                    <a:pt x="185" y="227"/>
                    <a:pt x="185" y="227"/>
                  </a:cubicBezTo>
                  <a:cubicBezTo>
                    <a:pt x="186" y="227"/>
                    <a:pt x="185" y="227"/>
                    <a:pt x="187" y="227"/>
                  </a:cubicBezTo>
                  <a:cubicBezTo>
                    <a:pt x="188" y="227"/>
                    <a:pt x="189" y="227"/>
                    <a:pt x="189" y="226"/>
                  </a:cubicBezTo>
                  <a:cubicBezTo>
                    <a:pt x="189" y="226"/>
                    <a:pt x="189" y="225"/>
                    <a:pt x="189" y="225"/>
                  </a:cubicBezTo>
                  <a:cubicBezTo>
                    <a:pt x="190" y="225"/>
                    <a:pt x="190" y="225"/>
                    <a:pt x="190" y="225"/>
                  </a:cubicBezTo>
                  <a:cubicBezTo>
                    <a:pt x="190" y="225"/>
                    <a:pt x="190" y="225"/>
                    <a:pt x="190" y="225"/>
                  </a:cubicBezTo>
                  <a:cubicBezTo>
                    <a:pt x="190" y="225"/>
                    <a:pt x="191" y="226"/>
                    <a:pt x="191" y="226"/>
                  </a:cubicBezTo>
                  <a:cubicBezTo>
                    <a:pt x="192" y="226"/>
                    <a:pt x="192" y="226"/>
                    <a:pt x="192" y="226"/>
                  </a:cubicBezTo>
                  <a:cubicBezTo>
                    <a:pt x="193" y="226"/>
                    <a:pt x="193" y="225"/>
                    <a:pt x="193" y="225"/>
                  </a:cubicBezTo>
                  <a:cubicBezTo>
                    <a:pt x="193" y="225"/>
                    <a:pt x="193" y="225"/>
                    <a:pt x="193" y="225"/>
                  </a:cubicBezTo>
                  <a:cubicBezTo>
                    <a:pt x="193" y="225"/>
                    <a:pt x="193" y="224"/>
                    <a:pt x="194" y="224"/>
                  </a:cubicBezTo>
                  <a:cubicBezTo>
                    <a:pt x="195" y="224"/>
                    <a:pt x="194" y="225"/>
                    <a:pt x="195" y="224"/>
                  </a:cubicBezTo>
                  <a:cubicBezTo>
                    <a:pt x="195" y="224"/>
                    <a:pt x="196" y="223"/>
                    <a:pt x="196" y="223"/>
                  </a:cubicBezTo>
                  <a:cubicBezTo>
                    <a:pt x="196" y="223"/>
                    <a:pt x="196" y="224"/>
                    <a:pt x="197" y="224"/>
                  </a:cubicBezTo>
                  <a:cubicBezTo>
                    <a:pt x="198" y="225"/>
                    <a:pt x="198" y="225"/>
                    <a:pt x="199" y="226"/>
                  </a:cubicBezTo>
                  <a:cubicBezTo>
                    <a:pt x="199" y="226"/>
                    <a:pt x="199" y="226"/>
                    <a:pt x="199" y="226"/>
                  </a:cubicBezTo>
                  <a:cubicBezTo>
                    <a:pt x="199" y="226"/>
                    <a:pt x="200" y="227"/>
                    <a:pt x="200" y="227"/>
                  </a:cubicBezTo>
                  <a:cubicBezTo>
                    <a:pt x="201" y="227"/>
                    <a:pt x="201" y="227"/>
                    <a:pt x="201" y="227"/>
                  </a:cubicBezTo>
                  <a:cubicBezTo>
                    <a:pt x="202" y="227"/>
                    <a:pt x="202" y="227"/>
                    <a:pt x="202" y="227"/>
                  </a:cubicBezTo>
                  <a:cubicBezTo>
                    <a:pt x="202" y="227"/>
                    <a:pt x="201" y="227"/>
                    <a:pt x="202" y="227"/>
                  </a:cubicBezTo>
                  <a:cubicBezTo>
                    <a:pt x="203" y="228"/>
                    <a:pt x="204" y="228"/>
                    <a:pt x="204" y="228"/>
                  </a:cubicBezTo>
                  <a:cubicBezTo>
                    <a:pt x="204" y="228"/>
                    <a:pt x="204" y="227"/>
                    <a:pt x="204" y="226"/>
                  </a:cubicBezTo>
                  <a:cubicBezTo>
                    <a:pt x="205" y="226"/>
                    <a:pt x="205" y="225"/>
                    <a:pt x="205" y="225"/>
                  </a:cubicBezTo>
                  <a:cubicBezTo>
                    <a:pt x="206" y="225"/>
                    <a:pt x="208" y="224"/>
                    <a:pt x="208" y="224"/>
                  </a:cubicBezTo>
                  <a:cubicBezTo>
                    <a:pt x="208" y="224"/>
                    <a:pt x="207" y="223"/>
                    <a:pt x="206" y="222"/>
                  </a:cubicBezTo>
                  <a:cubicBezTo>
                    <a:pt x="206" y="222"/>
                    <a:pt x="205" y="221"/>
                    <a:pt x="207" y="221"/>
                  </a:cubicBezTo>
                  <a:cubicBezTo>
                    <a:pt x="208" y="221"/>
                    <a:pt x="209" y="221"/>
                    <a:pt x="209" y="221"/>
                  </a:cubicBezTo>
                  <a:cubicBezTo>
                    <a:pt x="210" y="222"/>
                    <a:pt x="210" y="222"/>
                    <a:pt x="210" y="222"/>
                  </a:cubicBezTo>
                  <a:cubicBezTo>
                    <a:pt x="210" y="221"/>
                    <a:pt x="210" y="221"/>
                    <a:pt x="210" y="221"/>
                  </a:cubicBezTo>
                  <a:cubicBezTo>
                    <a:pt x="211" y="220"/>
                    <a:pt x="211" y="220"/>
                    <a:pt x="211" y="220"/>
                  </a:cubicBezTo>
                  <a:cubicBezTo>
                    <a:pt x="211" y="220"/>
                    <a:pt x="211" y="219"/>
                    <a:pt x="212" y="219"/>
                  </a:cubicBezTo>
                  <a:cubicBezTo>
                    <a:pt x="212" y="219"/>
                    <a:pt x="213" y="219"/>
                    <a:pt x="213" y="219"/>
                  </a:cubicBezTo>
                  <a:cubicBezTo>
                    <a:pt x="213" y="219"/>
                    <a:pt x="214" y="220"/>
                    <a:pt x="214" y="220"/>
                  </a:cubicBezTo>
                  <a:cubicBezTo>
                    <a:pt x="214" y="220"/>
                    <a:pt x="215" y="220"/>
                    <a:pt x="215" y="220"/>
                  </a:cubicBezTo>
                  <a:cubicBezTo>
                    <a:pt x="215" y="220"/>
                    <a:pt x="216" y="220"/>
                    <a:pt x="216" y="220"/>
                  </a:cubicBezTo>
                  <a:cubicBezTo>
                    <a:pt x="216" y="220"/>
                    <a:pt x="218" y="220"/>
                    <a:pt x="218" y="220"/>
                  </a:cubicBezTo>
                  <a:cubicBezTo>
                    <a:pt x="218" y="220"/>
                    <a:pt x="218" y="219"/>
                    <a:pt x="218" y="219"/>
                  </a:cubicBezTo>
                  <a:cubicBezTo>
                    <a:pt x="218" y="219"/>
                    <a:pt x="221" y="219"/>
                    <a:pt x="221" y="219"/>
                  </a:cubicBezTo>
                  <a:cubicBezTo>
                    <a:pt x="221" y="219"/>
                    <a:pt x="222" y="219"/>
                    <a:pt x="222" y="219"/>
                  </a:cubicBezTo>
                  <a:cubicBezTo>
                    <a:pt x="223" y="219"/>
                    <a:pt x="224" y="219"/>
                    <a:pt x="224" y="219"/>
                  </a:cubicBezTo>
                  <a:cubicBezTo>
                    <a:pt x="224" y="219"/>
                    <a:pt x="225" y="220"/>
                    <a:pt x="225" y="220"/>
                  </a:cubicBezTo>
                  <a:cubicBezTo>
                    <a:pt x="226" y="220"/>
                    <a:pt x="227" y="220"/>
                    <a:pt x="227" y="220"/>
                  </a:cubicBezTo>
                  <a:cubicBezTo>
                    <a:pt x="227" y="220"/>
                    <a:pt x="227" y="219"/>
                    <a:pt x="227" y="219"/>
                  </a:cubicBezTo>
                  <a:cubicBezTo>
                    <a:pt x="228" y="219"/>
                    <a:pt x="228" y="219"/>
                    <a:pt x="228" y="219"/>
                  </a:cubicBezTo>
                  <a:cubicBezTo>
                    <a:pt x="230" y="220"/>
                    <a:pt x="230" y="220"/>
                    <a:pt x="230" y="220"/>
                  </a:cubicBezTo>
                  <a:cubicBezTo>
                    <a:pt x="230" y="220"/>
                    <a:pt x="231" y="220"/>
                    <a:pt x="231" y="220"/>
                  </a:cubicBezTo>
                  <a:cubicBezTo>
                    <a:pt x="231" y="220"/>
                    <a:pt x="232" y="220"/>
                    <a:pt x="232" y="220"/>
                  </a:cubicBezTo>
                  <a:cubicBezTo>
                    <a:pt x="232" y="220"/>
                    <a:pt x="232" y="221"/>
                    <a:pt x="232" y="221"/>
                  </a:cubicBezTo>
                  <a:cubicBezTo>
                    <a:pt x="233" y="222"/>
                    <a:pt x="233" y="222"/>
                    <a:pt x="233" y="223"/>
                  </a:cubicBezTo>
                  <a:cubicBezTo>
                    <a:pt x="234" y="223"/>
                    <a:pt x="234" y="223"/>
                    <a:pt x="234" y="223"/>
                  </a:cubicBezTo>
                  <a:cubicBezTo>
                    <a:pt x="234" y="224"/>
                    <a:pt x="234" y="224"/>
                    <a:pt x="234" y="225"/>
                  </a:cubicBezTo>
                  <a:cubicBezTo>
                    <a:pt x="234" y="225"/>
                    <a:pt x="234" y="225"/>
                    <a:pt x="235" y="225"/>
                  </a:cubicBezTo>
                  <a:cubicBezTo>
                    <a:pt x="235" y="226"/>
                    <a:pt x="237" y="226"/>
                    <a:pt x="237" y="226"/>
                  </a:cubicBezTo>
                  <a:cubicBezTo>
                    <a:pt x="237" y="226"/>
                    <a:pt x="238" y="226"/>
                    <a:pt x="238" y="226"/>
                  </a:cubicBezTo>
                  <a:cubicBezTo>
                    <a:pt x="239" y="226"/>
                    <a:pt x="240" y="226"/>
                    <a:pt x="240" y="226"/>
                  </a:cubicBezTo>
                  <a:cubicBezTo>
                    <a:pt x="240" y="226"/>
                    <a:pt x="241" y="226"/>
                    <a:pt x="241" y="226"/>
                  </a:cubicBezTo>
                  <a:cubicBezTo>
                    <a:pt x="241" y="226"/>
                    <a:pt x="241" y="227"/>
                    <a:pt x="241" y="227"/>
                  </a:cubicBezTo>
                  <a:cubicBezTo>
                    <a:pt x="243" y="227"/>
                    <a:pt x="243" y="227"/>
                    <a:pt x="243" y="227"/>
                  </a:cubicBezTo>
                  <a:cubicBezTo>
                    <a:pt x="243" y="227"/>
                    <a:pt x="243" y="227"/>
                    <a:pt x="243" y="227"/>
                  </a:cubicBezTo>
                  <a:cubicBezTo>
                    <a:pt x="243" y="227"/>
                    <a:pt x="244" y="227"/>
                    <a:pt x="244" y="227"/>
                  </a:cubicBezTo>
                  <a:cubicBezTo>
                    <a:pt x="244" y="227"/>
                    <a:pt x="245" y="227"/>
                    <a:pt x="245" y="227"/>
                  </a:cubicBezTo>
                  <a:cubicBezTo>
                    <a:pt x="245" y="228"/>
                    <a:pt x="246" y="228"/>
                    <a:pt x="246" y="228"/>
                  </a:cubicBezTo>
                  <a:cubicBezTo>
                    <a:pt x="246" y="228"/>
                    <a:pt x="247" y="228"/>
                    <a:pt x="248" y="228"/>
                  </a:cubicBezTo>
                  <a:cubicBezTo>
                    <a:pt x="248" y="228"/>
                    <a:pt x="250" y="228"/>
                    <a:pt x="250" y="228"/>
                  </a:cubicBezTo>
                  <a:cubicBezTo>
                    <a:pt x="250" y="228"/>
                    <a:pt x="251" y="229"/>
                    <a:pt x="251" y="229"/>
                  </a:cubicBezTo>
                  <a:cubicBezTo>
                    <a:pt x="251" y="229"/>
                    <a:pt x="251" y="230"/>
                    <a:pt x="251" y="230"/>
                  </a:cubicBezTo>
                  <a:cubicBezTo>
                    <a:pt x="251" y="230"/>
                    <a:pt x="251" y="230"/>
                    <a:pt x="252" y="230"/>
                  </a:cubicBezTo>
                  <a:cubicBezTo>
                    <a:pt x="252" y="230"/>
                    <a:pt x="252" y="229"/>
                    <a:pt x="253" y="229"/>
                  </a:cubicBezTo>
                  <a:cubicBezTo>
                    <a:pt x="254" y="229"/>
                    <a:pt x="256" y="230"/>
                    <a:pt x="257" y="230"/>
                  </a:cubicBezTo>
                  <a:cubicBezTo>
                    <a:pt x="258" y="231"/>
                    <a:pt x="258" y="230"/>
                    <a:pt x="259" y="230"/>
                  </a:cubicBezTo>
                  <a:cubicBezTo>
                    <a:pt x="260" y="230"/>
                    <a:pt x="260" y="229"/>
                    <a:pt x="260" y="229"/>
                  </a:cubicBezTo>
                  <a:cubicBezTo>
                    <a:pt x="260" y="229"/>
                    <a:pt x="260" y="228"/>
                    <a:pt x="260" y="227"/>
                  </a:cubicBezTo>
                  <a:cubicBezTo>
                    <a:pt x="260" y="227"/>
                    <a:pt x="258" y="226"/>
                    <a:pt x="258" y="226"/>
                  </a:cubicBezTo>
                  <a:cubicBezTo>
                    <a:pt x="258" y="226"/>
                    <a:pt x="257" y="225"/>
                    <a:pt x="256" y="225"/>
                  </a:cubicBezTo>
                  <a:cubicBezTo>
                    <a:pt x="256" y="225"/>
                    <a:pt x="255" y="222"/>
                    <a:pt x="255" y="222"/>
                  </a:cubicBezTo>
                  <a:cubicBezTo>
                    <a:pt x="256" y="220"/>
                    <a:pt x="256" y="220"/>
                    <a:pt x="256" y="220"/>
                  </a:cubicBezTo>
                  <a:cubicBezTo>
                    <a:pt x="256" y="220"/>
                    <a:pt x="256" y="220"/>
                    <a:pt x="255" y="220"/>
                  </a:cubicBezTo>
                  <a:cubicBezTo>
                    <a:pt x="254" y="219"/>
                    <a:pt x="254" y="217"/>
                    <a:pt x="254" y="217"/>
                  </a:cubicBezTo>
                  <a:cubicBezTo>
                    <a:pt x="254" y="214"/>
                    <a:pt x="254" y="214"/>
                    <a:pt x="254" y="214"/>
                  </a:cubicBezTo>
                  <a:cubicBezTo>
                    <a:pt x="251" y="210"/>
                    <a:pt x="251" y="210"/>
                    <a:pt x="251" y="210"/>
                  </a:cubicBezTo>
                  <a:cubicBezTo>
                    <a:pt x="251" y="210"/>
                    <a:pt x="251" y="207"/>
                    <a:pt x="251" y="207"/>
                  </a:cubicBezTo>
                  <a:cubicBezTo>
                    <a:pt x="252" y="206"/>
                    <a:pt x="255" y="199"/>
                    <a:pt x="255" y="199"/>
                  </a:cubicBezTo>
                  <a:cubicBezTo>
                    <a:pt x="263" y="189"/>
                    <a:pt x="263" y="189"/>
                    <a:pt x="263" y="189"/>
                  </a:cubicBezTo>
                  <a:cubicBezTo>
                    <a:pt x="263" y="189"/>
                    <a:pt x="263" y="188"/>
                    <a:pt x="265" y="184"/>
                  </a:cubicBezTo>
                  <a:cubicBezTo>
                    <a:pt x="266" y="179"/>
                    <a:pt x="266" y="181"/>
                    <a:pt x="267" y="180"/>
                  </a:cubicBezTo>
                  <a:cubicBezTo>
                    <a:pt x="267" y="178"/>
                    <a:pt x="269" y="177"/>
                    <a:pt x="270" y="176"/>
                  </a:cubicBezTo>
                  <a:cubicBezTo>
                    <a:pt x="271" y="176"/>
                    <a:pt x="272" y="173"/>
                    <a:pt x="273" y="170"/>
                  </a:cubicBezTo>
                  <a:cubicBezTo>
                    <a:pt x="274" y="168"/>
                    <a:pt x="275" y="170"/>
                    <a:pt x="276" y="170"/>
                  </a:cubicBezTo>
                  <a:cubicBezTo>
                    <a:pt x="277" y="169"/>
                    <a:pt x="277" y="167"/>
                    <a:pt x="278" y="167"/>
                  </a:cubicBezTo>
                  <a:cubicBezTo>
                    <a:pt x="280" y="167"/>
                    <a:pt x="280" y="165"/>
                    <a:pt x="281" y="164"/>
                  </a:cubicBezTo>
                  <a:cubicBezTo>
                    <a:pt x="281" y="163"/>
                    <a:pt x="281" y="161"/>
                    <a:pt x="281" y="161"/>
                  </a:cubicBezTo>
                  <a:cubicBezTo>
                    <a:pt x="281" y="156"/>
                    <a:pt x="281" y="156"/>
                    <a:pt x="281" y="156"/>
                  </a:cubicBezTo>
                  <a:cubicBezTo>
                    <a:pt x="278" y="152"/>
                    <a:pt x="278" y="152"/>
                    <a:pt x="278" y="152"/>
                  </a:cubicBezTo>
                  <a:cubicBezTo>
                    <a:pt x="278" y="152"/>
                    <a:pt x="277" y="152"/>
                    <a:pt x="277" y="151"/>
                  </a:cubicBezTo>
                  <a:cubicBezTo>
                    <a:pt x="277" y="150"/>
                    <a:pt x="277" y="149"/>
                    <a:pt x="277" y="149"/>
                  </a:cubicBezTo>
                  <a:cubicBezTo>
                    <a:pt x="277" y="149"/>
                    <a:pt x="280" y="149"/>
                    <a:pt x="281" y="149"/>
                  </a:cubicBezTo>
                  <a:cubicBezTo>
                    <a:pt x="282" y="148"/>
                    <a:pt x="281" y="147"/>
                    <a:pt x="279" y="146"/>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31"/>
            <p:cNvSpPr>
              <a:spLocks/>
            </p:cNvSpPr>
            <p:nvPr/>
          </p:nvSpPr>
          <p:spPr bwMode="auto">
            <a:xfrm>
              <a:off x="5621564" y="4119891"/>
              <a:ext cx="538667" cy="281851"/>
            </a:xfrm>
            <a:custGeom>
              <a:avLst/>
              <a:gdLst>
                <a:gd name="T0" fmla="*/ 180 w 186"/>
                <a:gd name="T1" fmla="*/ 44 h 103"/>
                <a:gd name="T2" fmla="*/ 164 w 186"/>
                <a:gd name="T3" fmla="*/ 35 h 103"/>
                <a:gd name="T4" fmla="*/ 152 w 186"/>
                <a:gd name="T5" fmla="*/ 33 h 103"/>
                <a:gd name="T6" fmla="*/ 151 w 186"/>
                <a:gd name="T7" fmla="*/ 24 h 103"/>
                <a:gd name="T8" fmla="*/ 135 w 186"/>
                <a:gd name="T9" fmla="*/ 21 h 103"/>
                <a:gd name="T10" fmla="*/ 131 w 186"/>
                <a:gd name="T11" fmla="*/ 28 h 103"/>
                <a:gd name="T12" fmla="*/ 119 w 186"/>
                <a:gd name="T13" fmla="*/ 31 h 103"/>
                <a:gd name="T14" fmla="*/ 111 w 186"/>
                <a:gd name="T15" fmla="*/ 23 h 103"/>
                <a:gd name="T16" fmla="*/ 112 w 186"/>
                <a:gd name="T17" fmla="*/ 16 h 103"/>
                <a:gd name="T18" fmla="*/ 102 w 186"/>
                <a:gd name="T19" fmla="*/ 14 h 103"/>
                <a:gd name="T20" fmla="*/ 95 w 186"/>
                <a:gd name="T21" fmla="*/ 10 h 103"/>
                <a:gd name="T22" fmla="*/ 85 w 186"/>
                <a:gd name="T23" fmla="*/ 9 h 103"/>
                <a:gd name="T24" fmla="*/ 79 w 186"/>
                <a:gd name="T25" fmla="*/ 1 h 103"/>
                <a:gd name="T26" fmla="*/ 73 w 186"/>
                <a:gd name="T27" fmla="*/ 0 h 103"/>
                <a:gd name="T28" fmla="*/ 69 w 186"/>
                <a:gd name="T29" fmla="*/ 7 h 103"/>
                <a:gd name="T30" fmla="*/ 59 w 186"/>
                <a:gd name="T31" fmla="*/ 6 h 103"/>
                <a:gd name="T32" fmla="*/ 54 w 186"/>
                <a:gd name="T33" fmla="*/ 1 h 103"/>
                <a:gd name="T34" fmla="*/ 54 w 186"/>
                <a:gd name="T35" fmla="*/ 8 h 103"/>
                <a:gd name="T36" fmla="*/ 34 w 186"/>
                <a:gd name="T37" fmla="*/ 18 h 103"/>
                <a:gd name="T38" fmla="*/ 21 w 186"/>
                <a:gd name="T39" fmla="*/ 26 h 103"/>
                <a:gd name="T40" fmla="*/ 13 w 186"/>
                <a:gd name="T41" fmla="*/ 31 h 103"/>
                <a:gd name="T42" fmla="*/ 6 w 186"/>
                <a:gd name="T43" fmla="*/ 33 h 103"/>
                <a:gd name="T44" fmla="*/ 4 w 186"/>
                <a:gd name="T45" fmla="*/ 44 h 103"/>
                <a:gd name="T46" fmla="*/ 6 w 186"/>
                <a:gd name="T47" fmla="*/ 57 h 103"/>
                <a:gd name="T48" fmla="*/ 11 w 186"/>
                <a:gd name="T49" fmla="*/ 68 h 103"/>
                <a:gd name="T50" fmla="*/ 16 w 186"/>
                <a:gd name="T51" fmla="*/ 73 h 103"/>
                <a:gd name="T52" fmla="*/ 26 w 186"/>
                <a:gd name="T53" fmla="*/ 77 h 103"/>
                <a:gd name="T54" fmla="*/ 30 w 186"/>
                <a:gd name="T55" fmla="*/ 82 h 103"/>
                <a:gd name="T56" fmla="*/ 34 w 186"/>
                <a:gd name="T57" fmla="*/ 88 h 103"/>
                <a:gd name="T58" fmla="*/ 40 w 186"/>
                <a:gd name="T59" fmla="*/ 89 h 103"/>
                <a:gd name="T60" fmla="*/ 45 w 186"/>
                <a:gd name="T61" fmla="*/ 94 h 103"/>
                <a:gd name="T62" fmla="*/ 51 w 186"/>
                <a:gd name="T63" fmla="*/ 98 h 103"/>
                <a:gd name="T64" fmla="*/ 57 w 186"/>
                <a:gd name="T65" fmla="*/ 102 h 103"/>
                <a:gd name="T66" fmla="*/ 68 w 186"/>
                <a:gd name="T67" fmla="*/ 102 h 103"/>
                <a:gd name="T68" fmla="*/ 71 w 186"/>
                <a:gd name="T69" fmla="*/ 97 h 103"/>
                <a:gd name="T70" fmla="*/ 76 w 186"/>
                <a:gd name="T71" fmla="*/ 92 h 103"/>
                <a:gd name="T72" fmla="*/ 79 w 186"/>
                <a:gd name="T73" fmla="*/ 82 h 103"/>
                <a:gd name="T74" fmla="*/ 89 w 186"/>
                <a:gd name="T75" fmla="*/ 84 h 103"/>
                <a:gd name="T76" fmla="*/ 100 w 186"/>
                <a:gd name="T77" fmla="*/ 86 h 103"/>
                <a:gd name="T78" fmla="*/ 118 w 186"/>
                <a:gd name="T79" fmla="*/ 91 h 103"/>
                <a:gd name="T80" fmla="*/ 126 w 186"/>
                <a:gd name="T81" fmla="*/ 89 h 103"/>
                <a:gd name="T82" fmla="*/ 135 w 186"/>
                <a:gd name="T83" fmla="*/ 89 h 103"/>
                <a:gd name="T84" fmla="*/ 139 w 186"/>
                <a:gd name="T85" fmla="*/ 91 h 103"/>
                <a:gd name="T86" fmla="*/ 142 w 186"/>
                <a:gd name="T87" fmla="*/ 86 h 103"/>
                <a:gd name="T88" fmla="*/ 148 w 186"/>
                <a:gd name="T89" fmla="*/ 88 h 103"/>
                <a:gd name="T90" fmla="*/ 152 w 186"/>
                <a:gd name="T91" fmla="*/ 88 h 103"/>
                <a:gd name="T92" fmla="*/ 158 w 186"/>
                <a:gd name="T93" fmla="*/ 84 h 103"/>
                <a:gd name="T94" fmla="*/ 162 w 186"/>
                <a:gd name="T95" fmla="*/ 78 h 103"/>
                <a:gd name="T96" fmla="*/ 167 w 186"/>
                <a:gd name="T97" fmla="*/ 66 h 103"/>
                <a:gd name="T98" fmla="*/ 174 w 186"/>
                <a:gd name="T99" fmla="*/ 58 h 103"/>
                <a:gd name="T100" fmla="*/ 181 w 186"/>
                <a:gd name="T101" fmla="*/ 5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6" h="103">
                  <a:moveTo>
                    <a:pt x="185" y="49"/>
                  </a:moveTo>
                  <a:cubicBezTo>
                    <a:pt x="185" y="49"/>
                    <a:pt x="184" y="48"/>
                    <a:pt x="184" y="47"/>
                  </a:cubicBezTo>
                  <a:cubicBezTo>
                    <a:pt x="183" y="46"/>
                    <a:pt x="181" y="44"/>
                    <a:pt x="181" y="44"/>
                  </a:cubicBezTo>
                  <a:cubicBezTo>
                    <a:pt x="181" y="44"/>
                    <a:pt x="181" y="46"/>
                    <a:pt x="180" y="44"/>
                  </a:cubicBezTo>
                  <a:cubicBezTo>
                    <a:pt x="178" y="42"/>
                    <a:pt x="177" y="42"/>
                    <a:pt x="177" y="42"/>
                  </a:cubicBezTo>
                  <a:cubicBezTo>
                    <a:pt x="175" y="35"/>
                    <a:pt x="175" y="35"/>
                    <a:pt x="175" y="35"/>
                  </a:cubicBezTo>
                  <a:cubicBezTo>
                    <a:pt x="169" y="37"/>
                    <a:pt x="169" y="37"/>
                    <a:pt x="169" y="37"/>
                  </a:cubicBezTo>
                  <a:cubicBezTo>
                    <a:pt x="169" y="37"/>
                    <a:pt x="165" y="35"/>
                    <a:pt x="164" y="35"/>
                  </a:cubicBezTo>
                  <a:cubicBezTo>
                    <a:pt x="163" y="34"/>
                    <a:pt x="161" y="32"/>
                    <a:pt x="161" y="32"/>
                  </a:cubicBezTo>
                  <a:cubicBezTo>
                    <a:pt x="159" y="35"/>
                    <a:pt x="159" y="35"/>
                    <a:pt x="159" y="35"/>
                  </a:cubicBezTo>
                  <a:cubicBezTo>
                    <a:pt x="156" y="35"/>
                    <a:pt x="156" y="35"/>
                    <a:pt x="156" y="35"/>
                  </a:cubicBezTo>
                  <a:cubicBezTo>
                    <a:pt x="156" y="35"/>
                    <a:pt x="153" y="34"/>
                    <a:pt x="152" y="33"/>
                  </a:cubicBezTo>
                  <a:cubicBezTo>
                    <a:pt x="151" y="32"/>
                    <a:pt x="151" y="31"/>
                    <a:pt x="150" y="31"/>
                  </a:cubicBezTo>
                  <a:cubicBezTo>
                    <a:pt x="149" y="31"/>
                    <a:pt x="148" y="30"/>
                    <a:pt x="148" y="30"/>
                  </a:cubicBezTo>
                  <a:cubicBezTo>
                    <a:pt x="148" y="30"/>
                    <a:pt x="150" y="27"/>
                    <a:pt x="150" y="26"/>
                  </a:cubicBezTo>
                  <a:cubicBezTo>
                    <a:pt x="151" y="26"/>
                    <a:pt x="153" y="26"/>
                    <a:pt x="151" y="24"/>
                  </a:cubicBezTo>
                  <a:cubicBezTo>
                    <a:pt x="150" y="22"/>
                    <a:pt x="149" y="21"/>
                    <a:pt x="149" y="21"/>
                  </a:cubicBezTo>
                  <a:cubicBezTo>
                    <a:pt x="149" y="21"/>
                    <a:pt x="149" y="23"/>
                    <a:pt x="148" y="23"/>
                  </a:cubicBezTo>
                  <a:cubicBezTo>
                    <a:pt x="146" y="24"/>
                    <a:pt x="143" y="25"/>
                    <a:pt x="143" y="25"/>
                  </a:cubicBezTo>
                  <a:cubicBezTo>
                    <a:pt x="135" y="21"/>
                    <a:pt x="135" y="21"/>
                    <a:pt x="135" y="21"/>
                  </a:cubicBezTo>
                  <a:cubicBezTo>
                    <a:pt x="135" y="21"/>
                    <a:pt x="132" y="20"/>
                    <a:pt x="132" y="20"/>
                  </a:cubicBezTo>
                  <a:cubicBezTo>
                    <a:pt x="131" y="20"/>
                    <a:pt x="127" y="20"/>
                    <a:pt x="127" y="20"/>
                  </a:cubicBezTo>
                  <a:cubicBezTo>
                    <a:pt x="129" y="23"/>
                    <a:pt x="129" y="23"/>
                    <a:pt x="129" y="23"/>
                  </a:cubicBezTo>
                  <a:cubicBezTo>
                    <a:pt x="131" y="28"/>
                    <a:pt x="131" y="28"/>
                    <a:pt x="131" y="28"/>
                  </a:cubicBezTo>
                  <a:cubicBezTo>
                    <a:pt x="126" y="30"/>
                    <a:pt x="126" y="30"/>
                    <a:pt x="126" y="30"/>
                  </a:cubicBezTo>
                  <a:cubicBezTo>
                    <a:pt x="125" y="33"/>
                    <a:pt x="125" y="33"/>
                    <a:pt x="125" y="33"/>
                  </a:cubicBezTo>
                  <a:cubicBezTo>
                    <a:pt x="125" y="33"/>
                    <a:pt x="120" y="36"/>
                    <a:pt x="120" y="35"/>
                  </a:cubicBezTo>
                  <a:cubicBezTo>
                    <a:pt x="120" y="35"/>
                    <a:pt x="119" y="31"/>
                    <a:pt x="119" y="31"/>
                  </a:cubicBezTo>
                  <a:cubicBezTo>
                    <a:pt x="119" y="31"/>
                    <a:pt x="118" y="29"/>
                    <a:pt x="117" y="29"/>
                  </a:cubicBezTo>
                  <a:cubicBezTo>
                    <a:pt x="116" y="28"/>
                    <a:pt x="114" y="27"/>
                    <a:pt x="114" y="27"/>
                  </a:cubicBezTo>
                  <a:cubicBezTo>
                    <a:pt x="112" y="26"/>
                    <a:pt x="112" y="26"/>
                    <a:pt x="112" y="26"/>
                  </a:cubicBezTo>
                  <a:cubicBezTo>
                    <a:pt x="112" y="26"/>
                    <a:pt x="111" y="23"/>
                    <a:pt x="111" y="23"/>
                  </a:cubicBezTo>
                  <a:cubicBezTo>
                    <a:pt x="110" y="23"/>
                    <a:pt x="109" y="23"/>
                    <a:pt x="109" y="23"/>
                  </a:cubicBezTo>
                  <a:cubicBezTo>
                    <a:pt x="109" y="21"/>
                    <a:pt x="109" y="21"/>
                    <a:pt x="109" y="21"/>
                  </a:cubicBezTo>
                  <a:cubicBezTo>
                    <a:pt x="110" y="19"/>
                    <a:pt x="110" y="19"/>
                    <a:pt x="110" y="19"/>
                  </a:cubicBezTo>
                  <a:cubicBezTo>
                    <a:pt x="110" y="19"/>
                    <a:pt x="111" y="19"/>
                    <a:pt x="112" y="16"/>
                  </a:cubicBezTo>
                  <a:cubicBezTo>
                    <a:pt x="112" y="12"/>
                    <a:pt x="110" y="12"/>
                    <a:pt x="110" y="12"/>
                  </a:cubicBezTo>
                  <a:cubicBezTo>
                    <a:pt x="108" y="13"/>
                    <a:pt x="108" y="13"/>
                    <a:pt x="108" y="13"/>
                  </a:cubicBezTo>
                  <a:cubicBezTo>
                    <a:pt x="104" y="14"/>
                    <a:pt x="104" y="14"/>
                    <a:pt x="104" y="14"/>
                  </a:cubicBezTo>
                  <a:cubicBezTo>
                    <a:pt x="102" y="14"/>
                    <a:pt x="102" y="14"/>
                    <a:pt x="102" y="14"/>
                  </a:cubicBezTo>
                  <a:cubicBezTo>
                    <a:pt x="102" y="14"/>
                    <a:pt x="100" y="12"/>
                    <a:pt x="100" y="12"/>
                  </a:cubicBezTo>
                  <a:cubicBezTo>
                    <a:pt x="100" y="12"/>
                    <a:pt x="102" y="10"/>
                    <a:pt x="99" y="12"/>
                  </a:cubicBezTo>
                  <a:cubicBezTo>
                    <a:pt x="97" y="14"/>
                    <a:pt x="96" y="11"/>
                    <a:pt x="96" y="11"/>
                  </a:cubicBezTo>
                  <a:cubicBezTo>
                    <a:pt x="95" y="10"/>
                    <a:pt x="95" y="10"/>
                    <a:pt x="95" y="10"/>
                  </a:cubicBezTo>
                  <a:cubicBezTo>
                    <a:pt x="95" y="10"/>
                    <a:pt x="95" y="10"/>
                    <a:pt x="94" y="10"/>
                  </a:cubicBezTo>
                  <a:cubicBezTo>
                    <a:pt x="93" y="11"/>
                    <a:pt x="90" y="11"/>
                    <a:pt x="90" y="10"/>
                  </a:cubicBezTo>
                  <a:cubicBezTo>
                    <a:pt x="90" y="9"/>
                    <a:pt x="88" y="7"/>
                    <a:pt x="88" y="7"/>
                  </a:cubicBezTo>
                  <a:cubicBezTo>
                    <a:pt x="85" y="9"/>
                    <a:pt x="85" y="9"/>
                    <a:pt x="85" y="9"/>
                  </a:cubicBezTo>
                  <a:cubicBezTo>
                    <a:pt x="85" y="9"/>
                    <a:pt x="84" y="9"/>
                    <a:pt x="84" y="8"/>
                  </a:cubicBezTo>
                  <a:cubicBezTo>
                    <a:pt x="83" y="8"/>
                    <a:pt x="84" y="7"/>
                    <a:pt x="82" y="6"/>
                  </a:cubicBezTo>
                  <a:cubicBezTo>
                    <a:pt x="80" y="5"/>
                    <a:pt x="80" y="3"/>
                    <a:pt x="80" y="3"/>
                  </a:cubicBezTo>
                  <a:cubicBezTo>
                    <a:pt x="80" y="3"/>
                    <a:pt x="80" y="1"/>
                    <a:pt x="79" y="1"/>
                  </a:cubicBezTo>
                  <a:cubicBezTo>
                    <a:pt x="77" y="1"/>
                    <a:pt x="76" y="0"/>
                    <a:pt x="76" y="0"/>
                  </a:cubicBezTo>
                  <a:cubicBezTo>
                    <a:pt x="76" y="0"/>
                    <a:pt x="74" y="0"/>
                    <a:pt x="74" y="0"/>
                  </a:cubicBezTo>
                  <a:cubicBezTo>
                    <a:pt x="73" y="0"/>
                    <a:pt x="73" y="0"/>
                    <a:pt x="73" y="0"/>
                  </a:cubicBezTo>
                  <a:cubicBezTo>
                    <a:pt x="73" y="0"/>
                    <a:pt x="73" y="0"/>
                    <a:pt x="73" y="0"/>
                  </a:cubicBezTo>
                  <a:cubicBezTo>
                    <a:pt x="73" y="1"/>
                    <a:pt x="73" y="2"/>
                    <a:pt x="73" y="3"/>
                  </a:cubicBezTo>
                  <a:cubicBezTo>
                    <a:pt x="73" y="3"/>
                    <a:pt x="73" y="5"/>
                    <a:pt x="73" y="5"/>
                  </a:cubicBezTo>
                  <a:cubicBezTo>
                    <a:pt x="73" y="5"/>
                    <a:pt x="70" y="7"/>
                    <a:pt x="70" y="7"/>
                  </a:cubicBezTo>
                  <a:cubicBezTo>
                    <a:pt x="69" y="7"/>
                    <a:pt x="69" y="7"/>
                    <a:pt x="69" y="7"/>
                  </a:cubicBezTo>
                  <a:cubicBezTo>
                    <a:pt x="66" y="10"/>
                    <a:pt x="66" y="10"/>
                    <a:pt x="66" y="10"/>
                  </a:cubicBezTo>
                  <a:cubicBezTo>
                    <a:pt x="65" y="9"/>
                    <a:pt x="65" y="9"/>
                    <a:pt x="65" y="9"/>
                  </a:cubicBezTo>
                  <a:cubicBezTo>
                    <a:pt x="64" y="9"/>
                    <a:pt x="64" y="9"/>
                    <a:pt x="63" y="9"/>
                  </a:cubicBezTo>
                  <a:cubicBezTo>
                    <a:pt x="61" y="9"/>
                    <a:pt x="60" y="7"/>
                    <a:pt x="59" y="6"/>
                  </a:cubicBezTo>
                  <a:cubicBezTo>
                    <a:pt x="59" y="5"/>
                    <a:pt x="59" y="4"/>
                    <a:pt x="59" y="2"/>
                  </a:cubicBezTo>
                  <a:cubicBezTo>
                    <a:pt x="59" y="2"/>
                    <a:pt x="58" y="1"/>
                    <a:pt x="57" y="1"/>
                  </a:cubicBezTo>
                  <a:cubicBezTo>
                    <a:pt x="57" y="1"/>
                    <a:pt x="56" y="1"/>
                    <a:pt x="56" y="1"/>
                  </a:cubicBezTo>
                  <a:cubicBezTo>
                    <a:pt x="55" y="1"/>
                    <a:pt x="54" y="1"/>
                    <a:pt x="54" y="1"/>
                  </a:cubicBezTo>
                  <a:cubicBezTo>
                    <a:pt x="54" y="1"/>
                    <a:pt x="54" y="1"/>
                    <a:pt x="54" y="1"/>
                  </a:cubicBezTo>
                  <a:cubicBezTo>
                    <a:pt x="56" y="4"/>
                    <a:pt x="56" y="4"/>
                    <a:pt x="56" y="4"/>
                  </a:cubicBezTo>
                  <a:cubicBezTo>
                    <a:pt x="55" y="8"/>
                    <a:pt x="55" y="8"/>
                    <a:pt x="55" y="8"/>
                  </a:cubicBezTo>
                  <a:cubicBezTo>
                    <a:pt x="54" y="8"/>
                    <a:pt x="54" y="8"/>
                    <a:pt x="54" y="8"/>
                  </a:cubicBezTo>
                  <a:cubicBezTo>
                    <a:pt x="53" y="8"/>
                    <a:pt x="46" y="10"/>
                    <a:pt x="43" y="10"/>
                  </a:cubicBezTo>
                  <a:cubicBezTo>
                    <a:pt x="43" y="10"/>
                    <a:pt x="42" y="14"/>
                    <a:pt x="42" y="14"/>
                  </a:cubicBezTo>
                  <a:cubicBezTo>
                    <a:pt x="39" y="16"/>
                    <a:pt x="39" y="16"/>
                    <a:pt x="39" y="16"/>
                  </a:cubicBezTo>
                  <a:cubicBezTo>
                    <a:pt x="34" y="18"/>
                    <a:pt x="34" y="18"/>
                    <a:pt x="34" y="18"/>
                  </a:cubicBezTo>
                  <a:cubicBezTo>
                    <a:pt x="33" y="19"/>
                    <a:pt x="30" y="22"/>
                    <a:pt x="28" y="22"/>
                  </a:cubicBezTo>
                  <a:cubicBezTo>
                    <a:pt x="26" y="24"/>
                    <a:pt x="26" y="24"/>
                    <a:pt x="26" y="24"/>
                  </a:cubicBezTo>
                  <a:cubicBezTo>
                    <a:pt x="25" y="24"/>
                    <a:pt x="24" y="25"/>
                    <a:pt x="22" y="26"/>
                  </a:cubicBezTo>
                  <a:cubicBezTo>
                    <a:pt x="21" y="26"/>
                    <a:pt x="21" y="26"/>
                    <a:pt x="21" y="26"/>
                  </a:cubicBezTo>
                  <a:cubicBezTo>
                    <a:pt x="21" y="27"/>
                    <a:pt x="21" y="27"/>
                    <a:pt x="21" y="28"/>
                  </a:cubicBezTo>
                  <a:cubicBezTo>
                    <a:pt x="20" y="31"/>
                    <a:pt x="19" y="31"/>
                    <a:pt x="17" y="31"/>
                  </a:cubicBezTo>
                  <a:cubicBezTo>
                    <a:pt x="17" y="31"/>
                    <a:pt x="16" y="32"/>
                    <a:pt x="16" y="32"/>
                  </a:cubicBezTo>
                  <a:cubicBezTo>
                    <a:pt x="15" y="32"/>
                    <a:pt x="14" y="31"/>
                    <a:pt x="13" y="31"/>
                  </a:cubicBezTo>
                  <a:cubicBezTo>
                    <a:pt x="13" y="31"/>
                    <a:pt x="12" y="31"/>
                    <a:pt x="12" y="31"/>
                  </a:cubicBezTo>
                  <a:cubicBezTo>
                    <a:pt x="12" y="31"/>
                    <a:pt x="11" y="31"/>
                    <a:pt x="11" y="31"/>
                  </a:cubicBezTo>
                  <a:cubicBezTo>
                    <a:pt x="10" y="32"/>
                    <a:pt x="8" y="33"/>
                    <a:pt x="7" y="33"/>
                  </a:cubicBezTo>
                  <a:cubicBezTo>
                    <a:pt x="6" y="33"/>
                    <a:pt x="6" y="33"/>
                    <a:pt x="6" y="33"/>
                  </a:cubicBezTo>
                  <a:cubicBezTo>
                    <a:pt x="3" y="35"/>
                    <a:pt x="3" y="35"/>
                    <a:pt x="3" y="35"/>
                  </a:cubicBezTo>
                  <a:cubicBezTo>
                    <a:pt x="0" y="42"/>
                    <a:pt x="0" y="42"/>
                    <a:pt x="0" y="42"/>
                  </a:cubicBezTo>
                  <a:cubicBezTo>
                    <a:pt x="1" y="42"/>
                    <a:pt x="1" y="42"/>
                    <a:pt x="1" y="42"/>
                  </a:cubicBezTo>
                  <a:cubicBezTo>
                    <a:pt x="2" y="43"/>
                    <a:pt x="3" y="43"/>
                    <a:pt x="4" y="44"/>
                  </a:cubicBezTo>
                  <a:cubicBezTo>
                    <a:pt x="6" y="45"/>
                    <a:pt x="6" y="45"/>
                    <a:pt x="6" y="45"/>
                  </a:cubicBezTo>
                  <a:cubicBezTo>
                    <a:pt x="9" y="47"/>
                    <a:pt x="9" y="50"/>
                    <a:pt x="8" y="51"/>
                  </a:cubicBezTo>
                  <a:cubicBezTo>
                    <a:pt x="8" y="53"/>
                    <a:pt x="8" y="54"/>
                    <a:pt x="6" y="56"/>
                  </a:cubicBezTo>
                  <a:cubicBezTo>
                    <a:pt x="6" y="56"/>
                    <a:pt x="6" y="57"/>
                    <a:pt x="6" y="57"/>
                  </a:cubicBezTo>
                  <a:cubicBezTo>
                    <a:pt x="6" y="57"/>
                    <a:pt x="7" y="58"/>
                    <a:pt x="9" y="60"/>
                  </a:cubicBezTo>
                  <a:cubicBezTo>
                    <a:pt x="10" y="62"/>
                    <a:pt x="10" y="63"/>
                    <a:pt x="10" y="65"/>
                  </a:cubicBezTo>
                  <a:cubicBezTo>
                    <a:pt x="10" y="65"/>
                    <a:pt x="10" y="66"/>
                    <a:pt x="10" y="66"/>
                  </a:cubicBezTo>
                  <a:cubicBezTo>
                    <a:pt x="11" y="67"/>
                    <a:pt x="11" y="67"/>
                    <a:pt x="11" y="68"/>
                  </a:cubicBezTo>
                  <a:cubicBezTo>
                    <a:pt x="11" y="68"/>
                    <a:pt x="11" y="68"/>
                    <a:pt x="12" y="69"/>
                  </a:cubicBezTo>
                  <a:cubicBezTo>
                    <a:pt x="12" y="69"/>
                    <a:pt x="13" y="70"/>
                    <a:pt x="13" y="70"/>
                  </a:cubicBezTo>
                  <a:cubicBezTo>
                    <a:pt x="13" y="70"/>
                    <a:pt x="13" y="70"/>
                    <a:pt x="14" y="71"/>
                  </a:cubicBezTo>
                  <a:cubicBezTo>
                    <a:pt x="15" y="72"/>
                    <a:pt x="15" y="72"/>
                    <a:pt x="16" y="73"/>
                  </a:cubicBezTo>
                  <a:cubicBezTo>
                    <a:pt x="17" y="72"/>
                    <a:pt x="19" y="72"/>
                    <a:pt x="19" y="72"/>
                  </a:cubicBezTo>
                  <a:cubicBezTo>
                    <a:pt x="20" y="72"/>
                    <a:pt x="21" y="73"/>
                    <a:pt x="22" y="73"/>
                  </a:cubicBezTo>
                  <a:cubicBezTo>
                    <a:pt x="23" y="74"/>
                    <a:pt x="24" y="75"/>
                    <a:pt x="24" y="75"/>
                  </a:cubicBezTo>
                  <a:cubicBezTo>
                    <a:pt x="24" y="76"/>
                    <a:pt x="25" y="76"/>
                    <a:pt x="26" y="77"/>
                  </a:cubicBezTo>
                  <a:cubicBezTo>
                    <a:pt x="27" y="79"/>
                    <a:pt x="28" y="80"/>
                    <a:pt x="28" y="81"/>
                  </a:cubicBezTo>
                  <a:cubicBezTo>
                    <a:pt x="28" y="81"/>
                    <a:pt x="28" y="81"/>
                    <a:pt x="28" y="82"/>
                  </a:cubicBezTo>
                  <a:cubicBezTo>
                    <a:pt x="28" y="82"/>
                    <a:pt x="28" y="82"/>
                    <a:pt x="28" y="82"/>
                  </a:cubicBezTo>
                  <a:cubicBezTo>
                    <a:pt x="29" y="82"/>
                    <a:pt x="29" y="82"/>
                    <a:pt x="30" y="82"/>
                  </a:cubicBezTo>
                  <a:cubicBezTo>
                    <a:pt x="33" y="82"/>
                    <a:pt x="33" y="85"/>
                    <a:pt x="33" y="86"/>
                  </a:cubicBezTo>
                  <a:cubicBezTo>
                    <a:pt x="33" y="86"/>
                    <a:pt x="33" y="87"/>
                    <a:pt x="33" y="87"/>
                  </a:cubicBezTo>
                  <a:cubicBezTo>
                    <a:pt x="34" y="88"/>
                    <a:pt x="34" y="88"/>
                    <a:pt x="34" y="88"/>
                  </a:cubicBezTo>
                  <a:cubicBezTo>
                    <a:pt x="34" y="88"/>
                    <a:pt x="34" y="88"/>
                    <a:pt x="34" y="88"/>
                  </a:cubicBezTo>
                  <a:cubicBezTo>
                    <a:pt x="35" y="88"/>
                    <a:pt x="35" y="88"/>
                    <a:pt x="35" y="88"/>
                  </a:cubicBezTo>
                  <a:cubicBezTo>
                    <a:pt x="35" y="88"/>
                    <a:pt x="36" y="88"/>
                    <a:pt x="37" y="88"/>
                  </a:cubicBezTo>
                  <a:cubicBezTo>
                    <a:pt x="37" y="88"/>
                    <a:pt x="37" y="88"/>
                    <a:pt x="37" y="88"/>
                  </a:cubicBezTo>
                  <a:cubicBezTo>
                    <a:pt x="38" y="88"/>
                    <a:pt x="39" y="88"/>
                    <a:pt x="40" y="89"/>
                  </a:cubicBezTo>
                  <a:cubicBezTo>
                    <a:pt x="40" y="89"/>
                    <a:pt x="40" y="90"/>
                    <a:pt x="40" y="91"/>
                  </a:cubicBezTo>
                  <a:cubicBezTo>
                    <a:pt x="41" y="91"/>
                    <a:pt x="41" y="91"/>
                    <a:pt x="42" y="91"/>
                  </a:cubicBezTo>
                  <a:cubicBezTo>
                    <a:pt x="43" y="92"/>
                    <a:pt x="43" y="92"/>
                    <a:pt x="43" y="92"/>
                  </a:cubicBezTo>
                  <a:cubicBezTo>
                    <a:pt x="44" y="92"/>
                    <a:pt x="44" y="93"/>
                    <a:pt x="45" y="94"/>
                  </a:cubicBezTo>
                  <a:cubicBezTo>
                    <a:pt x="45" y="94"/>
                    <a:pt x="45" y="94"/>
                    <a:pt x="46" y="95"/>
                  </a:cubicBezTo>
                  <a:cubicBezTo>
                    <a:pt x="46" y="95"/>
                    <a:pt x="46" y="95"/>
                    <a:pt x="46" y="95"/>
                  </a:cubicBezTo>
                  <a:cubicBezTo>
                    <a:pt x="46" y="95"/>
                    <a:pt x="46" y="95"/>
                    <a:pt x="46" y="95"/>
                  </a:cubicBezTo>
                  <a:cubicBezTo>
                    <a:pt x="47" y="96"/>
                    <a:pt x="50" y="98"/>
                    <a:pt x="51" y="98"/>
                  </a:cubicBezTo>
                  <a:cubicBezTo>
                    <a:pt x="51" y="99"/>
                    <a:pt x="53" y="101"/>
                    <a:pt x="54" y="101"/>
                  </a:cubicBezTo>
                  <a:cubicBezTo>
                    <a:pt x="54" y="101"/>
                    <a:pt x="54" y="101"/>
                    <a:pt x="54" y="101"/>
                  </a:cubicBezTo>
                  <a:cubicBezTo>
                    <a:pt x="55" y="102"/>
                    <a:pt x="57" y="102"/>
                    <a:pt x="57" y="102"/>
                  </a:cubicBezTo>
                  <a:cubicBezTo>
                    <a:pt x="57" y="102"/>
                    <a:pt x="57" y="102"/>
                    <a:pt x="57" y="102"/>
                  </a:cubicBezTo>
                  <a:cubicBezTo>
                    <a:pt x="58" y="102"/>
                    <a:pt x="58" y="102"/>
                    <a:pt x="60" y="103"/>
                  </a:cubicBezTo>
                  <a:cubicBezTo>
                    <a:pt x="60" y="102"/>
                    <a:pt x="60" y="102"/>
                    <a:pt x="60" y="102"/>
                  </a:cubicBezTo>
                  <a:cubicBezTo>
                    <a:pt x="64" y="99"/>
                    <a:pt x="64" y="99"/>
                    <a:pt x="64" y="99"/>
                  </a:cubicBezTo>
                  <a:cubicBezTo>
                    <a:pt x="68" y="102"/>
                    <a:pt x="68" y="102"/>
                    <a:pt x="68" y="102"/>
                  </a:cubicBezTo>
                  <a:cubicBezTo>
                    <a:pt x="69" y="102"/>
                    <a:pt x="69" y="102"/>
                    <a:pt x="69" y="102"/>
                  </a:cubicBezTo>
                  <a:cubicBezTo>
                    <a:pt x="69" y="100"/>
                    <a:pt x="69" y="98"/>
                    <a:pt x="70" y="97"/>
                  </a:cubicBezTo>
                  <a:cubicBezTo>
                    <a:pt x="70" y="97"/>
                    <a:pt x="70" y="97"/>
                    <a:pt x="70" y="97"/>
                  </a:cubicBezTo>
                  <a:cubicBezTo>
                    <a:pt x="71" y="97"/>
                    <a:pt x="71" y="97"/>
                    <a:pt x="71" y="97"/>
                  </a:cubicBezTo>
                  <a:cubicBezTo>
                    <a:pt x="71" y="97"/>
                    <a:pt x="72" y="96"/>
                    <a:pt x="73" y="95"/>
                  </a:cubicBezTo>
                  <a:cubicBezTo>
                    <a:pt x="73" y="94"/>
                    <a:pt x="73" y="94"/>
                    <a:pt x="73" y="94"/>
                  </a:cubicBezTo>
                  <a:cubicBezTo>
                    <a:pt x="75" y="93"/>
                    <a:pt x="75" y="93"/>
                    <a:pt x="75" y="93"/>
                  </a:cubicBezTo>
                  <a:cubicBezTo>
                    <a:pt x="76" y="93"/>
                    <a:pt x="76" y="92"/>
                    <a:pt x="76" y="92"/>
                  </a:cubicBezTo>
                  <a:cubicBezTo>
                    <a:pt x="76" y="91"/>
                    <a:pt x="76" y="88"/>
                    <a:pt x="76" y="88"/>
                  </a:cubicBezTo>
                  <a:cubicBezTo>
                    <a:pt x="76" y="87"/>
                    <a:pt x="75" y="85"/>
                    <a:pt x="76" y="84"/>
                  </a:cubicBezTo>
                  <a:cubicBezTo>
                    <a:pt x="77" y="83"/>
                    <a:pt x="77" y="83"/>
                    <a:pt x="78" y="82"/>
                  </a:cubicBezTo>
                  <a:cubicBezTo>
                    <a:pt x="79" y="82"/>
                    <a:pt x="79" y="82"/>
                    <a:pt x="79" y="82"/>
                  </a:cubicBezTo>
                  <a:cubicBezTo>
                    <a:pt x="79" y="82"/>
                    <a:pt x="79" y="82"/>
                    <a:pt x="79" y="82"/>
                  </a:cubicBezTo>
                  <a:cubicBezTo>
                    <a:pt x="81" y="82"/>
                    <a:pt x="83" y="83"/>
                    <a:pt x="84" y="84"/>
                  </a:cubicBezTo>
                  <a:cubicBezTo>
                    <a:pt x="86" y="84"/>
                    <a:pt x="86" y="84"/>
                    <a:pt x="86" y="84"/>
                  </a:cubicBezTo>
                  <a:cubicBezTo>
                    <a:pt x="87" y="84"/>
                    <a:pt x="88" y="84"/>
                    <a:pt x="89" y="84"/>
                  </a:cubicBezTo>
                  <a:cubicBezTo>
                    <a:pt x="89" y="84"/>
                    <a:pt x="89" y="84"/>
                    <a:pt x="89" y="84"/>
                  </a:cubicBezTo>
                  <a:cubicBezTo>
                    <a:pt x="90" y="84"/>
                    <a:pt x="92" y="85"/>
                    <a:pt x="93" y="85"/>
                  </a:cubicBezTo>
                  <a:cubicBezTo>
                    <a:pt x="96" y="86"/>
                    <a:pt x="97" y="86"/>
                    <a:pt x="97" y="86"/>
                  </a:cubicBezTo>
                  <a:cubicBezTo>
                    <a:pt x="98" y="86"/>
                    <a:pt x="100" y="86"/>
                    <a:pt x="100" y="86"/>
                  </a:cubicBezTo>
                  <a:cubicBezTo>
                    <a:pt x="101" y="86"/>
                    <a:pt x="101" y="86"/>
                    <a:pt x="101" y="86"/>
                  </a:cubicBezTo>
                  <a:cubicBezTo>
                    <a:pt x="103" y="86"/>
                    <a:pt x="103" y="86"/>
                    <a:pt x="103" y="86"/>
                  </a:cubicBezTo>
                  <a:cubicBezTo>
                    <a:pt x="112" y="90"/>
                    <a:pt x="112" y="90"/>
                    <a:pt x="112" y="90"/>
                  </a:cubicBezTo>
                  <a:cubicBezTo>
                    <a:pt x="118" y="91"/>
                    <a:pt x="118" y="91"/>
                    <a:pt x="118" y="91"/>
                  </a:cubicBezTo>
                  <a:cubicBezTo>
                    <a:pt x="119" y="89"/>
                    <a:pt x="119" y="89"/>
                    <a:pt x="119" y="89"/>
                  </a:cubicBezTo>
                  <a:cubicBezTo>
                    <a:pt x="119" y="89"/>
                    <a:pt x="119" y="89"/>
                    <a:pt x="119" y="89"/>
                  </a:cubicBezTo>
                  <a:cubicBezTo>
                    <a:pt x="120" y="88"/>
                    <a:pt x="123" y="88"/>
                    <a:pt x="123" y="88"/>
                  </a:cubicBezTo>
                  <a:cubicBezTo>
                    <a:pt x="124" y="88"/>
                    <a:pt x="125" y="88"/>
                    <a:pt x="126" y="89"/>
                  </a:cubicBezTo>
                  <a:cubicBezTo>
                    <a:pt x="126" y="89"/>
                    <a:pt x="128" y="90"/>
                    <a:pt x="130" y="90"/>
                  </a:cubicBezTo>
                  <a:cubicBezTo>
                    <a:pt x="130" y="90"/>
                    <a:pt x="130" y="90"/>
                    <a:pt x="130" y="90"/>
                  </a:cubicBezTo>
                  <a:cubicBezTo>
                    <a:pt x="132" y="90"/>
                    <a:pt x="133" y="90"/>
                    <a:pt x="133" y="90"/>
                  </a:cubicBezTo>
                  <a:cubicBezTo>
                    <a:pt x="135" y="89"/>
                    <a:pt x="135" y="89"/>
                    <a:pt x="135" y="89"/>
                  </a:cubicBezTo>
                  <a:cubicBezTo>
                    <a:pt x="137" y="95"/>
                    <a:pt x="137" y="95"/>
                    <a:pt x="137" y="95"/>
                  </a:cubicBezTo>
                  <a:cubicBezTo>
                    <a:pt x="137" y="95"/>
                    <a:pt x="137" y="95"/>
                    <a:pt x="137" y="94"/>
                  </a:cubicBezTo>
                  <a:cubicBezTo>
                    <a:pt x="138" y="94"/>
                    <a:pt x="138" y="92"/>
                    <a:pt x="138" y="92"/>
                  </a:cubicBezTo>
                  <a:cubicBezTo>
                    <a:pt x="138" y="92"/>
                    <a:pt x="138" y="91"/>
                    <a:pt x="139" y="91"/>
                  </a:cubicBezTo>
                  <a:cubicBezTo>
                    <a:pt x="139" y="90"/>
                    <a:pt x="140" y="90"/>
                    <a:pt x="140" y="89"/>
                  </a:cubicBezTo>
                  <a:cubicBezTo>
                    <a:pt x="140" y="89"/>
                    <a:pt x="140" y="88"/>
                    <a:pt x="140" y="88"/>
                  </a:cubicBezTo>
                  <a:cubicBezTo>
                    <a:pt x="141" y="88"/>
                    <a:pt x="141" y="88"/>
                    <a:pt x="141" y="88"/>
                  </a:cubicBezTo>
                  <a:cubicBezTo>
                    <a:pt x="141" y="88"/>
                    <a:pt x="142" y="86"/>
                    <a:pt x="142" y="86"/>
                  </a:cubicBezTo>
                  <a:cubicBezTo>
                    <a:pt x="142" y="86"/>
                    <a:pt x="143" y="86"/>
                    <a:pt x="143" y="86"/>
                  </a:cubicBezTo>
                  <a:cubicBezTo>
                    <a:pt x="144" y="86"/>
                    <a:pt x="144" y="87"/>
                    <a:pt x="145" y="87"/>
                  </a:cubicBezTo>
                  <a:cubicBezTo>
                    <a:pt x="145" y="87"/>
                    <a:pt x="145" y="87"/>
                    <a:pt x="146" y="87"/>
                  </a:cubicBezTo>
                  <a:cubicBezTo>
                    <a:pt x="147" y="87"/>
                    <a:pt x="147" y="88"/>
                    <a:pt x="148" y="88"/>
                  </a:cubicBezTo>
                  <a:cubicBezTo>
                    <a:pt x="148" y="88"/>
                    <a:pt x="148" y="88"/>
                    <a:pt x="149" y="87"/>
                  </a:cubicBezTo>
                  <a:cubicBezTo>
                    <a:pt x="149" y="87"/>
                    <a:pt x="149" y="87"/>
                    <a:pt x="149" y="86"/>
                  </a:cubicBezTo>
                  <a:cubicBezTo>
                    <a:pt x="150" y="86"/>
                    <a:pt x="151" y="87"/>
                    <a:pt x="151" y="87"/>
                  </a:cubicBezTo>
                  <a:cubicBezTo>
                    <a:pt x="151" y="87"/>
                    <a:pt x="152" y="88"/>
                    <a:pt x="152" y="88"/>
                  </a:cubicBezTo>
                  <a:cubicBezTo>
                    <a:pt x="153" y="87"/>
                    <a:pt x="154" y="86"/>
                    <a:pt x="154" y="86"/>
                  </a:cubicBezTo>
                  <a:cubicBezTo>
                    <a:pt x="155" y="86"/>
                    <a:pt x="155" y="86"/>
                    <a:pt x="155" y="86"/>
                  </a:cubicBezTo>
                  <a:cubicBezTo>
                    <a:pt x="156" y="86"/>
                    <a:pt x="156" y="86"/>
                    <a:pt x="156" y="86"/>
                  </a:cubicBezTo>
                  <a:cubicBezTo>
                    <a:pt x="158" y="84"/>
                    <a:pt x="158" y="84"/>
                    <a:pt x="158" y="84"/>
                  </a:cubicBezTo>
                  <a:cubicBezTo>
                    <a:pt x="158" y="84"/>
                    <a:pt x="158" y="82"/>
                    <a:pt x="159" y="82"/>
                  </a:cubicBezTo>
                  <a:cubicBezTo>
                    <a:pt x="159" y="82"/>
                    <a:pt x="161" y="82"/>
                    <a:pt x="161" y="82"/>
                  </a:cubicBezTo>
                  <a:cubicBezTo>
                    <a:pt x="161" y="80"/>
                    <a:pt x="161" y="80"/>
                    <a:pt x="161" y="80"/>
                  </a:cubicBezTo>
                  <a:cubicBezTo>
                    <a:pt x="162" y="78"/>
                    <a:pt x="162" y="78"/>
                    <a:pt x="162" y="78"/>
                  </a:cubicBezTo>
                  <a:cubicBezTo>
                    <a:pt x="166" y="76"/>
                    <a:pt x="166" y="76"/>
                    <a:pt x="166" y="76"/>
                  </a:cubicBezTo>
                  <a:cubicBezTo>
                    <a:pt x="167" y="72"/>
                    <a:pt x="167" y="72"/>
                    <a:pt x="167" y="72"/>
                  </a:cubicBezTo>
                  <a:cubicBezTo>
                    <a:pt x="166" y="70"/>
                    <a:pt x="166" y="70"/>
                    <a:pt x="166" y="70"/>
                  </a:cubicBezTo>
                  <a:cubicBezTo>
                    <a:pt x="166" y="70"/>
                    <a:pt x="166" y="67"/>
                    <a:pt x="167" y="66"/>
                  </a:cubicBezTo>
                  <a:cubicBezTo>
                    <a:pt x="167" y="66"/>
                    <a:pt x="170" y="65"/>
                    <a:pt x="170" y="65"/>
                  </a:cubicBezTo>
                  <a:cubicBezTo>
                    <a:pt x="172" y="63"/>
                    <a:pt x="172" y="63"/>
                    <a:pt x="172" y="63"/>
                  </a:cubicBezTo>
                  <a:cubicBezTo>
                    <a:pt x="173" y="60"/>
                    <a:pt x="173" y="60"/>
                    <a:pt x="173" y="60"/>
                  </a:cubicBezTo>
                  <a:cubicBezTo>
                    <a:pt x="174" y="58"/>
                    <a:pt x="174" y="58"/>
                    <a:pt x="174" y="58"/>
                  </a:cubicBezTo>
                  <a:cubicBezTo>
                    <a:pt x="176" y="56"/>
                    <a:pt x="176" y="56"/>
                    <a:pt x="176" y="56"/>
                  </a:cubicBezTo>
                  <a:cubicBezTo>
                    <a:pt x="177" y="54"/>
                    <a:pt x="177" y="54"/>
                    <a:pt x="177" y="54"/>
                  </a:cubicBezTo>
                  <a:cubicBezTo>
                    <a:pt x="179" y="54"/>
                    <a:pt x="179" y="54"/>
                    <a:pt x="179" y="54"/>
                  </a:cubicBezTo>
                  <a:cubicBezTo>
                    <a:pt x="179" y="54"/>
                    <a:pt x="180" y="53"/>
                    <a:pt x="181" y="54"/>
                  </a:cubicBezTo>
                  <a:cubicBezTo>
                    <a:pt x="182" y="54"/>
                    <a:pt x="183" y="53"/>
                    <a:pt x="183" y="53"/>
                  </a:cubicBezTo>
                  <a:cubicBezTo>
                    <a:pt x="184" y="53"/>
                    <a:pt x="186" y="52"/>
                    <a:pt x="186" y="52"/>
                  </a:cubicBezTo>
                  <a:lnTo>
                    <a:pt x="185" y="49"/>
                  </a:lnTo>
                  <a:close/>
                </a:path>
              </a:pathLst>
            </a:custGeom>
            <a:solidFill>
              <a:schemeClr val="accent6">
                <a:lumMod val="75000"/>
              </a:schemeClr>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32"/>
            <p:cNvSpPr>
              <a:spLocks/>
            </p:cNvSpPr>
            <p:nvPr/>
          </p:nvSpPr>
          <p:spPr bwMode="auto">
            <a:xfrm>
              <a:off x="5507176" y="3646219"/>
              <a:ext cx="5777" cy="5446"/>
            </a:xfrm>
            <a:custGeom>
              <a:avLst/>
              <a:gdLst>
                <a:gd name="T0" fmla="*/ 2 w 2"/>
                <a:gd name="T1" fmla="*/ 1 h 2"/>
                <a:gd name="T2" fmla="*/ 1 w 2"/>
                <a:gd name="T3" fmla="*/ 0 h 2"/>
                <a:gd name="T4" fmla="*/ 0 w 2"/>
                <a:gd name="T5" fmla="*/ 1 h 2"/>
                <a:gd name="T6" fmla="*/ 0 w 2"/>
                <a:gd name="T7" fmla="*/ 2 h 2"/>
                <a:gd name="T8" fmla="*/ 1 w 2"/>
                <a:gd name="T9" fmla="*/ 2 h 2"/>
                <a:gd name="T10" fmla="*/ 2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2" y="1"/>
                  </a:moveTo>
                  <a:cubicBezTo>
                    <a:pt x="1" y="0"/>
                    <a:pt x="1" y="0"/>
                    <a:pt x="1" y="0"/>
                  </a:cubicBezTo>
                  <a:cubicBezTo>
                    <a:pt x="0" y="1"/>
                    <a:pt x="0" y="1"/>
                    <a:pt x="0" y="1"/>
                  </a:cubicBezTo>
                  <a:cubicBezTo>
                    <a:pt x="0" y="2"/>
                    <a:pt x="0" y="2"/>
                    <a:pt x="0" y="2"/>
                  </a:cubicBezTo>
                  <a:cubicBezTo>
                    <a:pt x="0" y="2"/>
                    <a:pt x="1" y="2"/>
                    <a:pt x="1" y="2"/>
                  </a:cubicBezTo>
                  <a:cubicBezTo>
                    <a:pt x="1" y="2"/>
                    <a:pt x="2" y="1"/>
                    <a:pt x="2" y="1"/>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33"/>
            <p:cNvSpPr>
              <a:spLocks/>
            </p:cNvSpPr>
            <p:nvPr/>
          </p:nvSpPr>
          <p:spPr bwMode="auto">
            <a:xfrm>
              <a:off x="5534615" y="3678897"/>
              <a:ext cx="2888" cy="2723"/>
            </a:xfrm>
            <a:custGeom>
              <a:avLst/>
              <a:gdLst>
                <a:gd name="T0" fmla="*/ 0 w 2"/>
                <a:gd name="T1" fmla="*/ 2 h 2"/>
                <a:gd name="T2" fmla="*/ 0 w 2"/>
                <a:gd name="T3" fmla="*/ 2 h 2"/>
                <a:gd name="T4" fmla="*/ 2 w 2"/>
                <a:gd name="T5" fmla="*/ 2 h 2"/>
                <a:gd name="T6" fmla="*/ 2 w 2"/>
                <a:gd name="T7" fmla="*/ 0 h 2"/>
                <a:gd name="T8" fmla="*/ 0 w 2"/>
                <a:gd name="T9" fmla="*/ 0 h 2"/>
                <a:gd name="T10" fmla="*/ 0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0" y="2"/>
                  </a:moveTo>
                  <a:lnTo>
                    <a:pt x="0" y="2"/>
                  </a:lnTo>
                  <a:lnTo>
                    <a:pt x="2" y="2"/>
                  </a:lnTo>
                  <a:lnTo>
                    <a:pt x="2" y="0"/>
                  </a:lnTo>
                  <a:lnTo>
                    <a:pt x="0" y="0"/>
                  </a:lnTo>
                  <a:lnTo>
                    <a:pt x="0" y="2"/>
                  </a:ln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34"/>
            <p:cNvSpPr>
              <a:spLocks/>
            </p:cNvSpPr>
            <p:nvPr/>
          </p:nvSpPr>
          <p:spPr bwMode="auto">
            <a:xfrm>
              <a:off x="5537503" y="3668004"/>
              <a:ext cx="2888" cy="5446"/>
            </a:xfrm>
            <a:custGeom>
              <a:avLst/>
              <a:gdLst>
                <a:gd name="T0" fmla="*/ 1 w 1"/>
                <a:gd name="T1" fmla="*/ 2 h 2"/>
                <a:gd name="T2" fmla="*/ 1 w 1"/>
                <a:gd name="T3" fmla="*/ 1 h 2"/>
                <a:gd name="T4" fmla="*/ 1 w 1"/>
                <a:gd name="T5" fmla="*/ 0 h 2"/>
                <a:gd name="T6" fmla="*/ 0 w 1"/>
                <a:gd name="T7" fmla="*/ 1 h 2"/>
                <a:gd name="T8" fmla="*/ 0 w 1"/>
                <a:gd name="T9" fmla="*/ 2 h 2"/>
                <a:gd name="T10" fmla="*/ 1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1" y="2"/>
                  </a:moveTo>
                  <a:cubicBezTo>
                    <a:pt x="1" y="2"/>
                    <a:pt x="1" y="1"/>
                    <a:pt x="1" y="1"/>
                  </a:cubicBezTo>
                  <a:cubicBezTo>
                    <a:pt x="1" y="0"/>
                    <a:pt x="1" y="0"/>
                    <a:pt x="1" y="0"/>
                  </a:cubicBezTo>
                  <a:cubicBezTo>
                    <a:pt x="0" y="1"/>
                    <a:pt x="0" y="1"/>
                    <a:pt x="0" y="1"/>
                  </a:cubicBezTo>
                  <a:cubicBezTo>
                    <a:pt x="0" y="2"/>
                    <a:pt x="0" y="2"/>
                    <a:pt x="0" y="2"/>
                  </a:cubicBezTo>
                  <a:lnTo>
                    <a:pt x="1" y="2"/>
                  </a:ln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35"/>
            <p:cNvSpPr>
              <a:spLocks/>
            </p:cNvSpPr>
            <p:nvPr/>
          </p:nvSpPr>
          <p:spPr bwMode="auto">
            <a:xfrm>
              <a:off x="5525950" y="3670727"/>
              <a:ext cx="8665" cy="5446"/>
            </a:xfrm>
            <a:custGeom>
              <a:avLst/>
              <a:gdLst>
                <a:gd name="T0" fmla="*/ 2 w 3"/>
                <a:gd name="T1" fmla="*/ 0 h 2"/>
                <a:gd name="T2" fmla="*/ 2 w 3"/>
                <a:gd name="T3" fmla="*/ 0 h 2"/>
                <a:gd name="T4" fmla="*/ 0 w 3"/>
                <a:gd name="T5" fmla="*/ 1 h 2"/>
                <a:gd name="T6" fmla="*/ 1 w 3"/>
                <a:gd name="T7" fmla="*/ 1 h 2"/>
                <a:gd name="T8" fmla="*/ 2 w 3"/>
                <a:gd name="T9" fmla="*/ 2 h 2"/>
                <a:gd name="T10" fmla="*/ 3 w 3"/>
                <a:gd name="T11" fmla="*/ 2 h 2"/>
                <a:gd name="T12" fmla="*/ 3 w 3"/>
                <a:gd name="T13" fmla="*/ 1 h 2"/>
                <a:gd name="T14" fmla="*/ 2 w 3"/>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2" y="0"/>
                  </a:moveTo>
                  <a:cubicBezTo>
                    <a:pt x="2" y="0"/>
                    <a:pt x="2" y="0"/>
                    <a:pt x="2" y="0"/>
                  </a:cubicBezTo>
                  <a:cubicBezTo>
                    <a:pt x="0" y="1"/>
                    <a:pt x="0" y="1"/>
                    <a:pt x="0" y="1"/>
                  </a:cubicBezTo>
                  <a:cubicBezTo>
                    <a:pt x="1" y="1"/>
                    <a:pt x="1" y="1"/>
                    <a:pt x="1" y="1"/>
                  </a:cubicBezTo>
                  <a:cubicBezTo>
                    <a:pt x="1" y="1"/>
                    <a:pt x="2" y="2"/>
                    <a:pt x="2" y="2"/>
                  </a:cubicBezTo>
                  <a:cubicBezTo>
                    <a:pt x="2" y="2"/>
                    <a:pt x="3" y="2"/>
                    <a:pt x="3" y="2"/>
                  </a:cubicBezTo>
                  <a:cubicBezTo>
                    <a:pt x="3" y="2"/>
                    <a:pt x="3" y="1"/>
                    <a:pt x="3" y="1"/>
                  </a:cubicBezTo>
                  <a:cubicBezTo>
                    <a:pt x="3" y="1"/>
                    <a:pt x="3" y="0"/>
                    <a:pt x="2" y="0"/>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36"/>
            <p:cNvSpPr>
              <a:spLocks/>
            </p:cNvSpPr>
            <p:nvPr/>
          </p:nvSpPr>
          <p:spPr bwMode="auto">
            <a:xfrm>
              <a:off x="5580828" y="3659835"/>
              <a:ext cx="31771" cy="19062"/>
            </a:xfrm>
            <a:custGeom>
              <a:avLst/>
              <a:gdLst>
                <a:gd name="T0" fmla="*/ 0 w 11"/>
                <a:gd name="T1" fmla="*/ 6 h 7"/>
                <a:gd name="T2" fmla="*/ 1 w 11"/>
                <a:gd name="T3" fmla="*/ 6 h 7"/>
                <a:gd name="T4" fmla="*/ 3 w 11"/>
                <a:gd name="T5" fmla="*/ 7 h 7"/>
                <a:gd name="T6" fmla="*/ 4 w 11"/>
                <a:gd name="T7" fmla="*/ 7 h 7"/>
                <a:gd name="T8" fmla="*/ 4 w 11"/>
                <a:gd name="T9" fmla="*/ 6 h 7"/>
                <a:gd name="T10" fmla="*/ 5 w 11"/>
                <a:gd name="T11" fmla="*/ 4 h 7"/>
                <a:gd name="T12" fmla="*/ 7 w 11"/>
                <a:gd name="T13" fmla="*/ 3 h 7"/>
                <a:gd name="T14" fmla="*/ 10 w 11"/>
                <a:gd name="T15" fmla="*/ 4 h 7"/>
                <a:gd name="T16" fmla="*/ 11 w 11"/>
                <a:gd name="T17" fmla="*/ 3 h 7"/>
                <a:gd name="T18" fmla="*/ 11 w 11"/>
                <a:gd name="T19" fmla="*/ 2 h 7"/>
                <a:gd name="T20" fmla="*/ 9 w 11"/>
                <a:gd name="T21" fmla="*/ 1 h 7"/>
                <a:gd name="T22" fmla="*/ 8 w 11"/>
                <a:gd name="T23" fmla="*/ 1 h 7"/>
                <a:gd name="T24" fmla="*/ 5 w 11"/>
                <a:gd name="T25" fmla="*/ 0 h 7"/>
                <a:gd name="T26" fmla="*/ 4 w 11"/>
                <a:gd name="T27" fmla="*/ 0 h 7"/>
                <a:gd name="T28" fmla="*/ 4 w 11"/>
                <a:gd name="T29" fmla="*/ 2 h 7"/>
                <a:gd name="T30" fmla="*/ 3 w 11"/>
                <a:gd name="T31" fmla="*/ 3 h 7"/>
                <a:gd name="T32" fmla="*/ 2 w 11"/>
                <a:gd name="T33" fmla="*/ 3 h 7"/>
                <a:gd name="T34" fmla="*/ 1 w 11"/>
                <a:gd name="T35" fmla="*/ 5 h 7"/>
                <a:gd name="T36" fmla="*/ 0 w 11"/>
                <a:gd name="T3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7">
                  <a:moveTo>
                    <a:pt x="0" y="6"/>
                  </a:moveTo>
                  <a:cubicBezTo>
                    <a:pt x="1" y="6"/>
                    <a:pt x="1" y="6"/>
                    <a:pt x="1" y="6"/>
                  </a:cubicBezTo>
                  <a:cubicBezTo>
                    <a:pt x="1" y="6"/>
                    <a:pt x="2" y="7"/>
                    <a:pt x="3" y="7"/>
                  </a:cubicBezTo>
                  <a:cubicBezTo>
                    <a:pt x="3" y="7"/>
                    <a:pt x="4" y="7"/>
                    <a:pt x="4" y="7"/>
                  </a:cubicBezTo>
                  <a:cubicBezTo>
                    <a:pt x="4" y="6"/>
                    <a:pt x="4" y="6"/>
                    <a:pt x="4" y="6"/>
                  </a:cubicBezTo>
                  <a:cubicBezTo>
                    <a:pt x="5" y="4"/>
                    <a:pt x="5" y="4"/>
                    <a:pt x="5" y="4"/>
                  </a:cubicBezTo>
                  <a:cubicBezTo>
                    <a:pt x="7" y="3"/>
                    <a:pt x="7" y="3"/>
                    <a:pt x="7" y="3"/>
                  </a:cubicBezTo>
                  <a:cubicBezTo>
                    <a:pt x="7" y="3"/>
                    <a:pt x="10" y="4"/>
                    <a:pt x="10" y="4"/>
                  </a:cubicBezTo>
                  <a:cubicBezTo>
                    <a:pt x="10" y="4"/>
                    <a:pt x="11" y="3"/>
                    <a:pt x="11" y="3"/>
                  </a:cubicBezTo>
                  <a:cubicBezTo>
                    <a:pt x="11" y="2"/>
                    <a:pt x="11" y="2"/>
                    <a:pt x="11" y="2"/>
                  </a:cubicBezTo>
                  <a:cubicBezTo>
                    <a:pt x="9" y="1"/>
                    <a:pt x="9" y="1"/>
                    <a:pt x="9" y="1"/>
                  </a:cubicBezTo>
                  <a:cubicBezTo>
                    <a:pt x="8" y="1"/>
                    <a:pt x="8" y="1"/>
                    <a:pt x="8" y="1"/>
                  </a:cubicBezTo>
                  <a:cubicBezTo>
                    <a:pt x="8" y="1"/>
                    <a:pt x="6" y="0"/>
                    <a:pt x="5" y="0"/>
                  </a:cubicBezTo>
                  <a:cubicBezTo>
                    <a:pt x="5" y="0"/>
                    <a:pt x="4" y="0"/>
                    <a:pt x="4" y="0"/>
                  </a:cubicBezTo>
                  <a:cubicBezTo>
                    <a:pt x="4" y="0"/>
                    <a:pt x="4" y="1"/>
                    <a:pt x="4" y="2"/>
                  </a:cubicBezTo>
                  <a:cubicBezTo>
                    <a:pt x="4" y="3"/>
                    <a:pt x="3" y="3"/>
                    <a:pt x="3" y="3"/>
                  </a:cubicBezTo>
                  <a:cubicBezTo>
                    <a:pt x="2" y="3"/>
                    <a:pt x="2" y="3"/>
                    <a:pt x="2" y="3"/>
                  </a:cubicBezTo>
                  <a:cubicBezTo>
                    <a:pt x="1" y="5"/>
                    <a:pt x="1" y="5"/>
                    <a:pt x="1" y="5"/>
                  </a:cubicBezTo>
                  <a:lnTo>
                    <a:pt x="0" y="6"/>
                  </a:ln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37"/>
            <p:cNvSpPr>
              <a:spLocks/>
            </p:cNvSpPr>
            <p:nvPr/>
          </p:nvSpPr>
          <p:spPr bwMode="auto">
            <a:xfrm>
              <a:off x="5440746" y="3578139"/>
              <a:ext cx="5777" cy="13616"/>
            </a:xfrm>
            <a:custGeom>
              <a:avLst/>
              <a:gdLst>
                <a:gd name="T0" fmla="*/ 0 w 2"/>
                <a:gd name="T1" fmla="*/ 3 h 5"/>
                <a:gd name="T2" fmla="*/ 1 w 2"/>
                <a:gd name="T3" fmla="*/ 4 h 5"/>
                <a:gd name="T4" fmla="*/ 2 w 2"/>
                <a:gd name="T5" fmla="*/ 5 h 5"/>
                <a:gd name="T6" fmla="*/ 2 w 2"/>
                <a:gd name="T7" fmla="*/ 4 h 5"/>
                <a:gd name="T8" fmla="*/ 2 w 2"/>
                <a:gd name="T9" fmla="*/ 2 h 5"/>
                <a:gd name="T10" fmla="*/ 2 w 2"/>
                <a:gd name="T11" fmla="*/ 1 h 5"/>
                <a:gd name="T12" fmla="*/ 2 w 2"/>
                <a:gd name="T13" fmla="*/ 0 h 5"/>
                <a:gd name="T14" fmla="*/ 1 w 2"/>
                <a:gd name="T15" fmla="*/ 1 h 5"/>
                <a:gd name="T16" fmla="*/ 1 w 2"/>
                <a:gd name="T17" fmla="*/ 1 h 5"/>
                <a:gd name="T18" fmla="*/ 1 w 2"/>
                <a:gd name="T19" fmla="*/ 2 h 5"/>
                <a:gd name="T20" fmla="*/ 0 w 2"/>
                <a:gd name="T2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3"/>
                  </a:moveTo>
                  <a:cubicBezTo>
                    <a:pt x="1" y="3"/>
                    <a:pt x="1" y="4"/>
                    <a:pt x="1" y="4"/>
                  </a:cubicBezTo>
                  <a:cubicBezTo>
                    <a:pt x="2" y="5"/>
                    <a:pt x="2" y="5"/>
                    <a:pt x="2" y="5"/>
                  </a:cubicBezTo>
                  <a:cubicBezTo>
                    <a:pt x="2" y="5"/>
                    <a:pt x="2" y="4"/>
                    <a:pt x="2" y="4"/>
                  </a:cubicBezTo>
                  <a:cubicBezTo>
                    <a:pt x="2" y="3"/>
                    <a:pt x="2" y="2"/>
                    <a:pt x="2" y="2"/>
                  </a:cubicBezTo>
                  <a:cubicBezTo>
                    <a:pt x="2" y="2"/>
                    <a:pt x="2" y="1"/>
                    <a:pt x="2" y="1"/>
                  </a:cubicBezTo>
                  <a:cubicBezTo>
                    <a:pt x="2" y="1"/>
                    <a:pt x="2" y="0"/>
                    <a:pt x="2" y="0"/>
                  </a:cubicBezTo>
                  <a:cubicBezTo>
                    <a:pt x="2" y="0"/>
                    <a:pt x="1" y="1"/>
                    <a:pt x="1" y="1"/>
                  </a:cubicBezTo>
                  <a:cubicBezTo>
                    <a:pt x="1" y="1"/>
                    <a:pt x="1" y="1"/>
                    <a:pt x="1" y="1"/>
                  </a:cubicBezTo>
                  <a:cubicBezTo>
                    <a:pt x="1" y="1"/>
                    <a:pt x="1" y="2"/>
                    <a:pt x="1" y="2"/>
                  </a:cubicBezTo>
                  <a:cubicBezTo>
                    <a:pt x="1" y="3"/>
                    <a:pt x="0" y="3"/>
                    <a:pt x="0" y="3"/>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reeform 38"/>
            <p:cNvSpPr>
              <a:spLocks/>
            </p:cNvSpPr>
            <p:nvPr/>
          </p:nvSpPr>
          <p:spPr bwMode="auto">
            <a:xfrm>
              <a:off x="5403198" y="3589032"/>
              <a:ext cx="86649" cy="76250"/>
            </a:xfrm>
            <a:custGeom>
              <a:avLst/>
              <a:gdLst>
                <a:gd name="T0" fmla="*/ 13 w 30"/>
                <a:gd name="T1" fmla="*/ 4 h 28"/>
                <a:gd name="T2" fmla="*/ 11 w 30"/>
                <a:gd name="T3" fmla="*/ 5 h 28"/>
                <a:gd name="T4" fmla="*/ 8 w 30"/>
                <a:gd name="T5" fmla="*/ 6 h 28"/>
                <a:gd name="T6" fmla="*/ 6 w 30"/>
                <a:gd name="T7" fmla="*/ 7 h 28"/>
                <a:gd name="T8" fmla="*/ 2 w 30"/>
                <a:gd name="T9" fmla="*/ 7 h 28"/>
                <a:gd name="T10" fmla="*/ 0 w 30"/>
                <a:gd name="T11" fmla="*/ 8 h 28"/>
                <a:gd name="T12" fmla="*/ 0 w 30"/>
                <a:gd name="T13" fmla="*/ 9 h 28"/>
                <a:gd name="T14" fmla="*/ 1 w 30"/>
                <a:gd name="T15" fmla="*/ 10 h 28"/>
                <a:gd name="T16" fmla="*/ 2 w 30"/>
                <a:gd name="T17" fmla="*/ 11 h 28"/>
                <a:gd name="T18" fmla="*/ 3 w 30"/>
                <a:gd name="T19" fmla="*/ 11 h 28"/>
                <a:gd name="T20" fmla="*/ 3 w 30"/>
                <a:gd name="T21" fmla="*/ 13 h 28"/>
                <a:gd name="T22" fmla="*/ 3 w 30"/>
                <a:gd name="T23" fmla="*/ 14 h 28"/>
                <a:gd name="T24" fmla="*/ 5 w 30"/>
                <a:gd name="T25" fmla="*/ 17 h 28"/>
                <a:gd name="T26" fmla="*/ 5 w 30"/>
                <a:gd name="T27" fmla="*/ 19 h 28"/>
                <a:gd name="T28" fmla="*/ 7 w 30"/>
                <a:gd name="T29" fmla="*/ 21 h 28"/>
                <a:gd name="T30" fmla="*/ 9 w 30"/>
                <a:gd name="T31" fmla="*/ 22 h 28"/>
                <a:gd name="T32" fmla="*/ 10 w 30"/>
                <a:gd name="T33" fmla="*/ 23 h 28"/>
                <a:gd name="T34" fmla="*/ 11 w 30"/>
                <a:gd name="T35" fmla="*/ 24 h 28"/>
                <a:gd name="T36" fmla="*/ 10 w 30"/>
                <a:gd name="T37" fmla="*/ 25 h 28"/>
                <a:gd name="T38" fmla="*/ 11 w 30"/>
                <a:gd name="T39" fmla="*/ 27 h 28"/>
                <a:gd name="T40" fmla="*/ 13 w 30"/>
                <a:gd name="T41" fmla="*/ 27 h 28"/>
                <a:gd name="T42" fmla="*/ 13 w 30"/>
                <a:gd name="T43" fmla="*/ 25 h 28"/>
                <a:gd name="T44" fmla="*/ 17 w 30"/>
                <a:gd name="T45" fmla="*/ 27 h 28"/>
                <a:gd name="T46" fmla="*/ 21 w 30"/>
                <a:gd name="T47" fmla="*/ 28 h 28"/>
                <a:gd name="T48" fmla="*/ 23 w 30"/>
                <a:gd name="T49" fmla="*/ 27 h 28"/>
                <a:gd name="T50" fmla="*/ 26 w 30"/>
                <a:gd name="T51" fmla="*/ 26 h 28"/>
                <a:gd name="T52" fmla="*/ 27 w 30"/>
                <a:gd name="T53" fmla="*/ 25 h 28"/>
                <a:gd name="T54" fmla="*/ 27 w 30"/>
                <a:gd name="T55" fmla="*/ 23 h 28"/>
                <a:gd name="T56" fmla="*/ 28 w 30"/>
                <a:gd name="T57" fmla="*/ 22 h 28"/>
                <a:gd name="T58" fmla="*/ 28 w 30"/>
                <a:gd name="T59" fmla="*/ 20 h 28"/>
                <a:gd name="T60" fmla="*/ 28 w 30"/>
                <a:gd name="T61" fmla="*/ 18 h 28"/>
                <a:gd name="T62" fmla="*/ 28 w 30"/>
                <a:gd name="T63" fmla="*/ 15 h 28"/>
                <a:gd name="T64" fmla="*/ 26 w 30"/>
                <a:gd name="T65" fmla="*/ 13 h 28"/>
                <a:gd name="T66" fmla="*/ 26 w 30"/>
                <a:gd name="T67" fmla="*/ 12 h 28"/>
                <a:gd name="T68" fmla="*/ 26 w 30"/>
                <a:gd name="T69" fmla="*/ 11 h 28"/>
                <a:gd name="T70" fmla="*/ 26 w 30"/>
                <a:gd name="T71" fmla="*/ 10 h 28"/>
                <a:gd name="T72" fmla="*/ 27 w 30"/>
                <a:gd name="T73" fmla="*/ 10 h 28"/>
                <a:gd name="T74" fmla="*/ 28 w 30"/>
                <a:gd name="T75" fmla="*/ 7 h 28"/>
                <a:gd name="T76" fmla="*/ 30 w 30"/>
                <a:gd name="T77" fmla="*/ 5 h 28"/>
                <a:gd name="T78" fmla="*/ 30 w 30"/>
                <a:gd name="T79" fmla="*/ 3 h 28"/>
                <a:gd name="T80" fmla="*/ 26 w 30"/>
                <a:gd name="T81" fmla="*/ 2 h 28"/>
                <a:gd name="T82" fmla="*/ 26 w 30"/>
                <a:gd name="T83" fmla="*/ 2 h 28"/>
                <a:gd name="T84" fmla="*/ 25 w 30"/>
                <a:gd name="T85" fmla="*/ 1 h 28"/>
                <a:gd name="T86" fmla="*/ 23 w 30"/>
                <a:gd name="T87" fmla="*/ 1 h 28"/>
                <a:gd name="T88" fmla="*/ 22 w 30"/>
                <a:gd name="T89" fmla="*/ 0 h 28"/>
                <a:gd name="T90" fmla="*/ 21 w 30"/>
                <a:gd name="T91" fmla="*/ 1 h 28"/>
                <a:gd name="T92" fmla="*/ 19 w 30"/>
                <a:gd name="T93" fmla="*/ 1 h 28"/>
                <a:gd name="T94" fmla="*/ 18 w 30"/>
                <a:gd name="T95" fmla="*/ 2 h 28"/>
                <a:gd name="T96" fmla="*/ 19 w 30"/>
                <a:gd name="T97" fmla="*/ 3 h 28"/>
                <a:gd name="T98" fmla="*/ 20 w 30"/>
                <a:gd name="T99" fmla="*/ 6 h 28"/>
                <a:gd name="T100" fmla="*/ 21 w 30"/>
                <a:gd name="T101" fmla="*/ 7 h 28"/>
                <a:gd name="T102" fmla="*/ 22 w 30"/>
                <a:gd name="T103" fmla="*/ 8 h 28"/>
                <a:gd name="T104" fmla="*/ 20 w 30"/>
                <a:gd name="T105" fmla="*/ 7 h 28"/>
                <a:gd name="T106" fmla="*/ 19 w 30"/>
                <a:gd name="T107" fmla="*/ 5 h 28"/>
                <a:gd name="T108" fmla="*/ 16 w 30"/>
                <a:gd name="T109" fmla="*/ 4 h 28"/>
                <a:gd name="T110" fmla="*/ 15 w 30"/>
                <a:gd name="T111" fmla="*/ 1 h 28"/>
                <a:gd name="T112" fmla="*/ 15 w 30"/>
                <a:gd name="T113" fmla="*/ 1 h 28"/>
                <a:gd name="T114" fmla="*/ 14 w 30"/>
                <a:gd name="T115" fmla="*/ 4 h 28"/>
                <a:gd name="T116" fmla="*/ 13 w 30"/>
                <a:gd name="T117"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 h="28">
                  <a:moveTo>
                    <a:pt x="13" y="4"/>
                  </a:moveTo>
                  <a:cubicBezTo>
                    <a:pt x="11" y="5"/>
                    <a:pt x="11" y="5"/>
                    <a:pt x="11" y="5"/>
                  </a:cubicBezTo>
                  <a:cubicBezTo>
                    <a:pt x="11" y="5"/>
                    <a:pt x="8" y="6"/>
                    <a:pt x="8" y="6"/>
                  </a:cubicBezTo>
                  <a:cubicBezTo>
                    <a:pt x="7" y="6"/>
                    <a:pt x="6" y="7"/>
                    <a:pt x="6" y="7"/>
                  </a:cubicBezTo>
                  <a:cubicBezTo>
                    <a:pt x="2" y="7"/>
                    <a:pt x="2" y="7"/>
                    <a:pt x="2" y="7"/>
                  </a:cubicBezTo>
                  <a:cubicBezTo>
                    <a:pt x="0" y="8"/>
                    <a:pt x="0" y="8"/>
                    <a:pt x="0" y="8"/>
                  </a:cubicBezTo>
                  <a:cubicBezTo>
                    <a:pt x="0" y="9"/>
                    <a:pt x="0" y="9"/>
                    <a:pt x="0" y="9"/>
                  </a:cubicBezTo>
                  <a:cubicBezTo>
                    <a:pt x="1" y="10"/>
                    <a:pt x="1" y="10"/>
                    <a:pt x="1" y="10"/>
                  </a:cubicBezTo>
                  <a:cubicBezTo>
                    <a:pt x="2" y="11"/>
                    <a:pt x="2" y="11"/>
                    <a:pt x="2" y="11"/>
                  </a:cubicBezTo>
                  <a:cubicBezTo>
                    <a:pt x="3" y="11"/>
                    <a:pt x="3" y="11"/>
                    <a:pt x="3" y="11"/>
                  </a:cubicBezTo>
                  <a:cubicBezTo>
                    <a:pt x="3" y="13"/>
                    <a:pt x="3" y="13"/>
                    <a:pt x="3" y="13"/>
                  </a:cubicBezTo>
                  <a:cubicBezTo>
                    <a:pt x="3" y="14"/>
                    <a:pt x="3" y="14"/>
                    <a:pt x="3" y="14"/>
                  </a:cubicBezTo>
                  <a:cubicBezTo>
                    <a:pt x="3" y="14"/>
                    <a:pt x="4" y="15"/>
                    <a:pt x="5" y="17"/>
                  </a:cubicBezTo>
                  <a:cubicBezTo>
                    <a:pt x="5" y="18"/>
                    <a:pt x="5" y="19"/>
                    <a:pt x="5" y="19"/>
                  </a:cubicBezTo>
                  <a:cubicBezTo>
                    <a:pt x="7" y="21"/>
                    <a:pt x="7" y="21"/>
                    <a:pt x="7" y="21"/>
                  </a:cubicBezTo>
                  <a:cubicBezTo>
                    <a:pt x="9" y="22"/>
                    <a:pt x="9" y="22"/>
                    <a:pt x="9" y="22"/>
                  </a:cubicBezTo>
                  <a:cubicBezTo>
                    <a:pt x="9" y="22"/>
                    <a:pt x="10" y="23"/>
                    <a:pt x="10" y="23"/>
                  </a:cubicBezTo>
                  <a:cubicBezTo>
                    <a:pt x="11" y="23"/>
                    <a:pt x="11" y="24"/>
                    <a:pt x="11" y="24"/>
                  </a:cubicBezTo>
                  <a:cubicBezTo>
                    <a:pt x="10" y="25"/>
                    <a:pt x="10" y="25"/>
                    <a:pt x="10" y="25"/>
                  </a:cubicBezTo>
                  <a:cubicBezTo>
                    <a:pt x="11" y="27"/>
                    <a:pt x="11" y="27"/>
                    <a:pt x="11" y="27"/>
                  </a:cubicBezTo>
                  <a:cubicBezTo>
                    <a:pt x="13" y="27"/>
                    <a:pt x="13" y="27"/>
                    <a:pt x="13" y="27"/>
                  </a:cubicBezTo>
                  <a:cubicBezTo>
                    <a:pt x="13" y="25"/>
                    <a:pt x="13" y="25"/>
                    <a:pt x="13" y="25"/>
                  </a:cubicBezTo>
                  <a:cubicBezTo>
                    <a:pt x="17" y="27"/>
                    <a:pt x="17" y="27"/>
                    <a:pt x="17" y="27"/>
                  </a:cubicBezTo>
                  <a:cubicBezTo>
                    <a:pt x="17" y="27"/>
                    <a:pt x="21" y="28"/>
                    <a:pt x="21" y="28"/>
                  </a:cubicBezTo>
                  <a:cubicBezTo>
                    <a:pt x="21" y="28"/>
                    <a:pt x="23" y="27"/>
                    <a:pt x="23" y="27"/>
                  </a:cubicBezTo>
                  <a:cubicBezTo>
                    <a:pt x="23" y="27"/>
                    <a:pt x="26" y="27"/>
                    <a:pt x="26" y="26"/>
                  </a:cubicBezTo>
                  <a:cubicBezTo>
                    <a:pt x="26" y="26"/>
                    <a:pt x="27" y="26"/>
                    <a:pt x="27" y="25"/>
                  </a:cubicBezTo>
                  <a:cubicBezTo>
                    <a:pt x="27" y="25"/>
                    <a:pt x="27" y="24"/>
                    <a:pt x="27" y="23"/>
                  </a:cubicBezTo>
                  <a:cubicBezTo>
                    <a:pt x="27" y="23"/>
                    <a:pt x="28" y="22"/>
                    <a:pt x="28" y="22"/>
                  </a:cubicBezTo>
                  <a:cubicBezTo>
                    <a:pt x="28" y="20"/>
                    <a:pt x="28" y="20"/>
                    <a:pt x="28" y="20"/>
                  </a:cubicBezTo>
                  <a:cubicBezTo>
                    <a:pt x="28" y="18"/>
                    <a:pt x="28" y="18"/>
                    <a:pt x="28" y="18"/>
                  </a:cubicBezTo>
                  <a:cubicBezTo>
                    <a:pt x="28" y="15"/>
                    <a:pt x="28" y="15"/>
                    <a:pt x="28" y="15"/>
                  </a:cubicBezTo>
                  <a:cubicBezTo>
                    <a:pt x="26" y="13"/>
                    <a:pt x="26" y="13"/>
                    <a:pt x="26" y="13"/>
                  </a:cubicBezTo>
                  <a:cubicBezTo>
                    <a:pt x="26" y="12"/>
                    <a:pt x="26" y="12"/>
                    <a:pt x="26" y="12"/>
                  </a:cubicBezTo>
                  <a:cubicBezTo>
                    <a:pt x="26" y="11"/>
                    <a:pt x="26" y="11"/>
                    <a:pt x="26" y="11"/>
                  </a:cubicBezTo>
                  <a:cubicBezTo>
                    <a:pt x="26" y="10"/>
                    <a:pt x="26" y="10"/>
                    <a:pt x="26" y="10"/>
                  </a:cubicBezTo>
                  <a:cubicBezTo>
                    <a:pt x="27" y="10"/>
                    <a:pt x="27" y="10"/>
                    <a:pt x="27" y="10"/>
                  </a:cubicBezTo>
                  <a:cubicBezTo>
                    <a:pt x="28" y="7"/>
                    <a:pt x="28" y="7"/>
                    <a:pt x="28" y="7"/>
                  </a:cubicBezTo>
                  <a:cubicBezTo>
                    <a:pt x="30" y="5"/>
                    <a:pt x="30" y="5"/>
                    <a:pt x="30" y="5"/>
                  </a:cubicBezTo>
                  <a:cubicBezTo>
                    <a:pt x="30" y="3"/>
                    <a:pt x="30" y="3"/>
                    <a:pt x="30" y="3"/>
                  </a:cubicBezTo>
                  <a:cubicBezTo>
                    <a:pt x="30" y="3"/>
                    <a:pt x="28" y="2"/>
                    <a:pt x="26" y="2"/>
                  </a:cubicBezTo>
                  <a:cubicBezTo>
                    <a:pt x="25" y="2"/>
                    <a:pt x="26" y="2"/>
                    <a:pt x="26" y="2"/>
                  </a:cubicBezTo>
                  <a:cubicBezTo>
                    <a:pt x="26" y="1"/>
                    <a:pt x="25" y="1"/>
                    <a:pt x="25" y="1"/>
                  </a:cubicBezTo>
                  <a:cubicBezTo>
                    <a:pt x="25" y="1"/>
                    <a:pt x="23" y="2"/>
                    <a:pt x="23" y="1"/>
                  </a:cubicBezTo>
                  <a:cubicBezTo>
                    <a:pt x="23" y="1"/>
                    <a:pt x="22" y="0"/>
                    <a:pt x="22" y="0"/>
                  </a:cubicBezTo>
                  <a:cubicBezTo>
                    <a:pt x="22" y="0"/>
                    <a:pt x="21" y="1"/>
                    <a:pt x="21" y="1"/>
                  </a:cubicBezTo>
                  <a:cubicBezTo>
                    <a:pt x="20" y="1"/>
                    <a:pt x="19" y="1"/>
                    <a:pt x="19" y="1"/>
                  </a:cubicBezTo>
                  <a:cubicBezTo>
                    <a:pt x="19" y="1"/>
                    <a:pt x="19" y="1"/>
                    <a:pt x="18" y="2"/>
                  </a:cubicBezTo>
                  <a:cubicBezTo>
                    <a:pt x="18" y="2"/>
                    <a:pt x="19" y="3"/>
                    <a:pt x="19" y="3"/>
                  </a:cubicBezTo>
                  <a:cubicBezTo>
                    <a:pt x="19" y="4"/>
                    <a:pt x="20" y="6"/>
                    <a:pt x="20" y="6"/>
                  </a:cubicBezTo>
                  <a:cubicBezTo>
                    <a:pt x="21" y="7"/>
                    <a:pt x="21" y="7"/>
                    <a:pt x="21" y="7"/>
                  </a:cubicBezTo>
                  <a:cubicBezTo>
                    <a:pt x="22" y="8"/>
                    <a:pt x="22" y="8"/>
                    <a:pt x="22" y="8"/>
                  </a:cubicBezTo>
                  <a:cubicBezTo>
                    <a:pt x="20" y="7"/>
                    <a:pt x="20" y="7"/>
                    <a:pt x="20" y="7"/>
                  </a:cubicBezTo>
                  <a:cubicBezTo>
                    <a:pt x="19" y="5"/>
                    <a:pt x="19" y="5"/>
                    <a:pt x="19" y="5"/>
                  </a:cubicBezTo>
                  <a:cubicBezTo>
                    <a:pt x="16" y="4"/>
                    <a:pt x="16" y="4"/>
                    <a:pt x="16" y="4"/>
                  </a:cubicBezTo>
                  <a:cubicBezTo>
                    <a:pt x="16" y="4"/>
                    <a:pt x="15" y="2"/>
                    <a:pt x="15" y="1"/>
                  </a:cubicBezTo>
                  <a:cubicBezTo>
                    <a:pt x="15" y="1"/>
                    <a:pt x="15" y="1"/>
                    <a:pt x="15" y="1"/>
                  </a:cubicBezTo>
                  <a:cubicBezTo>
                    <a:pt x="15" y="1"/>
                    <a:pt x="15" y="3"/>
                    <a:pt x="14" y="4"/>
                  </a:cubicBezTo>
                  <a:cubicBezTo>
                    <a:pt x="13" y="4"/>
                    <a:pt x="13" y="4"/>
                    <a:pt x="13" y="4"/>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Freeform 39"/>
            <p:cNvSpPr>
              <a:spLocks/>
            </p:cNvSpPr>
            <p:nvPr/>
          </p:nvSpPr>
          <p:spPr bwMode="auto">
            <a:xfrm>
              <a:off x="5498511" y="3673451"/>
              <a:ext cx="64987" cy="38125"/>
            </a:xfrm>
            <a:custGeom>
              <a:avLst/>
              <a:gdLst>
                <a:gd name="T0" fmla="*/ 0 w 22"/>
                <a:gd name="T1" fmla="*/ 6 h 14"/>
                <a:gd name="T2" fmla="*/ 1 w 22"/>
                <a:gd name="T3" fmla="*/ 7 h 14"/>
                <a:gd name="T4" fmla="*/ 1 w 22"/>
                <a:gd name="T5" fmla="*/ 9 h 14"/>
                <a:gd name="T6" fmla="*/ 3 w 22"/>
                <a:gd name="T7" fmla="*/ 10 h 14"/>
                <a:gd name="T8" fmla="*/ 7 w 22"/>
                <a:gd name="T9" fmla="*/ 10 h 14"/>
                <a:gd name="T10" fmla="*/ 7 w 22"/>
                <a:gd name="T11" fmla="*/ 11 h 14"/>
                <a:gd name="T12" fmla="*/ 10 w 22"/>
                <a:gd name="T13" fmla="*/ 12 h 14"/>
                <a:gd name="T14" fmla="*/ 12 w 22"/>
                <a:gd name="T15" fmla="*/ 14 h 14"/>
                <a:gd name="T16" fmla="*/ 14 w 22"/>
                <a:gd name="T17" fmla="*/ 14 h 14"/>
                <a:gd name="T18" fmla="*/ 14 w 22"/>
                <a:gd name="T19" fmla="*/ 13 h 14"/>
                <a:gd name="T20" fmla="*/ 17 w 22"/>
                <a:gd name="T21" fmla="*/ 13 h 14"/>
                <a:gd name="T22" fmla="*/ 19 w 22"/>
                <a:gd name="T23" fmla="*/ 13 h 14"/>
                <a:gd name="T24" fmla="*/ 21 w 22"/>
                <a:gd name="T25" fmla="*/ 13 h 14"/>
                <a:gd name="T26" fmla="*/ 22 w 22"/>
                <a:gd name="T27" fmla="*/ 13 h 14"/>
                <a:gd name="T28" fmla="*/ 22 w 22"/>
                <a:gd name="T29" fmla="*/ 11 h 14"/>
                <a:gd name="T30" fmla="*/ 22 w 22"/>
                <a:gd name="T31" fmla="*/ 11 h 14"/>
                <a:gd name="T32" fmla="*/ 20 w 22"/>
                <a:gd name="T33" fmla="*/ 10 h 14"/>
                <a:gd name="T34" fmla="*/ 21 w 22"/>
                <a:gd name="T35" fmla="*/ 10 h 14"/>
                <a:gd name="T36" fmla="*/ 22 w 22"/>
                <a:gd name="T37" fmla="*/ 9 h 14"/>
                <a:gd name="T38" fmla="*/ 21 w 22"/>
                <a:gd name="T39" fmla="*/ 8 h 14"/>
                <a:gd name="T40" fmla="*/ 20 w 22"/>
                <a:gd name="T41" fmla="*/ 7 h 14"/>
                <a:gd name="T42" fmla="*/ 19 w 22"/>
                <a:gd name="T43" fmla="*/ 4 h 14"/>
                <a:gd name="T44" fmla="*/ 18 w 22"/>
                <a:gd name="T45" fmla="*/ 2 h 14"/>
                <a:gd name="T46" fmla="*/ 17 w 22"/>
                <a:gd name="T47" fmla="*/ 2 h 14"/>
                <a:gd name="T48" fmla="*/ 16 w 22"/>
                <a:gd name="T49" fmla="*/ 3 h 14"/>
                <a:gd name="T50" fmla="*/ 15 w 22"/>
                <a:gd name="T51" fmla="*/ 4 h 14"/>
                <a:gd name="T52" fmla="*/ 14 w 22"/>
                <a:gd name="T53" fmla="*/ 5 h 14"/>
                <a:gd name="T54" fmla="*/ 11 w 22"/>
                <a:gd name="T55" fmla="*/ 3 h 14"/>
                <a:gd name="T56" fmla="*/ 10 w 22"/>
                <a:gd name="T57" fmla="*/ 3 h 14"/>
                <a:gd name="T58" fmla="*/ 8 w 22"/>
                <a:gd name="T59" fmla="*/ 2 h 14"/>
                <a:gd name="T60" fmla="*/ 8 w 22"/>
                <a:gd name="T61" fmla="*/ 1 h 14"/>
                <a:gd name="T62" fmla="*/ 7 w 22"/>
                <a:gd name="T63" fmla="*/ 0 h 14"/>
                <a:gd name="T64" fmla="*/ 4 w 22"/>
                <a:gd name="T65" fmla="*/ 0 h 14"/>
                <a:gd name="T66" fmla="*/ 3 w 22"/>
                <a:gd name="T67" fmla="*/ 1 h 14"/>
                <a:gd name="T68" fmla="*/ 1 w 22"/>
                <a:gd name="T69" fmla="*/ 1 h 14"/>
                <a:gd name="T70" fmla="*/ 1 w 22"/>
                <a:gd name="T71" fmla="*/ 4 h 14"/>
                <a:gd name="T72" fmla="*/ 2 w 22"/>
                <a:gd name="T73" fmla="*/ 5 h 14"/>
                <a:gd name="T74" fmla="*/ 2 w 22"/>
                <a:gd name="T75" fmla="*/ 6 h 14"/>
                <a:gd name="T76" fmla="*/ 1 w 22"/>
                <a:gd name="T77" fmla="*/ 6 h 14"/>
                <a:gd name="T78" fmla="*/ 0 w 22"/>
                <a:gd name="T79"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 h="14">
                  <a:moveTo>
                    <a:pt x="0" y="6"/>
                  </a:moveTo>
                  <a:cubicBezTo>
                    <a:pt x="1" y="7"/>
                    <a:pt x="1" y="7"/>
                    <a:pt x="1" y="7"/>
                  </a:cubicBezTo>
                  <a:cubicBezTo>
                    <a:pt x="1" y="7"/>
                    <a:pt x="1" y="8"/>
                    <a:pt x="1" y="9"/>
                  </a:cubicBezTo>
                  <a:cubicBezTo>
                    <a:pt x="2" y="9"/>
                    <a:pt x="3" y="10"/>
                    <a:pt x="3" y="10"/>
                  </a:cubicBezTo>
                  <a:cubicBezTo>
                    <a:pt x="3" y="10"/>
                    <a:pt x="6" y="10"/>
                    <a:pt x="7" y="10"/>
                  </a:cubicBezTo>
                  <a:cubicBezTo>
                    <a:pt x="7" y="10"/>
                    <a:pt x="7" y="11"/>
                    <a:pt x="7" y="11"/>
                  </a:cubicBezTo>
                  <a:cubicBezTo>
                    <a:pt x="7" y="11"/>
                    <a:pt x="9" y="11"/>
                    <a:pt x="10" y="12"/>
                  </a:cubicBezTo>
                  <a:cubicBezTo>
                    <a:pt x="11" y="13"/>
                    <a:pt x="12" y="13"/>
                    <a:pt x="12" y="14"/>
                  </a:cubicBezTo>
                  <a:cubicBezTo>
                    <a:pt x="12" y="14"/>
                    <a:pt x="14" y="14"/>
                    <a:pt x="14" y="14"/>
                  </a:cubicBezTo>
                  <a:cubicBezTo>
                    <a:pt x="14" y="13"/>
                    <a:pt x="14" y="13"/>
                    <a:pt x="14" y="13"/>
                  </a:cubicBezTo>
                  <a:cubicBezTo>
                    <a:pt x="17" y="13"/>
                    <a:pt x="17" y="13"/>
                    <a:pt x="17" y="13"/>
                  </a:cubicBezTo>
                  <a:cubicBezTo>
                    <a:pt x="19" y="13"/>
                    <a:pt x="19" y="13"/>
                    <a:pt x="19" y="13"/>
                  </a:cubicBezTo>
                  <a:cubicBezTo>
                    <a:pt x="21" y="13"/>
                    <a:pt x="21" y="13"/>
                    <a:pt x="21" y="13"/>
                  </a:cubicBezTo>
                  <a:cubicBezTo>
                    <a:pt x="22" y="13"/>
                    <a:pt x="22" y="13"/>
                    <a:pt x="22" y="13"/>
                  </a:cubicBezTo>
                  <a:cubicBezTo>
                    <a:pt x="22" y="11"/>
                    <a:pt x="22" y="11"/>
                    <a:pt x="22" y="11"/>
                  </a:cubicBezTo>
                  <a:cubicBezTo>
                    <a:pt x="22" y="11"/>
                    <a:pt x="22" y="11"/>
                    <a:pt x="22" y="11"/>
                  </a:cubicBezTo>
                  <a:cubicBezTo>
                    <a:pt x="20" y="10"/>
                    <a:pt x="20" y="10"/>
                    <a:pt x="20" y="10"/>
                  </a:cubicBezTo>
                  <a:cubicBezTo>
                    <a:pt x="21" y="10"/>
                    <a:pt x="21" y="10"/>
                    <a:pt x="21" y="10"/>
                  </a:cubicBezTo>
                  <a:cubicBezTo>
                    <a:pt x="22" y="9"/>
                    <a:pt x="22" y="9"/>
                    <a:pt x="22" y="9"/>
                  </a:cubicBezTo>
                  <a:cubicBezTo>
                    <a:pt x="21" y="8"/>
                    <a:pt x="21" y="8"/>
                    <a:pt x="21" y="8"/>
                  </a:cubicBezTo>
                  <a:cubicBezTo>
                    <a:pt x="20" y="7"/>
                    <a:pt x="20" y="7"/>
                    <a:pt x="20" y="7"/>
                  </a:cubicBezTo>
                  <a:cubicBezTo>
                    <a:pt x="19" y="4"/>
                    <a:pt x="19" y="4"/>
                    <a:pt x="19" y="4"/>
                  </a:cubicBezTo>
                  <a:cubicBezTo>
                    <a:pt x="18" y="2"/>
                    <a:pt x="18" y="2"/>
                    <a:pt x="18" y="2"/>
                  </a:cubicBezTo>
                  <a:cubicBezTo>
                    <a:pt x="17" y="2"/>
                    <a:pt x="17" y="2"/>
                    <a:pt x="17" y="2"/>
                  </a:cubicBezTo>
                  <a:cubicBezTo>
                    <a:pt x="16" y="3"/>
                    <a:pt x="16" y="3"/>
                    <a:pt x="16" y="3"/>
                  </a:cubicBezTo>
                  <a:cubicBezTo>
                    <a:pt x="15" y="4"/>
                    <a:pt x="15" y="4"/>
                    <a:pt x="15" y="4"/>
                  </a:cubicBezTo>
                  <a:cubicBezTo>
                    <a:pt x="14" y="5"/>
                    <a:pt x="14" y="5"/>
                    <a:pt x="14" y="5"/>
                  </a:cubicBezTo>
                  <a:cubicBezTo>
                    <a:pt x="14" y="5"/>
                    <a:pt x="12" y="4"/>
                    <a:pt x="11" y="3"/>
                  </a:cubicBezTo>
                  <a:cubicBezTo>
                    <a:pt x="10" y="3"/>
                    <a:pt x="10" y="3"/>
                    <a:pt x="10" y="3"/>
                  </a:cubicBezTo>
                  <a:cubicBezTo>
                    <a:pt x="10" y="3"/>
                    <a:pt x="9" y="2"/>
                    <a:pt x="8" y="2"/>
                  </a:cubicBezTo>
                  <a:cubicBezTo>
                    <a:pt x="8" y="2"/>
                    <a:pt x="8" y="1"/>
                    <a:pt x="8" y="1"/>
                  </a:cubicBezTo>
                  <a:cubicBezTo>
                    <a:pt x="8" y="1"/>
                    <a:pt x="7" y="0"/>
                    <a:pt x="7" y="0"/>
                  </a:cubicBezTo>
                  <a:cubicBezTo>
                    <a:pt x="6" y="0"/>
                    <a:pt x="6" y="0"/>
                    <a:pt x="4" y="0"/>
                  </a:cubicBezTo>
                  <a:cubicBezTo>
                    <a:pt x="3" y="0"/>
                    <a:pt x="3" y="0"/>
                    <a:pt x="3" y="1"/>
                  </a:cubicBezTo>
                  <a:cubicBezTo>
                    <a:pt x="2" y="1"/>
                    <a:pt x="2" y="1"/>
                    <a:pt x="1" y="1"/>
                  </a:cubicBezTo>
                  <a:cubicBezTo>
                    <a:pt x="1" y="2"/>
                    <a:pt x="1" y="4"/>
                    <a:pt x="1" y="4"/>
                  </a:cubicBezTo>
                  <a:cubicBezTo>
                    <a:pt x="2" y="5"/>
                    <a:pt x="2" y="5"/>
                    <a:pt x="2" y="5"/>
                  </a:cubicBezTo>
                  <a:cubicBezTo>
                    <a:pt x="2" y="6"/>
                    <a:pt x="2" y="6"/>
                    <a:pt x="2" y="6"/>
                  </a:cubicBezTo>
                  <a:cubicBezTo>
                    <a:pt x="1" y="6"/>
                    <a:pt x="1" y="6"/>
                    <a:pt x="1" y="6"/>
                  </a:cubicBezTo>
                  <a:lnTo>
                    <a:pt x="0" y="6"/>
                  </a:ln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Freeform 40"/>
            <p:cNvSpPr>
              <a:spLocks/>
            </p:cNvSpPr>
            <p:nvPr/>
          </p:nvSpPr>
          <p:spPr bwMode="auto">
            <a:xfrm>
              <a:off x="5458075" y="3550907"/>
              <a:ext cx="11553" cy="29955"/>
            </a:xfrm>
            <a:custGeom>
              <a:avLst/>
              <a:gdLst>
                <a:gd name="T0" fmla="*/ 4 w 4"/>
                <a:gd name="T1" fmla="*/ 5 h 11"/>
                <a:gd name="T2" fmla="*/ 3 w 4"/>
                <a:gd name="T3" fmla="*/ 3 h 11"/>
                <a:gd name="T4" fmla="*/ 2 w 4"/>
                <a:gd name="T5" fmla="*/ 0 h 11"/>
                <a:gd name="T6" fmla="*/ 0 w 4"/>
                <a:gd name="T7" fmla="*/ 0 h 11"/>
                <a:gd name="T8" fmla="*/ 0 w 4"/>
                <a:gd name="T9" fmla="*/ 2 h 11"/>
                <a:gd name="T10" fmla="*/ 1 w 4"/>
                <a:gd name="T11" fmla="*/ 3 h 11"/>
                <a:gd name="T12" fmla="*/ 2 w 4"/>
                <a:gd name="T13" fmla="*/ 4 h 11"/>
                <a:gd name="T14" fmla="*/ 2 w 4"/>
                <a:gd name="T15" fmla="*/ 5 h 11"/>
                <a:gd name="T16" fmla="*/ 1 w 4"/>
                <a:gd name="T17" fmla="*/ 6 h 11"/>
                <a:gd name="T18" fmla="*/ 1 w 4"/>
                <a:gd name="T19" fmla="*/ 8 h 11"/>
                <a:gd name="T20" fmla="*/ 1 w 4"/>
                <a:gd name="T21" fmla="*/ 9 h 11"/>
                <a:gd name="T22" fmla="*/ 1 w 4"/>
                <a:gd name="T23" fmla="*/ 11 h 11"/>
                <a:gd name="T24" fmla="*/ 3 w 4"/>
                <a:gd name="T25" fmla="*/ 11 h 11"/>
                <a:gd name="T26" fmla="*/ 4 w 4"/>
                <a:gd name="T27" fmla="*/ 9 h 11"/>
                <a:gd name="T28" fmla="*/ 4 w 4"/>
                <a:gd name="T29" fmla="*/ 8 h 11"/>
                <a:gd name="T30" fmla="*/ 4 w 4"/>
                <a:gd name="T31" fmla="*/ 7 h 11"/>
                <a:gd name="T32" fmla="*/ 4 w 4"/>
                <a:gd name="T33" fmla="*/ 5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11">
                  <a:moveTo>
                    <a:pt x="4" y="5"/>
                  </a:moveTo>
                  <a:cubicBezTo>
                    <a:pt x="3" y="3"/>
                    <a:pt x="3" y="3"/>
                    <a:pt x="3" y="3"/>
                  </a:cubicBezTo>
                  <a:cubicBezTo>
                    <a:pt x="2" y="0"/>
                    <a:pt x="2" y="0"/>
                    <a:pt x="2" y="0"/>
                  </a:cubicBezTo>
                  <a:cubicBezTo>
                    <a:pt x="0" y="0"/>
                    <a:pt x="0" y="0"/>
                    <a:pt x="0" y="0"/>
                  </a:cubicBezTo>
                  <a:cubicBezTo>
                    <a:pt x="0" y="0"/>
                    <a:pt x="0" y="2"/>
                    <a:pt x="0" y="2"/>
                  </a:cubicBezTo>
                  <a:cubicBezTo>
                    <a:pt x="1" y="2"/>
                    <a:pt x="1" y="3"/>
                    <a:pt x="1" y="3"/>
                  </a:cubicBezTo>
                  <a:cubicBezTo>
                    <a:pt x="2" y="4"/>
                    <a:pt x="2" y="4"/>
                    <a:pt x="2" y="4"/>
                  </a:cubicBezTo>
                  <a:cubicBezTo>
                    <a:pt x="2" y="5"/>
                    <a:pt x="2" y="5"/>
                    <a:pt x="2" y="5"/>
                  </a:cubicBezTo>
                  <a:cubicBezTo>
                    <a:pt x="1" y="6"/>
                    <a:pt x="1" y="6"/>
                    <a:pt x="1" y="6"/>
                  </a:cubicBezTo>
                  <a:cubicBezTo>
                    <a:pt x="1" y="8"/>
                    <a:pt x="1" y="8"/>
                    <a:pt x="1" y="8"/>
                  </a:cubicBezTo>
                  <a:cubicBezTo>
                    <a:pt x="1" y="9"/>
                    <a:pt x="1" y="9"/>
                    <a:pt x="1" y="9"/>
                  </a:cubicBezTo>
                  <a:cubicBezTo>
                    <a:pt x="1" y="11"/>
                    <a:pt x="1" y="11"/>
                    <a:pt x="1" y="11"/>
                  </a:cubicBezTo>
                  <a:cubicBezTo>
                    <a:pt x="3" y="11"/>
                    <a:pt x="3" y="11"/>
                    <a:pt x="3" y="11"/>
                  </a:cubicBezTo>
                  <a:cubicBezTo>
                    <a:pt x="4" y="9"/>
                    <a:pt x="4" y="9"/>
                    <a:pt x="4" y="9"/>
                  </a:cubicBezTo>
                  <a:cubicBezTo>
                    <a:pt x="4" y="9"/>
                    <a:pt x="4" y="8"/>
                    <a:pt x="4" y="8"/>
                  </a:cubicBezTo>
                  <a:cubicBezTo>
                    <a:pt x="4" y="7"/>
                    <a:pt x="4" y="7"/>
                    <a:pt x="4" y="7"/>
                  </a:cubicBezTo>
                  <a:cubicBezTo>
                    <a:pt x="4" y="5"/>
                    <a:pt x="4" y="5"/>
                    <a:pt x="4" y="5"/>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Freeform 41"/>
            <p:cNvSpPr>
              <a:spLocks/>
            </p:cNvSpPr>
            <p:nvPr/>
          </p:nvSpPr>
          <p:spPr bwMode="auto">
            <a:xfrm>
              <a:off x="5403198" y="3659835"/>
              <a:ext cx="28883" cy="24509"/>
            </a:xfrm>
            <a:custGeom>
              <a:avLst/>
              <a:gdLst>
                <a:gd name="T0" fmla="*/ 0 w 10"/>
                <a:gd name="T1" fmla="*/ 3 h 9"/>
                <a:gd name="T2" fmla="*/ 1 w 10"/>
                <a:gd name="T3" fmla="*/ 3 h 9"/>
                <a:gd name="T4" fmla="*/ 3 w 10"/>
                <a:gd name="T5" fmla="*/ 4 h 9"/>
                <a:gd name="T6" fmla="*/ 4 w 10"/>
                <a:gd name="T7" fmla="*/ 5 h 9"/>
                <a:gd name="T8" fmla="*/ 3 w 10"/>
                <a:gd name="T9" fmla="*/ 6 h 9"/>
                <a:gd name="T10" fmla="*/ 5 w 10"/>
                <a:gd name="T11" fmla="*/ 8 h 9"/>
                <a:gd name="T12" fmla="*/ 5 w 10"/>
                <a:gd name="T13" fmla="*/ 8 h 9"/>
                <a:gd name="T14" fmla="*/ 7 w 10"/>
                <a:gd name="T15" fmla="*/ 9 h 9"/>
                <a:gd name="T16" fmla="*/ 9 w 10"/>
                <a:gd name="T17" fmla="*/ 9 h 9"/>
                <a:gd name="T18" fmla="*/ 10 w 10"/>
                <a:gd name="T19" fmla="*/ 8 h 9"/>
                <a:gd name="T20" fmla="*/ 10 w 10"/>
                <a:gd name="T21" fmla="*/ 7 h 9"/>
                <a:gd name="T22" fmla="*/ 9 w 10"/>
                <a:gd name="T23" fmla="*/ 5 h 9"/>
                <a:gd name="T24" fmla="*/ 8 w 10"/>
                <a:gd name="T25" fmla="*/ 3 h 9"/>
                <a:gd name="T26" fmla="*/ 5 w 10"/>
                <a:gd name="T27" fmla="*/ 3 h 9"/>
                <a:gd name="T28" fmla="*/ 3 w 10"/>
                <a:gd name="T29" fmla="*/ 1 h 9"/>
                <a:gd name="T30" fmla="*/ 1 w 10"/>
                <a:gd name="T31" fmla="*/ 0 h 9"/>
                <a:gd name="T32" fmla="*/ 0 w 10"/>
                <a:gd name="T33" fmla="*/ 1 h 9"/>
                <a:gd name="T34" fmla="*/ 0 w 10"/>
                <a:gd name="T35"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9">
                  <a:moveTo>
                    <a:pt x="0" y="3"/>
                  </a:moveTo>
                  <a:cubicBezTo>
                    <a:pt x="1" y="3"/>
                    <a:pt x="1" y="3"/>
                    <a:pt x="1" y="3"/>
                  </a:cubicBezTo>
                  <a:cubicBezTo>
                    <a:pt x="3" y="4"/>
                    <a:pt x="3" y="4"/>
                    <a:pt x="3" y="4"/>
                  </a:cubicBezTo>
                  <a:cubicBezTo>
                    <a:pt x="4" y="5"/>
                    <a:pt x="4" y="5"/>
                    <a:pt x="4" y="5"/>
                  </a:cubicBezTo>
                  <a:cubicBezTo>
                    <a:pt x="3" y="6"/>
                    <a:pt x="3" y="6"/>
                    <a:pt x="3" y="6"/>
                  </a:cubicBezTo>
                  <a:cubicBezTo>
                    <a:pt x="5" y="8"/>
                    <a:pt x="5" y="8"/>
                    <a:pt x="5" y="8"/>
                  </a:cubicBezTo>
                  <a:cubicBezTo>
                    <a:pt x="5" y="8"/>
                    <a:pt x="5" y="8"/>
                    <a:pt x="5" y="8"/>
                  </a:cubicBezTo>
                  <a:cubicBezTo>
                    <a:pt x="5" y="8"/>
                    <a:pt x="6" y="8"/>
                    <a:pt x="7" y="9"/>
                  </a:cubicBezTo>
                  <a:cubicBezTo>
                    <a:pt x="7" y="9"/>
                    <a:pt x="8" y="9"/>
                    <a:pt x="9" y="9"/>
                  </a:cubicBezTo>
                  <a:cubicBezTo>
                    <a:pt x="10" y="9"/>
                    <a:pt x="10" y="9"/>
                    <a:pt x="10" y="8"/>
                  </a:cubicBezTo>
                  <a:cubicBezTo>
                    <a:pt x="10" y="8"/>
                    <a:pt x="10" y="7"/>
                    <a:pt x="10" y="7"/>
                  </a:cubicBezTo>
                  <a:cubicBezTo>
                    <a:pt x="9" y="5"/>
                    <a:pt x="9" y="5"/>
                    <a:pt x="9" y="5"/>
                  </a:cubicBezTo>
                  <a:cubicBezTo>
                    <a:pt x="8" y="3"/>
                    <a:pt x="8" y="3"/>
                    <a:pt x="8" y="3"/>
                  </a:cubicBezTo>
                  <a:cubicBezTo>
                    <a:pt x="5" y="3"/>
                    <a:pt x="5" y="3"/>
                    <a:pt x="5" y="3"/>
                  </a:cubicBezTo>
                  <a:cubicBezTo>
                    <a:pt x="3" y="1"/>
                    <a:pt x="3" y="1"/>
                    <a:pt x="3" y="1"/>
                  </a:cubicBezTo>
                  <a:cubicBezTo>
                    <a:pt x="1" y="0"/>
                    <a:pt x="1" y="0"/>
                    <a:pt x="1" y="0"/>
                  </a:cubicBezTo>
                  <a:cubicBezTo>
                    <a:pt x="0" y="1"/>
                    <a:pt x="0" y="1"/>
                    <a:pt x="0" y="1"/>
                  </a:cubicBezTo>
                  <a:lnTo>
                    <a:pt x="0" y="3"/>
                  </a:ln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Freeform 42"/>
            <p:cNvSpPr>
              <a:spLocks/>
            </p:cNvSpPr>
            <p:nvPr/>
          </p:nvSpPr>
          <p:spPr bwMode="auto">
            <a:xfrm>
              <a:off x="5304996" y="3646219"/>
              <a:ext cx="20218" cy="24509"/>
            </a:xfrm>
            <a:custGeom>
              <a:avLst/>
              <a:gdLst>
                <a:gd name="T0" fmla="*/ 7 w 7"/>
                <a:gd name="T1" fmla="*/ 6 h 9"/>
                <a:gd name="T2" fmla="*/ 7 w 7"/>
                <a:gd name="T3" fmla="*/ 4 h 9"/>
                <a:gd name="T4" fmla="*/ 7 w 7"/>
                <a:gd name="T5" fmla="*/ 3 h 9"/>
                <a:gd name="T6" fmla="*/ 7 w 7"/>
                <a:gd name="T7" fmla="*/ 1 h 9"/>
                <a:gd name="T8" fmla="*/ 5 w 7"/>
                <a:gd name="T9" fmla="*/ 1 h 9"/>
                <a:gd name="T10" fmla="*/ 4 w 7"/>
                <a:gd name="T11" fmla="*/ 2 h 9"/>
                <a:gd name="T12" fmla="*/ 4 w 7"/>
                <a:gd name="T13" fmla="*/ 4 h 9"/>
                <a:gd name="T14" fmla="*/ 3 w 7"/>
                <a:gd name="T15" fmla="*/ 5 h 9"/>
                <a:gd name="T16" fmla="*/ 2 w 7"/>
                <a:gd name="T17" fmla="*/ 7 h 9"/>
                <a:gd name="T18" fmla="*/ 1 w 7"/>
                <a:gd name="T19" fmla="*/ 8 h 9"/>
                <a:gd name="T20" fmla="*/ 1 w 7"/>
                <a:gd name="T21" fmla="*/ 9 h 9"/>
                <a:gd name="T22" fmla="*/ 3 w 7"/>
                <a:gd name="T23" fmla="*/ 8 h 9"/>
                <a:gd name="T24" fmla="*/ 4 w 7"/>
                <a:gd name="T25" fmla="*/ 7 h 9"/>
                <a:gd name="T26" fmla="*/ 5 w 7"/>
                <a:gd name="T27" fmla="*/ 6 h 9"/>
                <a:gd name="T28" fmla="*/ 7 w 7"/>
                <a:gd name="T29"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9">
                  <a:moveTo>
                    <a:pt x="7" y="6"/>
                  </a:moveTo>
                  <a:cubicBezTo>
                    <a:pt x="7" y="5"/>
                    <a:pt x="7" y="4"/>
                    <a:pt x="7" y="4"/>
                  </a:cubicBezTo>
                  <a:cubicBezTo>
                    <a:pt x="7" y="3"/>
                    <a:pt x="7" y="3"/>
                    <a:pt x="7" y="3"/>
                  </a:cubicBezTo>
                  <a:cubicBezTo>
                    <a:pt x="7" y="1"/>
                    <a:pt x="7" y="1"/>
                    <a:pt x="7" y="1"/>
                  </a:cubicBezTo>
                  <a:cubicBezTo>
                    <a:pt x="7" y="1"/>
                    <a:pt x="5" y="0"/>
                    <a:pt x="5" y="1"/>
                  </a:cubicBezTo>
                  <a:cubicBezTo>
                    <a:pt x="5" y="1"/>
                    <a:pt x="4" y="2"/>
                    <a:pt x="4" y="2"/>
                  </a:cubicBezTo>
                  <a:cubicBezTo>
                    <a:pt x="4" y="4"/>
                    <a:pt x="4" y="4"/>
                    <a:pt x="4" y="4"/>
                  </a:cubicBezTo>
                  <a:cubicBezTo>
                    <a:pt x="3" y="5"/>
                    <a:pt x="3" y="5"/>
                    <a:pt x="3" y="5"/>
                  </a:cubicBezTo>
                  <a:cubicBezTo>
                    <a:pt x="2" y="7"/>
                    <a:pt x="2" y="7"/>
                    <a:pt x="2" y="7"/>
                  </a:cubicBezTo>
                  <a:cubicBezTo>
                    <a:pt x="1" y="8"/>
                    <a:pt x="1" y="8"/>
                    <a:pt x="1" y="8"/>
                  </a:cubicBezTo>
                  <a:cubicBezTo>
                    <a:pt x="1" y="8"/>
                    <a:pt x="0" y="8"/>
                    <a:pt x="1" y="9"/>
                  </a:cubicBezTo>
                  <a:cubicBezTo>
                    <a:pt x="2" y="9"/>
                    <a:pt x="3" y="9"/>
                    <a:pt x="3" y="8"/>
                  </a:cubicBezTo>
                  <a:cubicBezTo>
                    <a:pt x="3" y="8"/>
                    <a:pt x="4" y="7"/>
                    <a:pt x="4" y="7"/>
                  </a:cubicBezTo>
                  <a:cubicBezTo>
                    <a:pt x="4" y="7"/>
                    <a:pt x="4" y="6"/>
                    <a:pt x="5" y="6"/>
                  </a:cubicBezTo>
                  <a:cubicBezTo>
                    <a:pt x="5" y="6"/>
                    <a:pt x="6" y="6"/>
                    <a:pt x="7" y="6"/>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Freeform 43"/>
            <p:cNvSpPr>
              <a:spLocks/>
            </p:cNvSpPr>
            <p:nvPr/>
          </p:nvSpPr>
          <p:spPr bwMode="auto">
            <a:xfrm>
              <a:off x="5586604" y="3657111"/>
              <a:ext cx="5777" cy="5446"/>
            </a:xfrm>
            <a:custGeom>
              <a:avLst/>
              <a:gdLst>
                <a:gd name="T0" fmla="*/ 2 w 2"/>
                <a:gd name="T1" fmla="*/ 0 h 2"/>
                <a:gd name="T2" fmla="*/ 1 w 2"/>
                <a:gd name="T3" fmla="*/ 0 h 2"/>
                <a:gd name="T4" fmla="*/ 0 w 2"/>
                <a:gd name="T5" fmla="*/ 1 h 2"/>
                <a:gd name="T6" fmla="*/ 1 w 2"/>
                <a:gd name="T7" fmla="*/ 2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cubicBezTo>
                    <a:pt x="2" y="0"/>
                    <a:pt x="1" y="0"/>
                    <a:pt x="1" y="0"/>
                  </a:cubicBezTo>
                  <a:cubicBezTo>
                    <a:pt x="1" y="0"/>
                    <a:pt x="0" y="1"/>
                    <a:pt x="0" y="1"/>
                  </a:cubicBezTo>
                  <a:cubicBezTo>
                    <a:pt x="1" y="2"/>
                    <a:pt x="1" y="2"/>
                    <a:pt x="1" y="2"/>
                  </a:cubicBezTo>
                  <a:lnTo>
                    <a:pt x="2" y="0"/>
                  </a:ln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Freeform 44"/>
            <p:cNvSpPr>
              <a:spLocks/>
            </p:cNvSpPr>
            <p:nvPr/>
          </p:nvSpPr>
          <p:spPr bwMode="auto">
            <a:xfrm>
              <a:off x="5478293" y="3391600"/>
              <a:ext cx="25995" cy="13616"/>
            </a:xfrm>
            <a:custGeom>
              <a:avLst/>
              <a:gdLst>
                <a:gd name="T0" fmla="*/ 2 w 9"/>
                <a:gd name="T1" fmla="*/ 4 h 5"/>
                <a:gd name="T2" fmla="*/ 4 w 9"/>
                <a:gd name="T3" fmla="*/ 5 h 5"/>
                <a:gd name="T4" fmla="*/ 5 w 9"/>
                <a:gd name="T5" fmla="*/ 5 h 5"/>
                <a:gd name="T6" fmla="*/ 6 w 9"/>
                <a:gd name="T7" fmla="*/ 3 h 5"/>
                <a:gd name="T8" fmla="*/ 6 w 9"/>
                <a:gd name="T9" fmla="*/ 2 h 5"/>
                <a:gd name="T10" fmla="*/ 9 w 9"/>
                <a:gd name="T11" fmla="*/ 0 h 5"/>
                <a:gd name="T12" fmla="*/ 7 w 9"/>
                <a:gd name="T13" fmla="*/ 0 h 5"/>
                <a:gd name="T14" fmla="*/ 5 w 9"/>
                <a:gd name="T15" fmla="*/ 0 h 5"/>
                <a:gd name="T16" fmla="*/ 2 w 9"/>
                <a:gd name="T17" fmla="*/ 1 h 5"/>
                <a:gd name="T18" fmla="*/ 1 w 9"/>
                <a:gd name="T19" fmla="*/ 3 h 5"/>
                <a:gd name="T20" fmla="*/ 0 w 9"/>
                <a:gd name="T21" fmla="*/ 3 h 5"/>
                <a:gd name="T22" fmla="*/ 2 w 9"/>
                <a:gd name="T23" fmla="*/ 4 h 5"/>
                <a:gd name="T24" fmla="*/ 2 w 9"/>
                <a:gd name="T2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5">
                  <a:moveTo>
                    <a:pt x="2" y="4"/>
                  </a:moveTo>
                  <a:cubicBezTo>
                    <a:pt x="2" y="4"/>
                    <a:pt x="4" y="4"/>
                    <a:pt x="4" y="5"/>
                  </a:cubicBezTo>
                  <a:cubicBezTo>
                    <a:pt x="4" y="5"/>
                    <a:pt x="5" y="5"/>
                    <a:pt x="5" y="5"/>
                  </a:cubicBezTo>
                  <a:cubicBezTo>
                    <a:pt x="5" y="5"/>
                    <a:pt x="6" y="3"/>
                    <a:pt x="6" y="3"/>
                  </a:cubicBezTo>
                  <a:cubicBezTo>
                    <a:pt x="6" y="2"/>
                    <a:pt x="6" y="2"/>
                    <a:pt x="6" y="2"/>
                  </a:cubicBezTo>
                  <a:cubicBezTo>
                    <a:pt x="7" y="2"/>
                    <a:pt x="9" y="0"/>
                    <a:pt x="9" y="0"/>
                  </a:cubicBezTo>
                  <a:cubicBezTo>
                    <a:pt x="9" y="0"/>
                    <a:pt x="7" y="0"/>
                    <a:pt x="7" y="0"/>
                  </a:cubicBezTo>
                  <a:cubicBezTo>
                    <a:pt x="7" y="0"/>
                    <a:pt x="5" y="0"/>
                    <a:pt x="5" y="0"/>
                  </a:cubicBezTo>
                  <a:cubicBezTo>
                    <a:pt x="4" y="0"/>
                    <a:pt x="2" y="1"/>
                    <a:pt x="2" y="1"/>
                  </a:cubicBezTo>
                  <a:cubicBezTo>
                    <a:pt x="1" y="3"/>
                    <a:pt x="1" y="3"/>
                    <a:pt x="1" y="3"/>
                  </a:cubicBezTo>
                  <a:cubicBezTo>
                    <a:pt x="0" y="3"/>
                    <a:pt x="0" y="3"/>
                    <a:pt x="0" y="3"/>
                  </a:cubicBezTo>
                  <a:cubicBezTo>
                    <a:pt x="0" y="3"/>
                    <a:pt x="1" y="4"/>
                    <a:pt x="2" y="4"/>
                  </a:cubicBezTo>
                  <a:cubicBezTo>
                    <a:pt x="2" y="4"/>
                    <a:pt x="2" y="4"/>
                    <a:pt x="2" y="4"/>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45"/>
            <p:cNvSpPr>
              <a:spLocks/>
            </p:cNvSpPr>
            <p:nvPr/>
          </p:nvSpPr>
          <p:spPr bwMode="auto">
            <a:xfrm>
              <a:off x="5287666" y="3345305"/>
              <a:ext cx="202180" cy="339038"/>
            </a:xfrm>
            <a:custGeom>
              <a:avLst/>
              <a:gdLst>
                <a:gd name="T0" fmla="*/ 3 w 70"/>
                <a:gd name="T1" fmla="*/ 95 h 124"/>
                <a:gd name="T2" fmla="*/ 12 w 70"/>
                <a:gd name="T3" fmla="*/ 100 h 124"/>
                <a:gd name="T4" fmla="*/ 14 w 70"/>
                <a:gd name="T5" fmla="*/ 113 h 124"/>
                <a:gd name="T6" fmla="*/ 13 w 70"/>
                <a:gd name="T7" fmla="*/ 121 h 124"/>
                <a:gd name="T8" fmla="*/ 26 w 70"/>
                <a:gd name="T9" fmla="*/ 122 h 124"/>
                <a:gd name="T10" fmla="*/ 36 w 70"/>
                <a:gd name="T11" fmla="*/ 122 h 124"/>
                <a:gd name="T12" fmla="*/ 39 w 70"/>
                <a:gd name="T13" fmla="*/ 118 h 124"/>
                <a:gd name="T14" fmla="*/ 35 w 70"/>
                <a:gd name="T15" fmla="*/ 113 h 124"/>
                <a:gd name="T16" fmla="*/ 40 w 70"/>
                <a:gd name="T17" fmla="*/ 107 h 124"/>
                <a:gd name="T18" fmla="*/ 38 w 70"/>
                <a:gd name="T19" fmla="*/ 98 h 124"/>
                <a:gd name="T20" fmla="*/ 39 w 70"/>
                <a:gd name="T21" fmla="*/ 96 h 124"/>
                <a:gd name="T22" fmla="*/ 40 w 70"/>
                <a:gd name="T23" fmla="*/ 91 h 124"/>
                <a:gd name="T24" fmla="*/ 42 w 70"/>
                <a:gd name="T25" fmla="*/ 89 h 124"/>
                <a:gd name="T26" fmla="*/ 48 w 70"/>
                <a:gd name="T27" fmla="*/ 85 h 124"/>
                <a:gd name="T28" fmla="*/ 48 w 70"/>
                <a:gd name="T29" fmla="*/ 81 h 124"/>
                <a:gd name="T30" fmla="*/ 53 w 70"/>
                <a:gd name="T31" fmla="*/ 78 h 124"/>
                <a:gd name="T32" fmla="*/ 53 w 70"/>
                <a:gd name="T33" fmla="*/ 68 h 124"/>
                <a:gd name="T34" fmla="*/ 59 w 70"/>
                <a:gd name="T35" fmla="*/ 68 h 124"/>
                <a:gd name="T36" fmla="*/ 62 w 70"/>
                <a:gd name="T37" fmla="*/ 65 h 124"/>
                <a:gd name="T38" fmla="*/ 65 w 70"/>
                <a:gd name="T39" fmla="*/ 65 h 124"/>
                <a:gd name="T40" fmla="*/ 68 w 70"/>
                <a:gd name="T41" fmla="*/ 52 h 124"/>
                <a:gd name="T42" fmla="*/ 55 w 70"/>
                <a:gd name="T43" fmla="*/ 48 h 124"/>
                <a:gd name="T44" fmla="*/ 53 w 70"/>
                <a:gd name="T45" fmla="*/ 33 h 124"/>
                <a:gd name="T46" fmla="*/ 58 w 70"/>
                <a:gd name="T47" fmla="*/ 15 h 124"/>
                <a:gd name="T48" fmla="*/ 57 w 70"/>
                <a:gd name="T49" fmla="*/ 4 h 124"/>
                <a:gd name="T50" fmla="*/ 44 w 70"/>
                <a:gd name="T51" fmla="*/ 7 h 124"/>
                <a:gd name="T52" fmla="*/ 30 w 70"/>
                <a:gd name="T53" fmla="*/ 27 h 124"/>
                <a:gd name="T54" fmla="*/ 19 w 70"/>
                <a:gd name="T55" fmla="*/ 26 h 124"/>
                <a:gd name="T56" fmla="*/ 11 w 70"/>
                <a:gd name="T57" fmla="*/ 31 h 124"/>
                <a:gd name="T58" fmla="*/ 4 w 70"/>
                <a:gd name="T59" fmla="*/ 40 h 124"/>
                <a:gd name="T60" fmla="*/ 7 w 70"/>
                <a:gd name="T61" fmla="*/ 47 h 124"/>
                <a:gd name="T62" fmla="*/ 11 w 70"/>
                <a:gd name="T63" fmla="*/ 50 h 124"/>
                <a:gd name="T64" fmla="*/ 11 w 70"/>
                <a:gd name="T65" fmla="*/ 45 h 124"/>
                <a:gd name="T66" fmla="*/ 12 w 70"/>
                <a:gd name="T67" fmla="*/ 40 h 124"/>
                <a:gd name="T68" fmla="*/ 16 w 70"/>
                <a:gd name="T69" fmla="*/ 34 h 124"/>
                <a:gd name="T70" fmla="*/ 22 w 70"/>
                <a:gd name="T71" fmla="*/ 32 h 124"/>
                <a:gd name="T72" fmla="*/ 29 w 70"/>
                <a:gd name="T73" fmla="*/ 32 h 124"/>
                <a:gd name="T74" fmla="*/ 38 w 70"/>
                <a:gd name="T75" fmla="*/ 29 h 124"/>
                <a:gd name="T76" fmla="*/ 38 w 70"/>
                <a:gd name="T77" fmla="*/ 32 h 124"/>
                <a:gd name="T78" fmla="*/ 29 w 70"/>
                <a:gd name="T79" fmla="*/ 32 h 124"/>
                <a:gd name="T80" fmla="*/ 27 w 70"/>
                <a:gd name="T81" fmla="*/ 42 h 124"/>
                <a:gd name="T82" fmla="*/ 31 w 70"/>
                <a:gd name="T83" fmla="*/ 51 h 124"/>
                <a:gd name="T84" fmla="*/ 29 w 70"/>
                <a:gd name="T85" fmla="*/ 48 h 124"/>
                <a:gd name="T86" fmla="*/ 24 w 70"/>
                <a:gd name="T87" fmla="*/ 49 h 124"/>
                <a:gd name="T88" fmla="*/ 26 w 70"/>
                <a:gd name="T89" fmla="*/ 42 h 124"/>
                <a:gd name="T90" fmla="*/ 21 w 70"/>
                <a:gd name="T91" fmla="*/ 46 h 124"/>
                <a:gd name="T92" fmla="*/ 19 w 70"/>
                <a:gd name="T93" fmla="*/ 41 h 124"/>
                <a:gd name="T94" fmla="*/ 18 w 70"/>
                <a:gd name="T95" fmla="*/ 36 h 124"/>
                <a:gd name="T96" fmla="*/ 13 w 70"/>
                <a:gd name="T97" fmla="*/ 45 h 124"/>
                <a:gd name="T98" fmla="*/ 15 w 70"/>
                <a:gd name="T99" fmla="*/ 50 h 124"/>
                <a:gd name="T100" fmla="*/ 14 w 70"/>
                <a:gd name="T101" fmla="*/ 55 h 124"/>
                <a:gd name="T102" fmla="*/ 5 w 70"/>
                <a:gd name="T103" fmla="*/ 49 h 124"/>
                <a:gd name="T104" fmla="*/ 2 w 70"/>
                <a:gd name="T105" fmla="*/ 54 h 124"/>
                <a:gd name="T106" fmla="*/ 2 w 70"/>
                <a:gd name="T107" fmla="*/ 71 h 124"/>
                <a:gd name="T108" fmla="*/ 7 w 70"/>
                <a:gd name="T109" fmla="*/ 81 h 124"/>
                <a:gd name="T110" fmla="*/ 2 w 70"/>
                <a:gd name="T111" fmla="*/ 9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 h="124">
                  <a:moveTo>
                    <a:pt x="2" y="90"/>
                  </a:moveTo>
                  <a:cubicBezTo>
                    <a:pt x="1" y="91"/>
                    <a:pt x="0" y="92"/>
                    <a:pt x="0" y="92"/>
                  </a:cubicBezTo>
                  <a:cubicBezTo>
                    <a:pt x="0" y="93"/>
                    <a:pt x="2" y="95"/>
                    <a:pt x="2" y="95"/>
                  </a:cubicBezTo>
                  <a:cubicBezTo>
                    <a:pt x="3" y="96"/>
                    <a:pt x="3" y="96"/>
                    <a:pt x="3" y="96"/>
                  </a:cubicBezTo>
                  <a:cubicBezTo>
                    <a:pt x="3" y="96"/>
                    <a:pt x="3" y="96"/>
                    <a:pt x="3" y="95"/>
                  </a:cubicBezTo>
                  <a:cubicBezTo>
                    <a:pt x="3" y="95"/>
                    <a:pt x="5" y="95"/>
                    <a:pt x="5" y="95"/>
                  </a:cubicBezTo>
                  <a:cubicBezTo>
                    <a:pt x="6" y="96"/>
                    <a:pt x="6" y="96"/>
                    <a:pt x="6" y="96"/>
                  </a:cubicBezTo>
                  <a:cubicBezTo>
                    <a:pt x="5" y="97"/>
                    <a:pt x="5" y="97"/>
                    <a:pt x="5" y="97"/>
                  </a:cubicBezTo>
                  <a:cubicBezTo>
                    <a:pt x="5" y="97"/>
                    <a:pt x="8" y="99"/>
                    <a:pt x="10" y="100"/>
                  </a:cubicBezTo>
                  <a:cubicBezTo>
                    <a:pt x="11" y="100"/>
                    <a:pt x="12" y="100"/>
                    <a:pt x="12" y="100"/>
                  </a:cubicBezTo>
                  <a:cubicBezTo>
                    <a:pt x="13" y="103"/>
                    <a:pt x="13" y="103"/>
                    <a:pt x="13" y="103"/>
                  </a:cubicBezTo>
                  <a:cubicBezTo>
                    <a:pt x="13" y="103"/>
                    <a:pt x="14" y="104"/>
                    <a:pt x="14" y="105"/>
                  </a:cubicBezTo>
                  <a:cubicBezTo>
                    <a:pt x="14" y="106"/>
                    <a:pt x="14" y="109"/>
                    <a:pt x="14" y="109"/>
                  </a:cubicBezTo>
                  <a:cubicBezTo>
                    <a:pt x="14" y="109"/>
                    <a:pt x="14" y="110"/>
                    <a:pt x="14" y="110"/>
                  </a:cubicBezTo>
                  <a:cubicBezTo>
                    <a:pt x="14" y="111"/>
                    <a:pt x="14" y="113"/>
                    <a:pt x="14" y="113"/>
                  </a:cubicBezTo>
                  <a:cubicBezTo>
                    <a:pt x="14" y="115"/>
                    <a:pt x="14" y="115"/>
                    <a:pt x="14" y="115"/>
                  </a:cubicBezTo>
                  <a:cubicBezTo>
                    <a:pt x="14" y="115"/>
                    <a:pt x="13" y="116"/>
                    <a:pt x="13" y="116"/>
                  </a:cubicBezTo>
                  <a:cubicBezTo>
                    <a:pt x="13" y="116"/>
                    <a:pt x="11" y="117"/>
                    <a:pt x="10" y="118"/>
                  </a:cubicBezTo>
                  <a:cubicBezTo>
                    <a:pt x="10" y="118"/>
                    <a:pt x="11" y="120"/>
                    <a:pt x="11" y="120"/>
                  </a:cubicBezTo>
                  <a:cubicBezTo>
                    <a:pt x="13" y="121"/>
                    <a:pt x="13" y="121"/>
                    <a:pt x="13" y="121"/>
                  </a:cubicBezTo>
                  <a:cubicBezTo>
                    <a:pt x="16" y="120"/>
                    <a:pt x="16" y="120"/>
                    <a:pt x="16" y="120"/>
                  </a:cubicBezTo>
                  <a:cubicBezTo>
                    <a:pt x="19" y="120"/>
                    <a:pt x="19" y="120"/>
                    <a:pt x="19" y="120"/>
                  </a:cubicBezTo>
                  <a:cubicBezTo>
                    <a:pt x="19" y="120"/>
                    <a:pt x="19" y="120"/>
                    <a:pt x="19" y="120"/>
                  </a:cubicBezTo>
                  <a:cubicBezTo>
                    <a:pt x="20" y="120"/>
                    <a:pt x="23" y="121"/>
                    <a:pt x="23" y="121"/>
                  </a:cubicBezTo>
                  <a:cubicBezTo>
                    <a:pt x="24" y="122"/>
                    <a:pt x="26" y="122"/>
                    <a:pt x="26" y="122"/>
                  </a:cubicBezTo>
                  <a:cubicBezTo>
                    <a:pt x="26" y="122"/>
                    <a:pt x="26" y="122"/>
                    <a:pt x="26" y="122"/>
                  </a:cubicBezTo>
                  <a:cubicBezTo>
                    <a:pt x="31" y="124"/>
                    <a:pt x="31" y="124"/>
                    <a:pt x="31" y="124"/>
                  </a:cubicBezTo>
                  <a:cubicBezTo>
                    <a:pt x="32" y="124"/>
                    <a:pt x="32" y="124"/>
                    <a:pt x="32" y="124"/>
                  </a:cubicBezTo>
                  <a:cubicBezTo>
                    <a:pt x="32" y="124"/>
                    <a:pt x="33" y="124"/>
                    <a:pt x="34" y="124"/>
                  </a:cubicBezTo>
                  <a:cubicBezTo>
                    <a:pt x="34" y="123"/>
                    <a:pt x="36" y="122"/>
                    <a:pt x="36" y="122"/>
                  </a:cubicBezTo>
                  <a:cubicBezTo>
                    <a:pt x="37" y="121"/>
                    <a:pt x="38" y="121"/>
                    <a:pt x="39" y="121"/>
                  </a:cubicBezTo>
                  <a:cubicBezTo>
                    <a:pt x="40" y="121"/>
                    <a:pt x="40" y="121"/>
                    <a:pt x="40" y="121"/>
                  </a:cubicBezTo>
                  <a:cubicBezTo>
                    <a:pt x="40" y="122"/>
                    <a:pt x="40" y="122"/>
                    <a:pt x="40" y="122"/>
                  </a:cubicBezTo>
                  <a:cubicBezTo>
                    <a:pt x="41" y="120"/>
                    <a:pt x="41" y="120"/>
                    <a:pt x="41" y="120"/>
                  </a:cubicBezTo>
                  <a:cubicBezTo>
                    <a:pt x="39" y="118"/>
                    <a:pt x="39" y="118"/>
                    <a:pt x="39" y="118"/>
                  </a:cubicBezTo>
                  <a:cubicBezTo>
                    <a:pt x="37" y="117"/>
                    <a:pt x="37" y="117"/>
                    <a:pt x="37" y="117"/>
                  </a:cubicBezTo>
                  <a:cubicBezTo>
                    <a:pt x="35" y="117"/>
                    <a:pt x="35" y="117"/>
                    <a:pt x="35" y="117"/>
                  </a:cubicBezTo>
                  <a:cubicBezTo>
                    <a:pt x="35" y="117"/>
                    <a:pt x="36" y="116"/>
                    <a:pt x="36" y="116"/>
                  </a:cubicBezTo>
                  <a:cubicBezTo>
                    <a:pt x="36" y="115"/>
                    <a:pt x="36" y="113"/>
                    <a:pt x="36" y="113"/>
                  </a:cubicBezTo>
                  <a:cubicBezTo>
                    <a:pt x="35" y="113"/>
                    <a:pt x="35" y="113"/>
                    <a:pt x="35" y="113"/>
                  </a:cubicBezTo>
                  <a:cubicBezTo>
                    <a:pt x="35" y="111"/>
                    <a:pt x="35" y="111"/>
                    <a:pt x="35" y="111"/>
                  </a:cubicBezTo>
                  <a:cubicBezTo>
                    <a:pt x="35" y="111"/>
                    <a:pt x="38" y="111"/>
                    <a:pt x="39" y="111"/>
                  </a:cubicBezTo>
                  <a:cubicBezTo>
                    <a:pt x="39" y="111"/>
                    <a:pt x="40" y="110"/>
                    <a:pt x="40" y="110"/>
                  </a:cubicBezTo>
                  <a:cubicBezTo>
                    <a:pt x="40" y="108"/>
                    <a:pt x="40" y="108"/>
                    <a:pt x="40" y="108"/>
                  </a:cubicBezTo>
                  <a:cubicBezTo>
                    <a:pt x="40" y="108"/>
                    <a:pt x="40" y="107"/>
                    <a:pt x="40" y="107"/>
                  </a:cubicBezTo>
                  <a:cubicBezTo>
                    <a:pt x="40" y="107"/>
                    <a:pt x="40" y="107"/>
                    <a:pt x="40" y="107"/>
                  </a:cubicBezTo>
                  <a:cubicBezTo>
                    <a:pt x="40" y="105"/>
                    <a:pt x="40" y="105"/>
                    <a:pt x="40" y="105"/>
                  </a:cubicBezTo>
                  <a:cubicBezTo>
                    <a:pt x="38" y="103"/>
                    <a:pt x="38" y="103"/>
                    <a:pt x="38" y="103"/>
                  </a:cubicBezTo>
                  <a:cubicBezTo>
                    <a:pt x="38" y="103"/>
                    <a:pt x="38" y="101"/>
                    <a:pt x="38" y="100"/>
                  </a:cubicBezTo>
                  <a:cubicBezTo>
                    <a:pt x="38" y="98"/>
                    <a:pt x="38" y="99"/>
                    <a:pt x="38" y="98"/>
                  </a:cubicBezTo>
                  <a:cubicBezTo>
                    <a:pt x="38" y="98"/>
                    <a:pt x="38" y="98"/>
                    <a:pt x="38" y="98"/>
                  </a:cubicBezTo>
                  <a:cubicBezTo>
                    <a:pt x="36" y="98"/>
                    <a:pt x="36" y="98"/>
                    <a:pt x="36" y="98"/>
                  </a:cubicBezTo>
                  <a:cubicBezTo>
                    <a:pt x="36" y="97"/>
                    <a:pt x="36" y="97"/>
                    <a:pt x="36" y="97"/>
                  </a:cubicBezTo>
                  <a:cubicBezTo>
                    <a:pt x="36" y="97"/>
                    <a:pt x="37" y="97"/>
                    <a:pt x="38" y="97"/>
                  </a:cubicBezTo>
                  <a:cubicBezTo>
                    <a:pt x="38" y="97"/>
                    <a:pt x="39" y="96"/>
                    <a:pt x="39" y="96"/>
                  </a:cubicBezTo>
                  <a:cubicBezTo>
                    <a:pt x="41" y="95"/>
                    <a:pt x="41" y="95"/>
                    <a:pt x="41" y="95"/>
                  </a:cubicBezTo>
                  <a:cubicBezTo>
                    <a:pt x="42" y="94"/>
                    <a:pt x="42" y="94"/>
                    <a:pt x="42" y="94"/>
                  </a:cubicBezTo>
                  <a:cubicBezTo>
                    <a:pt x="43" y="93"/>
                    <a:pt x="43" y="93"/>
                    <a:pt x="43" y="93"/>
                  </a:cubicBezTo>
                  <a:cubicBezTo>
                    <a:pt x="41" y="92"/>
                    <a:pt x="41" y="92"/>
                    <a:pt x="41" y="92"/>
                  </a:cubicBezTo>
                  <a:cubicBezTo>
                    <a:pt x="40" y="91"/>
                    <a:pt x="40" y="91"/>
                    <a:pt x="40" y="91"/>
                  </a:cubicBezTo>
                  <a:cubicBezTo>
                    <a:pt x="38" y="89"/>
                    <a:pt x="38" y="89"/>
                    <a:pt x="38" y="89"/>
                  </a:cubicBezTo>
                  <a:cubicBezTo>
                    <a:pt x="39" y="89"/>
                    <a:pt x="39" y="89"/>
                    <a:pt x="39" y="89"/>
                  </a:cubicBezTo>
                  <a:cubicBezTo>
                    <a:pt x="43" y="92"/>
                    <a:pt x="43" y="92"/>
                    <a:pt x="43" y="92"/>
                  </a:cubicBezTo>
                  <a:cubicBezTo>
                    <a:pt x="43" y="92"/>
                    <a:pt x="41" y="90"/>
                    <a:pt x="41" y="90"/>
                  </a:cubicBezTo>
                  <a:cubicBezTo>
                    <a:pt x="41" y="90"/>
                    <a:pt x="42" y="89"/>
                    <a:pt x="42" y="89"/>
                  </a:cubicBezTo>
                  <a:cubicBezTo>
                    <a:pt x="43" y="89"/>
                    <a:pt x="44" y="90"/>
                    <a:pt x="44" y="90"/>
                  </a:cubicBezTo>
                  <a:cubicBezTo>
                    <a:pt x="45" y="89"/>
                    <a:pt x="45" y="89"/>
                    <a:pt x="45" y="89"/>
                  </a:cubicBezTo>
                  <a:cubicBezTo>
                    <a:pt x="47" y="88"/>
                    <a:pt x="47" y="88"/>
                    <a:pt x="47" y="88"/>
                  </a:cubicBezTo>
                  <a:cubicBezTo>
                    <a:pt x="47" y="88"/>
                    <a:pt x="48" y="87"/>
                    <a:pt x="49" y="86"/>
                  </a:cubicBezTo>
                  <a:cubicBezTo>
                    <a:pt x="49" y="85"/>
                    <a:pt x="48" y="85"/>
                    <a:pt x="48" y="85"/>
                  </a:cubicBezTo>
                  <a:cubicBezTo>
                    <a:pt x="48" y="83"/>
                    <a:pt x="48" y="83"/>
                    <a:pt x="48" y="83"/>
                  </a:cubicBezTo>
                  <a:cubicBezTo>
                    <a:pt x="47" y="83"/>
                    <a:pt x="47" y="83"/>
                    <a:pt x="47" y="83"/>
                  </a:cubicBezTo>
                  <a:cubicBezTo>
                    <a:pt x="46" y="82"/>
                    <a:pt x="46" y="82"/>
                    <a:pt x="46" y="82"/>
                  </a:cubicBezTo>
                  <a:cubicBezTo>
                    <a:pt x="46" y="82"/>
                    <a:pt x="46" y="82"/>
                    <a:pt x="47" y="82"/>
                  </a:cubicBezTo>
                  <a:cubicBezTo>
                    <a:pt x="47" y="81"/>
                    <a:pt x="47" y="81"/>
                    <a:pt x="48" y="81"/>
                  </a:cubicBezTo>
                  <a:cubicBezTo>
                    <a:pt x="49" y="81"/>
                    <a:pt x="50" y="82"/>
                    <a:pt x="50" y="82"/>
                  </a:cubicBezTo>
                  <a:cubicBezTo>
                    <a:pt x="50" y="82"/>
                    <a:pt x="51" y="82"/>
                    <a:pt x="51" y="82"/>
                  </a:cubicBezTo>
                  <a:cubicBezTo>
                    <a:pt x="51" y="82"/>
                    <a:pt x="53" y="81"/>
                    <a:pt x="53" y="81"/>
                  </a:cubicBezTo>
                  <a:cubicBezTo>
                    <a:pt x="53" y="80"/>
                    <a:pt x="53" y="80"/>
                    <a:pt x="53" y="79"/>
                  </a:cubicBezTo>
                  <a:cubicBezTo>
                    <a:pt x="54" y="79"/>
                    <a:pt x="53" y="79"/>
                    <a:pt x="53" y="78"/>
                  </a:cubicBezTo>
                  <a:cubicBezTo>
                    <a:pt x="53" y="78"/>
                    <a:pt x="53" y="76"/>
                    <a:pt x="53" y="76"/>
                  </a:cubicBezTo>
                  <a:cubicBezTo>
                    <a:pt x="53" y="75"/>
                    <a:pt x="53" y="75"/>
                    <a:pt x="53" y="74"/>
                  </a:cubicBezTo>
                  <a:cubicBezTo>
                    <a:pt x="53" y="74"/>
                    <a:pt x="54" y="73"/>
                    <a:pt x="54" y="73"/>
                  </a:cubicBezTo>
                  <a:cubicBezTo>
                    <a:pt x="54" y="72"/>
                    <a:pt x="53" y="71"/>
                    <a:pt x="53" y="71"/>
                  </a:cubicBezTo>
                  <a:cubicBezTo>
                    <a:pt x="53" y="68"/>
                    <a:pt x="53" y="68"/>
                    <a:pt x="53" y="68"/>
                  </a:cubicBezTo>
                  <a:cubicBezTo>
                    <a:pt x="53" y="68"/>
                    <a:pt x="54" y="65"/>
                    <a:pt x="55" y="64"/>
                  </a:cubicBezTo>
                  <a:cubicBezTo>
                    <a:pt x="55" y="63"/>
                    <a:pt x="56" y="63"/>
                    <a:pt x="56" y="63"/>
                  </a:cubicBezTo>
                  <a:cubicBezTo>
                    <a:pt x="57" y="64"/>
                    <a:pt x="57" y="64"/>
                    <a:pt x="57" y="64"/>
                  </a:cubicBezTo>
                  <a:cubicBezTo>
                    <a:pt x="56" y="67"/>
                    <a:pt x="56" y="67"/>
                    <a:pt x="56" y="67"/>
                  </a:cubicBezTo>
                  <a:cubicBezTo>
                    <a:pt x="59" y="68"/>
                    <a:pt x="59" y="68"/>
                    <a:pt x="59" y="68"/>
                  </a:cubicBezTo>
                  <a:cubicBezTo>
                    <a:pt x="60" y="71"/>
                    <a:pt x="60" y="71"/>
                    <a:pt x="60" y="71"/>
                  </a:cubicBezTo>
                  <a:cubicBezTo>
                    <a:pt x="60" y="71"/>
                    <a:pt x="60" y="71"/>
                    <a:pt x="61" y="71"/>
                  </a:cubicBezTo>
                  <a:cubicBezTo>
                    <a:pt x="62" y="71"/>
                    <a:pt x="61" y="69"/>
                    <a:pt x="61" y="69"/>
                  </a:cubicBezTo>
                  <a:cubicBezTo>
                    <a:pt x="61" y="67"/>
                    <a:pt x="61" y="67"/>
                    <a:pt x="61" y="67"/>
                  </a:cubicBezTo>
                  <a:cubicBezTo>
                    <a:pt x="61" y="67"/>
                    <a:pt x="61" y="66"/>
                    <a:pt x="62" y="65"/>
                  </a:cubicBezTo>
                  <a:cubicBezTo>
                    <a:pt x="62" y="65"/>
                    <a:pt x="63" y="67"/>
                    <a:pt x="63" y="67"/>
                  </a:cubicBezTo>
                  <a:cubicBezTo>
                    <a:pt x="64" y="69"/>
                    <a:pt x="64" y="69"/>
                    <a:pt x="64" y="69"/>
                  </a:cubicBezTo>
                  <a:cubicBezTo>
                    <a:pt x="65" y="69"/>
                    <a:pt x="65" y="69"/>
                    <a:pt x="65" y="69"/>
                  </a:cubicBezTo>
                  <a:cubicBezTo>
                    <a:pt x="65" y="67"/>
                    <a:pt x="65" y="67"/>
                    <a:pt x="65" y="67"/>
                  </a:cubicBezTo>
                  <a:cubicBezTo>
                    <a:pt x="65" y="65"/>
                    <a:pt x="65" y="65"/>
                    <a:pt x="65" y="65"/>
                  </a:cubicBezTo>
                  <a:cubicBezTo>
                    <a:pt x="68" y="63"/>
                    <a:pt x="68" y="63"/>
                    <a:pt x="68" y="63"/>
                  </a:cubicBezTo>
                  <a:cubicBezTo>
                    <a:pt x="68" y="63"/>
                    <a:pt x="69" y="62"/>
                    <a:pt x="69" y="61"/>
                  </a:cubicBezTo>
                  <a:cubicBezTo>
                    <a:pt x="69" y="60"/>
                    <a:pt x="70" y="58"/>
                    <a:pt x="70" y="58"/>
                  </a:cubicBezTo>
                  <a:cubicBezTo>
                    <a:pt x="70" y="56"/>
                    <a:pt x="70" y="56"/>
                    <a:pt x="70" y="56"/>
                  </a:cubicBezTo>
                  <a:cubicBezTo>
                    <a:pt x="68" y="52"/>
                    <a:pt x="68" y="52"/>
                    <a:pt x="68" y="52"/>
                  </a:cubicBezTo>
                  <a:cubicBezTo>
                    <a:pt x="68" y="52"/>
                    <a:pt x="66" y="52"/>
                    <a:pt x="65" y="52"/>
                  </a:cubicBezTo>
                  <a:cubicBezTo>
                    <a:pt x="64" y="52"/>
                    <a:pt x="62" y="52"/>
                    <a:pt x="61" y="53"/>
                  </a:cubicBezTo>
                  <a:cubicBezTo>
                    <a:pt x="60" y="53"/>
                    <a:pt x="58" y="52"/>
                    <a:pt x="58" y="52"/>
                  </a:cubicBezTo>
                  <a:cubicBezTo>
                    <a:pt x="56" y="51"/>
                    <a:pt x="56" y="51"/>
                    <a:pt x="56" y="51"/>
                  </a:cubicBezTo>
                  <a:cubicBezTo>
                    <a:pt x="55" y="48"/>
                    <a:pt x="55" y="48"/>
                    <a:pt x="55" y="48"/>
                  </a:cubicBezTo>
                  <a:cubicBezTo>
                    <a:pt x="56" y="47"/>
                    <a:pt x="56" y="47"/>
                    <a:pt x="56" y="47"/>
                  </a:cubicBezTo>
                  <a:cubicBezTo>
                    <a:pt x="54" y="44"/>
                    <a:pt x="54" y="44"/>
                    <a:pt x="54" y="44"/>
                  </a:cubicBezTo>
                  <a:cubicBezTo>
                    <a:pt x="54" y="41"/>
                    <a:pt x="54" y="41"/>
                    <a:pt x="54" y="41"/>
                  </a:cubicBezTo>
                  <a:cubicBezTo>
                    <a:pt x="54" y="37"/>
                    <a:pt x="54" y="37"/>
                    <a:pt x="54" y="37"/>
                  </a:cubicBezTo>
                  <a:cubicBezTo>
                    <a:pt x="53" y="33"/>
                    <a:pt x="53" y="33"/>
                    <a:pt x="53" y="33"/>
                  </a:cubicBezTo>
                  <a:cubicBezTo>
                    <a:pt x="56" y="28"/>
                    <a:pt x="56" y="28"/>
                    <a:pt x="56" y="28"/>
                  </a:cubicBezTo>
                  <a:cubicBezTo>
                    <a:pt x="57" y="24"/>
                    <a:pt x="57" y="24"/>
                    <a:pt x="57" y="24"/>
                  </a:cubicBezTo>
                  <a:cubicBezTo>
                    <a:pt x="57" y="24"/>
                    <a:pt x="59" y="22"/>
                    <a:pt x="60" y="21"/>
                  </a:cubicBezTo>
                  <a:cubicBezTo>
                    <a:pt x="61" y="20"/>
                    <a:pt x="59" y="18"/>
                    <a:pt x="59" y="18"/>
                  </a:cubicBezTo>
                  <a:cubicBezTo>
                    <a:pt x="58" y="15"/>
                    <a:pt x="58" y="15"/>
                    <a:pt x="58" y="15"/>
                  </a:cubicBezTo>
                  <a:cubicBezTo>
                    <a:pt x="58" y="11"/>
                    <a:pt x="58" y="11"/>
                    <a:pt x="58" y="11"/>
                  </a:cubicBezTo>
                  <a:cubicBezTo>
                    <a:pt x="58" y="11"/>
                    <a:pt x="58" y="11"/>
                    <a:pt x="58" y="11"/>
                  </a:cubicBezTo>
                  <a:cubicBezTo>
                    <a:pt x="57" y="7"/>
                    <a:pt x="57" y="7"/>
                    <a:pt x="57" y="7"/>
                  </a:cubicBezTo>
                  <a:cubicBezTo>
                    <a:pt x="57" y="6"/>
                    <a:pt x="57" y="6"/>
                    <a:pt x="57" y="6"/>
                  </a:cubicBezTo>
                  <a:cubicBezTo>
                    <a:pt x="57" y="4"/>
                    <a:pt x="57" y="4"/>
                    <a:pt x="57" y="4"/>
                  </a:cubicBezTo>
                  <a:cubicBezTo>
                    <a:pt x="59" y="0"/>
                    <a:pt x="59" y="0"/>
                    <a:pt x="59" y="0"/>
                  </a:cubicBezTo>
                  <a:cubicBezTo>
                    <a:pt x="58" y="0"/>
                    <a:pt x="58" y="0"/>
                    <a:pt x="58" y="0"/>
                  </a:cubicBezTo>
                  <a:cubicBezTo>
                    <a:pt x="58" y="0"/>
                    <a:pt x="54" y="4"/>
                    <a:pt x="53" y="4"/>
                  </a:cubicBezTo>
                  <a:cubicBezTo>
                    <a:pt x="52" y="5"/>
                    <a:pt x="49" y="5"/>
                    <a:pt x="49" y="5"/>
                  </a:cubicBezTo>
                  <a:cubicBezTo>
                    <a:pt x="44" y="7"/>
                    <a:pt x="44" y="7"/>
                    <a:pt x="44" y="7"/>
                  </a:cubicBezTo>
                  <a:cubicBezTo>
                    <a:pt x="42" y="11"/>
                    <a:pt x="42" y="11"/>
                    <a:pt x="42" y="11"/>
                  </a:cubicBezTo>
                  <a:cubicBezTo>
                    <a:pt x="41" y="14"/>
                    <a:pt x="41" y="14"/>
                    <a:pt x="41" y="14"/>
                  </a:cubicBezTo>
                  <a:cubicBezTo>
                    <a:pt x="38" y="19"/>
                    <a:pt x="38" y="19"/>
                    <a:pt x="38" y="19"/>
                  </a:cubicBezTo>
                  <a:cubicBezTo>
                    <a:pt x="35" y="24"/>
                    <a:pt x="35" y="24"/>
                    <a:pt x="35" y="24"/>
                  </a:cubicBezTo>
                  <a:cubicBezTo>
                    <a:pt x="30" y="27"/>
                    <a:pt x="30" y="27"/>
                    <a:pt x="30" y="27"/>
                  </a:cubicBezTo>
                  <a:cubicBezTo>
                    <a:pt x="28" y="26"/>
                    <a:pt x="28" y="26"/>
                    <a:pt x="28" y="26"/>
                  </a:cubicBezTo>
                  <a:cubicBezTo>
                    <a:pt x="26" y="26"/>
                    <a:pt x="26" y="26"/>
                    <a:pt x="26" y="26"/>
                  </a:cubicBezTo>
                  <a:cubicBezTo>
                    <a:pt x="24" y="26"/>
                    <a:pt x="24" y="26"/>
                    <a:pt x="24" y="26"/>
                  </a:cubicBezTo>
                  <a:cubicBezTo>
                    <a:pt x="22" y="26"/>
                    <a:pt x="22" y="26"/>
                    <a:pt x="22" y="26"/>
                  </a:cubicBezTo>
                  <a:cubicBezTo>
                    <a:pt x="19" y="26"/>
                    <a:pt x="19" y="26"/>
                    <a:pt x="19" y="26"/>
                  </a:cubicBezTo>
                  <a:cubicBezTo>
                    <a:pt x="19" y="26"/>
                    <a:pt x="18" y="27"/>
                    <a:pt x="18" y="27"/>
                  </a:cubicBezTo>
                  <a:cubicBezTo>
                    <a:pt x="17" y="28"/>
                    <a:pt x="16" y="27"/>
                    <a:pt x="16" y="27"/>
                  </a:cubicBezTo>
                  <a:cubicBezTo>
                    <a:pt x="13" y="27"/>
                    <a:pt x="13" y="27"/>
                    <a:pt x="13" y="27"/>
                  </a:cubicBezTo>
                  <a:cubicBezTo>
                    <a:pt x="12" y="29"/>
                    <a:pt x="12" y="29"/>
                    <a:pt x="12" y="29"/>
                  </a:cubicBezTo>
                  <a:cubicBezTo>
                    <a:pt x="11" y="31"/>
                    <a:pt x="11" y="31"/>
                    <a:pt x="11" y="31"/>
                  </a:cubicBezTo>
                  <a:cubicBezTo>
                    <a:pt x="9" y="33"/>
                    <a:pt x="9" y="33"/>
                    <a:pt x="9" y="33"/>
                  </a:cubicBezTo>
                  <a:cubicBezTo>
                    <a:pt x="8" y="34"/>
                    <a:pt x="8" y="34"/>
                    <a:pt x="8" y="34"/>
                  </a:cubicBezTo>
                  <a:cubicBezTo>
                    <a:pt x="7" y="36"/>
                    <a:pt x="7" y="36"/>
                    <a:pt x="7" y="36"/>
                  </a:cubicBezTo>
                  <a:cubicBezTo>
                    <a:pt x="7" y="36"/>
                    <a:pt x="6" y="39"/>
                    <a:pt x="5" y="39"/>
                  </a:cubicBezTo>
                  <a:cubicBezTo>
                    <a:pt x="5" y="40"/>
                    <a:pt x="5" y="40"/>
                    <a:pt x="4" y="40"/>
                  </a:cubicBezTo>
                  <a:cubicBezTo>
                    <a:pt x="4" y="41"/>
                    <a:pt x="4" y="41"/>
                    <a:pt x="4" y="41"/>
                  </a:cubicBezTo>
                  <a:cubicBezTo>
                    <a:pt x="6" y="43"/>
                    <a:pt x="6" y="43"/>
                    <a:pt x="6" y="43"/>
                  </a:cubicBezTo>
                  <a:cubicBezTo>
                    <a:pt x="6" y="43"/>
                    <a:pt x="6" y="44"/>
                    <a:pt x="6" y="45"/>
                  </a:cubicBezTo>
                  <a:cubicBezTo>
                    <a:pt x="7" y="45"/>
                    <a:pt x="7" y="46"/>
                    <a:pt x="7" y="46"/>
                  </a:cubicBezTo>
                  <a:cubicBezTo>
                    <a:pt x="7" y="47"/>
                    <a:pt x="7" y="47"/>
                    <a:pt x="7" y="47"/>
                  </a:cubicBezTo>
                  <a:cubicBezTo>
                    <a:pt x="9" y="46"/>
                    <a:pt x="9" y="46"/>
                    <a:pt x="9" y="46"/>
                  </a:cubicBezTo>
                  <a:cubicBezTo>
                    <a:pt x="10" y="46"/>
                    <a:pt x="10" y="46"/>
                    <a:pt x="10" y="46"/>
                  </a:cubicBezTo>
                  <a:cubicBezTo>
                    <a:pt x="9" y="47"/>
                    <a:pt x="9" y="47"/>
                    <a:pt x="9" y="47"/>
                  </a:cubicBezTo>
                  <a:cubicBezTo>
                    <a:pt x="10" y="49"/>
                    <a:pt x="10" y="49"/>
                    <a:pt x="10" y="49"/>
                  </a:cubicBezTo>
                  <a:cubicBezTo>
                    <a:pt x="10" y="49"/>
                    <a:pt x="11" y="50"/>
                    <a:pt x="11" y="50"/>
                  </a:cubicBezTo>
                  <a:cubicBezTo>
                    <a:pt x="12" y="50"/>
                    <a:pt x="13" y="49"/>
                    <a:pt x="13" y="49"/>
                  </a:cubicBezTo>
                  <a:cubicBezTo>
                    <a:pt x="14" y="47"/>
                    <a:pt x="14" y="47"/>
                    <a:pt x="14" y="47"/>
                  </a:cubicBezTo>
                  <a:cubicBezTo>
                    <a:pt x="13" y="46"/>
                    <a:pt x="13" y="46"/>
                    <a:pt x="13" y="46"/>
                  </a:cubicBezTo>
                  <a:cubicBezTo>
                    <a:pt x="11" y="46"/>
                    <a:pt x="11" y="46"/>
                    <a:pt x="11" y="46"/>
                  </a:cubicBezTo>
                  <a:cubicBezTo>
                    <a:pt x="11" y="45"/>
                    <a:pt x="11" y="45"/>
                    <a:pt x="11" y="45"/>
                  </a:cubicBezTo>
                  <a:cubicBezTo>
                    <a:pt x="11" y="44"/>
                    <a:pt x="11" y="44"/>
                    <a:pt x="11" y="44"/>
                  </a:cubicBezTo>
                  <a:cubicBezTo>
                    <a:pt x="11" y="44"/>
                    <a:pt x="11" y="43"/>
                    <a:pt x="11" y="43"/>
                  </a:cubicBezTo>
                  <a:cubicBezTo>
                    <a:pt x="11" y="42"/>
                    <a:pt x="10" y="42"/>
                    <a:pt x="10" y="42"/>
                  </a:cubicBezTo>
                  <a:cubicBezTo>
                    <a:pt x="11" y="41"/>
                    <a:pt x="11" y="41"/>
                    <a:pt x="11" y="41"/>
                  </a:cubicBezTo>
                  <a:cubicBezTo>
                    <a:pt x="12" y="40"/>
                    <a:pt x="12" y="40"/>
                    <a:pt x="12" y="40"/>
                  </a:cubicBezTo>
                  <a:cubicBezTo>
                    <a:pt x="13" y="39"/>
                    <a:pt x="13" y="39"/>
                    <a:pt x="13" y="39"/>
                  </a:cubicBezTo>
                  <a:cubicBezTo>
                    <a:pt x="13" y="37"/>
                    <a:pt x="13" y="37"/>
                    <a:pt x="13" y="37"/>
                  </a:cubicBezTo>
                  <a:cubicBezTo>
                    <a:pt x="14" y="36"/>
                    <a:pt x="14" y="36"/>
                    <a:pt x="14" y="36"/>
                  </a:cubicBezTo>
                  <a:cubicBezTo>
                    <a:pt x="15" y="35"/>
                    <a:pt x="15" y="35"/>
                    <a:pt x="15" y="35"/>
                  </a:cubicBezTo>
                  <a:cubicBezTo>
                    <a:pt x="15" y="35"/>
                    <a:pt x="16" y="35"/>
                    <a:pt x="16" y="34"/>
                  </a:cubicBezTo>
                  <a:cubicBezTo>
                    <a:pt x="16" y="34"/>
                    <a:pt x="17" y="34"/>
                    <a:pt x="18" y="34"/>
                  </a:cubicBezTo>
                  <a:cubicBezTo>
                    <a:pt x="19" y="33"/>
                    <a:pt x="19" y="33"/>
                    <a:pt x="19" y="33"/>
                  </a:cubicBezTo>
                  <a:cubicBezTo>
                    <a:pt x="19" y="32"/>
                    <a:pt x="19" y="32"/>
                    <a:pt x="19" y="32"/>
                  </a:cubicBezTo>
                  <a:cubicBezTo>
                    <a:pt x="19" y="32"/>
                    <a:pt x="21" y="32"/>
                    <a:pt x="21" y="32"/>
                  </a:cubicBezTo>
                  <a:cubicBezTo>
                    <a:pt x="22" y="32"/>
                    <a:pt x="22" y="32"/>
                    <a:pt x="22" y="32"/>
                  </a:cubicBezTo>
                  <a:cubicBezTo>
                    <a:pt x="24" y="32"/>
                    <a:pt x="24" y="32"/>
                    <a:pt x="24" y="32"/>
                  </a:cubicBezTo>
                  <a:cubicBezTo>
                    <a:pt x="24" y="32"/>
                    <a:pt x="25" y="31"/>
                    <a:pt x="26" y="31"/>
                  </a:cubicBezTo>
                  <a:cubicBezTo>
                    <a:pt x="26" y="31"/>
                    <a:pt x="27" y="31"/>
                    <a:pt x="27" y="31"/>
                  </a:cubicBezTo>
                  <a:cubicBezTo>
                    <a:pt x="27" y="31"/>
                    <a:pt x="27" y="32"/>
                    <a:pt x="27" y="32"/>
                  </a:cubicBezTo>
                  <a:cubicBezTo>
                    <a:pt x="28" y="32"/>
                    <a:pt x="29" y="32"/>
                    <a:pt x="29" y="32"/>
                  </a:cubicBezTo>
                  <a:cubicBezTo>
                    <a:pt x="30" y="32"/>
                    <a:pt x="30" y="32"/>
                    <a:pt x="30" y="32"/>
                  </a:cubicBezTo>
                  <a:cubicBezTo>
                    <a:pt x="30" y="32"/>
                    <a:pt x="31" y="32"/>
                    <a:pt x="31" y="31"/>
                  </a:cubicBezTo>
                  <a:cubicBezTo>
                    <a:pt x="32" y="30"/>
                    <a:pt x="32" y="30"/>
                    <a:pt x="34" y="30"/>
                  </a:cubicBezTo>
                  <a:cubicBezTo>
                    <a:pt x="36" y="30"/>
                    <a:pt x="35" y="30"/>
                    <a:pt x="36" y="30"/>
                  </a:cubicBezTo>
                  <a:cubicBezTo>
                    <a:pt x="37" y="29"/>
                    <a:pt x="37" y="30"/>
                    <a:pt x="38" y="29"/>
                  </a:cubicBezTo>
                  <a:cubicBezTo>
                    <a:pt x="38" y="29"/>
                    <a:pt x="40" y="28"/>
                    <a:pt x="40" y="28"/>
                  </a:cubicBezTo>
                  <a:cubicBezTo>
                    <a:pt x="41" y="28"/>
                    <a:pt x="42" y="29"/>
                    <a:pt x="42" y="30"/>
                  </a:cubicBezTo>
                  <a:cubicBezTo>
                    <a:pt x="41" y="30"/>
                    <a:pt x="40" y="30"/>
                    <a:pt x="40" y="30"/>
                  </a:cubicBezTo>
                  <a:cubicBezTo>
                    <a:pt x="40" y="30"/>
                    <a:pt x="40" y="31"/>
                    <a:pt x="39" y="32"/>
                  </a:cubicBezTo>
                  <a:cubicBezTo>
                    <a:pt x="38" y="32"/>
                    <a:pt x="39" y="32"/>
                    <a:pt x="38" y="32"/>
                  </a:cubicBezTo>
                  <a:cubicBezTo>
                    <a:pt x="37" y="31"/>
                    <a:pt x="37" y="33"/>
                    <a:pt x="37" y="33"/>
                  </a:cubicBezTo>
                  <a:cubicBezTo>
                    <a:pt x="37" y="33"/>
                    <a:pt x="37" y="33"/>
                    <a:pt x="37" y="33"/>
                  </a:cubicBezTo>
                  <a:cubicBezTo>
                    <a:pt x="37" y="33"/>
                    <a:pt x="35" y="32"/>
                    <a:pt x="34" y="32"/>
                  </a:cubicBezTo>
                  <a:cubicBezTo>
                    <a:pt x="34" y="32"/>
                    <a:pt x="32" y="32"/>
                    <a:pt x="31" y="32"/>
                  </a:cubicBezTo>
                  <a:cubicBezTo>
                    <a:pt x="30" y="32"/>
                    <a:pt x="30" y="32"/>
                    <a:pt x="29" y="32"/>
                  </a:cubicBezTo>
                  <a:cubicBezTo>
                    <a:pt x="28" y="33"/>
                    <a:pt x="29" y="33"/>
                    <a:pt x="28" y="34"/>
                  </a:cubicBezTo>
                  <a:cubicBezTo>
                    <a:pt x="27" y="34"/>
                    <a:pt x="27" y="36"/>
                    <a:pt x="27" y="36"/>
                  </a:cubicBezTo>
                  <a:cubicBezTo>
                    <a:pt x="27" y="36"/>
                    <a:pt x="26" y="37"/>
                    <a:pt x="26" y="38"/>
                  </a:cubicBezTo>
                  <a:cubicBezTo>
                    <a:pt x="26" y="38"/>
                    <a:pt x="27" y="39"/>
                    <a:pt x="27" y="40"/>
                  </a:cubicBezTo>
                  <a:cubicBezTo>
                    <a:pt x="27" y="42"/>
                    <a:pt x="27" y="42"/>
                    <a:pt x="27" y="42"/>
                  </a:cubicBezTo>
                  <a:cubicBezTo>
                    <a:pt x="27" y="42"/>
                    <a:pt x="28" y="45"/>
                    <a:pt x="29" y="45"/>
                  </a:cubicBezTo>
                  <a:cubicBezTo>
                    <a:pt x="29" y="45"/>
                    <a:pt x="30" y="45"/>
                    <a:pt x="30" y="46"/>
                  </a:cubicBezTo>
                  <a:cubicBezTo>
                    <a:pt x="31" y="47"/>
                    <a:pt x="30" y="47"/>
                    <a:pt x="30" y="47"/>
                  </a:cubicBezTo>
                  <a:cubicBezTo>
                    <a:pt x="30" y="48"/>
                    <a:pt x="30" y="48"/>
                    <a:pt x="30" y="48"/>
                  </a:cubicBezTo>
                  <a:cubicBezTo>
                    <a:pt x="30" y="48"/>
                    <a:pt x="31" y="49"/>
                    <a:pt x="31" y="51"/>
                  </a:cubicBezTo>
                  <a:cubicBezTo>
                    <a:pt x="32" y="52"/>
                    <a:pt x="31" y="51"/>
                    <a:pt x="31" y="52"/>
                  </a:cubicBezTo>
                  <a:cubicBezTo>
                    <a:pt x="32" y="53"/>
                    <a:pt x="30" y="51"/>
                    <a:pt x="30" y="51"/>
                  </a:cubicBezTo>
                  <a:cubicBezTo>
                    <a:pt x="30" y="51"/>
                    <a:pt x="30" y="50"/>
                    <a:pt x="30" y="50"/>
                  </a:cubicBezTo>
                  <a:cubicBezTo>
                    <a:pt x="30" y="50"/>
                    <a:pt x="30" y="49"/>
                    <a:pt x="30" y="49"/>
                  </a:cubicBezTo>
                  <a:cubicBezTo>
                    <a:pt x="30" y="49"/>
                    <a:pt x="29" y="48"/>
                    <a:pt x="29" y="48"/>
                  </a:cubicBezTo>
                  <a:cubicBezTo>
                    <a:pt x="28" y="48"/>
                    <a:pt x="28" y="48"/>
                    <a:pt x="28" y="48"/>
                  </a:cubicBezTo>
                  <a:cubicBezTo>
                    <a:pt x="27" y="48"/>
                    <a:pt x="27" y="48"/>
                    <a:pt x="27" y="48"/>
                  </a:cubicBezTo>
                  <a:cubicBezTo>
                    <a:pt x="27" y="48"/>
                    <a:pt x="27" y="50"/>
                    <a:pt x="27" y="50"/>
                  </a:cubicBezTo>
                  <a:cubicBezTo>
                    <a:pt x="27" y="50"/>
                    <a:pt x="27" y="51"/>
                    <a:pt x="25" y="50"/>
                  </a:cubicBezTo>
                  <a:cubicBezTo>
                    <a:pt x="23" y="50"/>
                    <a:pt x="24" y="49"/>
                    <a:pt x="24" y="49"/>
                  </a:cubicBezTo>
                  <a:cubicBezTo>
                    <a:pt x="24" y="49"/>
                    <a:pt x="25" y="48"/>
                    <a:pt x="25" y="48"/>
                  </a:cubicBezTo>
                  <a:cubicBezTo>
                    <a:pt x="25" y="47"/>
                    <a:pt x="26" y="47"/>
                    <a:pt x="26" y="47"/>
                  </a:cubicBezTo>
                  <a:cubicBezTo>
                    <a:pt x="25" y="44"/>
                    <a:pt x="25" y="44"/>
                    <a:pt x="25" y="44"/>
                  </a:cubicBezTo>
                  <a:cubicBezTo>
                    <a:pt x="25" y="44"/>
                    <a:pt x="25" y="44"/>
                    <a:pt x="26" y="43"/>
                  </a:cubicBezTo>
                  <a:cubicBezTo>
                    <a:pt x="26" y="43"/>
                    <a:pt x="26" y="42"/>
                    <a:pt x="26" y="42"/>
                  </a:cubicBezTo>
                  <a:cubicBezTo>
                    <a:pt x="26" y="42"/>
                    <a:pt x="24" y="40"/>
                    <a:pt x="23" y="40"/>
                  </a:cubicBezTo>
                  <a:cubicBezTo>
                    <a:pt x="22" y="40"/>
                    <a:pt x="22" y="41"/>
                    <a:pt x="21" y="41"/>
                  </a:cubicBezTo>
                  <a:cubicBezTo>
                    <a:pt x="21" y="42"/>
                    <a:pt x="20" y="42"/>
                    <a:pt x="20" y="43"/>
                  </a:cubicBezTo>
                  <a:cubicBezTo>
                    <a:pt x="19" y="44"/>
                    <a:pt x="20" y="44"/>
                    <a:pt x="20" y="45"/>
                  </a:cubicBezTo>
                  <a:cubicBezTo>
                    <a:pt x="20" y="45"/>
                    <a:pt x="21" y="46"/>
                    <a:pt x="21" y="46"/>
                  </a:cubicBezTo>
                  <a:cubicBezTo>
                    <a:pt x="19" y="47"/>
                    <a:pt x="19" y="47"/>
                    <a:pt x="19" y="47"/>
                  </a:cubicBezTo>
                  <a:cubicBezTo>
                    <a:pt x="19" y="47"/>
                    <a:pt x="19" y="46"/>
                    <a:pt x="19" y="45"/>
                  </a:cubicBezTo>
                  <a:cubicBezTo>
                    <a:pt x="19" y="45"/>
                    <a:pt x="17" y="44"/>
                    <a:pt x="17" y="44"/>
                  </a:cubicBezTo>
                  <a:cubicBezTo>
                    <a:pt x="19" y="42"/>
                    <a:pt x="19" y="42"/>
                    <a:pt x="19" y="42"/>
                  </a:cubicBezTo>
                  <a:cubicBezTo>
                    <a:pt x="19" y="42"/>
                    <a:pt x="19" y="41"/>
                    <a:pt x="19" y="41"/>
                  </a:cubicBezTo>
                  <a:cubicBezTo>
                    <a:pt x="19" y="40"/>
                    <a:pt x="19" y="39"/>
                    <a:pt x="19" y="39"/>
                  </a:cubicBezTo>
                  <a:cubicBezTo>
                    <a:pt x="20" y="37"/>
                    <a:pt x="20" y="37"/>
                    <a:pt x="20" y="37"/>
                  </a:cubicBezTo>
                  <a:cubicBezTo>
                    <a:pt x="20" y="37"/>
                    <a:pt x="21" y="35"/>
                    <a:pt x="20" y="35"/>
                  </a:cubicBezTo>
                  <a:cubicBezTo>
                    <a:pt x="20" y="34"/>
                    <a:pt x="19" y="35"/>
                    <a:pt x="19" y="35"/>
                  </a:cubicBezTo>
                  <a:cubicBezTo>
                    <a:pt x="19" y="35"/>
                    <a:pt x="18" y="36"/>
                    <a:pt x="18" y="36"/>
                  </a:cubicBezTo>
                  <a:cubicBezTo>
                    <a:pt x="18" y="36"/>
                    <a:pt x="16" y="36"/>
                    <a:pt x="15" y="36"/>
                  </a:cubicBezTo>
                  <a:cubicBezTo>
                    <a:pt x="14" y="37"/>
                    <a:pt x="14" y="38"/>
                    <a:pt x="14" y="38"/>
                  </a:cubicBezTo>
                  <a:cubicBezTo>
                    <a:pt x="14" y="38"/>
                    <a:pt x="14" y="41"/>
                    <a:pt x="13" y="41"/>
                  </a:cubicBezTo>
                  <a:cubicBezTo>
                    <a:pt x="13" y="41"/>
                    <a:pt x="12" y="43"/>
                    <a:pt x="12" y="43"/>
                  </a:cubicBezTo>
                  <a:cubicBezTo>
                    <a:pt x="12" y="43"/>
                    <a:pt x="13" y="44"/>
                    <a:pt x="13" y="45"/>
                  </a:cubicBezTo>
                  <a:cubicBezTo>
                    <a:pt x="13" y="45"/>
                    <a:pt x="14" y="46"/>
                    <a:pt x="14" y="46"/>
                  </a:cubicBezTo>
                  <a:cubicBezTo>
                    <a:pt x="14" y="46"/>
                    <a:pt x="16" y="45"/>
                    <a:pt x="17" y="45"/>
                  </a:cubicBezTo>
                  <a:cubicBezTo>
                    <a:pt x="18" y="45"/>
                    <a:pt x="17" y="46"/>
                    <a:pt x="17" y="46"/>
                  </a:cubicBezTo>
                  <a:cubicBezTo>
                    <a:pt x="16" y="48"/>
                    <a:pt x="16" y="48"/>
                    <a:pt x="16" y="48"/>
                  </a:cubicBezTo>
                  <a:cubicBezTo>
                    <a:pt x="15" y="50"/>
                    <a:pt x="15" y="50"/>
                    <a:pt x="15" y="50"/>
                  </a:cubicBezTo>
                  <a:cubicBezTo>
                    <a:pt x="15" y="50"/>
                    <a:pt x="15" y="51"/>
                    <a:pt x="15" y="51"/>
                  </a:cubicBezTo>
                  <a:cubicBezTo>
                    <a:pt x="15" y="51"/>
                    <a:pt x="16" y="52"/>
                    <a:pt x="16" y="53"/>
                  </a:cubicBezTo>
                  <a:cubicBezTo>
                    <a:pt x="16" y="53"/>
                    <a:pt x="16" y="53"/>
                    <a:pt x="16" y="53"/>
                  </a:cubicBezTo>
                  <a:cubicBezTo>
                    <a:pt x="15" y="55"/>
                    <a:pt x="15" y="55"/>
                    <a:pt x="15" y="55"/>
                  </a:cubicBezTo>
                  <a:cubicBezTo>
                    <a:pt x="14" y="55"/>
                    <a:pt x="14" y="55"/>
                    <a:pt x="14" y="55"/>
                  </a:cubicBezTo>
                  <a:cubicBezTo>
                    <a:pt x="12" y="54"/>
                    <a:pt x="12" y="54"/>
                    <a:pt x="12" y="54"/>
                  </a:cubicBezTo>
                  <a:cubicBezTo>
                    <a:pt x="10" y="52"/>
                    <a:pt x="10" y="52"/>
                    <a:pt x="10" y="52"/>
                  </a:cubicBezTo>
                  <a:cubicBezTo>
                    <a:pt x="8" y="51"/>
                    <a:pt x="8" y="51"/>
                    <a:pt x="8" y="51"/>
                  </a:cubicBezTo>
                  <a:cubicBezTo>
                    <a:pt x="8" y="51"/>
                    <a:pt x="7" y="50"/>
                    <a:pt x="7" y="50"/>
                  </a:cubicBezTo>
                  <a:cubicBezTo>
                    <a:pt x="6" y="50"/>
                    <a:pt x="6" y="50"/>
                    <a:pt x="5" y="49"/>
                  </a:cubicBezTo>
                  <a:cubicBezTo>
                    <a:pt x="4" y="49"/>
                    <a:pt x="5" y="48"/>
                    <a:pt x="5" y="48"/>
                  </a:cubicBezTo>
                  <a:cubicBezTo>
                    <a:pt x="4" y="46"/>
                    <a:pt x="4" y="46"/>
                    <a:pt x="4" y="46"/>
                  </a:cubicBezTo>
                  <a:cubicBezTo>
                    <a:pt x="3" y="47"/>
                    <a:pt x="3" y="47"/>
                    <a:pt x="3" y="47"/>
                  </a:cubicBezTo>
                  <a:cubicBezTo>
                    <a:pt x="3" y="47"/>
                    <a:pt x="2" y="50"/>
                    <a:pt x="1" y="50"/>
                  </a:cubicBezTo>
                  <a:cubicBezTo>
                    <a:pt x="1" y="51"/>
                    <a:pt x="2" y="54"/>
                    <a:pt x="2" y="54"/>
                  </a:cubicBezTo>
                  <a:cubicBezTo>
                    <a:pt x="1" y="58"/>
                    <a:pt x="1" y="58"/>
                    <a:pt x="1" y="58"/>
                  </a:cubicBezTo>
                  <a:cubicBezTo>
                    <a:pt x="2" y="64"/>
                    <a:pt x="2" y="64"/>
                    <a:pt x="2" y="64"/>
                  </a:cubicBezTo>
                  <a:cubicBezTo>
                    <a:pt x="2" y="67"/>
                    <a:pt x="2" y="67"/>
                    <a:pt x="2" y="67"/>
                  </a:cubicBezTo>
                  <a:cubicBezTo>
                    <a:pt x="2" y="67"/>
                    <a:pt x="1" y="69"/>
                    <a:pt x="1" y="70"/>
                  </a:cubicBezTo>
                  <a:cubicBezTo>
                    <a:pt x="1" y="70"/>
                    <a:pt x="2" y="71"/>
                    <a:pt x="2" y="71"/>
                  </a:cubicBezTo>
                  <a:cubicBezTo>
                    <a:pt x="3" y="71"/>
                    <a:pt x="3" y="71"/>
                    <a:pt x="3" y="71"/>
                  </a:cubicBezTo>
                  <a:cubicBezTo>
                    <a:pt x="3" y="71"/>
                    <a:pt x="6" y="75"/>
                    <a:pt x="6" y="76"/>
                  </a:cubicBezTo>
                  <a:cubicBezTo>
                    <a:pt x="6" y="77"/>
                    <a:pt x="6" y="77"/>
                    <a:pt x="6" y="77"/>
                  </a:cubicBezTo>
                  <a:cubicBezTo>
                    <a:pt x="7" y="78"/>
                    <a:pt x="7" y="80"/>
                    <a:pt x="7" y="80"/>
                  </a:cubicBezTo>
                  <a:cubicBezTo>
                    <a:pt x="7" y="81"/>
                    <a:pt x="7" y="81"/>
                    <a:pt x="7" y="81"/>
                  </a:cubicBezTo>
                  <a:cubicBezTo>
                    <a:pt x="7" y="81"/>
                    <a:pt x="5" y="83"/>
                    <a:pt x="4" y="83"/>
                  </a:cubicBezTo>
                  <a:cubicBezTo>
                    <a:pt x="3" y="83"/>
                    <a:pt x="4" y="83"/>
                    <a:pt x="3" y="83"/>
                  </a:cubicBezTo>
                  <a:cubicBezTo>
                    <a:pt x="3" y="83"/>
                    <a:pt x="3" y="84"/>
                    <a:pt x="3" y="84"/>
                  </a:cubicBezTo>
                  <a:cubicBezTo>
                    <a:pt x="3" y="84"/>
                    <a:pt x="3" y="87"/>
                    <a:pt x="3" y="87"/>
                  </a:cubicBezTo>
                  <a:cubicBezTo>
                    <a:pt x="3" y="88"/>
                    <a:pt x="2" y="90"/>
                    <a:pt x="2" y="90"/>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Freeform 46"/>
            <p:cNvSpPr>
              <a:spLocks/>
            </p:cNvSpPr>
            <p:nvPr/>
          </p:nvSpPr>
          <p:spPr bwMode="auto">
            <a:xfrm>
              <a:off x="5489847" y="3531844"/>
              <a:ext cx="125641" cy="138883"/>
            </a:xfrm>
            <a:custGeom>
              <a:avLst/>
              <a:gdLst>
                <a:gd name="T0" fmla="*/ 2 w 43"/>
                <a:gd name="T1" fmla="*/ 21 h 51"/>
                <a:gd name="T2" fmla="*/ 5 w 43"/>
                <a:gd name="T3" fmla="*/ 24 h 51"/>
                <a:gd name="T4" fmla="*/ 6 w 43"/>
                <a:gd name="T5" fmla="*/ 29 h 51"/>
                <a:gd name="T6" fmla="*/ 7 w 43"/>
                <a:gd name="T7" fmla="*/ 33 h 51"/>
                <a:gd name="T8" fmla="*/ 6 w 43"/>
                <a:gd name="T9" fmla="*/ 36 h 51"/>
                <a:gd name="T10" fmla="*/ 8 w 43"/>
                <a:gd name="T11" fmla="*/ 41 h 51"/>
                <a:gd name="T12" fmla="*/ 15 w 43"/>
                <a:gd name="T13" fmla="*/ 41 h 51"/>
                <a:gd name="T14" fmla="*/ 22 w 43"/>
                <a:gd name="T15" fmla="*/ 43 h 51"/>
                <a:gd name="T16" fmla="*/ 23 w 43"/>
                <a:gd name="T17" fmla="*/ 47 h 51"/>
                <a:gd name="T18" fmla="*/ 26 w 43"/>
                <a:gd name="T19" fmla="*/ 50 h 51"/>
                <a:gd name="T20" fmla="*/ 29 w 43"/>
                <a:gd name="T21" fmla="*/ 51 h 51"/>
                <a:gd name="T22" fmla="*/ 32 w 43"/>
                <a:gd name="T23" fmla="*/ 48 h 51"/>
                <a:gd name="T24" fmla="*/ 32 w 43"/>
                <a:gd name="T25" fmla="*/ 45 h 51"/>
                <a:gd name="T26" fmla="*/ 31 w 43"/>
                <a:gd name="T27" fmla="*/ 43 h 51"/>
                <a:gd name="T28" fmla="*/ 29 w 43"/>
                <a:gd name="T29" fmla="*/ 42 h 51"/>
                <a:gd name="T30" fmla="*/ 34 w 43"/>
                <a:gd name="T31" fmla="*/ 39 h 51"/>
                <a:gd name="T32" fmla="*/ 39 w 43"/>
                <a:gd name="T33" fmla="*/ 36 h 51"/>
                <a:gd name="T34" fmla="*/ 36 w 43"/>
                <a:gd name="T35" fmla="*/ 31 h 51"/>
                <a:gd name="T36" fmla="*/ 33 w 43"/>
                <a:gd name="T37" fmla="*/ 26 h 51"/>
                <a:gd name="T38" fmla="*/ 40 w 43"/>
                <a:gd name="T39" fmla="*/ 24 h 51"/>
                <a:gd name="T40" fmla="*/ 43 w 43"/>
                <a:gd name="T41" fmla="*/ 22 h 51"/>
                <a:gd name="T42" fmla="*/ 41 w 43"/>
                <a:gd name="T43" fmla="*/ 19 h 51"/>
                <a:gd name="T44" fmla="*/ 41 w 43"/>
                <a:gd name="T45" fmla="*/ 13 h 51"/>
                <a:gd name="T46" fmla="*/ 39 w 43"/>
                <a:gd name="T47" fmla="*/ 8 h 51"/>
                <a:gd name="T48" fmla="*/ 40 w 43"/>
                <a:gd name="T49" fmla="*/ 2 h 51"/>
                <a:gd name="T50" fmla="*/ 35 w 43"/>
                <a:gd name="T51" fmla="*/ 0 h 51"/>
                <a:gd name="T52" fmla="*/ 27 w 43"/>
                <a:gd name="T53" fmla="*/ 4 h 51"/>
                <a:gd name="T54" fmla="*/ 23 w 43"/>
                <a:gd name="T55" fmla="*/ 9 h 51"/>
                <a:gd name="T56" fmla="*/ 26 w 43"/>
                <a:gd name="T57" fmla="*/ 9 h 51"/>
                <a:gd name="T58" fmla="*/ 25 w 43"/>
                <a:gd name="T59" fmla="*/ 13 h 51"/>
                <a:gd name="T60" fmla="*/ 22 w 43"/>
                <a:gd name="T61" fmla="*/ 16 h 51"/>
                <a:gd name="T62" fmla="*/ 22 w 43"/>
                <a:gd name="T63" fmla="*/ 19 h 51"/>
                <a:gd name="T64" fmla="*/ 19 w 43"/>
                <a:gd name="T65" fmla="*/ 18 h 51"/>
                <a:gd name="T66" fmla="*/ 21 w 43"/>
                <a:gd name="T67" fmla="*/ 15 h 51"/>
                <a:gd name="T68" fmla="*/ 18 w 43"/>
                <a:gd name="T69" fmla="*/ 15 h 51"/>
                <a:gd name="T70" fmla="*/ 20 w 43"/>
                <a:gd name="T71" fmla="*/ 10 h 51"/>
                <a:gd name="T72" fmla="*/ 19 w 43"/>
                <a:gd name="T73" fmla="*/ 7 h 51"/>
                <a:gd name="T74" fmla="*/ 14 w 43"/>
                <a:gd name="T75" fmla="*/ 9 h 51"/>
                <a:gd name="T76" fmla="*/ 11 w 43"/>
                <a:gd name="T77" fmla="*/ 9 h 51"/>
                <a:gd name="T78" fmla="*/ 15 w 43"/>
                <a:gd name="T79" fmla="*/ 11 h 51"/>
                <a:gd name="T80" fmla="*/ 10 w 43"/>
                <a:gd name="T81" fmla="*/ 14 h 51"/>
                <a:gd name="T82" fmla="*/ 9 w 43"/>
                <a:gd name="T83" fmla="*/ 17 h 51"/>
                <a:gd name="T84" fmla="*/ 5 w 43"/>
                <a:gd name="T85" fmla="*/ 1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 h="51">
                  <a:moveTo>
                    <a:pt x="1" y="18"/>
                  </a:moveTo>
                  <a:cubicBezTo>
                    <a:pt x="0" y="18"/>
                    <a:pt x="1" y="20"/>
                    <a:pt x="1" y="20"/>
                  </a:cubicBezTo>
                  <a:cubicBezTo>
                    <a:pt x="2" y="21"/>
                    <a:pt x="2" y="21"/>
                    <a:pt x="2" y="21"/>
                  </a:cubicBezTo>
                  <a:cubicBezTo>
                    <a:pt x="1" y="22"/>
                    <a:pt x="1" y="22"/>
                    <a:pt x="1" y="22"/>
                  </a:cubicBezTo>
                  <a:cubicBezTo>
                    <a:pt x="3" y="23"/>
                    <a:pt x="3" y="23"/>
                    <a:pt x="3" y="23"/>
                  </a:cubicBezTo>
                  <a:cubicBezTo>
                    <a:pt x="5" y="24"/>
                    <a:pt x="5" y="24"/>
                    <a:pt x="5" y="24"/>
                  </a:cubicBezTo>
                  <a:cubicBezTo>
                    <a:pt x="6" y="26"/>
                    <a:pt x="6" y="26"/>
                    <a:pt x="6" y="26"/>
                  </a:cubicBezTo>
                  <a:cubicBezTo>
                    <a:pt x="5" y="28"/>
                    <a:pt x="5" y="28"/>
                    <a:pt x="5" y="28"/>
                  </a:cubicBezTo>
                  <a:cubicBezTo>
                    <a:pt x="6" y="29"/>
                    <a:pt x="6" y="29"/>
                    <a:pt x="6" y="29"/>
                  </a:cubicBezTo>
                  <a:cubicBezTo>
                    <a:pt x="6" y="29"/>
                    <a:pt x="7" y="30"/>
                    <a:pt x="7" y="30"/>
                  </a:cubicBezTo>
                  <a:cubicBezTo>
                    <a:pt x="7" y="31"/>
                    <a:pt x="7" y="32"/>
                    <a:pt x="7" y="32"/>
                  </a:cubicBezTo>
                  <a:cubicBezTo>
                    <a:pt x="7" y="33"/>
                    <a:pt x="7" y="33"/>
                    <a:pt x="7" y="33"/>
                  </a:cubicBezTo>
                  <a:cubicBezTo>
                    <a:pt x="7" y="34"/>
                    <a:pt x="7" y="34"/>
                    <a:pt x="7" y="34"/>
                  </a:cubicBezTo>
                  <a:cubicBezTo>
                    <a:pt x="7" y="34"/>
                    <a:pt x="6" y="35"/>
                    <a:pt x="6" y="36"/>
                  </a:cubicBezTo>
                  <a:cubicBezTo>
                    <a:pt x="6" y="36"/>
                    <a:pt x="6" y="36"/>
                    <a:pt x="6" y="36"/>
                  </a:cubicBezTo>
                  <a:cubicBezTo>
                    <a:pt x="8" y="38"/>
                    <a:pt x="8" y="38"/>
                    <a:pt x="8" y="38"/>
                  </a:cubicBezTo>
                  <a:cubicBezTo>
                    <a:pt x="9" y="39"/>
                    <a:pt x="9" y="39"/>
                    <a:pt x="9" y="39"/>
                  </a:cubicBezTo>
                  <a:cubicBezTo>
                    <a:pt x="9" y="39"/>
                    <a:pt x="8" y="41"/>
                    <a:pt x="8" y="41"/>
                  </a:cubicBezTo>
                  <a:cubicBezTo>
                    <a:pt x="8" y="41"/>
                    <a:pt x="9" y="42"/>
                    <a:pt x="9" y="42"/>
                  </a:cubicBezTo>
                  <a:cubicBezTo>
                    <a:pt x="13" y="42"/>
                    <a:pt x="13" y="42"/>
                    <a:pt x="13" y="42"/>
                  </a:cubicBezTo>
                  <a:cubicBezTo>
                    <a:pt x="15" y="41"/>
                    <a:pt x="15" y="41"/>
                    <a:pt x="15" y="41"/>
                  </a:cubicBezTo>
                  <a:cubicBezTo>
                    <a:pt x="15" y="41"/>
                    <a:pt x="17" y="42"/>
                    <a:pt x="17" y="42"/>
                  </a:cubicBezTo>
                  <a:cubicBezTo>
                    <a:pt x="18" y="42"/>
                    <a:pt x="20" y="41"/>
                    <a:pt x="20" y="41"/>
                  </a:cubicBezTo>
                  <a:cubicBezTo>
                    <a:pt x="20" y="41"/>
                    <a:pt x="21" y="42"/>
                    <a:pt x="22" y="43"/>
                  </a:cubicBezTo>
                  <a:cubicBezTo>
                    <a:pt x="23" y="43"/>
                    <a:pt x="23" y="44"/>
                    <a:pt x="23" y="44"/>
                  </a:cubicBezTo>
                  <a:cubicBezTo>
                    <a:pt x="23" y="45"/>
                    <a:pt x="22" y="45"/>
                    <a:pt x="22" y="45"/>
                  </a:cubicBezTo>
                  <a:cubicBezTo>
                    <a:pt x="22" y="45"/>
                    <a:pt x="22" y="47"/>
                    <a:pt x="23" y="47"/>
                  </a:cubicBezTo>
                  <a:cubicBezTo>
                    <a:pt x="23" y="48"/>
                    <a:pt x="23" y="47"/>
                    <a:pt x="23" y="47"/>
                  </a:cubicBezTo>
                  <a:cubicBezTo>
                    <a:pt x="23" y="47"/>
                    <a:pt x="24" y="48"/>
                    <a:pt x="24" y="49"/>
                  </a:cubicBezTo>
                  <a:cubicBezTo>
                    <a:pt x="25" y="50"/>
                    <a:pt x="26" y="50"/>
                    <a:pt x="26" y="50"/>
                  </a:cubicBezTo>
                  <a:cubicBezTo>
                    <a:pt x="27" y="49"/>
                    <a:pt x="27" y="49"/>
                    <a:pt x="27" y="49"/>
                  </a:cubicBezTo>
                  <a:cubicBezTo>
                    <a:pt x="27" y="49"/>
                    <a:pt x="27" y="50"/>
                    <a:pt x="27" y="51"/>
                  </a:cubicBezTo>
                  <a:cubicBezTo>
                    <a:pt x="28" y="51"/>
                    <a:pt x="28" y="51"/>
                    <a:pt x="29" y="51"/>
                  </a:cubicBezTo>
                  <a:cubicBezTo>
                    <a:pt x="30" y="51"/>
                    <a:pt x="30" y="50"/>
                    <a:pt x="30" y="50"/>
                  </a:cubicBezTo>
                  <a:cubicBezTo>
                    <a:pt x="31" y="50"/>
                    <a:pt x="31" y="50"/>
                    <a:pt x="32" y="49"/>
                  </a:cubicBezTo>
                  <a:cubicBezTo>
                    <a:pt x="32" y="49"/>
                    <a:pt x="32" y="48"/>
                    <a:pt x="32" y="48"/>
                  </a:cubicBezTo>
                  <a:cubicBezTo>
                    <a:pt x="32" y="48"/>
                    <a:pt x="32" y="48"/>
                    <a:pt x="32" y="48"/>
                  </a:cubicBezTo>
                  <a:cubicBezTo>
                    <a:pt x="32" y="46"/>
                    <a:pt x="32" y="46"/>
                    <a:pt x="32" y="46"/>
                  </a:cubicBezTo>
                  <a:cubicBezTo>
                    <a:pt x="32" y="45"/>
                    <a:pt x="32" y="45"/>
                    <a:pt x="32" y="45"/>
                  </a:cubicBezTo>
                  <a:cubicBezTo>
                    <a:pt x="32" y="44"/>
                    <a:pt x="32" y="44"/>
                    <a:pt x="32" y="44"/>
                  </a:cubicBezTo>
                  <a:cubicBezTo>
                    <a:pt x="31" y="44"/>
                    <a:pt x="31" y="44"/>
                    <a:pt x="31" y="44"/>
                  </a:cubicBezTo>
                  <a:cubicBezTo>
                    <a:pt x="31" y="44"/>
                    <a:pt x="31" y="43"/>
                    <a:pt x="31" y="43"/>
                  </a:cubicBezTo>
                  <a:cubicBezTo>
                    <a:pt x="31" y="42"/>
                    <a:pt x="30" y="43"/>
                    <a:pt x="30" y="43"/>
                  </a:cubicBezTo>
                  <a:cubicBezTo>
                    <a:pt x="30" y="43"/>
                    <a:pt x="29" y="43"/>
                    <a:pt x="29" y="43"/>
                  </a:cubicBezTo>
                  <a:cubicBezTo>
                    <a:pt x="29" y="43"/>
                    <a:pt x="29" y="42"/>
                    <a:pt x="29" y="42"/>
                  </a:cubicBezTo>
                  <a:cubicBezTo>
                    <a:pt x="30" y="42"/>
                    <a:pt x="30" y="42"/>
                    <a:pt x="30" y="41"/>
                  </a:cubicBezTo>
                  <a:cubicBezTo>
                    <a:pt x="31" y="41"/>
                    <a:pt x="31" y="41"/>
                    <a:pt x="31" y="41"/>
                  </a:cubicBezTo>
                  <a:cubicBezTo>
                    <a:pt x="31" y="41"/>
                    <a:pt x="33" y="39"/>
                    <a:pt x="34" y="39"/>
                  </a:cubicBezTo>
                  <a:cubicBezTo>
                    <a:pt x="36" y="38"/>
                    <a:pt x="36" y="38"/>
                    <a:pt x="36" y="38"/>
                  </a:cubicBezTo>
                  <a:cubicBezTo>
                    <a:pt x="38" y="37"/>
                    <a:pt x="38" y="37"/>
                    <a:pt x="38" y="37"/>
                  </a:cubicBezTo>
                  <a:cubicBezTo>
                    <a:pt x="38" y="37"/>
                    <a:pt x="38" y="36"/>
                    <a:pt x="39" y="36"/>
                  </a:cubicBezTo>
                  <a:cubicBezTo>
                    <a:pt x="39" y="36"/>
                    <a:pt x="39" y="35"/>
                    <a:pt x="39" y="35"/>
                  </a:cubicBezTo>
                  <a:cubicBezTo>
                    <a:pt x="38" y="33"/>
                    <a:pt x="38" y="33"/>
                    <a:pt x="38" y="33"/>
                  </a:cubicBezTo>
                  <a:cubicBezTo>
                    <a:pt x="38" y="33"/>
                    <a:pt x="36" y="32"/>
                    <a:pt x="36" y="31"/>
                  </a:cubicBezTo>
                  <a:cubicBezTo>
                    <a:pt x="36" y="31"/>
                    <a:pt x="33" y="30"/>
                    <a:pt x="33" y="30"/>
                  </a:cubicBezTo>
                  <a:cubicBezTo>
                    <a:pt x="33" y="30"/>
                    <a:pt x="32" y="28"/>
                    <a:pt x="32" y="28"/>
                  </a:cubicBezTo>
                  <a:cubicBezTo>
                    <a:pt x="32" y="28"/>
                    <a:pt x="33" y="26"/>
                    <a:pt x="33" y="26"/>
                  </a:cubicBezTo>
                  <a:cubicBezTo>
                    <a:pt x="33" y="26"/>
                    <a:pt x="35" y="24"/>
                    <a:pt x="36" y="23"/>
                  </a:cubicBezTo>
                  <a:cubicBezTo>
                    <a:pt x="37" y="22"/>
                    <a:pt x="37" y="23"/>
                    <a:pt x="38" y="23"/>
                  </a:cubicBezTo>
                  <a:cubicBezTo>
                    <a:pt x="38" y="23"/>
                    <a:pt x="39" y="24"/>
                    <a:pt x="40" y="24"/>
                  </a:cubicBezTo>
                  <a:cubicBezTo>
                    <a:pt x="40" y="24"/>
                    <a:pt x="41" y="24"/>
                    <a:pt x="41" y="24"/>
                  </a:cubicBezTo>
                  <a:cubicBezTo>
                    <a:pt x="42" y="24"/>
                    <a:pt x="43" y="24"/>
                    <a:pt x="43" y="24"/>
                  </a:cubicBezTo>
                  <a:cubicBezTo>
                    <a:pt x="43" y="24"/>
                    <a:pt x="43" y="23"/>
                    <a:pt x="43" y="22"/>
                  </a:cubicBezTo>
                  <a:cubicBezTo>
                    <a:pt x="43" y="21"/>
                    <a:pt x="43" y="21"/>
                    <a:pt x="43" y="21"/>
                  </a:cubicBezTo>
                  <a:cubicBezTo>
                    <a:pt x="42" y="21"/>
                    <a:pt x="42" y="20"/>
                    <a:pt x="42" y="20"/>
                  </a:cubicBezTo>
                  <a:cubicBezTo>
                    <a:pt x="42" y="20"/>
                    <a:pt x="41" y="19"/>
                    <a:pt x="41" y="19"/>
                  </a:cubicBezTo>
                  <a:cubicBezTo>
                    <a:pt x="41" y="19"/>
                    <a:pt x="42" y="18"/>
                    <a:pt x="42" y="18"/>
                  </a:cubicBezTo>
                  <a:cubicBezTo>
                    <a:pt x="42" y="18"/>
                    <a:pt x="42" y="15"/>
                    <a:pt x="42" y="15"/>
                  </a:cubicBezTo>
                  <a:cubicBezTo>
                    <a:pt x="41" y="15"/>
                    <a:pt x="41" y="13"/>
                    <a:pt x="41" y="13"/>
                  </a:cubicBezTo>
                  <a:cubicBezTo>
                    <a:pt x="41" y="12"/>
                    <a:pt x="40" y="11"/>
                    <a:pt x="40" y="11"/>
                  </a:cubicBezTo>
                  <a:cubicBezTo>
                    <a:pt x="39" y="10"/>
                    <a:pt x="39" y="10"/>
                    <a:pt x="39" y="10"/>
                  </a:cubicBezTo>
                  <a:cubicBezTo>
                    <a:pt x="39" y="10"/>
                    <a:pt x="39" y="10"/>
                    <a:pt x="39" y="8"/>
                  </a:cubicBezTo>
                  <a:cubicBezTo>
                    <a:pt x="39" y="7"/>
                    <a:pt x="40" y="6"/>
                    <a:pt x="40" y="5"/>
                  </a:cubicBezTo>
                  <a:cubicBezTo>
                    <a:pt x="41" y="5"/>
                    <a:pt x="41" y="4"/>
                    <a:pt x="41" y="4"/>
                  </a:cubicBezTo>
                  <a:cubicBezTo>
                    <a:pt x="40" y="2"/>
                    <a:pt x="40" y="2"/>
                    <a:pt x="40" y="2"/>
                  </a:cubicBezTo>
                  <a:cubicBezTo>
                    <a:pt x="40" y="2"/>
                    <a:pt x="37" y="2"/>
                    <a:pt x="37" y="2"/>
                  </a:cubicBezTo>
                  <a:cubicBezTo>
                    <a:pt x="37" y="2"/>
                    <a:pt x="36" y="1"/>
                    <a:pt x="36" y="0"/>
                  </a:cubicBezTo>
                  <a:cubicBezTo>
                    <a:pt x="36" y="0"/>
                    <a:pt x="35" y="0"/>
                    <a:pt x="35" y="0"/>
                  </a:cubicBezTo>
                  <a:cubicBezTo>
                    <a:pt x="35" y="0"/>
                    <a:pt x="32" y="1"/>
                    <a:pt x="32" y="1"/>
                  </a:cubicBezTo>
                  <a:cubicBezTo>
                    <a:pt x="32" y="1"/>
                    <a:pt x="31" y="1"/>
                    <a:pt x="30" y="2"/>
                  </a:cubicBezTo>
                  <a:cubicBezTo>
                    <a:pt x="28" y="3"/>
                    <a:pt x="28" y="3"/>
                    <a:pt x="27" y="4"/>
                  </a:cubicBezTo>
                  <a:cubicBezTo>
                    <a:pt x="26" y="4"/>
                    <a:pt x="25" y="5"/>
                    <a:pt x="25" y="5"/>
                  </a:cubicBezTo>
                  <a:cubicBezTo>
                    <a:pt x="24" y="6"/>
                    <a:pt x="23" y="7"/>
                    <a:pt x="23" y="7"/>
                  </a:cubicBezTo>
                  <a:cubicBezTo>
                    <a:pt x="22" y="8"/>
                    <a:pt x="23" y="8"/>
                    <a:pt x="23" y="9"/>
                  </a:cubicBezTo>
                  <a:cubicBezTo>
                    <a:pt x="23" y="10"/>
                    <a:pt x="24" y="9"/>
                    <a:pt x="24" y="9"/>
                  </a:cubicBezTo>
                  <a:cubicBezTo>
                    <a:pt x="24" y="9"/>
                    <a:pt x="25" y="9"/>
                    <a:pt x="26" y="9"/>
                  </a:cubicBezTo>
                  <a:cubicBezTo>
                    <a:pt x="26" y="9"/>
                    <a:pt x="26" y="9"/>
                    <a:pt x="26" y="9"/>
                  </a:cubicBezTo>
                  <a:cubicBezTo>
                    <a:pt x="26" y="9"/>
                    <a:pt x="26" y="10"/>
                    <a:pt x="26" y="10"/>
                  </a:cubicBezTo>
                  <a:cubicBezTo>
                    <a:pt x="26" y="10"/>
                    <a:pt x="25" y="11"/>
                    <a:pt x="25" y="11"/>
                  </a:cubicBezTo>
                  <a:cubicBezTo>
                    <a:pt x="25" y="11"/>
                    <a:pt x="25" y="12"/>
                    <a:pt x="25" y="13"/>
                  </a:cubicBezTo>
                  <a:cubicBezTo>
                    <a:pt x="25" y="13"/>
                    <a:pt x="24" y="14"/>
                    <a:pt x="24" y="14"/>
                  </a:cubicBezTo>
                  <a:cubicBezTo>
                    <a:pt x="23" y="14"/>
                    <a:pt x="23" y="14"/>
                    <a:pt x="22" y="15"/>
                  </a:cubicBezTo>
                  <a:cubicBezTo>
                    <a:pt x="21" y="15"/>
                    <a:pt x="22" y="16"/>
                    <a:pt x="22" y="16"/>
                  </a:cubicBezTo>
                  <a:cubicBezTo>
                    <a:pt x="22" y="17"/>
                    <a:pt x="22" y="17"/>
                    <a:pt x="22" y="17"/>
                  </a:cubicBezTo>
                  <a:cubicBezTo>
                    <a:pt x="23" y="18"/>
                    <a:pt x="23" y="18"/>
                    <a:pt x="23" y="19"/>
                  </a:cubicBezTo>
                  <a:cubicBezTo>
                    <a:pt x="23" y="19"/>
                    <a:pt x="22" y="20"/>
                    <a:pt x="22" y="19"/>
                  </a:cubicBezTo>
                  <a:cubicBezTo>
                    <a:pt x="21" y="19"/>
                    <a:pt x="21" y="19"/>
                    <a:pt x="21" y="19"/>
                  </a:cubicBezTo>
                  <a:cubicBezTo>
                    <a:pt x="19" y="18"/>
                    <a:pt x="19" y="18"/>
                    <a:pt x="19" y="18"/>
                  </a:cubicBezTo>
                  <a:cubicBezTo>
                    <a:pt x="19" y="18"/>
                    <a:pt x="19" y="18"/>
                    <a:pt x="19" y="18"/>
                  </a:cubicBezTo>
                  <a:cubicBezTo>
                    <a:pt x="18" y="18"/>
                    <a:pt x="20" y="17"/>
                    <a:pt x="20" y="17"/>
                  </a:cubicBezTo>
                  <a:cubicBezTo>
                    <a:pt x="21" y="16"/>
                    <a:pt x="21" y="16"/>
                    <a:pt x="21" y="16"/>
                  </a:cubicBezTo>
                  <a:cubicBezTo>
                    <a:pt x="21" y="15"/>
                    <a:pt x="21" y="15"/>
                    <a:pt x="21" y="15"/>
                  </a:cubicBezTo>
                  <a:cubicBezTo>
                    <a:pt x="19" y="15"/>
                    <a:pt x="19" y="15"/>
                    <a:pt x="19" y="15"/>
                  </a:cubicBezTo>
                  <a:cubicBezTo>
                    <a:pt x="18" y="15"/>
                    <a:pt x="18" y="15"/>
                    <a:pt x="18" y="15"/>
                  </a:cubicBezTo>
                  <a:cubicBezTo>
                    <a:pt x="18" y="15"/>
                    <a:pt x="18" y="15"/>
                    <a:pt x="18" y="15"/>
                  </a:cubicBezTo>
                  <a:cubicBezTo>
                    <a:pt x="18" y="13"/>
                    <a:pt x="18" y="13"/>
                    <a:pt x="18" y="13"/>
                  </a:cubicBezTo>
                  <a:cubicBezTo>
                    <a:pt x="19" y="11"/>
                    <a:pt x="19" y="11"/>
                    <a:pt x="19" y="11"/>
                  </a:cubicBezTo>
                  <a:cubicBezTo>
                    <a:pt x="19" y="11"/>
                    <a:pt x="19" y="10"/>
                    <a:pt x="20" y="10"/>
                  </a:cubicBezTo>
                  <a:cubicBezTo>
                    <a:pt x="20" y="10"/>
                    <a:pt x="21" y="9"/>
                    <a:pt x="21" y="8"/>
                  </a:cubicBezTo>
                  <a:cubicBezTo>
                    <a:pt x="22" y="8"/>
                    <a:pt x="21" y="7"/>
                    <a:pt x="21" y="7"/>
                  </a:cubicBezTo>
                  <a:cubicBezTo>
                    <a:pt x="19" y="7"/>
                    <a:pt x="19" y="7"/>
                    <a:pt x="19" y="7"/>
                  </a:cubicBezTo>
                  <a:cubicBezTo>
                    <a:pt x="17" y="8"/>
                    <a:pt x="17" y="8"/>
                    <a:pt x="17" y="8"/>
                  </a:cubicBezTo>
                  <a:cubicBezTo>
                    <a:pt x="17" y="8"/>
                    <a:pt x="15" y="9"/>
                    <a:pt x="15" y="9"/>
                  </a:cubicBezTo>
                  <a:cubicBezTo>
                    <a:pt x="14" y="9"/>
                    <a:pt x="14" y="9"/>
                    <a:pt x="14" y="9"/>
                  </a:cubicBezTo>
                  <a:cubicBezTo>
                    <a:pt x="13" y="8"/>
                    <a:pt x="13" y="8"/>
                    <a:pt x="13" y="8"/>
                  </a:cubicBezTo>
                  <a:cubicBezTo>
                    <a:pt x="13" y="8"/>
                    <a:pt x="11" y="8"/>
                    <a:pt x="11" y="8"/>
                  </a:cubicBezTo>
                  <a:cubicBezTo>
                    <a:pt x="11" y="8"/>
                    <a:pt x="11" y="9"/>
                    <a:pt x="11" y="9"/>
                  </a:cubicBezTo>
                  <a:cubicBezTo>
                    <a:pt x="11" y="9"/>
                    <a:pt x="13" y="10"/>
                    <a:pt x="13" y="10"/>
                  </a:cubicBezTo>
                  <a:cubicBezTo>
                    <a:pt x="14" y="10"/>
                    <a:pt x="14" y="11"/>
                    <a:pt x="14" y="11"/>
                  </a:cubicBezTo>
                  <a:cubicBezTo>
                    <a:pt x="15" y="11"/>
                    <a:pt x="15" y="11"/>
                    <a:pt x="15" y="11"/>
                  </a:cubicBezTo>
                  <a:cubicBezTo>
                    <a:pt x="15" y="11"/>
                    <a:pt x="13" y="13"/>
                    <a:pt x="13" y="13"/>
                  </a:cubicBezTo>
                  <a:cubicBezTo>
                    <a:pt x="12" y="13"/>
                    <a:pt x="12" y="14"/>
                    <a:pt x="12" y="14"/>
                  </a:cubicBezTo>
                  <a:cubicBezTo>
                    <a:pt x="10" y="14"/>
                    <a:pt x="10" y="14"/>
                    <a:pt x="10" y="14"/>
                  </a:cubicBezTo>
                  <a:cubicBezTo>
                    <a:pt x="10" y="14"/>
                    <a:pt x="11" y="16"/>
                    <a:pt x="11" y="16"/>
                  </a:cubicBezTo>
                  <a:cubicBezTo>
                    <a:pt x="11" y="16"/>
                    <a:pt x="11" y="17"/>
                    <a:pt x="11" y="17"/>
                  </a:cubicBezTo>
                  <a:cubicBezTo>
                    <a:pt x="9" y="17"/>
                    <a:pt x="9" y="17"/>
                    <a:pt x="9" y="17"/>
                  </a:cubicBezTo>
                  <a:cubicBezTo>
                    <a:pt x="7" y="18"/>
                    <a:pt x="7" y="18"/>
                    <a:pt x="7" y="18"/>
                  </a:cubicBezTo>
                  <a:cubicBezTo>
                    <a:pt x="7" y="18"/>
                    <a:pt x="6" y="18"/>
                    <a:pt x="6" y="18"/>
                  </a:cubicBezTo>
                  <a:cubicBezTo>
                    <a:pt x="6" y="18"/>
                    <a:pt x="5" y="18"/>
                    <a:pt x="5" y="18"/>
                  </a:cubicBezTo>
                  <a:cubicBezTo>
                    <a:pt x="4" y="19"/>
                    <a:pt x="4" y="19"/>
                    <a:pt x="4" y="19"/>
                  </a:cubicBezTo>
                  <a:cubicBezTo>
                    <a:pt x="4" y="19"/>
                    <a:pt x="2" y="18"/>
                    <a:pt x="1" y="18"/>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47"/>
            <p:cNvSpPr>
              <a:spLocks/>
            </p:cNvSpPr>
            <p:nvPr/>
          </p:nvSpPr>
          <p:spPr bwMode="auto">
            <a:xfrm>
              <a:off x="5460964" y="3662558"/>
              <a:ext cx="17330" cy="16339"/>
            </a:xfrm>
            <a:custGeom>
              <a:avLst/>
              <a:gdLst>
                <a:gd name="T0" fmla="*/ 3 w 6"/>
                <a:gd name="T1" fmla="*/ 1 h 6"/>
                <a:gd name="T2" fmla="*/ 2 w 6"/>
                <a:gd name="T3" fmla="*/ 2 h 6"/>
                <a:gd name="T4" fmla="*/ 0 w 6"/>
                <a:gd name="T5" fmla="*/ 2 h 6"/>
                <a:gd name="T6" fmla="*/ 1 w 6"/>
                <a:gd name="T7" fmla="*/ 4 h 6"/>
                <a:gd name="T8" fmla="*/ 2 w 6"/>
                <a:gd name="T9" fmla="*/ 6 h 6"/>
                <a:gd name="T10" fmla="*/ 5 w 6"/>
                <a:gd name="T11" fmla="*/ 3 h 6"/>
                <a:gd name="T12" fmla="*/ 5 w 6"/>
                <a:gd name="T13" fmla="*/ 2 h 6"/>
                <a:gd name="T14" fmla="*/ 6 w 6"/>
                <a:gd name="T15" fmla="*/ 0 h 6"/>
                <a:gd name="T16" fmla="*/ 3 w 6"/>
                <a:gd name="T1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3" y="1"/>
                  </a:moveTo>
                  <a:cubicBezTo>
                    <a:pt x="2" y="2"/>
                    <a:pt x="2" y="2"/>
                    <a:pt x="2" y="2"/>
                  </a:cubicBezTo>
                  <a:cubicBezTo>
                    <a:pt x="0" y="2"/>
                    <a:pt x="0" y="2"/>
                    <a:pt x="0" y="2"/>
                  </a:cubicBezTo>
                  <a:cubicBezTo>
                    <a:pt x="1" y="4"/>
                    <a:pt x="1" y="4"/>
                    <a:pt x="1" y="4"/>
                  </a:cubicBezTo>
                  <a:cubicBezTo>
                    <a:pt x="1" y="4"/>
                    <a:pt x="2" y="6"/>
                    <a:pt x="2" y="6"/>
                  </a:cubicBezTo>
                  <a:cubicBezTo>
                    <a:pt x="3" y="6"/>
                    <a:pt x="5" y="3"/>
                    <a:pt x="5" y="3"/>
                  </a:cubicBezTo>
                  <a:cubicBezTo>
                    <a:pt x="5" y="2"/>
                    <a:pt x="5" y="2"/>
                    <a:pt x="5" y="2"/>
                  </a:cubicBezTo>
                  <a:cubicBezTo>
                    <a:pt x="6" y="0"/>
                    <a:pt x="6" y="0"/>
                    <a:pt x="6" y="0"/>
                  </a:cubicBezTo>
                  <a:lnTo>
                    <a:pt x="3" y="1"/>
                  </a:ln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reeform 48"/>
            <p:cNvSpPr>
              <a:spLocks/>
            </p:cNvSpPr>
            <p:nvPr/>
          </p:nvSpPr>
          <p:spPr bwMode="auto">
            <a:xfrm>
              <a:off x="5472517" y="3651665"/>
              <a:ext cx="23106" cy="49018"/>
            </a:xfrm>
            <a:custGeom>
              <a:avLst/>
              <a:gdLst>
                <a:gd name="T0" fmla="*/ 6 w 8"/>
                <a:gd name="T1" fmla="*/ 1 h 18"/>
                <a:gd name="T2" fmla="*/ 6 w 8"/>
                <a:gd name="T3" fmla="*/ 3 h 18"/>
                <a:gd name="T4" fmla="*/ 4 w 8"/>
                <a:gd name="T5" fmla="*/ 6 h 18"/>
                <a:gd name="T6" fmla="*/ 3 w 8"/>
                <a:gd name="T7" fmla="*/ 8 h 18"/>
                <a:gd name="T8" fmla="*/ 2 w 8"/>
                <a:gd name="T9" fmla="*/ 9 h 18"/>
                <a:gd name="T10" fmla="*/ 2 w 8"/>
                <a:gd name="T11" fmla="*/ 10 h 18"/>
                <a:gd name="T12" fmla="*/ 2 w 8"/>
                <a:gd name="T13" fmla="*/ 11 h 18"/>
                <a:gd name="T14" fmla="*/ 1 w 8"/>
                <a:gd name="T15" fmla="*/ 12 h 18"/>
                <a:gd name="T16" fmla="*/ 1 w 8"/>
                <a:gd name="T17" fmla="*/ 13 h 18"/>
                <a:gd name="T18" fmla="*/ 0 w 8"/>
                <a:gd name="T19" fmla="*/ 14 h 18"/>
                <a:gd name="T20" fmla="*/ 1 w 8"/>
                <a:gd name="T21" fmla="*/ 17 h 18"/>
                <a:gd name="T22" fmla="*/ 2 w 8"/>
                <a:gd name="T23" fmla="*/ 18 h 18"/>
                <a:gd name="T24" fmla="*/ 3 w 8"/>
                <a:gd name="T25" fmla="*/ 18 h 18"/>
                <a:gd name="T26" fmla="*/ 3 w 8"/>
                <a:gd name="T27" fmla="*/ 16 h 18"/>
                <a:gd name="T28" fmla="*/ 4 w 8"/>
                <a:gd name="T29" fmla="*/ 12 h 18"/>
                <a:gd name="T30" fmla="*/ 5 w 8"/>
                <a:gd name="T31" fmla="*/ 10 h 18"/>
                <a:gd name="T32" fmla="*/ 7 w 8"/>
                <a:gd name="T33" fmla="*/ 7 h 18"/>
                <a:gd name="T34" fmla="*/ 7 w 8"/>
                <a:gd name="T35" fmla="*/ 4 h 18"/>
                <a:gd name="T36" fmla="*/ 8 w 8"/>
                <a:gd name="T37" fmla="*/ 2 h 18"/>
                <a:gd name="T38" fmla="*/ 7 w 8"/>
                <a:gd name="T39" fmla="*/ 0 h 18"/>
                <a:gd name="T40" fmla="*/ 6 w 8"/>
                <a:gd name="T4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18">
                  <a:moveTo>
                    <a:pt x="6" y="1"/>
                  </a:moveTo>
                  <a:cubicBezTo>
                    <a:pt x="6" y="3"/>
                    <a:pt x="6" y="3"/>
                    <a:pt x="6" y="3"/>
                  </a:cubicBezTo>
                  <a:cubicBezTo>
                    <a:pt x="4" y="6"/>
                    <a:pt x="4" y="6"/>
                    <a:pt x="4" y="6"/>
                  </a:cubicBezTo>
                  <a:cubicBezTo>
                    <a:pt x="3" y="8"/>
                    <a:pt x="3" y="8"/>
                    <a:pt x="3" y="8"/>
                  </a:cubicBezTo>
                  <a:cubicBezTo>
                    <a:pt x="2" y="9"/>
                    <a:pt x="2" y="9"/>
                    <a:pt x="2" y="9"/>
                  </a:cubicBezTo>
                  <a:cubicBezTo>
                    <a:pt x="2" y="10"/>
                    <a:pt x="2" y="10"/>
                    <a:pt x="2" y="10"/>
                  </a:cubicBezTo>
                  <a:cubicBezTo>
                    <a:pt x="2" y="11"/>
                    <a:pt x="2" y="11"/>
                    <a:pt x="2" y="11"/>
                  </a:cubicBezTo>
                  <a:cubicBezTo>
                    <a:pt x="1" y="12"/>
                    <a:pt x="1" y="12"/>
                    <a:pt x="1" y="12"/>
                  </a:cubicBezTo>
                  <a:cubicBezTo>
                    <a:pt x="1" y="13"/>
                    <a:pt x="1" y="13"/>
                    <a:pt x="1" y="13"/>
                  </a:cubicBezTo>
                  <a:cubicBezTo>
                    <a:pt x="0" y="14"/>
                    <a:pt x="0" y="14"/>
                    <a:pt x="0" y="14"/>
                  </a:cubicBezTo>
                  <a:cubicBezTo>
                    <a:pt x="1" y="17"/>
                    <a:pt x="1" y="17"/>
                    <a:pt x="1" y="17"/>
                  </a:cubicBezTo>
                  <a:cubicBezTo>
                    <a:pt x="2" y="18"/>
                    <a:pt x="2" y="18"/>
                    <a:pt x="2" y="18"/>
                  </a:cubicBezTo>
                  <a:cubicBezTo>
                    <a:pt x="2" y="18"/>
                    <a:pt x="3" y="18"/>
                    <a:pt x="3" y="18"/>
                  </a:cubicBezTo>
                  <a:cubicBezTo>
                    <a:pt x="3" y="17"/>
                    <a:pt x="3" y="16"/>
                    <a:pt x="3" y="16"/>
                  </a:cubicBezTo>
                  <a:cubicBezTo>
                    <a:pt x="3" y="15"/>
                    <a:pt x="4" y="13"/>
                    <a:pt x="4" y="12"/>
                  </a:cubicBezTo>
                  <a:cubicBezTo>
                    <a:pt x="4" y="12"/>
                    <a:pt x="5" y="10"/>
                    <a:pt x="5" y="10"/>
                  </a:cubicBezTo>
                  <a:cubicBezTo>
                    <a:pt x="6" y="9"/>
                    <a:pt x="7" y="8"/>
                    <a:pt x="7" y="7"/>
                  </a:cubicBezTo>
                  <a:cubicBezTo>
                    <a:pt x="7" y="6"/>
                    <a:pt x="7" y="5"/>
                    <a:pt x="7" y="4"/>
                  </a:cubicBezTo>
                  <a:cubicBezTo>
                    <a:pt x="7" y="4"/>
                    <a:pt x="8" y="2"/>
                    <a:pt x="8" y="2"/>
                  </a:cubicBezTo>
                  <a:cubicBezTo>
                    <a:pt x="8" y="1"/>
                    <a:pt x="7" y="0"/>
                    <a:pt x="7" y="0"/>
                  </a:cubicBezTo>
                  <a:lnTo>
                    <a:pt x="6" y="1"/>
                  </a:ln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49"/>
            <p:cNvSpPr>
              <a:spLocks/>
            </p:cNvSpPr>
            <p:nvPr/>
          </p:nvSpPr>
          <p:spPr bwMode="auto">
            <a:xfrm>
              <a:off x="5440746" y="3673451"/>
              <a:ext cx="20218" cy="16339"/>
            </a:xfrm>
            <a:custGeom>
              <a:avLst/>
              <a:gdLst>
                <a:gd name="T0" fmla="*/ 4 w 7"/>
                <a:gd name="T1" fmla="*/ 2 h 6"/>
                <a:gd name="T2" fmla="*/ 3 w 7"/>
                <a:gd name="T3" fmla="*/ 2 h 6"/>
                <a:gd name="T4" fmla="*/ 1 w 7"/>
                <a:gd name="T5" fmla="*/ 0 h 6"/>
                <a:gd name="T6" fmla="*/ 0 w 7"/>
                <a:gd name="T7" fmla="*/ 0 h 6"/>
                <a:gd name="T8" fmla="*/ 1 w 7"/>
                <a:gd name="T9" fmla="*/ 3 h 6"/>
                <a:gd name="T10" fmla="*/ 2 w 7"/>
                <a:gd name="T11" fmla="*/ 4 h 6"/>
                <a:gd name="T12" fmla="*/ 4 w 7"/>
                <a:gd name="T13" fmla="*/ 5 h 6"/>
                <a:gd name="T14" fmla="*/ 4 w 7"/>
                <a:gd name="T15" fmla="*/ 6 h 6"/>
                <a:gd name="T16" fmla="*/ 6 w 7"/>
                <a:gd name="T17" fmla="*/ 5 h 6"/>
                <a:gd name="T18" fmla="*/ 7 w 7"/>
                <a:gd name="T19" fmla="*/ 4 h 6"/>
                <a:gd name="T20" fmla="*/ 5 w 7"/>
                <a:gd name="T21" fmla="*/ 3 h 6"/>
                <a:gd name="T22" fmla="*/ 4 w 7"/>
                <a:gd name="T23"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6">
                  <a:moveTo>
                    <a:pt x="4" y="2"/>
                  </a:moveTo>
                  <a:cubicBezTo>
                    <a:pt x="4" y="2"/>
                    <a:pt x="3" y="2"/>
                    <a:pt x="3" y="2"/>
                  </a:cubicBezTo>
                  <a:cubicBezTo>
                    <a:pt x="2" y="1"/>
                    <a:pt x="1" y="0"/>
                    <a:pt x="1" y="0"/>
                  </a:cubicBezTo>
                  <a:cubicBezTo>
                    <a:pt x="0" y="0"/>
                    <a:pt x="0" y="0"/>
                    <a:pt x="0" y="0"/>
                  </a:cubicBezTo>
                  <a:cubicBezTo>
                    <a:pt x="0" y="0"/>
                    <a:pt x="1" y="2"/>
                    <a:pt x="1" y="3"/>
                  </a:cubicBezTo>
                  <a:cubicBezTo>
                    <a:pt x="1" y="3"/>
                    <a:pt x="2" y="4"/>
                    <a:pt x="2" y="4"/>
                  </a:cubicBezTo>
                  <a:cubicBezTo>
                    <a:pt x="4" y="5"/>
                    <a:pt x="4" y="5"/>
                    <a:pt x="4" y="5"/>
                  </a:cubicBezTo>
                  <a:cubicBezTo>
                    <a:pt x="4" y="5"/>
                    <a:pt x="4" y="6"/>
                    <a:pt x="4" y="6"/>
                  </a:cubicBezTo>
                  <a:cubicBezTo>
                    <a:pt x="5" y="6"/>
                    <a:pt x="6" y="5"/>
                    <a:pt x="6" y="5"/>
                  </a:cubicBezTo>
                  <a:cubicBezTo>
                    <a:pt x="7" y="4"/>
                    <a:pt x="7" y="4"/>
                    <a:pt x="7" y="4"/>
                  </a:cubicBezTo>
                  <a:cubicBezTo>
                    <a:pt x="7" y="4"/>
                    <a:pt x="6" y="3"/>
                    <a:pt x="5" y="3"/>
                  </a:cubicBezTo>
                  <a:cubicBezTo>
                    <a:pt x="5" y="3"/>
                    <a:pt x="4" y="2"/>
                    <a:pt x="4" y="2"/>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50"/>
            <p:cNvSpPr>
              <a:spLocks/>
            </p:cNvSpPr>
            <p:nvPr/>
          </p:nvSpPr>
          <p:spPr bwMode="auto">
            <a:xfrm>
              <a:off x="5108592" y="3843651"/>
              <a:ext cx="23106" cy="5446"/>
            </a:xfrm>
            <a:custGeom>
              <a:avLst/>
              <a:gdLst>
                <a:gd name="T0" fmla="*/ 0 w 8"/>
                <a:gd name="T1" fmla="*/ 2 h 2"/>
                <a:gd name="T2" fmla="*/ 2 w 8"/>
                <a:gd name="T3" fmla="*/ 2 h 2"/>
                <a:gd name="T4" fmla="*/ 3 w 8"/>
                <a:gd name="T5" fmla="*/ 2 h 2"/>
                <a:gd name="T6" fmla="*/ 4 w 8"/>
                <a:gd name="T7" fmla="*/ 2 h 2"/>
                <a:gd name="T8" fmla="*/ 4 w 8"/>
                <a:gd name="T9" fmla="*/ 2 h 2"/>
                <a:gd name="T10" fmla="*/ 6 w 8"/>
                <a:gd name="T11" fmla="*/ 2 h 2"/>
                <a:gd name="T12" fmla="*/ 7 w 8"/>
                <a:gd name="T13" fmla="*/ 2 h 2"/>
                <a:gd name="T14" fmla="*/ 8 w 8"/>
                <a:gd name="T15" fmla="*/ 2 h 2"/>
                <a:gd name="T16" fmla="*/ 8 w 8"/>
                <a:gd name="T17" fmla="*/ 1 h 2"/>
                <a:gd name="T18" fmla="*/ 6 w 8"/>
                <a:gd name="T19" fmla="*/ 1 h 2"/>
                <a:gd name="T20" fmla="*/ 5 w 8"/>
                <a:gd name="T21" fmla="*/ 1 h 2"/>
                <a:gd name="T22" fmla="*/ 4 w 8"/>
                <a:gd name="T23" fmla="*/ 1 h 2"/>
                <a:gd name="T24" fmla="*/ 3 w 8"/>
                <a:gd name="T25" fmla="*/ 1 h 2"/>
                <a:gd name="T26" fmla="*/ 1 w 8"/>
                <a:gd name="T27" fmla="*/ 0 h 2"/>
                <a:gd name="T28" fmla="*/ 1 w 8"/>
                <a:gd name="T29" fmla="*/ 0 h 2"/>
                <a:gd name="T30" fmla="*/ 0 w 8"/>
                <a:gd name="T31" fmla="*/ 1 h 2"/>
                <a:gd name="T32" fmla="*/ 0 w 8"/>
                <a:gd name="T33" fmla="*/ 2 h 2"/>
                <a:gd name="T34" fmla="*/ 0 w 8"/>
                <a:gd name="T3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
                  <a:moveTo>
                    <a:pt x="0" y="2"/>
                  </a:moveTo>
                  <a:cubicBezTo>
                    <a:pt x="0" y="2"/>
                    <a:pt x="0" y="2"/>
                    <a:pt x="2" y="2"/>
                  </a:cubicBezTo>
                  <a:cubicBezTo>
                    <a:pt x="4" y="1"/>
                    <a:pt x="3" y="2"/>
                    <a:pt x="3" y="2"/>
                  </a:cubicBezTo>
                  <a:cubicBezTo>
                    <a:pt x="4" y="2"/>
                    <a:pt x="3" y="2"/>
                    <a:pt x="4" y="2"/>
                  </a:cubicBezTo>
                  <a:cubicBezTo>
                    <a:pt x="4" y="2"/>
                    <a:pt x="4" y="2"/>
                    <a:pt x="4" y="2"/>
                  </a:cubicBezTo>
                  <a:cubicBezTo>
                    <a:pt x="5" y="2"/>
                    <a:pt x="5" y="2"/>
                    <a:pt x="6" y="2"/>
                  </a:cubicBezTo>
                  <a:cubicBezTo>
                    <a:pt x="7" y="2"/>
                    <a:pt x="6" y="2"/>
                    <a:pt x="7" y="2"/>
                  </a:cubicBezTo>
                  <a:cubicBezTo>
                    <a:pt x="7" y="2"/>
                    <a:pt x="7" y="2"/>
                    <a:pt x="8" y="2"/>
                  </a:cubicBezTo>
                  <a:cubicBezTo>
                    <a:pt x="8" y="2"/>
                    <a:pt x="8" y="1"/>
                    <a:pt x="8" y="1"/>
                  </a:cubicBezTo>
                  <a:cubicBezTo>
                    <a:pt x="8" y="1"/>
                    <a:pt x="7" y="1"/>
                    <a:pt x="6" y="1"/>
                  </a:cubicBezTo>
                  <a:cubicBezTo>
                    <a:pt x="5" y="1"/>
                    <a:pt x="6" y="1"/>
                    <a:pt x="5" y="1"/>
                  </a:cubicBezTo>
                  <a:cubicBezTo>
                    <a:pt x="4" y="0"/>
                    <a:pt x="4" y="1"/>
                    <a:pt x="4" y="1"/>
                  </a:cubicBezTo>
                  <a:cubicBezTo>
                    <a:pt x="3" y="1"/>
                    <a:pt x="3" y="1"/>
                    <a:pt x="3" y="1"/>
                  </a:cubicBezTo>
                  <a:cubicBezTo>
                    <a:pt x="2" y="1"/>
                    <a:pt x="2" y="1"/>
                    <a:pt x="1" y="0"/>
                  </a:cubicBezTo>
                  <a:cubicBezTo>
                    <a:pt x="1" y="0"/>
                    <a:pt x="1" y="0"/>
                    <a:pt x="1" y="0"/>
                  </a:cubicBezTo>
                  <a:cubicBezTo>
                    <a:pt x="0" y="0"/>
                    <a:pt x="0" y="1"/>
                    <a:pt x="0" y="1"/>
                  </a:cubicBezTo>
                  <a:cubicBezTo>
                    <a:pt x="0" y="1"/>
                    <a:pt x="0" y="2"/>
                    <a:pt x="0" y="2"/>
                  </a:cubicBezTo>
                  <a:cubicBezTo>
                    <a:pt x="0" y="2"/>
                    <a:pt x="0" y="2"/>
                    <a:pt x="0" y="2"/>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51"/>
            <p:cNvSpPr>
              <a:spLocks/>
            </p:cNvSpPr>
            <p:nvPr/>
          </p:nvSpPr>
          <p:spPr bwMode="auto">
            <a:xfrm>
              <a:off x="5137475" y="3843651"/>
              <a:ext cx="5777" cy="5446"/>
            </a:xfrm>
            <a:custGeom>
              <a:avLst/>
              <a:gdLst>
                <a:gd name="T0" fmla="*/ 1 w 2"/>
                <a:gd name="T1" fmla="*/ 2 h 2"/>
                <a:gd name="T2" fmla="*/ 1 w 2"/>
                <a:gd name="T3" fmla="*/ 1 h 2"/>
                <a:gd name="T4" fmla="*/ 0 w 2"/>
                <a:gd name="T5" fmla="*/ 1 h 2"/>
                <a:gd name="T6" fmla="*/ 0 w 2"/>
                <a:gd name="T7" fmla="*/ 1 h 2"/>
                <a:gd name="T8" fmla="*/ 1 w 2"/>
                <a:gd name="T9" fmla="*/ 2 h 2"/>
              </a:gdLst>
              <a:ahLst/>
              <a:cxnLst>
                <a:cxn ang="0">
                  <a:pos x="T0" y="T1"/>
                </a:cxn>
                <a:cxn ang="0">
                  <a:pos x="T2" y="T3"/>
                </a:cxn>
                <a:cxn ang="0">
                  <a:pos x="T4" y="T5"/>
                </a:cxn>
                <a:cxn ang="0">
                  <a:pos x="T6" y="T7"/>
                </a:cxn>
                <a:cxn ang="0">
                  <a:pos x="T8" y="T9"/>
                </a:cxn>
              </a:cxnLst>
              <a:rect l="0" t="0" r="r" b="b"/>
              <a:pathLst>
                <a:path w="2" h="2">
                  <a:moveTo>
                    <a:pt x="1" y="2"/>
                  </a:moveTo>
                  <a:cubicBezTo>
                    <a:pt x="2" y="2"/>
                    <a:pt x="1" y="2"/>
                    <a:pt x="1" y="1"/>
                  </a:cubicBezTo>
                  <a:cubicBezTo>
                    <a:pt x="0" y="0"/>
                    <a:pt x="1" y="1"/>
                    <a:pt x="0" y="1"/>
                  </a:cubicBezTo>
                  <a:cubicBezTo>
                    <a:pt x="0" y="0"/>
                    <a:pt x="0" y="1"/>
                    <a:pt x="0" y="1"/>
                  </a:cubicBezTo>
                  <a:cubicBezTo>
                    <a:pt x="0" y="1"/>
                    <a:pt x="0" y="2"/>
                    <a:pt x="1" y="2"/>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52"/>
            <p:cNvSpPr>
              <a:spLocks/>
            </p:cNvSpPr>
            <p:nvPr/>
          </p:nvSpPr>
          <p:spPr bwMode="auto">
            <a:xfrm>
              <a:off x="5143251" y="3840927"/>
              <a:ext cx="17330" cy="8170"/>
            </a:xfrm>
            <a:custGeom>
              <a:avLst/>
              <a:gdLst>
                <a:gd name="T0" fmla="*/ 1 w 6"/>
                <a:gd name="T1" fmla="*/ 2 h 3"/>
                <a:gd name="T2" fmla="*/ 2 w 6"/>
                <a:gd name="T3" fmla="*/ 2 h 3"/>
                <a:gd name="T4" fmla="*/ 4 w 6"/>
                <a:gd name="T5" fmla="*/ 2 h 3"/>
                <a:gd name="T6" fmla="*/ 5 w 6"/>
                <a:gd name="T7" fmla="*/ 1 h 3"/>
                <a:gd name="T8" fmla="*/ 6 w 6"/>
                <a:gd name="T9" fmla="*/ 1 h 3"/>
                <a:gd name="T10" fmla="*/ 5 w 6"/>
                <a:gd name="T11" fmla="*/ 0 h 3"/>
                <a:gd name="T12" fmla="*/ 5 w 6"/>
                <a:gd name="T13" fmla="*/ 1 h 3"/>
                <a:gd name="T14" fmla="*/ 3 w 6"/>
                <a:gd name="T15" fmla="*/ 0 h 3"/>
                <a:gd name="T16" fmla="*/ 1 w 6"/>
                <a:gd name="T17" fmla="*/ 1 h 3"/>
                <a:gd name="T18" fmla="*/ 0 w 6"/>
                <a:gd name="T19" fmla="*/ 1 h 3"/>
                <a:gd name="T20" fmla="*/ 0 w 6"/>
                <a:gd name="T21" fmla="*/ 2 h 3"/>
                <a:gd name="T22" fmla="*/ 1 w 6"/>
                <a:gd name="T23"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3">
                  <a:moveTo>
                    <a:pt x="1" y="2"/>
                  </a:moveTo>
                  <a:cubicBezTo>
                    <a:pt x="2" y="2"/>
                    <a:pt x="2" y="2"/>
                    <a:pt x="2" y="2"/>
                  </a:cubicBezTo>
                  <a:cubicBezTo>
                    <a:pt x="2" y="1"/>
                    <a:pt x="3" y="2"/>
                    <a:pt x="4" y="2"/>
                  </a:cubicBezTo>
                  <a:cubicBezTo>
                    <a:pt x="4" y="2"/>
                    <a:pt x="5" y="2"/>
                    <a:pt x="5" y="1"/>
                  </a:cubicBezTo>
                  <a:cubicBezTo>
                    <a:pt x="5" y="1"/>
                    <a:pt x="6" y="1"/>
                    <a:pt x="6" y="1"/>
                  </a:cubicBezTo>
                  <a:cubicBezTo>
                    <a:pt x="6" y="1"/>
                    <a:pt x="6" y="1"/>
                    <a:pt x="5" y="0"/>
                  </a:cubicBezTo>
                  <a:cubicBezTo>
                    <a:pt x="5" y="0"/>
                    <a:pt x="5" y="1"/>
                    <a:pt x="5" y="1"/>
                  </a:cubicBezTo>
                  <a:cubicBezTo>
                    <a:pt x="5" y="1"/>
                    <a:pt x="4" y="1"/>
                    <a:pt x="3" y="0"/>
                  </a:cubicBezTo>
                  <a:cubicBezTo>
                    <a:pt x="2" y="0"/>
                    <a:pt x="2" y="1"/>
                    <a:pt x="1" y="1"/>
                  </a:cubicBezTo>
                  <a:cubicBezTo>
                    <a:pt x="0" y="1"/>
                    <a:pt x="0" y="1"/>
                    <a:pt x="0" y="1"/>
                  </a:cubicBezTo>
                  <a:cubicBezTo>
                    <a:pt x="0" y="1"/>
                    <a:pt x="0" y="2"/>
                    <a:pt x="0" y="2"/>
                  </a:cubicBezTo>
                  <a:cubicBezTo>
                    <a:pt x="1" y="3"/>
                    <a:pt x="1" y="2"/>
                    <a:pt x="1" y="2"/>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53"/>
            <p:cNvSpPr>
              <a:spLocks/>
            </p:cNvSpPr>
            <p:nvPr/>
          </p:nvSpPr>
          <p:spPr bwMode="auto">
            <a:xfrm>
              <a:off x="5166358" y="3838204"/>
              <a:ext cx="5777" cy="5446"/>
            </a:xfrm>
            <a:custGeom>
              <a:avLst/>
              <a:gdLst>
                <a:gd name="T0" fmla="*/ 2 w 2"/>
                <a:gd name="T1" fmla="*/ 2 h 2"/>
                <a:gd name="T2" fmla="*/ 2 w 2"/>
                <a:gd name="T3" fmla="*/ 1 h 2"/>
                <a:gd name="T4" fmla="*/ 1 w 2"/>
                <a:gd name="T5" fmla="*/ 0 h 2"/>
                <a:gd name="T6" fmla="*/ 1 w 2"/>
                <a:gd name="T7" fmla="*/ 0 h 2"/>
                <a:gd name="T8" fmla="*/ 0 w 2"/>
                <a:gd name="T9" fmla="*/ 1 h 2"/>
                <a:gd name="T10" fmla="*/ 1 w 2"/>
                <a:gd name="T11" fmla="*/ 1 h 2"/>
                <a:gd name="T12" fmla="*/ 2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2"/>
                  </a:moveTo>
                  <a:cubicBezTo>
                    <a:pt x="2" y="1"/>
                    <a:pt x="2" y="1"/>
                    <a:pt x="2" y="1"/>
                  </a:cubicBezTo>
                  <a:cubicBezTo>
                    <a:pt x="2" y="1"/>
                    <a:pt x="1" y="0"/>
                    <a:pt x="1" y="0"/>
                  </a:cubicBezTo>
                  <a:cubicBezTo>
                    <a:pt x="1" y="0"/>
                    <a:pt x="1" y="0"/>
                    <a:pt x="1" y="0"/>
                  </a:cubicBezTo>
                  <a:cubicBezTo>
                    <a:pt x="0" y="0"/>
                    <a:pt x="0" y="1"/>
                    <a:pt x="0" y="1"/>
                  </a:cubicBezTo>
                  <a:cubicBezTo>
                    <a:pt x="0" y="1"/>
                    <a:pt x="1" y="1"/>
                    <a:pt x="1" y="1"/>
                  </a:cubicBezTo>
                  <a:cubicBezTo>
                    <a:pt x="1" y="1"/>
                    <a:pt x="2" y="2"/>
                    <a:pt x="2" y="2"/>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Freeform 54"/>
            <p:cNvSpPr>
              <a:spLocks/>
            </p:cNvSpPr>
            <p:nvPr/>
          </p:nvSpPr>
          <p:spPr bwMode="auto">
            <a:xfrm>
              <a:off x="5192352" y="3827311"/>
              <a:ext cx="5777" cy="5446"/>
            </a:xfrm>
            <a:custGeom>
              <a:avLst/>
              <a:gdLst>
                <a:gd name="T0" fmla="*/ 1 w 2"/>
                <a:gd name="T1" fmla="*/ 2 h 2"/>
                <a:gd name="T2" fmla="*/ 2 w 2"/>
                <a:gd name="T3" fmla="*/ 2 h 2"/>
                <a:gd name="T4" fmla="*/ 2 w 2"/>
                <a:gd name="T5" fmla="*/ 0 h 2"/>
                <a:gd name="T6" fmla="*/ 1 w 2"/>
                <a:gd name="T7" fmla="*/ 0 h 2"/>
                <a:gd name="T8" fmla="*/ 0 w 2"/>
                <a:gd name="T9" fmla="*/ 1 h 2"/>
                <a:gd name="T10" fmla="*/ 1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1" y="2"/>
                  </a:moveTo>
                  <a:cubicBezTo>
                    <a:pt x="2" y="2"/>
                    <a:pt x="2" y="2"/>
                    <a:pt x="2" y="2"/>
                  </a:cubicBezTo>
                  <a:cubicBezTo>
                    <a:pt x="2" y="2"/>
                    <a:pt x="2" y="1"/>
                    <a:pt x="2" y="0"/>
                  </a:cubicBezTo>
                  <a:cubicBezTo>
                    <a:pt x="2" y="0"/>
                    <a:pt x="2" y="0"/>
                    <a:pt x="1" y="0"/>
                  </a:cubicBezTo>
                  <a:cubicBezTo>
                    <a:pt x="1" y="0"/>
                    <a:pt x="0" y="1"/>
                    <a:pt x="0" y="1"/>
                  </a:cubicBezTo>
                  <a:cubicBezTo>
                    <a:pt x="0" y="1"/>
                    <a:pt x="1" y="2"/>
                    <a:pt x="1" y="2"/>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Freeform 55"/>
            <p:cNvSpPr>
              <a:spLocks/>
            </p:cNvSpPr>
            <p:nvPr/>
          </p:nvSpPr>
          <p:spPr bwMode="auto">
            <a:xfrm>
              <a:off x="5073932" y="3843651"/>
              <a:ext cx="31771" cy="10893"/>
            </a:xfrm>
            <a:custGeom>
              <a:avLst/>
              <a:gdLst>
                <a:gd name="T0" fmla="*/ 2 w 11"/>
                <a:gd name="T1" fmla="*/ 4 h 4"/>
                <a:gd name="T2" fmla="*/ 3 w 11"/>
                <a:gd name="T3" fmla="*/ 3 h 4"/>
                <a:gd name="T4" fmla="*/ 4 w 11"/>
                <a:gd name="T5" fmla="*/ 3 h 4"/>
                <a:gd name="T6" fmla="*/ 5 w 11"/>
                <a:gd name="T7" fmla="*/ 2 h 4"/>
                <a:gd name="T8" fmla="*/ 7 w 11"/>
                <a:gd name="T9" fmla="*/ 2 h 4"/>
                <a:gd name="T10" fmla="*/ 8 w 11"/>
                <a:gd name="T11" fmla="*/ 1 h 4"/>
                <a:gd name="T12" fmla="*/ 10 w 11"/>
                <a:gd name="T13" fmla="*/ 1 h 4"/>
                <a:gd name="T14" fmla="*/ 11 w 11"/>
                <a:gd name="T15" fmla="*/ 1 h 4"/>
                <a:gd name="T16" fmla="*/ 9 w 11"/>
                <a:gd name="T17" fmla="*/ 0 h 4"/>
                <a:gd name="T18" fmla="*/ 6 w 11"/>
                <a:gd name="T19" fmla="*/ 1 h 4"/>
                <a:gd name="T20" fmla="*/ 2 w 11"/>
                <a:gd name="T21" fmla="*/ 1 h 4"/>
                <a:gd name="T22" fmla="*/ 1 w 11"/>
                <a:gd name="T23" fmla="*/ 2 h 4"/>
                <a:gd name="T24" fmla="*/ 0 w 11"/>
                <a:gd name="T25" fmla="*/ 2 h 4"/>
                <a:gd name="T26" fmla="*/ 1 w 11"/>
                <a:gd name="T27" fmla="*/ 4 h 4"/>
                <a:gd name="T28" fmla="*/ 2 w 11"/>
                <a:gd name="T2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4">
                  <a:moveTo>
                    <a:pt x="2" y="4"/>
                  </a:moveTo>
                  <a:cubicBezTo>
                    <a:pt x="3" y="3"/>
                    <a:pt x="3" y="3"/>
                    <a:pt x="3" y="3"/>
                  </a:cubicBezTo>
                  <a:cubicBezTo>
                    <a:pt x="3" y="3"/>
                    <a:pt x="4" y="3"/>
                    <a:pt x="4" y="3"/>
                  </a:cubicBezTo>
                  <a:cubicBezTo>
                    <a:pt x="5" y="3"/>
                    <a:pt x="5" y="2"/>
                    <a:pt x="5" y="2"/>
                  </a:cubicBezTo>
                  <a:cubicBezTo>
                    <a:pt x="5" y="2"/>
                    <a:pt x="6" y="2"/>
                    <a:pt x="7" y="2"/>
                  </a:cubicBezTo>
                  <a:cubicBezTo>
                    <a:pt x="7" y="2"/>
                    <a:pt x="8" y="1"/>
                    <a:pt x="8" y="1"/>
                  </a:cubicBezTo>
                  <a:cubicBezTo>
                    <a:pt x="8" y="1"/>
                    <a:pt x="9" y="1"/>
                    <a:pt x="10" y="1"/>
                  </a:cubicBezTo>
                  <a:cubicBezTo>
                    <a:pt x="10" y="2"/>
                    <a:pt x="11" y="1"/>
                    <a:pt x="11" y="1"/>
                  </a:cubicBezTo>
                  <a:cubicBezTo>
                    <a:pt x="9" y="0"/>
                    <a:pt x="9" y="0"/>
                    <a:pt x="9" y="0"/>
                  </a:cubicBezTo>
                  <a:cubicBezTo>
                    <a:pt x="6" y="1"/>
                    <a:pt x="6" y="1"/>
                    <a:pt x="6" y="1"/>
                  </a:cubicBezTo>
                  <a:cubicBezTo>
                    <a:pt x="6" y="1"/>
                    <a:pt x="4" y="2"/>
                    <a:pt x="2" y="1"/>
                  </a:cubicBezTo>
                  <a:cubicBezTo>
                    <a:pt x="1" y="1"/>
                    <a:pt x="1" y="2"/>
                    <a:pt x="1" y="2"/>
                  </a:cubicBezTo>
                  <a:cubicBezTo>
                    <a:pt x="0" y="2"/>
                    <a:pt x="0" y="2"/>
                    <a:pt x="0" y="2"/>
                  </a:cubicBezTo>
                  <a:cubicBezTo>
                    <a:pt x="0" y="2"/>
                    <a:pt x="0" y="4"/>
                    <a:pt x="1" y="4"/>
                  </a:cubicBezTo>
                  <a:cubicBezTo>
                    <a:pt x="1" y="4"/>
                    <a:pt x="2" y="4"/>
                    <a:pt x="2" y="4"/>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Freeform 56"/>
            <p:cNvSpPr>
              <a:spLocks/>
            </p:cNvSpPr>
            <p:nvPr/>
          </p:nvSpPr>
          <p:spPr bwMode="auto">
            <a:xfrm>
              <a:off x="5177911" y="3832758"/>
              <a:ext cx="11553" cy="5446"/>
            </a:xfrm>
            <a:custGeom>
              <a:avLst/>
              <a:gdLst>
                <a:gd name="T0" fmla="*/ 1 w 4"/>
                <a:gd name="T1" fmla="*/ 2 h 2"/>
                <a:gd name="T2" fmla="*/ 2 w 4"/>
                <a:gd name="T3" fmla="*/ 2 h 2"/>
                <a:gd name="T4" fmla="*/ 2 w 4"/>
                <a:gd name="T5" fmla="*/ 1 h 2"/>
                <a:gd name="T6" fmla="*/ 3 w 4"/>
                <a:gd name="T7" fmla="*/ 1 h 2"/>
                <a:gd name="T8" fmla="*/ 4 w 4"/>
                <a:gd name="T9" fmla="*/ 1 h 2"/>
                <a:gd name="T10" fmla="*/ 4 w 4"/>
                <a:gd name="T11" fmla="*/ 0 h 2"/>
                <a:gd name="T12" fmla="*/ 3 w 4"/>
                <a:gd name="T13" fmla="*/ 0 h 2"/>
                <a:gd name="T14" fmla="*/ 2 w 4"/>
                <a:gd name="T15" fmla="*/ 0 h 2"/>
                <a:gd name="T16" fmla="*/ 1 w 4"/>
                <a:gd name="T17" fmla="*/ 0 h 2"/>
                <a:gd name="T18" fmla="*/ 0 w 4"/>
                <a:gd name="T19" fmla="*/ 1 h 2"/>
                <a:gd name="T20" fmla="*/ 1 w 4"/>
                <a:gd name="T2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2">
                  <a:moveTo>
                    <a:pt x="1" y="2"/>
                  </a:moveTo>
                  <a:cubicBezTo>
                    <a:pt x="2" y="2"/>
                    <a:pt x="2" y="2"/>
                    <a:pt x="2" y="2"/>
                  </a:cubicBezTo>
                  <a:cubicBezTo>
                    <a:pt x="2" y="1"/>
                    <a:pt x="2" y="1"/>
                    <a:pt x="2" y="1"/>
                  </a:cubicBezTo>
                  <a:cubicBezTo>
                    <a:pt x="2" y="1"/>
                    <a:pt x="3" y="1"/>
                    <a:pt x="3" y="1"/>
                  </a:cubicBezTo>
                  <a:cubicBezTo>
                    <a:pt x="4" y="1"/>
                    <a:pt x="4" y="1"/>
                    <a:pt x="4" y="1"/>
                  </a:cubicBezTo>
                  <a:cubicBezTo>
                    <a:pt x="4" y="0"/>
                    <a:pt x="4" y="0"/>
                    <a:pt x="4" y="0"/>
                  </a:cubicBezTo>
                  <a:cubicBezTo>
                    <a:pt x="3" y="0"/>
                    <a:pt x="3" y="0"/>
                    <a:pt x="3" y="0"/>
                  </a:cubicBezTo>
                  <a:cubicBezTo>
                    <a:pt x="2" y="0"/>
                    <a:pt x="2" y="0"/>
                    <a:pt x="2" y="0"/>
                  </a:cubicBezTo>
                  <a:cubicBezTo>
                    <a:pt x="2" y="0"/>
                    <a:pt x="1" y="0"/>
                    <a:pt x="1" y="0"/>
                  </a:cubicBezTo>
                  <a:cubicBezTo>
                    <a:pt x="1" y="0"/>
                    <a:pt x="0" y="1"/>
                    <a:pt x="0" y="1"/>
                  </a:cubicBezTo>
                  <a:cubicBezTo>
                    <a:pt x="0" y="1"/>
                    <a:pt x="1" y="2"/>
                    <a:pt x="1" y="2"/>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57"/>
            <p:cNvSpPr>
              <a:spLocks/>
            </p:cNvSpPr>
            <p:nvPr/>
          </p:nvSpPr>
          <p:spPr bwMode="auto">
            <a:xfrm>
              <a:off x="5097039" y="4129586"/>
              <a:ext cx="28883" cy="29955"/>
            </a:xfrm>
            <a:custGeom>
              <a:avLst/>
              <a:gdLst>
                <a:gd name="T0" fmla="*/ 3 w 10"/>
                <a:gd name="T1" fmla="*/ 4 h 11"/>
                <a:gd name="T2" fmla="*/ 2 w 10"/>
                <a:gd name="T3" fmla="*/ 5 h 11"/>
                <a:gd name="T4" fmla="*/ 0 w 10"/>
                <a:gd name="T5" fmla="*/ 8 h 11"/>
                <a:gd name="T6" fmla="*/ 1 w 10"/>
                <a:gd name="T7" fmla="*/ 9 h 11"/>
                <a:gd name="T8" fmla="*/ 1 w 10"/>
                <a:gd name="T9" fmla="*/ 9 h 11"/>
                <a:gd name="T10" fmla="*/ 2 w 10"/>
                <a:gd name="T11" fmla="*/ 9 h 11"/>
                <a:gd name="T12" fmla="*/ 3 w 10"/>
                <a:gd name="T13" fmla="*/ 10 h 11"/>
                <a:gd name="T14" fmla="*/ 4 w 10"/>
                <a:gd name="T15" fmla="*/ 10 h 11"/>
                <a:gd name="T16" fmla="*/ 4 w 10"/>
                <a:gd name="T17" fmla="*/ 10 h 11"/>
                <a:gd name="T18" fmla="*/ 5 w 10"/>
                <a:gd name="T19" fmla="*/ 10 h 11"/>
                <a:gd name="T20" fmla="*/ 5 w 10"/>
                <a:gd name="T21" fmla="*/ 10 h 11"/>
                <a:gd name="T22" fmla="*/ 8 w 10"/>
                <a:gd name="T23" fmla="*/ 11 h 11"/>
                <a:gd name="T24" fmla="*/ 9 w 10"/>
                <a:gd name="T25" fmla="*/ 9 h 11"/>
                <a:gd name="T26" fmla="*/ 10 w 10"/>
                <a:gd name="T27" fmla="*/ 9 h 11"/>
                <a:gd name="T28" fmla="*/ 10 w 10"/>
                <a:gd name="T29" fmla="*/ 8 h 11"/>
                <a:gd name="T30" fmla="*/ 10 w 10"/>
                <a:gd name="T31" fmla="*/ 6 h 11"/>
                <a:gd name="T32" fmla="*/ 9 w 10"/>
                <a:gd name="T33" fmla="*/ 5 h 11"/>
                <a:gd name="T34" fmla="*/ 9 w 10"/>
                <a:gd name="T35" fmla="*/ 5 h 11"/>
                <a:gd name="T36" fmla="*/ 9 w 10"/>
                <a:gd name="T37" fmla="*/ 4 h 11"/>
                <a:gd name="T38" fmla="*/ 7 w 10"/>
                <a:gd name="T39" fmla="*/ 3 h 11"/>
                <a:gd name="T40" fmla="*/ 6 w 10"/>
                <a:gd name="T41" fmla="*/ 3 h 11"/>
                <a:gd name="T42" fmla="*/ 5 w 10"/>
                <a:gd name="T43" fmla="*/ 1 h 11"/>
                <a:gd name="T44" fmla="*/ 5 w 10"/>
                <a:gd name="T45" fmla="*/ 0 h 11"/>
                <a:gd name="T46" fmla="*/ 5 w 10"/>
                <a:gd name="T47" fmla="*/ 0 h 11"/>
                <a:gd name="T48" fmla="*/ 3 w 10"/>
                <a:gd name="T49"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11">
                  <a:moveTo>
                    <a:pt x="3" y="4"/>
                  </a:moveTo>
                  <a:cubicBezTo>
                    <a:pt x="3" y="4"/>
                    <a:pt x="2" y="5"/>
                    <a:pt x="2" y="5"/>
                  </a:cubicBezTo>
                  <a:cubicBezTo>
                    <a:pt x="1" y="7"/>
                    <a:pt x="0" y="8"/>
                    <a:pt x="0" y="8"/>
                  </a:cubicBezTo>
                  <a:cubicBezTo>
                    <a:pt x="1" y="9"/>
                    <a:pt x="1" y="9"/>
                    <a:pt x="1" y="9"/>
                  </a:cubicBezTo>
                  <a:cubicBezTo>
                    <a:pt x="1" y="9"/>
                    <a:pt x="1" y="9"/>
                    <a:pt x="1" y="9"/>
                  </a:cubicBezTo>
                  <a:cubicBezTo>
                    <a:pt x="2" y="9"/>
                    <a:pt x="2" y="9"/>
                    <a:pt x="2" y="9"/>
                  </a:cubicBezTo>
                  <a:cubicBezTo>
                    <a:pt x="2" y="9"/>
                    <a:pt x="2" y="9"/>
                    <a:pt x="3" y="10"/>
                  </a:cubicBezTo>
                  <a:cubicBezTo>
                    <a:pt x="3" y="10"/>
                    <a:pt x="4" y="10"/>
                    <a:pt x="4" y="10"/>
                  </a:cubicBezTo>
                  <a:cubicBezTo>
                    <a:pt x="4" y="10"/>
                    <a:pt x="4" y="10"/>
                    <a:pt x="4" y="10"/>
                  </a:cubicBezTo>
                  <a:cubicBezTo>
                    <a:pt x="5" y="10"/>
                    <a:pt x="5" y="10"/>
                    <a:pt x="5" y="10"/>
                  </a:cubicBezTo>
                  <a:cubicBezTo>
                    <a:pt x="5" y="10"/>
                    <a:pt x="5" y="10"/>
                    <a:pt x="5" y="10"/>
                  </a:cubicBezTo>
                  <a:cubicBezTo>
                    <a:pt x="6" y="10"/>
                    <a:pt x="7" y="10"/>
                    <a:pt x="8" y="11"/>
                  </a:cubicBezTo>
                  <a:cubicBezTo>
                    <a:pt x="8" y="10"/>
                    <a:pt x="8" y="10"/>
                    <a:pt x="9" y="9"/>
                  </a:cubicBezTo>
                  <a:cubicBezTo>
                    <a:pt x="9" y="9"/>
                    <a:pt x="9" y="9"/>
                    <a:pt x="10" y="9"/>
                  </a:cubicBezTo>
                  <a:cubicBezTo>
                    <a:pt x="10" y="10"/>
                    <a:pt x="10" y="9"/>
                    <a:pt x="10" y="8"/>
                  </a:cubicBezTo>
                  <a:cubicBezTo>
                    <a:pt x="10" y="8"/>
                    <a:pt x="10" y="6"/>
                    <a:pt x="10" y="6"/>
                  </a:cubicBezTo>
                  <a:cubicBezTo>
                    <a:pt x="10" y="6"/>
                    <a:pt x="10" y="6"/>
                    <a:pt x="9" y="5"/>
                  </a:cubicBezTo>
                  <a:cubicBezTo>
                    <a:pt x="9" y="5"/>
                    <a:pt x="9" y="5"/>
                    <a:pt x="9" y="5"/>
                  </a:cubicBezTo>
                  <a:cubicBezTo>
                    <a:pt x="8" y="4"/>
                    <a:pt x="9" y="4"/>
                    <a:pt x="9" y="4"/>
                  </a:cubicBezTo>
                  <a:cubicBezTo>
                    <a:pt x="9" y="4"/>
                    <a:pt x="8" y="3"/>
                    <a:pt x="7" y="3"/>
                  </a:cubicBezTo>
                  <a:cubicBezTo>
                    <a:pt x="7" y="3"/>
                    <a:pt x="6" y="3"/>
                    <a:pt x="6" y="3"/>
                  </a:cubicBezTo>
                  <a:cubicBezTo>
                    <a:pt x="5" y="1"/>
                    <a:pt x="5" y="1"/>
                    <a:pt x="5" y="1"/>
                  </a:cubicBezTo>
                  <a:cubicBezTo>
                    <a:pt x="5" y="0"/>
                    <a:pt x="5" y="0"/>
                    <a:pt x="5" y="0"/>
                  </a:cubicBezTo>
                  <a:cubicBezTo>
                    <a:pt x="5" y="0"/>
                    <a:pt x="5" y="0"/>
                    <a:pt x="5" y="0"/>
                  </a:cubicBezTo>
                  <a:cubicBezTo>
                    <a:pt x="5" y="0"/>
                    <a:pt x="4" y="3"/>
                    <a:pt x="3" y="4"/>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58"/>
            <p:cNvSpPr>
              <a:spLocks noEditPoints="1"/>
            </p:cNvSpPr>
            <p:nvPr/>
          </p:nvSpPr>
          <p:spPr bwMode="auto">
            <a:xfrm>
              <a:off x="4931427" y="3848316"/>
              <a:ext cx="293162" cy="275043"/>
            </a:xfrm>
            <a:custGeom>
              <a:avLst/>
              <a:gdLst>
                <a:gd name="T0" fmla="*/ 93 w 101"/>
                <a:gd name="T1" fmla="*/ 3 h 101"/>
                <a:gd name="T2" fmla="*/ 74 w 101"/>
                <a:gd name="T3" fmla="*/ 0 h 101"/>
                <a:gd name="T4" fmla="*/ 55 w 101"/>
                <a:gd name="T5" fmla="*/ 11 h 101"/>
                <a:gd name="T6" fmla="*/ 55 w 101"/>
                <a:gd name="T7" fmla="*/ 15 h 101"/>
                <a:gd name="T8" fmla="*/ 57 w 101"/>
                <a:gd name="T9" fmla="*/ 22 h 101"/>
                <a:gd name="T10" fmla="*/ 59 w 101"/>
                <a:gd name="T11" fmla="*/ 28 h 101"/>
                <a:gd name="T12" fmla="*/ 66 w 101"/>
                <a:gd name="T13" fmla="*/ 35 h 101"/>
                <a:gd name="T14" fmla="*/ 62 w 101"/>
                <a:gd name="T15" fmla="*/ 35 h 101"/>
                <a:gd name="T16" fmla="*/ 50 w 101"/>
                <a:gd name="T17" fmla="*/ 40 h 101"/>
                <a:gd name="T18" fmla="*/ 54 w 101"/>
                <a:gd name="T19" fmla="*/ 46 h 101"/>
                <a:gd name="T20" fmla="*/ 46 w 101"/>
                <a:gd name="T21" fmla="*/ 43 h 101"/>
                <a:gd name="T22" fmla="*/ 46 w 101"/>
                <a:gd name="T23" fmla="*/ 38 h 101"/>
                <a:gd name="T24" fmla="*/ 47 w 101"/>
                <a:gd name="T25" fmla="*/ 31 h 101"/>
                <a:gd name="T26" fmla="*/ 49 w 101"/>
                <a:gd name="T27" fmla="*/ 25 h 101"/>
                <a:gd name="T28" fmla="*/ 43 w 101"/>
                <a:gd name="T29" fmla="*/ 16 h 101"/>
                <a:gd name="T30" fmla="*/ 37 w 101"/>
                <a:gd name="T31" fmla="*/ 19 h 101"/>
                <a:gd name="T32" fmla="*/ 18 w 101"/>
                <a:gd name="T33" fmla="*/ 54 h 101"/>
                <a:gd name="T34" fmla="*/ 21 w 101"/>
                <a:gd name="T35" fmla="*/ 63 h 101"/>
                <a:gd name="T36" fmla="*/ 31 w 101"/>
                <a:gd name="T37" fmla="*/ 68 h 101"/>
                <a:gd name="T38" fmla="*/ 31 w 101"/>
                <a:gd name="T39" fmla="*/ 69 h 101"/>
                <a:gd name="T40" fmla="*/ 23 w 101"/>
                <a:gd name="T41" fmla="*/ 70 h 101"/>
                <a:gd name="T42" fmla="*/ 16 w 101"/>
                <a:gd name="T43" fmla="*/ 66 h 101"/>
                <a:gd name="T44" fmla="*/ 7 w 101"/>
                <a:gd name="T45" fmla="*/ 65 h 101"/>
                <a:gd name="T46" fmla="*/ 13 w 101"/>
                <a:gd name="T47" fmla="*/ 69 h 101"/>
                <a:gd name="T48" fmla="*/ 20 w 101"/>
                <a:gd name="T49" fmla="*/ 71 h 101"/>
                <a:gd name="T50" fmla="*/ 20 w 101"/>
                <a:gd name="T51" fmla="*/ 74 h 101"/>
                <a:gd name="T52" fmla="*/ 17 w 101"/>
                <a:gd name="T53" fmla="*/ 76 h 101"/>
                <a:gd name="T54" fmla="*/ 11 w 101"/>
                <a:gd name="T55" fmla="*/ 72 h 101"/>
                <a:gd name="T56" fmla="*/ 3 w 101"/>
                <a:gd name="T57" fmla="*/ 69 h 101"/>
                <a:gd name="T58" fmla="*/ 4 w 101"/>
                <a:gd name="T59" fmla="*/ 75 h 101"/>
                <a:gd name="T60" fmla="*/ 14 w 101"/>
                <a:gd name="T61" fmla="*/ 76 h 101"/>
                <a:gd name="T62" fmla="*/ 20 w 101"/>
                <a:gd name="T63" fmla="*/ 80 h 101"/>
                <a:gd name="T64" fmla="*/ 19 w 101"/>
                <a:gd name="T65" fmla="*/ 81 h 101"/>
                <a:gd name="T66" fmla="*/ 28 w 101"/>
                <a:gd name="T67" fmla="*/ 79 h 101"/>
                <a:gd name="T68" fmla="*/ 34 w 101"/>
                <a:gd name="T69" fmla="*/ 77 h 101"/>
                <a:gd name="T70" fmla="*/ 44 w 101"/>
                <a:gd name="T71" fmla="*/ 84 h 101"/>
                <a:gd name="T72" fmla="*/ 48 w 101"/>
                <a:gd name="T73" fmla="*/ 88 h 101"/>
                <a:gd name="T74" fmla="*/ 52 w 101"/>
                <a:gd name="T75" fmla="*/ 87 h 101"/>
                <a:gd name="T76" fmla="*/ 62 w 101"/>
                <a:gd name="T77" fmla="*/ 94 h 101"/>
                <a:gd name="T78" fmla="*/ 65 w 101"/>
                <a:gd name="T79" fmla="*/ 101 h 101"/>
                <a:gd name="T80" fmla="*/ 69 w 101"/>
                <a:gd name="T81" fmla="*/ 97 h 101"/>
                <a:gd name="T82" fmla="*/ 72 w 101"/>
                <a:gd name="T83" fmla="*/ 87 h 101"/>
                <a:gd name="T84" fmla="*/ 69 w 101"/>
                <a:gd name="T85" fmla="*/ 75 h 101"/>
                <a:gd name="T86" fmla="*/ 71 w 101"/>
                <a:gd name="T87" fmla="*/ 68 h 101"/>
                <a:gd name="T88" fmla="*/ 78 w 101"/>
                <a:gd name="T89" fmla="*/ 69 h 101"/>
                <a:gd name="T90" fmla="*/ 87 w 101"/>
                <a:gd name="T91" fmla="*/ 65 h 101"/>
                <a:gd name="T92" fmla="*/ 87 w 101"/>
                <a:gd name="T93" fmla="*/ 58 h 101"/>
                <a:gd name="T94" fmla="*/ 96 w 101"/>
                <a:gd name="T95" fmla="*/ 52 h 101"/>
                <a:gd name="T96" fmla="*/ 88 w 101"/>
                <a:gd name="T97" fmla="*/ 43 h 101"/>
                <a:gd name="T98" fmla="*/ 91 w 101"/>
                <a:gd name="T99" fmla="*/ 35 h 101"/>
                <a:gd name="T100" fmla="*/ 101 w 101"/>
                <a:gd name="T101" fmla="*/ 15 h 101"/>
                <a:gd name="T102" fmla="*/ 58 w 101"/>
                <a:gd name="T103" fmla="*/ 46 h 101"/>
                <a:gd name="T104" fmla="*/ 54 w 101"/>
                <a:gd name="T105" fmla="*/ 47 h 101"/>
                <a:gd name="T106" fmla="*/ 61 w 101"/>
                <a:gd name="T107" fmla="*/ 4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1" h="101">
                  <a:moveTo>
                    <a:pt x="101" y="12"/>
                  </a:moveTo>
                  <a:cubicBezTo>
                    <a:pt x="101" y="11"/>
                    <a:pt x="101" y="11"/>
                    <a:pt x="101" y="11"/>
                  </a:cubicBezTo>
                  <a:cubicBezTo>
                    <a:pt x="101" y="11"/>
                    <a:pt x="98" y="9"/>
                    <a:pt x="98" y="9"/>
                  </a:cubicBezTo>
                  <a:cubicBezTo>
                    <a:pt x="97" y="9"/>
                    <a:pt x="98" y="8"/>
                    <a:pt x="98" y="8"/>
                  </a:cubicBezTo>
                  <a:cubicBezTo>
                    <a:pt x="94" y="6"/>
                    <a:pt x="94" y="6"/>
                    <a:pt x="94" y="6"/>
                  </a:cubicBezTo>
                  <a:cubicBezTo>
                    <a:pt x="93" y="3"/>
                    <a:pt x="93" y="3"/>
                    <a:pt x="93" y="3"/>
                  </a:cubicBezTo>
                  <a:cubicBezTo>
                    <a:pt x="91" y="0"/>
                    <a:pt x="91" y="0"/>
                    <a:pt x="91" y="0"/>
                  </a:cubicBezTo>
                  <a:cubicBezTo>
                    <a:pt x="88" y="0"/>
                    <a:pt x="88" y="0"/>
                    <a:pt x="88" y="0"/>
                  </a:cubicBezTo>
                  <a:cubicBezTo>
                    <a:pt x="88" y="0"/>
                    <a:pt x="86" y="1"/>
                    <a:pt x="85" y="1"/>
                  </a:cubicBezTo>
                  <a:cubicBezTo>
                    <a:pt x="84" y="1"/>
                    <a:pt x="83" y="0"/>
                    <a:pt x="83" y="0"/>
                  </a:cubicBezTo>
                  <a:cubicBezTo>
                    <a:pt x="82" y="0"/>
                    <a:pt x="80" y="1"/>
                    <a:pt x="80" y="1"/>
                  </a:cubicBezTo>
                  <a:cubicBezTo>
                    <a:pt x="74" y="0"/>
                    <a:pt x="74" y="0"/>
                    <a:pt x="74" y="0"/>
                  </a:cubicBezTo>
                  <a:cubicBezTo>
                    <a:pt x="74" y="0"/>
                    <a:pt x="68" y="1"/>
                    <a:pt x="68" y="1"/>
                  </a:cubicBezTo>
                  <a:cubicBezTo>
                    <a:pt x="67" y="1"/>
                    <a:pt x="64" y="3"/>
                    <a:pt x="64" y="3"/>
                  </a:cubicBezTo>
                  <a:cubicBezTo>
                    <a:pt x="64" y="3"/>
                    <a:pt x="60" y="4"/>
                    <a:pt x="60" y="4"/>
                  </a:cubicBezTo>
                  <a:cubicBezTo>
                    <a:pt x="59" y="5"/>
                    <a:pt x="57" y="6"/>
                    <a:pt x="57" y="6"/>
                  </a:cubicBezTo>
                  <a:cubicBezTo>
                    <a:pt x="55" y="9"/>
                    <a:pt x="55" y="9"/>
                    <a:pt x="55" y="9"/>
                  </a:cubicBezTo>
                  <a:cubicBezTo>
                    <a:pt x="55" y="11"/>
                    <a:pt x="55" y="11"/>
                    <a:pt x="55" y="11"/>
                  </a:cubicBezTo>
                  <a:cubicBezTo>
                    <a:pt x="54" y="12"/>
                    <a:pt x="54" y="12"/>
                    <a:pt x="54" y="12"/>
                  </a:cubicBezTo>
                  <a:cubicBezTo>
                    <a:pt x="50" y="13"/>
                    <a:pt x="50" y="13"/>
                    <a:pt x="50" y="13"/>
                  </a:cubicBezTo>
                  <a:cubicBezTo>
                    <a:pt x="50" y="14"/>
                    <a:pt x="50" y="14"/>
                    <a:pt x="50" y="14"/>
                  </a:cubicBezTo>
                  <a:cubicBezTo>
                    <a:pt x="53" y="13"/>
                    <a:pt x="53" y="13"/>
                    <a:pt x="53" y="13"/>
                  </a:cubicBezTo>
                  <a:cubicBezTo>
                    <a:pt x="54" y="13"/>
                    <a:pt x="54" y="13"/>
                    <a:pt x="54" y="13"/>
                  </a:cubicBezTo>
                  <a:cubicBezTo>
                    <a:pt x="55" y="15"/>
                    <a:pt x="55" y="15"/>
                    <a:pt x="55" y="15"/>
                  </a:cubicBezTo>
                  <a:cubicBezTo>
                    <a:pt x="55" y="15"/>
                    <a:pt x="55" y="15"/>
                    <a:pt x="55" y="15"/>
                  </a:cubicBezTo>
                  <a:cubicBezTo>
                    <a:pt x="55" y="15"/>
                    <a:pt x="55" y="17"/>
                    <a:pt x="55" y="18"/>
                  </a:cubicBezTo>
                  <a:cubicBezTo>
                    <a:pt x="55" y="18"/>
                    <a:pt x="54" y="19"/>
                    <a:pt x="54" y="20"/>
                  </a:cubicBezTo>
                  <a:cubicBezTo>
                    <a:pt x="54" y="20"/>
                    <a:pt x="54" y="21"/>
                    <a:pt x="54" y="21"/>
                  </a:cubicBezTo>
                  <a:cubicBezTo>
                    <a:pt x="54" y="21"/>
                    <a:pt x="55" y="22"/>
                    <a:pt x="55" y="21"/>
                  </a:cubicBezTo>
                  <a:cubicBezTo>
                    <a:pt x="56" y="21"/>
                    <a:pt x="56" y="21"/>
                    <a:pt x="57" y="22"/>
                  </a:cubicBezTo>
                  <a:cubicBezTo>
                    <a:pt x="57" y="22"/>
                    <a:pt x="57" y="23"/>
                    <a:pt x="59" y="23"/>
                  </a:cubicBezTo>
                  <a:cubicBezTo>
                    <a:pt x="60" y="24"/>
                    <a:pt x="59" y="23"/>
                    <a:pt x="60" y="23"/>
                  </a:cubicBezTo>
                  <a:cubicBezTo>
                    <a:pt x="60" y="23"/>
                    <a:pt x="61" y="23"/>
                    <a:pt x="61" y="23"/>
                  </a:cubicBezTo>
                  <a:cubicBezTo>
                    <a:pt x="62" y="24"/>
                    <a:pt x="61" y="24"/>
                    <a:pt x="60" y="25"/>
                  </a:cubicBezTo>
                  <a:cubicBezTo>
                    <a:pt x="60" y="25"/>
                    <a:pt x="60" y="25"/>
                    <a:pt x="59" y="26"/>
                  </a:cubicBezTo>
                  <a:cubicBezTo>
                    <a:pt x="58" y="27"/>
                    <a:pt x="59" y="27"/>
                    <a:pt x="59" y="28"/>
                  </a:cubicBezTo>
                  <a:cubicBezTo>
                    <a:pt x="59" y="28"/>
                    <a:pt x="59" y="29"/>
                    <a:pt x="59" y="30"/>
                  </a:cubicBezTo>
                  <a:cubicBezTo>
                    <a:pt x="59" y="31"/>
                    <a:pt x="59" y="31"/>
                    <a:pt x="59" y="31"/>
                  </a:cubicBezTo>
                  <a:cubicBezTo>
                    <a:pt x="59" y="32"/>
                    <a:pt x="60" y="33"/>
                    <a:pt x="61" y="33"/>
                  </a:cubicBezTo>
                  <a:cubicBezTo>
                    <a:pt x="61" y="33"/>
                    <a:pt x="61" y="33"/>
                    <a:pt x="62" y="34"/>
                  </a:cubicBezTo>
                  <a:cubicBezTo>
                    <a:pt x="64" y="34"/>
                    <a:pt x="65" y="34"/>
                    <a:pt x="65" y="34"/>
                  </a:cubicBezTo>
                  <a:cubicBezTo>
                    <a:pt x="65" y="34"/>
                    <a:pt x="66" y="34"/>
                    <a:pt x="66" y="35"/>
                  </a:cubicBezTo>
                  <a:cubicBezTo>
                    <a:pt x="66" y="36"/>
                    <a:pt x="66" y="37"/>
                    <a:pt x="66" y="39"/>
                  </a:cubicBezTo>
                  <a:cubicBezTo>
                    <a:pt x="66" y="39"/>
                    <a:pt x="65" y="40"/>
                    <a:pt x="65" y="40"/>
                  </a:cubicBezTo>
                  <a:cubicBezTo>
                    <a:pt x="65" y="40"/>
                    <a:pt x="66" y="39"/>
                    <a:pt x="66" y="38"/>
                  </a:cubicBezTo>
                  <a:cubicBezTo>
                    <a:pt x="66" y="37"/>
                    <a:pt x="65" y="36"/>
                    <a:pt x="65" y="36"/>
                  </a:cubicBezTo>
                  <a:cubicBezTo>
                    <a:pt x="65" y="35"/>
                    <a:pt x="64" y="35"/>
                    <a:pt x="64" y="35"/>
                  </a:cubicBezTo>
                  <a:cubicBezTo>
                    <a:pt x="64" y="35"/>
                    <a:pt x="63" y="35"/>
                    <a:pt x="62" y="35"/>
                  </a:cubicBezTo>
                  <a:cubicBezTo>
                    <a:pt x="62" y="35"/>
                    <a:pt x="62" y="34"/>
                    <a:pt x="61" y="34"/>
                  </a:cubicBezTo>
                  <a:cubicBezTo>
                    <a:pt x="61" y="33"/>
                    <a:pt x="60" y="33"/>
                    <a:pt x="60" y="33"/>
                  </a:cubicBezTo>
                  <a:cubicBezTo>
                    <a:pt x="59" y="33"/>
                    <a:pt x="57" y="34"/>
                    <a:pt x="57" y="34"/>
                  </a:cubicBezTo>
                  <a:cubicBezTo>
                    <a:pt x="54" y="36"/>
                    <a:pt x="54" y="36"/>
                    <a:pt x="54" y="36"/>
                  </a:cubicBezTo>
                  <a:cubicBezTo>
                    <a:pt x="52" y="37"/>
                    <a:pt x="52" y="37"/>
                    <a:pt x="52" y="37"/>
                  </a:cubicBezTo>
                  <a:cubicBezTo>
                    <a:pt x="52" y="37"/>
                    <a:pt x="51" y="39"/>
                    <a:pt x="50" y="40"/>
                  </a:cubicBezTo>
                  <a:cubicBezTo>
                    <a:pt x="49" y="40"/>
                    <a:pt x="49" y="40"/>
                    <a:pt x="47" y="40"/>
                  </a:cubicBezTo>
                  <a:cubicBezTo>
                    <a:pt x="46" y="40"/>
                    <a:pt x="46" y="41"/>
                    <a:pt x="46" y="41"/>
                  </a:cubicBezTo>
                  <a:cubicBezTo>
                    <a:pt x="45" y="41"/>
                    <a:pt x="46" y="42"/>
                    <a:pt x="46" y="42"/>
                  </a:cubicBezTo>
                  <a:cubicBezTo>
                    <a:pt x="46" y="43"/>
                    <a:pt x="48" y="43"/>
                    <a:pt x="48" y="43"/>
                  </a:cubicBezTo>
                  <a:cubicBezTo>
                    <a:pt x="49" y="43"/>
                    <a:pt x="50" y="44"/>
                    <a:pt x="51" y="44"/>
                  </a:cubicBezTo>
                  <a:cubicBezTo>
                    <a:pt x="52" y="45"/>
                    <a:pt x="53" y="46"/>
                    <a:pt x="54" y="46"/>
                  </a:cubicBezTo>
                  <a:cubicBezTo>
                    <a:pt x="54" y="47"/>
                    <a:pt x="54" y="48"/>
                    <a:pt x="54" y="48"/>
                  </a:cubicBezTo>
                  <a:cubicBezTo>
                    <a:pt x="54" y="48"/>
                    <a:pt x="52" y="47"/>
                    <a:pt x="52" y="47"/>
                  </a:cubicBezTo>
                  <a:cubicBezTo>
                    <a:pt x="51" y="46"/>
                    <a:pt x="51" y="46"/>
                    <a:pt x="51" y="46"/>
                  </a:cubicBezTo>
                  <a:cubicBezTo>
                    <a:pt x="51" y="46"/>
                    <a:pt x="49" y="45"/>
                    <a:pt x="49" y="45"/>
                  </a:cubicBezTo>
                  <a:cubicBezTo>
                    <a:pt x="49" y="45"/>
                    <a:pt x="47" y="45"/>
                    <a:pt x="47" y="45"/>
                  </a:cubicBezTo>
                  <a:cubicBezTo>
                    <a:pt x="46" y="43"/>
                    <a:pt x="46" y="43"/>
                    <a:pt x="46" y="43"/>
                  </a:cubicBezTo>
                  <a:cubicBezTo>
                    <a:pt x="46" y="43"/>
                    <a:pt x="44" y="43"/>
                    <a:pt x="43" y="43"/>
                  </a:cubicBezTo>
                  <a:cubicBezTo>
                    <a:pt x="43" y="43"/>
                    <a:pt x="42" y="42"/>
                    <a:pt x="42" y="41"/>
                  </a:cubicBezTo>
                  <a:cubicBezTo>
                    <a:pt x="42" y="41"/>
                    <a:pt x="42" y="41"/>
                    <a:pt x="43" y="41"/>
                  </a:cubicBezTo>
                  <a:cubicBezTo>
                    <a:pt x="43" y="41"/>
                    <a:pt x="45" y="40"/>
                    <a:pt x="45" y="40"/>
                  </a:cubicBezTo>
                  <a:cubicBezTo>
                    <a:pt x="46" y="39"/>
                    <a:pt x="46" y="39"/>
                    <a:pt x="46" y="39"/>
                  </a:cubicBezTo>
                  <a:cubicBezTo>
                    <a:pt x="46" y="38"/>
                    <a:pt x="46" y="38"/>
                    <a:pt x="46" y="38"/>
                  </a:cubicBezTo>
                  <a:cubicBezTo>
                    <a:pt x="45" y="36"/>
                    <a:pt x="45" y="36"/>
                    <a:pt x="45" y="36"/>
                  </a:cubicBezTo>
                  <a:cubicBezTo>
                    <a:pt x="46" y="35"/>
                    <a:pt x="46" y="35"/>
                    <a:pt x="46" y="35"/>
                  </a:cubicBezTo>
                  <a:cubicBezTo>
                    <a:pt x="45" y="33"/>
                    <a:pt x="45" y="33"/>
                    <a:pt x="45" y="33"/>
                  </a:cubicBezTo>
                  <a:cubicBezTo>
                    <a:pt x="45" y="30"/>
                    <a:pt x="45" y="30"/>
                    <a:pt x="45" y="30"/>
                  </a:cubicBezTo>
                  <a:cubicBezTo>
                    <a:pt x="45" y="30"/>
                    <a:pt x="45" y="30"/>
                    <a:pt x="45" y="30"/>
                  </a:cubicBezTo>
                  <a:cubicBezTo>
                    <a:pt x="46" y="30"/>
                    <a:pt x="47" y="31"/>
                    <a:pt x="47" y="31"/>
                  </a:cubicBezTo>
                  <a:cubicBezTo>
                    <a:pt x="47" y="31"/>
                    <a:pt x="49" y="30"/>
                    <a:pt x="49" y="30"/>
                  </a:cubicBezTo>
                  <a:cubicBezTo>
                    <a:pt x="49" y="30"/>
                    <a:pt x="49" y="29"/>
                    <a:pt x="49" y="29"/>
                  </a:cubicBezTo>
                  <a:cubicBezTo>
                    <a:pt x="49" y="29"/>
                    <a:pt x="50" y="29"/>
                    <a:pt x="51" y="29"/>
                  </a:cubicBezTo>
                  <a:cubicBezTo>
                    <a:pt x="51" y="29"/>
                    <a:pt x="51" y="26"/>
                    <a:pt x="51" y="26"/>
                  </a:cubicBezTo>
                  <a:cubicBezTo>
                    <a:pt x="51" y="26"/>
                    <a:pt x="51" y="26"/>
                    <a:pt x="51" y="26"/>
                  </a:cubicBezTo>
                  <a:cubicBezTo>
                    <a:pt x="51" y="26"/>
                    <a:pt x="50" y="25"/>
                    <a:pt x="49" y="25"/>
                  </a:cubicBezTo>
                  <a:cubicBezTo>
                    <a:pt x="48" y="25"/>
                    <a:pt x="48" y="25"/>
                    <a:pt x="48" y="25"/>
                  </a:cubicBezTo>
                  <a:cubicBezTo>
                    <a:pt x="47" y="25"/>
                    <a:pt x="47" y="24"/>
                    <a:pt x="47" y="24"/>
                  </a:cubicBezTo>
                  <a:cubicBezTo>
                    <a:pt x="47" y="24"/>
                    <a:pt x="48" y="23"/>
                    <a:pt x="48" y="22"/>
                  </a:cubicBezTo>
                  <a:cubicBezTo>
                    <a:pt x="48" y="22"/>
                    <a:pt x="47" y="20"/>
                    <a:pt x="47" y="20"/>
                  </a:cubicBezTo>
                  <a:cubicBezTo>
                    <a:pt x="47" y="20"/>
                    <a:pt x="47" y="18"/>
                    <a:pt x="47" y="18"/>
                  </a:cubicBezTo>
                  <a:cubicBezTo>
                    <a:pt x="47" y="18"/>
                    <a:pt x="44" y="16"/>
                    <a:pt x="43" y="16"/>
                  </a:cubicBezTo>
                  <a:cubicBezTo>
                    <a:pt x="43" y="16"/>
                    <a:pt x="41" y="17"/>
                    <a:pt x="41" y="17"/>
                  </a:cubicBezTo>
                  <a:cubicBezTo>
                    <a:pt x="41" y="17"/>
                    <a:pt x="41" y="17"/>
                    <a:pt x="41" y="17"/>
                  </a:cubicBezTo>
                  <a:cubicBezTo>
                    <a:pt x="39" y="16"/>
                    <a:pt x="39" y="16"/>
                    <a:pt x="39" y="16"/>
                  </a:cubicBezTo>
                  <a:cubicBezTo>
                    <a:pt x="39" y="16"/>
                    <a:pt x="39" y="15"/>
                    <a:pt x="39" y="14"/>
                  </a:cubicBezTo>
                  <a:cubicBezTo>
                    <a:pt x="38" y="14"/>
                    <a:pt x="38" y="14"/>
                    <a:pt x="38" y="14"/>
                  </a:cubicBezTo>
                  <a:cubicBezTo>
                    <a:pt x="37" y="19"/>
                    <a:pt x="37" y="19"/>
                    <a:pt x="37" y="19"/>
                  </a:cubicBezTo>
                  <a:cubicBezTo>
                    <a:pt x="35" y="25"/>
                    <a:pt x="35" y="25"/>
                    <a:pt x="35" y="25"/>
                  </a:cubicBezTo>
                  <a:cubicBezTo>
                    <a:pt x="32" y="37"/>
                    <a:pt x="32" y="37"/>
                    <a:pt x="32" y="37"/>
                  </a:cubicBezTo>
                  <a:cubicBezTo>
                    <a:pt x="27" y="45"/>
                    <a:pt x="27" y="45"/>
                    <a:pt x="27" y="45"/>
                  </a:cubicBezTo>
                  <a:cubicBezTo>
                    <a:pt x="20" y="54"/>
                    <a:pt x="20" y="54"/>
                    <a:pt x="20" y="54"/>
                  </a:cubicBezTo>
                  <a:cubicBezTo>
                    <a:pt x="19" y="55"/>
                    <a:pt x="19" y="55"/>
                    <a:pt x="19" y="55"/>
                  </a:cubicBezTo>
                  <a:cubicBezTo>
                    <a:pt x="19" y="55"/>
                    <a:pt x="18" y="54"/>
                    <a:pt x="18" y="54"/>
                  </a:cubicBezTo>
                  <a:cubicBezTo>
                    <a:pt x="18" y="54"/>
                    <a:pt x="17" y="55"/>
                    <a:pt x="17" y="55"/>
                  </a:cubicBezTo>
                  <a:cubicBezTo>
                    <a:pt x="17" y="55"/>
                    <a:pt x="17" y="57"/>
                    <a:pt x="17" y="57"/>
                  </a:cubicBezTo>
                  <a:cubicBezTo>
                    <a:pt x="17" y="57"/>
                    <a:pt x="17" y="59"/>
                    <a:pt x="17" y="60"/>
                  </a:cubicBezTo>
                  <a:cubicBezTo>
                    <a:pt x="17" y="60"/>
                    <a:pt x="17" y="60"/>
                    <a:pt x="17" y="60"/>
                  </a:cubicBezTo>
                  <a:cubicBezTo>
                    <a:pt x="17" y="60"/>
                    <a:pt x="20" y="61"/>
                    <a:pt x="20" y="62"/>
                  </a:cubicBezTo>
                  <a:cubicBezTo>
                    <a:pt x="21" y="62"/>
                    <a:pt x="21" y="63"/>
                    <a:pt x="21" y="63"/>
                  </a:cubicBezTo>
                  <a:cubicBezTo>
                    <a:pt x="22" y="64"/>
                    <a:pt x="22" y="64"/>
                    <a:pt x="22" y="64"/>
                  </a:cubicBezTo>
                  <a:cubicBezTo>
                    <a:pt x="22" y="64"/>
                    <a:pt x="23" y="65"/>
                    <a:pt x="24" y="65"/>
                  </a:cubicBezTo>
                  <a:cubicBezTo>
                    <a:pt x="26" y="66"/>
                    <a:pt x="25" y="66"/>
                    <a:pt x="26" y="66"/>
                  </a:cubicBezTo>
                  <a:cubicBezTo>
                    <a:pt x="26" y="66"/>
                    <a:pt x="28" y="67"/>
                    <a:pt x="28" y="68"/>
                  </a:cubicBezTo>
                  <a:cubicBezTo>
                    <a:pt x="28" y="68"/>
                    <a:pt x="29" y="68"/>
                    <a:pt x="30" y="68"/>
                  </a:cubicBezTo>
                  <a:cubicBezTo>
                    <a:pt x="30" y="68"/>
                    <a:pt x="31" y="68"/>
                    <a:pt x="31" y="68"/>
                  </a:cubicBezTo>
                  <a:cubicBezTo>
                    <a:pt x="32" y="67"/>
                    <a:pt x="32" y="67"/>
                    <a:pt x="32" y="67"/>
                  </a:cubicBezTo>
                  <a:cubicBezTo>
                    <a:pt x="34" y="67"/>
                    <a:pt x="34" y="67"/>
                    <a:pt x="34" y="67"/>
                  </a:cubicBezTo>
                  <a:cubicBezTo>
                    <a:pt x="34" y="67"/>
                    <a:pt x="35" y="67"/>
                    <a:pt x="35" y="67"/>
                  </a:cubicBezTo>
                  <a:cubicBezTo>
                    <a:pt x="36" y="67"/>
                    <a:pt x="35" y="68"/>
                    <a:pt x="35" y="68"/>
                  </a:cubicBezTo>
                  <a:cubicBezTo>
                    <a:pt x="32" y="68"/>
                    <a:pt x="32" y="68"/>
                    <a:pt x="32" y="68"/>
                  </a:cubicBezTo>
                  <a:cubicBezTo>
                    <a:pt x="32" y="68"/>
                    <a:pt x="31" y="68"/>
                    <a:pt x="31" y="69"/>
                  </a:cubicBezTo>
                  <a:cubicBezTo>
                    <a:pt x="31" y="69"/>
                    <a:pt x="30" y="70"/>
                    <a:pt x="31" y="70"/>
                  </a:cubicBezTo>
                  <a:cubicBezTo>
                    <a:pt x="31" y="70"/>
                    <a:pt x="28" y="69"/>
                    <a:pt x="28" y="69"/>
                  </a:cubicBezTo>
                  <a:cubicBezTo>
                    <a:pt x="28" y="68"/>
                    <a:pt x="27" y="68"/>
                    <a:pt x="27" y="68"/>
                  </a:cubicBezTo>
                  <a:cubicBezTo>
                    <a:pt x="26" y="68"/>
                    <a:pt x="25" y="69"/>
                    <a:pt x="24" y="69"/>
                  </a:cubicBezTo>
                  <a:cubicBezTo>
                    <a:pt x="24" y="69"/>
                    <a:pt x="24" y="69"/>
                    <a:pt x="24" y="69"/>
                  </a:cubicBezTo>
                  <a:cubicBezTo>
                    <a:pt x="23" y="69"/>
                    <a:pt x="23" y="70"/>
                    <a:pt x="23" y="70"/>
                  </a:cubicBezTo>
                  <a:cubicBezTo>
                    <a:pt x="22" y="70"/>
                    <a:pt x="22" y="70"/>
                    <a:pt x="22" y="70"/>
                  </a:cubicBezTo>
                  <a:cubicBezTo>
                    <a:pt x="22" y="70"/>
                    <a:pt x="20" y="69"/>
                    <a:pt x="20" y="69"/>
                  </a:cubicBezTo>
                  <a:cubicBezTo>
                    <a:pt x="18" y="69"/>
                    <a:pt x="18" y="69"/>
                    <a:pt x="18" y="69"/>
                  </a:cubicBezTo>
                  <a:cubicBezTo>
                    <a:pt x="18" y="68"/>
                    <a:pt x="18" y="68"/>
                    <a:pt x="18" y="68"/>
                  </a:cubicBezTo>
                  <a:cubicBezTo>
                    <a:pt x="17" y="67"/>
                    <a:pt x="17" y="67"/>
                    <a:pt x="17" y="67"/>
                  </a:cubicBezTo>
                  <a:cubicBezTo>
                    <a:pt x="17" y="67"/>
                    <a:pt x="16" y="67"/>
                    <a:pt x="16" y="66"/>
                  </a:cubicBezTo>
                  <a:cubicBezTo>
                    <a:pt x="16" y="66"/>
                    <a:pt x="16" y="66"/>
                    <a:pt x="15" y="66"/>
                  </a:cubicBezTo>
                  <a:cubicBezTo>
                    <a:pt x="15" y="65"/>
                    <a:pt x="15" y="65"/>
                    <a:pt x="14" y="65"/>
                  </a:cubicBezTo>
                  <a:cubicBezTo>
                    <a:pt x="13" y="64"/>
                    <a:pt x="13" y="64"/>
                    <a:pt x="13" y="64"/>
                  </a:cubicBezTo>
                  <a:cubicBezTo>
                    <a:pt x="12" y="64"/>
                    <a:pt x="12" y="63"/>
                    <a:pt x="11" y="63"/>
                  </a:cubicBezTo>
                  <a:cubicBezTo>
                    <a:pt x="10" y="63"/>
                    <a:pt x="9" y="64"/>
                    <a:pt x="8" y="64"/>
                  </a:cubicBezTo>
                  <a:cubicBezTo>
                    <a:pt x="8" y="64"/>
                    <a:pt x="7" y="64"/>
                    <a:pt x="7" y="65"/>
                  </a:cubicBezTo>
                  <a:cubicBezTo>
                    <a:pt x="7" y="65"/>
                    <a:pt x="7" y="66"/>
                    <a:pt x="7" y="66"/>
                  </a:cubicBezTo>
                  <a:cubicBezTo>
                    <a:pt x="8" y="66"/>
                    <a:pt x="8" y="66"/>
                    <a:pt x="9" y="66"/>
                  </a:cubicBezTo>
                  <a:cubicBezTo>
                    <a:pt x="9" y="66"/>
                    <a:pt x="10" y="66"/>
                    <a:pt x="10" y="66"/>
                  </a:cubicBezTo>
                  <a:cubicBezTo>
                    <a:pt x="11" y="66"/>
                    <a:pt x="11" y="66"/>
                    <a:pt x="11" y="66"/>
                  </a:cubicBezTo>
                  <a:cubicBezTo>
                    <a:pt x="11" y="66"/>
                    <a:pt x="11" y="67"/>
                    <a:pt x="12" y="67"/>
                  </a:cubicBezTo>
                  <a:cubicBezTo>
                    <a:pt x="12" y="67"/>
                    <a:pt x="13" y="68"/>
                    <a:pt x="13" y="69"/>
                  </a:cubicBezTo>
                  <a:cubicBezTo>
                    <a:pt x="13" y="69"/>
                    <a:pt x="14" y="69"/>
                    <a:pt x="14" y="69"/>
                  </a:cubicBezTo>
                  <a:cubicBezTo>
                    <a:pt x="15" y="70"/>
                    <a:pt x="15" y="69"/>
                    <a:pt x="15" y="69"/>
                  </a:cubicBezTo>
                  <a:cubicBezTo>
                    <a:pt x="16" y="69"/>
                    <a:pt x="16" y="69"/>
                    <a:pt x="16" y="69"/>
                  </a:cubicBezTo>
                  <a:cubicBezTo>
                    <a:pt x="18" y="69"/>
                    <a:pt x="18" y="69"/>
                    <a:pt x="18" y="69"/>
                  </a:cubicBezTo>
                  <a:cubicBezTo>
                    <a:pt x="18" y="69"/>
                    <a:pt x="18" y="70"/>
                    <a:pt x="20" y="70"/>
                  </a:cubicBezTo>
                  <a:cubicBezTo>
                    <a:pt x="21" y="71"/>
                    <a:pt x="20" y="71"/>
                    <a:pt x="20" y="71"/>
                  </a:cubicBezTo>
                  <a:cubicBezTo>
                    <a:pt x="20" y="71"/>
                    <a:pt x="19" y="71"/>
                    <a:pt x="17" y="70"/>
                  </a:cubicBezTo>
                  <a:cubicBezTo>
                    <a:pt x="15" y="69"/>
                    <a:pt x="17" y="70"/>
                    <a:pt x="16" y="70"/>
                  </a:cubicBezTo>
                  <a:cubicBezTo>
                    <a:pt x="15" y="70"/>
                    <a:pt x="15" y="71"/>
                    <a:pt x="15" y="71"/>
                  </a:cubicBezTo>
                  <a:cubicBezTo>
                    <a:pt x="15" y="71"/>
                    <a:pt x="15" y="72"/>
                    <a:pt x="16" y="73"/>
                  </a:cubicBezTo>
                  <a:cubicBezTo>
                    <a:pt x="17" y="74"/>
                    <a:pt x="17" y="73"/>
                    <a:pt x="19" y="74"/>
                  </a:cubicBezTo>
                  <a:cubicBezTo>
                    <a:pt x="20" y="75"/>
                    <a:pt x="19" y="74"/>
                    <a:pt x="20" y="74"/>
                  </a:cubicBezTo>
                  <a:cubicBezTo>
                    <a:pt x="20" y="74"/>
                    <a:pt x="21" y="74"/>
                    <a:pt x="22" y="76"/>
                  </a:cubicBezTo>
                  <a:cubicBezTo>
                    <a:pt x="23" y="77"/>
                    <a:pt x="22" y="78"/>
                    <a:pt x="22" y="78"/>
                  </a:cubicBezTo>
                  <a:cubicBezTo>
                    <a:pt x="22" y="78"/>
                    <a:pt x="21" y="78"/>
                    <a:pt x="20" y="78"/>
                  </a:cubicBezTo>
                  <a:cubicBezTo>
                    <a:pt x="20" y="78"/>
                    <a:pt x="20" y="78"/>
                    <a:pt x="20" y="78"/>
                  </a:cubicBezTo>
                  <a:cubicBezTo>
                    <a:pt x="18" y="78"/>
                    <a:pt x="18" y="78"/>
                    <a:pt x="18" y="78"/>
                  </a:cubicBezTo>
                  <a:cubicBezTo>
                    <a:pt x="18" y="78"/>
                    <a:pt x="18" y="78"/>
                    <a:pt x="17" y="76"/>
                  </a:cubicBezTo>
                  <a:cubicBezTo>
                    <a:pt x="16" y="74"/>
                    <a:pt x="17" y="75"/>
                    <a:pt x="18" y="75"/>
                  </a:cubicBezTo>
                  <a:cubicBezTo>
                    <a:pt x="18" y="75"/>
                    <a:pt x="16" y="75"/>
                    <a:pt x="16" y="75"/>
                  </a:cubicBezTo>
                  <a:cubicBezTo>
                    <a:pt x="15" y="73"/>
                    <a:pt x="15" y="73"/>
                    <a:pt x="15" y="73"/>
                  </a:cubicBezTo>
                  <a:cubicBezTo>
                    <a:pt x="14" y="73"/>
                    <a:pt x="14" y="73"/>
                    <a:pt x="14" y="73"/>
                  </a:cubicBezTo>
                  <a:cubicBezTo>
                    <a:pt x="14" y="73"/>
                    <a:pt x="13" y="73"/>
                    <a:pt x="13" y="73"/>
                  </a:cubicBezTo>
                  <a:cubicBezTo>
                    <a:pt x="13" y="73"/>
                    <a:pt x="11" y="72"/>
                    <a:pt x="11" y="72"/>
                  </a:cubicBezTo>
                  <a:cubicBezTo>
                    <a:pt x="11" y="72"/>
                    <a:pt x="12" y="72"/>
                    <a:pt x="12" y="71"/>
                  </a:cubicBezTo>
                  <a:cubicBezTo>
                    <a:pt x="13" y="70"/>
                    <a:pt x="10" y="69"/>
                    <a:pt x="10" y="69"/>
                  </a:cubicBezTo>
                  <a:cubicBezTo>
                    <a:pt x="8" y="68"/>
                    <a:pt x="9" y="69"/>
                    <a:pt x="9" y="69"/>
                  </a:cubicBezTo>
                  <a:cubicBezTo>
                    <a:pt x="9" y="69"/>
                    <a:pt x="8" y="69"/>
                    <a:pt x="7" y="69"/>
                  </a:cubicBezTo>
                  <a:cubicBezTo>
                    <a:pt x="6" y="69"/>
                    <a:pt x="6" y="69"/>
                    <a:pt x="5" y="69"/>
                  </a:cubicBezTo>
                  <a:cubicBezTo>
                    <a:pt x="4" y="69"/>
                    <a:pt x="4" y="69"/>
                    <a:pt x="3" y="69"/>
                  </a:cubicBezTo>
                  <a:cubicBezTo>
                    <a:pt x="3" y="69"/>
                    <a:pt x="2" y="69"/>
                    <a:pt x="1" y="70"/>
                  </a:cubicBezTo>
                  <a:cubicBezTo>
                    <a:pt x="0" y="70"/>
                    <a:pt x="0" y="70"/>
                    <a:pt x="0" y="71"/>
                  </a:cubicBezTo>
                  <a:cubicBezTo>
                    <a:pt x="1" y="71"/>
                    <a:pt x="1" y="71"/>
                    <a:pt x="1" y="72"/>
                  </a:cubicBezTo>
                  <a:cubicBezTo>
                    <a:pt x="1" y="72"/>
                    <a:pt x="1" y="73"/>
                    <a:pt x="2" y="73"/>
                  </a:cubicBezTo>
                  <a:cubicBezTo>
                    <a:pt x="2" y="73"/>
                    <a:pt x="2" y="74"/>
                    <a:pt x="3" y="74"/>
                  </a:cubicBezTo>
                  <a:cubicBezTo>
                    <a:pt x="3" y="75"/>
                    <a:pt x="4" y="75"/>
                    <a:pt x="4" y="75"/>
                  </a:cubicBezTo>
                  <a:cubicBezTo>
                    <a:pt x="5" y="75"/>
                    <a:pt x="6" y="75"/>
                    <a:pt x="6" y="75"/>
                  </a:cubicBezTo>
                  <a:cubicBezTo>
                    <a:pt x="9" y="78"/>
                    <a:pt x="9" y="78"/>
                    <a:pt x="9" y="78"/>
                  </a:cubicBezTo>
                  <a:cubicBezTo>
                    <a:pt x="9" y="78"/>
                    <a:pt x="10" y="78"/>
                    <a:pt x="12" y="78"/>
                  </a:cubicBezTo>
                  <a:cubicBezTo>
                    <a:pt x="13" y="79"/>
                    <a:pt x="12" y="78"/>
                    <a:pt x="12" y="78"/>
                  </a:cubicBezTo>
                  <a:cubicBezTo>
                    <a:pt x="12" y="77"/>
                    <a:pt x="13" y="77"/>
                    <a:pt x="13" y="77"/>
                  </a:cubicBezTo>
                  <a:cubicBezTo>
                    <a:pt x="13" y="76"/>
                    <a:pt x="13" y="76"/>
                    <a:pt x="14" y="76"/>
                  </a:cubicBezTo>
                  <a:cubicBezTo>
                    <a:pt x="15" y="77"/>
                    <a:pt x="15" y="77"/>
                    <a:pt x="15" y="78"/>
                  </a:cubicBezTo>
                  <a:cubicBezTo>
                    <a:pt x="16" y="78"/>
                    <a:pt x="16" y="78"/>
                    <a:pt x="16" y="79"/>
                  </a:cubicBezTo>
                  <a:cubicBezTo>
                    <a:pt x="17" y="79"/>
                    <a:pt x="18" y="79"/>
                    <a:pt x="19" y="79"/>
                  </a:cubicBezTo>
                  <a:cubicBezTo>
                    <a:pt x="19" y="79"/>
                    <a:pt x="20" y="79"/>
                    <a:pt x="20" y="79"/>
                  </a:cubicBezTo>
                  <a:cubicBezTo>
                    <a:pt x="20" y="79"/>
                    <a:pt x="20" y="80"/>
                    <a:pt x="21" y="80"/>
                  </a:cubicBezTo>
                  <a:cubicBezTo>
                    <a:pt x="21" y="80"/>
                    <a:pt x="20" y="80"/>
                    <a:pt x="20" y="80"/>
                  </a:cubicBezTo>
                  <a:cubicBezTo>
                    <a:pt x="20" y="80"/>
                    <a:pt x="20" y="81"/>
                    <a:pt x="19" y="81"/>
                  </a:cubicBezTo>
                  <a:cubicBezTo>
                    <a:pt x="19" y="81"/>
                    <a:pt x="19" y="81"/>
                    <a:pt x="19" y="81"/>
                  </a:cubicBezTo>
                  <a:cubicBezTo>
                    <a:pt x="19" y="81"/>
                    <a:pt x="18" y="81"/>
                    <a:pt x="18" y="81"/>
                  </a:cubicBezTo>
                  <a:cubicBezTo>
                    <a:pt x="18" y="81"/>
                    <a:pt x="19" y="81"/>
                    <a:pt x="19" y="81"/>
                  </a:cubicBezTo>
                  <a:cubicBezTo>
                    <a:pt x="19" y="81"/>
                    <a:pt x="19" y="81"/>
                    <a:pt x="19" y="81"/>
                  </a:cubicBezTo>
                  <a:cubicBezTo>
                    <a:pt x="19" y="81"/>
                    <a:pt x="19" y="81"/>
                    <a:pt x="19" y="81"/>
                  </a:cubicBezTo>
                  <a:cubicBezTo>
                    <a:pt x="20" y="82"/>
                    <a:pt x="20" y="82"/>
                    <a:pt x="21" y="82"/>
                  </a:cubicBezTo>
                  <a:cubicBezTo>
                    <a:pt x="21" y="81"/>
                    <a:pt x="21" y="80"/>
                    <a:pt x="22" y="79"/>
                  </a:cubicBezTo>
                  <a:cubicBezTo>
                    <a:pt x="23" y="78"/>
                    <a:pt x="25" y="78"/>
                    <a:pt x="25" y="78"/>
                  </a:cubicBezTo>
                  <a:cubicBezTo>
                    <a:pt x="25" y="77"/>
                    <a:pt x="25" y="77"/>
                    <a:pt x="25" y="77"/>
                  </a:cubicBezTo>
                  <a:cubicBezTo>
                    <a:pt x="25" y="77"/>
                    <a:pt x="25" y="77"/>
                    <a:pt x="25" y="77"/>
                  </a:cubicBezTo>
                  <a:cubicBezTo>
                    <a:pt x="26" y="77"/>
                    <a:pt x="27" y="78"/>
                    <a:pt x="28" y="79"/>
                  </a:cubicBezTo>
                  <a:cubicBezTo>
                    <a:pt x="29" y="80"/>
                    <a:pt x="29" y="80"/>
                    <a:pt x="29" y="80"/>
                  </a:cubicBezTo>
                  <a:cubicBezTo>
                    <a:pt x="29" y="80"/>
                    <a:pt x="29" y="80"/>
                    <a:pt x="29" y="80"/>
                  </a:cubicBezTo>
                  <a:cubicBezTo>
                    <a:pt x="29" y="80"/>
                    <a:pt x="29" y="80"/>
                    <a:pt x="29" y="80"/>
                  </a:cubicBezTo>
                  <a:cubicBezTo>
                    <a:pt x="30" y="79"/>
                    <a:pt x="30" y="79"/>
                    <a:pt x="30" y="79"/>
                  </a:cubicBezTo>
                  <a:cubicBezTo>
                    <a:pt x="31" y="78"/>
                    <a:pt x="32" y="77"/>
                    <a:pt x="33" y="77"/>
                  </a:cubicBezTo>
                  <a:cubicBezTo>
                    <a:pt x="34" y="77"/>
                    <a:pt x="34" y="77"/>
                    <a:pt x="34" y="77"/>
                  </a:cubicBezTo>
                  <a:cubicBezTo>
                    <a:pt x="36" y="77"/>
                    <a:pt x="36" y="78"/>
                    <a:pt x="37" y="78"/>
                  </a:cubicBezTo>
                  <a:cubicBezTo>
                    <a:pt x="39" y="79"/>
                    <a:pt x="39" y="79"/>
                    <a:pt x="39" y="79"/>
                  </a:cubicBezTo>
                  <a:cubicBezTo>
                    <a:pt x="39" y="78"/>
                    <a:pt x="40" y="78"/>
                    <a:pt x="41" y="78"/>
                  </a:cubicBezTo>
                  <a:cubicBezTo>
                    <a:pt x="42" y="78"/>
                    <a:pt x="43" y="80"/>
                    <a:pt x="43" y="80"/>
                  </a:cubicBezTo>
                  <a:cubicBezTo>
                    <a:pt x="44" y="83"/>
                    <a:pt x="44" y="83"/>
                    <a:pt x="44" y="83"/>
                  </a:cubicBezTo>
                  <a:cubicBezTo>
                    <a:pt x="44" y="83"/>
                    <a:pt x="44" y="84"/>
                    <a:pt x="44" y="84"/>
                  </a:cubicBezTo>
                  <a:cubicBezTo>
                    <a:pt x="45" y="84"/>
                    <a:pt x="45" y="84"/>
                    <a:pt x="45" y="84"/>
                  </a:cubicBezTo>
                  <a:cubicBezTo>
                    <a:pt x="46" y="85"/>
                    <a:pt x="46" y="85"/>
                    <a:pt x="46" y="85"/>
                  </a:cubicBezTo>
                  <a:cubicBezTo>
                    <a:pt x="46" y="86"/>
                    <a:pt x="46" y="86"/>
                    <a:pt x="46" y="86"/>
                  </a:cubicBezTo>
                  <a:cubicBezTo>
                    <a:pt x="46" y="86"/>
                    <a:pt x="46" y="86"/>
                    <a:pt x="46" y="86"/>
                  </a:cubicBezTo>
                  <a:cubicBezTo>
                    <a:pt x="48" y="86"/>
                    <a:pt x="48" y="86"/>
                    <a:pt x="48" y="86"/>
                  </a:cubicBezTo>
                  <a:cubicBezTo>
                    <a:pt x="48" y="86"/>
                    <a:pt x="48" y="88"/>
                    <a:pt x="48" y="88"/>
                  </a:cubicBezTo>
                  <a:cubicBezTo>
                    <a:pt x="48" y="88"/>
                    <a:pt x="49" y="88"/>
                    <a:pt x="49" y="88"/>
                  </a:cubicBezTo>
                  <a:cubicBezTo>
                    <a:pt x="49" y="88"/>
                    <a:pt x="49" y="88"/>
                    <a:pt x="49" y="88"/>
                  </a:cubicBezTo>
                  <a:cubicBezTo>
                    <a:pt x="49" y="88"/>
                    <a:pt x="50" y="88"/>
                    <a:pt x="50" y="88"/>
                  </a:cubicBezTo>
                  <a:cubicBezTo>
                    <a:pt x="50" y="88"/>
                    <a:pt x="50" y="88"/>
                    <a:pt x="50" y="88"/>
                  </a:cubicBezTo>
                  <a:cubicBezTo>
                    <a:pt x="50" y="88"/>
                    <a:pt x="50" y="88"/>
                    <a:pt x="50" y="88"/>
                  </a:cubicBezTo>
                  <a:cubicBezTo>
                    <a:pt x="50" y="88"/>
                    <a:pt x="51" y="87"/>
                    <a:pt x="52" y="87"/>
                  </a:cubicBezTo>
                  <a:cubicBezTo>
                    <a:pt x="53" y="87"/>
                    <a:pt x="53" y="87"/>
                    <a:pt x="53" y="87"/>
                  </a:cubicBezTo>
                  <a:cubicBezTo>
                    <a:pt x="54" y="88"/>
                    <a:pt x="54" y="88"/>
                    <a:pt x="54" y="88"/>
                  </a:cubicBezTo>
                  <a:cubicBezTo>
                    <a:pt x="56" y="89"/>
                    <a:pt x="56" y="90"/>
                    <a:pt x="56" y="91"/>
                  </a:cubicBezTo>
                  <a:cubicBezTo>
                    <a:pt x="56" y="91"/>
                    <a:pt x="56" y="91"/>
                    <a:pt x="56" y="91"/>
                  </a:cubicBezTo>
                  <a:cubicBezTo>
                    <a:pt x="58" y="92"/>
                    <a:pt x="59" y="92"/>
                    <a:pt x="60" y="93"/>
                  </a:cubicBezTo>
                  <a:cubicBezTo>
                    <a:pt x="60" y="93"/>
                    <a:pt x="61" y="93"/>
                    <a:pt x="62" y="94"/>
                  </a:cubicBezTo>
                  <a:cubicBezTo>
                    <a:pt x="63" y="94"/>
                    <a:pt x="63" y="94"/>
                    <a:pt x="63" y="94"/>
                  </a:cubicBezTo>
                  <a:cubicBezTo>
                    <a:pt x="63" y="94"/>
                    <a:pt x="63" y="94"/>
                    <a:pt x="63" y="94"/>
                  </a:cubicBezTo>
                  <a:cubicBezTo>
                    <a:pt x="64" y="94"/>
                    <a:pt x="65" y="95"/>
                    <a:pt x="65" y="97"/>
                  </a:cubicBezTo>
                  <a:cubicBezTo>
                    <a:pt x="65" y="98"/>
                    <a:pt x="64" y="99"/>
                    <a:pt x="64" y="100"/>
                  </a:cubicBezTo>
                  <a:cubicBezTo>
                    <a:pt x="64" y="100"/>
                    <a:pt x="64" y="100"/>
                    <a:pt x="64" y="100"/>
                  </a:cubicBezTo>
                  <a:cubicBezTo>
                    <a:pt x="65" y="101"/>
                    <a:pt x="65" y="101"/>
                    <a:pt x="65" y="101"/>
                  </a:cubicBezTo>
                  <a:cubicBezTo>
                    <a:pt x="65" y="101"/>
                    <a:pt x="65" y="101"/>
                    <a:pt x="66" y="100"/>
                  </a:cubicBezTo>
                  <a:cubicBezTo>
                    <a:pt x="66" y="100"/>
                    <a:pt x="67" y="98"/>
                    <a:pt x="67" y="98"/>
                  </a:cubicBezTo>
                  <a:cubicBezTo>
                    <a:pt x="69" y="98"/>
                    <a:pt x="69" y="98"/>
                    <a:pt x="69" y="98"/>
                  </a:cubicBezTo>
                  <a:cubicBezTo>
                    <a:pt x="69" y="98"/>
                    <a:pt x="71" y="98"/>
                    <a:pt x="72" y="98"/>
                  </a:cubicBezTo>
                  <a:cubicBezTo>
                    <a:pt x="72" y="98"/>
                    <a:pt x="71" y="96"/>
                    <a:pt x="71" y="96"/>
                  </a:cubicBezTo>
                  <a:cubicBezTo>
                    <a:pt x="71" y="96"/>
                    <a:pt x="70" y="97"/>
                    <a:pt x="69" y="97"/>
                  </a:cubicBezTo>
                  <a:cubicBezTo>
                    <a:pt x="68" y="97"/>
                    <a:pt x="69" y="95"/>
                    <a:pt x="69" y="95"/>
                  </a:cubicBezTo>
                  <a:cubicBezTo>
                    <a:pt x="69" y="94"/>
                    <a:pt x="69" y="94"/>
                    <a:pt x="69" y="94"/>
                  </a:cubicBezTo>
                  <a:cubicBezTo>
                    <a:pt x="70" y="92"/>
                    <a:pt x="70" y="92"/>
                    <a:pt x="70" y="92"/>
                  </a:cubicBezTo>
                  <a:cubicBezTo>
                    <a:pt x="71" y="91"/>
                    <a:pt x="71" y="91"/>
                    <a:pt x="71" y="91"/>
                  </a:cubicBezTo>
                  <a:cubicBezTo>
                    <a:pt x="71" y="91"/>
                    <a:pt x="72" y="89"/>
                    <a:pt x="73" y="89"/>
                  </a:cubicBezTo>
                  <a:cubicBezTo>
                    <a:pt x="73" y="89"/>
                    <a:pt x="72" y="87"/>
                    <a:pt x="72" y="87"/>
                  </a:cubicBezTo>
                  <a:cubicBezTo>
                    <a:pt x="73" y="84"/>
                    <a:pt x="73" y="84"/>
                    <a:pt x="73" y="84"/>
                  </a:cubicBezTo>
                  <a:cubicBezTo>
                    <a:pt x="72" y="82"/>
                    <a:pt x="72" y="82"/>
                    <a:pt x="72" y="82"/>
                  </a:cubicBezTo>
                  <a:cubicBezTo>
                    <a:pt x="72" y="80"/>
                    <a:pt x="72" y="80"/>
                    <a:pt x="72" y="80"/>
                  </a:cubicBezTo>
                  <a:cubicBezTo>
                    <a:pt x="70" y="77"/>
                    <a:pt x="70" y="77"/>
                    <a:pt x="70" y="77"/>
                  </a:cubicBezTo>
                  <a:cubicBezTo>
                    <a:pt x="70" y="76"/>
                    <a:pt x="70" y="76"/>
                    <a:pt x="70" y="76"/>
                  </a:cubicBezTo>
                  <a:cubicBezTo>
                    <a:pt x="69" y="75"/>
                    <a:pt x="69" y="75"/>
                    <a:pt x="69" y="75"/>
                  </a:cubicBezTo>
                  <a:cubicBezTo>
                    <a:pt x="70" y="73"/>
                    <a:pt x="70" y="73"/>
                    <a:pt x="70" y="73"/>
                  </a:cubicBezTo>
                  <a:cubicBezTo>
                    <a:pt x="70" y="73"/>
                    <a:pt x="68" y="72"/>
                    <a:pt x="67" y="72"/>
                  </a:cubicBezTo>
                  <a:cubicBezTo>
                    <a:pt x="66" y="71"/>
                    <a:pt x="67" y="71"/>
                    <a:pt x="67" y="71"/>
                  </a:cubicBezTo>
                  <a:cubicBezTo>
                    <a:pt x="67" y="69"/>
                    <a:pt x="67" y="69"/>
                    <a:pt x="67" y="69"/>
                  </a:cubicBezTo>
                  <a:cubicBezTo>
                    <a:pt x="67" y="67"/>
                    <a:pt x="67" y="67"/>
                    <a:pt x="67" y="67"/>
                  </a:cubicBezTo>
                  <a:cubicBezTo>
                    <a:pt x="71" y="68"/>
                    <a:pt x="71" y="68"/>
                    <a:pt x="71" y="68"/>
                  </a:cubicBezTo>
                  <a:cubicBezTo>
                    <a:pt x="73" y="67"/>
                    <a:pt x="73" y="67"/>
                    <a:pt x="73" y="67"/>
                  </a:cubicBezTo>
                  <a:cubicBezTo>
                    <a:pt x="70" y="66"/>
                    <a:pt x="70" y="66"/>
                    <a:pt x="70" y="66"/>
                  </a:cubicBezTo>
                  <a:cubicBezTo>
                    <a:pt x="73" y="65"/>
                    <a:pt x="73" y="65"/>
                    <a:pt x="73" y="65"/>
                  </a:cubicBezTo>
                  <a:cubicBezTo>
                    <a:pt x="74" y="67"/>
                    <a:pt x="74" y="67"/>
                    <a:pt x="74" y="67"/>
                  </a:cubicBezTo>
                  <a:cubicBezTo>
                    <a:pt x="76" y="68"/>
                    <a:pt x="76" y="68"/>
                    <a:pt x="76" y="68"/>
                  </a:cubicBezTo>
                  <a:cubicBezTo>
                    <a:pt x="78" y="69"/>
                    <a:pt x="78" y="69"/>
                    <a:pt x="78" y="69"/>
                  </a:cubicBezTo>
                  <a:cubicBezTo>
                    <a:pt x="78" y="68"/>
                    <a:pt x="78" y="68"/>
                    <a:pt x="78" y="68"/>
                  </a:cubicBezTo>
                  <a:cubicBezTo>
                    <a:pt x="80" y="68"/>
                    <a:pt x="80" y="68"/>
                    <a:pt x="80" y="68"/>
                  </a:cubicBezTo>
                  <a:cubicBezTo>
                    <a:pt x="81" y="67"/>
                    <a:pt x="81" y="67"/>
                    <a:pt x="81" y="67"/>
                  </a:cubicBezTo>
                  <a:cubicBezTo>
                    <a:pt x="84" y="66"/>
                    <a:pt x="84" y="66"/>
                    <a:pt x="84" y="66"/>
                  </a:cubicBezTo>
                  <a:cubicBezTo>
                    <a:pt x="86" y="67"/>
                    <a:pt x="86" y="67"/>
                    <a:pt x="86" y="67"/>
                  </a:cubicBezTo>
                  <a:cubicBezTo>
                    <a:pt x="87" y="65"/>
                    <a:pt x="87" y="65"/>
                    <a:pt x="87" y="65"/>
                  </a:cubicBezTo>
                  <a:cubicBezTo>
                    <a:pt x="89" y="65"/>
                    <a:pt x="89" y="65"/>
                    <a:pt x="89" y="65"/>
                  </a:cubicBezTo>
                  <a:cubicBezTo>
                    <a:pt x="89" y="63"/>
                    <a:pt x="89" y="63"/>
                    <a:pt x="89" y="63"/>
                  </a:cubicBezTo>
                  <a:cubicBezTo>
                    <a:pt x="87" y="62"/>
                    <a:pt x="87" y="62"/>
                    <a:pt x="87" y="62"/>
                  </a:cubicBezTo>
                  <a:cubicBezTo>
                    <a:pt x="85" y="60"/>
                    <a:pt x="85" y="60"/>
                    <a:pt x="85" y="60"/>
                  </a:cubicBezTo>
                  <a:cubicBezTo>
                    <a:pt x="87" y="59"/>
                    <a:pt x="87" y="59"/>
                    <a:pt x="87" y="59"/>
                  </a:cubicBezTo>
                  <a:cubicBezTo>
                    <a:pt x="87" y="58"/>
                    <a:pt x="87" y="58"/>
                    <a:pt x="87" y="58"/>
                  </a:cubicBezTo>
                  <a:cubicBezTo>
                    <a:pt x="87" y="58"/>
                    <a:pt x="90" y="58"/>
                    <a:pt x="90" y="58"/>
                  </a:cubicBezTo>
                  <a:cubicBezTo>
                    <a:pt x="90" y="57"/>
                    <a:pt x="90" y="57"/>
                    <a:pt x="91" y="57"/>
                  </a:cubicBezTo>
                  <a:cubicBezTo>
                    <a:pt x="92" y="56"/>
                    <a:pt x="93" y="55"/>
                    <a:pt x="93" y="55"/>
                  </a:cubicBezTo>
                  <a:cubicBezTo>
                    <a:pt x="94" y="54"/>
                    <a:pt x="94" y="54"/>
                    <a:pt x="94" y="54"/>
                  </a:cubicBezTo>
                  <a:cubicBezTo>
                    <a:pt x="94" y="54"/>
                    <a:pt x="96" y="53"/>
                    <a:pt x="96" y="53"/>
                  </a:cubicBezTo>
                  <a:cubicBezTo>
                    <a:pt x="97" y="53"/>
                    <a:pt x="96" y="52"/>
                    <a:pt x="96" y="52"/>
                  </a:cubicBezTo>
                  <a:cubicBezTo>
                    <a:pt x="96" y="51"/>
                    <a:pt x="95" y="49"/>
                    <a:pt x="95" y="49"/>
                  </a:cubicBezTo>
                  <a:cubicBezTo>
                    <a:pt x="97" y="47"/>
                    <a:pt x="97" y="47"/>
                    <a:pt x="97" y="47"/>
                  </a:cubicBezTo>
                  <a:cubicBezTo>
                    <a:pt x="95" y="44"/>
                    <a:pt x="95" y="44"/>
                    <a:pt x="95" y="44"/>
                  </a:cubicBezTo>
                  <a:cubicBezTo>
                    <a:pt x="93" y="45"/>
                    <a:pt x="93" y="45"/>
                    <a:pt x="93" y="45"/>
                  </a:cubicBezTo>
                  <a:cubicBezTo>
                    <a:pt x="91" y="43"/>
                    <a:pt x="91" y="43"/>
                    <a:pt x="91" y="43"/>
                  </a:cubicBezTo>
                  <a:cubicBezTo>
                    <a:pt x="91" y="43"/>
                    <a:pt x="89" y="43"/>
                    <a:pt x="88" y="43"/>
                  </a:cubicBezTo>
                  <a:cubicBezTo>
                    <a:pt x="88" y="42"/>
                    <a:pt x="87" y="41"/>
                    <a:pt x="87" y="41"/>
                  </a:cubicBezTo>
                  <a:cubicBezTo>
                    <a:pt x="87" y="39"/>
                    <a:pt x="87" y="39"/>
                    <a:pt x="87" y="39"/>
                  </a:cubicBezTo>
                  <a:cubicBezTo>
                    <a:pt x="89" y="38"/>
                    <a:pt x="89" y="38"/>
                    <a:pt x="89" y="38"/>
                  </a:cubicBezTo>
                  <a:cubicBezTo>
                    <a:pt x="88" y="37"/>
                    <a:pt x="88" y="37"/>
                    <a:pt x="88" y="37"/>
                  </a:cubicBezTo>
                  <a:cubicBezTo>
                    <a:pt x="88" y="35"/>
                    <a:pt x="88" y="35"/>
                    <a:pt x="88" y="35"/>
                  </a:cubicBezTo>
                  <a:cubicBezTo>
                    <a:pt x="91" y="35"/>
                    <a:pt x="91" y="35"/>
                    <a:pt x="91" y="35"/>
                  </a:cubicBezTo>
                  <a:cubicBezTo>
                    <a:pt x="91" y="35"/>
                    <a:pt x="95" y="36"/>
                    <a:pt x="96" y="37"/>
                  </a:cubicBezTo>
                  <a:cubicBezTo>
                    <a:pt x="96" y="37"/>
                    <a:pt x="97" y="34"/>
                    <a:pt x="97" y="34"/>
                  </a:cubicBezTo>
                  <a:cubicBezTo>
                    <a:pt x="98" y="30"/>
                    <a:pt x="98" y="30"/>
                    <a:pt x="98" y="30"/>
                  </a:cubicBezTo>
                  <a:cubicBezTo>
                    <a:pt x="98" y="30"/>
                    <a:pt x="97" y="26"/>
                    <a:pt x="97" y="26"/>
                  </a:cubicBezTo>
                  <a:cubicBezTo>
                    <a:pt x="98" y="26"/>
                    <a:pt x="101" y="21"/>
                    <a:pt x="101" y="21"/>
                  </a:cubicBezTo>
                  <a:cubicBezTo>
                    <a:pt x="101" y="21"/>
                    <a:pt x="101" y="16"/>
                    <a:pt x="101" y="15"/>
                  </a:cubicBezTo>
                  <a:cubicBezTo>
                    <a:pt x="101" y="15"/>
                    <a:pt x="101" y="12"/>
                    <a:pt x="101" y="12"/>
                  </a:cubicBezTo>
                  <a:close/>
                  <a:moveTo>
                    <a:pt x="62" y="43"/>
                  </a:moveTo>
                  <a:cubicBezTo>
                    <a:pt x="61" y="44"/>
                    <a:pt x="61" y="44"/>
                    <a:pt x="60" y="44"/>
                  </a:cubicBezTo>
                  <a:cubicBezTo>
                    <a:pt x="59" y="45"/>
                    <a:pt x="59" y="45"/>
                    <a:pt x="59" y="45"/>
                  </a:cubicBezTo>
                  <a:cubicBezTo>
                    <a:pt x="59" y="45"/>
                    <a:pt x="59" y="45"/>
                    <a:pt x="59" y="45"/>
                  </a:cubicBezTo>
                  <a:cubicBezTo>
                    <a:pt x="59" y="46"/>
                    <a:pt x="58" y="46"/>
                    <a:pt x="58" y="46"/>
                  </a:cubicBezTo>
                  <a:cubicBezTo>
                    <a:pt x="57" y="46"/>
                    <a:pt x="57" y="46"/>
                    <a:pt x="57" y="46"/>
                  </a:cubicBezTo>
                  <a:cubicBezTo>
                    <a:pt x="57" y="46"/>
                    <a:pt x="56" y="47"/>
                    <a:pt x="56" y="47"/>
                  </a:cubicBezTo>
                  <a:cubicBezTo>
                    <a:pt x="56" y="47"/>
                    <a:pt x="56" y="47"/>
                    <a:pt x="55" y="47"/>
                  </a:cubicBezTo>
                  <a:cubicBezTo>
                    <a:pt x="55" y="47"/>
                    <a:pt x="55" y="47"/>
                    <a:pt x="54" y="47"/>
                  </a:cubicBezTo>
                  <a:cubicBezTo>
                    <a:pt x="54" y="47"/>
                    <a:pt x="54" y="48"/>
                    <a:pt x="54" y="48"/>
                  </a:cubicBezTo>
                  <a:cubicBezTo>
                    <a:pt x="54" y="47"/>
                    <a:pt x="54" y="47"/>
                    <a:pt x="54" y="47"/>
                  </a:cubicBezTo>
                  <a:cubicBezTo>
                    <a:pt x="54" y="47"/>
                    <a:pt x="55" y="47"/>
                    <a:pt x="55" y="46"/>
                  </a:cubicBezTo>
                  <a:cubicBezTo>
                    <a:pt x="56" y="46"/>
                    <a:pt x="56" y="46"/>
                    <a:pt x="56" y="46"/>
                  </a:cubicBezTo>
                  <a:cubicBezTo>
                    <a:pt x="56" y="45"/>
                    <a:pt x="56" y="45"/>
                    <a:pt x="57" y="44"/>
                  </a:cubicBezTo>
                  <a:cubicBezTo>
                    <a:pt x="58" y="44"/>
                    <a:pt x="58" y="43"/>
                    <a:pt x="58" y="43"/>
                  </a:cubicBezTo>
                  <a:cubicBezTo>
                    <a:pt x="59" y="43"/>
                    <a:pt x="59" y="43"/>
                    <a:pt x="60" y="43"/>
                  </a:cubicBezTo>
                  <a:cubicBezTo>
                    <a:pt x="60" y="43"/>
                    <a:pt x="60" y="42"/>
                    <a:pt x="61" y="42"/>
                  </a:cubicBezTo>
                  <a:cubicBezTo>
                    <a:pt x="62" y="42"/>
                    <a:pt x="62" y="42"/>
                    <a:pt x="62" y="42"/>
                  </a:cubicBezTo>
                  <a:cubicBezTo>
                    <a:pt x="62" y="42"/>
                    <a:pt x="62" y="43"/>
                    <a:pt x="62" y="43"/>
                  </a:cubicBezTo>
                  <a:close/>
                </a:path>
              </a:pathLst>
            </a:custGeom>
            <a:solidFill>
              <a:schemeClr val="accent1">
                <a:lumMod val="60000"/>
                <a:lumOff val="40000"/>
              </a:schemeClr>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reeform 59"/>
            <p:cNvSpPr>
              <a:spLocks/>
            </p:cNvSpPr>
            <p:nvPr/>
          </p:nvSpPr>
          <p:spPr bwMode="auto">
            <a:xfrm>
              <a:off x="5215459" y="3815057"/>
              <a:ext cx="20218" cy="6808"/>
            </a:xfrm>
            <a:custGeom>
              <a:avLst/>
              <a:gdLst>
                <a:gd name="T0" fmla="*/ 7 w 7"/>
                <a:gd name="T1" fmla="*/ 1 h 2"/>
                <a:gd name="T2" fmla="*/ 5 w 7"/>
                <a:gd name="T3" fmla="*/ 0 h 2"/>
                <a:gd name="T4" fmla="*/ 4 w 7"/>
                <a:gd name="T5" fmla="*/ 1 h 2"/>
                <a:gd name="T6" fmla="*/ 2 w 7"/>
                <a:gd name="T7" fmla="*/ 1 h 2"/>
                <a:gd name="T8" fmla="*/ 1 w 7"/>
                <a:gd name="T9" fmla="*/ 1 h 2"/>
                <a:gd name="T10" fmla="*/ 0 w 7"/>
                <a:gd name="T11" fmla="*/ 2 h 2"/>
                <a:gd name="T12" fmla="*/ 0 w 7"/>
                <a:gd name="T13" fmla="*/ 2 h 2"/>
                <a:gd name="T14" fmla="*/ 1 w 7"/>
                <a:gd name="T15" fmla="*/ 2 h 2"/>
                <a:gd name="T16" fmla="*/ 2 w 7"/>
                <a:gd name="T17" fmla="*/ 2 h 2"/>
                <a:gd name="T18" fmla="*/ 4 w 7"/>
                <a:gd name="T19" fmla="*/ 2 h 2"/>
                <a:gd name="T20" fmla="*/ 5 w 7"/>
                <a:gd name="T21" fmla="*/ 1 h 2"/>
                <a:gd name="T22" fmla="*/ 7 w 7"/>
                <a:gd name="T23" fmla="*/ 1 h 2"/>
                <a:gd name="T24" fmla="*/ 7 w 7"/>
                <a:gd name="T25"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2">
                  <a:moveTo>
                    <a:pt x="7" y="1"/>
                  </a:moveTo>
                  <a:cubicBezTo>
                    <a:pt x="7" y="0"/>
                    <a:pt x="6" y="0"/>
                    <a:pt x="5" y="0"/>
                  </a:cubicBezTo>
                  <a:cubicBezTo>
                    <a:pt x="5" y="0"/>
                    <a:pt x="4" y="1"/>
                    <a:pt x="4" y="1"/>
                  </a:cubicBezTo>
                  <a:cubicBezTo>
                    <a:pt x="4" y="0"/>
                    <a:pt x="3" y="1"/>
                    <a:pt x="2" y="1"/>
                  </a:cubicBezTo>
                  <a:cubicBezTo>
                    <a:pt x="2" y="0"/>
                    <a:pt x="1" y="1"/>
                    <a:pt x="1" y="1"/>
                  </a:cubicBezTo>
                  <a:cubicBezTo>
                    <a:pt x="0" y="1"/>
                    <a:pt x="0" y="2"/>
                    <a:pt x="0" y="2"/>
                  </a:cubicBezTo>
                  <a:cubicBezTo>
                    <a:pt x="0" y="2"/>
                    <a:pt x="0" y="2"/>
                    <a:pt x="0" y="2"/>
                  </a:cubicBezTo>
                  <a:cubicBezTo>
                    <a:pt x="1" y="1"/>
                    <a:pt x="1" y="2"/>
                    <a:pt x="1" y="2"/>
                  </a:cubicBezTo>
                  <a:cubicBezTo>
                    <a:pt x="2" y="2"/>
                    <a:pt x="2" y="2"/>
                    <a:pt x="2" y="2"/>
                  </a:cubicBezTo>
                  <a:cubicBezTo>
                    <a:pt x="3" y="2"/>
                    <a:pt x="3" y="2"/>
                    <a:pt x="4" y="2"/>
                  </a:cubicBezTo>
                  <a:cubicBezTo>
                    <a:pt x="4" y="1"/>
                    <a:pt x="5" y="1"/>
                    <a:pt x="5" y="1"/>
                  </a:cubicBezTo>
                  <a:cubicBezTo>
                    <a:pt x="7" y="1"/>
                    <a:pt x="7" y="1"/>
                    <a:pt x="7" y="1"/>
                  </a:cubicBezTo>
                  <a:cubicBezTo>
                    <a:pt x="7" y="1"/>
                    <a:pt x="7" y="1"/>
                    <a:pt x="7" y="1"/>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60"/>
            <p:cNvSpPr>
              <a:spLocks/>
            </p:cNvSpPr>
            <p:nvPr/>
          </p:nvSpPr>
          <p:spPr bwMode="auto">
            <a:xfrm>
              <a:off x="4919409" y="4061506"/>
              <a:ext cx="60654" cy="27232"/>
            </a:xfrm>
            <a:custGeom>
              <a:avLst/>
              <a:gdLst>
                <a:gd name="T0" fmla="*/ 1 w 21"/>
                <a:gd name="T1" fmla="*/ 3 h 10"/>
                <a:gd name="T2" fmla="*/ 2 w 21"/>
                <a:gd name="T3" fmla="*/ 5 h 10"/>
                <a:gd name="T4" fmla="*/ 2 w 21"/>
                <a:gd name="T5" fmla="*/ 6 h 10"/>
                <a:gd name="T6" fmla="*/ 3 w 21"/>
                <a:gd name="T7" fmla="*/ 6 h 10"/>
                <a:gd name="T8" fmla="*/ 6 w 21"/>
                <a:gd name="T9" fmla="*/ 4 h 10"/>
                <a:gd name="T10" fmla="*/ 8 w 21"/>
                <a:gd name="T11" fmla="*/ 5 h 10"/>
                <a:gd name="T12" fmla="*/ 10 w 21"/>
                <a:gd name="T13" fmla="*/ 7 h 10"/>
                <a:gd name="T14" fmla="*/ 10 w 21"/>
                <a:gd name="T15" fmla="*/ 7 h 10"/>
                <a:gd name="T16" fmla="*/ 11 w 21"/>
                <a:gd name="T17" fmla="*/ 8 h 10"/>
                <a:gd name="T18" fmla="*/ 12 w 21"/>
                <a:gd name="T19" fmla="*/ 10 h 10"/>
                <a:gd name="T20" fmla="*/ 12 w 21"/>
                <a:gd name="T21" fmla="*/ 10 h 10"/>
                <a:gd name="T22" fmla="*/ 13 w 21"/>
                <a:gd name="T23" fmla="*/ 10 h 10"/>
                <a:gd name="T24" fmla="*/ 18 w 21"/>
                <a:gd name="T25" fmla="*/ 9 h 10"/>
                <a:gd name="T26" fmla="*/ 19 w 21"/>
                <a:gd name="T27" fmla="*/ 8 h 10"/>
                <a:gd name="T28" fmla="*/ 19 w 21"/>
                <a:gd name="T29" fmla="*/ 6 h 10"/>
                <a:gd name="T30" fmla="*/ 20 w 21"/>
                <a:gd name="T31" fmla="*/ 5 h 10"/>
                <a:gd name="T32" fmla="*/ 21 w 21"/>
                <a:gd name="T33" fmla="*/ 5 h 10"/>
                <a:gd name="T34" fmla="*/ 21 w 21"/>
                <a:gd name="T35" fmla="*/ 5 h 10"/>
                <a:gd name="T36" fmla="*/ 20 w 21"/>
                <a:gd name="T37" fmla="*/ 5 h 10"/>
                <a:gd name="T38" fmla="*/ 19 w 21"/>
                <a:gd name="T39" fmla="*/ 4 h 10"/>
                <a:gd name="T40" fmla="*/ 17 w 21"/>
                <a:gd name="T41" fmla="*/ 2 h 10"/>
                <a:gd name="T42" fmla="*/ 17 w 21"/>
                <a:gd name="T43" fmla="*/ 2 h 10"/>
                <a:gd name="T44" fmla="*/ 16 w 21"/>
                <a:gd name="T45" fmla="*/ 3 h 10"/>
                <a:gd name="T46" fmla="*/ 16 w 21"/>
                <a:gd name="T47" fmla="*/ 4 h 10"/>
                <a:gd name="T48" fmla="*/ 15 w 21"/>
                <a:gd name="T49" fmla="*/ 4 h 10"/>
                <a:gd name="T50" fmla="*/ 13 w 21"/>
                <a:gd name="T51" fmla="*/ 5 h 10"/>
                <a:gd name="T52" fmla="*/ 11 w 21"/>
                <a:gd name="T53" fmla="*/ 4 h 10"/>
                <a:gd name="T54" fmla="*/ 8 w 21"/>
                <a:gd name="T55" fmla="*/ 3 h 10"/>
                <a:gd name="T56" fmla="*/ 6 w 21"/>
                <a:gd name="T57" fmla="*/ 1 h 10"/>
                <a:gd name="T58" fmla="*/ 5 w 21"/>
                <a:gd name="T59" fmla="*/ 0 h 10"/>
                <a:gd name="T60" fmla="*/ 3 w 21"/>
                <a:gd name="T61" fmla="*/ 0 h 10"/>
                <a:gd name="T62" fmla="*/ 0 w 21"/>
                <a:gd name="T63" fmla="*/ 1 h 10"/>
                <a:gd name="T64" fmla="*/ 0 w 21"/>
                <a:gd name="T65" fmla="*/ 4 h 10"/>
                <a:gd name="T66" fmla="*/ 1 w 21"/>
                <a:gd name="T67"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 h="10">
                  <a:moveTo>
                    <a:pt x="1" y="3"/>
                  </a:moveTo>
                  <a:cubicBezTo>
                    <a:pt x="2" y="5"/>
                    <a:pt x="2" y="5"/>
                    <a:pt x="2" y="5"/>
                  </a:cubicBezTo>
                  <a:cubicBezTo>
                    <a:pt x="2" y="5"/>
                    <a:pt x="2" y="6"/>
                    <a:pt x="2" y="6"/>
                  </a:cubicBezTo>
                  <a:cubicBezTo>
                    <a:pt x="3" y="6"/>
                    <a:pt x="3" y="6"/>
                    <a:pt x="3" y="6"/>
                  </a:cubicBezTo>
                  <a:cubicBezTo>
                    <a:pt x="3" y="5"/>
                    <a:pt x="5" y="4"/>
                    <a:pt x="6" y="4"/>
                  </a:cubicBezTo>
                  <a:cubicBezTo>
                    <a:pt x="7" y="4"/>
                    <a:pt x="7" y="5"/>
                    <a:pt x="8" y="5"/>
                  </a:cubicBezTo>
                  <a:cubicBezTo>
                    <a:pt x="9" y="5"/>
                    <a:pt x="9" y="6"/>
                    <a:pt x="10" y="7"/>
                  </a:cubicBezTo>
                  <a:cubicBezTo>
                    <a:pt x="10" y="7"/>
                    <a:pt x="10" y="7"/>
                    <a:pt x="10" y="7"/>
                  </a:cubicBezTo>
                  <a:cubicBezTo>
                    <a:pt x="11" y="8"/>
                    <a:pt x="11" y="8"/>
                    <a:pt x="11" y="8"/>
                  </a:cubicBezTo>
                  <a:cubicBezTo>
                    <a:pt x="12" y="10"/>
                    <a:pt x="12" y="10"/>
                    <a:pt x="12" y="10"/>
                  </a:cubicBezTo>
                  <a:cubicBezTo>
                    <a:pt x="12" y="10"/>
                    <a:pt x="12" y="10"/>
                    <a:pt x="12" y="10"/>
                  </a:cubicBezTo>
                  <a:cubicBezTo>
                    <a:pt x="13" y="10"/>
                    <a:pt x="13" y="10"/>
                    <a:pt x="13" y="10"/>
                  </a:cubicBezTo>
                  <a:cubicBezTo>
                    <a:pt x="14" y="10"/>
                    <a:pt x="15" y="10"/>
                    <a:pt x="18" y="9"/>
                  </a:cubicBezTo>
                  <a:cubicBezTo>
                    <a:pt x="18" y="9"/>
                    <a:pt x="18" y="8"/>
                    <a:pt x="19" y="8"/>
                  </a:cubicBezTo>
                  <a:cubicBezTo>
                    <a:pt x="19" y="7"/>
                    <a:pt x="19" y="7"/>
                    <a:pt x="19" y="6"/>
                  </a:cubicBezTo>
                  <a:cubicBezTo>
                    <a:pt x="20" y="5"/>
                    <a:pt x="20" y="5"/>
                    <a:pt x="20" y="5"/>
                  </a:cubicBezTo>
                  <a:cubicBezTo>
                    <a:pt x="21" y="5"/>
                    <a:pt x="21" y="5"/>
                    <a:pt x="21" y="5"/>
                  </a:cubicBezTo>
                  <a:cubicBezTo>
                    <a:pt x="21" y="5"/>
                    <a:pt x="21" y="5"/>
                    <a:pt x="21" y="5"/>
                  </a:cubicBezTo>
                  <a:cubicBezTo>
                    <a:pt x="21" y="5"/>
                    <a:pt x="20" y="5"/>
                    <a:pt x="20" y="5"/>
                  </a:cubicBezTo>
                  <a:cubicBezTo>
                    <a:pt x="19" y="4"/>
                    <a:pt x="19" y="4"/>
                    <a:pt x="19" y="4"/>
                  </a:cubicBezTo>
                  <a:cubicBezTo>
                    <a:pt x="19" y="4"/>
                    <a:pt x="17" y="3"/>
                    <a:pt x="17" y="2"/>
                  </a:cubicBezTo>
                  <a:cubicBezTo>
                    <a:pt x="17" y="2"/>
                    <a:pt x="17" y="2"/>
                    <a:pt x="17" y="2"/>
                  </a:cubicBezTo>
                  <a:cubicBezTo>
                    <a:pt x="17" y="2"/>
                    <a:pt x="16" y="3"/>
                    <a:pt x="16" y="3"/>
                  </a:cubicBezTo>
                  <a:cubicBezTo>
                    <a:pt x="16" y="4"/>
                    <a:pt x="16" y="4"/>
                    <a:pt x="16" y="4"/>
                  </a:cubicBezTo>
                  <a:cubicBezTo>
                    <a:pt x="16" y="4"/>
                    <a:pt x="15" y="4"/>
                    <a:pt x="15" y="4"/>
                  </a:cubicBezTo>
                  <a:cubicBezTo>
                    <a:pt x="14" y="5"/>
                    <a:pt x="13" y="5"/>
                    <a:pt x="13" y="5"/>
                  </a:cubicBezTo>
                  <a:cubicBezTo>
                    <a:pt x="13" y="5"/>
                    <a:pt x="11" y="4"/>
                    <a:pt x="11" y="4"/>
                  </a:cubicBezTo>
                  <a:cubicBezTo>
                    <a:pt x="10" y="3"/>
                    <a:pt x="9" y="3"/>
                    <a:pt x="8" y="3"/>
                  </a:cubicBezTo>
                  <a:cubicBezTo>
                    <a:pt x="8" y="3"/>
                    <a:pt x="6" y="2"/>
                    <a:pt x="6" y="1"/>
                  </a:cubicBezTo>
                  <a:cubicBezTo>
                    <a:pt x="5" y="1"/>
                    <a:pt x="5" y="0"/>
                    <a:pt x="5" y="0"/>
                  </a:cubicBezTo>
                  <a:cubicBezTo>
                    <a:pt x="5" y="0"/>
                    <a:pt x="3" y="0"/>
                    <a:pt x="3" y="0"/>
                  </a:cubicBezTo>
                  <a:cubicBezTo>
                    <a:pt x="3" y="0"/>
                    <a:pt x="0" y="1"/>
                    <a:pt x="0" y="1"/>
                  </a:cubicBezTo>
                  <a:cubicBezTo>
                    <a:pt x="0" y="4"/>
                    <a:pt x="0" y="4"/>
                    <a:pt x="0" y="4"/>
                  </a:cubicBezTo>
                  <a:lnTo>
                    <a:pt x="1" y="3"/>
                  </a:ln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Freeform 61"/>
            <p:cNvSpPr>
              <a:spLocks/>
            </p:cNvSpPr>
            <p:nvPr/>
          </p:nvSpPr>
          <p:spPr bwMode="auto">
            <a:xfrm>
              <a:off x="5034941" y="3868159"/>
              <a:ext cx="17330" cy="21786"/>
            </a:xfrm>
            <a:custGeom>
              <a:avLst/>
              <a:gdLst>
                <a:gd name="T0" fmla="*/ 2 w 6"/>
                <a:gd name="T1" fmla="*/ 8 h 8"/>
                <a:gd name="T2" fmla="*/ 2 w 6"/>
                <a:gd name="T3" fmla="*/ 8 h 8"/>
                <a:gd name="T4" fmla="*/ 4 w 6"/>
                <a:gd name="T5" fmla="*/ 7 h 8"/>
                <a:gd name="T6" fmla="*/ 5 w 6"/>
                <a:gd name="T7" fmla="*/ 5 h 8"/>
                <a:gd name="T8" fmla="*/ 6 w 6"/>
                <a:gd name="T9" fmla="*/ 3 h 8"/>
                <a:gd name="T10" fmla="*/ 5 w 6"/>
                <a:gd name="T11" fmla="*/ 1 h 8"/>
                <a:gd name="T12" fmla="*/ 4 w 6"/>
                <a:gd name="T13" fmla="*/ 0 h 8"/>
                <a:gd name="T14" fmla="*/ 3 w 6"/>
                <a:gd name="T15" fmla="*/ 2 h 8"/>
                <a:gd name="T16" fmla="*/ 2 w 6"/>
                <a:gd name="T17" fmla="*/ 3 h 8"/>
                <a:gd name="T18" fmla="*/ 1 w 6"/>
                <a:gd name="T19" fmla="*/ 5 h 8"/>
                <a:gd name="T20" fmla="*/ 0 w 6"/>
                <a:gd name="T21" fmla="*/ 7 h 8"/>
                <a:gd name="T22" fmla="*/ 2 w 6"/>
                <a:gd name="T2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8">
                  <a:moveTo>
                    <a:pt x="2" y="8"/>
                  </a:moveTo>
                  <a:cubicBezTo>
                    <a:pt x="2" y="8"/>
                    <a:pt x="2" y="8"/>
                    <a:pt x="2" y="8"/>
                  </a:cubicBezTo>
                  <a:cubicBezTo>
                    <a:pt x="4" y="7"/>
                    <a:pt x="4" y="7"/>
                    <a:pt x="4" y="7"/>
                  </a:cubicBezTo>
                  <a:cubicBezTo>
                    <a:pt x="4" y="7"/>
                    <a:pt x="5" y="5"/>
                    <a:pt x="5" y="5"/>
                  </a:cubicBezTo>
                  <a:cubicBezTo>
                    <a:pt x="6" y="5"/>
                    <a:pt x="6" y="3"/>
                    <a:pt x="6" y="3"/>
                  </a:cubicBezTo>
                  <a:cubicBezTo>
                    <a:pt x="5" y="1"/>
                    <a:pt x="5" y="1"/>
                    <a:pt x="5" y="1"/>
                  </a:cubicBezTo>
                  <a:cubicBezTo>
                    <a:pt x="4" y="0"/>
                    <a:pt x="4" y="0"/>
                    <a:pt x="4" y="0"/>
                  </a:cubicBezTo>
                  <a:cubicBezTo>
                    <a:pt x="4" y="0"/>
                    <a:pt x="4" y="2"/>
                    <a:pt x="3" y="2"/>
                  </a:cubicBezTo>
                  <a:cubicBezTo>
                    <a:pt x="3" y="2"/>
                    <a:pt x="3" y="3"/>
                    <a:pt x="2" y="3"/>
                  </a:cubicBezTo>
                  <a:cubicBezTo>
                    <a:pt x="1" y="4"/>
                    <a:pt x="1" y="5"/>
                    <a:pt x="1" y="5"/>
                  </a:cubicBezTo>
                  <a:cubicBezTo>
                    <a:pt x="1" y="6"/>
                    <a:pt x="0" y="7"/>
                    <a:pt x="0" y="7"/>
                  </a:cubicBezTo>
                  <a:cubicBezTo>
                    <a:pt x="0" y="8"/>
                    <a:pt x="1" y="8"/>
                    <a:pt x="2" y="8"/>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Freeform 62"/>
            <p:cNvSpPr>
              <a:spLocks/>
            </p:cNvSpPr>
            <p:nvPr/>
          </p:nvSpPr>
          <p:spPr bwMode="auto">
            <a:xfrm>
              <a:off x="4962733" y="4015212"/>
              <a:ext cx="37548" cy="27232"/>
            </a:xfrm>
            <a:custGeom>
              <a:avLst/>
              <a:gdLst>
                <a:gd name="T0" fmla="*/ 2 w 13"/>
                <a:gd name="T1" fmla="*/ 3 h 10"/>
                <a:gd name="T2" fmla="*/ 2 w 13"/>
                <a:gd name="T3" fmla="*/ 3 h 10"/>
                <a:gd name="T4" fmla="*/ 3 w 13"/>
                <a:gd name="T5" fmla="*/ 2 h 10"/>
                <a:gd name="T6" fmla="*/ 4 w 13"/>
                <a:gd name="T7" fmla="*/ 3 h 10"/>
                <a:gd name="T8" fmla="*/ 4 w 13"/>
                <a:gd name="T9" fmla="*/ 4 h 10"/>
                <a:gd name="T10" fmla="*/ 5 w 13"/>
                <a:gd name="T11" fmla="*/ 5 h 10"/>
                <a:gd name="T12" fmla="*/ 5 w 13"/>
                <a:gd name="T13" fmla="*/ 6 h 10"/>
                <a:gd name="T14" fmla="*/ 5 w 13"/>
                <a:gd name="T15" fmla="*/ 7 h 10"/>
                <a:gd name="T16" fmla="*/ 6 w 13"/>
                <a:gd name="T17" fmla="*/ 7 h 10"/>
                <a:gd name="T18" fmla="*/ 8 w 13"/>
                <a:gd name="T19" fmla="*/ 8 h 10"/>
                <a:gd name="T20" fmla="*/ 9 w 13"/>
                <a:gd name="T21" fmla="*/ 9 h 10"/>
                <a:gd name="T22" fmla="*/ 10 w 13"/>
                <a:gd name="T23" fmla="*/ 10 h 10"/>
                <a:gd name="T24" fmla="*/ 11 w 13"/>
                <a:gd name="T25" fmla="*/ 10 h 10"/>
                <a:gd name="T26" fmla="*/ 12 w 13"/>
                <a:gd name="T27" fmla="*/ 10 h 10"/>
                <a:gd name="T28" fmla="*/ 13 w 13"/>
                <a:gd name="T29" fmla="*/ 9 h 10"/>
                <a:gd name="T30" fmla="*/ 12 w 13"/>
                <a:gd name="T31" fmla="*/ 8 h 10"/>
                <a:gd name="T32" fmla="*/ 11 w 13"/>
                <a:gd name="T33" fmla="*/ 7 h 10"/>
                <a:gd name="T34" fmla="*/ 11 w 13"/>
                <a:gd name="T35" fmla="*/ 6 h 10"/>
                <a:gd name="T36" fmla="*/ 10 w 13"/>
                <a:gd name="T37" fmla="*/ 6 h 10"/>
                <a:gd name="T38" fmla="*/ 9 w 13"/>
                <a:gd name="T39" fmla="*/ 5 h 10"/>
                <a:gd name="T40" fmla="*/ 8 w 13"/>
                <a:gd name="T41" fmla="*/ 4 h 10"/>
                <a:gd name="T42" fmla="*/ 7 w 13"/>
                <a:gd name="T43" fmla="*/ 3 h 10"/>
                <a:gd name="T44" fmla="*/ 6 w 13"/>
                <a:gd name="T45" fmla="*/ 3 h 10"/>
                <a:gd name="T46" fmla="*/ 4 w 13"/>
                <a:gd name="T47" fmla="*/ 1 h 10"/>
                <a:gd name="T48" fmla="*/ 4 w 13"/>
                <a:gd name="T49" fmla="*/ 0 h 10"/>
                <a:gd name="T50" fmla="*/ 2 w 13"/>
                <a:gd name="T51" fmla="*/ 1 h 10"/>
                <a:gd name="T52" fmla="*/ 1 w 13"/>
                <a:gd name="T53" fmla="*/ 1 h 10"/>
                <a:gd name="T54" fmla="*/ 0 w 13"/>
                <a:gd name="T55" fmla="*/ 2 h 10"/>
                <a:gd name="T56" fmla="*/ 1 w 13"/>
                <a:gd name="T57" fmla="*/ 3 h 10"/>
                <a:gd name="T58" fmla="*/ 2 w 13"/>
                <a:gd name="T59"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0">
                  <a:moveTo>
                    <a:pt x="2" y="3"/>
                  </a:moveTo>
                  <a:cubicBezTo>
                    <a:pt x="2" y="3"/>
                    <a:pt x="2" y="3"/>
                    <a:pt x="2" y="3"/>
                  </a:cubicBezTo>
                  <a:cubicBezTo>
                    <a:pt x="2" y="3"/>
                    <a:pt x="3" y="2"/>
                    <a:pt x="3" y="2"/>
                  </a:cubicBezTo>
                  <a:cubicBezTo>
                    <a:pt x="3" y="2"/>
                    <a:pt x="4" y="3"/>
                    <a:pt x="4" y="3"/>
                  </a:cubicBezTo>
                  <a:cubicBezTo>
                    <a:pt x="4" y="3"/>
                    <a:pt x="4" y="4"/>
                    <a:pt x="4" y="4"/>
                  </a:cubicBezTo>
                  <a:cubicBezTo>
                    <a:pt x="5" y="5"/>
                    <a:pt x="5" y="5"/>
                    <a:pt x="5" y="5"/>
                  </a:cubicBezTo>
                  <a:cubicBezTo>
                    <a:pt x="5" y="5"/>
                    <a:pt x="5" y="6"/>
                    <a:pt x="5" y="6"/>
                  </a:cubicBezTo>
                  <a:cubicBezTo>
                    <a:pt x="5" y="7"/>
                    <a:pt x="5" y="7"/>
                    <a:pt x="5" y="7"/>
                  </a:cubicBezTo>
                  <a:cubicBezTo>
                    <a:pt x="5" y="7"/>
                    <a:pt x="6" y="7"/>
                    <a:pt x="6" y="7"/>
                  </a:cubicBezTo>
                  <a:cubicBezTo>
                    <a:pt x="6" y="7"/>
                    <a:pt x="7" y="8"/>
                    <a:pt x="8" y="8"/>
                  </a:cubicBezTo>
                  <a:cubicBezTo>
                    <a:pt x="9" y="9"/>
                    <a:pt x="8" y="9"/>
                    <a:pt x="9" y="9"/>
                  </a:cubicBezTo>
                  <a:cubicBezTo>
                    <a:pt x="9" y="9"/>
                    <a:pt x="9" y="9"/>
                    <a:pt x="10" y="10"/>
                  </a:cubicBezTo>
                  <a:cubicBezTo>
                    <a:pt x="11" y="10"/>
                    <a:pt x="11" y="10"/>
                    <a:pt x="11" y="10"/>
                  </a:cubicBezTo>
                  <a:cubicBezTo>
                    <a:pt x="12" y="10"/>
                    <a:pt x="12" y="10"/>
                    <a:pt x="12" y="10"/>
                  </a:cubicBezTo>
                  <a:cubicBezTo>
                    <a:pt x="12" y="10"/>
                    <a:pt x="12" y="9"/>
                    <a:pt x="13" y="9"/>
                  </a:cubicBezTo>
                  <a:cubicBezTo>
                    <a:pt x="13" y="9"/>
                    <a:pt x="12" y="8"/>
                    <a:pt x="12" y="8"/>
                  </a:cubicBezTo>
                  <a:cubicBezTo>
                    <a:pt x="12" y="8"/>
                    <a:pt x="11" y="8"/>
                    <a:pt x="11" y="7"/>
                  </a:cubicBezTo>
                  <a:cubicBezTo>
                    <a:pt x="11" y="7"/>
                    <a:pt x="11" y="7"/>
                    <a:pt x="11" y="6"/>
                  </a:cubicBezTo>
                  <a:cubicBezTo>
                    <a:pt x="10" y="6"/>
                    <a:pt x="10" y="6"/>
                    <a:pt x="10" y="6"/>
                  </a:cubicBezTo>
                  <a:cubicBezTo>
                    <a:pt x="9" y="5"/>
                    <a:pt x="9" y="5"/>
                    <a:pt x="9" y="5"/>
                  </a:cubicBezTo>
                  <a:cubicBezTo>
                    <a:pt x="8" y="5"/>
                    <a:pt x="8" y="4"/>
                    <a:pt x="8" y="4"/>
                  </a:cubicBezTo>
                  <a:cubicBezTo>
                    <a:pt x="8" y="4"/>
                    <a:pt x="7" y="3"/>
                    <a:pt x="7" y="3"/>
                  </a:cubicBezTo>
                  <a:cubicBezTo>
                    <a:pt x="6" y="3"/>
                    <a:pt x="6" y="3"/>
                    <a:pt x="6" y="3"/>
                  </a:cubicBezTo>
                  <a:cubicBezTo>
                    <a:pt x="6" y="3"/>
                    <a:pt x="5" y="2"/>
                    <a:pt x="4" y="1"/>
                  </a:cubicBezTo>
                  <a:cubicBezTo>
                    <a:pt x="4" y="1"/>
                    <a:pt x="4" y="0"/>
                    <a:pt x="4" y="0"/>
                  </a:cubicBezTo>
                  <a:cubicBezTo>
                    <a:pt x="4" y="0"/>
                    <a:pt x="3" y="1"/>
                    <a:pt x="2" y="1"/>
                  </a:cubicBezTo>
                  <a:cubicBezTo>
                    <a:pt x="2" y="1"/>
                    <a:pt x="1" y="1"/>
                    <a:pt x="1" y="1"/>
                  </a:cubicBezTo>
                  <a:cubicBezTo>
                    <a:pt x="0" y="1"/>
                    <a:pt x="0" y="2"/>
                    <a:pt x="0" y="2"/>
                  </a:cubicBezTo>
                  <a:cubicBezTo>
                    <a:pt x="0" y="2"/>
                    <a:pt x="0" y="3"/>
                    <a:pt x="1" y="3"/>
                  </a:cubicBezTo>
                  <a:cubicBezTo>
                    <a:pt x="1" y="4"/>
                    <a:pt x="2" y="3"/>
                    <a:pt x="2" y="3"/>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Freeform 63"/>
            <p:cNvSpPr>
              <a:spLocks/>
            </p:cNvSpPr>
            <p:nvPr/>
          </p:nvSpPr>
          <p:spPr bwMode="auto">
            <a:xfrm>
              <a:off x="5049382" y="3857267"/>
              <a:ext cx="17330" cy="10893"/>
            </a:xfrm>
            <a:custGeom>
              <a:avLst/>
              <a:gdLst>
                <a:gd name="T0" fmla="*/ 1 w 6"/>
                <a:gd name="T1" fmla="*/ 4 h 4"/>
                <a:gd name="T2" fmla="*/ 2 w 6"/>
                <a:gd name="T3" fmla="*/ 3 h 4"/>
                <a:gd name="T4" fmla="*/ 2 w 6"/>
                <a:gd name="T5" fmla="*/ 2 h 4"/>
                <a:gd name="T6" fmla="*/ 4 w 6"/>
                <a:gd name="T7" fmla="*/ 1 h 4"/>
                <a:gd name="T8" fmla="*/ 6 w 6"/>
                <a:gd name="T9" fmla="*/ 0 h 4"/>
                <a:gd name="T10" fmla="*/ 5 w 6"/>
                <a:gd name="T11" fmla="*/ 0 h 4"/>
                <a:gd name="T12" fmla="*/ 3 w 6"/>
                <a:gd name="T13" fmla="*/ 0 h 4"/>
                <a:gd name="T14" fmla="*/ 2 w 6"/>
                <a:gd name="T15" fmla="*/ 1 h 4"/>
                <a:gd name="T16" fmla="*/ 0 w 6"/>
                <a:gd name="T17" fmla="*/ 3 h 4"/>
                <a:gd name="T18" fmla="*/ 0 w 6"/>
                <a:gd name="T19" fmla="*/ 3 h 4"/>
                <a:gd name="T20" fmla="*/ 1 w 6"/>
                <a:gd name="T2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1" y="4"/>
                  </a:moveTo>
                  <a:cubicBezTo>
                    <a:pt x="1" y="4"/>
                    <a:pt x="1" y="3"/>
                    <a:pt x="2" y="3"/>
                  </a:cubicBezTo>
                  <a:cubicBezTo>
                    <a:pt x="2" y="2"/>
                    <a:pt x="2" y="2"/>
                    <a:pt x="2" y="2"/>
                  </a:cubicBezTo>
                  <a:cubicBezTo>
                    <a:pt x="2" y="2"/>
                    <a:pt x="3" y="1"/>
                    <a:pt x="4" y="1"/>
                  </a:cubicBezTo>
                  <a:cubicBezTo>
                    <a:pt x="4" y="1"/>
                    <a:pt x="6" y="0"/>
                    <a:pt x="6" y="0"/>
                  </a:cubicBezTo>
                  <a:cubicBezTo>
                    <a:pt x="5" y="0"/>
                    <a:pt x="5" y="0"/>
                    <a:pt x="5" y="0"/>
                  </a:cubicBezTo>
                  <a:cubicBezTo>
                    <a:pt x="5" y="0"/>
                    <a:pt x="4" y="0"/>
                    <a:pt x="3" y="0"/>
                  </a:cubicBezTo>
                  <a:cubicBezTo>
                    <a:pt x="3" y="0"/>
                    <a:pt x="2" y="1"/>
                    <a:pt x="2" y="1"/>
                  </a:cubicBezTo>
                  <a:cubicBezTo>
                    <a:pt x="2" y="1"/>
                    <a:pt x="0" y="3"/>
                    <a:pt x="0" y="3"/>
                  </a:cubicBezTo>
                  <a:cubicBezTo>
                    <a:pt x="0" y="3"/>
                    <a:pt x="0" y="3"/>
                    <a:pt x="0" y="3"/>
                  </a:cubicBezTo>
                  <a:lnTo>
                    <a:pt x="1" y="4"/>
                  </a:ln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Freeform 64"/>
            <p:cNvSpPr>
              <a:spLocks/>
            </p:cNvSpPr>
            <p:nvPr/>
          </p:nvSpPr>
          <p:spPr bwMode="auto">
            <a:xfrm>
              <a:off x="5154805" y="4600699"/>
              <a:ext cx="1135099" cy="1072940"/>
            </a:xfrm>
            <a:custGeom>
              <a:avLst/>
              <a:gdLst>
                <a:gd name="T0" fmla="*/ 322 w 392"/>
                <a:gd name="T1" fmla="*/ 246 h 393"/>
                <a:gd name="T2" fmla="*/ 306 w 392"/>
                <a:gd name="T3" fmla="*/ 223 h 393"/>
                <a:gd name="T4" fmla="*/ 250 w 392"/>
                <a:gd name="T5" fmla="*/ 204 h 393"/>
                <a:gd name="T6" fmla="*/ 217 w 392"/>
                <a:gd name="T7" fmla="*/ 150 h 393"/>
                <a:gd name="T8" fmla="*/ 176 w 392"/>
                <a:gd name="T9" fmla="*/ 96 h 393"/>
                <a:gd name="T10" fmla="*/ 178 w 392"/>
                <a:gd name="T11" fmla="*/ 71 h 393"/>
                <a:gd name="T12" fmla="*/ 204 w 392"/>
                <a:gd name="T13" fmla="*/ 61 h 393"/>
                <a:gd name="T14" fmla="*/ 211 w 392"/>
                <a:gd name="T15" fmla="*/ 49 h 393"/>
                <a:gd name="T16" fmla="*/ 206 w 392"/>
                <a:gd name="T17" fmla="*/ 46 h 393"/>
                <a:gd name="T18" fmla="*/ 209 w 392"/>
                <a:gd name="T19" fmla="*/ 39 h 393"/>
                <a:gd name="T20" fmla="*/ 204 w 392"/>
                <a:gd name="T21" fmla="*/ 31 h 393"/>
                <a:gd name="T22" fmla="*/ 206 w 392"/>
                <a:gd name="T23" fmla="*/ 23 h 393"/>
                <a:gd name="T24" fmla="*/ 167 w 392"/>
                <a:gd name="T25" fmla="*/ 13 h 393"/>
                <a:gd name="T26" fmla="*/ 152 w 392"/>
                <a:gd name="T27" fmla="*/ 3 h 393"/>
                <a:gd name="T28" fmla="*/ 128 w 392"/>
                <a:gd name="T29" fmla="*/ 15 h 393"/>
                <a:gd name="T30" fmla="*/ 113 w 392"/>
                <a:gd name="T31" fmla="*/ 14 h 393"/>
                <a:gd name="T32" fmla="*/ 115 w 392"/>
                <a:gd name="T33" fmla="*/ 22 h 393"/>
                <a:gd name="T34" fmla="*/ 108 w 392"/>
                <a:gd name="T35" fmla="*/ 23 h 393"/>
                <a:gd name="T36" fmla="*/ 102 w 392"/>
                <a:gd name="T37" fmla="*/ 25 h 393"/>
                <a:gd name="T38" fmla="*/ 105 w 392"/>
                <a:gd name="T39" fmla="*/ 31 h 393"/>
                <a:gd name="T40" fmla="*/ 104 w 392"/>
                <a:gd name="T41" fmla="*/ 39 h 393"/>
                <a:gd name="T42" fmla="*/ 99 w 392"/>
                <a:gd name="T43" fmla="*/ 33 h 393"/>
                <a:gd name="T44" fmla="*/ 92 w 392"/>
                <a:gd name="T45" fmla="*/ 36 h 393"/>
                <a:gd name="T46" fmla="*/ 84 w 392"/>
                <a:gd name="T47" fmla="*/ 28 h 393"/>
                <a:gd name="T48" fmla="*/ 78 w 392"/>
                <a:gd name="T49" fmla="*/ 30 h 393"/>
                <a:gd name="T50" fmla="*/ 77 w 392"/>
                <a:gd name="T51" fmla="*/ 40 h 393"/>
                <a:gd name="T52" fmla="*/ 71 w 392"/>
                <a:gd name="T53" fmla="*/ 48 h 393"/>
                <a:gd name="T54" fmla="*/ 72 w 392"/>
                <a:gd name="T55" fmla="*/ 57 h 393"/>
                <a:gd name="T56" fmla="*/ 67 w 392"/>
                <a:gd name="T57" fmla="*/ 52 h 393"/>
                <a:gd name="T58" fmla="*/ 64 w 392"/>
                <a:gd name="T59" fmla="*/ 46 h 393"/>
                <a:gd name="T60" fmla="*/ 55 w 392"/>
                <a:gd name="T61" fmla="*/ 41 h 393"/>
                <a:gd name="T62" fmla="*/ 52 w 392"/>
                <a:gd name="T63" fmla="*/ 33 h 393"/>
                <a:gd name="T64" fmla="*/ 43 w 392"/>
                <a:gd name="T65" fmla="*/ 37 h 393"/>
                <a:gd name="T66" fmla="*/ 41 w 392"/>
                <a:gd name="T67" fmla="*/ 45 h 393"/>
                <a:gd name="T68" fmla="*/ 35 w 392"/>
                <a:gd name="T69" fmla="*/ 52 h 393"/>
                <a:gd name="T70" fmla="*/ 27 w 392"/>
                <a:gd name="T71" fmla="*/ 51 h 393"/>
                <a:gd name="T72" fmla="*/ 16 w 392"/>
                <a:gd name="T73" fmla="*/ 54 h 393"/>
                <a:gd name="T74" fmla="*/ 4 w 392"/>
                <a:gd name="T75" fmla="*/ 59 h 393"/>
                <a:gd name="T76" fmla="*/ 9 w 392"/>
                <a:gd name="T77" fmla="*/ 87 h 393"/>
                <a:gd name="T78" fmla="*/ 10 w 392"/>
                <a:gd name="T79" fmla="*/ 109 h 393"/>
                <a:gd name="T80" fmla="*/ 26 w 392"/>
                <a:gd name="T81" fmla="*/ 127 h 393"/>
                <a:gd name="T82" fmla="*/ 37 w 392"/>
                <a:gd name="T83" fmla="*/ 141 h 393"/>
                <a:gd name="T84" fmla="*/ 86 w 392"/>
                <a:gd name="T85" fmla="*/ 130 h 393"/>
                <a:gd name="T86" fmla="*/ 110 w 392"/>
                <a:gd name="T87" fmla="*/ 153 h 393"/>
                <a:gd name="T88" fmla="*/ 125 w 392"/>
                <a:gd name="T89" fmla="*/ 187 h 393"/>
                <a:gd name="T90" fmla="*/ 147 w 392"/>
                <a:gd name="T91" fmla="*/ 206 h 393"/>
                <a:gd name="T92" fmla="*/ 181 w 392"/>
                <a:gd name="T93" fmla="*/ 239 h 393"/>
                <a:gd name="T94" fmla="*/ 203 w 392"/>
                <a:gd name="T95" fmla="*/ 253 h 393"/>
                <a:gd name="T96" fmla="*/ 229 w 392"/>
                <a:gd name="T97" fmla="*/ 255 h 393"/>
                <a:gd name="T98" fmla="*/ 257 w 392"/>
                <a:gd name="T99" fmla="*/ 280 h 393"/>
                <a:gd name="T100" fmla="*/ 271 w 392"/>
                <a:gd name="T101" fmla="*/ 292 h 393"/>
                <a:gd name="T102" fmla="*/ 297 w 392"/>
                <a:gd name="T103" fmla="*/ 301 h 393"/>
                <a:gd name="T104" fmla="*/ 317 w 392"/>
                <a:gd name="T105" fmla="*/ 344 h 393"/>
                <a:gd name="T106" fmla="*/ 311 w 392"/>
                <a:gd name="T107" fmla="*/ 367 h 393"/>
                <a:gd name="T108" fmla="*/ 314 w 392"/>
                <a:gd name="T109" fmla="*/ 393 h 393"/>
                <a:gd name="T110" fmla="*/ 334 w 392"/>
                <a:gd name="T111" fmla="*/ 357 h 393"/>
                <a:gd name="T112" fmla="*/ 349 w 392"/>
                <a:gd name="T113" fmla="*/ 326 h 393"/>
                <a:gd name="T114" fmla="*/ 329 w 392"/>
                <a:gd name="T115" fmla="*/ 298 h 393"/>
                <a:gd name="T116" fmla="*/ 354 w 392"/>
                <a:gd name="T117" fmla="*/ 282 h 393"/>
                <a:gd name="T118" fmla="*/ 388 w 392"/>
                <a:gd name="T119" fmla="*/ 301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2" h="393">
                  <a:moveTo>
                    <a:pt x="390" y="282"/>
                  </a:moveTo>
                  <a:cubicBezTo>
                    <a:pt x="384" y="276"/>
                    <a:pt x="384" y="276"/>
                    <a:pt x="384" y="276"/>
                  </a:cubicBezTo>
                  <a:cubicBezTo>
                    <a:pt x="379" y="272"/>
                    <a:pt x="379" y="272"/>
                    <a:pt x="379" y="272"/>
                  </a:cubicBezTo>
                  <a:cubicBezTo>
                    <a:pt x="365" y="263"/>
                    <a:pt x="365" y="263"/>
                    <a:pt x="365" y="263"/>
                  </a:cubicBezTo>
                  <a:cubicBezTo>
                    <a:pt x="346" y="257"/>
                    <a:pt x="346" y="257"/>
                    <a:pt x="346" y="257"/>
                  </a:cubicBezTo>
                  <a:cubicBezTo>
                    <a:pt x="333" y="249"/>
                    <a:pt x="333" y="249"/>
                    <a:pt x="333" y="249"/>
                  </a:cubicBezTo>
                  <a:cubicBezTo>
                    <a:pt x="322" y="246"/>
                    <a:pt x="322" y="246"/>
                    <a:pt x="322" y="246"/>
                  </a:cubicBezTo>
                  <a:cubicBezTo>
                    <a:pt x="322" y="246"/>
                    <a:pt x="311" y="241"/>
                    <a:pt x="310" y="241"/>
                  </a:cubicBezTo>
                  <a:cubicBezTo>
                    <a:pt x="310" y="241"/>
                    <a:pt x="307" y="240"/>
                    <a:pt x="307" y="240"/>
                  </a:cubicBezTo>
                  <a:cubicBezTo>
                    <a:pt x="307" y="240"/>
                    <a:pt x="301" y="238"/>
                    <a:pt x="300" y="237"/>
                  </a:cubicBezTo>
                  <a:cubicBezTo>
                    <a:pt x="300" y="237"/>
                    <a:pt x="299" y="234"/>
                    <a:pt x="299" y="233"/>
                  </a:cubicBezTo>
                  <a:cubicBezTo>
                    <a:pt x="299" y="233"/>
                    <a:pt x="299" y="230"/>
                    <a:pt x="299" y="230"/>
                  </a:cubicBezTo>
                  <a:cubicBezTo>
                    <a:pt x="303" y="227"/>
                    <a:pt x="303" y="227"/>
                    <a:pt x="303" y="227"/>
                  </a:cubicBezTo>
                  <a:cubicBezTo>
                    <a:pt x="303" y="227"/>
                    <a:pt x="306" y="224"/>
                    <a:pt x="306" y="223"/>
                  </a:cubicBezTo>
                  <a:cubicBezTo>
                    <a:pt x="306" y="222"/>
                    <a:pt x="306" y="217"/>
                    <a:pt x="306" y="217"/>
                  </a:cubicBezTo>
                  <a:cubicBezTo>
                    <a:pt x="302" y="216"/>
                    <a:pt x="302" y="216"/>
                    <a:pt x="302" y="216"/>
                  </a:cubicBezTo>
                  <a:cubicBezTo>
                    <a:pt x="293" y="217"/>
                    <a:pt x="293" y="217"/>
                    <a:pt x="293" y="217"/>
                  </a:cubicBezTo>
                  <a:cubicBezTo>
                    <a:pt x="278" y="218"/>
                    <a:pt x="278" y="218"/>
                    <a:pt x="278" y="218"/>
                  </a:cubicBezTo>
                  <a:cubicBezTo>
                    <a:pt x="270" y="218"/>
                    <a:pt x="270" y="218"/>
                    <a:pt x="270" y="218"/>
                  </a:cubicBezTo>
                  <a:cubicBezTo>
                    <a:pt x="259" y="212"/>
                    <a:pt x="259" y="212"/>
                    <a:pt x="259" y="212"/>
                  </a:cubicBezTo>
                  <a:cubicBezTo>
                    <a:pt x="250" y="204"/>
                    <a:pt x="250" y="204"/>
                    <a:pt x="250" y="204"/>
                  </a:cubicBezTo>
                  <a:cubicBezTo>
                    <a:pt x="244" y="201"/>
                    <a:pt x="244" y="201"/>
                    <a:pt x="244" y="201"/>
                  </a:cubicBezTo>
                  <a:cubicBezTo>
                    <a:pt x="237" y="193"/>
                    <a:pt x="237" y="193"/>
                    <a:pt x="237" y="193"/>
                  </a:cubicBezTo>
                  <a:cubicBezTo>
                    <a:pt x="233" y="187"/>
                    <a:pt x="233" y="187"/>
                    <a:pt x="233" y="187"/>
                  </a:cubicBezTo>
                  <a:cubicBezTo>
                    <a:pt x="233" y="187"/>
                    <a:pt x="230" y="179"/>
                    <a:pt x="229" y="176"/>
                  </a:cubicBezTo>
                  <a:cubicBezTo>
                    <a:pt x="228" y="173"/>
                    <a:pt x="222" y="164"/>
                    <a:pt x="222" y="164"/>
                  </a:cubicBezTo>
                  <a:cubicBezTo>
                    <a:pt x="222" y="164"/>
                    <a:pt x="219" y="157"/>
                    <a:pt x="218" y="156"/>
                  </a:cubicBezTo>
                  <a:cubicBezTo>
                    <a:pt x="218" y="155"/>
                    <a:pt x="217" y="150"/>
                    <a:pt x="217" y="150"/>
                  </a:cubicBezTo>
                  <a:cubicBezTo>
                    <a:pt x="207" y="145"/>
                    <a:pt x="207" y="145"/>
                    <a:pt x="207" y="145"/>
                  </a:cubicBezTo>
                  <a:cubicBezTo>
                    <a:pt x="193" y="137"/>
                    <a:pt x="193" y="137"/>
                    <a:pt x="193" y="137"/>
                  </a:cubicBezTo>
                  <a:cubicBezTo>
                    <a:pt x="181" y="130"/>
                    <a:pt x="181" y="130"/>
                    <a:pt x="181" y="130"/>
                  </a:cubicBezTo>
                  <a:cubicBezTo>
                    <a:pt x="176" y="121"/>
                    <a:pt x="176" y="121"/>
                    <a:pt x="176" y="121"/>
                  </a:cubicBezTo>
                  <a:cubicBezTo>
                    <a:pt x="172" y="109"/>
                    <a:pt x="172" y="109"/>
                    <a:pt x="172" y="109"/>
                  </a:cubicBezTo>
                  <a:cubicBezTo>
                    <a:pt x="171" y="99"/>
                    <a:pt x="171" y="99"/>
                    <a:pt x="171" y="99"/>
                  </a:cubicBezTo>
                  <a:cubicBezTo>
                    <a:pt x="176" y="96"/>
                    <a:pt x="176" y="96"/>
                    <a:pt x="176" y="96"/>
                  </a:cubicBezTo>
                  <a:cubicBezTo>
                    <a:pt x="176" y="91"/>
                    <a:pt x="176" y="91"/>
                    <a:pt x="176" y="91"/>
                  </a:cubicBezTo>
                  <a:cubicBezTo>
                    <a:pt x="171" y="88"/>
                    <a:pt x="171" y="88"/>
                    <a:pt x="171" y="88"/>
                  </a:cubicBezTo>
                  <a:cubicBezTo>
                    <a:pt x="171" y="83"/>
                    <a:pt x="171" y="83"/>
                    <a:pt x="171" y="83"/>
                  </a:cubicBezTo>
                  <a:cubicBezTo>
                    <a:pt x="169" y="81"/>
                    <a:pt x="169" y="81"/>
                    <a:pt x="169" y="81"/>
                  </a:cubicBezTo>
                  <a:cubicBezTo>
                    <a:pt x="166" y="77"/>
                    <a:pt x="166" y="77"/>
                    <a:pt x="166" y="77"/>
                  </a:cubicBezTo>
                  <a:cubicBezTo>
                    <a:pt x="172" y="74"/>
                    <a:pt x="172" y="74"/>
                    <a:pt x="172" y="74"/>
                  </a:cubicBezTo>
                  <a:cubicBezTo>
                    <a:pt x="172" y="74"/>
                    <a:pt x="175" y="71"/>
                    <a:pt x="178" y="71"/>
                  </a:cubicBezTo>
                  <a:cubicBezTo>
                    <a:pt x="181" y="71"/>
                    <a:pt x="183" y="68"/>
                    <a:pt x="183" y="68"/>
                  </a:cubicBezTo>
                  <a:cubicBezTo>
                    <a:pt x="183" y="68"/>
                    <a:pt x="186" y="66"/>
                    <a:pt x="187" y="65"/>
                  </a:cubicBezTo>
                  <a:cubicBezTo>
                    <a:pt x="188" y="65"/>
                    <a:pt x="190" y="65"/>
                    <a:pt x="191" y="64"/>
                  </a:cubicBezTo>
                  <a:cubicBezTo>
                    <a:pt x="192" y="64"/>
                    <a:pt x="195" y="63"/>
                    <a:pt x="194" y="63"/>
                  </a:cubicBezTo>
                  <a:cubicBezTo>
                    <a:pt x="194" y="62"/>
                    <a:pt x="196" y="57"/>
                    <a:pt x="196" y="57"/>
                  </a:cubicBezTo>
                  <a:cubicBezTo>
                    <a:pt x="197" y="56"/>
                    <a:pt x="199" y="60"/>
                    <a:pt x="201" y="60"/>
                  </a:cubicBezTo>
                  <a:cubicBezTo>
                    <a:pt x="202" y="60"/>
                    <a:pt x="204" y="61"/>
                    <a:pt x="204" y="61"/>
                  </a:cubicBezTo>
                  <a:cubicBezTo>
                    <a:pt x="206" y="60"/>
                    <a:pt x="207" y="57"/>
                    <a:pt x="207" y="57"/>
                  </a:cubicBezTo>
                  <a:cubicBezTo>
                    <a:pt x="207" y="57"/>
                    <a:pt x="208" y="56"/>
                    <a:pt x="211" y="55"/>
                  </a:cubicBezTo>
                  <a:cubicBezTo>
                    <a:pt x="211" y="55"/>
                    <a:pt x="211" y="55"/>
                    <a:pt x="211" y="55"/>
                  </a:cubicBezTo>
                  <a:cubicBezTo>
                    <a:pt x="211" y="55"/>
                    <a:pt x="209" y="54"/>
                    <a:pt x="209" y="54"/>
                  </a:cubicBezTo>
                  <a:cubicBezTo>
                    <a:pt x="209" y="54"/>
                    <a:pt x="209" y="53"/>
                    <a:pt x="210" y="52"/>
                  </a:cubicBezTo>
                  <a:cubicBezTo>
                    <a:pt x="210" y="52"/>
                    <a:pt x="210" y="51"/>
                    <a:pt x="210" y="51"/>
                  </a:cubicBezTo>
                  <a:cubicBezTo>
                    <a:pt x="210" y="51"/>
                    <a:pt x="211" y="49"/>
                    <a:pt x="211" y="49"/>
                  </a:cubicBezTo>
                  <a:cubicBezTo>
                    <a:pt x="211" y="49"/>
                    <a:pt x="211" y="49"/>
                    <a:pt x="211" y="48"/>
                  </a:cubicBezTo>
                  <a:cubicBezTo>
                    <a:pt x="211" y="48"/>
                    <a:pt x="210" y="47"/>
                    <a:pt x="210" y="47"/>
                  </a:cubicBezTo>
                  <a:cubicBezTo>
                    <a:pt x="210" y="47"/>
                    <a:pt x="210" y="47"/>
                    <a:pt x="209" y="47"/>
                  </a:cubicBezTo>
                  <a:cubicBezTo>
                    <a:pt x="209" y="47"/>
                    <a:pt x="209" y="48"/>
                    <a:pt x="209" y="48"/>
                  </a:cubicBezTo>
                  <a:cubicBezTo>
                    <a:pt x="207" y="48"/>
                    <a:pt x="207" y="48"/>
                    <a:pt x="207" y="48"/>
                  </a:cubicBezTo>
                  <a:cubicBezTo>
                    <a:pt x="207" y="48"/>
                    <a:pt x="207" y="47"/>
                    <a:pt x="207" y="47"/>
                  </a:cubicBezTo>
                  <a:cubicBezTo>
                    <a:pt x="206" y="47"/>
                    <a:pt x="205" y="47"/>
                    <a:pt x="206" y="46"/>
                  </a:cubicBezTo>
                  <a:cubicBezTo>
                    <a:pt x="206" y="46"/>
                    <a:pt x="206" y="45"/>
                    <a:pt x="206" y="45"/>
                  </a:cubicBezTo>
                  <a:cubicBezTo>
                    <a:pt x="206" y="45"/>
                    <a:pt x="206" y="45"/>
                    <a:pt x="206" y="44"/>
                  </a:cubicBezTo>
                  <a:cubicBezTo>
                    <a:pt x="206" y="44"/>
                    <a:pt x="207" y="43"/>
                    <a:pt x="208" y="43"/>
                  </a:cubicBezTo>
                  <a:cubicBezTo>
                    <a:pt x="208" y="42"/>
                    <a:pt x="210" y="41"/>
                    <a:pt x="210" y="41"/>
                  </a:cubicBezTo>
                  <a:cubicBezTo>
                    <a:pt x="211" y="39"/>
                    <a:pt x="211" y="39"/>
                    <a:pt x="211" y="39"/>
                  </a:cubicBezTo>
                  <a:cubicBezTo>
                    <a:pt x="210" y="38"/>
                    <a:pt x="210" y="38"/>
                    <a:pt x="210" y="38"/>
                  </a:cubicBezTo>
                  <a:cubicBezTo>
                    <a:pt x="210" y="38"/>
                    <a:pt x="209" y="39"/>
                    <a:pt x="209" y="39"/>
                  </a:cubicBezTo>
                  <a:cubicBezTo>
                    <a:pt x="207" y="38"/>
                    <a:pt x="207" y="38"/>
                    <a:pt x="207" y="38"/>
                  </a:cubicBezTo>
                  <a:cubicBezTo>
                    <a:pt x="205" y="37"/>
                    <a:pt x="205" y="37"/>
                    <a:pt x="205" y="37"/>
                  </a:cubicBezTo>
                  <a:cubicBezTo>
                    <a:pt x="204" y="37"/>
                    <a:pt x="204" y="37"/>
                    <a:pt x="204" y="37"/>
                  </a:cubicBezTo>
                  <a:cubicBezTo>
                    <a:pt x="202" y="36"/>
                    <a:pt x="202" y="36"/>
                    <a:pt x="202" y="36"/>
                  </a:cubicBezTo>
                  <a:cubicBezTo>
                    <a:pt x="202" y="34"/>
                    <a:pt x="202" y="34"/>
                    <a:pt x="202" y="34"/>
                  </a:cubicBezTo>
                  <a:cubicBezTo>
                    <a:pt x="203" y="33"/>
                    <a:pt x="203" y="33"/>
                    <a:pt x="203" y="33"/>
                  </a:cubicBezTo>
                  <a:cubicBezTo>
                    <a:pt x="203" y="33"/>
                    <a:pt x="204" y="31"/>
                    <a:pt x="204" y="31"/>
                  </a:cubicBezTo>
                  <a:cubicBezTo>
                    <a:pt x="205" y="30"/>
                    <a:pt x="207" y="29"/>
                    <a:pt x="207" y="29"/>
                  </a:cubicBezTo>
                  <a:cubicBezTo>
                    <a:pt x="208" y="27"/>
                    <a:pt x="208" y="27"/>
                    <a:pt x="208" y="27"/>
                  </a:cubicBezTo>
                  <a:cubicBezTo>
                    <a:pt x="208" y="27"/>
                    <a:pt x="208" y="27"/>
                    <a:pt x="209" y="27"/>
                  </a:cubicBezTo>
                  <a:cubicBezTo>
                    <a:pt x="210" y="27"/>
                    <a:pt x="210" y="27"/>
                    <a:pt x="210" y="27"/>
                  </a:cubicBezTo>
                  <a:cubicBezTo>
                    <a:pt x="210" y="27"/>
                    <a:pt x="211" y="25"/>
                    <a:pt x="211" y="24"/>
                  </a:cubicBezTo>
                  <a:cubicBezTo>
                    <a:pt x="211" y="22"/>
                    <a:pt x="211" y="22"/>
                    <a:pt x="211" y="22"/>
                  </a:cubicBezTo>
                  <a:cubicBezTo>
                    <a:pt x="206" y="23"/>
                    <a:pt x="206" y="23"/>
                    <a:pt x="206" y="23"/>
                  </a:cubicBezTo>
                  <a:cubicBezTo>
                    <a:pt x="206" y="23"/>
                    <a:pt x="203" y="22"/>
                    <a:pt x="200" y="22"/>
                  </a:cubicBezTo>
                  <a:cubicBezTo>
                    <a:pt x="197" y="22"/>
                    <a:pt x="191" y="21"/>
                    <a:pt x="191" y="21"/>
                  </a:cubicBezTo>
                  <a:cubicBezTo>
                    <a:pt x="183" y="18"/>
                    <a:pt x="183" y="18"/>
                    <a:pt x="183" y="18"/>
                  </a:cubicBezTo>
                  <a:cubicBezTo>
                    <a:pt x="178" y="18"/>
                    <a:pt x="178" y="18"/>
                    <a:pt x="178" y="18"/>
                  </a:cubicBezTo>
                  <a:cubicBezTo>
                    <a:pt x="171" y="17"/>
                    <a:pt x="171" y="17"/>
                    <a:pt x="171" y="17"/>
                  </a:cubicBezTo>
                  <a:cubicBezTo>
                    <a:pt x="171" y="17"/>
                    <a:pt x="170" y="15"/>
                    <a:pt x="169" y="15"/>
                  </a:cubicBezTo>
                  <a:cubicBezTo>
                    <a:pt x="169" y="14"/>
                    <a:pt x="167" y="13"/>
                    <a:pt x="167" y="13"/>
                  </a:cubicBezTo>
                  <a:cubicBezTo>
                    <a:pt x="167" y="10"/>
                    <a:pt x="167" y="10"/>
                    <a:pt x="167" y="10"/>
                  </a:cubicBezTo>
                  <a:cubicBezTo>
                    <a:pt x="164" y="7"/>
                    <a:pt x="164" y="7"/>
                    <a:pt x="164" y="7"/>
                  </a:cubicBezTo>
                  <a:cubicBezTo>
                    <a:pt x="163" y="4"/>
                    <a:pt x="163" y="4"/>
                    <a:pt x="163" y="4"/>
                  </a:cubicBezTo>
                  <a:cubicBezTo>
                    <a:pt x="165" y="2"/>
                    <a:pt x="165" y="2"/>
                    <a:pt x="165" y="2"/>
                  </a:cubicBezTo>
                  <a:cubicBezTo>
                    <a:pt x="163" y="0"/>
                    <a:pt x="163" y="0"/>
                    <a:pt x="163" y="0"/>
                  </a:cubicBezTo>
                  <a:cubicBezTo>
                    <a:pt x="163" y="0"/>
                    <a:pt x="160" y="1"/>
                    <a:pt x="159" y="1"/>
                  </a:cubicBezTo>
                  <a:cubicBezTo>
                    <a:pt x="158" y="2"/>
                    <a:pt x="152" y="3"/>
                    <a:pt x="152" y="3"/>
                  </a:cubicBezTo>
                  <a:cubicBezTo>
                    <a:pt x="151" y="4"/>
                    <a:pt x="151" y="4"/>
                    <a:pt x="151" y="4"/>
                  </a:cubicBezTo>
                  <a:cubicBezTo>
                    <a:pt x="145" y="4"/>
                    <a:pt x="145" y="4"/>
                    <a:pt x="145" y="4"/>
                  </a:cubicBezTo>
                  <a:cubicBezTo>
                    <a:pt x="138" y="4"/>
                    <a:pt x="138" y="4"/>
                    <a:pt x="138" y="4"/>
                  </a:cubicBezTo>
                  <a:cubicBezTo>
                    <a:pt x="136" y="6"/>
                    <a:pt x="136" y="6"/>
                    <a:pt x="136" y="6"/>
                  </a:cubicBezTo>
                  <a:cubicBezTo>
                    <a:pt x="131" y="8"/>
                    <a:pt x="131" y="8"/>
                    <a:pt x="131" y="8"/>
                  </a:cubicBezTo>
                  <a:cubicBezTo>
                    <a:pt x="131" y="12"/>
                    <a:pt x="131" y="12"/>
                    <a:pt x="131" y="12"/>
                  </a:cubicBezTo>
                  <a:cubicBezTo>
                    <a:pt x="128" y="15"/>
                    <a:pt x="128" y="15"/>
                    <a:pt x="128" y="15"/>
                  </a:cubicBezTo>
                  <a:cubicBezTo>
                    <a:pt x="125" y="14"/>
                    <a:pt x="125" y="14"/>
                    <a:pt x="125" y="14"/>
                  </a:cubicBezTo>
                  <a:cubicBezTo>
                    <a:pt x="121" y="12"/>
                    <a:pt x="121" y="12"/>
                    <a:pt x="121" y="12"/>
                  </a:cubicBezTo>
                  <a:cubicBezTo>
                    <a:pt x="119" y="13"/>
                    <a:pt x="119" y="13"/>
                    <a:pt x="119" y="13"/>
                  </a:cubicBezTo>
                  <a:cubicBezTo>
                    <a:pt x="115" y="12"/>
                    <a:pt x="115" y="12"/>
                    <a:pt x="115" y="12"/>
                  </a:cubicBezTo>
                  <a:cubicBezTo>
                    <a:pt x="114" y="12"/>
                    <a:pt x="114" y="12"/>
                    <a:pt x="114" y="12"/>
                  </a:cubicBezTo>
                  <a:cubicBezTo>
                    <a:pt x="114" y="12"/>
                    <a:pt x="114" y="12"/>
                    <a:pt x="114" y="12"/>
                  </a:cubicBezTo>
                  <a:cubicBezTo>
                    <a:pt x="114" y="13"/>
                    <a:pt x="113" y="14"/>
                    <a:pt x="113" y="14"/>
                  </a:cubicBezTo>
                  <a:cubicBezTo>
                    <a:pt x="113" y="15"/>
                    <a:pt x="113" y="15"/>
                    <a:pt x="113" y="15"/>
                  </a:cubicBezTo>
                  <a:cubicBezTo>
                    <a:pt x="113" y="16"/>
                    <a:pt x="113" y="16"/>
                    <a:pt x="113" y="16"/>
                  </a:cubicBezTo>
                  <a:cubicBezTo>
                    <a:pt x="113" y="17"/>
                    <a:pt x="113" y="17"/>
                    <a:pt x="113" y="17"/>
                  </a:cubicBezTo>
                  <a:cubicBezTo>
                    <a:pt x="113" y="17"/>
                    <a:pt x="112" y="18"/>
                    <a:pt x="112" y="18"/>
                  </a:cubicBezTo>
                  <a:cubicBezTo>
                    <a:pt x="111" y="19"/>
                    <a:pt x="112" y="20"/>
                    <a:pt x="112" y="20"/>
                  </a:cubicBezTo>
                  <a:cubicBezTo>
                    <a:pt x="112" y="20"/>
                    <a:pt x="113" y="21"/>
                    <a:pt x="115" y="22"/>
                  </a:cubicBezTo>
                  <a:cubicBezTo>
                    <a:pt x="116" y="22"/>
                    <a:pt x="115" y="22"/>
                    <a:pt x="115" y="22"/>
                  </a:cubicBezTo>
                  <a:cubicBezTo>
                    <a:pt x="115" y="23"/>
                    <a:pt x="115" y="23"/>
                    <a:pt x="115" y="24"/>
                  </a:cubicBezTo>
                  <a:cubicBezTo>
                    <a:pt x="114" y="24"/>
                    <a:pt x="114" y="24"/>
                    <a:pt x="114" y="24"/>
                  </a:cubicBezTo>
                  <a:cubicBezTo>
                    <a:pt x="113" y="24"/>
                    <a:pt x="113" y="24"/>
                    <a:pt x="113" y="24"/>
                  </a:cubicBezTo>
                  <a:cubicBezTo>
                    <a:pt x="113" y="24"/>
                    <a:pt x="111" y="25"/>
                    <a:pt x="111" y="25"/>
                  </a:cubicBezTo>
                  <a:cubicBezTo>
                    <a:pt x="111" y="25"/>
                    <a:pt x="111" y="25"/>
                    <a:pt x="111" y="24"/>
                  </a:cubicBezTo>
                  <a:cubicBezTo>
                    <a:pt x="110" y="24"/>
                    <a:pt x="110" y="24"/>
                    <a:pt x="110" y="24"/>
                  </a:cubicBezTo>
                  <a:cubicBezTo>
                    <a:pt x="110" y="24"/>
                    <a:pt x="108" y="23"/>
                    <a:pt x="108" y="23"/>
                  </a:cubicBezTo>
                  <a:cubicBezTo>
                    <a:pt x="108" y="22"/>
                    <a:pt x="108" y="22"/>
                    <a:pt x="108" y="22"/>
                  </a:cubicBezTo>
                  <a:cubicBezTo>
                    <a:pt x="108" y="22"/>
                    <a:pt x="107" y="21"/>
                    <a:pt x="107" y="21"/>
                  </a:cubicBezTo>
                  <a:cubicBezTo>
                    <a:pt x="106" y="22"/>
                    <a:pt x="106" y="22"/>
                    <a:pt x="106" y="22"/>
                  </a:cubicBezTo>
                  <a:cubicBezTo>
                    <a:pt x="105" y="22"/>
                    <a:pt x="105" y="22"/>
                    <a:pt x="104" y="22"/>
                  </a:cubicBezTo>
                  <a:cubicBezTo>
                    <a:pt x="104" y="22"/>
                    <a:pt x="104" y="23"/>
                    <a:pt x="103" y="23"/>
                  </a:cubicBezTo>
                  <a:cubicBezTo>
                    <a:pt x="103" y="23"/>
                    <a:pt x="103" y="24"/>
                    <a:pt x="103" y="24"/>
                  </a:cubicBezTo>
                  <a:cubicBezTo>
                    <a:pt x="102" y="24"/>
                    <a:pt x="102" y="25"/>
                    <a:pt x="102" y="25"/>
                  </a:cubicBezTo>
                  <a:cubicBezTo>
                    <a:pt x="102" y="26"/>
                    <a:pt x="102" y="26"/>
                    <a:pt x="102" y="26"/>
                  </a:cubicBezTo>
                  <a:cubicBezTo>
                    <a:pt x="102" y="27"/>
                    <a:pt x="102" y="27"/>
                    <a:pt x="102" y="27"/>
                  </a:cubicBezTo>
                  <a:cubicBezTo>
                    <a:pt x="102" y="28"/>
                    <a:pt x="102" y="28"/>
                    <a:pt x="102" y="28"/>
                  </a:cubicBezTo>
                  <a:cubicBezTo>
                    <a:pt x="102" y="28"/>
                    <a:pt x="102" y="29"/>
                    <a:pt x="102" y="29"/>
                  </a:cubicBezTo>
                  <a:cubicBezTo>
                    <a:pt x="102" y="30"/>
                    <a:pt x="102" y="30"/>
                    <a:pt x="102" y="30"/>
                  </a:cubicBezTo>
                  <a:cubicBezTo>
                    <a:pt x="103" y="30"/>
                    <a:pt x="104" y="30"/>
                    <a:pt x="104" y="30"/>
                  </a:cubicBezTo>
                  <a:cubicBezTo>
                    <a:pt x="104" y="30"/>
                    <a:pt x="104" y="31"/>
                    <a:pt x="105" y="31"/>
                  </a:cubicBezTo>
                  <a:cubicBezTo>
                    <a:pt x="105" y="32"/>
                    <a:pt x="105" y="32"/>
                    <a:pt x="105" y="32"/>
                  </a:cubicBezTo>
                  <a:cubicBezTo>
                    <a:pt x="105" y="32"/>
                    <a:pt x="104" y="33"/>
                    <a:pt x="104" y="33"/>
                  </a:cubicBezTo>
                  <a:cubicBezTo>
                    <a:pt x="103" y="33"/>
                    <a:pt x="103" y="33"/>
                    <a:pt x="104" y="34"/>
                  </a:cubicBezTo>
                  <a:cubicBezTo>
                    <a:pt x="104" y="35"/>
                    <a:pt x="104" y="35"/>
                    <a:pt x="105" y="35"/>
                  </a:cubicBezTo>
                  <a:cubicBezTo>
                    <a:pt x="105" y="35"/>
                    <a:pt x="106" y="37"/>
                    <a:pt x="106" y="38"/>
                  </a:cubicBezTo>
                  <a:cubicBezTo>
                    <a:pt x="106" y="38"/>
                    <a:pt x="105" y="39"/>
                    <a:pt x="105" y="39"/>
                  </a:cubicBezTo>
                  <a:cubicBezTo>
                    <a:pt x="105" y="39"/>
                    <a:pt x="105" y="39"/>
                    <a:pt x="104" y="39"/>
                  </a:cubicBezTo>
                  <a:cubicBezTo>
                    <a:pt x="104" y="39"/>
                    <a:pt x="104" y="39"/>
                    <a:pt x="104" y="39"/>
                  </a:cubicBezTo>
                  <a:cubicBezTo>
                    <a:pt x="103" y="40"/>
                    <a:pt x="102" y="39"/>
                    <a:pt x="102" y="39"/>
                  </a:cubicBezTo>
                  <a:cubicBezTo>
                    <a:pt x="102" y="39"/>
                    <a:pt x="103" y="38"/>
                    <a:pt x="103" y="38"/>
                  </a:cubicBezTo>
                  <a:cubicBezTo>
                    <a:pt x="102" y="37"/>
                    <a:pt x="101" y="37"/>
                    <a:pt x="101" y="36"/>
                  </a:cubicBezTo>
                  <a:cubicBezTo>
                    <a:pt x="100" y="35"/>
                    <a:pt x="101" y="35"/>
                    <a:pt x="101" y="35"/>
                  </a:cubicBezTo>
                  <a:cubicBezTo>
                    <a:pt x="101" y="35"/>
                    <a:pt x="101" y="35"/>
                    <a:pt x="100" y="34"/>
                  </a:cubicBezTo>
                  <a:cubicBezTo>
                    <a:pt x="99" y="33"/>
                    <a:pt x="99" y="33"/>
                    <a:pt x="99" y="33"/>
                  </a:cubicBezTo>
                  <a:cubicBezTo>
                    <a:pt x="99" y="33"/>
                    <a:pt x="98" y="33"/>
                    <a:pt x="97" y="33"/>
                  </a:cubicBezTo>
                  <a:cubicBezTo>
                    <a:pt x="96" y="33"/>
                    <a:pt x="96" y="33"/>
                    <a:pt x="96" y="33"/>
                  </a:cubicBezTo>
                  <a:cubicBezTo>
                    <a:pt x="95" y="34"/>
                    <a:pt x="95" y="34"/>
                    <a:pt x="95" y="34"/>
                  </a:cubicBezTo>
                  <a:cubicBezTo>
                    <a:pt x="95" y="34"/>
                    <a:pt x="94" y="34"/>
                    <a:pt x="94" y="34"/>
                  </a:cubicBezTo>
                  <a:cubicBezTo>
                    <a:pt x="93" y="35"/>
                    <a:pt x="93" y="34"/>
                    <a:pt x="93" y="34"/>
                  </a:cubicBezTo>
                  <a:cubicBezTo>
                    <a:pt x="92" y="34"/>
                    <a:pt x="92" y="34"/>
                    <a:pt x="92" y="34"/>
                  </a:cubicBezTo>
                  <a:cubicBezTo>
                    <a:pt x="91" y="34"/>
                    <a:pt x="91" y="35"/>
                    <a:pt x="92" y="36"/>
                  </a:cubicBezTo>
                  <a:cubicBezTo>
                    <a:pt x="92" y="36"/>
                    <a:pt x="91" y="36"/>
                    <a:pt x="91" y="37"/>
                  </a:cubicBezTo>
                  <a:cubicBezTo>
                    <a:pt x="91" y="37"/>
                    <a:pt x="90" y="37"/>
                    <a:pt x="88" y="37"/>
                  </a:cubicBezTo>
                  <a:cubicBezTo>
                    <a:pt x="86" y="36"/>
                    <a:pt x="87" y="36"/>
                    <a:pt x="86" y="36"/>
                  </a:cubicBezTo>
                  <a:cubicBezTo>
                    <a:pt x="86" y="35"/>
                    <a:pt x="85" y="35"/>
                    <a:pt x="85" y="34"/>
                  </a:cubicBezTo>
                  <a:cubicBezTo>
                    <a:pt x="85" y="33"/>
                    <a:pt x="85" y="32"/>
                    <a:pt x="84" y="32"/>
                  </a:cubicBezTo>
                  <a:cubicBezTo>
                    <a:pt x="84" y="31"/>
                    <a:pt x="84" y="30"/>
                    <a:pt x="83" y="30"/>
                  </a:cubicBezTo>
                  <a:cubicBezTo>
                    <a:pt x="83" y="29"/>
                    <a:pt x="84" y="29"/>
                    <a:pt x="84" y="28"/>
                  </a:cubicBezTo>
                  <a:cubicBezTo>
                    <a:pt x="85" y="28"/>
                    <a:pt x="83" y="27"/>
                    <a:pt x="83" y="27"/>
                  </a:cubicBezTo>
                  <a:cubicBezTo>
                    <a:pt x="82" y="28"/>
                    <a:pt x="82" y="28"/>
                    <a:pt x="82" y="28"/>
                  </a:cubicBezTo>
                  <a:cubicBezTo>
                    <a:pt x="81" y="28"/>
                    <a:pt x="81" y="28"/>
                    <a:pt x="81" y="28"/>
                  </a:cubicBezTo>
                  <a:cubicBezTo>
                    <a:pt x="81" y="28"/>
                    <a:pt x="80" y="28"/>
                    <a:pt x="80" y="27"/>
                  </a:cubicBezTo>
                  <a:cubicBezTo>
                    <a:pt x="80" y="27"/>
                    <a:pt x="79" y="27"/>
                    <a:pt x="79" y="27"/>
                  </a:cubicBezTo>
                  <a:cubicBezTo>
                    <a:pt x="78" y="29"/>
                    <a:pt x="78" y="29"/>
                    <a:pt x="78" y="29"/>
                  </a:cubicBezTo>
                  <a:cubicBezTo>
                    <a:pt x="78" y="30"/>
                    <a:pt x="78" y="30"/>
                    <a:pt x="78" y="30"/>
                  </a:cubicBezTo>
                  <a:cubicBezTo>
                    <a:pt x="78" y="31"/>
                    <a:pt x="78" y="31"/>
                    <a:pt x="78" y="31"/>
                  </a:cubicBezTo>
                  <a:cubicBezTo>
                    <a:pt x="78" y="33"/>
                    <a:pt x="78" y="33"/>
                    <a:pt x="78" y="33"/>
                  </a:cubicBezTo>
                  <a:cubicBezTo>
                    <a:pt x="78" y="33"/>
                    <a:pt x="78" y="34"/>
                    <a:pt x="78" y="34"/>
                  </a:cubicBezTo>
                  <a:cubicBezTo>
                    <a:pt x="78" y="35"/>
                    <a:pt x="78" y="36"/>
                    <a:pt x="78" y="36"/>
                  </a:cubicBezTo>
                  <a:cubicBezTo>
                    <a:pt x="78" y="37"/>
                    <a:pt x="78" y="37"/>
                    <a:pt x="78" y="37"/>
                  </a:cubicBezTo>
                  <a:cubicBezTo>
                    <a:pt x="78" y="37"/>
                    <a:pt x="77" y="38"/>
                    <a:pt x="77" y="38"/>
                  </a:cubicBezTo>
                  <a:cubicBezTo>
                    <a:pt x="77" y="38"/>
                    <a:pt x="77" y="39"/>
                    <a:pt x="77" y="40"/>
                  </a:cubicBezTo>
                  <a:cubicBezTo>
                    <a:pt x="77" y="40"/>
                    <a:pt x="76" y="41"/>
                    <a:pt x="76" y="41"/>
                  </a:cubicBezTo>
                  <a:cubicBezTo>
                    <a:pt x="76" y="41"/>
                    <a:pt x="76" y="42"/>
                    <a:pt x="76" y="42"/>
                  </a:cubicBezTo>
                  <a:cubicBezTo>
                    <a:pt x="76" y="42"/>
                    <a:pt x="74" y="42"/>
                    <a:pt x="74" y="42"/>
                  </a:cubicBezTo>
                  <a:cubicBezTo>
                    <a:pt x="74" y="42"/>
                    <a:pt x="73" y="44"/>
                    <a:pt x="73" y="44"/>
                  </a:cubicBezTo>
                  <a:cubicBezTo>
                    <a:pt x="72" y="44"/>
                    <a:pt x="73" y="45"/>
                    <a:pt x="73" y="46"/>
                  </a:cubicBezTo>
                  <a:cubicBezTo>
                    <a:pt x="73" y="46"/>
                    <a:pt x="72" y="47"/>
                    <a:pt x="72" y="47"/>
                  </a:cubicBezTo>
                  <a:cubicBezTo>
                    <a:pt x="71" y="48"/>
                    <a:pt x="71" y="48"/>
                    <a:pt x="71" y="48"/>
                  </a:cubicBezTo>
                  <a:cubicBezTo>
                    <a:pt x="71" y="48"/>
                    <a:pt x="71" y="49"/>
                    <a:pt x="71" y="49"/>
                  </a:cubicBezTo>
                  <a:cubicBezTo>
                    <a:pt x="71" y="50"/>
                    <a:pt x="71" y="50"/>
                    <a:pt x="71" y="50"/>
                  </a:cubicBezTo>
                  <a:cubicBezTo>
                    <a:pt x="70" y="51"/>
                    <a:pt x="71" y="51"/>
                    <a:pt x="70" y="52"/>
                  </a:cubicBezTo>
                  <a:cubicBezTo>
                    <a:pt x="70" y="52"/>
                    <a:pt x="71" y="52"/>
                    <a:pt x="71" y="53"/>
                  </a:cubicBezTo>
                  <a:cubicBezTo>
                    <a:pt x="71" y="53"/>
                    <a:pt x="73" y="54"/>
                    <a:pt x="73" y="54"/>
                  </a:cubicBezTo>
                  <a:cubicBezTo>
                    <a:pt x="73" y="54"/>
                    <a:pt x="73" y="54"/>
                    <a:pt x="72" y="55"/>
                  </a:cubicBezTo>
                  <a:cubicBezTo>
                    <a:pt x="71" y="56"/>
                    <a:pt x="72" y="57"/>
                    <a:pt x="72" y="57"/>
                  </a:cubicBezTo>
                  <a:cubicBezTo>
                    <a:pt x="71" y="58"/>
                    <a:pt x="71" y="58"/>
                    <a:pt x="71" y="58"/>
                  </a:cubicBezTo>
                  <a:cubicBezTo>
                    <a:pt x="71" y="58"/>
                    <a:pt x="70" y="57"/>
                    <a:pt x="69" y="57"/>
                  </a:cubicBezTo>
                  <a:cubicBezTo>
                    <a:pt x="69" y="57"/>
                    <a:pt x="69" y="58"/>
                    <a:pt x="68" y="57"/>
                  </a:cubicBezTo>
                  <a:cubicBezTo>
                    <a:pt x="66" y="57"/>
                    <a:pt x="68" y="56"/>
                    <a:pt x="68" y="56"/>
                  </a:cubicBezTo>
                  <a:cubicBezTo>
                    <a:pt x="68" y="56"/>
                    <a:pt x="68" y="55"/>
                    <a:pt x="68" y="54"/>
                  </a:cubicBezTo>
                  <a:cubicBezTo>
                    <a:pt x="68" y="54"/>
                    <a:pt x="68" y="54"/>
                    <a:pt x="68" y="54"/>
                  </a:cubicBezTo>
                  <a:cubicBezTo>
                    <a:pt x="68" y="54"/>
                    <a:pt x="67" y="53"/>
                    <a:pt x="67" y="52"/>
                  </a:cubicBezTo>
                  <a:cubicBezTo>
                    <a:pt x="67" y="51"/>
                    <a:pt x="66" y="52"/>
                    <a:pt x="66" y="52"/>
                  </a:cubicBezTo>
                  <a:cubicBezTo>
                    <a:pt x="64" y="50"/>
                    <a:pt x="64" y="50"/>
                    <a:pt x="64" y="50"/>
                  </a:cubicBezTo>
                  <a:cubicBezTo>
                    <a:pt x="64" y="50"/>
                    <a:pt x="65" y="48"/>
                    <a:pt x="65" y="48"/>
                  </a:cubicBezTo>
                  <a:cubicBezTo>
                    <a:pt x="65" y="48"/>
                    <a:pt x="65" y="48"/>
                    <a:pt x="65" y="48"/>
                  </a:cubicBezTo>
                  <a:cubicBezTo>
                    <a:pt x="65" y="48"/>
                    <a:pt x="65" y="47"/>
                    <a:pt x="66" y="47"/>
                  </a:cubicBezTo>
                  <a:cubicBezTo>
                    <a:pt x="66" y="46"/>
                    <a:pt x="65" y="46"/>
                    <a:pt x="65" y="46"/>
                  </a:cubicBezTo>
                  <a:cubicBezTo>
                    <a:pt x="64" y="46"/>
                    <a:pt x="64" y="46"/>
                    <a:pt x="64" y="46"/>
                  </a:cubicBezTo>
                  <a:cubicBezTo>
                    <a:pt x="63" y="45"/>
                    <a:pt x="63" y="45"/>
                    <a:pt x="63" y="45"/>
                  </a:cubicBezTo>
                  <a:cubicBezTo>
                    <a:pt x="63" y="45"/>
                    <a:pt x="62" y="46"/>
                    <a:pt x="62" y="46"/>
                  </a:cubicBezTo>
                  <a:cubicBezTo>
                    <a:pt x="61" y="46"/>
                    <a:pt x="60" y="45"/>
                    <a:pt x="60" y="45"/>
                  </a:cubicBezTo>
                  <a:cubicBezTo>
                    <a:pt x="60" y="44"/>
                    <a:pt x="59" y="45"/>
                    <a:pt x="58" y="44"/>
                  </a:cubicBezTo>
                  <a:cubicBezTo>
                    <a:pt x="58" y="44"/>
                    <a:pt x="57" y="44"/>
                    <a:pt x="57" y="44"/>
                  </a:cubicBezTo>
                  <a:cubicBezTo>
                    <a:pt x="57" y="44"/>
                    <a:pt x="56" y="43"/>
                    <a:pt x="56" y="43"/>
                  </a:cubicBezTo>
                  <a:cubicBezTo>
                    <a:pt x="56" y="42"/>
                    <a:pt x="55" y="41"/>
                    <a:pt x="55" y="41"/>
                  </a:cubicBezTo>
                  <a:cubicBezTo>
                    <a:pt x="54" y="41"/>
                    <a:pt x="54" y="41"/>
                    <a:pt x="54" y="41"/>
                  </a:cubicBezTo>
                  <a:cubicBezTo>
                    <a:pt x="54" y="41"/>
                    <a:pt x="53" y="40"/>
                    <a:pt x="52" y="40"/>
                  </a:cubicBezTo>
                  <a:cubicBezTo>
                    <a:pt x="52" y="40"/>
                    <a:pt x="53" y="39"/>
                    <a:pt x="53" y="39"/>
                  </a:cubicBezTo>
                  <a:cubicBezTo>
                    <a:pt x="52" y="38"/>
                    <a:pt x="52" y="38"/>
                    <a:pt x="52" y="38"/>
                  </a:cubicBezTo>
                  <a:cubicBezTo>
                    <a:pt x="52" y="38"/>
                    <a:pt x="52" y="37"/>
                    <a:pt x="52" y="37"/>
                  </a:cubicBezTo>
                  <a:cubicBezTo>
                    <a:pt x="52" y="36"/>
                    <a:pt x="52" y="35"/>
                    <a:pt x="52" y="35"/>
                  </a:cubicBezTo>
                  <a:cubicBezTo>
                    <a:pt x="52" y="35"/>
                    <a:pt x="52" y="33"/>
                    <a:pt x="52" y="33"/>
                  </a:cubicBezTo>
                  <a:cubicBezTo>
                    <a:pt x="52" y="32"/>
                    <a:pt x="52" y="30"/>
                    <a:pt x="52" y="30"/>
                  </a:cubicBezTo>
                  <a:cubicBezTo>
                    <a:pt x="52" y="30"/>
                    <a:pt x="49" y="31"/>
                    <a:pt x="48" y="31"/>
                  </a:cubicBezTo>
                  <a:cubicBezTo>
                    <a:pt x="47" y="32"/>
                    <a:pt x="48" y="32"/>
                    <a:pt x="48" y="32"/>
                  </a:cubicBezTo>
                  <a:cubicBezTo>
                    <a:pt x="48" y="32"/>
                    <a:pt x="48" y="34"/>
                    <a:pt x="47" y="34"/>
                  </a:cubicBezTo>
                  <a:cubicBezTo>
                    <a:pt x="47" y="34"/>
                    <a:pt x="46" y="34"/>
                    <a:pt x="46" y="34"/>
                  </a:cubicBezTo>
                  <a:cubicBezTo>
                    <a:pt x="46" y="34"/>
                    <a:pt x="45" y="35"/>
                    <a:pt x="45" y="36"/>
                  </a:cubicBezTo>
                  <a:cubicBezTo>
                    <a:pt x="44" y="36"/>
                    <a:pt x="44" y="36"/>
                    <a:pt x="43" y="37"/>
                  </a:cubicBezTo>
                  <a:cubicBezTo>
                    <a:pt x="43" y="37"/>
                    <a:pt x="42" y="37"/>
                    <a:pt x="42" y="37"/>
                  </a:cubicBezTo>
                  <a:cubicBezTo>
                    <a:pt x="41" y="38"/>
                    <a:pt x="41" y="38"/>
                    <a:pt x="41" y="38"/>
                  </a:cubicBezTo>
                  <a:cubicBezTo>
                    <a:pt x="42" y="39"/>
                    <a:pt x="42" y="39"/>
                    <a:pt x="42" y="39"/>
                  </a:cubicBezTo>
                  <a:cubicBezTo>
                    <a:pt x="43" y="41"/>
                    <a:pt x="43" y="41"/>
                    <a:pt x="43" y="41"/>
                  </a:cubicBezTo>
                  <a:cubicBezTo>
                    <a:pt x="42" y="43"/>
                    <a:pt x="42" y="43"/>
                    <a:pt x="42" y="43"/>
                  </a:cubicBezTo>
                  <a:cubicBezTo>
                    <a:pt x="42" y="43"/>
                    <a:pt x="42" y="43"/>
                    <a:pt x="42" y="44"/>
                  </a:cubicBezTo>
                  <a:cubicBezTo>
                    <a:pt x="41" y="45"/>
                    <a:pt x="41" y="45"/>
                    <a:pt x="41" y="45"/>
                  </a:cubicBezTo>
                  <a:cubicBezTo>
                    <a:pt x="40" y="46"/>
                    <a:pt x="40" y="46"/>
                    <a:pt x="40" y="46"/>
                  </a:cubicBezTo>
                  <a:cubicBezTo>
                    <a:pt x="39" y="47"/>
                    <a:pt x="39" y="47"/>
                    <a:pt x="39" y="47"/>
                  </a:cubicBezTo>
                  <a:cubicBezTo>
                    <a:pt x="39" y="47"/>
                    <a:pt x="39" y="48"/>
                    <a:pt x="39" y="48"/>
                  </a:cubicBezTo>
                  <a:cubicBezTo>
                    <a:pt x="39" y="49"/>
                    <a:pt x="39" y="49"/>
                    <a:pt x="39" y="50"/>
                  </a:cubicBezTo>
                  <a:cubicBezTo>
                    <a:pt x="38" y="51"/>
                    <a:pt x="38" y="51"/>
                    <a:pt x="38" y="51"/>
                  </a:cubicBezTo>
                  <a:cubicBezTo>
                    <a:pt x="38" y="51"/>
                    <a:pt x="37" y="51"/>
                    <a:pt x="36" y="51"/>
                  </a:cubicBezTo>
                  <a:cubicBezTo>
                    <a:pt x="36" y="51"/>
                    <a:pt x="36" y="52"/>
                    <a:pt x="35" y="52"/>
                  </a:cubicBezTo>
                  <a:cubicBezTo>
                    <a:pt x="33" y="52"/>
                    <a:pt x="34" y="53"/>
                    <a:pt x="34" y="53"/>
                  </a:cubicBezTo>
                  <a:cubicBezTo>
                    <a:pt x="34" y="53"/>
                    <a:pt x="34" y="54"/>
                    <a:pt x="34" y="54"/>
                  </a:cubicBezTo>
                  <a:cubicBezTo>
                    <a:pt x="33" y="54"/>
                    <a:pt x="32" y="54"/>
                    <a:pt x="31" y="53"/>
                  </a:cubicBezTo>
                  <a:cubicBezTo>
                    <a:pt x="31" y="53"/>
                    <a:pt x="31" y="53"/>
                    <a:pt x="30" y="54"/>
                  </a:cubicBezTo>
                  <a:cubicBezTo>
                    <a:pt x="30" y="54"/>
                    <a:pt x="29" y="53"/>
                    <a:pt x="29" y="53"/>
                  </a:cubicBezTo>
                  <a:cubicBezTo>
                    <a:pt x="29" y="53"/>
                    <a:pt x="29" y="52"/>
                    <a:pt x="28" y="52"/>
                  </a:cubicBezTo>
                  <a:cubicBezTo>
                    <a:pt x="28" y="51"/>
                    <a:pt x="27" y="52"/>
                    <a:pt x="27" y="51"/>
                  </a:cubicBezTo>
                  <a:cubicBezTo>
                    <a:pt x="26" y="51"/>
                    <a:pt x="25" y="51"/>
                    <a:pt x="24" y="51"/>
                  </a:cubicBezTo>
                  <a:cubicBezTo>
                    <a:pt x="24" y="51"/>
                    <a:pt x="24" y="52"/>
                    <a:pt x="24" y="52"/>
                  </a:cubicBezTo>
                  <a:cubicBezTo>
                    <a:pt x="24" y="52"/>
                    <a:pt x="23" y="52"/>
                    <a:pt x="23" y="52"/>
                  </a:cubicBezTo>
                  <a:cubicBezTo>
                    <a:pt x="22" y="52"/>
                    <a:pt x="22" y="53"/>
                    <a:pt x="22" y="53"/>
                  </a:cubicBezTo>
                  <a:cubicBezTo>
                    <a:pt x="22" y="54"/>
                    <a:pt x="22" y="54"/>
                    <a:pt x="22" y="54"/>
                  </a:cubicBezTo>
                  <a:cubicBezTo>
                    <a:pt x="22" y="54"/>
                    <a:pt x="19" y="54"/>
                    <a:pt x="19" y="54"/>
                  </a:cubicBezTo>
                  <a:cubicBezTo>
                    <a:pt x="18" y="54"/>
                    <a:pt x="17" y="54"/>
                    <a:pt x="16" y="54"/>
                  </a:cubicBezTo>
                  <a:cubicBezTo>
                    <a:pt x="16" y="54"/>
                    <a:pt x="15" y="54"/>
                    <a:pt x="15" y="54"/>
                  </a:cubicBezTo>
                  <a:cubicBezTo>
                    <a:pt x="15" y="54"/>
                    <a:pt x="13" y="55"/>
                    <a:pt x="13" y="55"/>
                  </a:cubicBezTo>
                  <a:cubicBezTo>
                    <a:pt x="13" y="55"/>
                    <a:pt x="12" y="56"/>
                    <a:pt x="11" y="56"/>
                  </a:cubicBezTo>
                  <a:cubicBezTo>
                    <a:pt x="11" y="56"/>
                    <a:pt x="10" y="55"/>
                    <a:pt x="10" y="55"/>
                  </a:cubicBezTo>
                  <a:cubicBezTo>
                    <a:pt x="10" y="55"/>
                    <a:pt x="10" y="55"/>
                    <a:pt x="10" y="55"/>
                  </a:cubicBezTo>
                  <a:cubicBezTo>
                    <a:pt x="7" y="57"/>
                    <a:pt x="7" y="57"/>
                    <a:pt x="7" y="57"/>
                  </a:cubicBezTo>
                  <a:cubicBezTo>
                    <a:pt x="4" y="59"/>
                    <a:pt x="4" y="59"/>
                    <a:pt x="4" y="59"/>
                  </a:cubicBezTo>
                  <a:cubicBezTo>
                    <a:pt x="4" y="61"/>
                    <a:pt x="4" y="61"/>
                    <a:pt x="4" y="61"/>
                  </a:cubicBezTo>
                  <a:cubicBezTo>
                    <a:pt x="5" y="61"/>
                    <a:pt x="5" y="62"/>
                    <a:pt x="6" y="63"/>
                  </a:cubicBezTo>
                  <a:cubicBezTo>
                    <a:pt x="7" y="64"/>
                    <a:pt x="8" y="65"/>
                    <a:pt x="12" y="67"/>
                  </a:cubicBezTo>
                  <a:cubicBezTo>
                    <a:pt x="13" y="67"/>
                    <a:pt x="16" y="71"/>
                    <a:pt x="15" y="73"/>
                  </a:cubicBezTo>
                  <a:cubicBezTo>
                    <a:pt x="15" y="73"/>
                    <a:pt x="14" y="81"/>
                    <a:pt x="12" y="83"/>
                  </a:cubicBezTo>
                  <a:cubicBezTo>
                    <a:pt x="12" y="83"/>
                    <a:pt x="11" y="84"/>
                    <a:pt x="9" y="86"/>
                  </a:cubicBezTo>
                  <a:cubicBezTo>
                    <a:pt x="9" y="87"/>
                    <a:pt x="9" y="87"/>
                    <a:pt x="9" y="87"/>
                  </a:cubicBezTo>
                  <a:cubicBezTo>
                    <a:pt x="5" y="90"/>
                    <a:pt x="4" y="90"/>
                    <a:pt x="3" y="90"/>
                  </a:cubicBezTo>
                  <a:cubicBezTo>
                    <a:pt x="3" y="90"/>
                    <a:pt x="2" y="91"/>
                    <a:pt x="2" y="91"/>
                  </a:cubicBezTo>
                  <a:cubicBezTo>
                    <a:pt x="1" y="91"/>
                    <a:pt x="0" y="91"/>
                    <a:pt x="0" y="91"/>
                  </a:cubicBezTo>
                  <a:cubicBezTo>
                    <a:pt x="0" y="92"/>
                    <a:pt x="1" y="94"/>
                    <a:pt x="1" y="94"/>
                  </a:cubicBezTo>
                  <a:cubicBezTo>
                    <a:pt x="5" y="95"/>
                    <a:pt x="5" y="95"/>
                    <a:pt x="5" y="95"/>
                  </a:cubicBezTo>
                  <a:cubicBezTo>
                    <a:pt x="9" y="99"/>
                    <a:pt x="9" y="99"/>
                    <a:pt x="9" y="99"/>
                  </a:cubicBezTo>
                  <a:cubicBezTo>
                    <a:pt x="10" y="109"/>
                    <a:pt x="10" y="109"/>
                    <a:pt x="10" y="109"/>
                  </a:cubicBezTo>
                  <a:cubicBezTo>
                    <a:pt x="6" y="114"/>
                    <a:pt x="6" y="114"/>
                    <a:pt x="6" y="114"/>
                  </a:cubicBezTo>
                  <a:cubicBezTo>
                    <a:pt x="5" y="115"/>
                    <a:pt x="5" y="115"/>
                    <a:pt x="5" y="116"/>
                  </a:cubicBezTo>
                  <a:cubicBezTo>
                    <a:pt x="5" y="116"/>
                    <a:pt x="5" y="117"/>
                    <a:pt x="5" y="118"/>
                  </a:cubicBezTo>
                  <a:cubicBezTo>
                    <a:pt x="7" y="118"/>
                    <a:pt x="7" y="118"/>
                    <a:pt x="7" y="118"/>
                  </a:cubicBezTo>
                  <a:cubicBezTo>
                    <a:pt x="11" y="124"/>
                    <a:pt x="11" y="124"/>
                    <a:pt x="11" y="124"/>
                  </a:cubicBezTo>
                  <a:cubicBezTo>
                    <a:pt x="18" y="127"/>
                    <a:pt x="18" y="127"/>
                    <a:pt x="18" y="127"/>
                  </a:cubicBezTo>
                  <a:cubicBezTo>
                    <a:pt x="26" y="127"/>
                    <a:pt x="26" y="127"/>
                    <a:pt x="26" y="127"/>
                  </a:cubicBezTo>
                  <a:cubicBezTo>
                    <a:pt x="31" y="131"/>
                    <a:pt x="31" y="131"/>
                    <a:pt x="31" y="131"/>
                  </a:cubicBezTo>
                  <a:cubicBezTo>
                    <a:pt x="28" y="142"/>
                    <a:pt x="28" y="142"/>
                    <a:pt x="28" y="142"/>
                  </a:cubicBezTo>
                  <a:cubicBezTo>
                    <a:pt x="23" y="146"/>
                    <a:pt x="23" y="146"/>
                    <a:pt x="23" y="146"/>
                  </a:cubicBezTo>
                  <a:cubicBezTo>
                    <a:pt x="23" y="146"/>
                    <a:pt x="23" y="146"/>
                    <a:pt x="23" y="146"/>
                  </a:cubicBezTo>
                  <a:cubicBezTo>
                    <a:pt x="25" y="147"/>
                    <a:pt x="25" y="148"/>
                    <a:pt x="27" y="147"/>
                  </a:cubicBezTo>
                  <a:cubicBezTo>
                    <a:pt x="30" y="147"/>
                    <a:pt x="33" y="146"/>
                    <a:pt x="34" y="145"/>
                  </a:cubicBezTo>
                  <a:cubicBezTo>
                    <a:pt x="34" y="144"/>
                    <a:pt x="37" y="142"/>
                    <a:pt x="37" y="141"/>
                  </a:cubicBezTo>
                  <a:cubicBezTo>
                    <a:pt x="38" y="140"/>
                    <a:pt x="43" y="135"/>
                    <a:pt x="43" y="135"/>
                  </a:cubicBezTo>
                  <a:cubicBezTo>
                    <a:pt x="44" y="135"/>
                    <a:pt x="49" y="128"/>
                    <a:pt x="49" y="127"/>
                  </a:cubicBezTo>
                  <a:cubicBezTo>
                    <a:pt x="50" y="127"/>
                    <a:pt x="57" y="121"/>
                    <a:pt x="57" y="121"/>
                  </a:cubicBezTo>
                  <a:cubicBezTo>
                    <a:pt x="65" y="119"/>
                    <a:pt x="65" y="119"/>
                    <a:pt x="65" y="119"/>
                  </a:cubicBezTo>
                  <a:cubicBezTo>
                    <a:pt x="65" y="119"/>
                    <a:pt x="69" y="122"/>
                    <a:pt x="70" y="123"/>
                  </a:cubicBezTo>
                  <a:cubicBezTo>
                    <a:pt x="71" y="123"/>
                    <a:pt x="80" y="128"/>
                    <a:pt x="80" y="128"/>
                  </a:cubicBezTo>
                  <a:cubicBezTo>
                    <a:pt x="80" y="128"/>
                    <a:pt x="85" y="130"/>
                    <a:pt x="86" y="130"/>
                  </a:cubicBezTo>
                  <a:cubicBezTo>
                    <a:pt x="86" y="131"/>
                    <a:pt x="91" y="136"/>
                    <a:pt x="91" y="136"/>
                  </a:cubicBezTo>
                  <a:cubicBezTo>
                    <a:pt x="94" y="137"/>
                    <a:pt x="94" y="137"/>
                    <a:pt x="94" y="137"/>
                  </a:cubicBezTo>
                  <a:cubicBezTo>
                    <a:pt x="96" y="135"/>
                    <a:pt x="96" y="135"/>
                    <a:pt x="96" y="135"/>
                  </a:cubicBezTo>
                  <a:cubicBezTo>
                    <a:pt x="100" y="136"/>
                    <a:pt x="100" y="136"/>
                    <a:pt x="100" y="136"/>
                  </a:cubicBezTo>
                  <a:cubicBezTo>
                    <a:pt x="105" y="139"/>
                    <a:pt x="105" y="139"/>
                    <a:pt x="105" y="139"/>
                  </a:cubicBezTo>
                  <a:cubicBezTo>
                    <a:pt x="108" y="144"/>
                    <a:pt x="108" y="144"/>
                    <a:pt x="108" y="144"/>
                  </a:cubicBezTo>
                  <a:cubicBezTo>
                    <a:pt x="108" y="144"/>
                    <a:pt x="110" y="151"/>
                    <a:pt x="110" y="153"/>
                  </a:cubicBezTo>
                  <a:cubicBezTo>
                    <a:pt x="110" y="155"/>
                    <a:pt x="110" y="160"/>
                    <a:pt x="110" y="160"/>
                  </a:cubicBezTo>
                  <a:cubicBezTo>
                    <a:pt x="117" y="163"/>
                    <a:pt x="117" y="163"/>
                    <a:pt x="117" y="163"/>
                  </a:cubicBezTo>
                  <a:cubicBezTo>
                    <a:pt x="117" y="163"/>
                    <a:pt x="117" y="170"/>
                    <a:pt x="118" y="171"/>
                  </a:cubicBezTo>
                  <a:cubicBezTo>
                    <a:pt x="118" y="173"/>
                    <a:pt x="118" y="175"/>
                    <a:pt x="118" y="177"/>
                  </a:cubicBezTo>
                  <a:cubicBezTo>
                    <a:pt x="119" y="179"/>
                    <a:pt x="118" y="182"/>
                    <a:pt x="118" y="182"/>
                  </a:cubicBezTo>
                  <a:cubicBezTo>
                    <a:pt x="122" y="184"/>
                    <a:pt x="122" y="184"/>
                    <a:pt x="122" y="184"/>
                  </a:cubicBezTo>
                  <a:cubicBezTo>
                    <a:pt x="125" y="187"/>
                    <a:pt x="125" y="187"/>
                    <a:pt x="125" y="187"/>
                  </a:cubicBezTo>
                  <a:cubicBezTo>
                    <a:pt x="126" y="191"/>
                    <a:pt x="126" y="191"/>
                    <a:pt x="126" y="191"/>
                  </a:cubicBezTo>
                  <a:cubicBezTo>
                    <a:pt x="133" y="193"/>
                    <a:pt x="133" y="193"/>
                    <a:pt x="133" y="193"/>
                  </a:cubicBezTo>
                  <a:cubicBezTo>
                    <a:pt x="135" y="198"/>
                    <a:pt x="135" y="198"/>
                    <a:pt x="135" y="198"/>
                  </a:cubicBezTo>
                  <a:cubicBezTo>
                    <a:pt x="138" y="202"/>
                    <a:pt x="138" y="202"/>
                    <a:pt x="138" y="202"/>
                  </a:cubicBezTo>
                  <a:cubicBezTo>
                    <a:pt x="138" y="205"/>
                    <a:pt x="138" y="205"/>
                    <a:pt x="138" y="205"/>
                  </a:cubicBezTo>
                  <a:cubicBezTo>
                    <a:pt x="138" y="205"/>
                    <a:pt x="138" y="207"/>
                    <a:pt x="140" y="207"/>
                  </a:cubicBezTo>
                  <a:cubicBezTo>
                    <a:pt x="141" y="207"/>
                    <a:pt x="147" y="206"/>
                    <a:pt x="147" y="206"/>
                  </a:cubicBezTo>
                  <a:cubicBezTo>
                    <a:pt x="153" y="211"/>
                    <a:pt x="153" y="211"/>
                    <a:pt x="153" y="211"/>
                  </a:cubicBezTo>
                  <a:cubicBezTo>
                    <a:pt x="159" y="217"/>
                    <a:pt x="159" y="217"/>
                    <a:pt x="159" y="217"/>
                  </a:cubicBezTo>
                  <a:cubicBezTo>
                    <a:pt x="163" y="222"/>
                    <a:pt x="163" y="222"/>
                    <a:pt x="163" y="222"/>
                  </a:cubicBezTo>
                  <a:cubicBezTo>
                    <a:pt x="168" y="224"/>
                    <a:pt x="168" y="224"/>
                    <a:pt x="168" y="224"/>
                  </a:cubicBezTo>
                  <a:cubicBezTo>
                    <a:pt x="174" y="228"/>
                    <a:pt x="174" y="228"/>
                    <a:pt x="174" y="228"/>
                  </a:cubicBezTo>
                  <a:cubicBezTo>
                    <a:pt x="176" y="233"/>
                    <a:pt x="176" y="233"/>
                    <a:pt x="176" y="233"/>
                  </a:cubicBezTo>
                  <a:cubicBezTo>
                    <a:pt x="181" y="239"/>
                    <a:pt x="181" y="239"/>
                    <a:pt x="181" y="239"/>
                  </a:cubicBezTo>
                  <a:cubicBezTo>
                    <a:pt x="185" y="241"/>
                    <a:pt x="185" y="241"/>
                    <a:pt x="185" y="241"/>
                  </a:cubicBezTo>
                  <a:cubicBezTo>
                    <a:pt x="186" y="244"/>
                    <a:pt x="186" y="244"/>
                    <a:pt x="186" y="244"/>
                  </a:cubicBezTo>
                  <a:cubicBezTo>
                    <a:pt x="190" y="245"/>
                    <a:pt x="190" y="245"/>
                    <a:pt x="190" y="245"/>
                  </a:cubicBezTo>
                  <a:cubicBezTo>
                    <a:pt x="193" y="246"/>
                    <a:pt x="193" y="246"/>
                    <a:pt x="193" y="246"/>
                  </a:cubicBezTo>
                  <a:cubicBezTo>
                    <a:pt x="198" y="247"/>
                    <a:pt x="198" y="247"/>
                    <a:pt x="198" y="247"/>
                  </a:cubicBezTo>
                  <a:cubicBezTo>
                    <a:pt x="201" y="250"/>
                    <a:pt x="201" y="250"/>
                    <a:pt x="201" y="250"/>
                  </a:cubicBezTo>
                  <a:cubicBezTo>
                    <a:pt x="201" y="250"/>
                    <a:pt x="203" y="252"/>
                    <a:pt x="203" y="253"/>
                  </a:cubicBezTo>
                  <a:cubicBezTo>
                    <a:pt x="203" y="254"/>
                    <a:pt x="201" y="255"/>
                    <a:pt x="203" y="255"/>
                  </a:cubicBezTo>
                  <a:cubicBezTo>
                    <a:pt x="206" y="255"/>
                    <a:pt x="208" y="255"/>
                    <a:pt x="208" y="255"/>
                  </a:cubicBezTo>
                  <a:cubicBezTo>
                    <a:pt x="213" y="254"/>
                    <a:pt x="213" y="254"/>
                    <a:pt x="213" y="254"/>
                  </a:cubicBezTo>
                  <a:cubicBezTo>
                    <a:pt x="216" y="254"/>
                    <a:pt x="216" y="254"/>
                    <a:pt x="216" y="254"/>
                  </a:cubicBezTo>
                  <a:cubicBezTo>
                    <a:pt x="220" y="254"/>
                    <a:pt x="220" y="254"/>
                    <a:pt x="220" y="254"/>
                  </a:cubicBezTo>
                  <a:cubicBezTo>
                    <a:pt x="225" y="252"/>
                    <a:pt x="225" y="252"/>
                    <a:pt x="225" y="252"/>
                  </a:cubicBezTo>
                  <a:cubicBezTo>
                    <a:pt x="229" y="255"/>
                    <a:pt x="229" y="255"/>
                    <a:pt x="229" y="255"/>
                  </a:cubicBezTo>
                  <a:cubicBezTo>
                    <a:pt x="237" y="265"/>
                    <a:pt x="237" y="265"/>
                    <a:pt x="237" y="265"/>
                  </a:cubicBezTo>
                  <a:cubicBezTo>
                    <a:pt x="237" y="265"/>
                    <a:pt x="240" y="270"/>
                    <a:pt x="240" y="271"/>
                  </a:cubicBezTo>
                  <a:cubicBezTo>
                    <a:pt x="240" y="272"/>
                    <a:pt x="242" y="271"/>
                    <a:pt x="243" y="271"/>
                  </a:cubicBezTo>
                  <a:cubicBezTo>
                    <a:pt x="244" y="271"/>
                    <a:pt x="251" y="271"/>
                    <a:pt x="251" y="271"/>
                  </a:cubicBezTo>
                  <a:cubicBezTo>
                    <a:pt x="256" y="274"/>
                    <a:pt x="256" y="274"/>
                    <a:pt x="256" y="274"/>
                  </a:cubicBezTo>
                  <a:cubicBezTo>
                    <a:pt x="252" y="278"/>
                    <a:pt x="252" y="278"/>
                    <a:pt x="252" y="278"/>
                  </a:cubicBezTo>
                  <a:cubicBezTo>
                    <a:pt x="257" y="280"/>
                    <a:pt x="257" y="280"/>
                    <a:pt x="257" y="280"/>
                  </a:cubicBezTo>
                  <a:cubicBezTo>
                    <a:pt x="260" y="278"/>
                    <a:pt x="260" y="278"/>
                    <a:pt x="260" y="278"/>
                  </a:cubicBezTo>
                  <a:cubicBezTo>
                    <a:pt x="265" y="278"/>
                    <a:pt x="265" y="278"/>
                    <a:pt x="265" y="278"/>
                  </a:cubicBezTo>
                  <a:cubicBezTo>
                    <a:pt x="268" y="282"/>
                    <a:pt x="268" y="282"/>
                    <a:pt x="268" y="282"/>
                  </a:cubicBezTo>
                  <a:cubicBezTo>
                    <a:pt x="269" y="284"/>
                    <a:pt x="269" y="284"/>
                    <a:pt x="269" y="284"/>
                  </a:cubicBezTo>
                  <a:cubicBezTo>
                    <a:pt x="271" y="286"/>
                    <a:pt x="271" y="286"/>
                    <a:pt x="271" y="286"/>
                  </a:cubicBezTo>
                  <a:cubicBezTo>
                    <a:pt x="271" y="289"/>
                    <a:pt x="271" y="289"/>
                    <a:pt x="271" y="289"/>
                  </a:cubicBezTo>
                  <a:cubicBezTo>
                    <a:pt x="271" y="292"/>
                    <a:pt x="271" y="292"/>
                    <a:pt x="271" y="292"/>
                  </a:cubicBezTo>
                  <a:cubicBezTo>
                    <a:pt x="273" y="295"/>
                    <a:pt x="273" y="295"/>
                    <a:pt x="273" y="295"/>
                  </a:cubicBezTo>
                  <a:cubicBezTo>
                    <a:pt x="277" y="297"/>
                    <a:pt x="277" y="297"/>
                    <a:pt x="277" y="297"/>
                  </a:cubicBezTo>
                  <a:cubicBezTo>
                    <a:pt x="280" y="299"/>
                    <a:pt x="280" y="299"/>
                    <a:pt x="280" y="299"/>
                  </a:cubicBezTo>
                  <a:cubicBezTo>
                    <a:pt x="283" y="301"/>
                    <a:pt x="283" y="301"/>
                    <a:pt x="283" y="301"/>
                  </a:cubicBezTo>
                  <a:cubicBezTo>
                    <a:pt x="286" y="301"/>
                    <a:pt x="286" y="301"/>
                    <a:pt x="286" y="301"/>
                  </a:cubicBezTo>
                  <a:cubicBezTo>
                    <a:pt x="291" y="300"/>
                    <a:pt x="291" y="300"/>
                    <a:pt x="291" y="300"/>
                  </a:cubicBezTo>
                  <a:cubicBezTo>
                    <a:pt x="297" y="301"/>
                    <a:pt x="297" y="301"/>
                    <a:pt x="297" y="301"/>
                  </a:cubicBezTo>
                  <a:cubicBezTo>
                    <a:pt x="302" y="309"/>
                    <a:pt x="302" y="309"/>
                    <a:pt x="302" y="309"/>
                  </a:cubicBezTo>
                  <a:cubicBezTo>
                    <a:pt x="304" y="316"/>
                    <a:pt x="304" y="316"/>
                    <a:pt x="304" y="316"/>
                  </a:cubicBezTo>
                  <a:cubicBezTo>
                    <a:pt x="307" y="323"/>
                    <a:pt x="307" y="323"/>
                    <a:pt x="307" y="323"/>
                  </a:cubicBezTo>
                  <a:cubicBezTo>
                    <a:pt x="310" y="326"/>
                    <a:pt x="310" y="326"/>
                    <a:pt x="310" y="326"/>
                  </a:cubicBezTo>
                  <a:cubicBezTo>
                    <a:pt x="311" y="333"/>
                    <a:pt x="311" y="333"/>
                    <a:pt x="311" y="333"/>
                  </a:cubicBezTo>
                  <a:cubicBezTo>
                    <a:pt x="314" y="336"/>
                    <a:pt x="314" y="336"/>
                    <a:pt x="314" y="336"/>
                  </a:cubicBezTo>
                  <a:cubicBezTo>
                    <a:pt x="317" y="344"/>
                    <a:pt x="317" y="344"/>
                    <a:pt x="317" y="344"/>
                  </a:cubicBezTo>
                  <a:cubicBezTo>
                    <a:pt x="319" y="347"/>
                    <a:pt x="319" y="347"/>
                    <a:pt x="319" y="347"/>
                  </a:cubicBezTo>
                  <a:cubicBezTo>
                    <a:pt x="318" y="352"/>
                    <a:pt x="318" y="352"/>
                    <a:pt x="318" y="352"/>
                  </a:cubicBezTo>
                  <a:cubicBezTo>
                    <a:pt x="318" y="352"/>
                    <a:pt x="316" y="355"/>
                    <a:pt x="315" y="356"/>
                  </a:cubicBezTo>
                  <a:cubicBezTo>
                    <a:pt x="315" y="356"/>
                    <a:pt x="313" y="357"/>
                    <a:pt x="312" y="357"/>
                  </a:cubicBezTo>
                  <a:cubicBezTo>
                    <a:pt x="311" y="358"/>
                    <a:pt x="310" y="358"/>
                    <a:pt x="309" y="359"/>
                  </a:cubicBezTo>
                  <a:cubicBezTo>
                    <a:pt x="309" y="360"/>
                    <a:pt x="308" y="362"/>
                    <a:pt x="308" y="362"/>
                  </a:cubicBezTo>
                  <a:cubicBezTo>
                    <a:pt x="311" y="367"/>
                    <a:pt x="311" y="367"/>
                    <a:pt x="311" y="367"/>
                  </a:cubicBezTo>
                  <a:cubicBezTo>
                    <a:pt x="309" y="373"/>
                    <a:pt x="309" y="373"/>
                    <a:pt x="309" y="373"/>
                  </a:cubicBezTo>
                  <a:cubicBezTo>
                    <a:pt x="308" y="378"/>
                    <a:pt x="308" y="378"/>
                    <a:pt x="308" y="378"/>
                  </a:cubicBezTo>
                  <a:cubicBezTo>
                    <a:pt x="305" y="380"/>
                    <a:pt x="305" y="380"/>
                    <a:pt x="305" y="380"/>
                  </a:cubicBezTo>
                  <a:cubicBezTo>
                    <a:pt x="301" y="383"/>
                    <a:pt x="301" y="383"/>
                    <a:pt x="301" y="383"/>
                  </a:cubicBezTo>
                  <a:cubicBezTo>
                    <a:pt x="301" y="383"/>
                    <a:pt x="302" y="386"/>
                    <a:pt x="302" y="388"/>
                  </a:cubicBezTo>
                  <a:cubicBezTo>
                    <a:pt x="303" y="389"/>
                    <a:pt x="306" y="393"/>
                    <a:pt x="306" y="393"/>
                  </a:cubicBezTo>
                  <a:cubicBezTo>
                    <a:pt x="314" y="393"/>
                    <a:pt x="314" y="393"/>
                    <a:pt x="314" y="393"/>
                  </a:cubicBezTo>
                  <a:cubicBezTo>
                    <a:pt x="319" y="390"/>
                    <a:pt x="319" y="390"/>
                    <a:pt x="319" y="390"/>
                  </a:cubicBezTo>
                  <a:cubicBezTo>
                    <a:pt x="320" y="385"/>
                    <a:pt x="320" y="385"/>
                    <a:pt x="320" y="385"/>
                  </a:cubicBezTo>
                  <a:cubicBezTo>
                    <a:pt x="322" y="379"/>
                    <a:pt x="322" y="379"/>
                    <a:pt x="322" y="379"/>
                  </a:cubicBezTo>
                  <a:cubicBezTo>
                    <a:pt x="327" y="375"/>
                    <a:pt x="327" y="375"/>
                    <a:pt x="327" y="375"/>
                  </a:cubicBezTo>
                  <a:cubicBezTo>
                    <a:pt x="331" y="371"/>
                    <a:pt x="331" y="371"/>
                    <a:pt x="331" y="371"/>
                  </a:cubicBezTo>
                  <a:cubicBezTo>
                    <a:pt x="334" y="368"/>
                    <a:pt x="334" y="368"/>
                    <a:pt x="334" y="368"/>
                  </a:cubicBezTo>
                  <a:cubicBezTo>
                    <a:pt x="334" y="357"/>
                    <a:pt x="334" y="357"/>
                    <a:pt x="334" y="357"/>
                  </a:cubicBezTo>
                  <a:cubicBezTo>
                    <a:pt x="336" y="349"/>
                    <a:pt x="336" y="349"/>
                    <a:pt x="336" y="349"/>
                  </a:cubicBezTo>
                  <a:cubicBezTo>
                    <a:pt x="350" y="344"/>
                    <a:pt x="350" y="344"/>
                    <a:pt x="350" y="344"/>
                  </a:cubicBezTo>
                  <a:cubicBezTo>
                    <a:pt x="352" y="343"/>
                    <a:pt x="352" y="343"/>
                    <a:pt x="352" y="343"/>
                  </a:cubicBezTo>
                  <a:cubicBezTo>
                    <a:pt x="352" y="343"/>
                    <a:pt x="352" y="341"/>
                    <a:pt x="352" y="340"/>
                  </a:cubicBezTo>
                  <a:cubicBezTo>
                    <a:pt x="351" y="339"/>
                    <a:pt x="349" y="336"/>
                    <a:pt x="349" y="336"/>
                  </a:cubicBezTo>
                  <a:cubicBezTo>
                    <a:pt x="349" y="336"/>
                    <a:pt x="350" y="333"/>
                    <a:pt x="349" y="333"/>
                  </a:cubicBezTo>
                  <a:cubicBezTo>
                    <a:pt x="349" y="332"/>
                    <a:pt x="349" y="326"/>
                    <a:pt x="349" y="326"/>
                  </a:cubicBezTo>
                  <a:cubicBezTo>
                    <a:pt x="348" y="321"/>
                    <a:pt x="348" y="321"/>
                    <a:pt x="348" y="321"/>
                  </a:cubicBezTo>
                  <a:cubicBezTo>
                    <a:pt x="348" y="321"/>
                    <a:pt x="346" y="321"/>
                    <a:pt x="343" y="320"/>
                  </a:cubicBezTo>
                  <a:cubicBezTo>
                    <a:pt x="341" y="318"/>
                    <a:pt x="337" y="316"/>
                    <a:pt x="337" y="316"/>
                  </a:cubicBezTo>
                  <a:cubicBezTo>
                    <a:pt x="332" y="315"/>
                    <a:pt x="332" y="315"/>
                    <a:pt x="332" y="315"/>
                  </a:cubicBezTo>
                  <a:cubicBezTo>
                    <a:pt x="328" y="313"/>
                    <a:pt x="328" y="313"/>
                    <a:pt x="328" y="313"/>
                  </a:cubicBezTo>
                  <a:cubicBezTo>
                    <a:pt x="326" y="310"/>
                    <a:pt x="326" y="310"/>
                    <a:pt x="326" y="310"/>
                  </a:cubicBezTo>
                  <a:cubicBezTo>
                    <a:pt x="329" y="298"/>
                    <a:pt x="329" y="298"/>
                    <a:pt x="329" y="298"/>
                  </a:cubicBezTo>
                  <a:cubicBezTo>
                    <a:pt x="328" y="293"/>
                    <a:pt x="328" y="293"/>
                    <a:pt x="328" y="293"/>
                  </a:cubicBezTo>
                  <a:cubicBezTo>
                    <a:pt x="334" y="285"/>
                    <a:pt x="334" y="285"/>
                    <a:pt x="334" y="285"/>
                  </a:cubicBezTo>
                  <a:cubicBezTo>
                    <a:pt x="338" y="279"/>
                    <a:pt x="338" y="279"/>
                    <a:pt x="338" y="279"/>
                  </a:cubicBezTo>
                  <a:cubicBezTo>
                    <a:pt x="342" y="276"/>
                    <a:pt x="342" y="276"/>
                    <a:pt x="342" y="276"/>
                  </a:cubicBezTo>
                  <a:cubicBezTo>
                    <a:pt x="348" y="278"/>
                    <a:pt x="348" y="278"/>
                    <a:pt x="348" y="278"/>
                  </a:cubicBezTo>
                  <a:cubicBezTo>
                    <a:pt x="351" y="280"/>
                    <a:pt x="351" y="280"/>
                    <a:pt x="351" y="280"/>
                  </a:cubicBezTo>
                  <a:cubicBezTo>
                    <a:pt x="354" y="282"/>
                    <a:pt x="354" y="282"/>
                    <a:pt x="354" y="282"/>
                  </a:cubicBezTo>
                  <a:cubicBezTo>
                    <a:pt x="361" y="282"/>
                    <a:pt x="361" y="282"/>
                    <a:pt x="361" y="282"/>
                  </a:cubicBezTo>
                  <a:cubicBezTo>
                    <a:pt x="369" y="283"/>
                    <a:pt x="369" y="283"/>
                    <a:pt x="369" y="283"/>
                  </a:cubicBezTo>
                  <a:cubicBezTo>
                    <a:pt x="373" y="288"/>
                    <a:pt x="373" y="288"/>
                    <a:pt x="373" y="288"/>
                  </a:cubicBezTo>
                  <a:cubicBezTo>
                    <a:pt x="376" y="294"/>
                    <a:pt x="376" y="294"/>
                    <a:pt x="376" y="294"/>
                  </a:cubicBezTo>
                  <a:cubicBezTo>
                    <a:pt x="376" y="294"/>
                    <a:pt x="378" y="296"/>
                    <a:pt x="378" y="297"/>
                  </a:cubicBezTo>
                  <a:cubicBezTo>
                    <a:pt x="379" y="297"/>
                    <a:pt x="381" y="299"/>
                    <a:pt x="382" y="299"/>
                  </a:cubicBezTo>
                  <a:cubicBezTo>
                    <a:pt x="383" y="300"/>
                    <a:pt x="388" y="301"/>
                    <a:pt x="388" y="301"/>
                  </a:cubicBezTo>
                  <a:cubicBezTo>
                    <a:pt x="388" y="301"/>
                    <a:pt x="389" y="295"/>
                    <a:pt x="389" y="294"/>
                  </a:cubicBezTo>
                  <a:cubicBezTo>
                    <a:pt x="389" y="293"/>
                    <a:pt x="392" y="290"/>
                    <a:pt x="392" y="289"/>
                  </a:cubicBezTo>
                  <a:cubicBezTo>
                    <a:pt x="392" y="288"/>
                    <a:pt x="390" y="282"/>
                    <a:pt x="390" y="282"/>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Freeform 65"/>
            <p:cNvSpPr>
              <a:spLocks/>
            </p:cNvSpPr>
            <p:nvPr/>
          </p:nvSpPr>
          <p:spPr bwMode="auto">
            <a:xfrm>
              <a:off x="5273225" y="5310092"/>
              <a:ext cx="170409" cy="287297"/>
            </a:xfrm>
            <a:custGeom>
              <a:avLst/>
              <a:gdLst>
                <a:gd name="T0" fmla="*/ 54 w 59"/>
                <a:gd name="T1" fmla="*/ 21 h 105"/>
                <a:gd name="T2" fmla="*/ 49 w 59"/>
                <a:gd name="T3" fmla="*/ 11 h 105"/>
                <a:gd name="T4" fmla="*/ 47 w 59"/>
                <a:gd name="T5" fmla="*/ 4 h 105"/>
                <a:gd name="T6" fmla="*/ 37 w 59"/>
                <a:gd name="T7" fmla="*/ 0 h 105"/>
                <a:gd name="T8" fmla="*/ 32 w 59"/>
                <a:gd name="T9" fmla="*/ 2 h 105"/>
                <a:gd name="T10" fmla="*/ 29 w 59"/>
                <a:gd name="T11" fmla="*/ 4 h 105"/>
                <a:gd name="T12" fmla="*/ 23 w 59"/>
                <a:gd name="T13" fmla="*/ 10 h 105"/>
                <a:gd name="T14" fmla="*/ 21 w 59"/>
                <a:gd name="T15" fmla="*/ 14 h 105"/>
                <a:gd name="T16" fmla="*/ 15 w 59"/>
                <a:gd name="T17" fmla="*/ 15 h 105"/>
                <a:gd name="T18" fmla="*/ 12 w 59"/>
                <a:gd name="T19" fmla="*/ 17 h 105"/>
                <a:gd name="T20" fmla="*/ 5 w 59"/>
                <a:gd name="T21" fmla="*/ 15 h 105"/>
                <a:gd name="T22" fmla="*/ 6 w 59"/>
                <a:gd name="T23" fmla="*/ 10 h 105"/>
                <a:gd name="T24" fmla="*/ 6 w 59"/>
                <a:gd name="T25" fmla="*/ 6 h 105"/>
                <a:gd name="T26" fmla="*/ 4 w 59"/>
                <a:gd name="T27" fmla="*/ 9 h 105"/>
                <a:gd name="T28" fmla="*/ 1 w 59"/>
                <a:gd name="T29" fmla="*/ 18 h 105"/>
                <a:gd name="T30" fmla="*/ 0 w 59"/>
                <a:gd name="T31" fmla="*/ 20 h 105"/>
                <a:gd name="T32" fmla="*/ 1 w 59"/>
                <a:gd name="T33" fmla="*/ 23 h 105"/>
                <a:gd name="T34" fmla="*/ 1 w 59"/>
                <a:gd name="T35" fmla="*/ 28 h 105"/>
                <a:gd name="T36" fmla="*/ 6 w 59"/>
                <a:gd name="T37" fmla="*/ 31 h 105"/>
                <a:gd name="T38" fmla="*/ 8 w 59"/>
                <a:gd name="T39" fmla="*/ 34 h 105"/>
                <a:gd name="T40" fmla="*/ 8 w 59"/>
                <a:gd name="T41" fmla="*/ 38 h 105"/>
                <a:gd name="T42" fmla="*/ 11 w 59"/>
                <a:gd name="T43" fmla="*/ 40 h 105"/>
                <a:gd name="T44" fmla="*/ 12 w 59"/>
                <a:gd name="T45" fmla="*/ 46 h 105"/>
                <a:gd name="T46" fmla="*/ 11 w 59"/>
                <a:gd name="T47" fmla="*/ 50 h 105"/>
                <a:gd name="T48" fmla="*/ 7 w 59"/>
                <a:gd name="T49" fmla="*/ 54 h 105"/>
                <a:gd name="T50" fmla="*/ 12 w 59"/>
                <a:gd name="T51" fmla="*/ 58 h 105"/>
                <a:gd name="T52" fmla="*/ 14 w 59"/>
                <a:gd name="T53" fmla="*/ 58 h 105"/>
                <a:gd name="T54" fmla="*/ 14 w 59"/>
                <a:gd name="T55" fmla="*/ 62 h 105"/>
                <a:gd name="T56" fmla="*/ 12 w 59"/>
                <a:gd name="T57" fmla="*/ 66 h 105"/>
                <a:gd name="T58" fmla="*/ 11 w 59"/>
                <a:gd name="T59" fmla="*/ 71 h 105"/>
                <a:gd name="T60" fmla="*/ 10 w 59"/>
                <a:gd name="T61" fmla="*/ 74 h 105"/>
                <a:gd name="T62" fmla="*/ 10 w 59"/>
                <a:gd name="T63" fmla="*/ 82 h 105"/>
                <a:gd name="T64" fmla="*/ 8 w 59"/>
                <a:gd name="T65" fmla="*/ 88 h 105"/>
                <a:gd name="T66" fmla="*/ 10 w 59"/>
                <a:gd name="T67" fmla="*/ 93 h 105"/>
                <a:gd name="T68" fmla="*/ 8 w 59"/>
                <a:gd name="T69" fmla="*/ 98 h 105"/>
                <a:gd name="T70" fmla="*/ 12 w 59"/>
                <a:gd name="T71" fmla="*/ 98 h 105"/>
                <a:gd name="T72" fmla="*/ 14 w 59"/>
                <a:gd name="T73" fmla="*/ 97 h 105"/>
                <a:gd name="T74" fmla="*/ 19 w 59"/>
                <a:gd name="T75" fmla="*/ 103 h 105"/>
                <a:gd name="T76" fmla="*/ 23 w 59"/>
                <a:gd name="T77" fmla="*/ 105 h 105"/>
                <a:gd name="T78" fmla="*/ 28 w 59"/>
                <a:gd name="T79" fmla="*/ 105 h 105"/>
                <a:gd name="T80" fmla="*/ 31 w 59"/>
                <a:gd name="T81" fmla="*/ 97 h 105"/>
                <a:gd name="T82" fmla="*/ 30 w 59"/>
                <a:gd name="T83" fmla="*/ 93 h 105"/>
                <a:gd name="T84" fmla="*/ 33 w 59"/>
                <a:gd name="T85" fmla="*/ 88 h 105"/>
                <a:gd name="T86" fmla="*/ 36 w 59"/>
                <a:gd name="T87" fmla="*/ 88 h 105"/>
                <a:gd name="T88" fmla="*/ 46 w 59"/>
                <a:gd name="T89" fmla="*/ 95 h 105"/>
                <a:gd name="T90" fmla="*/ 51 w 59"/>
                <a:gd name="T91" fmla="*/ 92 h 105"/>
                <a:gd name="T92" fmla="*/ 52 w 59"/>
                <a:gd name="T93" fmla="*/ 86 h 105"/>
                <a:gd name="T94" fmla="*/ 53 w 59"/>
                <a:gd name="T95" fmla="*/ 74 h 105"/>
                <a:gd name="T96" fmla="*/ 51 w 59"/>
                <a:gd name="T97" fmla="*/ 65 h 105"/>
                <a:gd name="T98" fmla="*/ 56 w 59"/>
                <a:gd name="T99" fmla="*/ 53 h 105"/>
                <a:gd name="T100" fmla="*/ 53 w 59"/>
                <a:gd name="T101" fmla="*/ 47 h 105"/>
                <a:gd name="T102" fmla="*/ 53 w 59"/>
                <a:gd name="T103" fmla="*/ 41 h 105"/>
                <a:gd name="T104" fmla="*/ 58 w 59"/>
                <a:gd name="T105" fmla="*/ 31 h 105"/>
                <a:gd name="T106" fmla="*/ 56 w 59"/>
                <a:gd name="T107" fmla="*/ 25 h 105"/>
                <a:gd name="T108" fmla="*/ 54 w 59"/>
                <a:gd name="T109" fmla="*/ 2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9" h="105">
                  <a:moveTo>
                    <a:pt x="54" y="21"/>
                  </a:moveTo>
                  <a:cubicBezTo>
                    <a:pt x="49" y="11"/>
                    <a:pt x="49" y="11"/>
                    <a:pt x="49" y="11"/>
                  </a:cubicBezTo>
                  <a:cubicBezTo>
                    <a:pt x="47" y="4"/>
                    <a:pt x="47" y="4"/>
                    <a:pt x="47" y="4"/>
                  </a:cubicBezTo>
                  <a:cubicBezTo>
                    <a:pt x="37" y="0"/>
                    <a:pt x="37" y="0"/>
                    <a:pt x="37" y="0"/>
                  </a:cubicBezTo>
                  <a:cubicBezTo>
                    <a:pt x="37" y="0"/>
                    <a:pt x="33" y="2"/>
                    <a:pt x="32" y="2"/>
                  </a:cubicBezTo>
                  <a:cubicBezTo>
                    <a:pt x="31" y="3"/>
                    <a:pt x="30" y="4"/>
                    <a:pt x="29" y="4"/>
                  </a:cubicBezTo>
                  <a:cubicBezTo>
                    <a:pt x="28" y="5"/>
                    <a:pt x="24" y="9"/>
                    <a:pt x="23" y="10"/>
                  </a:cubicBezTo>
                  <a:cubicBezTo>
                    <a:pt x="22" y="12"/>
                    <a:pt x="21" y="14"/>
                    <a:pt x="21" y="14"/>
                  </a:cubicBezTo>
                  <a:cubicBezTo>
                    <a:pt x="21" y="14"/>
                    <a:pt x="16" y="15"/>
                    <a:pt x="15" y="15"/>
                  </a:cubicBezTo>
                  <a:cubicBezTo>
                    <a:pt x="14" y="16"/>
                    <a:pt x="13" y="17"/>
                    <a:pt x="12" y="17"/>
                  </a:cubicBezTo>
                  <a:cubicBezTo>
                    <a:pt x="11" y="18"/>
                    <a:pt x="5" y="15"/>
                    <a:pt x="5" y="15"/>
                  </a:cubicBezTo>
                  <a:cubicBezTo>
                    <a:pt x="6" y="10"/>
                    <a:pt x="6" y="10"/>
                    <a:pt x="6" y="10"/>
                  </a:cubicBezTo>
                  <a:cubicBezTo>
                    <a:pt x="6" y="6"/>
                    <a:pt x="6" y="6"/>
                    <a:pt x="6" y="6"/>
                  </a:cubicBezTo>
                  <a:cubicBezTo>
                    <a:pt x="4" y="9"/>
                    <a:pt x="4" y="9"/>
                    <a:pt x="4" y="9"/>
                  </a:cubicBezTo>
                  <a:cubicBezTo>
                    <a:pt x="1" y="18"/>
                    <a:pt x="1" y="18"/>
                    <a:pt x="1" y="18"/>
                  </a:cubicBezTo>
                  <a:cubicBezTo>
                    <a:pt x="0" y="20"/>
                    <a:pt x="0" y="20"/>
                    <a:pt x="0" y="20"/>
                  </a:cubicBezTo>
                  <a:cubicBezTo>
                    <a:pt x="1" y="23"/>
                    <a:pt x="1" y="23"/>
                    <a:pt x="1" y="23"/>
                  </a:cubicBezTo>
                  <a:cubicBezTo>
                    <a:pt x="1" y="28"/>
                    <a:pt x="1" y="28"/>
                    <a:pt x="1" y="28"/>
                  </a:cubicBezTo>
                  <a:cubicBezTo>
                    <a:pt x="1" y="28"/>
                    <a:pt x="5" y="31"/>
                    <a:pt x="6" y="31"/>
                  </a:cubicBezTo>
                  <a:cubicBezTo>
                    <a:pt x="8" y="31"/>
                    <a:pt x="8" y="34"/>
                    <a:pt x="8" y="34"/>
                  </a:cubicBezTo>
                  <a:cubicBezTo>
                    <a:pt x="8" y="38"/>
                    <a:pt x="8" y="38"/>
                    <a:pt x="8" y="38"/>
                  </a:cubicBezTo>
                  <a:cubicBezTo>
                    <a:pt x="8" y="38"/>
                    <a:pt x="10" y="40"/>
                    <a:pt x="11" y="40"/>
                  </a:cubicBezTo>
                  <a:cubicBezTo>
                    <a:pt x="12" y="41"/>
                    <a:pt x="12" y="45"/>
                    <a:pt x="12" y="46"/>
                  </a:cubicBezTo>
                  <a:cubicBezTo>
                    <a:pt x="12" y="48"/>
                    <a:pt x="12" y="49"/>
                    <a:pt x="11" y="50"/>
                  </a:cubicBezTo>
                  <a:cubicBezTo>
                    <a:pt x="9" y="52"/>
                    <a:pt x="7" y="54"/>
                    <a:pt x="7" y="54"/>
                  </a:cubicBezTo>
                  <a:cubicBezTo>
                    <a:pt x="12" y="58"/>
                    <a:pt x="12" y="58"/>
                    <a:pt x="12" y="58"/>
                  </a:cubicBezTo>
                  <a:cubicBezTo>
                    <a:pt x="14" y="58"/>
                    <a:pt x="14" y="58"/>
                    <a:pt x="14" y="58"/>
                  </a:cubicBezTo>
                  <a:cubicBezTo>
                    <a:pt x="14" y="62"/>
                    <a:pt x="14" y="62"/>
                    <a:pt x="14" y="62"/>
                  </a:cubicBezTo>
                  <a:cubicBezTo>
                    <a:pt x="12" y="66"/>
                    <a:pt x="12" y="66"/>
                    <a:pt x="12" y="66"/>
                  </a:cubicBezTo>
                  <a:cubicBezTo>
                    <a:pt x="11" y="71"/>
                    <a:pt x="11" y="71"/>
                    <a:pt x="11" y="71"/>
                  </a:cubicBezTo>
                  <a:cubicBezTo>
                    <a:pt x="10" y="74"/>
                    <a:pt x="10" y="74"/>
                    <a:pt x="10" y="74"/>
                  </a:cubicBezTo>
                  <a:cubicBezTo>
                    <a:pt x="10" y="82"/>
                    <a:pt x="10" y="82"/>
                    <a:pt x="10" y="82"/>
                  </a:cubicBezTo>
                  <a:cubicBezTo>
                    <a:pt x="8" y="88"/>
                    <a:pt x="8" y="88"/>
                    <a:pt x="8" y="88"/>
                  </a:cubicBezTo>
                  <a:cubicBezTo>
                    <a:pt x="10" y="93"/>
                    <a:pt x="10" y="93"/>
                    <a:pt x="10" y="93"/>
                  </a:cubicBezTo>
                  <a:cubicBezTo>
                    <a:pt x="8" y="98"/>
                    <a:pt x="8" y="98"/>
                    <a:pt x="8" y="98"/>
                  </a:cubicBezTo>
                  <a:cubicBezTo>
                    <a:pt x="8" y="98"/>
                    <a:pt x="10" y="99"/>
                    <a:pt x="12" y="98"/>
                  </a:cubicBezTo>
                  <a:cubicBezTo>
                    <a:pt x="14" y="98"/>
                    <a:pt x="14" y="97"/>
                    <a:pt x="14" y="97"/>
                  </a:cubicBezTo>
                  <a:cubicBezTo>
                    <a:pt x="19" y="103"/>
                    <a:pt x="19" y="103"/>
                    <a:pt x="19" y="103"/>
                  </a:cubicBezTo>
                  <a:cubicBezTo>
                    <a:pt x="23" y="105"/>
                    <a:pt x="23" y="105"/>
                    <a:pt x="23" y="105"/>
                  </a:cubicBezTo>
                  <a:cubicBezTo>
                    <a:pt x="28" y="105"/>
                    <a:pt x="28" y="105"/>
                    <a:pt x="28" y="105"/>
                  </a:cubicBezTo>
                  <a:cubicBezTo>
                    <a:pt x="31" y="97"/>
                    <a:pt x="31" y="97"/>
                    <a:pt x="31" y="97"/>
                  </a:cubicBezTo>
                  <a:cubicBezTo>
                    <a:pt x="30" y="93"/>
                    <a:pt x="30" y="93"/>
                    <a:pt x="30" y="93"/>
                  </a:cubicBezTo>
                  <a:cubicBezTo>
                    <a:pt x="33" y="88"/>
                    <a:pt x="33" y="88"/>
                    <a:pt x="33" y="88"/>
                  </a:cubicBezTo>
                  <a:cubicBezTo>
                    <a:pt x="36" y="88"/>
                    <a:pt x="36" y="88"/>
                    <a:pt x="36" y="88"/>
                  </a:cubicBezTo>
                  <a:cubicBezTo>
                    <a:pt x="36" y="88"/>
                    <a:pt x="44" y="94"/>
                    <a:pt x="46" y="95"/>
                  </a:cubicBezTo>
                  <a:cubicBezTo>
                    <a:pt x="48" y="96"/>
                    <a:pt x="51" y="92"/>
                    <a:pt x="51" y="92"/>
                  </a:cubicBezTo>
                  <a:cubicBezTo>
                    <a:pt x="52" y="86"/>
                    <a:pt x="52" y="86"/>
                    <a:pt x="52" y="86"/>
                  </a:cubicBezTo>
                  <a:cubicBezTo>
                    <a:pt x="53" y="74"/>
                    <a:pt x="53" y="74"/>
                    <a:pt x="53" y="74"/>
                  </a:cubicBezTo>
                  <a:cubicBezTo>
                    <a:pt x="51" y="65"/>
                    <a:pt x="51" y="65"/>
                    <a:pt x="51" y="65"/>
                  </a:cubicBezTo>
                  <a:cubicBezTo>
                    <a:pt x="56" y="53"/>
                    <a:pt x="56" y="53"/>
                    <a:pt x="56" y="53"/>
                  </a:cubicBezTo>
                  <a:cubicBezTo>
                    <a:pt x="53" y="47"/>
                    <a:pt x="53" y="47"/>
                    <a:pt x="53" y="47"/>
                  </a:cubicBezTo>
                  <a:cubicBezTo>
                    <a:pt x="53" y="41"/>
                    <a:pt x="53" y="41"/>
                    <a:pt x="53" y="41"/>
                  </a:cubicBezTo>
                  <a:cubicBezTo>
                    <a:pt x="53" y="41"/>
                    <a:pt x="57" y="33"/>
                    <a:pt x="58" y="31"/>
                  </a:cubicBezTo>
                  <a:cubicBezTo>
                    <a:pt x="59" y="28"/>
                    <a:pt x="56" y="25"/>
                    <a:pt x="56" y="25"/>
                  </a:cubicBezTo>
                  <a:lnTo>
                    <a:pt x="54" y="21"/>
                  </a:ln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Freeform 66"/>
            <p:cNvSpPr>
              <a:spLocks/>
            </p:cNvSpPr>
            <p:nvPr/>
          </p:nvSpPr>
          <p:spPr bwMode="auto">
            <a:xfrm>
              <a:off x="5716577" y="5632791"/>
              <a:ext cx="304715" cy="200155"/>
            </a:xfrm>
            <a:custGeom>
              <a:avLst/>
              <a:gdLst>
                <a:gd name="T0" fmla="*/ 100 w 105"/>
                <a:gd name="T1" fmla="*/ 19 h 73"/>
                <a:gd name="T2" fmla="*/ 105 w 105"/>
                <a:gd name="T3" fmla="*/ 10 h 73"/>
                <a:gd name="T4" fmla="*/ 104 w 105"/>
                <a:gd name="T5" fmla="*/ 5 h 73"/>
                <a:gd name="T6" fmla="*/ 101 w 105"/>
                <a:gd name="T7" fmla="*/ 0 h 73"/>
                <a:gd name="T8" fmla="*/ 95 w 105"/>
                <a:gd name="T9" fmla="*/ 4 h 73"/>
                <a:gd name="T10" fmla="*/ 93 w 105"/>
                <a:gd name="T11" fmla="*/ 7 h 73"/>
                <a:gd name="T12" fmla="*/ 88 w 105"/>
                <a:gd name="T13" fmla="*/ 6 h 73"/>
                <a:gd name="T14" fmla="*/ 81 w 105"/>
                <a:gd name="T15" fmla="*/ 4 h 73"/>
                <a:gd name="T16" fmla="*/ 76 w 105"/>
                <a:gd name="T17" fmla="*/ 10 h 73"/>
                <a:gd name="T18" fmla="*/ 68 w 105"/>
                <a:gd name="T19" fmla="*/ 13 h 73"/>
                <a:gd name="T20" fmla="*/ 62 w 105"/>
                <a:gd name="T21" fmla="*/ 15 h 73"/>
                <a:gd name="T22" fmla="*/ 57 w 105"/>
                <a:gd name="T23" fmla="*/ 16 h 73"/>
                <a:gd name="T24" fmla="*/ 52 w 105"/>
                <a:gd name="T25" fmla="*/ 16 h 73"/>
                <a:gd name="T26" fmla="*/ 44 w 105"/>
                <a:gd name="T27" fmla="*/ 17 h 73"/>
                <a:gd name="T28" fmla="*/ 36 w 105"/>
                <a:gd name="T29" fmla="*/ 15 h 73"/>
                <a:gd name="T30" fmla="*/ 32 w 105"/>
                <a:gd name="T31" fmla="*/ 11 h 73"/>
                <a:gd name="T32" fmla="*/ 26 w 105"/>
                <a:gd name="T33" fmla="*/ 9 h 73"/>
                <a:gd name="T34" fmla="*/ 22 w 105"/>
                <a:gd name="T35" fmla="*/ 11 h 73"/>
                <a:gd name="T36" fmla="*/ 20 w 105"/>
                <a:gd name="T37" fmla="*/ 15 h 73"/>
                <a:gd name="T38" fmla="*/ 16 w 105"/>
                <a:gd name="T39" fmla="*/ 18 h 73"/>
                <a:gd name="T40" fmla="*/ 11 w 105"/>
                <a:gd name="T41" fmla="*/ 15 h 73"/>
                <a:gd name="T42" fmla="*/ 9 w 105"/>
                <a:gd name="T43" fmla="*/ 12 h 73"/>
                <a:gd name="T44" fmla="*/ 5 w 105"/>
                <a:gd name="T45" fmla="*/ 13 h 73"/>
                <a:gd name="T46" fmla="*/ 1 w 105"/>
                <a:gd name="T47" fmla="*/ 18 h 73"/>
                <a:gd name="T48" fmla="*/ 1 w 105"/>
                <a:gd name="T49" fmla="*/ 26 h 73"/>
                <a:gd name="T50" fmla="*/ 0 w 105"/>
                <a:gd name="T51" fmla="*/ 32 h 73"/>
                <a:gd name="T52" fmla="*/ 6 w 105"/>
                <a:gd name="T53" fmla="*/ 36 h 73"/>
                <a:gd name="T54" fmla="*/ 10 w 105"/>
                <a:gd name="T55" fmla="*/ 38 h 73"/>
                <a:gd name="T56" fmla="*/ 16 w 105"/>
                <a:gd name="T57" fmla="*/ 37 h 73"/>
                <a:gd name="T58" fmla="*/ 20 w 105"/>
                <a:gd name="T59" fmla="*/ 41 h 73"/>
                <a:gd name="T60" fmla="*/ 27 w 105"/>
                <a:gd name="T61" fmla="*/ 41 h 73"/>
                <a:gd name="T62" fmla="*/ 34 w 105"/>
                <a:gd name="T63" fmla="*/ 47 h 73"/>
                <a:gd name="T64" fmla="*/ 37 w 105"/>
                <a:gd name="T65" fmla="*/ 48 h 73"/>
                <a:gd name="T66" fmla="*/ 40 w 105"/>
                <a:gd name="T67" fmla="*/ 51 h 73"/>
                <a:gd name="T68" fmla="*/ 47 w 105"/>
                <a:gd name="T69" fmla="*/ 57 h 73"/>
                <a:gd name="T70" fmla="*/ 63 w 105"/>
                <a:gd name="T71" fmla="*/ 59 h 73"/>
                <a:gd name="T72" fmla="*/ 69 w 105"/>
                <a:gd name="T73" fmla="*/ 60 h 73"/>
                <a:gd name="T74" fmla="*/ 71 w 105"/>
                <a:gd name="T75" fmla="*/ 68 h 73"/>
                <a:gd name="T76" fmla="*/ 74 w 105"/>
                <a:gd name="T77" fmla="*/ 69 h 73"/>
                <a:gd name="T78" fmla="*/ 79 w 105"/>
                <a:gd name="T79" fmla="*/ 71 h 73"/>
                <a:gd name="T80" fmla="*/ 87 w 105"/>
                <a:gd name="T81" fmla="*/ 72 h 73"/>
                <a:gd name="T82" fmla="*/ 96 w 105"/>
                <a:gd name="T83" fmla="*/ 73 h 73"/>
                <a:gd name="T84" fmla="*/ 98 w 105"/>
                <a:gd name="T85" fmla="*/ 70 h 73"/>
                <a:gd name="T86" fmla="*/ 98 w 105"/>
                <a:gd name="T87" fmla="*/ 68 h 73"/>
                <a:gd name="T88" fmla="*/ 98 w 105"/>
                <a:gd name="T89" fmla="*/ 66 h 73"/>
                <a:gd name="T90" fmla="*/ 99 w 105"/>
                <a:gd name="T91" fmla="*/ 61 h 73"/>
                <a:gd name="T92" fmla="*/ 103 w 105"/>
                <a:gd name="T93" fmla="*/ 56 h 73"/>
                <a:gd name="T94" fmla="*/ 101 w 105"/>
                <a:gd name="T95" fmla="*/ 53 h 73"/>
                <a:gd name="T96" fmla="*/ 100 w 105"/>
                <a:gd name="T97" fmla="*/ 49 h 73"/>
                <a:gd name="T98" fmla="*/ 96 w 105"/>
                <a:gd name="T99" fmla="*/ 44 h 73"/>
                <a:gd name="T100" fmla="*/ 93 w 105"/>
                <a:gd name="T101" fmla="*/ 38 h 73"/>
                <a:gd name="T102" fmla="*/ 92 w 105"/>
                <a:gd name="T103" fmla="*/ 34 h 73"/>
                <a:gd name="T104" fmla="*/ 97 w 105"/>
                <a:gd name="T105" fmla="*/ 25 h 73"/>
                <a:gd name="T106" fmla="*/ 100 w 105"/>
                <a:gd name="T107" fmla="*/ 19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73">
                  <a:moveTo>
                    <a:pt x="100" y="19"/>
                  </a:moveTo>
                  <a:cubicBezTo>
                    <a:pt x="100" y="19"/>
                    <a:pt x="105" y="10"/>
                    <a:pt x="105" y="10"/>
                  </a:cubicBezTo>
                  <a:cubicBezTo>
                    <a:pt x="104" y="5"/>
                    <a:pt x="104" y="5"/>
                    <a:pt x="104" y="5"/>
                  </a:cubicBezTo>
                  <a:cubicBezTo>
                    <a:pt x="101" y="0"/>
                    <a:pt x="101" y="0"/>
                    <a:pt x="101" y="0"/>
                  </a:cubicBezTo>
                  <a:cubicBezTo>
                    <a:pt x="95" y="4"/>
                    <a:pt x="95" y="4"/>
                    <a:pt x="95" y="4"/>
                  </a:cubicBezTo>
                  <a:cubicBezTo>
                    <a:pt x="93" y="7"/>
                    <a:pt x="93" y="7"/>
                    <a:pt x="93" y="7"/>
                  </a:cubicBezTo>
                  <a:cubicBezTo>
                    <a:pt x="88" y="6"/>
                    <a:pt x="88" y="6"/>
                    <a:pt x="88" y="6"/>
                  </a:cubicBezTo>
                  <a:cubicBezTo>
                    <a:pt x="81" y="4"/>
                    <a:pt x="81" y="4"/>
                    <a:pt x="81" y="4"/>
                  </a:cubicBezTo>
                  <a:cubicBezTo>
                    <a:pt x="76" y="10"/>
                    <a:pt x="76" y="10"/>
                    <a:pt x="76" y="10"/>
                  </a:cubicBezTo>
                  <a:cubicBezTo>
                    <a:pt x="68" y="13"/>
                    <a:pt x="68" y="13"/>
                    <a:pt x="68" y="13"/>
                  </a:cubicBezTo>
                  <a:cubicBezTo>
                    <a:pt x="68" y="13"/>
                    <a:pt x="63" y="14"/>
                    <a:pt x="62" y="15"/>
                  </a:cubicBezTo>
                  <a:cubicBezTo>
                    <a:pt x="61" y="15"/>
                    <a:pt x="57" y="16"/>
                    <a:pt x="57" y="16"/>
                  </a:cubicBezTo>
                  <a:cubicBezTo>
                    <a:pt x="52" y="16"/>
                    <a:pt x="52" y="16"/>
                    <a:pt x="52" y="16"/>
                  </a:cubicBezTo>
                  <a:cubicBezTo>
                    <a:pt x="44" y="17"/>
                    <a:pt x="44" y="17"/>
                    <a:pt x="44" y="17"/>
                  </a:cubicBezTo>
                  <a:cubicBezTo>
                    <a:pt x="36" y="15"/>
                    <a:pt x="36" y="15"/>
                    <a:pt x="36" y="15"/>
                  </a:cubicBezTo>
                  <a:cubicBezTo>
                    <a:pt x="32" y="11"/>
                    <a:pt x="32" y="11"/>
                    <a:pt x="32" y="11"/>
                  </a:cubicBezTo>
                  <a:cubicBezTo>
                    <a:pt x="26" y="9"/>
                    <a:pt x="26" y="9"/>
                    <a:pt x="26" y="9"/>
                  </a:cubicBezTo>
                  <a:cubicBezTo>
                    <a:pt x="22" y="11"/>
                    <a:pt x="22" y="11"/>
                    <a:pt x="22" y="11"/>
                  </a:cubicBezTo>
                  <a:cubicBezTo>
                    <a:pt x="20" y="15"/>
                    <a:pt x="20" y="15"/>
                    <a:pt x="20" y="15"/>
                  </a:cubicBezTo>
                  <a:cubicBezTo>
                    <a:pt x="16" y="18"/>
                    <a:pt x="16" y="18"/>
                    <a:pt x="16" y="18"/>
                  </a:cubicBezTo>
                  <a:cubicBezTo>
                    <a:pt x="11" y="15"/>
                    <a:pt x="11" y="15"/>
                    <a:pt x="11" y="15"/>
                  </a:cubicBezTo>
                  <a:cubicBezTo>
                    <a:pt x="9" y="12"/>
                    <a:pt x="9" y="12"/>
                    <a:pt x="9" y="12"/>
                  </a:cubicBezTo>
                  <a:cubicBezTo>
                    <a:pt x="5" y="13"/>
                    <a:pt x="5" y="13"/>
                    <a:pt x="5" y="13"/>
                  </a:cubicBezTo>
                  <a:cubicBezTo>
                    <a:pt x="1" y="18"/>
                    <a:pt x="1" y="18"/>
                    <a:pt x="1" y="18"/>
                  </a:cubicBezTo>
                  <a:cubicBezTo>
                    <a:pt x="1" y="18"/>
                    <a:pt x="1" y="25"/>
                    <a:pt x="1" y="26"/>
                  </a:cubicBezTo>
                  <a:cubicBezTo>
                    <a:pt x="1" y="27"/>
                    <a:pt x="0" y="32"/>
                    <a:pt x="0" y="32"/>
                  </a:cubicBezTo>
                  <a:cubicBezTo>
                    <a:pt x="0" y="32"/>
                    <a:pt x="5" y="35"/>
                    <a:pt x="6" y="36"/>
                  </a:cubicBezTo>
                  <a:cubicBezTo>
                    <a:pt x="6" y="37"/>
                    <a:pt x="10" y="38"/>
                    <a:pt x="10" y="38"/>
                  </a:cubicBezTo>
                  <a:cubicBezTo>
                    <a:pt x="16" y="37"/>
                    <a:pt x="16" y="37"/>
                    <a:pt x="16" y="37"/>
                  </a:cubicBezTo>
                  <a:cubicBezTo>
                    <a:pt x="20" y="41"/>
                    <a:pt x="20" y="41"/>
                    <a:pt x="20" y="41"/>
                  </a:cubicBezTo>
                  <a:cubicBezTo>
                    <a:pt x="27" y="41"/>
                    <a:pt x="27" y="41"/>
                    <a:pt x="27" y="41"/>
                  </a:cubicBezTo>
                  <a:cubicBezTo>
                    <a:pt x="34" y="47"/>
                    <a:pt x="34" y="47"/>
                    <a:pt x="34" y="47"/>
                  </a:cubicBezTo>
                  <a:cubicBezTo>
                    <a:pt x="37" y="48"/>
                    <a:pt x="37" y="48"/>
                    <a:pt x="37" y="48"/>
                  </a:cubicBezTo>
                  <a:cubicBezTo>
                    <a:pt x="37" y="48"/>
                    <a:pt x="39" y="51"/>
                    <a:pt x="40" y="51"/>
                  </a:cubicBezTo>
                  <a:cubicBezTo>
                    <a:pt x="40" y="52"/>
                    <a:pt x="47" y="57"/>
                    <a:pt x="47" y="57"/>
                  </a:cubicBezTo>
                  <a:cubicBezTo>
                    <a:pt x="63" y="59"/>
                    <a:pt x="63" y="59"/>
                    <a:pt x="63" y="59"/>
                  </a:cubicBezTo>
                  <a:cubicBezTo>
                    <a:pt x="69" y="60"/>
                    <a:pt x="69" y="60"/>
                    <a:pt x="69" y="60"/>
                  </a:cubicBezTo>
                  <a:cubicBezTo>
                    <a:pt x="71" y="68"/>
                    <a:pt x="71" y="68"/>
                    <a:pt x="71" y="68"/>
                  </a:cubicBezTo>
                  <a:cubicBezTo>
                    <a:pt x="71" y="68"/>
                    <a:pt x="73" y="69"/>
                    <a:pt x="74" y="69"/>
                  </a:cubicBezTo>
                  <a:cubicBezTo>
                    <a:pt x="75" y="70"/>
                    <a:pt x="79" y="71"/>
                    <a:pt x="79" y="71"/>
                  </a:cubicBezTo>
                  <a:cubicBezTo>
                    <a:pt x="87" y="72"/>
                    <a:pt x="87" y="72"/>
                    <a:pt x="87" y="72"/>
                  </a:cubicBezTo>
                  <a:cubicBezTo>
                    <a:pt x="87" y="72"/>
                    <a:pt x="95" y="73"/>
                    <a:pt x="96" y="73"/>
                  </a:cubicBezTo>
                  <a:cubicBezTo>
                    <a:pt x="97" y="73"/>
                    <a:pt x="97" y="72"/>
                    <a:pt x="98" y="70"/>
                  </a:cubicBezTo>
                  <a:cubicBezTo>
                    <a:pt x="98" y="69"/>
                    <a:pt x="98" y="68"/>
                    <a:pt x="98" y="68"/>
                  </a:cubicBezTo>
                  <a:cubicBezTo>
                    <a:pt x="98" y="66"/>
                    <a:pt x="98" y="66"/>
                    <a:pt x="98" y="66"/>
                  </a:cubicBezTo>
                  <a:cubicBezTo>
                    <a:pt x="99" y="61"/>
                    <a:pt x="99" y="61"/>
                    <a:pt x="99" y="61"/>
                  </a:cubicBezTo>
                  <a:cubicBezTo>
                    <a:pt x="99" y="61"/>
                    <a:pt x="102" y="57"/>
                    <a:pt x="103" y="56"/>
                  </a:cubicBezTo>
                  <a:cubicBezTo>
                    <a:pt x="104" y="56"/>
                    <a:pt x="101" y="53"/>
                    <a:pt x="101" y="53"/>
                  </a:cubicBezTo>
                  <a:cubicBezTo>
                    <a:pt x="100" y="49"/>
                    <a:pt x="100" y="49"/>
                    <a:pt x="100" y="49"/>
                  </a:cubicBezTo>
                  <a:cubicBezTo>
                    <a:pt x="100" y="49"/>
                    <a:pt x="96" y="46"/>
                    <a:pt x="96" y="44"/>
                  </a:cubicBezTo>
                  <a:cubicBezTo>
                    <a:pt x="96" y="42"/>
                    <a:pt x="94" y="39"/>
                    <a:pt x="93" y="38"/>
                  </a:cubicBezTo>
                  <a:cubicBezTo>
                    <a:pt x="92" y="36"/>
                    <a:pt x="92" y="34"/>
                    <a:pt x="92" y="34"/>
                  </a:cubicBezTo>
                  <a:cubicBezTo>
                    <a:pt x="92" y="34"/>
                    <a:pt x="96" y="27"/>
                    <a:pt x="97" y="25"/>
                  </a:cubicBezTo>
                  <a:cubicBezTo>
                    <a:pt x="98" y="24"/>
                    <a:pt x="100" y="20"/>
                    <a:pt x="100" y="19"/>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Freeform 67"/>
            <p:cNvSpPr>
              <a:spLocks/>
            </p:cNvSpPr>
            <p:nvPr/>
          </p:nvSpPr>
          <p:spPr bwMode="auto">
            <a:xfrm>
              <a:off x="7777374" y="5597390"/>
              <a:ext cx="219510" cy="121182"/>
            </a:xfrm>
            <a:custGeom>
              <a:avLst/>
              <a:gdLst>
                <a:gd name="T0" fmla="*/ 2 w 76"/>
                <a:gd name="T1" fmla="*/ 31 h 44"/>
                <a:gd name="T2" fmla="*/ 2 w 76"/>
                <a:gd name="T3" fmla="*/ 28 h 44"/>
                <a:gd name="T4" fmla="*/ 0 w 76"/>
                <a:gd name="T5" fmla="*/ 24 h 44"/>
                <a:gd name="T6" fmla="*/ 1 w 76"/>
                <a:gd name="T7" fmla="*/ 24 h 44"/>
                <a:gd name="T8" fmla="*/ 6 w 76"/>
                <a:gd name="T9" fmla="*/ 25 h 44"/>
                <a:gd name="T10" fmla="*/ 7 w 76"/>
                <a:gd name="T11" fmla="*/ 24 h 44"/>
                <a:gd name="T12" fmla="*/ 9 w 76"/>
                <a:gd name="T13" fmla="*/ 21 h 44"/>
                <a:gd name="T14" fmla="*/ 12 w 76"/>
                <a:gd name="T15" fmla="*/ 21 h 44"/>
                <a:gd name="T16" fmla="*/ 13 w 76"/>
                <a:gd name="T17" fmla="*/ 20 h 44"/>
                <a:gd name="T18" fmla="*/ 14 w 76"/>
                <a:gd name="T19" fmla="*/ 21 h 44"/>
                <a:gd name="T20" fmla="*/ 16 w 76"/>
                <a:gd name="T21" fmla="*/ 21 h 44"/>
                <a:gd name="T22" fmla="*/ 18 w 76"/>
                <a:gd name="T23" fmla="*/ 22 h 44"/>
                <a:gd name="T24" fmla="*/ 21 w 76"/>
                <a:gd name="T25" fmla="*/ 20 h 44"/>
                <a:gd name="T26" fmla="*/ 22 w 76"/>
                <a:gd name="T27" fmla="*/ 15 h 44"/>
                <a:gd name="T28" fmla="*/ 22 w 76"/>
                <a:gd name="T29" fmla="*/ 12 h 44"/>
                <a:gd name="T30" fmla="*/ 26 w 76"/>
                <a:gd name="T31" fmla="*/ 14 h 44"/>
                <a:gd name="T32" fmla="*/ 29 w 76"/>
                <a:gd name="T33" fmla="*/ 14 h 44"/>
                <a:gd name="T34" fmla="*/ 35 w 76"/>
                <a:gd name="T35" fmla="*/ 15 h 44"/>
                <a:gd name="T36" fmla="*/ 46 w 76"/>
                <a:gd name="T37" fmla="*/ 13 h 44"/>
                <a:gd name="T38" fmla="*/ 49 w 76"/>
                <a:gd name="T39" fmla="*/ 12 h 44"/>
                <a:gd name="T40" fmla="*/ 53 w 76"/>
                <a:gd name="T41" fmla="*/ 12 h 44"/>
                <a:gd name="T42" fmla="*/ 56 w 76"/>
                <a:gd name="T43" fmla="*/ 10 h 44"/>
                <a:gd name="T44" fmla="*/ 61 w 76"/>
                <a:gd name="T45" fmla="*/ 8 h 44"/>
                <a:gd name="T46" fmla="*/ 62 w 76"/>
                <a:gd name="T47" fmla="*/ 6 h 44"/>
                <a:gd name="T48" fmla="*/ 64 w 76"/>
                <a:gd name="T49" fmla="*/ 6 h 44"/>
                <a:gd name="T50" fmla="*/ 67 w 76"/>
                <a:gd name="T51" fmla="*/ 5 h 44"/>
                <a:gd name="T52" fmla="*/ 71 w 76"/>
                <a:gd name="T53" fmla="*/ 2 h 44"/>
                <a:gd name="T54" fmla="*/ 76 w 76"/>
                <a:gd name="T55" fmla="*/ 1 h 44"/>
                <a:gd name="T56" fmla="*/ 71 w 76"/>
                <a:gd name="T57" fmla="*/ 4 h 44"/>
                <a:gd name="T58" fmla="*/ 66 w 76"/>
                <a:gd name="T59" fmla="*/ 8 h 44"/>
                <a:gd name="T60" fmla="*/ 61 w 76"/>
                <a:gd name="T61" fmla="*/ 11 h 44"/>
                <a:gd name="T62" fmla="*/ 58 w 76"/>
                <a:gd name="T63" fmla="*/ 15 h 44"/>
                <a:gd name="T64" fmla="*/ 55 w 76"/>
                <a:gd name="T65" fmla="*/ 16 h 44"/>
                <a:gd name="T66" fmla="*/ 54 w 76"/>
                <a:gd name="T67" fmla="*/ 21 h 44"/>
                <a:gd name="T68" fmla="*/ 58 w 76"/>
                <a:gd name="T69" fmla="*/ 26 h 44"/>
                <a:gd name="T70" fmla="*/ 60 w 76"/>
                <a:gd name="T71" fmla="*/ 29 h 44"/>
                <a:gd name="T72" fmla="*/ 56 w 76"/>
                <a:gd name="T73" fmla="*/ 28 h 44"/>
                <a:gd name="T74" fmla="*/ 51 w 76"/>
                <a:gd name="T75" fmla="*/ 29 h 44"/>
                <a:gd name="T76" fmla="*/ 47 w 76"/>
                <a:gd name="T77" fmla="*/ 29 h 44"/>
                <a:gd name="T78" fmla="*/ 44 w 76"/>
                <a:gd name="T79" fmla="*/ 33 h 44"/>
                <a:gd name="T80" fmla="*/ 41 w 76"/>
                <a:gd name="T81" fmla="*/ 36 h 44"/>
                <a:gd name="T82" fmla="*/ 38 w 76"/>
                <a:gd name="T83" fmla="*/ 37 h 44"/>
                <a:gd name="T84" fmla="*/ 34 w 76"/>
                <a:gd name="T85" fmla="*/ 39 h 44"/>
                <a:gd name="T86" fmla="*/ 29 w 76"/>
                <a:gd name="T87" fmla="*/ 40 h 44"/>
                <a:gd name="T88" fmla="*/ 23 w 76"/>
                <a:gd name="T89" fmla="*/ 42 h 44"/>
                <a:gd name="T90" fmla="*/ 19 w 76"/>
                <a:gd name="T91" fmla="*/ 40 h 44"/>
                <a:gd name="T92" fmla="*/ 16 w 76"/>
                <a:gd name="T93" fmla="*/ 42 h 44"/>
                <a:gd name="T94" fmla="*/ 10 w 76"/>
                <a:gd name="T95" fmla="*/ 40 h 44"/>
                <a:gd name="T96" fmla="*/ 6 w 76"/>
                <a:gd name="T97" fmla="*/ 39 h 44"/>
                <a:gd name="T98" fmla="*/ 4 w 76"/>
                <a:gd name="T99" fmla="*/ 35 h 44"/>
                <a:gd name="T100" fmla="*/ 2 w 76"/>
                <a:gd name="T101" fmla="*/ 3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6" h="44">
                  <a:moveTo>
                    <a:pt x="2" y="31"/>
                  </a:moveTo>
                  <a:cubicBezTo>
                    <a:pt x="2" y="30"/>
                    <a:pt x="2" y="30"/>
                    <a:pt x="2" y="28"/>
                  </a:cubicBezTo>
                  <a:cubicBezTo>
                    <a:pt x="1" y="26"/>
                    <a:pt x="0" y="24"/>
                    <a:pt x="0" y="24"/>
                  </a:cubicBezTo>
                  <a:cubicBezTo>
                    <a:pt x="0" y="24"/>
                    <a:pt x="0" y="23"/>
                    <a:pt x="1" y="24"/>
                  </a:cubicBezTo>
                  <a:cubicBezTo>
                    <a:pt x="3" y="25"/>
                    <a:pt x="3" y="27"/>
                    <a:pt x="6" y="25"/>
                  </a:cubicBezTo>
                  <a:cubicBezTo>
                    <a:pt x="6" y="25"/>
                    <a:pt x="7" y="25"/>
                    <a:pt x="7" y="24"/>
                  </a:cubicBezTo>
                  <a:cubicBezTo>
                    <a:pt x="8" y="23"/>
                    <a:pt x="9" y="21"/>
                    <a:pt x="9" y="21"/>
                  </a:cubicBezTo>
                  <a:cubicBezTo>
                    <a:pt x="11" y="20"/>
                    <a:pt x="10" y="21"/>
                    <a:pt x="12" y="21"/>
                  </a:cubicBezTo>
                  <a:cubicBezTo>
                    <a:pt x="12" y="21"/>
                    <a:pt x="13" y="20"/>
                    <a:pt x="13" y="20"/>
                  </a:cubicBezTo>
                  <a:cubicBezTo>
                    <a:pt x="13" y="20"/>
                    <a:pt x="14" y="21"/>
                    <a:pt x="14" y="21"/>
                  </a:cubicBezTo>
                  <a:cubicBezTo>
                    <a:pt x="15" y="21"/>
                    <a:pt x="15" y="21"/>
                    <a:pt x="16" y="21"/>
                  </a:cubicBezTo>
                  <a:cubicBezTo>
                    <a:pt x="16" y="21"/>
                    <a:pt x="18" y="22"/>
                    <a:pt x="18" y="22"/>
                  </a:cubicBezTo>
                  <a:cubicBezTo>
                    <a:pt x="19" y="22"/>
                    <a:pt x="21" y="22"/>
                    <a:pt x="21" y="20"/>
                  </a:cubicBezTo>
                  <a:cubicBezTo>
                    <a:pt x="21" y="19"/>
                    <a:pt x="22" y="17"/>
                    <a:pt x="22" y="15"/>
                  </a:cubicBezTo>
                  <a:cubicBezTo>
                    <a:pt x="22" y="13"/>
                    <a:pt x="21" y="11"/>
                    <a:pt x="22" y="12"/>
                  </a:cubicBezTo>
                  <a:cubicBezTo>
                    <a:pt x="23" y="12"/>
                    <a:pt x="25" y="13"/>
                    <a:pt x="26" y="14"/>
                  </a:cubicBezTo>
                  <a:cubicBezTo>
                    <a:pt x="28" y="14"/>
                    <a:pt x="28" y="13"/>
                    <a:pt x="29" y="14"/>
                  </a:cubicBezTo>
                  <a:cubicBezTo>
                    <a:pt x="30" y="14"/>
                    <a:pt x="33" y="15"/>
                    <a:pt x="35" y="15"/>
                  </a:cubicBezTo>
                  <a:cubicBezTo>
                    <a:pt x="39" y="15"/>
                    <a:pt x="42" y="14"/>
                    <a:pt x="46" y="13"/>
                  </a:cubicBezTo>
                  <a:cubicBezTo>
                    <a:pt x="47" y="13"/>
                    <a:pt x="48" y="12"/>
                    <a:pt x="49" y="12"/>
                  </a:cubicBezTo>
                  <a:cubicBezTo>
                    <a:pt x="50" y="12"/>
                    <a:pt x="51" y="12"/>
                    <a:pt x="53" y="12"/>
                  </a:cubicBezTo>
                  <a:cubicBezTo>
                    <a:pt x="54" y="11"/>
                    <a:pt x="55" y="10"/>
                    <a:pt x="56" y="10"/>
                  </a:cubicBezTo>
                  <a:cubicBezTo>
                    <a:pt x="58" y="9"/>
                    <a:pt x="60" y="9"/>
                    <a:pt x="61" y="8"/>
                  </a:cubicBezTo>
                  <a:cubicBezTo>
                    <a:pt x="62" y="7"/>
                    <a:pt x="62" y="6"/>
                    <a:pt x="62" y="6"/>
                  </a:cubicBezTo>
                  <a:cubicBezTo>
                    <a:pt x="63" y="6"/>
                    <a:pt x="64" y="6"/>
                    <a:pt x="64" y="6"/>
                  </a:cubicBezTo>
                  <a:cubicBezTo>
                    <a:pt x="65" y="6"/>
                    <a:pt x="66" y="5"/>
                    <a:pt x="67" y="5"/>
                  </a:cubicBezTo>
                  <a:cubicBezTo>
                    <a:pt x="69" y="4"/>
                    <a:pt x="69" y="3"/>
                    <a:pt x="71" y="2"/>
                  </a:cubicBezTo>
                  <a:cubicBezTo>
                    <a:pt x="74" y="0"/>
                    <a:pt x="76" y="0"/>
                    <a:pt x="76" y="1"/>
                  </a:cubicBezTo>
                  <a:cubicBezTo>
                    <a:pt x="75" y="2"/>
                    <a:pt x="72" y="3"/>
                    <a:pt x="71" y="4"/>
                  </a:cubicBezTo>
                  <a:cubicBezTo>
                    <a:pt x="70" y="6"/>
                    <a:pt x="68" y="7"/>
                    <a:pt x="66" y="8"/>
                  </a:cubicBezTo>
                  <a:cubicBezTo>
                    <a:pt x="65" y="8"/>
                    <a:pt x="62" y="10"/>
                    <a:pt x="61" y="11"/>
                  </a:cubicBezTo>
                  <a:cubicBezTo>
                    <a:pt x="60" y="13"/>
                    <a:pt x="60" y="14"/>
                    <a:pt x="58" y="15"/>
                  </a:cubicBezTo>
                  <a:cubicBezTo>
                    <a:pt x="56" y="16"/>
                    <a:pt x="55" y="14"/>
                    <a:pt x="55" y="16"/>
                  </a:cubicBezTo>
                  <a:cubicBezTo>
                    <a:pt x="54" y="17"/>
                    <a:pt x="54" y="19"/>
                    <a:pt x="54" y="21"/>
                  </a:cubicBezTo>
                  <a:cubicBezTo>
                    <a:pt x="55" y="23"/>
                    <a:pt x="57" y="25"/>
                    <a:pt x="58" y="26"/>
                  </a:cubicBezTo>
                  <a:cubicBezTo>
                    <a:pt x="59" y="27"/>
                    <a:pt x="61" y="29"/>
                    <a:pt x="60" y="29"/>
                  </a:cubicBezTo>
                  <a:cubicBezTo>
                    <a:pt x="59" y="30"/>
                    <a:pt x="58" y="29"/>
                    <a:pt x="56" y="28"/>
                  </a:cubicBezTo>
                  <a:cubicBezTo>
                    <a:pt x="54" y="28"/>
                    <a:pt x="52" y="29"/>
                    <a:pt x="51" y="29"/>
                  </a:cubicBezTo>
                  <a:cubicBezTo>
                    <a:pt x="49" y="29"/>
                    <a:pt x="49" y="28"/>
                    <a:pt x="47" y="29"/>
                  </a:cubicBezTo>
                  <a:cubicBezTo>
                    <a:pt x="45" y="29"/>
                    <a:pt x="44" y="32"/>
                    <a:pt x="44" y="33"/>
                  </a:cubicBezTo>
                  <a:cubicBezTo>
                    <a:pt x="44" y="35"/>
                    <a:pt x="42" y="35"/>
                    <a:pt x="41" y="36"/>
                  </a:cubicBezTo>
                  <a:cubicBezTo>
                    <a:pt x="40" y="37"/>
                    <a:pt x="39" y="36"/>
                    <a:pt x="38" y="37"/>
                  </a:cubicBezTo>
                  <a:cubicBezTo>
                    <a:pt x="36" y="38"/>
                    <a:pt x="36" y="39"/>
                    <a:pt x="34" y="39"/>
                  </a:cubicBezTo>
                  <a:cubicBezTo>
                    <a:pt x="32" y="39"/>
                    <a:pt x="30" y="40"/>
                    <a:pt x="29" y="40"/>
                  </a:cubicBezTo>
                  <a:cubicBezTo>
                    <a:pt x="24" y="40"/>
                    <a:pt x="26" y="44"/>
                    <a:pt x="23" y="42"/>
                  </a:cubicBezTo>
                  <a:cubicBezTo>
                    <a:pt x="22" y="42"/>
                    <a:pt x="21" y="41"/>
                    <a:pt x="19" y="40"/>
                  </a:cubicBezTo>
                  <a:cubicBezTo>
                    <a:pt x="18" y="39"/>
                    <a:pt x="17" y="41"/>
                    <a:pt x="16" y="42"/>
                  </a:cubicBezTo>
                  <a:cubicBezTo>
                    <a:pt x="14" y="42"/>
                    <a:pt x="11" y="41"/>
                    <a:pt x="10" y="40"/>
                  </a:cubicBezTo>
                  <a:cubicBezTo>
                    <a:pt x="8" y="39"/>
                    <a:pt x="8" y="40"/>
                    <a:pt x="6" y="39"/>
                  </a:cubicBezTo>
                  <a:cubicBezTo>
                    <a:pt x="4" y="38"/>
                    <a:pt x="5" y="36"/>
                    <a:pt x="4" y="35"/>
                  </a:cubicBezTo>
                  <a:cubicBezTo>
                    <a:pt x="3" y="34"/>
                    <a:pt x="2" y="33"/>
                    <a:pt x="2" y="31"/>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Freeform 68"/>
            <p:cNvSpPr>
              <a:spLocks/>
            </p:cNvSpPr>
            <p:nvPr/>
          </p:nvSpPr>
          <p:spPr bwMode="auto">
            <a:xfrm>
              <a:off x="3621121" y="1946943"/>
              <a:ext cx="553108" cy="437073"/>
            </a:xfrm>
            <a:custGeom>
              <a:avLst/>
              <a:gdLst>
                <a:gd name="T0" fmla="*/ 38 w 191"/>
                <a:gd name="T1" fmla="*/ 63 h 160"/>
                <a:gd name="T2" fmla="*/ 25 w 191"/>
                <a:gd name="T3" fmla="*/ 59 h 160"/>
                <a:gd name="T4" fmla="*/ 9 w 191"/>
                <a:gd name="T5" fmla="*/ 57 h 160"/>
                <a:gd name="T6" fmla="*/ 11 w 191"/>
                <a:gd name="T7" fmla="*/ 61 h 160"/>
                <a:gd name="T8" fmla="*/ 27 w 191"/>
                <a:gd name="T9" fmla="*/ 74 h 160"/>
                <a:gd name="T10" fmla="*/ 28 w 191"/>
                <a:gd name="T11" fmla="*/ 86 h 160"/>
                <a:gd name="T12" fmla="*/ 28 w 191"/>
                <a:gd name="T13" fmla="*/ 91 h 160"/>
                <a:gd name="T14" fmla="*/ 21 w 191"/>
                <a:gd name="T15" fmla="*/ 103 h 160"/>
                <a:gd name="T16" fmla="*/ 7 w 191"/>
                <a:gd name="T17" fmla="*/ 100 h 160"/>
                <a:gd name="T18" fmla="*/ 17 w 191"/>
                <a:gd name="T19" fmla="*/ 112 h 160"/>
                <a:gd name="T20" fmla="*/ 39 w 191"/>
                <a:gd name="T21" fmla="*/ 131 h 160"/>
                <a:gd name="T22" fmla="*/ 69 w 191"/>
                <a:gd name="T23" fmla="*/ 158 h 160"/>
                <a:gd name="T24" fmla="*/ 105 w 191"/>
                <a:gd name="T25" fmla="*/ 153 h 160"/>
                <a:gd name="T26" fmla="*/ 132 w 191"/>
                <a:gd name="T27" fmla="*/ 146 h 160"/>
                <a:gd name="T28" fmla="*/ 156 w 191"/>
                <a:gd name="T29" fmla="*/ 143 h 160"/>
                <a:gd name="T30" fmla="*/ 171 w 191"/>
                <a:gd name="T31" fmla="*/ 133 h 160"/>
                <a:gd name="T32" fmla="*/ 182 w 191"/>
                <a:gd name="T33" fmla="*/ 127 h 160"/>
                <a:gd name="T34" fmla="*/ 185 w 191"/>
                <a:gd name="T35" fmla="*/ 120 h 160"/>
                <a:gd name="T36" fmla="*/ 190 w 191"/>
                <a:gd name="T37" fmla="*/ 107 h 160"/>
                <a:gd name="T38" fmla="*/ 183 w 191"/>
                <a:gd name="T39" fmla="*/ 88 h 160"/>
                <a:gd name="T40" fmla="*/ 181 w 191"/>
                <a:gd name="T41" fmla="*/ 75 h 160"/>
                <a:gd name="T42" fmla="*/ 183 w 191"/>
                <a:gd name="T43" fmla="*/ 61 h 160"/>
                <a:gd name="T44" fmla="*/ 169 w 191"/>
                <a:gd name="T45" fmla="*/ 62 h 160"/>
                <a:gd name="T46" fmla="*/ 166 w 191"/>
                <a:gd name="T47" fmla="*/ 47 h 160"/>
                <a:gd name="T48" fmla="*/ 154 w 191"/>
                <a:gd name="T49" fmla="*/ 55 h 160"/>
                <a:gd name="T50" fmla="*/ 139 w 191"/>
                <a:gd name="T51" fmla="*/ 54 h 160"/>
                <a:gd name="T52" fmla="*/ 129 w 191"/>
                <a:gd name="T53" fmla="*/ 52 h 160"/>
                <a:gd name="T54" fmla="*/ 118 w 191"/>
                <a:gd name="T55" fmla="*/ 65 h 160"/>
                <a:gd name="T56" fmla="*/ 114 w 191"/>
                <a:gd name="T57" fmla="*/ 44 h 160"/>
                <a:gd name="T58" fmla="*/ 103 w 191"/>
                <a:gd name="T59" fmla="*/ 43 h 160"/>
                <a:gd name="T60" fmla="*/ 96 w 191"/>
                <a:gd name="T61" fmla="*/ 55 h 160"/>
                <a:gd name="T62" fmla="*/ 88 w 191"/>
                <a:gd name="T63" fmla="*/ 35 h 160"/>
                <a:gd name="T64" fmla="*/ 78 w 191"/>
                <a:gd name="T65" fmla="*/ 54 h 160"/>
                <a:gd name="T66" fmla="*/ 65 w 191"/>
                <a:gd name="T67" fmla="*/ 55 h 160"/>
                <a:gd name="T68" fmla="*/ 58 w 191"/>
                <a:gd name="T69" fmla="*/ 61 h 160"/>
                <a:gd name="T70" fmla="*/ 61 w 191"/>
                <a:gd name="T71" fmla="*/ 48 h 160"/>
                <a:gd name="T72" fmla="*/ 63 w 191"/>
                <a:gd name="T73" fmla="*/ 42 h 160"/>
                <a:gd name="T74" fmla="*/ 67 w 191"/>
                <a:gd name="T75" fmla="*/ 32 h 160"/>
                <a:gd name="T76" fmla="*/ 65 w 191"/>
                <a:gd name="T77" fmla="*/ 24 h 160"/>
                <a:gd name="T78" fmla="*/ 60 w 191"/>
                <a:gd name="T79" fmla="*/ 6 h 160"/>
                <a:gd name="T80" fmla="*/ 51 w 191"/>
                <a:gd name="T81" fmla="*/ 2 h 160"/>
                <a:gd name="T82" fmla="*/ 49 w 191"/>
                <a:gd name="T83" fmla="*/ 7 h 160"/>
                <a:gd name="T84" fmla="*/ 54 w 191"/>
                <a:gd name="T85" fmla="*/ 11 h 160"/>
                <a:gd name="T86" fmla="*/ 47 w 191"/>
                <a:gd name="T87" fmla="*/ 10 h 160"/>
                <a:gd name="T88" fmla="*/ 51 w 191"/>
                <a:gd name="T89" fmla="*/ 27 h 160"/>
                <a:gd name="T90" fmla="*/ 48 w 191"/>
                <a:gd name="T91" fmla="*/ 23 h 160"/>
                <a:gd name="T92" fmla="*/ 45 w 191"/>
                <a:gd name="T93" fmla="*/ 20 h 160"/>
                <a:gd name="T94" fmla="*/ 43 w 191"/>
                <a:gd name="T95" fmla="*/ 13 h 160"/>
                <a:gd name="T96" fmla="*/ 35 w 191"/>
                <a:gd name="T97" fmla="*/ 8 h 160"/>
                <a:gd name="T98" fmla="*/ 30 w 191"/>
                <a:gd name="T99" fmla="*/ 15 h 160"/>
                <a:gd name="T100" fmla="*/ 26 w 191"/>
                <a:gd name="T101" fmla="*/ 22 h 160"/>
                <a:gd name="T102" fmla="*/ 25 w 191"/>
                <a:gd name="T103" fmla="*/ 25 h 160"/>
                <a:gd name="T104" fmla="*/ 19 w 191"/>
                <a:gd name="T105" fmla="*/ 23 h 160"/>
                <a:gd name="T106" fmla="*/ 19 w 191"/>
                <a:gd name="T107" fmla="*/ 29 h 160"/>
                <a:gd name="T108" fmla="*/ 9 w 191"/>
                <a:gd name="T109" fmla="*/ 24 h 160"/>
                <a:gd name="T110" fmla="*/ 16 w 191"/>
                <a:gd name="T111" fmla="*/ 36 h 160"/>
                <a:gd name="T112" fmla="*/ 29 w 191"/>
                <a:gd name="T113" fmla="*/ 37 h 160"/>
                <a:gd name="T114" fmla="*/ 36 w 191"/>
                <a:gd name="T115" fmla="*/ 37 h 160"/>
                <a:gd name="T116" fmla="*/ 43 w 191"/>
                <a:gd name="T117" fmla="*/ 43 h 160"/>
                <a:gd name="T118" fmla="*/ 48 w 191"/>
                <a:gd name="T119" fmla="*/ 48 h 160"/>
                <a:gd name="T120" fmla="*/ 38 w 191"/>
                <a:gd name="T121" fmla="*/ 53 h 160"/>
                <a:gd name="T122" fmla="*/ 38 w 191"/>
                <a:gd name="T123" fmla="*/ 5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1" h="160">
                  <a:moveTo>
                    <a:pt x="39" y="60"/>
                  </a:moveTo>
                  <a:cubicBezTo>
                    <a:pt x="42" y="62"/>
                    <a:pt x="42" y="62"/>
                    <a:pt x="42" y="62"/>
                  </a:cubicBezTo>
                  <a:cubicBezTo>
                    <a:pt x="44" y="61"/>
                    <a:pt x="44" y="61"/>
                    <a:pt x="44" y="61"/>
                  </a:cubicBezTo>
                  <a:cubicBezTo>
                    <a:pt x="47" y="59"/>
                    <a:pt x="47" y="59"/>
                    <a:pt x="47" y="59"/>
                  </a:cubicBezTo>
                  <a:cubicBezTo>
                    <a:pt x="48" y="61"/>
                    <a:pt x="48" y="61"/>
                    <a:pt x="48" y="61"/>
                  </a:cubicBezTo>
                  <a:cubicBezTo>
                    <a:pt x="45" y="64"/>
                    <a:pt x="45" y="64"/>
                    <a:pt x="45" y="64"/>
                  </a:cubicBezTo>
                  <a:cubicBezTo>
                    <a:pt x="44" y="65"/>
                    <a:pt x="44" y="65"/>
                    <a:pt x="44" y="65"/>
                  </a:cubicBezTo>
                  <a:cubicBezTo>
                    <a:pt x="44" y="67"/>
                    <a:pt x="44" y="67"/>
                    <a:pt x="44" y="67"/>
                  </a:cubicBezTo>
                  <a:cubicBezTo>
                    <a:pt x="41" y="66"/>
                    <a:pt x="41" y="66"/>
                    <a:pt x="41" y="66"/>
                  </a:cubicBezTo>
                  <a:cubicBezTo>
                    <a:pt x="38" y="63"/>
                    <a:pt x="38" y="63"/>
                    <a:pt x="38" y="63"/>
                  </a:cubicBezTo>
                  <a:cubicBezTo>
                    <a:pt x="36" y="63"/>
                    <a:pt x="36" y="63"/>
                    <a:pt x="36" y="63"/>
                  </a:cubicBezTo>
                  <a:cubicBezTo>
                    <a:pt x="34" y="62"/>
                    <a:pt x="34" y="62"/>
                    <a:pt x="34" y="62"/>
                  </a:cubicBezTo>
                  <a:cubicBezTo>
                    <a:pt x="33" y="59"/>
                    <a:pt x="33" y="59"/>
                    <a:pt x="33" y="59"/>
                  </a:cubicBezTo>
                  <a:cubicBezTo>
                    <a:pt x="32" y="60"/>
                    <a:pt x="32" y="60"/>
                    <a:pt x="32" y="60"/>
                  </a:cubicBezTo>
                  <a:cubicBezTo>
                    <a:pt x="30" y="61"/>
                    <a:pt x="30" y="61"/>
                    <a:pt x="30" y="61"/>
                  </a:cubicBezTo>
                  <a:cubicBezTo>
                    <a:pt x="29" y="62"/>
                    <a:pt x="29" y="62"/>
                    <a:pt x="29" y="62"/>
                  </a:cubicBezTo>
                  <a:cubicBezTo>
                    <a:pt x="27" y="60"/>
                    <a:pt x="27" y="60"/>
                    <a:pt x="27" y="60"/>
                  </a:cubicBezTo>
                  <a:cubicBezTo>
                    <a:pt x="28" y="58"/>
                    <a:pt x="28" y="58"/>
                    <a:pt x="28" y="58"/>
                  </a:cubicBezTo>
                  <a:cubicBezTo>
                    <a:pt x="26" y="59"/>
                    <a:pt x="26" y="59"/>
                    <a:pt x="26" y="59"/>
                  </a:cubicBezTo>
                  <a:cubicBezTo>
                    <a:pt x="26" y="59"/>
                    <a:pt x="25" y="60"/>
                    <a:pt x="25" y="59"/>
                  </a:cubicBezTo>
                  <a:cubicBezTo>
                    <a:pt x="24" y="59"/>
                    <a:pt x="23" y="59"/>
                    <a:pt x="23" y="59"/>
                  </a:cubicBezTo>
                  <a:cubicBezTo>
                    <a:pt x="22" y="59"/>
                    <a:pt x="22" y="58"/>
                    <a:pt x="21" y="58"/>
                  </a:cubicBezTo>
                  <a:cubicBezTo>
                    <a:pt x="20" y="57"/>
                    <a:pt x="19" y="56"/>
                    <a:pt x="19" y="56"/>
                  </a:cubicBezTo>
                  <a:cubicBezTo>
                    <a:pt x="17" y="57"/>
                    <a:pt x="17" y="57"/>
                    <a:pt x="17" y="57"/>
                  </a:cubicBezTo>
                  <a:cubicBezTo>
                    <a:pt x="16" y="58"/>
                    <a:pt x="16" y="58"/>
                    <a:pt x="16" y="58"/>
                  </a:cubicBezTo>
                  <a:cubicBezTo>
                    <a:pt x="15" y="57"/>
                    <a:pt x="15" y="57"/>
                    <a:pt x="15" y="57"/>
                  </a:cubicBezTo>
                  <a:cubicBezTo>
                    <a:pt x="14" y="57"/>
                    <a:pt x="14" y="57"/>
                    <a:pt x="14" y="57"/>
                  </a:cubicBezTo>
                  <a:cubicBezTo>
                    <a:pt x="11" y="57"/>
                    <a:pt x="11" y="57"/>
                    <a:pt x="11" y="57"/>
                  </a:cubicBezTo>
                  <a:cubicBezTo>
                    <a:pt x="10" y="57"/>
                    <a:pt x="10" y="57"/>
                    <a:pt x="10" y="57"/>
                  </a:cubicBezTo>
                  <a:cubicBezTo>
                    <a:pt x="10" y="57"/>
                    <a:pt x="10" y="57"/>
                    <a:pt x="9" y="57"/>
                  </a:cubicBezTo>
                  <a:cubicBezTo>
                    <a:pt x="8" y="56"/>
                    <a:pt x="7" y="56"/>
                    <a:pt x="7" y="56"/>
                  </a:cubicBezTo>
                  <a:cubicBezTo>
                    <a:pt x="5" y="55"/>
                    <a:pt x="5" y="55"/>
                    <a:pt x="5" y="55"/>
                  </a:cubicBezTo>
                  <a:cubicBezTo>
                    <a:pt x="3" y="55"/>
                    <a:pt x="3" y="55"/>
                    <a:pt x="3" y="55"/>
                  </a:cubicBezTo>
                  <a:cubicBezTo>
                    <a:pt x="3" y="55"/>
                    <a:pt x="2" y="54"/>
                    <a:pt x="2" y="55"/>
                  </a:cubicBezTo>
                  <a:cubicBezTo>
                    <a:pt x="2" y="56"/>
                    <a:pt x="0" y="58"/>
                    <a:pt x="1" y="58"/>
                  </a:cubicBezTo>
                  <a:cubicBezTo>
                    <a:pt x="1" y="59"/>
                    <a:pt x="2" y="59"/>
                    <a:pt x="3" y="61"/>
                  </a:cubicBezTo>
                  <a:cubicBezTo>
                    <a:pt x="4" y="62"/>
                    <a:pt x="4" y="62"/>
                    <a:pt x="4" y="62"/>
                  </a:cubicBezTo>
                  <a:cubicBezTo>
                    <a:pt x="7" y="62"/>
                    <a:pt x="7" y="62"/>
                    <a:pt x="7" y="62"/>
                  </a:cubicBezTo>
                  <a:cubicBezTo>
                    <a:pt x="8" y="61"/>
                    <a:pt x="8" y="61"/>
                    <a:pt x="8" y="61"/>
                  </a:cubicBezTo>
                  <a:cubicBezTo>
                    <a:pt x="11" y="61"/>
                    <a:pt x="11" y="61"/>
                    <a:pt x="11" y="61"/>
                  </a:cubicBezTo>
                  <a:cubicBezTo>
                    <a:pt x="12" y="63"/>
                    <a:pt x="12" y="65"/>
                    <a:pt x="13" y="64"/>
                  </a:cubicBezTo>
                  <a:cubicBezTo>
                    <a:pt x="14" y="63"/>
                    <a:pt x="14" y="63"/>
                    <a:pt x="14" y="63"/>
                  </a:cubicBezTo>
                  <a:cubicBezTo>
                    <a:pt x="15" y="64"/>
                    <a:pt x="15" y="64"/>
                    <a:pt x="15" y="64"/>
                  </a:cubicBezTo>
                  <a:cubicBezTo>
                    <a:pt x="15" y="64"/>
                    <a:pt x="17" y="67"/>
                    <a:pt x="18" y="67"/>
                  </a:cubicBezTo>
                  <a:cubicBezTo>
                    <a:pt x="19" y="68"/>
                    <a:pt x="19" y="68"/>
                    <a:pt x="19" y="68"/>
                  </a:cubicBezTo>
                  <a:cubicBezTo>
                    <a:pt x="23" y="70"/>
                    <a:pt x="23" y="70"/>
                    <a:pt x="23" y="70"/>
                  </a:cubicBezTo>
                  <a:cubicBezTo>
                    <a:pt x="24" y="70"/>
                    <a:pt x="24" y="70"/>
                    <a:pt x="24" y="70"/>
                  </a:cubicBezTo>
                  <a:cubicBezTo>
                    <a:pt x="24" y="70"/>
                    <a:pt x="27" y="69"/>
                    <a:pt x="27" y="69"/>
                  </a:cubicBezTo>
                  <a:cubicBezTo>
                    <a:pt x="27" y="70"/>
                    <a:pt x="28" y="71"/>
                    <a:pt x="28" y="72"/>
                  </a:cubicBezTo>
                  <a:cubicBezTo>
                    <a:pt x="28" y="72"/>
                    <a:pt x="28" y="73"/>
                    <a:pt x="27" y="74"/>
                  </a:cubicBezTo>
                  <a:cubicBezTo>
                    <a:pt x="27" y="74"/>
                    <a:pt x="28" y="75"/>
                    <a:pt x="28" y="75"/>
                  </a:cubicBezTo>
                  <a:cubicBezTo>
                    <a:pt x="25" y="77"/>
                    <a:pt x="25" y="77"/>
                    <a:pt x="25" y="77"/>
                  </a:cubicBezTo>
                  <a:cubicBezTo>
                    <a:pt x="25" y="80"/>
                    <a:pt x="25" y="80"/>
                    <a:pt x="25" y="80"/>
                  </a:cubicBezTo>
                  <a:cubicBezTo>
                    <a:pt x="25" y="80"/>
                    <a:pt x="25" y="81"/>
                    <a:pt x="25" y="81"/>
                  </a:cubicBezTo>
                  <a:cubicBezTo>
                    <a:pt x="25" y="82"/>
                    <a:pt x="24" y="84"/>
                    <a:pt x="24" y="84"/>
                  </a:cubicBezTo>
                  <a:cubicBezTo>
                    <a:pt x="26" y="83"/>
                    <a:pt x="26" y="83"/>
                    <a:pt x="26" y="83"/>
                  </a:cubicBezTo>
                  <a:cubicBezTo>
                    <a:pt x="26" y="83"/>
                    <a:pt x="27" y="83"/>
                    <a:pt x="27" y="84"/>
                  </a:cubicBezTo>
                  <a:cubicBezTo>
                    <a:pt x="26" y="85"/>
                    <a:pt x="26" y="86"/>
                    <a:pt x="26" y="86"/>
                  </a:cubicBezTo>
                  <a:cubicBezTo>
                    <a:pt x="26" y="86"/>
                    <a:pt x="26" y="88"/>
                    <a:pt x="27" y="87"/>
                  </a:cubicBezTo>
                  <a:cubicBezTo>
                    <a:pt x="28" y="86"/>
                    <a:pt x="28" y="86"/>
                    <a:pt x="28" y="86"/>
                  </a:cubicBezTo>
                  <a:cubicBezTo>
                    <a:pt x="30" y="86"/>
                    <a:pt x="30" y="86"/>
                    <a:pt x="30" y="86"/>
                  </a:cubicBezTo>
                  <a:cubicBezTo>
                    <a:pt x="32" y="85"/>
                    <a:pt x="32" y="85"/>
                    <a:pt x="32" y="85"/>
                  </a:cubicBezTo>
                  <a:cubicBezTo>
                    <a:pt x="32" y="85"/>
                    <a:pt x="32" y="85"/>
                    <a:pt x="34" y="84"/>
                  </a:cubicBezTo>
                  <a:cubicBezTo>
                    <a:pt x="35" y="84"/>
                    <a:pt x="37" y="84"/>
                    <a:pt x="37" y="84"/>
                  </a:cubicBezTo>
                  <a:cubicBezTo>
                    <a:pt x="37" y="84"/>
                    <a:pt x="38" y="86"/>
                    <a:pt x="38" y="86"/>
                  </a:cubicBezTo>
                  <a:cubicBezTo>
                    <a:pt x="37" y="86"/>
                    <a:pt x="33" y="86"/>
                    <a:pt x="33" y="86"/>
                  </a:cubicBezTo>
                  <a:cubicBezTo>
                    <a:pt x="32" y="86"/>
                    <a:pt x="32" y="86"/>
                    <a:pt x="32" y="86"/>
                  </a:cubicBezTo>
                  <a:cubicBezTo>
                    <a:pt x="30" y="88"/>
                    <a:pt x="30" y="88"/>
                    <a:pt x="30" y="88"/>
                  </a:cubicBezTo>
                  <a:cubicBezTo>
                    <a:pt x="28" y="89"/>
                    <a:pt x="28" y="89"/>
                    <a:pt x="28" y="89"/>
                  </a:cubicBezTo>
                  <a:cubicBezTo>
                    <a:pt x="28" y="89"/>
                    <a:pt x="27" y="91"/>
                    <a:pt x="28" y="91"/>
                  </a:cubicBezTo>
                  <a:cubicBezTo>
                    <a:pt x="28" y="92"/>
                    <a:pt x="26" y="93"/>
                    <a:pt x="26" y="93"/>
                  </a:cubicBezTo>
                  <a:cubicBezTo>
                    <a:pt x="25" y="93"/>
                    <a:pt x="25" y="93"/>
                    <a:pt x="25" y="93"/>
                  </a:cubicBezTo>
                  <a:cubicBezTo>
                    <a:pt x="25" y="93"/>
                    <a:pt x="25" y="93"/>
                    <a:pt x="25" y="93"/>
                  </a:cubicBezTo>
                  <a:cubicBezTo>
                    <a:pt x="25" y="93"/>
                    <a:pt x="25" y="94"/>
                    <a:pt x="26" y="95"/>
                  </a:cubicBezTo>
                  <a:cubicBezTo>
                    <a:pt x="27" y="95"/>
                    <a:pt x="30" y="94"/>
                    <a:pt x="30" y="94"/>
                  </a:cubicBezTo>
                  <a:cubicBezTo>
                    <a:pt x="30" y="94"/>
                    <a:pt x="31" y="94"/>
                    <a:pt x="30" y="95"/>
                  </a:cubicBezTo>
                  <a:cubicBezTo>
                    <a:pt x="30" y="96"/>
                    <a:pt x="29" y="98"/>
                    <a:pt x="29" y="98"/>
                  </a:cubicBezTo>
                  <a:cubicBezTo>
                    <a:pt x="29" y="98"/>
                    <a:pt x="28" y="98"/>
                    <a:pt x="26" y="99"/>
                  </a:cubicBezTo>
                  <a:cubicBezTo>
                    <a:pt x="24" y="99"/>
                    <a:pt x="22" y="101"/>
                    <a:pt x="22" y="101"/>
                  </a:cubicBezTo>
                  <a:cubicBezTo>
                    <a:pt x="21" y="103"/>
                    <a:pt x="21" y="103"/>
                    <a:pt x="21" y="103"/>
                  </a:cubicBezTo>
                  <a:cubicBezTo>
                    <a:pt x="21" y="103"/>
                    <a:pt x="21" y="104"/>
                    <a:pt x="19" y="104"/>
                  </a:cubicBezTo>
                  <a:cubicBezTo>
                    <a:pt x="18" y="103"/>
                    <a:pt x="15" y="103"/>
                    <a:pt x="15" y="103"/>
                  </a:cubicBezTo>
                  <a:cubicBezTo>
                    <a:pt x="14" y="104"/>
                    <a:pt x="14" y="104"/>
                    <a:pt x="14" y="104"/>
                  </a:cubicBezTo>
                  <a:cubicBezTo>
                    <a:pt x="14" y="104"/>
                    <a:pt x="13" y="104"/>
                    <a:pt x="12" y="104"/>
                  </a:cubicBezTo>
                  <a:cubicBezTo>
                    <a:pt x="11" y="104"/>
                    <a:pt x="11" y="103"/>
                    <a:pt x="11" y="103"/>
                  </a:cubicBezTo>
                  <a:cubicBezTo>
                    <a:pt x="11" y="100"/>
                    <a:pt x="11" y="100"/>
                    <a:pt x="11" y="100"/>
                  </a:cubicBezTo>
                  <a:cubicBezTo>
                    <a:pt x="11" y="99"/>
                    <a:pt x="11" y="99"/>
                    <a:pt x="11" y="99"/>
                  </a:cubicBezTo>
                  <a:cubicBezTo>
                    <a:pt x="10" y="96"/>
                    <a:pt x="10" y="96"/>
                    <a:pt x="10" y="96"/>
                  </a:cubicBezTo>
                  <a:cubicBezTo>
                    <a:pt x="10" y="96"/>
                    <a:pt x="9" y="98"/>
                    <a:pt x="8" y="98"/>
                  </a:cubicBezTo>
                  <a:cubicBezTo>
                    <a:pt x="8" y="99"/>
                    <a:pt x="7" y="100"/>
                    <a:pt x="7" y="100"/>
                  </a:cubicBezTo>
                  <a:cubicBezTo>
                    <a:pt x="6" y="102"/>
                    <a:pt x="6" y="102"/>
                    <a:pt x="6" y="102"/>
                  </a:cubicBezTo>
                  <a:cubicBezTo>
                    <a:pt x="5" y="103"/>
                    <a:pt x="5" y="103"/>
                    <a:pt x="5" y="103"/>
                  </a:cubicBezTo>
                  <a:cubicBezTo>
                    <a:pt x="6" y="106"/>
                    <a:pt x="6" y="106"/>
                    <a:pt x="6" y="106"/>
                  </a:cubicBezTo>
                  <a:cubicBezTo>
                    <a:pt x="5" y="107"/>
                    <a:pt x="5" y="107"/>
                    <a:pt x="5" y="107"/>
                  </a:cubicBezTo>
                  <a:cubicBezTo>
                    <a:pt x="5" y="107"/>
                    <a:pt x="3" y="108"/>
                    <a:pt x="4" y="108"/>
                  </a:cubicBezTo>
                  <a:cubicBezTo>
                    <a:pt x="5" y="109"/>
                    <a:pt x="8" y="110"/>
                    <a:pt x="8" y="110"/>
                  </a:cubicBezTo>
                  <a:cubicBezTo>
                    <a:pt x="8" y="110"/>
                    <a:pt x="9" y="109"/>
                    <a:pt x="10" y="110"/>
                  </a:cubicBezTo>
                  <a:cubicBezTo>
                    <a:pt x="12" y="111"/>
                    <a:pt x="13" y="112"/>
                    <a:pt x="13" y="112"/>
                  </a:cubicBezTo>
                  <a:cubicBezTo>
                    <a:pt x="14" y="112"/>
                    <a:pt x="14" y="112"/>
                    <a:pt x="14" y="112"/>
                  </a:cubicBezTo>
                  <a:cubicBezTo>
                    <a:pt x="17" y="112"/>
                    <a:pt x="17" y="112"/>
                    <a:pt x="17" y="112"/>
                  </a:cubicBezTo>
                  <a:cubicBezTo>
                    <a:pt x="18" y="113"/>
                    <a:pt x="18" y="113"/>
                    <a:pt x="18" y="113"/>
                  </a:cubicBezTo>
                  <a:cubicBezTo>
                    <a:pt x="22" y="114"/>
                    <a:pt x="22" y="114"/>
                    <a:pt x="22" y="114"/>
                  </a:cubicBezTo>
                  <a:cubicBezTo>
                    <a:pt x="22" y="114"/>
                    <a:pt x="23" y="116"/>
                    <a:pt x="23" y="116"/>
                  </a:cubicBezTo>
                  <a:cubicBezTo>
                    <a:pt x="23" y="117"/>
                    <a:pt x="26" y="118"/>
                    <a:pt x="26" y="118"/>
                  </a:cubicBezTo>
                  <a:cubicBezTo>
                    <a:pt x="26" y="118"/>
                    <a:pt x="25" y="118"/>
                    <a:pt x="27" y="118"/>
                  </a:cubicBezTo>
                  <a:cubicBezTo>
                    <a:pt x="29" y="118"/>
                    <a:pt x="30" y="118"/>
                    <a:pt x="30" y="118"/>
                  </a:cubicBezTo>
                  <a:cubicBezTo>
                    <a:pt x="30" y="118"/>
                    <a:pt x="32" y="118"/>
                    <a:pt x="33" y="119"/>
                  </a:cubicBezTo>
                  <a:cubicBezTo>
                    <a:pt x="33" y="120"/>
                    <a:pt x="35" y="123"/>
                    <a:pt x="35" y="123"/>
                  </a:cubicBezTo>
                  <a:cubicBezTo>
                    <a:pt x="38" y="128"/>
                    <a:pt x="38" y="128"/>
                    <a:pt x="38" y="128"/>
                  </a:cubicBezTo>
                  <a:cubicBezTo>
                    <a:pt x="39" y="131"/>
                    <a:pt x="39" y="131"/>
                    <a:pt x="39" y="131"/>
                  </a:cubicBezTo>
                  <a:cubicBezTo>
                    <a:pt x="39" y="131"/>
                    <a:pt x="39" y="131"/>
                    <a:pt x="41" y="133"/>
                  </a:cubicBezTo>
                  <a:cubicBezTo>
                    <a:pt x="42" y="134"/>
                    <a:pt x="43" y="136"/>
                    <a:pt x="43" y="136"/>
                  </a:cubicBezTo>
                  <a:cubicBezTo>
                    <a:pt x="43" y="136"/>
                    <a:pt x="43" y="136"/>
                    <a:pt x="44" y="137"/>
                  </a:cubicBezTo>
                  <a:cubicBezTo>
                    <a:pt x="45" y="139"/>
                    <a:pt x="46" y="140"/>
                    <a:pt x="46" y="140"/>
                  </a:cubicBezTo>
                  <a:cubicBezTo>
                    <a:pt x="46" y="140"/>
                    <a:pt x="46" y="142"/>
                    <a:pt x="47" y="142"/>
                  </a:cubicBezTo>
                  <a:cubicBezTo>
                    <a:pt x="49" y="143"/>
                    <a:pt x="50" y="143"/>
                    <a:pt x="51" y="144"/>
                  </a:cubicBezTo>
                  <a:cubicBezTo>
                    <a:pt x="52" y="145"/>
                    <a:pt x="54" y="147"/>
                    <a:pt x="54" y="147"/>
                  </a:cubicBezTo>
                  <a:cubicBezTo>
                    <a:pt x="54" y="147"/>
                    <a:pt x="58" y="151"/>
                    <a:pt x="60" y="152"/>
                  </a:cubicBezTo>
                  <a:cubicBezTo>
                    <a:pt x="61" y="154"/>
                    <a:pt x="63" y="156"/>
                    <a:pt x="64" y="156"/>
                  </a:cubicBezTo>
                  <a:cubicBezTo>
                    <a:pt x="65" y="156"/>
                    <a:pt x="69" y="158"/>
                    <a:pt x="69" y="158"/>
                  </a:cubicBezTo>
                  <a:cubicBezTo>
                    <a:pt x="69" y="158"/>
                    <a:pt x="71" y="159"/>
                    <a:pt x="72" y="159"/>
                  </a:cubicBezTo>
                  <a:cubicBezTo>
                    <a:pt x="73" y="159"/>
                    <a:pt x="70" y="158"/>
                    <a:pt x="75" y="158"/>
                  </a:cubicBezTo>
                  <a:cubicBezTo>
                    <a:pt x="80" y="158"/>
                    <a:pt x="83" y="160"/>
                    <a:pt x="83" y="160"/>
                  </a:cubicBezTo>
                  <a:cubicBezTo>
                    <a:pt x="86" y="158"/>
                    <a:pt x="86" y="158"/>
                    <a:pt x="86" y="158"/>
                  </a:cubicBezTo>
                  <a:cubicBezTo>
                    <a:pt x="86" y="158"/>
                    <a:pt x="86" y="159"/>
                    <a:pt x="87" y="157"/>
                  </a:cubicBezTo>
                  <a:cubicBezTo>
                    <a:pt x="87" y="155"/>
                    <a:pt x="88" y="153"/>
                    <a:pt x="88" y="153"/>
                  </a:cubicBezTo>
                  <a:cubicBezTo>
                    <a:pt x="88" y="153"/>
                    <a:pt x="87" y="152"/>
                    <a:pt x="89" y="152"/>
                  </a:cubicBezTo>
                  <a:cubicBezTo>
                    <a:pt x="91" y="151"/>
                    <a:pt x="96" y="151"/>
                    <a:pt x="97" y="151"/>
                  </a:cubicBezTo>
                  <a:cubicBezTo>
                    <a:pt x="97" y="151"/>
                    <a:pt x="98" y="152"/>
                    <a:pt x="98" y="151"/>
                  </a:cubicBezTo>
                  <a:cubicBezTo>
                    <a:pt x="99" y="150"/>
                    <a:pt x="105" y="153"/>
                    <a:pt x="105" y="153"/>
                  </a:cubicBezTo>
                  <a:cubicBezTo>
                    <a:pt x="107" y="151"/>
                    <a:pt x="107" y="151"/>
                    <a:pt x="107" y="151"/>
                  </a:cubicBezTo>
                  <a:cubicBezTo>
                    <a:pt x="108" y="150"/>
                    <a:pt x="108" y="150"/>
                    <a:pt x="108" y="150"/>
                  </a:cubicBezTo>
                  <a:cubicBezTo>
                    <a:pt x="110" y="153"/>
                    <a:pt x="110" y="153"/>
                    <a:pt x="110" y="153"/>
                  </a:cubicBezTo>
                  <a:cubicBezTo>
                    <a:pt x="113" y="154"/>
                    <a:pt x="113" y="154"/>
                    <a:pt x="113" y="154"/>
                  </a:cubicBezTo>
                  <a:cubicBezTo>
                    <a:pt x="113" y="154"/>
                    <a:pt x="116" y="153"/>
                    <a:pt x="117" y="153"/>
                  </a:cubicBezTo>
                  <a:cubicBezTo>
                    <a:pt x="118" y="153"/>
                    <a:pt x="121" y="151"/>
                    <a:pt x="121" y="151"/>
                  </a:cubicBezTo>
                  <a:cubicBezTo>
                    <a:pt x="121" y="151"/>
                    <a:pt x="121" y="149"/>
                    <a:pt x="122" y="149"/>
                  </a:cubicBezTo>
                  <a:cubicBezTo>
                    <a:pt x="123" y="149"/>
                    <a:pt x="126" y="149"/>
                    <a:pt x="127" y="149"/>
                  </a:cubicBezTo>
                  <a:cubicBezTo>
                    <a:pt x="128" y="148"/>
                    <a:pt x="131" y="148"/>
                    <a:pt x="131" y="148"/>
                  </a:cubicBezTo>
                  <a:cubicBezTo>
                    <a:pt x="132" y="146"/>
                    <a:pt x="132" y="146"/>
                    <a:pt x="132" y="146"/>
                  </a:cubicBezTo>
                  <a:cubicBezTo>
                    <a:pt x="132" y="146"/>
                    <a:pt x="133" y="145"/>
                    <a:pt x="134" y="146"/>
                  </a:cubicBezTo>
                  <a:cubicBezTo>
                    <a:pt x="136" y="146"/>
                    <a:pt x="138" y="146"/>
                    <a:pt x="138" y="146"/>
                  </a:cubicBezTo>
                  <a:cubicBezTo>
                    <a:pt x="141" y="145"/>
                    <a:pt x="141" y="145"/>
                    <a:pt x="141" y="145"/>
                  </a:cubicBezTo>
                  <a:cubicBezTo>
                    <a:pt x="143" y="144"/>
                    <a:pt x="143" y="144"/>
                    <a:pt x="143" y="144"/>
                  </a:cubicBezTo>
                  <a:cubicBezTo>
                    <a:pt x="143" y="144"/>
                    <a:pt x="143" y="143"/>
                    <a:pt x="144" y="144"/>
                  </a:cubicBezTo>
                  <a:cubicBezTo>
                    <a:pt x="145" y="144"/>
                    <a:pt x="147" y="146"/>
                    <a:pt x="147" y="146"/>
                  </a:cubicBezTo>
                  <a:cubicBezTo>
                    <a:pt x="150" y="147"/>
                    <a:pt x="150" y="147"/>
                    <a:pt x="150" y="147"/>
                  </a:cubicBezTo>
                  <a:cubicBezTo>
                    <a:pt x="152" y="146"/>
                    <a:pt x="152" y="146"/>
                    <a:pt x="152" y="146"/>
                  </a:cubicBezTo>
                  <a:cubicBezTo>
                    <a:pt x="154" y="144"/>
                    <a:pt x="154" y="144"/>
                    <a:pt x="154" y="144"/>
                  </a:cubicBezTo>
                  <a:cubicBezTo>
                    <a:pt x="154" y="144"/>
                    <a:pt x="154" y="143"/>
                    <a:pt x="156" y="143"/>
                  </a:cubicBezTo>
                  <a:cubicBezTo>
                    <a:pt x="159" y="144"/>
                    <a:pt x="160" y="144"/>
                    <a:pt x="160" y="144"/>
                  </a:cubicBezTo>
                  <a:cubicBezTo>
                    <a:pt x="160" y="144"/>
                    <a:pt x="162" y="143"/>
                    <a:pt x="162" y="143"/>
                  </a:cubicBezTo>
                  <a:cubicBezTo>
                    <a:pt x="162" y="142"/>
                    <a:pt x="162" y="141"/>
                    <a:pt x="162" y="140"/>
                  </a:cubicBezTo>
                  <a:cubicBezTo>
                    <a:pt x="163" y="139"/>
                    <a:pt x="166" y="136"/>
                    <a:pt x="166" y="136"/>
                  </a:cubicBezTo>
                  <a:cubicBezTo>
                    <a:pt x="168" y="135"/>
                    <a:pt x="168" y="135"/>
                    <a:pt x="168" y="135"/>
                  </a:cubicBezTo>
                  <a:cubicBezTo>
                    <a:pt x="167" y="132"/>
                    <a:pt x="167" y="132"/>
                    <a:pt x="167" y="132"/>
                  </a:cubicBezTo>
                  <a:cubicBezTo>
                    <a:pt x="167" y="131"/>
                    <a:pt x="167" y="131"/>
                    <a:pt x="167" y="131"/>
                  </a:cubicBezTo>
                  <a:cubicBezTo>
                    <a:pt x="167" y="131"/>
                    <a:pt x="170" y="130"/>
                    <a:pt x="169" y="132"/>
                  </a:cubicBezTo>
                  <a:cubicBezTo>
                    <a:pt x="168" y="133"/>
                    <a:pt x="169" y="134"/>
                    <a:pt x="169" y="134"/>
                  </a:cubicBezTo>
                  <a:cubicBezTo>
                    <a:pt x="169" y="134"/>
                    <a:pt x="170" y="133"/>
                    <a:pt x="171" y="133"/>
                  </a:cubicBezTo>
                  <a:cubicBezTo>
                    <a:pt x="172" y="133"/>
                    <a:pt x="173" y="132"/>
                    <a:pt x="173" y="133"/>
                  </a:cubicBezTo>
                  <a:cubicBezTo>
                    <a:pt x="174" y="133"/>
                    <a:pt x="175" y="133"/>
                    <a:pt x="175" y="133"/>
                  </a:cubicBezTo>
                  <a:cubicBezTo>
                    <a:pt x="175" y="133"/>
                    <a:pt x="175" y="131"/>
                    <a:pt x="176" y="131"/>
                  </a:cubicBezTo>
                  <a:cubicBezTo>
                    <a:pt x="177" y="131"/>
                    <a:pt x="178" y="131"/>
                    <a:pt x="178" y="131"/>
                  </a:cubicBezTo>
                  <a:cubicBezTo>
                    <a:pt x="178" y="131"/>
                    <a:pt x="179" y="132"/>
                    <a:pt x="179" y="131"/>
                  </a:cubicBezTo>
                  <a:cubicBezTo>
                    <a:pt x="179" y="131"/>
                    <a:pt x="177" y="129"/>
                    <a:pt x="177" y="129"/>
                  </a:cubicBezTo>
                  <a:cubicBezTo>
                    <a:pt x="178" y="130"/>
                    <a:pt x="180" y="129"/>
                    <a:pt x="180" y="129"/>
                  </a:cubicBezTo>
                  <a:cubicBezTo>
                    <a:pt x="180" y="129"/>
                    <a:pt x="182" y="130"/>
                    <a:pt x="180" y="128"/>
                  </a:cubicBezTo>
                  <a:cubicBezTo>
                    <a:pt x="178" y="126"/>
                    <a:pt x="180" y="126"/>
                    <a:pt x="180" y="126"/>
                  </a:cubicBezTo>
                  <a:cubicBezTo>
                    <a:pt x="180" y="126"/>
                    <a:pt x="183" y="127"/>
                    <a:pt x="182" y="127"/>
                  </a:cubicBezTo>
                  <a:cubicBezTo>
                    <a:pt x="181" y="126"/>
                    <a:pt x="178" y="122"/>
                    <a:pt x="178" y="122"/>
                  </a:cubicBezTo>
                  <a:cubicBezTo>
                    <a:pt x="178" y="121"/>
                    <a:pt x="178" y="121"/>
                    <a:pt x="178" y="121"/>
                  </a:cubicBezTo>
                  <a:cubicBezTo>
                    <a:pt x="178" y="120"/>
                    <a:pt x="178" y="120"/>
                    <a:pt x="178" y="120"/>
                  </a:cubicBezTo>
                  <a:cubicBezTo>
                    <a:pt x="178" y="120"/>
                    <a:pt x="180" y="121"/>
                    <a:pt x="180" y="121"/>
                  </a:cubicBezTo>
                  <a:cubicBezTo>
                    <a:pt x="181" y="121"/>
                    <a:pt x="181" y="121"/>
                    <a:pt x="182" y="122"/>
                  </a:cubicBezTo>
                  <a:cubicBezTo>
                    <a:pt x="183" y="123"/>
                    <a:pt x="182" y="124"/>
                    <a:pt x="183" y="124"/>
                  </a:cubicBezTo>
                  <a:cubicBezTo>
                    <a:pt x="184" y="125"/>
                    <a:pt x="186" y="124"/>
                    <a:pt x="186" y="124"/>
                  </a:cubicBezTo>
                  <a:cubicBezTo>
                    <a:pt x="188" y="122"/>
                    <a:pt x="188" y="122"/>
                    <a:pt x="188" y="122"/>
                  </a:cubicBezTo>
                  <a:cubicBezTo>
                    <a:pt x="188" y="122"/>
                    <a:pt x="190" y="119"/>
                    <a:pt x="190" y="118"/>
                  </a:cubicBezTo>
                  <a:cubicBezTo>
                    <a:pt x="189" y="118"/>
                    <a:pt x="185" y="120"/>
                    <a:pt x="185" y="120"/>
                  </a:cubicBezTo>
                  <a:cubicBezTo>
                    <a:pt x="186" y="116"/>
                    <a:pt x="186" y="116"/>
                    <a:pt x="186" y="116"/>
                  </a:cubicBezTo>
                  <a:cubicBezTo>
                    <a:pt x="185" y="116"/>
                    <a:pt x="185" y="116"/>
                    <a:pt x="185" y="116"/>
                  </a:cubicBezTo>
                  <a:cubicBezTo>
                    <a:pt x="183" y="114"/>
                    <a:pt x="183" y="114"/>
                    <a:pt x="183" y="114"/>
                  </a:cubicBezTo>
                  <a:cubicBezTo>
                    <a:pt x="183" y="114"/>
                    <a:pt x="186" y="115"/>
                    <a:pt x="186" y="115"/>
                  </a:cubicBezTo>
                  <a:cubicBezTo>
                    <a:pt x="187" y="115"/>
                    <a:pt x="189" y="114"/>
                    <a:pt x="189" y="114"/>
                  </a:cubicBezTo>
                  <a:cubicBezTo>
                    <a:pt x="189" y="113"/>
                    <a:pt x="189" y="113"/>
                    <a:pt x="189" y="113"/>
                  </a:cubicBezTo>
                  <a:cubicBezTo>
                    <a:pt x="186" y="111"/>
                    <a:pt x="186" y="111"/>
                    <a:pt x="186" y="111"/>
                  </a:cubicBezTo>
                  <a:cubicBezTo>
                    <a:pt x="187" y="110"/>
                    <a:pt x="187" y="110"/>
                    <a:pt x="187" y="110"/>
                  </a:cubicBezTo>
                  <a:cubicBezTo>
                    <a:pt x="188" y="108"/>
                    <a:pt x="188" y="108"/>
                    <a:pt x="188" y="108"/>
                  </a:cubicBezTo>
                  <a:cubicBezTo>
                    <a:pt x="190" y="107"/>
                    <a:pt x="190" y="107"/>
                    <a:pt x="190" y="107"/>
                  </a:cubicBezTo>
                  <a:cubicBezTo>
                    <a:pt x="191" y="103"/>
                    <a:pt x="191" y="103"/>
                    <a:pt x="191" y="103"/>
                  </a:cubicBezTo>
                  <a:cubicBezTo>
                    <a:pt x="191" y="101"/>
                    <a:pt x="191" y="101"/>
                    <a:pt x="191" y="101"/>
                  </a:cubicBezTo>
                  <a:cubicBezTo>
                    <a:pt x="190" y="101"/>
                    <a:pt x="190" y="101"/>
                    <a:pt x="190" y="101"/>
                  </a:cubicBezTo>
                  <a:cubicBezTo>
                    <a:pt x="189" y="98"/>
                    <a:pt x="189" y="98"/>
                    <a:pt x="189" y="98"/>
                  </a:cubicBezTo>
                  <a:cubicBezTo>
                    <a:pt x="186" y="97"/>
                    <a:pt x="186" y="97"/>
                    <a:pt x="186" y="97"/>
                  </a:cubicBezTo>
                  <a:cubicBezTo>
                    <a:pt x="186" y="97"/>
                    <a:pt x="184" y="94"/>
                    <a:pt x="184" y="94"/>
                  </a:cubicBezTo>
                  <a:cubicBezTo>
                    <a:pt x="183" y="94"/>
                    <a:pt x="184" y="92"/>
                    <a:pt x="183" y="93"/>
                  </a:cubicBezTo>
                  <a:cubicBezTo>
                    <a:pt x="182" y="93"/>
                    <a:pt x="181" y="92"/>
                    <a:pt x="181" y="92"/>
                  </a:cubicBezTo>
                  <a:cubicBezTo>
                    <a:pt x="181" y="92"/>
                    <a:pt x="182" y="90"/>
                    <a:pt x="182" y="90"/>
                  </a:cubicBezTo>
                  <a:cubicBezTo>
                    <a:pt x="182" y="90"/>
                    <a:pt x="183" y="89"/>
                    <a:pt x="183" y="88"/>
                  </a:cubicBezTo>
                  <a:cubicBezTo>
                    <a:pt x="183" y="88"/>
                    <a:pt x="183" y="86"/>
                    <a:pt x="182" y="86"/>
                  </a:cubicBezTo>
                  <a:cubicBezTo>
                    <a:pt x="182" y="86"/>
                    <a:pt x="180" y="87"/>
                    <a:pt x="180" y="87"/>
                  </a:cubicBezTo>
                  <a:cubicBezTo>
                    <a:pt x="176" y="88"/>
                    <a:pt x="176" y="88"/>
                    <a:pt x="176" y="88"/>
                  </a:cubicBezTo>
                  <a:cubicBezTo>
                    <a:pt x="174" y="87"/>
                    <a:pt x="174" y="87"/>
                    <a:pt x="174" y="87"/>
                  </a:cubicBezTo>
                  <a:cubicBezTo>
                    <a:pt x="174" y="87"/>
                    <a:pt x="174" y="86"/>
                    <a:pt x="175" y="85"/>
                  </a:cubicBezTo>
                  <a:cubicBezTo>
                    <a:pt x="175" y="85"/>
                    <a:pt x="176" y="85"/>
                    <a:pt x="176" y="84"/>
                  </a:cubicBezTo>
                  <a:cubicBezTo>
                    <a:pt x="177" y="83"/>
                    <a:pt x="177" y="83"/>
                    <a:pt x="178" y="82"/>
                  </a:cubicBezTo>
                  <a:cubicBezTo>
                    <a:pt x="179" y="81"/>
                    <a:pt x="181" y="79"/>
                    <a:pt x="181" y="79"/>
                  </a:cubicBezTo>
                  <a:cubicBezTo>
                    <a:pt x="181" y="77"/>
                    <a:pt x="181" y="77"/>
                    <a:pt x="181" y="77"/>
                  </a:cubicBezTo>
                  <a:cubicBezTo>
                    <a:pt x="181" y="75"/>
                    <a:pt x="181" y="75"/>
                    <a:pt x="181" y="75"/>
                  </a:cubicBezTo>
                  <a:cubicBezTo>
                    <a:pt x="181" y="75"/>
                    <a:pt x="179" y="74"/>
                    <a:pt x="179" y="74"/>
                  </a:cubicBezTo>
                  <a:cubicBezTo>
                    <a:pt x="178" y="74"/>
                    <a:pt x="178" y="75"/>
                    <a:pt x="177" y="74"/>
                  </a:cubicBezTo>
                  <a:cubicBezTo>
                    <a:pt x="176" y="73"/>
                    <a:pt x="176" y="73"/>
                    <a:pt x="176" y="72"/>
                  </a:cubicBezTo>
                  <a:cubicBezTo>
                    <a:pt x="175" y="71"/>
                    <a:pt x="174" y="69"/>
                    <a:pt x="174" y="69"/>
                  </a:cubicBezTo>
                  <a:cubicBezTo>
                    <a:pt x="174" y="69"/>
                    <a:pt x="173" y="68"/>
                    <a:pt x="174" y="68"/>
                  </a:cubicBezTo>
                  <a:cubicBezTo>
                    <a:pt x="175" y="68"/>
                    <a:pt x="177" y="69"/>
                    <a:pt x="177" y="68"/>
                  </a:cubicBezTo>
                  <a:cubicBezTo>
                    <a:pt x="178" y="68"/>
                    <a:pt x="178" y="68"/>
                    <a:pt x="178" y="67"/>
                  </a:cubicBezTo>
                  <a:cubicBezTo>
                    <a:pt x="178" y="67"/>
                    <a:pt x="179" y="64"/>
                    <a:pt x="179" y="64"/>
                  </a:cubicBezTo>
                  <a:cubicBezTo>
                    <a:pt x="179" y="63"/>
                    <a:pt x="179" y="64"/>
                    <a:pt x="181" y="63"/>
                  </a:cubicBezTo>
                  <a:cubicBezTo>
                    <a:pt x="182" y="62"/>
                    <a:pt x="182" y="62"/>
                    <a:pt x="183" y="61"/>
                  </a:cubicBezTo>
                  <a:cubicBezTo>
                    <a:pt x="185" y="61"/>
                    <a:pt x="185" y="60"/>
                    <a:pt x="185" y="60"/>
                  </a:cubicBezTo>
                  <a:cubicBezTo>
                    <a:pt x="184" y="60"/>
                    <a:pt x="183" y="59"/>
                    <a:pt x="183" y="59"/>
                  </a:cubicBezTo>
                  <a:cubicBezTo>
                    <a:pt x="182" y="59"/>
                    <a:pt x="180" y="60"/>
                    <a:pt x="180" y="60"/>
                  </a:cubicBezTo>
                  <a:cubicBezTo>
                    <a:pt x="180" y="60"/>
                    <a:pt x="179" y="61"/>
                    <a:pt x="178" y="62"/>
                  </a:cubicBezTo>
                  <a:cubicBezTo>
                    <a:pt x="177" y="62"/>
                    <a:pt x="176" y="62"/>
                    <a:pt x="175" y="62"/>
                  </a:cubicBezTo>
                  <a:cubicBezTo>
                    <a:pt x="175" y="62"/>
                    <a:pt x="174" y="62"/>
                    <a:pt x="174" y="62"/>
                  </a:cubicBezTo>
                  <a:cubicBezTo>
                    <a:pt x="174" y="62"/>
                    <a:pt x="173" y="61"/>
                    <a:pt x="173" y="63"/>
                  </a:cubicBezTo>
                  <a:cubicBezTo>
                    <a:pt x="172" y="64"/>
                    <a:pt x="171" y="66"/>
                    <a:pt x="171" y="66"/>
                  </a:cubicBezTo>
                  <a:cubicBezTo>
                    <a:pt x="171" y="66"/>
                    <a:pt x="170" y="67"/>
                    <a:pt x="170" y="65"/>
                  </a:cubicBezTo>
                  <a:cubicBezTo>
                    <a:pt x="170" y="64"/>
                    <a:pt x="169" y="62"/>
                    <a:pt x="169" y="62"/>
                  </a:cubicBezTo>
                  <a:cubicBezTo>
                    <a:pt x="169" y="62"/>
                    <a:pt x="169" y="62"/>
                    <a:pt x="169" y="62"/>
                  </a:cubicBezTo>
                  <a:cubicBezTo>
                    <a:pt x="168" y="62"/>
                    <a:pt x="166" y="61"/>
                    <a:pt x="166" y="61"/>
                  </a:cubicBezTo>
                  <a:cubicBezTo>
                    <a:pt x="166" y="61"/>
                    <a:pt x="167" y="61"/>
                    <a:pt x="167" y="60"/>
                  </a:cubicBezTo>
                  <a:cubicBezTo>
                    <a:pt x="166" y="58"/>
                    <a:pt x="166" y="58"/>
                    <a:pt x="166" y="58"/>
                  </a:cubicBezTo>
                  <a:cubicBezTo>
                    <a:pt x="167" y="58"/>
                    <a:pt x="167" y="58"/>
                    <a:pt x="168" y="58"/>
                  </a:cubicBezTo>
                  <a:cubicBezTo>
                    <a:pt x="168" y="57"/>
                    <a:pt x="168" y="57"/>
                    <a:pt x="168" y="56"/>
                  </a:cubicBezTo>
                  <a:cubicBezTo>
                    <a:pt x="169" y="54"/>
                    <a:pt x="168" y="53"/>
                    <a:pt x="168" y="53"/>
                  </a:cubicBezTo>
                  <a:cubicBezTo>
                    <a:pt x="167" y="52"/>
                    <a:pt x="166" y="52"/>
                    <a:pt x="166" y="52"/>
                  </a:cubicBezTo>
                  <a:cubicBezTo>
                    <a:pt x="166" y="49"/>
                    <a:pt x="166" y="49"/>
                    <a:pt x="166" y="49"/>
                  </a:cubicBezTo>
                  <a:cubicBezTo>
                    <a:pt x="166" y="49"/>
                    <a:pt x="166" y="48"/>
                    <a:pt x="166" y="47"/>
                  </a:cubicBezTo>
                  <a:cubicBezTo>
                    <a:pt x="165" y="46"/>
                    <a:pt x="165" y="46"/>
                    <a:pt x="164" y="46"/>
                  </a:cubicBezTo>
                  <a:cubicBezTo>
                    <a:pt x="164" y="46"/>
                    <a:pt x="163" y="47"/>
                    <a:pt x="163" y="47"/>
                  </a:cubicBezTo>
                  <a:cubicBezTo>
                    <a:pt x="162" y="47"/>
                    <a:pt x="160" y="46"/>
                    <a:pt x="160" y="46"/>
                  </a:cubicBezTo>
                  <a:cubicBezTo>
                    <a:pt x="157" y="44"/>
                    <a:pt x="157" y="44"/>
                    <a:pt x="157" y="44"/>
                  </a:cubicBezTo>
                  <a:cubicBezTo>
                    <a:pt x="157" y="44"/>
                    <a:pt x="157" y="44"/>
                    <a:pt x="156" y="45"/>
                  </a:cubicBezTo>
                  <a:cubicBezTo>
                    <a:pt x="156" y="46"/>
                    <a:pt x="156" y="45"/>
                    <a:pt x="156" y="46"/>
                  </a:cubicBezTo>
                  <a:cubicBezTo>
                    <a:pt x="156" y="47"/>
                    <a:pt x="156" y="48"/>
                    <a:pt x="156" y="49"/>
                  </a:cubicBezTo>
                  <a:cubicBezTo>
                    <a:pt x="156" y="49"/>
                    <a:pt x="156" y="51"/>
                    <a:pt x="155" y="52"/>
                  </a:cubicBezTo>
                  <a:cubicBezTo>
                    <a:pt x="155" y="53"/>
                    <a:pt x="154" y="53"/>
                    <a:pt x="154" y="54"/>
                  </a:cubicBezTo>
                  <a:cubicBezTo>
                    <a:pt x="154" y="54"/>
                    <a:pt x="155" y="55"/>
                    <a:pt x="154" y="55"/>
                  </a:cubicBezTo>
                  <a:cubicBezTo>
                    <a:pt x="154" y="55"/>
                    <a:pt x="154" y="57"/>
                    <a:pt x="153" y="57"/>
                  </a:cubicBezTo>
                  <a:cubicBezTo>
                    <a:pt x="153" y="57"/>
                    <a:pt x="152" y="58"/>
                    <a:pt x="152" y="58"/>
                  </a:cubicBezTo>
                  <a:cubicBezTo>
                    <a:pt x="151" y="58"/>
                    <a:pt x="151" y="58"/>
                    <a:pt x="150" y="58"/>
                  </a:cubicBezTo>
                  <a:cubicBezTo>
                    <a:pt x="149" y="58"/>
                    <a:pt x="149" y="59"/>
                    <a:pt x="149" y="59"/>
                  </a:cubicBezTo>
                  <a:cubicBezTo>
                    <a:pt x="149" y="59"/>
                    <a:pt x="147" y="59"/>
                    <a:pt x="146" y="58"/>
                  </a:cubicBezTo>
                  <a:cubicBezTo>
                    <a:pt x="145" y="58"/>
                    <a:pt x="145" y="57"/>
                    <a:pt x="145" y="57"/>
                  </a:cubicBezTo>
                  <a:cubicBezTo>
                    <a:pt x="144" y="55"/>
                    <a:pt x="144" y="55"/>
                    <a:pt x="144" y="55"/>
                  </a:cubicBezTo>
                  <a:cubicBezTo>
                    <a:pt x="144" y="55"/>
                    <a:pt x="148" y="56"/>
                    <a:pt x="144" y="54"/>
                  </a:cubicBezTo>
                  <a:cubicBezTo>
                    <a:pt x="140" y="52"/>
                    <a:pt x="141" y="52"/>
                    <a:pt x="141" y="52"/>
                  </a:cubicBezTo>
                  <a:cubicBezTo>
                    <a:pt x="141" y="52"/>
                    <a:pt x="140" y="53"/>
                    <a:pt x="139" y="54"/>
                  </a:cubicBezTo>
                  <a:cubicBezTo>
                    <a:pt x="139" y="54"/>
                    <a:pt x="138" y="55"/>
                    <a:pt x="138" y="55"/>
                  </a:cubicBezTo>
                  <a:cubicBezTo>
                    <a:pt x="138" y="56"/>
                    <a:pt x="138" y="56"/>
                    <a:pt x="138" y="56"/>
                  </a:cubicBezTo>
                  <a:cubicBezTo>
                    <a:pt x="137" y="56"/>
                    <a:pt x="137" y="56"/>
                    <a:pt x="137" y="56"/>
                  </a:cubicBezTo>
                  <a:cubicBezTo>
                    <a:pt x="136" y="58"/>
                    <a:pt x="136" y="58"/>
                    <a:pt x="136" y="58"/>
                  </a:cubicBezTo>
                  <a:cubicBezTo>
                    <a:pt x="136" y="58"/>
                    <a:pt x="134" y="59"/>
                    <a:pt x="134" y="59"/>
                  </a:cubicBezTo>
                  <a:cubicBezTo>
                    <a:pt x="134" y="59"/>
                    <a:pt x="133" y="59"/>
                    <a:pt x="133" y="59"/>
                  </a:cubicBezTo>
                  <a:cubicBezTo>
                    <a:pt x="132" y="59"/>
                    <a:pt x="132" y="59"/>
                    <a:pt x="131" y="59"/>
                  </a:cubicBezTo>
                  <a:cubicBezTo>
                    <a:pt x="131" y="59"/>
                    <a:pt x="130" y="58"/>
                    <a:pt x="130" y="58"/>
                  </a:cubicBezTo>
                  <a:cubicBezTo>
                    <a:pt x="130" y="57"/>
                    <a:pt x="130" y="55"/>
                    <a:pt x="130" y="55"/>
                  </a:cubicBezTo>
                  <a:cubicBezTo>
                    <a:pt x="130" y="54"/>
                    <a:pt x="130" y="53"/>
                    <a:pt x="129" y="52"/>
                  </a:cubicBezTo>
                  <a:cubicBezTo>
                    <a:pt x="128" y="51"/>
                    <a:pt x="128" y="50"/>
                    <a:pt x="128" y="50"/>
                  </a:cubicBezTo>
                  <a:cubicBezTo>
                    <a:pt x="124" y="47"/>
                    <a:pt x="124" y="47"/>
                    <a:pt x="124" y="47"/>
                  </a:cubicBezTo>
                  <a:cubicBezTo>
                    <a:pt x="124" y="47"/>
                    <a:pt x="124" y="46"/>
                    <a:pt x="123" y="47"/>
                  </a:cubicBezTo>
                  <a:cubicBezTo>
                    <a:pt x="121" y="47"/>
                    <a:pt x="120" y="49"/>
                    <a:pt x="120" y="49"/>
                  </a:cubicBezTo>
                  <a:cubicBezTo>
                    <a:pt x="120" y="49"/>
                    <a:pt x="120" y="50"/>
                    <a:pt x="120" y="51"/>
                  </a:cubicBezTo>
                  <a:cubicBezTo>
                    <a:pt x="120" y="51"/>
                    <a:pt x="119" y="52"/>
                    <a:pt x="119" y="53"/>
                  </a:cubicBezTo>
                  <a:cubicBezTo>
                    <a:pt x="120" y="54"/>
                    <a:pt x="121" y="56"/>
                    <a:pt x="120" y="57"/>
                  </a:cubicBezTo>
                  <a:cubicBezTo>
                    <a:pt x="120" y="57"/>
                    <a:pt x="120" y="58"/>
                    <a:pt x="120" y="60"/>
                  </a:cubicBezTo>
                  <a:cubicBezTo>
                    <a:pt x="120" y="62"/>
                    <a:pt x="120" y="63"/>
                    <a:pt x="119" y="63"/>
                  </a:cubicBezTo>
                  <a:cubicBezTo>
                    <a:pt x="119" y="64"/>
                    <a:pt x="118" y="65"/>
                    <a:pt x="118" y="65"/>
                  </a:cubicBezTo>
                  <a:cubicBezTo>
                    <a:pt x="118" y="65"/>
                    <a:pt x="118" y="65"/>
                    <a:pt x="118" y="65"/>
                  </a:cubicBezTo>
                  <a:cubicBezTo>
                    <a:pt x="118" y="65"/>
                    <a:pt x="118" y="64"/>
                    <a:pt x="118" y="62"/>
                  </a:cubicBezTo>
                  <a:cubicBezTo>
                    <a:pt x="118" y="59"/>
                    <a:pt x="117" y="58"/>
                    <a:pt x="117" y="58"/>
                  </a:cubicBezTo>
                  <a:cubicBezTo>
                    <a:pt x="117" y="58"/>
                    <a:pt x="117" y="57"/>
                    <a:pt x="117" y="57"/>
                  </a:cubicBezTo>
                  <a:cubicBezTo>
                    <a:pt x="117" y="56"/>
                    <a:pt x="117" y="55"/>
                    <a:pt x="117" y="55"/>
                  </a:cubicBezTo>
                  <a:cubicBezTo>
                    <a:pt x="117" y="55"/>
                    <a:pt x="115" y="53"/>
                    <a:pt x="115" y="53"/>
                  </a:cubicBezTo>
                  <a:cubicBezTo>
                    <a:pt x="116" y="52"/>
                    <a:pt x="116" y="51"/>
                    <a:pt x="116" y="49"/>
                  </a:cubicBezTo>
                  <a:cubicBezTo>
                    <a:pt x="116" y="48"/>
                    <a:pt x="117" y="47"/>
                    <a:pt x="116" y="46"/>
                  </a:cubicBezTo>
                  <a:cubicBezTo>
                    <a:pt x="115" y="45"/>
                    <a:pt x="116" y="44"/>
                    <a:pt x="115" y="44"/>
                  </a:cubicBezTo>
                  <a:cubicBezTo>
                    <a:pt x="115" y="44"/>
                    <a:pt x="114" y="44"/>
                    <a:pt x="114" y="44"/>
                  </a:cubicBezTo>
                  <a:cubicBezTo>
                    <a:pt x="114" y="44"/>
                    <a:pt x="113" y="44"/>
                    <a:pt x="113" y="44"/>
                  </a:cubicBezTo>
                  <a:cubicBezTo>
                    <a:pt x="115" y="43"/>
                    <a:pt x="115" y="43"/>
                    <a:pt x="115" y="43"/>
                  </a:cubicBezTo>
                  <a:cubicBezTo>
                    <a:pt x="115" y="43"/>
                    <a:pt x="115" y="40"/>
                    <a:pt x="114" y="41"/>
                  </a:cubicBezTo>
                  <a:cubicBezTo>
                    <a:pt x="114" y="42"/>
                    <a:pt x="112" y="43"/>
                    <a:pt x="112" y="42"/>
                  </a:cubicBezTo>
                  <a:cubicBezTo>
                    <a:pt x="112" y="41"/>
                    <a:pt x="112" y="41"/>
                    <a:pt x="111" y="41"/>
                  </a:cubicBezTo>
                  <a:cubicBezTo>
                    <a:pt x="111" y="41"/>
                    <a:pt x="108" y="41"/>
                    <a:pt x="108" y="41"/>
                  </a:cubicBezTo>
                  <a:cubicBezTo>
                    <a:pt x="108" y="41"/>
                    <a:pt x="108" y="40"/>
                    <a:pt x="108" y="41"/>
                  </a:cubicBezTo>
                  <a:cubicBezTo>
                    <a:pt x="108" y="42"/>
                    <a:pt x="109" y="44"/>
                    <a:pt x="107" y="44"/>
                  </a:cubicBezTo>
                  <a:cubicBezTo>
                    <a:pt x="106" y="45"/>
                    <a:pt x="105" y="45"/>
                    <a:pt x="105" y="45"/>
                  </a:cubicBezTo>
                  <a:cubicBezTo>
                    <a:pt x="105" y="44"/>
                    <a:pt x="103" y="43"/>
                    <a:pt x="103" y="43"/>
                  </a:cubicBezTo>
                  <a:cubicBezTo>
                    <a:pt x="103" y="43"/>
                    <a:pt x="103" y="43"/>
                    <a:pt x="102" y="43"/>
                  </a:cubicBezTo>
                  <a:cubicBezTo>
                    <a:pt x="101" y="44"/>
                    <a:pt x="100" y="44"/>
                    <a:pt x="100" y="44"/>
                  </a:cubicBezTo>
                  <a:cubicBezTo>
                    <a:pt x="100" y="45"/>
                    <a:pt x="100" y="45"/>
                    <a:pt x="100" y="45"/>
                  </a:cubicBezTo>
                  <a:cubicBezTo>
                    <a:pt x="100" y="46"/>
                    <a:pt x="100" y="46"/>
                    <a:pt x="100" y="46"/>
                  </a:cubicBezTo>
                  <a:cubicBezTo>
                    <a:pt x="100" y="46"/>
                    <a:pt x="99" y="46"/>
                    <a:pt x="99" y="47"/>
                  </a:cubicBezTo>
                  <a:cubicBezTo>
                    <a:pt x="98" y="47"/>
                    <a:pt x="98" y="47"/>
                    <a:pt x="98" y="48"/>
                  </a:cubicBezTo>
                  <a:cubicBezTo>
                    <a:pt x="98" y="48"/>
                    <a:pt x="99" y="48"/>
                    <a:pt x="99" y="49"/>
                  </a:cubicBezTo>
                  <a:cubicBezTo>
                    <a:pt x="99" y="50"/>
                    <a:pt x="99" y="50"/>
                    <a:pt x="98" y="51"/>
                  </a:cubicBezTo>
                  <a:cubicBezTo>
                    <a:pt x="98" y="52"/>
                    <a:pt x="97" y="53"/>
                    <a:pt x="97" y="54"/>
                  </a:cubicBezTo>
                  <a:cubicBezTo>
                    <a:pt x="97" y="54"/>
                    <a:pt x="96" y="54"/>
                    <a:pt x="96" y="55"/>
                  </a:cubicBezTo>
                  <a:cubicBezTo>
                    <a:pt x="95" y="55"/>
                    <a:pt x="95" y="55"/>
                    <a:pt x="95" y="55"/>
                  </a:cubicBezTo>
                  <a:cubicBezTo>
                    <a:pt x="94" y="55"/>
                    <a:pt x="94" y="56"/>
                    <a:pt x="94" y="55"/>
                  </a:cubicBezTo>
                  <a:cubicBezTo>
                    <a:pt x="94" y="54"/>
                    <a:pt x="93" y="53"/>
                    <a:pt x="93" y="51"/>
                  </a:cubicBezTo>
                  <a:cubicBezTo>
                    <a:pt x="94" y="50"/>
                    <a:pt x="94" y="50"/>
                    <a:pt x="93" y="49"/>
                  </a:cubicBezTo>
                  <a:cubicBezTo>
                    <a:pt x="92" y="47"/>
                    <a:pt x="91" y="47"/>
                    <a:pt x="91" y="47"/>
                  </a:cubicBezTo>
                  <a:cubicBezTo>
                    <a:pt x="91" y="46"/>
                    <a:pt x="91" y="46"/>
                    <a:pt x="91" y="45"/>
                  </a:cubicBezTo>
                  <a:cubicBezTo>
                    <a:pt x="92" y="44"/>
                    <a:pt x="91" y="46"/>
                    <a:pt x="92" y="43"/>
                  </a:cubicBezTo>
                  <a:cubicBezTo>
                    <a:pt x="92" y="40"/>
                    <a:pt x="92" y="39"/>
                    <a:pt x="92" y="39"/>
                  </a:cubicBezTo>
                  <a:cubicBezTo>
                    <a:pt x="92" y="39"/>
                    <a:pt x="92" y="36"/>
                    <a:pt x="92" y="35"/>
                  </a:cubicBezTo>
                  <a:cubicBezTo>
                    <a:pt x="91" y="35"/>
                    <a:pt x="89" y="35"/>
                    <a:pt x="88" y="35"/>
                  </a:cubicBezTo>
                  <a:cubicBezTo>
                    <a:pt x="87" y="35"/>
                    <a:pt x="87" y="35"/>
                    <a:pt x="87" y="35"/>
                  </a:cubicBezTo>
                  <a:cubicBezTo>
                    <a:pt x="86" y="36"/>
                    <a:pt x="86" y="35"/>
                    <a:pt x="85" y="37"/>
                  </a:cubicBezTo>
                  <a:cubicBezTo>
                    <a:pt x="85" y="38"/>
                    <a:pt x="84" y="38"/>
                    <a:pt x="84" y="40"/>
                  </a:cubicBezTo>
                  <a:cubicBezTo>
                    <a:pt x="84" y="41"/>
                    <a:pt x="84" y="42"/>
                    <a:pt x="84" y="43"/>
                  </a:cubicBezTo>
                  <a:cubicBezTo>
                    <a:pt x="84" y="43"/>
                    <a:pt x="83" y="44"/>
                    <a:pt x="83" y="44"/>
                  </a:cubicBezTo>
                  <a:cubicBezTo>
                    <a:pt x="83" y="44"/>
                    <a:pt x="83" y="44"/>
                    <a:pt x="83" y="46"/>
                  </a:cubicBezTo>
                  <a:cubicBezTo>
                    <a:pt x="83" y="48"/>
                    <a:pt x="82" y="49"/>
                    <a:pt x="82" y="49"/>
                  </a:cubicBezTo>
                  <a:cubicBezTo>
                    <a:pt x="82" y="50"/>
                    <a:pt x="82" y="50"/>
                    <a:pt x="81" y="51"/>
                  </a:cubicBezTo>
                  <a:cubicBezTo>
                    <a:pt x="81" y="52"/>
                    <a:pt x="79" y="53"/>
                    <a:pt x="79" y="54"/>
                  </a:cubicBezTo>
                  <a:cubicBezTo>
                    <a:pt x="78" y="54"/>
                    <a:pt x="78" y="54"/>
                    <a:pt x="78" y="54"/>
                  </a:cubicBezTo>
                  <a:cubicBezTo>
                    <a:pt x="78" y="55"/>
                    <a:pt x="76" y="57"/>
                    <a:pt x="75" y="57"/>
                  </a:cubicBezTo>
                  <a:cubicBezTo>
                    <a:pt x="75" y="57"/>
                    <a:pt x="75" y="58"/>
                    <a:pt x="74" y="57"/>
                  </a:cubicBezTo>
                  <a:cubicBezTo>
                    <a:pt x="74" y="57"/>
                    <a:pt x="73" y="57"/>
                    <a:pt x="73" y="56"/>
                  </a:cubicBezTo>
                  <a:cubicBezTo>
                    <a:pt x="74" y="55"/>
                    <a:pt x="74" y="54"/>
                    <a:pt x="74" y="53"/>
                  </a:cubicBezTo>
                  <a:cubicBezTo>
                    <a:pt x="75" y="52"/>
                    <a:pt x="75" y="51"/>
                    <a:pt x="75" y="51"/>
                  </a:cubicBezTo>
                  <a:cubicBezTo>
                    <a:pt x="75" y="51"/>
                    <a:pt x="76" y="50"/>
                    <a:pt x="75" y="49"/>
                  </a:cubicBezTo>
                  <a:cubicBezTo>
                    <a:pt x="74" y="49"/>
                    <a:pt x="73" y="49"/>
                    <a:pt x="72" y="50"/>
                  </a:cubicBezTo>
                  <a:cubicBezTo>
                    <a:pt x="71" y="50"/>
                    <a:pt x="69" y="51"/>
                    <a:pt x="69" y="51"/>
                  </a:cubicBezTo>
                  <a:cubicBezTo>
                    <a:pt x="68" y="52"/>
                    <a:pt x="68" y="52"/>
                    <a:pt x="66" y="53"/>
                  </a:cubicBezTo>
                  <a:cubicBezTo>
                    <a:pt x="65" y="55"/>
                    <a:pt x="65" y="55"/>
                    <a:pt x="65" y="55"/>
                  </a:cubicBezTo>
                  <a:cubicBezTo>
                    <a:pt x="64" y="56"/>
                    <a:pt x="64" y="56"/>
                    <a:pt x="64" y="56"/>
                  </a:cubicBezTo>
                  <a:cubicBezTo>
                    <a:pt x="64" y="57"/>
                    <a:pt x="64" y="57"/>
                    <a:pt x="64" y="57"/>
                  </a:cubicBezTo>
                  <a:cubicBezTo>
                    <a:pt x="64" y="57"/>
                    <a:pt x="64" y="56"/>
                    <a:pt x="64" y="56"/>
                  </a:cubicBezTo>
                  <a:cubicBezTo>
                    <a:pt x="64" y="56"/>
                    <a:pt x="63" y="55"/>
                    <a:pt x="63" y="56"/>
                  </a:cubicBezTo>
                  <a:cubicBezTo>
                    <a:pt x="63" y="56"/>
                    <a:pt x="62" y="57"/>
                    <a:pt x="62" y="57"/>
                  </a:cubicBezTo>
                  <a:cubicBezTo>
                    <a:pt x="62" y="58"/>
                    <a:pt x="62" y="58"/>
                    <a:pt x="61" y="59"/>
                  </a:cubicBezTo>
                  <a:cubicBezTo>
                    <a:pt x="61" y="60"/>
                    <a:pt x="60" y="61"/>
                    <a:pt x="60" y="62"/>
                  </a:cubicBezTo>
                  <a:cubicBezTo>
                    <a:pt x="60" y="62"/>
                    <a:pt x="60" y="62"/>
                    <a:pt x="60" y="63"/>
                  </a:cubicBezTo>
                  <a:cubicBezTo>
                    <a:pt x="59" y="63"/>
                    <a:pt x="58" y="64"/>
                    <a:pt x="58" y="64"/>
                  </a:cubicBezTo>
                  <a:cubicBezTo>
                    <a:pt x="58" y="64"/>
                    <a:pt x="57" y="62"/>
                    <a:pt x="58" y="61"/>
                  </a:cubicBezTo>
                  <a:cubicBezTo>
                    <a:pt x="58" y="60"/>
                    <a:pt x="58" y="60"/>
                    <a:pt x="58" y="59"/>
                  </a:cubicBezTo>
                  <a:cubicBezTo>
                    <a:pt x="59" y="59"/>
                    <a:pt x="59" y="58"/>
                    <a:pt x="59" y="58"/>
                  </a:cubicBezTo>
                  <a:cubicBezTo>
                    <a:pt x="60" y="58"/>
                    <a:pt x="59" y="59"/>
                    <a:pt x="60" y="57"/>
                  </a:cubicBezTo>
                  <a:cubicBezTo>
                    <a:pt x="61" y="55"/>
                    <a:pt x="61" y="54"/>
                    <a:pt x="61" y="54"/>
                  </a:cubicBezTo>
                  <a:cubicBezTo>
                    <a:pt x="61" y="54"/>
                    <a:pt x="61" y="54"/>
                    <a:pt x="60" y="53"/>
                  </a:cubicBezTo>
                  <a:cubicBezTo>
                    <a:pt x="60" y="53"/>
                    <a:pt x="60" y="53"/>
                    <a:pt x="60" y="53"/>
                  </a:cubicBezTo>
                  <a:cubicBezTo>
                    <a:pt x="61" y="52"/>
                    <a:pt x="61" y="51"/>
                    <a:pt x="61" y="51"/>
                  </a:cubicBezTo>
                  <a:cubicBezTo>
                    <a:pt x="61" y="50"/>
                    <a:pt x="62" y="50"/>
                    <a:pt x="62" y="50"/>
                  </a:cubicBezTo>
                  <a:cubicBezTo>
                    <a:pt x="62" y="50"/>
                    <a:pt x="62" y="50"/>
                    <a:pt x="61" y="49"/>
                  </a:cubicBezTo>
                  <a:cubicBezTo>
                    <a:pt x="61" y="49"/>
                    <a:pt x="61" y="48"/>
                    <a:pt x="61" y="48"/>
                  </a:cubicBezTo>
                  <a:cubicBezTo>
                    <a:pt x="61" y="48"/>
                    <a:pt x="61" y="47"/>
                    <a:pt x="61" y="47"/>
                  </a:cubicBezTo>
                  <a:cubicBezTo>
                    <a:pt x="61" y="47"/>
                    <a:pt x="61" y="46"/>
                    <a:pt x="61" y="46"/>
                  </a:cubicBezTo>
                  <a:cubicBezTo>
                    <a:pt x="61" y="45"/>
                    <a:pt x="61" y="45"/>
                    <a:pt x="60" y="44"/>
                  </a:cubicBezTo>
                  <a:cubicBezTo>
                    <a:pt x="59" y="44"/>
                    <a:pt x="59" y="44"/>
                    <a:pt x="59" y="44"/>
                  </a:cubicBezTo>
                  <a:cubicBezTo>
                    <a:pt x="59" y="44"/>
                    <a:pt x="58" y="43"/>
                    <a:pt x="58" y="43"/>
                  </a:cubicBezTo>
                  <a:cubicBezTo>
                    <a:pt x="58" y="42"/>
                    <a:pt x="58" y="41"/>
                    <a:pt x="58" y="41"/>
                  </a:cubicBezTo>
                  <a:cubicBezTo>
                    <a:pt x="58" y="41"/>
                    <a:pt x="58" y="40"/>
                    <a:pt x="59" y="40"/>
                  </a:cubicBezTo>
                  <a:cubicBezTo>
                    <a:pt x="59" y="41"/>
                    <a:pt x="59" y="42"/>
                    <a:pt x="59" y="42"/>
                  </a:cubicBezTo>
                  <a:cubicBezTo>
                    <a:pt x="59" y="42"/>
                    <a:pt x="61" y="43"/>
                    <a:pt x="61" y="43"/>
                  </a:cubicBezTo>
                  <a:cubicBezTo>
                    <a:pt x="61" y="43"/>
                    <a:pt x="63" y="43"/>
                    <a:pt x="63" y="42"/>
                  </a:cubicBezTo>
                  <a:cubicBezTo>
                    <a:pt x="64" y="42"/>
                    <a:pt x="64" y="41"/>
                    <a:pt x="64" y="41"/>
                  </a:cubicBezTo>
                  <a:cubicBezTo>
                    <a:pt x="64" y="41"/>
                    <a:pt x="63" y="41"/>
                    <a:pt x="64" y="40"/>
                  </a:cubicBezTo>
                  <a:cubicBezTo>
                    <a:pt x="64" y="40"/>
                    <a:pt x="66" y="39"/>
                    <a:pt x="66" y="39"/>
                  </a:cubicBezTo>
                  <a:cubicBezTo>
                    <a:pt x="67" y="39"/>
                    <a:pt x="67" y="38"/>
                    <a:pt x="67" y="38"/>
                  </a:cubicBezTo>
                  <a:cubicBezTo>
                    <a:pt x="67" y="38"/>
                    <a:pt x="68" y="38"/>
                    <a:pt x="68" y="37"/>
                  </a:cubicBezTo>
                  <a:cubicBezTo>
                    <a:pt x="68" y="37"/>
                    <a:pt x="68" y="37"/>
                    <a:pt x="68" y="36"/>
                  </a:cubicBezTo>
                  <a:cubicBezTo>
                    <a:pt x="68" y="36"/>
                    <a:pt x="68" y="35"/>
                    <a:pt x="68" y="35"/>
                  </a:cubicBezTo>
                  <a:cubicBezTo>
                    <a:pt x="68" y="34"/>
                    <a:pt x="70" y="35"/>
                    <a:pt x="68" y="34"/>
                  </a:cubicBezTo>
                  <a:cubicBezTo>
                    <a:pt x="66" y="33"/>
                    <a:pt x="65" y="32"/>
                    <a:pt x="65" y="32"/>
                  </a:cubicBezTo>
                  <a:cubicBezTo>
                    <a:pt x="66" y="32"/>
                    <a:pt x="67" y="32"/>
                    <a:pt x="67" y="32"/>
                  </a:cubicBezTo>
                  <a:cubicBezTo>
                    <a:pt x="68" y="32"/>
                    <a:pt x="68" y="32"/>
                    <a:pt x="69" y="32"/>
                  </a:cubicBezTo>
                  <a:cubicBezTo>
                    <a:pt x="69" y="32"/>
                    <a:pt x="70" y="32"/>
                    <a:pt x="69" y="31"/>
                  </a:cubicBezTo>
                  <a:cubicBezTo>
                    <a:pt x="69" y="31"/>
                    <a:pt x="69" y="31"/>
                    <a:pt x="68" y="30"/>
                  </a:cubicBezTo>
                  <a:cubicBezTo>
                    <a:pt x="68" y="30"/>
                    <a:pt x="68" y="30"/>
                    <a:pt x="67" y="30"/>
                  </a:cubicBezTo>
                  <a:cubicBezTo>
                    <a:pt x="67" y="30"/>
                    <a:pt x="67" y="30"/>
                    <a:pt x="67" y="29"/>
                  </a:cubicBezTo>
                  <a:cubicBezTo>
                    <a:pt x="67" y="27"/>
                    <a:pt x="67" y="27"/>
                    <a:pt x="67" y="27"/>
                  </a:cubicBezTo>
                  <a:cubicBezTo>
                    <a:pt x="67" y="27"/>
                    <a:pt x="69" y="26"/>
                    <a:pt x="67" y="26"/>
                  </a:cubicBezTo>
                  <a:cubicBezTo>
                    <a:pt x="66" y="26"/>
                    <a:pt x="66" y="26"/>
                    <a:pt x="66" y="26"/>
                  </a:cubicBezTo>
                  <a:cubicBezTo>
                    <a:pt x="66" y="26"/>
                    <a:pt x="66" y="25"/>
                    <a:pt x="65" y="25"/>
                  </a:cubicBezTo>
                  <a:cubicBezTo>
                    <a:pt x="64" y="25"/>
                    <a:pt x="64" y="24"/>
                    <a:pt x="65" y="24"/>
                  </a:cubicBezTo>
                  <a:cubicBezTo>
                    <a:pt x="65" y="23"/>
                    <a:pt x="66" y="20"/>
                    <a:pt x="66" y="20"/>
                  </a:cubicBezTo>
                  <a:cubicBezTo>
                    <a:pt x="64" y="19"/>
                    <a:pt x="64" y="19"/>
                    <a:pt x="64" y="19"/>
                  </a:cubicBezTo>
                  <a:cubicBezTo>
                    <a:pt x="64" y="19"/>
                    <a:pt x="64" y="17"/>
                    <a:pt x="64" y="17"/>
                  </a:cubicBezTo>
                  <a:cubicBezTo>
                    <a:pt x="64" y="17"/>
                    <a:pt x="64" y="16"/>
                    <a:pt x="63" y="16"/>
                  </a:cubicBezTo>
                  <a:cubicBezTo>
                    <a:pt x="63" y="16"/>
                    <a:pt x="62" y="15"/>
                    <a:pt x="62" y="15"/>
                  </a:cubicBezTo>
                  <a:cubicBezTo>
                    <a:pt x="62" y="15"/>
                    <a:pt x="62" y="15"/>
                    <a:pt x="62" y="14"/>
                  </a:cubicBezTo>
                  <a:cubicBezTo>
                    <a:pt x="62" y="14"/>
                    <a:pt x="61" y="12"/>
                    <a:pt x="61" y="12"/>
                  </a:cubicBezTo>
                  <a:cubicBezTo>
                    <a:pt x="61" y="12"/>
                    <a:pt x="62" y="11"/>
                    <a:pt x="62" y="11"/>
                  </a:cubicBezTo>
                  <a:cubicBezTo>
                    <a:pt x="60" y="7"/>
                    <a:pt x="60" y="7"/>
                    <a:pt x="60" y="7"/>
                  </a:cubicBezTo>
                  <a:cubicBezTo>
                    <a:pt x="60" y="6"/>
                    <a:pt x="60" y="6"/>
                    <a:pt x="60" y="6"/>
                  </a:cubicBezTo>
                  <a:cubicBezTo>
                    <a:pt x="59" y="5"/>
                    <a:pt x="59" y="5"/>
                    <a:pt x="59" y="5"/>
                  </a:cubicBezTo>
                  <a:cubicBezTo>
                    <a:pt x="59" y="5"/>
                    <a:pt x="59" y="5"/>
                    <a:pt x="59" y="5"/>
                  </a:cubicBezTo>
                  <a:cubicBezTo>
                    <a:pt x="58" y="3"/>
                    <a:pt x="58" y="3"/>
                    <a:pt x="58" y="3"/>
                  </a:cubicBezTo>
                  <a:cubicBezTo>
                    <a:pt x="58" y="3"/>
                    <a:pt x="58" y="3"/>
                    <a:pt x="57" y="4"/>
                  </a:cubicBezTo>
                  <a:cubicBezTo>
                    <a:pt x="57" y="4"/>
                    <a:pt x="57" y="4"/>
                    <a:pt x="57" y="4"/>
                  </a:cubicBezTo>
                  <a:cubicBezTo>
                    <a:pt x="56" y="4"/>
                    <a:pt x="55" y="4"/>
                    <a:pt x="55" y="4"/>
                  </a:cubicBezTo>
                  <a:cubicBezTo>
                    <a:pt x="55" y="4"/>
                    <a:pt x="55" y="3"/>
                    <a:pt x="55" y="3"/>
                  </a:cubicBezTo>
                  <a:cubicBezTo>
                    <a:pt x="54" y="2"/>
                    <a:pt x="52" y="0"/>
                    <a:pt x="52" y="0"/>
                  </a:cubicBezTo>
                  <a:cubicBezTo>
                    <a:pt x="52" y="0"/>
                    <a:pt x="52" y="1"/>
                    <a:pt x="52" y="1"/>
                  </a:cubicBezTo>
                  <a:cubicBezTo>
                    <a:pt x="52" y="2"/>
                    <a:pt x="51" y="2"/>
                    <a:pt x="51" y="2"/>
                  </a:cubicBezTo>
                  <a:cubicBezTo>
                    <a:pt x="50" y="1"/>
                    <a:pt x="49" y="1"/>
                    <a:pt x="49" y="1"/>
                  </a:cubicBezTo>
                  <a:cubicBezTo>
                    <a:pt x="49" y="1"/>
                    <a:pt x="48" y="1"/>
                    <a:pt x="49" y="2"/>
                  </a:cubicBezTo>
                  <a:cubicBezTo>
                    <a:pt x="49" y="2"/>
                    <a:pt x="49" y="3"/>
                    <a:pt x="49" y="3"/>
                  </a:cubicBezTo>
                  <a:cubicBezTo>
                    <a:pt x="49" y="3"/>
                    <a:pt x="48" y="3"/>
                    <a:pt x="48" y="3"/>
                  </a:cubicBezTo>
                  <a:cubicBezTo>
                    <a:pt x="48" y="3"/>
                    <a:pt x="48" y="3"/>
                    <a:pt x="47" y="3"/>
                  </a:cubicBezTo>
                  <a:cubicBezTo>
                    <a:pt x="47" y="3"/>
                    <a:pt x="47" y="2"/>
                    <a:pt x="46" y="3"/>
                  </a:cubicBezTo>
                  <a:cubicBezTo>
                    <a:pt x="46" y="3"/>
                    <a:pt x="45" y="3"/>
                    <a:pt x="46" y="4"/>
                  </a:cubicBezTo>
                  <a:cubicBezTo>
                    <a:pt x="46" y="5"/>
                    <a:pt x="45" y="5"/>
                    <a:pt x="46" y="6"/>
                  </a:cubicBezTo>
                  <a:cubicBezTo>
                    <a:pt x="47" y="7"/>
                    <a:pt x="47" y="7"/>
                    <a:pt x="48" y="7"/>
                  </a:cubicBezTo>
                  <a:cubicBezTo>
                    <a:pt x="48" y="7"/>
                    <a:pt x="49" y="7"/>
                    <a:pt x="49" y="7"/>
                  </a:cubicBezTo>
                  <a:cubicBezTo>
                    <a:pt x="50" y="7"/>
                    <a:pt x="50" y="7"/>
                    <a:pt x="51" y="7"/>
                  </a:cubicBezTo>
                  <a:cubicBezTo>
                    <a:pt x="51" y="7"/>
                    <a:pt x="52" y="6"/>
                    <a:pt x="52" y="6"/>
                  </a:cubicBezTo>
                  <a:cubicBezTo>
                    <a:pt x="52" y="6"/>
                    <a:pt x="52" y="7"/>
                    <a:pt x="52" y="7"/>
                  </a:cubicBezTo>
                  <a:cubicBezTo>
                    <a:pt x="52" y="7"/>
                    <a:pt x="51" y="7"/>
                    <a:pt x="51" y="8"/>
                  </a:cubicBezTo>
                  <a:cubicBezTo>
                    <a:pt x="52" y="8"/>
                    <a:pt x="52" y="8"/>
                    <a:pt x="52" y="8"/>
                  </a:cubicBezTo>
                  <a:cubicBezTo>
                    <a:pt x="53" y="8"/>
                    <a:pt x="53" y="8"/>
                    <a:pt x="53" y="8"/>
                  </a:cubicBezTo>
                  <a:cubicBezTo>
                    <a:pt x="53" y="8"/>
                    <a:pt x="53" y="9"/>
                    <a:pt x="53" y="9"/>
                  </a:cubicBezTo>
                  <a:cubicBezTo>
                    <a:pt x="53" y="9"/>
                    <a:pt x="52" y="9"/>
                    <a:pt x="53" y="10"/>
                  </a:cubicBezTo>
                  <a:cubicBezTo>
                    <a:pt x="53" y="10"/>
                    <a:pt x="53" y="10"/>
                    <a:pt x="53" y="10"/>
                  </a:cubicBezTo>
                  <a:cubicBezTo>
                    <a:pt x="54" y="11"/>
                    <a:pt x="54" y="11"/>
                    <a:pt x="54" y="11"/>
                  </a:cubicBezTo>
                  <a:cubicBezTo>
                    <a:pt x="54" y="11"/>
                    <a:pt x="56" y="12"/>
                    <a:pt x="55" y="12"/>
                  </a:cubicBezTo>
                  <a:cubicBezTo>
                    <a:pt x="55" y="12"/>
                    <a:pt x="54" y="11"/>
                    <a:pt x="55" y="12"/>
                  </a:cubicBezTo>
                  <a:cubicBezTo>
                    <a:pt x="56" y="12"/>
                    <a:pt x="56" y="13"/>
                    <a:pt x="56" y="13"/>
                  </a:cubicBezTo>
                  <a:cubicBezTo>
                    <a:pt x="56" y="13"/>
                    <a:pt x="56" y="13"/>
                    <a:pt x="55" y="13"/>
                  </a:cubicBezTo>
                  <a:cubicBezTo>
                    <a:pt x="54" y="12"/>
                    <a:pt x="53" y="12"/>
                    <a:pt x="53" y="12"/>
                  </a:cubicBezTo>
                  <a:cubicBezTo>
                    <a:pt x="53" y="12"/>
                    <a:pt x="53" y="12"/>
                    <a:pt x="52" y="12"/>
                  </a:cubicBezTo>
                  <a:cubicBezTo>
                    <a:pt x="52" y="11"/>
                    <a:pt x="52" y="11"/>
                    <a:pt x="52" y="10"/>
                  </a:cubicBezTo>
                  <a:cubicBezTo>
                    <a:pt x="52" y="10"/>
                    <a:pt x="51" y="10"/>
                    <a:pt x="50" y="9"/>
                  </a:cubicBezTo>
                  <a:cubicBezTo>
                    <a:pt x="49" y="9"/>
                    <a:pt x="48" y="10"/>
                    <a:pt x="48" y="10"/>
                  </a:cubicBezTo>
                  <a:cubicBezTo>
                    <a:pt x="48" y="10"/>
                    <a:pt x="47" y="10"/>
                    <a:pt x="47" y="10"/>
                  </a:cubicBezTo>
                  <a:cubicBezTo>
                    <a:pt x="46" y="10"/>
                    <a:pt x="46" y="11"/>
                    <a:pt x="47" y="12"/>
                  </a:cubicBezTo>
                  <a:cubicBezTo>
                    <a:pt x="47" y="12"/>
                    <a:pt x="49" y="16"/>
                    <a:pt x="49" y="16"/>
                  </a:cubicBezTo>
                  <a:cubicBezTo>
                    <a:pt x="49" y="16"/>
                    <a:pt x="50" y="17"/>
                    <a:pt x="50" y="17"/>
                  </a:cubicBezTo>
                  <a:cubicBezTo>
                    <a:pt x="50" y="18"/>
                    <a:pt x="51" y="19"/>
                    <a:pt x="51" y="19"/>
                  </a:cubicBezTo>
                  <a:cubicBezTo>
                    <a:pt x="51" y="19"/>
                    <a:pt x="51" y="19"/>
                    <a:pt x="52" y="20"/>
                  </a:cubicBezTo>
                  <a:cubicBezTo>
                    <a:pt x="52" y="20"/>
                    <a:pt x="52" y="20"/>
                    <a:pt x="52" y="20"/>
                  </a:cubicBezTo>
                  <a:cubicBezTo>
                    <a:pt x="51" y="20"/>
                    <a:pt x="51" y="22"/>
                    <a:pt x="51" y="22"/>
                  </a:cubicBezTo>
                  <a:cubicBezTo>
                    <a:pt x="51" y="22"/>
                    <a:pt x="51" y="21"/>
                    <a:pt x="51" y="23"/>
                  </a:cubicBezTo>
                  <a:cubicBezTo>
                    <a:pt x="51" y="24"/>
                    <a:pt x="51" y="26"/>
                    <a:pt x="51" y="26"/>
                  </a:cubicBezTo>
                  <a:cubicBezTo>
                    <a:pt x="51" y="27"/>
                    <a:pt x="51" y="27"/>
                    <a:pt x="51" y="27"/>
                  </a:cubicBezTo>
                  <a:cubicBezTo>
                    <a:pt x="49" y="28"/>
                    <a:pt x="49" y="28"/>
                    <a:pt x="49" y="28"/>
                  </a:cubicBezTo>
                  <a:cubicBezTo>
                    <a:pt x="49" y="28"/>
                    <a:pt x="49" y="28"/>
                    <a:pt x="49" y="28"/>
                  </a:cubicBezTo>
                  <a:cubicBezTo>
                    <a:pt x="49" y="28"/>
                    <a:pt x="49" y="27"/>
                    <a:pt x="49" y="27"/>
                  </a:cubicBezTo>
                  <a:cubicBezTo>
                    <a:pt x="49" y="26"/>
                    <a:pt x="49" y="26"/>
                    <a:pt x="49" y="26"/>
                  </a:cubicBezTo>
                  <a:cubicBezTo>
                    <a:pt x="50" y="25"/>
                    <a:pt x="50" y="25"/>
                    <a:pt x="50" y="25"/>
                  </a:cubicBezTo>
                  <a:cubicBezTo>
                    <a:pt x="50" y="25"/>
                    <a:pt x="49" y="24"/>
                    <a:pt x="49" y="24"/>
                  </a:cubicBezTo>
                  <a:cubicBezTo>
                    <a:pt x="49" y="24"/>
                    <a:pt x="48" y="24"/>
                    <a:pt x="48" y="24"/>
                  </a:cubicBezTo>
                  <a:cubicBezTo>
                    <a:pt x="48" y="24"/>
                    <a:pt x="47" y="26"/>
                    <a:pt x="47" y="26"/>
                  </a:cubicBezTo>
                  <a:cubicBezTo>
                    <a:pt x="47" y="26"/>
                    <a:pt x="46" y="25"/>
                    <a:pt x="47" y="25"/>
                  </a:cubicBezTo>
                  <a:cubicBezTo>
                    <a:pt x="47" y="24"/>
                    <a:pt x="47" y="23"/>
                    <a:pt x="48" y="23"/>
                  </a:cubicBezTo>
                  <a:cubicBezTo>
                    <a:pt x="48" y="23"/>
                    <a:pt x="48" y="23"/>
                    <a:pt x="48" y="23"/>
                  </a:cubicBezTo>
                  <a:cubicBezTo>
                    <a:pt x="48" y="23"/>
                    <a:pt x="48" y="22"/>
                    <a:pt x="48" y="22"/>
                  </a:cubicBezTo>
                  <a:cubicBezTo>
                    <a:pt x="48" y="21"/>
                    <a:pt x="48" y="21"/>
                    <a:pt x="48" y="20"/>
                  </a:cubicBezTo>
                  <a:cubicBezTo>
                    <a:pt x="48" y="20"/>
                    <a:pt x="48" y="19"/>
                    <a:pt x="48" y="19"/>
                  </a:cubicBezTo>
                  <a:cubicBezTo>
                    <a:pt x="47" y="19"/>
                    <a:pt x="47" y="19"/>
                    <a:pt x="46" y="19"/>
                  </a:cubicBezTo>
                  <a:cubicBezTo>
                    <a:pt x="46" y="20"/>
                    <a:pt x="46" y="20"/>
                    <a:pt x="46" y="20"/>
                  </a:cubicBezTo>
                  <a:cubicBezTo>
                    <a:pt x="46" y="21"/>
                    <a:pt x="46" y="21"/>
                    <a:pt x="45" y="22"/>
                  </a:cubicBezTo>
                  <a:cubicBezTo>
                    <a:pt x="44" y="22"/>
                    <a:pt x="44" y="22"/>
                    <a:pt x="44" y="22"/>
                  </a:cubicBezTo>
                  <a:cubicBezTo>
                    <a:pt x="44" y="22"/>
                    <a:pt x="45" y="21"/>
                    <a:pt x="45" y="21"/>
                  </a:cubicBezTo>
                  <a:cubicBezTo>
                    <a:pt x="45" y="21"/>
                    <a:pt x="45" y="20"/>
                    <a:pt x="45" y="20"/>
                  </a:cubicBezTo>
                  <a:cubicBezTo>
                    <a:pt x="45" y="20"/>
                    <a:pt x="45" y="20"/>
                    <a:pt x="45" y="19"/>
                  </a:cubicBezTo>
                  <a:cubicBezTo>
                    <a:pt x="45" y="19"/>
                    <a:pt x="45" y="19"/>
                    <a:pt x="45" y="19"/>
                  </a:cubicBezTo>
                  <a:cubicBezTo>
                    <a:pt x="45" y="19"/>
                    <a:pt x="45" y="18"/>
                    <a:pt x="45" y="18"/>
                  </a:cubicBezTo>
                  <a:cubicBezTo>
                    <a:pt x="44" y="18"/>
                    <a:pt x="44" y="18"/>
                    <a:pt x="44" y="18"/>
                  </a:cubicBezTo>
                  <a:cubicBezTo>
                    <a:pt x="44" y="18"/>
                    <a:pt x="43" y="18"/>
                    <a:pt x="43" y="18"/>
                  </a:cubicBezTo>
                  <a:cubicBezTo>
                    <a:pt x="43" y="18"/>
                    <a:pt x="44" y="17"/>
                    <a:pt x="44" y="17"/>
                  </a:cubicBezTo>
                  <a:cubicBezTo>
                    <a:pt x="44" y="17"/>
                    <a:pt x="45" y="16"/>
                    <a:pt x="44" y="16"/>
                  </a:cubicBezTo>
                  <a:cubicBezTo>
                    <a:pt x="44" y="16"/>
                    <a:pt x="43" y="15"/>
                    <a:pt x="43" y="15"/>
                  </a:cubicBezTo>
                  <a:cubicBezTo>
                    <a:pt x="43" y="15"/>
                    <a:pt x="43" y="14"/>
                    <a:pt x="43" y="14"/>
                  </a:cubicBezTo>
                  <a:cubicBezTo>
                    <a:pt x="43" y="13"/>
                    <a:pt x="43" y="15"/>
                    <a:pt x="43" y="13"/>
                  </a:cubicBezTo>
                  <a:cubicBezTo>
                    <a:pt x="42" y="11"/>
                    <a:pt x="42" y="10"/>
                    <a:pt x="42" y="10"/>
                  </a:cubicBezTo>
                  <a:cubicBezTo>
                    <a:pt x="41" y="9"/>
                    <a:pt x="41" y="9"/>
                    <a:pt x="41" y="9"/>
                  </a:cubicBezTo>
                  <a:cubicBezTo>
                    <a:pt x="41" y="9"/>
                    <a:pt x="41" y="9"/>
                    <a:pt x="41" y="8"/>
                  </a:cubicBezTo>
                  <a:cubicBezTo>
                    <a:pt x="41" y="8"/>
                    <a:pt x="39" y="7"/>
                    <a:pt x="39" y="7"/>
                  </a:cubicBezTo>
                  <a:cubicBezTo>
                    <a:pt x="39" y="6"/>
                    <a:pt x="39" y="6"/>
                    <a:pt x="39" y="6"/>
                  </a:cubicBezTo>
                  <a:cubicBezTo>
                    <a:pt x="39" y="6"/>
                    <a:pt x="39" y="6"/>
                    <a:pt x="39" y="6"/>
                  </a:cubicBezTo>
                  <a:cubicBezTo>
                    <a:pt x="38" y="6"/>
                    <a:pt x="37" y="5"/>
                    <a:pt x="37" y="5"/>
                  </a:cubicBezTo>
                  <a:cubicBezTo>
                    <a:pt x="37" y="6"/>
                    <a:pt x="37" y="7"/>
                    <a:pt x="37" y="7"/>
                  </a:cubicBezTo>
                  <a:cubicBezTo>
                    <a:pt x="37" y="7"/>
                    <a:pt x="35" y="7"/>
                    <a:pt x="35" y="7"/>
                  </a:cubicBezTo>
                  <a:cubicBezTo>
                    <a:pt x="35" y="7"/>
                    <a:pt x="35" y="8"/>
                    <a:pt x="35" y="8"/>
                  </a:cubicBezTo>
                  <a:cubicBezTo>
                    <a:pt x="34" y="8"/>
                    <a:pt x="34" y="8"/>
                    <a:pt x="34" y="8"/>
                  </a:cubicBezTo>
                  <a:cubicBezTo>
                    <a:pt x="34" y="8"/>
                    <a:pt x="33" y="8"/>
                    <a:pt x="34" y="9"/>
                  </a:cubicBezTo>
                  <a:cubicBezTo>
                    <a:pt x="34" y="10"/>
                    <a:pt x="34" y="11"/>
                    <a:pt x="34" y="11"/>
                  </a:cubicBezTo>
                  <a:cubicBezTo>
                    <a:pt x="34" y="11"/>
                    <a:pt x="35" y="12"/>
                    <a:pt x="35" y="12"/>
                  </a:cubicBezTo>
                  <a:cubicBezTo>
                    <a:pt x="35" y="12"/>
                    <a:pt x="34" y="12"/>
                    <a:pt x="34" y="12"/>
                  </a:cubicBezTo>
                  <a:cubicBezTo>
                    <a:pt x="34" y="12"/>
                    <a:pt x="33" y="11"/>
                    <a:pt x="32" y="10"/>
                  </a:cubicBezTo>
                  <a:cubicBezTo>
                    <a:pt x="32" y="10"/>
                    <a:pt x="31" y="9"/>
                    <a:pt x="31" y="9"/>
                  </a:cubicBezTo>
                  <a:cubicBezTo>
                    <a:pt x="31" y="9"/>
                    <a:pt x="30" y="9"/>
                    <a:pt x="29" y="10"/>
                  </a:cubicBezTo>
                  <a:cubicBezTo>
                    <a:pt x="29" y="11"/>
                    <a:pt x="29" y="11"/>
                    <a:pt x="29" y="12"/>
                  </a:cubicBezTo>
                  <a:cubicBezTo>
                    <a:pt x="29" y="13"/>
                    <a:pt x="30" y="15"/>
                    <a:pt x="30" y="15"/>
                  </a:cubicBezTo>
                  <a:cubicBezTo>
                    <a:pt x="30" y="15"/>
                    <a:pt x="30" y="16"/>
                    <a:pt x="31" y="17"/>
                  </a:cubicBezTo>
                  <a:cubicBezTo>
                    <a:pt x="31" y="17"/>
                    <a:pt x="31" y="19"/>
                    <a:pt x="32" y="19"/>
                  </a:cubicBezTo>
                  <a:cubicBezTo>
                    <a:pt x="32" y="20"/>
                    <a:pt x="33" y="21"/>
                    <a:pt x="33" y="21"/>
                  </a:cubicBezTo>
                  <a:cubicBezTo>
                    <a:pt x="33" y="21"/>
                    <a:pt x="29" y="19"/>
                    <a:pt x="29" y="18"/>
                  </a:cubicBezTo>
                  <a:cubicBezTo>
                    <a:pt x="29" y="18"/>
                    <a:pt x="28" y="16"/>
                    <a:pt x="28" y="16"/>
                  </a:cubicBezTo>
                  <a:cubicBezTo>
                    <a:pt x="27" y="16"/>
                    <a:pt x="28" y="15"/>
                    <a:pt x="27" y="16"/>
                  </a:cubicBezTo>
                  <a:cubicBezTo>
                    <a:pt x="26" y="16"/>
                    <a:pt x="26" y="16"/>
                    <a:pt x="26" y="16"/>
                  </a:cubicBezTo>
                  <a:cubicBezTo>
                    <a:pt x="25" y="16"/>
                    <a:pt x="25" y="17"/>
                    <a:pt x="25" y="17"/>
                  </a:cubicBezTo>
                  <a:cubicBezTo>
                    <a:pt x="25" y="17"/>
                    <a:pt x="25" y="18"/>
                    <a:pt x="25" y="19"/>
                  </a:cubicBezTo>
                  <a:cubicBezTo>
                    <a:pt x="26" y="21"/>
                    <a:pt x="26" y="21"/>
                    <a:pt x="26" y="22"/>
                  </a:cubicBezTo>
                  <a:cubicBezTo>
                    <a:pt x="27" y="22"/>
                    <a:pt x="27" y="22"/>
                    <a:pt x="28" y="23"/>
                  </a:cubicBezTo>
                  <a:cubicBezTo>
                    <a:pt x="28" y="23"/>
                    <a:pt x="28" y="24"/>
                    <a:pt x="28" y="24"/>
                  </a:cubicBezTo>
                  <a:cubicBezTo>
                    <a:pt x="28" y="24"/>
                    <a:pt x="28" y="26"/>
                    <a:pt x="28" y="26"/>
                  </a:cubicBezTo>
                  <a:cubicBezTo>
                    <a:pt x="28" y="26"/>
                    <a:pt x="27" y="27"/>
                    <a:pt x="27" y="27"/>
                  </a:cubicBezTo>
                  <a:cubicBezTo>
                    <a:pt x="27" y="27"/>
                    <a:pt x="28" y="28"/>
                    <a:pt x="28" y="28"/>
                  </a:cubicBezTo>
                  <a:cubicBezTo>
                    <a:pt x="28" y="28"/>
                    <a:pt x="29" y="29"/>
                    <a:pt x="29" y="29"/>
                  </a:cubicBezTo>
                  <a:cubicBezTo>
                    <a:pt x="28" y="30"/>
                    <a:pt x="28" y="30"/>
                    <a:pt x="27" y="29"/>
                  </a:cubicBezTo>
                  <a:cubicBezTo>
                    <a:pt x="27" y="29"/>
                    <a:pt x="26" y="29"/>
                    <a:pt x="26" y="28"/>
                  </a:cubicBezTo>
                  <a:cubicBezTo>
                    <a:pt x="27" y="27"/>
                    <a:pt x="27" y="26"/>
                    <a:pt x="27" y="26"/>
                  </a:cubicBezTo>
                  <a:cubicBezTo>
                    <a:pt x="26" y="26"/>
                    <a:pt x="25" y="25"/>
                    <a:pt x="25" y="25"/>
                  </a:cubicBezTo>
                  <a:cubicBezTo>
                    <a:pt x="25" y="25"/>
                    <a:pt x="27" y="27"/>
                    <a:pt x="25" y="23"/>
                  </a:cubicBezTo>
                  <a:cubicBezTo>
                    <a:pt x="23" y="20"/>
                    <a:pt x="23" y="20"/>
                    <a:pt x="23" y="20"/>
                  </a:cubicBezTo>
                  <a:cubicBezTo>
                    <a:pt x="23" y="19"/>
                    <a:pt x="23" y="19"/>
                    <a:pt x="23" y="19"/>
                  </a:cubicBezTo>
                  <a:cubicBezTo>
                    <a:pt x="23" y="19"/>
                    <a:pt x="22" y="18"/>
                    <a:pt x="22" y="18"/>
                  </a:cubicBezTo>
                  <a:cubicBezTo>
                    <a:pt x="22" y="18"/>
                    <a:pt x="21" y="17"/>
                    <a:pt x="21" y="17"/>
                  </a:cubicBezTo>
                  <a:cubicBezTo>
                    <a:pt x="21" y="17"/>
                    <a:pt x="20" y="18"/>
                    <a:pt x="20" y="18"/>
                  </a:cubicBezTo>
                  <a:cubicBezTo>
                    <a:pt x="20" y="18"/>
                    <a:pt x="20" y="18"/>
                    <a:pt x="19" y="19"/>
                  </a:cubicBezTo>
                  <a:cubicBezTo>
                    <a:pt x="19" y="19"/>
                    <a:pt x="19" y="20"/>
                    <a:pt x="18" y="21"/>
                  </a:cubicBezTo>
                  <a:cubicBezTo>
                    <a:pt x="18" y="21"/>
                    <a:pt x="18" y="22"/>
                    <a:pt x="18" y="22"/>
                  </a:cubicBezTo>
                  <a:cubicBezTo>
                    <a:pt x="18" y="22"/>
                    <a:pt x="19" y="23"/>
                    <a:pt x="19" y="23"/>
                  </a:cubicBezTo>
                  <a:cubicBezTo>
                    <a:pt x="19" y="24"/>
                    <a:pt x="20" y="25"/>
                    <a:pt x="20" y="25"/>
                  </a:cubicBezTo>
                  <a:cubicBezTo>
                    <a:pt x="19" y="25"/>
                    <a:pt x="19" y="24"/>
                    <a:pt x="19" y="24"/>
                  </a:cubicBezTo>
                  <a:cubicBezTo>
                    <a:pt x="18" y="24"/>
                    <a:pt x="18" y="24"/>
                    <a:pt x="18" y="24"/>
                  </a:cubicBezTo>
                  <a:cubicBezTo>
                    <a:pt x="17" y="24"/>
                    <a:pt x="17" y="24"/>
                    <a:pt x="17" y="24"/>
                  </a:cubicBezTo>
                  <a:cubicBezTo>
                    <a:pt x="17" y="25"/>
                    <a:pt x="17" y="25"/>
                    <a:pt x="17" y="25"/>
                  </a:cubicBezTo>
                  <a:cubicBezTo>
                    <a:pt x="17" y="25"/>
                    <a:pt x="17" y="27"/>
                    <a:pt x="18" y="27"/>
                  </a:cubicBezTo>
                  <a:cubicBezTo>
                    <a:pt x="18" y="27"/>
                    <a:pt x="18" y="27"/>
                    <a:pt x="18" y="27"/>
                  </a:cubicBezTo>
                  <a:cubicBezTo>
                    <a:pt x="18" y="27"/>
                    <a:pt x="18" y="28"/>
                    <a:pt x="18" y="28"/>
                  </a:cubicBezTo>
                  <a:cubicBezTo>
                    <a:pt x="18" y="28"/>
                    <a:pt x="19" y="29"/>
                    <a:pt x="19" y="29"/>
                  </a:cubicBezTo>
                  <a:cubicBezTo>
                    <a:pt x="19" y="29"/>
                    <a:pt x="19" y="29"/>
                    <a:pt x="19" y="29"/>
                  </a:cubicBezTo>
                  <a:cubicBezTo>
                    <a:pt x="19" y="29"/>
                    <a:pt x="19" y="30"/>
                    <a:pt x="19" y="30"/>
                  </a:cubicBezTo>
                  <a:cubicBezTo>
                    <a:pt x="18" y="30"/>
                    <a:pt x="19" y="30"/>
                    <a:pt x="18" y="29"/>
                  </a:cubicBezTo>
                  <a:cubicBezTo>
                    <a:pt x="17" y="29"/>
                    <a:pt x="17" y="29"/>
                    <a:pt x="17" y="28"/>
                  </a:cubicBezTo>
                  <a:cubicBezTo>
                    <a:pt x="17" y="27"/>
                    <a:pt x="16" y="27"/>
                    <a:pt x="16" y="27"/>
                  </a:cubicBezTo>
                  <a:cubicBezTo>
                    <a:pt x="16" y="27"/>
                    <a:pt x="17" y="27"/>
                    <a:pt x="16" y="25"/>
                  </a:cubicBezTo>
                  <a:cubicBezTo>
                    <a:pt x="15" y="24"/>
                    <a:pt x="15" y="23"/>
                    <a:pt x="15" y="23"/>
                  </a:cubicBezTo>
                  <a:cubicBezTo>
                    <a:pt x="15" y="23"/>
                    <a:pt x="14" y="22"/>
                    <a:pt x="14" y="23"/>
                  </a:cubicBezTo>
                  <a:cubicBezTo>
                    <a:pt x="13" y="23"/>
                    <a:pt x="13" y="23"/>
                    <a:pt x="12" y="23"/>
                  </a:cubicBezTo>
                  <a:cubicBezTo>
                    <a:pt x="12" y="24"/>
                    <a:pt x="11" y="24"/>
                    <a:pt x="11" y="24"/>
                  </a:cubicBezTo>
                  <a:cubicBezTo>
                    <a:pt x="11" y="24"/>
                    <a:pt x="9" y="24"/>
                    <a:pt x="9" y="24"/>
                  </a:cubicBezTo>
                  <a:cubicBezTo>
                    <a:pt x="9" y="24"/>
                    <a:pt x="9" y="24"/>
                    <a:pt x="8" y="25"/>
                  </a:cubicBezTo>
                  <a:cubicBezTo>
                    <a:pt x="6" y="26"/>
                    <a:pt x="6" y="26"/>
                    <a:pt x="7" y="26"/>
                  </a:cubicBezTo>
                  <a:cubicBezTo>
                    <a:pt x="8" y="27"/>
                    <a:pt x="9" y="27"/>
                    <a:pt x="9" y="27"/>
                  </a:cubicBezTo>
                  <a:cubicBezTo>
                    <a:pt x="10" y="27"/>
                    <a:pt x="10" y="27"/>
                    <a:pt x="11" y="28"/>
                  </a:cubicBezTo>
                  <a:cubicBezTo>
                    <a:pt x="11" y="28"/>
                    <a:pt x="13" y="29"/>
                    <a:pt x="13" y="29"/>
                  </a:cubicBezTo>
                  <a:cubicBezTo>
                    <a:pt x="15" y="32"/>
                    <a:pt x="15" y="32"/>
                    <a:pt x="15" y="32"/>
                  </a:cubicBezTo>
                  <a:cubicBezTo>
                    <a:pt x="15" y="32"/>
                    <a:pt x="15" y="32"/>
                    <a:pt x="15" y="33"/>
                  </a:cubicBezTo>
                  <a:cubicBezTo>
                    <a:pt x="15" y="33"/>
                    <a:pt x="15" y="33"/>
                    <a:pt x="15" y="33"/>
                  </a:cubicBezTo>
                  <a:cubicBezTo>
                    <a:pt x="15" y="33"/>
                    <a:pt x="15" y="34"/>
                    <a:pt x="15" y="34"/>
                  </a:cubicBezTo>
                  <a:cubicBezTo>
                    <a:pt x="15" y="35"/>
                    <a:pt x="15" y="35"/>
                    <a:pt x="16" y="36"/>
                  </a:cubicBezTo>
                  <a:cubicBezTo>
                    <a:pt x="17" y="36"/>
                    <a:pt x="17" y="36"/>
                    <a:pt x="18" y="36"/>
                  </a:cubicBezTo>
                  <a:cubicBezTo>
                    <a:pt x="19" y="36"/>
                    <a:pt x="18" y="36"/>
                    <a:pt x="19" y="36"/>
                  </a:cubicBezTo>
                  <a:cubicBezTo>
                    <a:pt x="20" y="35"/>
                    <a:pt x="20" y="35"/>
                    <a:pt x="20" y="35"/>
                  </a:cubicBezTo>
                  <a:cubicBezTo>
                    <a:pt x="20" y="35"/>
                    <a:pt x="21" y="35"/>
                    <a:pt x="22" y="35"/>
                  </a:cubicBezTo>
                  <a:cubicBezTo>
                    <a:pt x="23" y="36"/>
                    <a:pt x="22" y="36"/>
                    <a:pt x="23" y="36"/>
                  </a:cubicBezTo>
                  <a:cubicBezTo>
                    <a:pt x="23" y="36"/>
                    <a:pt x="25" y="35"/>
                    <a:pt x="25" y="35"/>
                  </a:cubicBezTo>
                  <a:cubicBezTo>
                    <a:pt x="25" y="35"/>
                    <a:pt x="25" y="35"/>
                    <a:pt x="26" y="35"/>
                  </a:cubicBezTo>
                  <a:cubicBezTo>
                    <a:pt x="26" y="36"/>
                    <a:pt x="26" y="36"/>
                    <a:pt x="26" y="37"/>
                  </a:cubicBezTo>
                  <a:cubicBezTo>
                    <a:pt x="27" y="37"/>
                    <a:pt x="28" y="37"/>
                    <a:pt x="28" y="37"/>
                  </a:cubicBezTo>
                  <a:cubicBezTo>
                    <a:pt x="29" y="37"/>
                    <a:pt x="29" y="37"/>
                    <a:pt x="29" y="37"/>
                  </a:cubicBezTo>
                  <a:cubicBezTo>
                    <a:pt x="29" y="37"/>
                    <a:pt x="30" y="37"/>
                    <a:pt x="30" y="36"/>
                  </a:cubicBezTo>
                  <a:cubicBezTo>
                    <a:pt x="30" y="36"/>
                    <a:pt x="31" y="35"/>
                    <a:pt x="31" y="35"/>
                  </a:cubicBezTo>
                  <a:cubicBezTo>
                    <a:pt x="31" y="35"/>
                    <a:pt x="30" y="36"/>
                    <a:pt x="31" y="36"/>
                  </a:cubicBezTo>
                  <a:cubicBezTo>
                    <a:pt x="32" y="36"/>
                    <a:pt x="32" y="36"/>
                    <a:pt x="32" y="36"/>
                  </a:cubicBezTo>
                  <a:cubicBezTo>
                    <a:pt x="33" y="37"/>
                    <a:pt x="34" y="36"/>
                    <a:pt x="34" y="36"/>
                  </a:cubicBezTo>
                  <a:cubicBezTo>
                    <a:pt x="35" y="36"/>
                    <a:pt x="35" y="36"/>
                    <a:pt x="35" y="36"/>
                  </a:cubicBezTo>
                  <a:cubicBezTo>
                    <a:pt x="35" y="36"/>
                    <a:pt x="35" y="37"/>
                    <a:pt x="35" y="37"/>
                  </a:cubicBezTo>
                  <a:cubicBezTo>
                    <a:pt x="35" y="37"/>
                    <a:pt x="34" y="37"/>
                    <a:pt x="35" y="37"/>
                  </a:cubicBezTo>
                  <a:cubicBezTo>
                    <a:pt x="36" y="37"/>
                    <a:pt x="37" y="36"/>
                    <a:pt x="37" y="36"/>
                  </a:cubicBezTo>
                  <a:cubicBezTo>
                    <a:pt x="37" y="36"/>
                    <a:pt x="36" y="37"/>
                    <a:pt x="36" y="37"/>
                  </a:cubicBezTo>
                  <a:cubicBezTo>
                    <a:pt x="36" y="38"/>
                    <a:pt x="36" y="38"/>
                    <a:pt x="36" y="38"/>
                  </a:cubicBezTo>
                  <a:cubicBezTo>
                    <a:pt x="36" y="38"/>
                    <a:pt x="36" y="39"/>
                    <a:pt x="36" y="40"/>
                  </a:cubicBezTo>
                  <a:cubicBezTo>
                    <a:pt x="37" y="40"/>
                    <a:pt x="38" y="40"/>
                    <a:pt x="38" y="40"/>
                  </a:cubicBezTo>
                  <a:cubicBezTo>
                    <a:pt x="38" y="40"/>
                    <a:pt x="39" y="40"/>
                    <a:pt x="40" y="40"/>
                  </a:cubicBezTo>
                  <a:cubicBezTo>
                    <a:pt x="40" y="40"/>
                    <a:pt x="40" y="40"/>
                    <a:pt x="40" y="40"/>
                  </a:cubicBezTo>
                  <a:cubicBezTo>
                    <a:pt x="40" y="41"/>
                    <a:pt x="41" y="40"/>
                    <a:pt x="41" y="40"/>
                  </a:cubicBezTo>
                  <a:cubicBezTo>
                    <a:pt x="41" y="40"/>
                    <a:pt x="42" y="40"/>
                    <a:pt x="42" y="40"/>
                  </a:cubicBezTo>
                  <a:cubicBezTo>
                    <a:pt x="42" y="41"/>
                    <a:pt x="42" y="41"/>
                    <a:pt x="42" y="41"/>
                  </a:cubicBezTo>
                  <a:cubicBezTo>
                    <a:pt x="41" y="42"/>
                    <a:pt x="41" y="42"/>
                    <a:pt x="41" y="42"/>
                  </a:cubicBezTo>
                  <a:cubicBezTo>
                    <a:pt x="41" y="42"/>
                    <a:pt x="43" y="43"/>
                    <a:pt x="43" y="43"/>
                  </a:cubicBezTo>
                  <a:cubicBezTo>
                    <a:pt x="43" y="43"/>
                    <a:pt x="43" y="42"/>
                    <a:pt x="44" y="42"/>
                  </a:cubicBezTo>
                  <a:cubicBezTo>
                    <a:pt x="44" y="43"/>
                    <a:pt x="44" y="43"/>
                    <a:pt x="44" y="43"/>
                  </a:cubicBezTo>
                  <a:cubicBezTo>
                    <a:pt x="43" y="44"/>
                    <a:pt x="43" y="42"/>
                    <a:pt x="43" y="44"/>
                  </a:cubicBezTo>
                  <a:cubicBezTo>
                    <a:pt x="42" y="45"/>
                    <a:pt x="43" y="46"/>
                    <a:pt x="43" y="46"/>
                  </a:cubicBezTo>
                  <a:cubicBezTo>
                    <a:pt x="44" y="47"/>
                    <a:pt x="44" y="47"/>
                    <a:pt x="44" y="47"/>
                  </a:cubicBezTo>
                  <a:cubicBezTo>
                    <a:pt x="44" y="47"/>
                    <a:pt x="45" y="47"/>
                    <a:pt x="45" y="47"/>
                  </a:cubicBezTo>
                  <a:cubicBezTo>
                    <a:pt x="45" y="47"/>
                    <a:pt x="45" y="47"/>
                    <a:pt x="46" y="47"/>
                  </a:cubicBezTo>
                  <a:cubicBezTo>
                    <a:pt x="46" y="47"/>
                    <a:pt x="46" y="47"/>
                    <a:pt x="47" y="47"/>
                  </a:cubicBezTo>
                  <a:cubicBezTo>
                    <a:pt x="47" y="47"/>
                    <a:pt x="48" y="47"/>
                    <a:pt x="48" y="47"/>
                  </a:cubicBezTo>
                  <a:cubicBezTo>
                    <a:pt x="48" y="48"/>
                    <a:pt x="48" y="48"/>
                    <a:pt x="48" y="48"/>
                  </a:cubicBezTo>
                  <a:cubicBezTo>
                    <a:pt x="48" y="48"/>
                    <a:pt x="48" y="49"/>
                    <a:pt x="48" y="49"/>
                  </a:cubicBezTo>
                  <a:cubicBezTo>
                    <a:pt x="49" y="49"/>
                    <a:pt x="50" y="50"/>
                    <a:pt x="50" y="50"/>
                  </a:cubicBezTo>
                  <a:cubicBezTo>
                    <a:pt x="50" y="50"/>
                    <a:pt x="49" y="50"/>
                    <a:pt x="50" y="50"/>
                  </a:cubicBezTo>
                  <a:cubicBezTo>
                    <a:pt x="50" y="51"/>
                    <a:pt x="52" y="52"/>
                    <a:pt x="52" y="52"/>
                  </a:cubicBezTo>
                  <a:cubicBezTo>
                    <a:pt x="52" y="52"/>
                    <a:pt x="50" y="52"/>
                    <a:pt x="49" y="51"/>
                  </a:cubicBezTo>
                  <a:cubicBezTo>
                    <a:pt x="49" y="51"/>
                    <a:pt x="47" y="51"/>
                    <a:pt x="47" y="51"/>
                  </a:cubicBezTo>
                  <a:cubicBezTo>
                    <a:pt x="46" y="51"/>
                    <a:pt x="45" y="52"/>
                    <a:pt x="45" y="52"/>
                  </a:cubicBezTo>
                  <a:cubicBezTo>
                    <a:pt x="42" y="52"/>
                    <a:pt x="42" y="52"/>
                    <a:pt x="42" y="52"/>
                  </a:cubicBezTo>
                  <a:cubicBezTo>
                    <a:pt x="42" y="52"/>
                    <a:pt x="40" y="53"/>
                    <a:pt x="40" y="53"/>
                  </a:cubicBezTo>
                  <a:cubicBezTo>
                    <a:pt x="40" y="53"/>
                    <a:pt x="39" y="53"/>
                    <a:pt x="38" y="53"/>
                  </a:cubicBezTo>
                  <a:cubicBezTo>
                    <a:pt x="38" y="53"/>
                    <a:pt x="37" y="54"/>
                    <a:pt x="37" y="54"/>
                  </a:cubicBezTo>
                  <a:cubicBezTo>
                    <a:pt x="36" y="54"/>
                    <a:pt x="35" y="54"/>
                    <a:pt x="35" y="54"/>
                  </a:cubicBezTo>
                  <a:cubicBezTo>
                    <a:pt x="34" y="54"/>
                    <a:pt x="33" y="54"/>
                    <a:pt x="33" y="54"/>
                  </a:cubicBezTo>
                  <a:cubicBezTo>
                    <a:pt x="31" y="54"/>
                    <a:pt x="31" y="54"/>
                    <a:pt x="31" y="54"/>
                  </a:cubicBezTo>
                  <a:cubicBezTo>
                    <a:pt x="32" y="55"/>
                    <a:pt x="32" y="55"/>
                    <a:pt x="32" y="55"/>
                  </a:cubicBezTo>
                  <a:cubicBezTo>
                    <a:pt x="33" y="56"/>
                    <a:pt x="33" y="56"/>
                    <a:pt x="33" y="56"/>
                  </a:cubicBezTo>
                  <a:cubicBezTo>
                    <a:pt x="33" y="56"/>
                    <a:pt x="34" y="56"/>
                    <a:pt x="34" y="56"/>
                  </a:cubicBezTo>
                  <a:cubicBezTo>
                    <a:pt x="34" y="56"/>
                    <a:pt x="35" y="57"/>
                    <a:pt x="35" y="57"/>
                  </a:cubicBezTo>
                  <a:cubicBezTo>
                    <a:pt x="35" y="57"/>
                    <a:pt x="36" y="58"/>
                    <a:pt x="36" y="58"/>
                  </a:cubicBezTo>
                  <a:cubicBezTo>
                    <a:pt x="36" y="58"/>
                    <a:pt x="38" y="59"/>
                    <a:pt x="38" y="59"/>
                  </a:cubicBezTo>
                  <a:lnTo>
                    <a:pt x="39" y="60"/>
                  </a:ln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Freeform 69"/>
            <p:cNvSpPr>
              <a:spLocks/>
            </p:cNvSpPr>
            <p:nvPr/>
          </p:nvSpPr>
          <p:spPr bwMode="auto">
            <a:xfrm>
              <a:off x="6817017" y="4253492"/>
              <a:ext cx="359592" cy="333592"/>
            </a:xfrm>
            <a:custGeom>
              <a:avLst/>
              <a:gdLst>
                <a:gd name="T0" fmla="*/ 88 w 124"/>
                <a:gd name="T1" fmla="*/ 117 h 122"/>
                <a:gd name="T2" fmla="*/ 86 w 124"/>
                <a:gd name="T3" fmla="*/ 110 h 122"/>
                <a:gd name="T4" fmla="*/ 90 w 124"/>
                <a:gd name="T5" fmla="*/ 103 h 122"/>
                <a:gd name="T6" fmla="*/ 94 w 124"/>
                <a:gd name="T7" fmla="*/ 94 h 122"/>
                <a:gd name="T8" fmla="*/ 92 w 124"/>
                <a:gd name="T9" fmla="*/ 84 h 122"/>
                <a:gd name="T10" fmla="*/ 92 w 124"/>
                <a:gd name="T11" fmla="*/ 71 h 122"/>
                <a:gd name="T12" fmla="*/ 99 w 124"/>
                <a:gd name="T13" fmla="*/ 74 h 122"/>
                <a:gd name="T14" fmla="*/ 103 w 124"/>
                <a:gd name="T15" fmla="*/ 72 h 122"/>
                <a:gd name="T16" fmla="*/ 109 w 124"/>
                <a:gd name="T17" fmla="*/ 73 h 122"/>
                <a:gd name="T18" fmla="*/ 114 w 124"/>
                <a:gd name="T19" fmla="*/ 69 h 122"/>
                <a:gd name="T20" fmla="*/ 124 w 124"/>
                <a:gd name="T21" fmla="*/ 67 h 122"/>
                <a:gd name="T22" fmla="*/ 115 w 124"/>
                <a:gd name="T23" fmla="*/ 62 h 122"/>
                <a:gd name="T24" fmla="*/ 113 w 124"/>
                <a:gd name="T25" fmla="*/ 51 h 122"/>
                <a:gd name="T26" fmla="*/ 105 w 124"/>
                <a:gd name="T27" fmla="*/ 50 h 122"/>
                <a:gd name="T28" fmla="*/ 100 w 124"/>
                <a:gd name="T29" fmla="*/ 44 h 122"/>
                <a:gd name="T30" fmla="*/ 98 w 124"/>
                <a:gd name="T31" fmla="*/ 39 h 122"/>
                <a:gd name="T32" fmla="*/ 93 w 124"/>
                <a:gd name="T33" fmla="*/ 36 h 122"/>
                <a:gd name="T34" fmla="*/ 86 w 124"/>
                <a:gd name="T35" fmla="*/ 31 h 122"/>
                <a:gd name="T36" fmla="*/ 83 w 124"/>
                <a:gd name="T37" fmla="*/ 26 h 122"/>
                <a:gd name="T38" fmla="*/ 80 w 124"/>
                <a:gd name="T39" fmla="*/ 17 h 122"/>
                <a:gd name="T40" fmla="*/ 75 w 124"/>
                <a:gd name="T41" fmla="*/ 10 h 122"/>
                <a:gd name="T42" fmla="*/ 67 w 124"/>
                <a:gd name="T43" fmla="*/ 10 h 122"/>
                <a:gd name="T44" fmla="*/ 56 w 124"/>
                <a:gd name="T45" fmla="*/ 9 h 122"/>
                <a:gd name="T46" fmla="*/ 53 w 124"/>
                <a:gd name="T47" fmla="*/ 8 h 122"/>
                <a:gd name="T48" fmla="*/ 52 w 124"/>
                <a:gd name="T49" fmla="*/ 7 h 122"/>
                <a:gd name="T50" fmla="*/ 47 w 124"/>
                <a:gd name="T51" fmla="*/ 8 h 122"/>
                <a:gd name="T52" fmla="*/ 43 w 124"/>
                <a:gd name="T53" fmla="*/ 6 h 122"/>
                <a:gd name="T54" fmla="*/ 35 w 124"/>
                <a:gd name="T55" fmla="*/ 3 h 122"/>
                <a:gd name="T56" fmla="*/ 27 w 124"/>
                <a:gd name="T57" fmla="*/ 2 h 122"/>
                <a:gd name="T58" fmla="*/ 23 w 124"/>
                <a:gd name="T59" fmla="*/ 6 h 122"/>
                <a:gd name="T60" fmla="*/ 19 w 124"/>
                <a:gd name="T61" fmla="*/ 9 h 122"/>
                <a:gd name="T62" fmla="*/ 13 w 124"/>
                <a:gd name="T63" fmla="*/ 10 h 122"/>
                <a:gd name="T64" fmla="*/ 7 w 124"/>
                <a:gd name="T65" fmla="*/ 12 h 122"/>
                <a:gd name="T66" fmla="*/ 6 w 124"/>
                <a:gd name="T67" fmla="*/ 15 h 122"/>
                <a:gd name="T68" fmla="*/ 0 w 124"/>
                <a:gd name="T69" fmla="*/ 18 h 122"/>
                <a:gd name="T70" fmla="*/ 8 w 124"/>
                <a:gd name="T71" fmla="*/ 18 h 122"/>
                <a:gd name="T72" fmla="*/ 13 w 124"/>
                <a:gd name="T73" fmla="*/ 20 h 122"/>
                <a:gd name="T74" fmla="*/ 16 w 124"/>
                <a:gd name="T75" fmla="*/ 22 h 122"/>
                <a:gd name="T76" fmla="*/ 21 w 124"/>
                <a:gd name="T77" fmla="*/ 27 h 122"/>
                <a:gd name="T78" fmla="*/ 23 w 124"/>
                <a:gd name="T79" fmla="*/ 30 h 122"/>
                <a:gd name="T80" fmla="*/ 26 w 124"/>
                <a:gd name="T81" fmla="*/ 34 h 122"/>
                <a:gd name="T82" fmla="*/ 30 w 124"/>
                <a:gd name="T83" fmla="*/ 40 h 122"/>
                <a:gd name="T84" fmla="*/ 35 w 124"/>
                <a:gd name="T85" fmla="*/ 44 h 122"/>
                <a:gd name="T86" fmla="*/ 40 w 124"/>
                <a:gd name="T87" fmla="*/ 49 h 122"/>
                <a:gd name="T88" fmla="*/ 50 w 124"/>
                <a:gd name="T89" fmla="*/ 57 h 122"/>
                <a:gd name="T90" fmla="*/ 61 w 124"/>
                <a:gd name="T91" fmla="*/ 66 h 122"/>
                <a:gd name="T92" fmla="*/ 67 w 124"/>
                <a:gd name="T93" fmla="*/ 76 h 122"/>
                <a:gd name="T94" fmla="*/ 69 w 124"/>
                <a:gd name="T95" fmla="*/ 84 h 122"/>
                <a:gd name="T96" fmla="*/ 68 w 124"/>
                <a:gd name="T97" fmla="*/ 90 h 122"/>
                <a:gd name="T98" fmla="*/ 69 w 124"/>
                <a:gd name="T99" fmla="*/ 98 h 122"/>
                <a:gd name="T100" fmla="*/ 73 w 124"/>
                <a:gd name="T101" fmla="*/ 109 h 122"/>
                <a:gd name="T102" fmla="*/ 76 w 124"/>
                <a:gd name="T103" fmla="*/ 116 h 122"/>
                <a:gd name="T104" fmla="*/ 77 w 124"/>
                <a:gd name="T105" fmla="*/ 12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4" h="122">
                  <a:moveTo>
                    <a:pt x="79" y="122"/>
                  </a:moveTo>
                  <a:cubicBezTo>
                    <a:pt x="81" y="119"/>
                    <a:pt x="81" y="119"/>
                    <a:pt x="81" y="119"/>
                  </a:cubicBezTo>
                  <a:cubicBezTo>
                    <a:pt x="81" y="119"/>
                    <a:pt x="83" y="118"/>
                    <a:pt x="83" y="118"/>
                  </a:cubicBezTo>
                  <a:cubicBezTo>
                    <a:pt x="84" y="118"/>
                    <a:pt x="85" y="118"/>
                    <a:pt x="86" y="118"/>
                  </a:cubicBezTo>
                  <a:cubicBezTo>
                    <a:pt x="87" y="118"/>
                    <a:pt x="88" y="117"/>
                    <a:pt x="88" y="117"/>
                  </a:cubicBezTo>
                  <a:cubicBezTo>
                    <a:pt x="88" y="117"/>
                    <a:pt x="88" y="117"/>
                    <a:pt x="88" y="117"/>
                  </a:cubicBezTo>
                  <a:cubicBezTo>
                    <a:pt x="87" y="115"/>
                    <a:pt x="87" y="115"/>
                    <a:pt x="87" y="115"/>
                  </a:cubicBezTo>
                  <a:cubicBezTo>
                    <a:pt x="88" y="113"/>
                    <a:pt x="88" y="113"/>
                    <a:pt x="88" y="113"/>
                  </a:cubicBezTo>
                  <a:cubicBezTo>
                    <a:pt x="85" y="112"/>
                    <a:pt x="85" y="112"/>
                    <a:pt x="85" y="112"/>
                  </a:cubicBezTo>
                  <a:cubicBezTo>
                    <a:pt x="86" y="110"/>
                    <a:pt x="86" y="110"/>
                    <a:pt x="86" y="110"/>
                  </a:cubicBezTo>
                  <a:cubicBezTo>
                    <a:pt x="86" y="110"/>
                    <a:pt x="85" y="109"/>
                    <a:pt x="86" y="109"/>
                  </a:cubicBezTo>
                  <a:cubicBezTo>
                    <a:pt x="87" y="109"/>
                    <a:pt x="87" y="106"/>
                    <a:pt x="87" y="106"/>
                  </a:cubicBezTo>
                  <a:cubicBezTo>
                    <a:pt x="88" y="105"/>
                    <a:pt x="88" y="105"/>
                    <a:pt x="88" y="105"/>
                  </a:cubicBezTo>
                  <a:cubicBezTo>
                    <a:pt x="89" y="105"/>
                    <a:pt x="89" y="105"/>
                    <a:pt x="89" y="105"/>
                  </a:cubicBezTo>
                  <a:cubicBezTo>
                    <a:pt x="89" y="105"/>
                    <a:pt x="89" y="103"/>
                    <a:pt x="90" y="103"/>
                  </a:cubicBezTo>
                  <a:cubicBezTo>
                    <a:pt x="90" y="103"/>
                    <a:pt x="91" y="102"/>
                    <a:pt x="91" y="102"/>
                  </a:cubicBezTo>
                  <a:cubicBezTo>
                    <a:pt x="90" y="99"/>
                    <a:pt x="90" y="99"/>
                    <a:pt x="90" y="99"/>
                  </a:cubicBezTo>
                  <a:cubicBezTo>
                    <a:pt x="90" y="99"/>
                    <a:pt x="89" y="97"/>
                    <a:pt x="89" y="97"/>
                  </a:cubicBezTo>
                  <a:cubicBezTo>
                    <a:pt x="90" y="97"/>
                    <a:pt x="91" y="96"/>
                    <a:pt x="91" y="96"/>
                  </a:cubicBezTo>
                  <a:cubicBezTo>
                    <a:pt x="91" y="96"/>
                    <a:pt x="93" y="94"/>
                    <a:pt x="94" y="94"/>
                  </a:cubicBezTo>
                  <a:cubicBezTo>
                    <a:pt x="94" y="93"/>
                    <a:pt x="95" y="92"/>
                    <a:pt x="95" y="91"/>
                  </a:cubicBezTo>
                  <a:cubicBezTo>
                    <a:pt x="95" y="91"/>
                    <a:pt x="94" y="89"/>
                    <a:pt x="94" y="89"/>
                  </a:cubicBezTo>
                  <a:cubicBezTo>
                    <a:pt x="94" y="87"/>
                    <a:pt x="94" y="87"/>
                    <a:pt x="94" y="87"/>
                  </a:cubicBezTo>
                  <a:cubicBezTo>
                    <a:pt x="94" y="87"/>
                    <a:pt x="95" y="85"/>
                    <a:pt x="95" y="85"/>
                  </a:cubicBezTo>
                  <a:cubicBezTo>
                    <a:pt x="94" y="84"/>
                    <a:pt x="92" y="84"/>
                    <a:pt x="92" y="84"/>
                  </a:cubicBezTo>
                  <a:cubicBezTo>
                    <a:pt x="91" y="82"/>
                    <a:pt x="91" y="82"/>
                    <a:pt x="91" y="82"/>
                  </a:cubicBezTo>
                  <a:cubicBezTo>
                    <a:pt x="91" y="80"/>
                    <a:pt x="91" y="80"/>
                    <a:pt x="91" y="80"/>
                  </a:cubicBezTo>
                  <a:cubicBezTo>
                    <a:pt x="89" y="78"/>
                    <a:pt x="89" y="78"/>
                    <a:pt x="89" y="78"/>
                  </a:cubicBezTo>
                  <a:cubicBezTo>
                    <a:pt x="89" y="78"/>
                    <a:pt x="89" y="76"/>
                    <a:pt x="89" y="75"/>
                  </a:cubicBezTo>
                  <a:cubicBezTo>
                    <a:pt x="90" y="75"/>
                    <a:pt x="91" y="72"/>
                    <a:pt x="92" y="71"/>
                  </a:cubicBezTo>
                  <a:cubicBezTo>
                    <a:pt x="92" y="71"/>
                    <a:pt x="96" y="68"/>
                    <a:pt x="96" y="68"/>
                  </a:cubicBezTo>
                  <a:cubicBezTo>
                    <a:pt x="97" y="72"/>
                    <a:pt x="97" y="72"/>
                    <a:pt x="97" y="72"/>
                  </a:cubicBezTo>
                  <a:cubicBezTo>
                    <a:pt x="97" y="75"/>
                    <a:pt x="97" y="75"/>
                    <a:pt x="97" y="75"/>
                  </a:cubicBezTo>
                  <a:cubicBezTo>
                    <a:pt x="97" y="75"/>
                    <a:pt x="97" y="77"/>
                    <a:pt x="97" y="77"/>
                  </a:cubicBezTo>
                  <a:cubicBezTo>
                    <a:pt x="98" y="76"/>
                    <a:pt x="99" y="74"/>
                    <a:pt x="99" y="74"/>
                  </a:cubicBezTo>
                  <a:cubicBezTo>
                    <a:pt x="100" y="74"/>
                    <a:pt x="100" y="74"/>
                    <a:pt x="100" y="74"/>
                  </a:cubicBezTo>
                  <a:cubicBezTo>
                    <a:pt x="100" y="74"/>
                    <a:pt x="98" y="71"/>
                    <a:pt x="99" y="71"/>
                  </a:cubicBezTo>
                  <a:cubicBezTo>
                    <a:pt x="99" y="71"/>
                    <a:pt x="99" y="70"/>
                    <a:pt x="100" y="71"/>
                  </a:cubicBezTo>
                  <a:cubicBezTo>
                    <a:pt x="100" y="72"/>
                    <a:pt x="100" y="73"/>
                    <a:pt x="101" y="73"/>
                  </a:cubicBezTo>
                  <a:cubicBezTo>
                    <a:pt x="102" y="73"/>
                    <a:pt x="103" y="73"/>
                    <a:pt x="103" y="72"/>
                  </a:cubicBezTo>
                  <a:cubicBezTo>
                    <a:pt x="104" y="71"/>
                    <a:pt x="103" y="71"/>
                    <a:pt x="103" y="71"/>
                  </a:cubicBezTo>
                  <a:cubicBezTo>
                    <a:pt x="104" y="70"/>
                    <a:pt x="104" y="70"/>
                    <a:pt x="104" y="70"/>
                  </a:cubicBezTo>
                  <a:cubicBezTo>
                    <a:pt x="104" y="70"/>
                    <a:pt x="104" y="72"/>
                    <a:pt x="105" y="72"/>
                  </a:cubicBezTo>
                  <a:cubicBezTo>
                    <a:pt x="106" y="72"/>
                    <a:pt x="108" y="72"/>
                    <a:pt x="108" y="72"/>
                  </a:cubicBezTo>
                  <a:cubicBezTo>
                    <a:pt x="109" y="73"/>
                    <a:pt x="109" y="73"/>
                    <a:pt x="109" y="73"/>
                  </a:cubicBezTo>
                  <a:cubicBezTo>
                    <a:pt x="109" y="73"/>
                    <a:pt x="110" y="72"/>
                    <a:pt x="110" y="72"/>
                  </a:cubicBezTo>
                  <a:cubicBezTo>
                    <a:pt x="110" y="71"/>
                    <a:pt x="110" y="70"/>
                    <a:pt x="110" y="70"/>
                  </a:cubicBezTo>
                  <a:cubicBezTo>
                    <a:pt x="112" y="70"/>
                    <a:pt x="112" y="70"/>
                    <a:pt x="112" y="70"/>
                  </a:cubicBezTo>
                  <a:cubicBezTo>
                    <a:pt x="112" y="67"/>
                    <a:pt x="112" y="67"/>
                    <a:pt x="112" y="67"/>
                  </a:cubicBezTo>
                  <a:cubicBezTo>
                    <a:pt x="114" y="69"/>
                    <a:pt x="114" y="69"/>
                    <a:pt x="114" y="69"/>
                  </a:cubicBezTo>
                  <a:cubicBezTo>
                    <a:pt x="115" y="71"/>
                    <a:pt x="115" y="71"/>
                    <a:pt x="115" y="71"/>
                  </a:cubicBezTo>
                  <a:cubicBezTo>
                    <a:pt x="117" y="71"/>
                    <a:pt x="117" y="71"/>
                    <a:pt x="117" y="71"/>
                  </a:cubicBezTo>
                  <a:cubicBezTo>
                    <a:pt x="118" y="68"/>
                    <a:pt x="118" y="68"/>
                    <a:pt x="118" y="68"/>
                  </a:cubicBezTo>
                  <a:cubicBezTo>
                    <a:pt x="118" y="68"/>
                    <a:pt x="120" y="68"/>
                    <a:pt x="121" y="68"/>
                  </a:cubicBezTo>
                  <a:cubicBezTo>
                    <a:pt x="122" y="68"/>
                    <a:pt x="124" y="67"/>
                    <a:pt x="124" y="67"/>
                  </a:cubicBezTo>
                  <a:cubicBezTo>
                    <a:pt x="124" y="66"/>
                    <a:pt x="123" y="66"/>
                    <a:pt x="122" y="66"/>
                  </a:cubicBezTo>
                  <a:cubicBezTo>
                    <a:pt x="121" y="66"/>
                    <a:pt x="120" y="67"/>
                    <a:pt x="119" y="66"/>
                  </a:cubicBezTo>
                  <a:cubicBezTo>
                    <a:pt x="119" y="66"/>
                    <a:pt x="117" y="64"/>
                    <a:pt x="117" y="64"/>
                  </a:cubicBezTo>
                  <a:cubicBezTo>
                    <a:pt x="115" y="64"/>
                    <a:pt x="115" y="64"/>
                    <a:pt x="115" y="64"/>
                  </a:cubicBezTo>
                  <a:cubicBezTo>
                    <a:pt x="115" y="64"/>
                    <a:pt x="114" y="63"/>
                    <a:pt x="115" y="62"/>
                  </a:cubicBezTo>
                  <a:cubicBezTo>
                    <a:pt x="116" y="62"/>
                    <a:pt x="116" y="61"/>
                    <a:pt x="116" y="61"/>
                  </a:cubicBezTo>
                  <a:cubicBezTo>
                    <a:pt x="116" y="61"/>
                    <a:pt x="116" y="60"/>
                    <a:pt x="116" y="59"/>
                  </a:cubicBezTo>
                  <a:cubicBezTo>
                    <a:pt x="115" y="59"/>
                    <a:pt x="115" y="57"/>
                    <a:pt x="115" y="56"/>
                  </a:cubicBezTo>
                  <a:cubicBezTo>
                    <a:pt x="115" y="56"/>
                    <a:pt x="113" y="52"/>
                    <a:pt x="113" y="52"/>
                  </a:cubicBezTo>
                  <a:cubicBezTo>
                    <a:pt x="113" y="51"/>
                    <a:pt x="113" y="51"/>
                    <a:pt x="113" y="51"/>
                  </a:cubicBezTo>
                  <a:cubicBezTo>
                    <a:pt x="112" y="52"/>
                    <a:pt x="112" y="52"/>
                    <a:pt x="112" y="52"/>
                  </a:cubicBezTo>
                  <a:cubicBezTo>
                    <a:pt x="110" y="50"/>
                    <a:pt x="110" y="50"/>
                    <a:pt x="110" y="50"/>
                  </a:cubicBezTo>
                  <a:cubicBezTo>
                    <a:pt x="110" y="50"/>
                    <a:pt x="109" y="51"/>
                    <a:pt x="108" y="51"/>
                  </a:cubicBezTo>
                  <a:cubicBezTo>
                    <a:pt x="107" y="51"/>
                    <a:pt x="107" y="50"/>
                    <a:pt x="107" y="50"/>
                  </a:cubicBezTo>
                  <a:cubicBezTo>
                    <a:pt x="105" y="50"/>
                    <a:pt x="105" y="50"/>
                    <a:pt x="105" y="50"/>
                  </a:cubicBezTo>
                  <a:cubicBezTo>
                    <a:pt x="105" y="50"/>
                    <a:pt x="105" y="50"/>
                    <a:pt x="104" y="50"/>
                  </a:cubicBezTo>
                  <a:cubicBezTo>
                    <a:pt x="102" y="50"/>
                    <a:pt x="101" y="50"/>
                    <a:pt x="101" y="49"/>
                  </a:cubicBezTo>
                  <a:cubicBezTo>
                    <a:pt x="100" y="49"/>
                    <a:pt x="100" y="48"/>
                    <a:pt x="101" y="47"/>
                  </a:cubicBezTo>
                  <a:cubicBezTo>
                    <a:pt x="101" y="47"/>
                    <a:pt x="101" y="46"/>
                    <a:pt x="101" y="46"/>
                  </a:cubicBezTo>
                  <a:cubicBezTo>
                    <a:pt x="101" y="46"/>
                    <a:pt x="101" y="44"/>
                    <a:pt x="100" y="44"/>
                  </a:cubicBezTo>
                  <a:cubicBezTo>
                    <a:pt x="100" y="44"/>
                    <a:pt x="98" y="44"/>
                    <a:pt x="98" y="44"/>
                  </a:cubicBezTo>
                  <a:cubicBezTo>
                    <a:pt x="96" y="43"/>
                    <a:pt x="96" y="43"/>
                    <a:pt x="96" y="43"/>
                  </a:cubicBezTo>
                  <a:cubicBezTo>
                    <a:pt x="99" y="42"/>
                    <a:pt x="99" y="42"/>
                    <a:pt x="99" y="42"/>
                  </a:cubicBezTo>
                  <a:cubicBezTo>
                    <a:pt x="98" y="41"/>
                    <a:pt x="98" y="41"/>
                    <a:pt x="98" y="41"/>
                  </a:cubicBezTo>
                  <a:cubicBezTo>
                    <a:pt x="98" y="41"/>
                    <a:pt x="98" y="39"/>
                    <a:pt x="98" y="39"/>
                  </a:cubicBezTo>
                  <a:cubicBezTo>
                    <a:pt x="98" y="38"/>
                    <a:pt x="97" y="37"/>
                    <a:pt x="97" y="37"/>
                  </a:cubicBezTo>
                  <a:cubicBezTo>
                    <a:pt x="97" y="34"/>
                    <a:pt x="97" y="34"/>
                    <a:pt x="97" y="34"/>
                  </a:cubicBezTo>
                  <a:cubicBezTo>
                    <a:pt x="96" y="34"/>
                    <a:pt x="96" y="34"/>
                    <a:pt x="96" y="34"/>
                  </a:cubicBezTo>
                  <a:cubicBezTo>
                    <a:pt x="94" y="33"/>
                    <a:pt x="94" y="33"/>
                    <a:pt x="94" y="33"/>
                  </a:cubicBezTo>
                  <a:cubicBezTo>
                    <a:pt x="93" y="36"/>
                    <a:pt x="93" y="36"/>
                    <a:pt x="93" y="36"/>
                  </a:cubicBezTo>
                  <a:cubicBezTo>
                    <a:pt x="91" y="36"/>
                    <a:pt x="91" y="36"/>
                    <a:pt x="91" y="36"/>
                  </a:cubicBezTo>
                  <a:cubicBezTo>
                    <a:pt x="90" y="34"/>
                    <a:pt x="90" y="34"/>
                    <a:pt x="90" y="34"/>
                  </a:cubicBezTo>
                  <a:cubicBezTo>
                    <a:pt x="89" y="33"/>
                    <a:pt x="89" y="33"/>
                    <a:pt x="89" y="33"/>
                  </a:cubicBezTo>
                  <a:cubicBezTo>
                    <a:pt x="88" y="33"/>
                    <a:pt x="88" y="33"/>
                    <a:pt x="88" y="33"/>
                  </a:cubicBezTo>
                  <a:cubicBezTo>
                    <a:pt x="86" y="31"/>
                    <a:pt x="86" y="31"/>
                    <a:pt x="86" y="31"/>
                  </a:cubicBezTo>
                  <a:cubicBezTo>
                    <a:pt x="85" y="31"/>
                    <a:pt x="85" y="31"/>
                    <a:pt x="85" y="31"/>
                  </a:cubicBezTo>
                  <a:cubicBezTo>
                    <a:pt x="85" y="31"/>
                    <a:pt x="84" y="34"/>
                    <a:pt x="84" y="32"/>
                  </a:cubicBezTo>
                  <a:cubicBezTo>
                    <a:pt x="83" y="31"/>
                    <a:pt x="82" y="29"/>
                    <a:pt x="82" y="29"/>
                  </a:cubicBezTo>
                  <a:cubicBezTo>
                    <a:pt x="82" y="28"/>
                    <a:pt x="82" y="28"/>
                    <a:pt x="82" y="28"/>
                  </a:cubicBezTo>
                  <a:cubicBezTo>
                    <a:pt x="83" y="26"/>
                    <a:pt x="83" y="26"/>
                    <a:pt x="83" y="26"/>
                  </a:cubicBezTo>
                  <a:cubicBezTo>
                    <a:pt x="82" y="24"/>
                    <a:pt x="82" y="24"/>
                    <a:pt x="82" y="24"/>
                  </a:cubicBezTo>
                  <a:cubicBezTo>
                    <a:pt x="82" y="24"/>
                    <a:pt x="82" y="22"/>
                    <a:pt x="82" y="22"/>
                  </a:cubicBezTo>
                  <a:cubicBezTo>
                    <a:pt x="82" y="22"/>
                    <a:pt x="81" y="20"/>
                    <a:pt x="81" y="20"/>
                  </a:cubicBezTo>
                  <a:cubicBezTo>
                    <a:pt x="82" y="18"/>
                    <a:pt x="82" y="18"/>
                    <a:pt x="82" y="18"/>
                  </a:cubicBezTo>
                  <a:cubicBezTo>
                    <a:pt x="80" y="17"/>
                    <a:pt x="80" y="17"/>
                    <a:pt x="80" y="17"/>
                  </a:cubicBezTo>
                  <a:cubicBezTo>
                    <a:pt x="80" y="15"/>
                    <a:pt x="80" y="15"/>
                    <a:pt x="80" y="15"/>
                  </a:cubicBezTo>
                  <a:cubicBezTo>
                    <a:pt x="80" y="14"/>
                    <a:pt x="80" y="14"/>
                    <a:pt x="80" y="14"/>
                  </a:cubicBezTo>
                  <a:cubicBezTo>
                    <a:pt x="78" y="13"/>
                    <a:pt x="78" y="13"/>
                    <a:pt x="78" y="13"/>
                  </a:cubicBezTo>
                  <a:cubicBezTo>
                    <a:pt x="78" y="13"/>
                    <a:pt x="77" y="13"/>
                    <a:pt x="77" y="12"/>
                  </a:cubicBezTo>
                  <a:cubicBezTo>
                    <a:pt x="77" y="11"/>
                    <a:pt x="75" y="10"/>
                    <a:pt x="75" y="10"/>
                  </a:cubicBezTo>
                  <a:cubicBezTo>
                    <a:pt x="75" y="10"/>
                    <a:pt x="75" y="10"/>
                    <a:pt x="74" y="11"/>
                  </a:cubicBezTo>
                  <a:cubicBezTo>
                    <a:pt x="74" y="11"/>
                    <a:pt x="74" y="13"/>
                    <a:pt x="73" y="13"/>
                  </a:cubicBezTo>
                  <a:cubicBezTo>
                    <a:pt x="73" y="13"/>
                    <a:pt x="74" y="13"/>
                    <a:pt x="72" y="13"/>
                  </a:cubicBezTo>
                  <a:cubicBezTo>
                    <a:pt x="69" y="13"/>
                    <a:pt x="70" y="13"/>
                    <a:pt x="69" y="12"/>
                  </a:cubicBezTo>
                  <a:cubicBezTo>
                    <a:pt x="69" y="11"/>
                    <a:pt x="67" y="10"/>
                    <a:pt x="67" y="10"/>
                  </a:cubicBezTo>
                  <a:cubicBezTo>
                    <a:pt x="66" y="7"/>
                    <a:pt x="66" y="7"/>
                    <a:pt x="66" y="7"/>
                  </a:cubicBezTo>
                  <a:cubicBezTo>
                    <a:pt x="64" y="7"/>
                    <a:pt x="64" y="7"/>
                    <a:pt x="64" y="7"/>
                  </a:cubicBezTo>
                  <a:cubicBezTo>
                    <a:pt x="64" y="7"/>
                    <a:pt x="66" y="7"/>
                    <a:pt x="63" y="7"/>
                  </a:cubicBezTo>
                  <a:cubicBezTo>
                    <a:pt x="60" y="7"/>
                    <a:pt x="57" y="8"/>
                    <a:pt x="57" y="8"/>
                  </a:cubicBezTo>
                  <a:cubicBezTo>
                    <a:pt x="56" y="9"/>
                    <a:pt x="56" y="9"/>
                    <a:pt x="56" y="9"/>
                  </a:cubicBezTo>
                  <a:cubicBezTo>
                    <a:pt x="56" y="9"/>
                    <a:pt x="55" y="11"/>
                    <a:pt x="55" y="11"/>
                  </a:cubicBezTo>
                  <a:cubicBezTo>
                    <a:pt x="55" y="11"/>
                    <a:pt x="56" y="12"/>
                    <a:pt x="55" y="11"/>
                  </a:cubicBezTo>
                  <a:cubicBezTo>
                    <a:pt x="55" y="11"/>
                    <a:pt x="55" y="11"/>
                    <a:pt x="55" y="10"/>
                  </a:cubicBezTo>
                  <a:cubicBezTo>
                    <a:pt x="54" y="10"/>
                    <a:pt x="55" y="9"/>
                    <a:pt x="55" y="9"/>
                  </a:cubicBezTo>
                  <a:cubicBezTo>
                    <a:pt x="55" y="9"/>
                    <a:pt x="53" y="8"/>
                    <a:pt x="53" y="8"/>
                  </a:cubicBezTo>
                  <a:cubicBezTo>
                    <a:pt x="52" y="9"/>
                    <a:pt x="52" y="9"/>
                    <a:pt x="52" y="9"/>
                  </a:cubicBezTo>
                  <a:cubicBezTo>
                    <a:pt x="52" y="9"/>
                    <a:pt x="53" y="10"/>
                    <a:pt x="52" y="10"/>
                  </a:cubicBezTo>
                  <a:cubicBezTo>
                    <a:pt x="51" y="10"/>
                    <a:pt x="50" y="11"/>
                    <a:pt x="50" y="10"/>
                  </a:cubicBezTo>
                  <a:cubicBezTo>
                    <a:pt x="50" y="10"/>
                    <a:pt x="51" y="9"/>
                    <a:pt x="51" y="9"/>
                  </a:cubicBezTo>
                  <a:cubicBezTo>
                    <a:pt x="52" y="9"/>
                    <a:pt x="52" y="8"/>
                    <a:pt x="52" y="7"/>
                  </a:cubicBezTo>
                  <a:cubicBezTo>
                    <a:pt x="52" y="7"/>
                    <a:pt x="52" y="6"/>
                    <a:pt x="51" y="6"/>
                  </a:cubicBezTo>
                  <a:cubicBezTo>
                    <a:pt x="51" y="6"/>
                    <a:pt x="50" y="6"/>
                    <a:pt x="49" y="6"/>
                  </a:cubicBezTo>
                  <a:cubicBezTo>
                    <a:pt x="49" y="6"/>
                    <a:pt x="48" y="7"/>
                    <a:pt x="48" y="7"/>
                  </a:cubicBezTo>
                  <a:cubicBezTo>
                    <a:pt x="48" y="7"/>
                    <a:pt x="49" y="7"/>
                    <a:pt x="48" y="7"/>
                  </a:cubicBezTo>
                  <a:cubicBezTo>
                    <a:pt x="48" y="7"/>
                    <a:pt x="47" y="8"/>
                    <a:pt x="47" y="8"/>
                  </a:cubicBezTo>
                  <a:cubicBezTo>
                    <a:pt x="47" y="8"/>
                    <a:pt x="46" y="7"/>
                    <a:pt x="46" y="7"/>
                  </a:cubicBezTo>
                  <a:cubicBezTo>
                    <a:pt x="46" y="7"/>
                    <a:pt x="46" y="6"/>
                    <a:pt x="46" y="6"/>
                  </a:cubicBezTo>
                  <a:cubicBezTo>
                    <a:pt x="45" y="7"/>
                    <a:pt x="45" y="8"/>
                    <a:pt x="45" y="8"/>
                  </a:cubicBezTo>
                  <a:cubicBezTo>
                    <a:pt x="44" y="9"/>
                    <a:pt x="44" y="8"/>
                    <a:pt x="44" y="8"/>
                  </a:cubicBezTo>
                  <a:cubicBezTo>
                    <a:pt x="44" y="8"/>
                    <a:pt x="43" y="6"/>
                    <a:pt x="43" y="6"/>
                  </a:cubicBezTo>
                  <a:cubicBezTo>
                    <a:pt x="42" y="5"/>
                    <a:pt x="42" y="5"/>
                    <a:pt x="42" y="5"/>
                  </a:cubicBezTo>
                  <a:cubicBezTo>
                    <a:pt x="42" y="5"/>
                    <a:pt x="40" y="6"/>
                    <a:pt x="39" y="5"/>
                  </a:cubicBezTo>
                  <a:cubicBezTo>
                    <a:pt x="39" y="5"/>
                    <a:pt x="38" y="5"/>
                    <a:pt x="37" y="4"/>
                  </a:cubicBezTo>
                  <a:cubicBezTo>
                    <a:pt x="37" y="4"/>
                    <a:pt x="36" y="3"/>
                    <a:pt x="36" y="3"/>
                  </a:cubicBezTo>
                  <a:cubicBezTo>
                    <a:pt x="36" y="3"/>
                    <a:pt x="36" y="3"/>
                    <a:pt x="35" y="3"/>
                  </a:cubicBezTo>
                  <a:cubicBezTo>
                    <a:pt x="34" y="3"/>
                    <a:pt x="34" y="3"/>
                    <a:pt x="34" y="3"/>
                  </a:cubicBezTo>
                  <a:cubicBezTo>
                    <a:pt x="33" y="2"/>
                    <a:pt x="34" y="2"/>
                    <a:pt x="32" y="2"/>
                  </a:cubicBezTo>
                  <a:cubicBezTo>
                    <a:pt x="30" y="2"/>
                    <a:pt x="30" y="3"/>
                    <a:pt x="29" y="3"/>
                  </a:cubicBezTo>
                  <a:cubicBezTo>
                    <a:pt x="28" y="3"/>
                    <a:pt x="28" y="3"/>
                    <a:pt x="28" y="3"/>
                  </a:cubicBezTo>
                  <a:cubicBezTo>
                    <a:pt x="27" y="2"/>
                    <a:pt x="27" y="2"/>
                    <a:pt x="27" y="2"/>
                  </a:cubicBezTo>
                  <a:cubicBezTo>
                    <a:pt x="27" y="1"/>
                    <a:pt x="27" y="0"/>
                    <a:pt x="26" y="1"/>
                  </a:cubicBezTo>
                  <a:cubicBezTo>
                    <a:pt x="26" y="2"/>
                    <a:pt x="27" y="2"/>
                    <a:pt x="26" y="3"/>
                  </a:cubicBezTo>
                  <a:cubicBezTo>
                    <a:pt x="25" y="3"/>
                    <a:pt x="24" y="4"/>
                    <a:pt x="24" y="4"/>
                  </a:cubicBezTo>
                  <a:cubicBezTo>
                    <a:pt x="24" y="4"/>
                    <a:pt x="23" y="5"/>
                    <a:pt x="23" y="5"/>
                  </a:cubicBezTo>
                  <a:cubicBezTo>
                    <a:pt x="23" y="5"/>
                    <a:pt x="23" y="6"/>
                    <a:pt x="23" y="6"/>
                  </a:cubicBezTo>
                  <a:cubicBezTo>
                    <a:pt x="23" y="6"/>
                    <a:pt x="22" y="5"/>
                    <a:pt x="22" y="5"/>
                  </a:cubicBezTo>
                  <a:cubicBezTo>
                    <a:pt x="22" y="5"/>
                    <a:pt x="21" y="5"/>
                    <a:pt x="21" y="5"/>
                  </a:cubicBezTo>
                  <a:cubicBezTo>
                    <a:pt x="21" y="5"/>
                    <a:pt x="20" y="6"/>
                    <a:pt x="20" y="6"/>
                  </a:cubicBezTo>
                  <a:cubicBezTo>
                    <a:pt x="20" y="6"/>
                    <a:pt x="20" y="7"/>
                    <a:pt x="20" y="7"/>
                  </a:cubicBezTo>
                  <a:cubicBezTo>
                    <a:pt x="20" y="8"/>
                    <a:pt x="19" y="9"/>
                    <a:pt x="19" y="9"/>
                  </a:cubicBezTo>
                  <a:cubicBezTo>
                    <a:pt x="18" y="9"/>
                    <a:pt x="18" y="9"/>
                    <a:pt x="18" y="9"/>
                  </a:cubicBezTo>
                  <a:cubicBezTo>
                    <a:pt x="18" y="9"/>
                    <a:pt x="18" y="9"/>
                    <a:pt x="17" y="9"/>
                  </a:cubicBezTo>
                  <a:cubicBezTo>
                    <a:pt x="16" y="9"/>
                    <a:pt x="14" y="9"/>
                    <a:pt x="14" y="9"/>
                  </a:cubicBezTo>
                  <a:cubicBezTo>
                    <a:pt x="14" y="9"/>
                    <a:pt x="13" y="9"/>
                    <a:pt x="13" y="9"/>
                  </a:cubicBezTo>
                  <a:cubicBezTo>
                    <a:pt x="13" y="10"/>
                    <a:pt x="13" y="10"/>
                    <a:pt x="13" y="10"/>
                  </a:cubicBezTo>
                  <a:cubicBezTo>
                    <a:pt x="12" y="11"/>
                    <a:pt x="12" y="11"/>
                    <a:pt x="12" y="11"/>
                  </a:cubicBezTo>
                  <a:cubicBezTo>
                    <a:pt x="12" y="11"/>
                    <a:pt x="11" y="12"/>
                    <a:pt x="10" y="12"/>
                  </a:cubicBezTo>
                  <a:cubicBezTo>
                    <a:pt x="10" y="11"/>
                    <a:pt x="9" y="11"/>
                    <a:pt x="9" y="11"/>
                  </a:cubicBezTo>
                  <a:cubicBezTo>
                    <a:pt x="8" y="11"/>
                    <a:pt x="8" y="11"/>
                    <a:pt x="8" y="11"/>
                  </a:cubicBezTo>
                  <a:cubicBezTo>
                    <a:pt x="8" y="11"/>
                    <a:pt x="7" y="11"/>
                    <a:pt x="7" y="12"/>
                  </a:cubicBezTo>
                  <a:cubicBezTo>
                    <a:pt x="7" y="12"/>
                    <a:pt x="7" y="12"/>
                    <a:pt x="7" y="12"/>
                  </a:cubicBezTo>
                  <a:cubicBezTo>
                    <a:pt x="6" y="12"/>
                    <a:pt x="6" y="12"/>
                    <a:pt x="6" y="12"/>
                  </a:cubicBezTo>
                  <a:cubicBezTo>
                    <a:pt x="6" y="12"/>
                    <a:pt x="7" y="13"/>
                    <a:pt x="7" y="13"/>
                  </a:cubicBezTo>
                  <a:cubicBezTo>
                    <a:pt x="7" y="14"/>
                    <a:pt x="7" y="14"/>
                    <a:pt x="7" y="15"/>
                  </a:cubicBezTo>
                  <a:cubicBezTo>
                    <a:pt x="7" y="15"/>
                    <a:pt x="7" y="15"/>
                    <a:pt x="6" y="15"/>
                  </a:cubicBezTo>
                  <a:cubicBezTo>
                    <a:pt x="6" y="15"/>
                    <a:pt x="5" y="15"/>
                    <a:pt x="5" y="15"/>
                  </a:cubicBezTo>
                  <a:cubicBezTo>
                    <a:pt x="5" y="15"/>
                    <a:pt x="5" y="14"/>
                    <a:pt x="4" y="14"/>
                  </a:cubicBezTo>
                  <a:cubicBezTo>
                    <a:pt x="4" y="14"/>
                    <a:pt x="2" y="15"/>
                    <a:pt x="2" y="15"/>
                  </a:cubicBezTo>
                  <a:cubicBezTo>
                    <a:pt x="1" y="17"/>
                    <a:pt x="1" y="17"/>
                    <a:pt x="1" y="17"/>
                  </a:cubicBezTo>
                  <a:cubicBezTo>
                    <a:pt x="0" y="18"/>
                    <a:pt x="0" y="18"/>
                    <a:pt x="0" y="18"/>
                  </a:cubicBezTo>
                  <a:cubicBezTo>
                    <a:pt x="4" y="18"/>
                    <a:pt x="4" y="18"/>
                    <a:pt x="4" y="18"/>
                  </a:cubicBezTo>
                  <a:cubicBezTo>
                    <a:pt x="5" y="18"/>
                    <a:pt x="5" y="18"/>
                    <a:pt x="5" y="18"/>
                  </a:cubicBezTo>
                  <a:cubicBezTo>
                    <a:pt x="6" y="18"/>
                    <a:pt x="6" y="18"/>
                    <a:pt x="6" y="18"/>
                  </a:cubicBezTo>
                  <a:cubicBezTo>
                    <a:pt x="7" y="17"/>
                    <a:pt x="7" y="17"/>
                    <a:pt x="7" y="17"/>
                  </a:cubicBezTo>
                  <a:cubicBezTo>
                    <a:pt x="7" y="17"/>
                    <a:pt x="8" y="18"/>
                    <a:pt x="8" y="18"/>
                  </a:cubicBezTo>
                  <a:cubicBezTo>
                    <a:pt x="8" y="18"/>
                    <a:pt x="9" y="19"/>
                    <a:pt x="9" y="19"/>
                  </a:cubicBezTo>
                  <a:cubicBezTo>
                    <a:pt x="10" y="19"/>
                    <a:pt x="10" y="19"/>
                    <a:pt x="10" y="19"/>
                  </a:cubicBezTo>
                  <a:cubicBezTo>
                    <a:pt x="12" y="18"/>
                    <a:pt x="12" y="18"/>
                    <a:pt x="12" y="18"/>
                  </a:cubicBezTo>
                  <a:cubicBezTo>
                    <a:pt x="12" y="19"/>
                    <a:pt x="12" y="19"/>
                    <a:pt x="12" y="19"/>
                  </a:cubicBezTo>
                  <a:cubicBezTo>
                    <a:pt x="12" y="19"/>
                    <a:pt x="12" y="20"/>
                    <a:pt x="13" y="20"/>
                  </a:cubicBezTo>
                  <a:cubicBezTo>
                    <a:pt x="13" y="20"/>
                    <a:pt x="13" y="20"/>
                    <a:pt x="13" y="20"/>
                  </a:cubicBezTo>
                  <a:cubicBezTo>
                    <a:pt x="13" y="21"/>
                    <a:pt x="13" y="21"/>
                    <a:pt x="13" y="21"/>
                  </a:cubicBezTo>
                  <a:cubicBezTo>
                    <a:pt x="15" y="21"/>
                    <a:pt x="15" y="21"/>
                    <a:pt x="15" y="21"/>
                  </a:cubicBezTo>
                  <a:cubicBezTo>
                    <a:pt x="15" y="21"/>
                    <a:pt x="16" y="21"/>
                    <a:pt x="16" y="21"/>
                  </a:cubicBezTo>
                  <a:cubicBezTo>
                    <a:pt x="16" y="22"/>
                    <a:pt x="16" y="22"/>
                    <a:pt x="16" y="22"/>
                  </a:cubicBezTo>
                  <a:cubicBezTo>
                    <a:pt x="16" y="22"/>
                    <a:pt x="17" y="23"/>
                    <a:pt x="17" y="23"/>
                  </a:cubicBezTo>
                  <a:cubicBezTo>
                    <a:pt x="18" y="24"/>
                    <a:pt x="18" y="25"/>
                    <a:pt x="18" y="25"/>
                  </a:cubicBezTo>
                  <a:cubicBezTo>
                    <a:pt x="19" y="25"/>
                    <a:pt x="19" y="25"/>
                    <a:pt x="19" y="25"/>
                  </a:cubicBezTo>
                  <a:cubicBezTo>
                    <a:pt x="20" y="26"/>
                    <a:pt x="20" y="26"/>
                    <a:pt x="20" y="26"/>
                  </a:cubicBezTo>
                  <a:cubicBezTo>
                    <a:pt x="21" y="27"/>
                    <a:pt x="21" y="27"/>
                    <a:pt x="21" y="27"/>
                  </a:cubicBezTo>
                  <a:cubicBezTo>
                    <a:pt x="21" y="27"/>
                    <a:pt x="21" y="27"/>
                    <a:pt x="21" y="27"/>
                  </a:cubicBezTo>
                  <a:cubicBezTo>
                    <a:pt x="21" y="28"/>
                    <a:pt x="21" y="28"/>
                    <a:pt x="21" y="28"/>
                  </a:cubicBezTo>
                  <a:cubicBezTo>
                    <a:pt x="21" y="28"/>
                    <a:pt x="22" y="28"/>
                    <a:pt x="22" y="28"/>
                  </a:cubicBezTo>
                  <a:cubicBezTo>
                    <a:pt x="22" y="29"/>
                    <a:pt x="23" y="29"/>
                    <a:pt x="23" y="29"/>
                  </a:cubicBezTo>
                  <a:cubicBezTo>
                    <a:pt x="23" y="29"/>
                    <a:pt x="23" y="30"/>
                    <a:pt x="23" y="30"/>
                  </a:cubicBezTo>
                  <a:cubicBezTo>
                    <a:pt x="23" y="30"/>
                    <a:pt x="24" y="31"/>
                    <a:pt x="24" y="31"/>
                  </a:cubicBezTo>
                  <a:cubicBezTo>
                    <a:pt x="24" y="31"/>
                    <a:pt x="24" y="31"/>
                    <a:pt x="24" y="32"/>
                  </a:cubicBezTo>
                  <a:cubicBezTo>
                    <a:pt x="24" y="32"/>
                    <a:pt x="25" y="33"/>
                    <a:pt x="25" y="33"/>
                  </a:cubicBezTo>
                  <a:cubicBezTo>
                    <a:pt x="25" y="34"/>
                    <a:pt x="25" y="34"/>
                    <a:pt x="26" y="34"/>
                  </a:cubicBezTo>
                  <a:cubicBezTo>
                    <a:pt x="26" y="34"/>
                    <a:pt x="26" y="34"/>
                    <a:pt x="26" y="34"/>
                  </a:cubicBezTo>
                  <a:cubicBezTo>
                    <a:pt x="26" y="34"/>
                    <a:pt x="26" y="34"/>
                    <a:pt x="26" y="35"/>
                  </a:cubicBezTo>
                  <a:cubicBezTo>
                    <a:pt x="26" y="36"/>
                    <a:pt x="26" y="36"/>
                    <a:pt x="26" y="37"/>
                  </a:cubicBezTo>
                  <a:cubicBezTo>
                    <a:pt x="27" y="37"/>
                    <a:pt x="27" y="38"/>
                    <a:pt x="28" y="38"/>
                  </a:cubicBezTo>
                  <a:cubicBezTo>
                    <a:pt x="29" y="38"/>
                    <a:pt x="29" y="38"/>
                    <a:pt x="29" y="38"/>
                  </a:cubicBezTo>
                  <a:cubicBezTo>
                    <a:pt x="29" y="38"/>
                    <a:pt x="30" y="39"/>
                    <a:pt x="30" y="40"/>
                  </a:cubicBezTo>
                  <a:cubicBezTo>
                    <a:pt x="31" y="40"/>
                    <a:pt x="31" y="40"/>
                    <a:pt x="31" y="40"/>
                  </a:cubicBezTo>
                  <a:cubicBezTo>
                    <a:pt x="32" y="41"/>
                    <a:pt x="32" y="41"/>
                    <a:pt x="32" y="41"/>
                  </a:cubicBezTo>
                  <a:cubicBezTo>
                    <a:pt x="32" y="41"/>
                    <a:pt x="32" y="41"/>
                    <a:pt x="32" y="41"/>
                  </a:cubicBezTo>
                  <a:cubicBezTo>
                    <a:pt x="32" y="41"/>
                    <a:pt x="34" y="43"/>
                    <a:pt x="35" y="43"/>
                  </a:cubicBezTo>
                  <a:cubicBezTo>
                    <a:pt x="35" y="43"/>
                    <a:pt x="35" y="44"/>
                    <a:pt x="35" y="44"/>
                  </a:cubicBezTo>
                  <a:cubicBezTo>
                    <a:pt x="35" y="44"/>
                    <a:pt x="36" y="44"/>
                    <a:pt x="36" y="44"/>
                  </a:cubicBezTo>
                  <a:cubicBezTo>
                    <a:pt x="37" y="44"/>
                    <a:pt x="38" y="44"/>
                    <a:pt x="38" y="45"/>
                  </a:cubicBezTo>
                  <a:cubicBezTo>
                    <a:pt x="38" y="45"/>
                    <a:pt x="38" y="46"/>
                    <a:pt x="38" y="46"/>
                  </a:cubicBezTo>
                  <a:cubicBezTo>
                    <a:pt x="39" y="47"/>
                    <a:pt x="39" y="47"/>
                    <a:pt x="39" y="48"/>
                  </a:cubicBezTo>
                  <a:cubicBezTo>
                    <a:pt x="39" y="48"/>
                    <a:pt x="40" y="49"/>
                    <a:pt x="40" y="49"/>
                  </a:cubicBezTo>
                  <a:cubicBezTo>
                    <a:pt x="45" y="51"/>
                    <a:pt x="45" y="51"/>
                    <a:pt x="45" y="51"/>
                  </a:cubicBezTo>
                  <a:cubicBezTo>
                    <a:pt x="46" y="53"/>
                    <a:pt x="46" y="53"/>
                    <a:pt x="46" y="53"/>
                  </a:cubicBezTo>
                  <a:cubicBezTo>
                    <a:pt x="46" y="53"/>
                    <a:pt x="46" y="54"/>
                    <a:pt x="47" y="54"/>
                  </a:cubicBezTo>
                  <a:cubicBezTo>
                    <a:pt x="47" y="55"/>
                    <a:pt x="48" y="55"/>
                    <a:pt x="48" y="55"/>
                  </a:cubicBezTo>
                  <a:cubicBezTo>
                    <a:pt x="50" y="57"/>
                    <a:pt x="50" y="57"/>
                    <a:pt x="50" y="57"/>
                  </a:cubicBezTo>
                  <a:cubicBezTo>
                    <a:pt x="53" y="58"/>
                    <a:pt x="53" y="58"/>
                    <a:pt x="53" y="58"/>
                  </a:cubicBezTo>
                  <a:cubicBezTo>
                    <a:pt x="53" y="58"/>
                    <a:pt x="55" y="59"/>
                    <a:pt x="55" y="59"/>
                  </a:cubicBezTo>
                  <a:cubicBezTo>
                    <a:pt x="56" y="59"/>
                    <a:pt x="57" y="60"/>
                    <a:pt x="57" y="60"/>
                  </a:cubicBezTo>
                  <a:cubicBezTo>
                    <a:pt x="57" y="60"/>
                    <a:pt x="59" y="63"/>
                    <a:pt x="59" y="63"/>
                  </a:cubicBezTo>
                  <a:cubicBezTo>
                    <a:pt x="59" y="63"/>
                    <a:pt x="61" y="64"/>
                    <a:pt x="61" y="66"/>
                  </a:cubicBezTo>
                  <a:cubicBezTo>
                    <a:pt x="62" y="67"/>
                    <a:pt x="62" y="67"/>
                    <a:pt x="62" y="68"/>
                  </a:cubicBezTo>
                  <a:cubicBezTo>
                    <a:pt x="63" y="70"/>
                    <a:pt x="64" y="71"/>
                    <a:pt x="64" y="71"/>
                  </a:cubicBezTo>
                  <a:cubicBezTo>
                    <a:pt x="64" y="71"/>
                    <a:pt x="64" y="71"/>
                    <a:pt x="65" y="72"/>
                  </a:cubicBezTo>
                  <a:cubicBezTo>
                    <a:pt x="66" y="74"/>
                    <a:pt x="66" y="75"/>
                    <a:pt x="67" y="75"/>
                  </a:cubicBezTo>
                  <a:cubicBezTo>
                    <a:pt x="67" y="75"/>
                    <a:pt x="67" y="75"/>
                    <a:pt x="67" y="76"/>
                  </a:cubicBezTo>
                  <a:cubicBezTo>
                    <a:pt x="67" y="76"/>
                    <a:pt x="67" y="77"/>
                    <a:pt x="67" y="77"/>
                  </a:cubicBezTo>
                  <a:cubicBezTo>
                    <a:pt x="67" y="77"/>
                    <a:pt x="67" y="79"/>
                    <a:pt x="67" y="79"/>
                  </a:cubicBezTo>
                  <a:cubicBezTo>
                    <a:pt x="67" y="79"/>
                    <a:pt x="68" y="81"/>
                    <a:pt x="68" y="81"/>
                  </a:cubicBezTo>
                  <a:cubicBezTo>
                    <a:pt x="68" y="81"/>
                    <a:pt x="68" y="81"/>
                    <a:pt x="68" y="81"/>
                  </a:cubicBezTo>
                  <a:cubicBezTo>
                    <a:pt x="69" y="84"/>
                    <a:pt x="69" y="84"/>
                    <a:pt x="69" y="84"/>
                  </a:cubicBezTo>
                  <a:cubicBezTo>
                    <a:pt x="68" y="86"/>
                    <a:pt x="68" y="86"/>
                    <a:pt x="68" y="86"/>
                  </a:cubicBezTo>
                  <a:cubicBezTo>
                    <a:pt x="68" y="86"/>
                    <a:pt x="68" y="87"/>
                    <a:pt x="68" y="87"/>
                  </a:cubicBezTo>
                  <a:cubicBezTo>
                    <a:pt x="69" y="87"/>
                    <a:pt x="69" y="87"/>
                    <a:pt x="69" y="88"/>
                  </a:cubicBezTo>
                  <a:cubicBezTo>
                    <a:pt x="69" y="88"/>
                    <a:pt x="68" y="89"/>
                    <a:pt x="68" y="89"/>
                  </a:cubicBezTo>
                  <a:cubicBezTo>
                    <a:pt x="68" y="90"/>
                    <a:pt x="68" y="90"/>
                    <a:pt x="68" y="90"/>
                  </a:cubicBezTo>
                  <a:cubicBezTo>
                    <a:pt x="68" y="92"/>
                    <a:pt x="68" y="92"/>
                    <a:pt x="68" y="92"/>
                  </a:cubicBezTo>
                  <a:cubicBezTo>
                    <a:pt x="68" y="92"/>
                    <a:pt x="69" y="93"/>
                    <a:pt x="69" y="93"/>
                  </a:cubicBezTo>
                  <a:cubicBezTo>
                    <a:pt x="69" y="93"/>
                    <a:pt x="69" y="95"/>
                    <a:pt x="69" y="95"/>
                  </a:cubicBezTo>
                  <a:cubicBezTo>
                    <a:pt x="69" y="95"/>
                    <a:pt x="69" y="96"/>
                    <a:pt x="69" y="96"/>
                  </a:cubicBezTo>
                  <a:cubicBezTo>
                    <a:pt x="69" y="96"/>
                    <a:pt x="69" y="98"/>
                    <a:pt x="69" y="98"/>
                  </a:cubicBezTo>
                  <a:cubicBezTo>
                    <a:pt x="69" y="99"/>
                    <a:pt x="70" y="99"/>
                    <a:pt x="70" y="100"/>
                  </a:cubicBezTo>
                  <a:cubicBezTo>
                    <a:pt x="70" y="100"/>
                    <a:pt x="69" y="101"/>
                    <a:pt x="70" y="102"/>
                  </a:cubicBezTo>
                  <a:cubicBezTo>
                    <a:pt x="70" y="103"/>
                    <a:pt x="72" y="105"/>
                    <a:pt x="72" y="105"/>
                  </a:cubicBezTo>
                  <a:cubicBezTo>
                    <a:pt x="72" y="105"/>
                    <a:pt x="73" y="107"/>
                    <a:pt x="73" y="107"/>
                  </a:cubicBezTo>
                  <a:cubicBezTo>
                    <a:pt x="73" y="108"/>
                    <a:pt x="72" y="108"/>
                    <a:pt x="73" y="109"/>
                  </a:cubicBezTo>
                  <a:cubicBezTo>
                    <a:pt x="73" y="109"/>
                    <a:pt x="72" y="109"/>
                    <a:pt x="73" y="110"/>
                  </a:cubicBezTo>
                  <a:cubicBezTo>
                    <a:pt x="74" y="110"/>
                    <a:pt x="74" y="112"/>
                    <a:pt x="74" y="112"/>
                  </a:cubicBezTo>
                  <a:cubicBezTo>
                    <a:pt x="74" y="112"/>
                    <a:pt x="75" y="112"/>
                    <a:pt x="75" y="113"/>
                  </a:cubicBezTo>
                  <a:cubicBezTo>
                    <a:pt x="75" y="114"/>
                    <a:pt x="75" y="115"/>
                    <a:pt x="75" y="115"/>
                  </a:cubicBezTo>
                  <a:cubicBezTo>
                    <a:pt x="76" y="116"/>
                    <a:pt x="76" y="116"/>
                    <a:pt x="76" y="116"/>
                  </a:cubicBezTo>
                  <a:cubicBezTo>
                    <a:pt x="75" y="116"/>
                    <a:pt x="75" y="117"/>
                    <a:pt x="75" y="117"/>
                  </a:cubicBezTo>
                  <a:cubicBezTo>
                    <a:pt x="74" y="118"/>
                    <a:pt x="74" y="118"/>
                    <a:pt x="74" y="118"/>
                  </a:cubicBezTo>
                  <a:cubicBezTo>
                    <a:pt x="74" y="118"/>
                    <a:pt x="75" y="119"/>
                    <a:pt x="75" y="119"/>
                  </a:cubicBezTo>
                  <a:cubicBezTo>
                    <a:pt x="76" y="119"/>
                    <a:pt x="76" y="120"/>
                    <a:pt x="76" y="120"/>
                  </a:cubicBezTo>
                  <a:cubicBezTo>
                    <a:pt x="77" y="121"/>
                    <a:pt x="77" y="121"/>
                    <a:pt x="77" y="121"/>
                  </a:cubicBezTo>
                  <a:cubicBezTo>
                    <a:pt x="78" y="122"/>
                    <a:pt x="78" y="122"/>
                    <a:pt x="78" y="122"/>
                  </a:cubicBezTo>
                  <a:lnTo>
                    <a:pt x="79" y="122"/>
                  </a:ln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 name="Freeform 70"/>
            <p:cNvSpPr>
              <a:spLocks/>
            </p:cNvSpPr>
            <p:nvPr/>
          </p:nvSpPr>
          <p:spPr bwMode="auto">
            <a:xfrm>
              <a:off x="5238565" y="4544874"/>
              <a:ext cx="5777" cy="5446"/>
            </a:xfrm>
            <a:custGeom>
              <a:avLst/>
              <a:gdLst>
                <a:gd name="T0" fmla="*/ 0 w 2"/>
                <a:gd name="T1" fmla="*/ 1 h 2"/>
                <a:gd name="T2" fmla="*/ 0 w 2"/>
                <a:gd name="T3" fmla="*/ 1 h 2"/>
                <a:gd name="T4" fmla="*/ 0 w 2"/>
                <a:gd name="T5" fmla="*/ 1 h 2"/>
                <a:gd name="T6" fmla="*/ 1 w 2"/>
                <a:gd name="T7" fmla="*/ 2 h 2"/>
                <a:gd name="T8" fmla="*/ 2 w 2"/>
                <a:gd name="T9" fmla="*/ 1 h 2"/>
                <a:gd name="T10" fmla="*/ 1 w 2"/>
                <a:gd name="T11" fmla="*/ 0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1"/>
                    <a:pt x="0" y="1"/>
                    <a:pt x="0" y="1"/>
                  </a:cubicBezTo>
                  <a:cubicBezTo>
                    <a:pt x="0" y="1"/>
                    <a:pt x="0" y="1"/>
                    <a:pt x="0" y="1"/>
                  </a:cubicBezTo>
                  <a:cubicBezTo>
                    <a:pt x="1" y="2"/>
                    <a:pt x="1" y="2"/>
                    <a:pt x="1" y="2"/>
                  </a:cubicBezTo>
                  <a:cubicBezTo>
                    <a:pt x="2" y="1"/>
                    <a:pt x="2" y="1"/>
                    <a:pt x="2" y="1"/>
                  </a:cubicBezTo>
                  <a:cubicBezTo>
                    <a:pt x="1" y="1"/>
                    <a:pt x="1" y="1"/>
                    <a:pt x="1" y="0"/>
                  </a:cubicBezTo>
                  <a:cubicBezTo>
                    <a:pt x="1" y="1"/>
                    <a:pt x="1" y="1"/>
                    <a:pt x="0" y="1"/>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Freeform 71"/>
            <p:cNvSpPr>
              <a:spLocks/>
            </p:cNvSpPr>
            <p:nvPr/>
          </p:nvSpPr>
          <p:spPr bwMode="auto">
            <a:xfrm>
              <a:off x="5163470" y="469056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 name="Freeform 72"/>
            <p:cNvSpPr>
              <a:spLocks noEditPoints="1"/>
            </p:cNvSpPr>
            <p:nvPr/>
          </p:nvSpPr>
          <p:spPr bwMode="auto">
            <a:xfrm>
              <a:off x="4195892" y="4107801"/>
              <a:ext cx="1094663" cy="1041623"/>
            </a:xfrm>
            <a:custGeom>
              <a:avLst/>
              <a:gdLst>
                <a:gd name="T0" fmla="*/ 335 w 378"/>
                <a:gd name="T1" fmla="*/ 89 h 381"/>
                <a:gd name="T2" fmla="*/ 321 w 378"/>
                <a:gd name="T3" fmla="*/ 75 h 381"/>
                <a:gd name="T4" fmla="*/ 314 w 378"/>
                <a:gd name="T5" fmla="*/ 76 h 381"/>
                <a:gd name="T6" fmla="*/ 311 w 378"/>
                <a:gd name="T7" fmla="*/ 72 h 381"/>
                <a:gd name="T8" fmla="*/ 300 w 378"/>
                <a:gd name="T9" fmla="*/ 69 h 381"/>
                <a:gd name="T10" fmla="*/ 288 w 378"/>
                <a:gd name="T11" fmla="*/ 61 h 381"/>
                <a:gd name="T12" fmla="*/ 284 w 378"/>
                <a:gd name="T13" fmla="*/ 44 h 381"/>
                <a:gd name="T14" fmla="*/ 269 w 378"/>
                <a:gd name="T15" fmla="*/ 52 h 381"/>
                <a:gd name="T16" fmla="*/ 268 w 378"/>
                <a:gd name="T17" fmla="*/ 39 h 381"/>
                <a:gd name="T18" fmla="*/ 253 w 378"/>
                <a:gd name="T19" fmla="*/ 34 h 381"/>
                <a:gd name="T20" fmla="*/ 243 w 378"/>
                <a:gd name="T21" fmla="*/ 23 h 381"/>
                <a:gd name="T22" fmla="*/ 229 w 378"/>
                <a:gd name="T23" fmla="*/ 14 h 381"/>
                <a:gd name="T24" fmla="*/ 227 w 378"/>
                <a:gd name="T25" fmla="*/ 0 h 381"/>
                <a:gd name="T26" fmla="*/ 190 w 378"/>
                <a:gd name="T27" fmla="*/ 37 h 381"/>
                <a:gd name="T28" fmla="*/ 138 w 378"/>
                <a:gd name="T29" fmla="*/ 70 h 381"/>
                <a:gd name="T30" fmla="*/ 99 w 378"/>
                <a:gd name="T31" fmla="*/ 48 h 381"/>
                <a:gd name="T32" fmla="*/ 97 w 378"/>
                <a:gd name="T33" fmla="*/ 67 h 381"/>
                <a:gd name="T34" fmla="*/ 71 w 378"/>
                <a:gd name="T35" fmla="*/ 89 h 381"/>
                <a:gd name="T36" fmla="*/ 37 w 378"/>
                <a:gd name="T37" fmla="*/ 79 h 381"/>
                <a:gd name="T38" fmla="*/ 3 w 378"/>
                <a:gd name="T39" fmla="*/ 90 h 381"/>
                <a:gd name="T40" fmla="*/ 4 w 378"/>
                <a:gd name="T41" fmla="*/ 106 h 381"/>
                <a:gd name="T42" fmla="*/ 28 w 378"/>
                <a:gd name="T43" fmla="*/ 121 h 381"/>
                <a:gd name="T44" fmla="*/ 65 w 378"/>
                <a:gd name="T45" fmla="*/ 138 h 381"/>
                <a:gd name="T46" fmla="*/ 72 w 378"/>
                <a:gd name="T47" fmla="*/ 162 h 381"/>
                <a:gd name="T48" fmla="*/ 75 w 378"/>
                <a:gd name="T49" fmla="*/ 181 h 381"/>
                <a:gd name="T50" fmla="*/ 83 w 378"/>
                <a:gd name="T51" fmla="*/ 195 h 381"/>
                <a:gd name="T52" fmla="*/ 89 w 378"/>
                <a:gd name="T53" fmla="*/ 208 h 381"/>
                <a:gd name="T54" fmla="*/ 93 w 378"/>
                <a:gd name="T55" fmla="*/ 224 h 381"/>
                <a:gd name="T56" fmla="*/ 89 w 378"/>
                <a:gd name="T57" fmla="*/ 232 h 381"/>
                <a:gd name="T58" fmla="*/ 74 w 378"/>
                <a:gd name="T59" fmla="*/ 297 h 381"/>
                <a:gd name="T60" fmla="*/ 108 w 378"/>
                <a:gd name="T61" fmla="*/ 354 h 381"/>
                <a:gd name="T62" fmla="*/ 154 w 378"/>
                <a:gd name="T63" fmla="*/ 366 h 381"/>
                <a:gd name="T64" fmla="*/ 154 w 378"/>
                <a:gd name="T65" fmla="*/ 370 h 381"/>
                <a:gd name="T66" fmla="*/ 158 w 378"/>
                <a:gd name="T67" fmla="*/ 371 h 381"/>
                <a:gd name="T68" fmla="*/ 209 w 378"/>
                <a:gd name="T69" fmla="*/ 375 h 381"/>
                <a:gd name="T70" fmla="*/ 216 w 378"/>
                <a:gd name="T71" fmla="*/ 341 h 381"/>
                <a:gd name="T72" fmla="*/ 256 w 378"/>
                <a:gd name="T73" fmla="*/ 335 h 381"/>
                <a:gd name="T74" fmla="*/ 298 w 378"/>
                <a:gd name="T75" fmla="*/ 351 h 381"/>
                <a:gd name="T76" fmla="*/ 339 w 378"/>
                <a:gd name="T77" fmla="*/ 332 h 381"/>
                <a:gd name="T78" fmla="*/ 347 w 378"/>
                <a:gd name="T79" fmla="*/ 327 h 381"/>
                <a:gd name="T80" fmla="*/ 349 w 378"/>
                <a:gd name="T81" fmla="*/ 327 h 381"/>
                <a:gd name="T82" fmla="*/ 350 w 378"/>
                <a:gd name="T83" fmla="*/ 326 h 381"/>
                <a:gd name="T84" fmla="*/ 351 w 378"/>
                <a:gd name="T85" fmla="*/ 326 h 381"/>
                <a:gd name="T86" fmla="*/ 349 w 378"/>
                <a:gd name="T87" fmla="*/ 310 h 381"/>
                <a:gd name="T88" fmla="*/ 328 w 378"/>
                <a:gd name="T89" fmla="*/ 271 h 381"/>
                <a:gd name="T90" fmla="*/ 332 w 378"/>
                <a:gd name="T91" fmla="*/ 238 h 381"/>
                <a:gd name="T92" fmla="*/ 336 w 378"/>
                <a:gd name="T93" fmla="*/ 224 h 381"/>
                <a:gd name="T94" fmla="*/ 334 w 378"/>
                <a:gd name="T95" fmla="*/ 213 h 381"/>
                <a:gd name="T96" fmla="*/ 318 w 378"/>
                <a:gd name="T97" fmla="*/ 212 h 381"/>
                <a:gd name="T98" fmla="*/ 313 w 378"/>
                <a:gd name="T99" fmla="*/ 223 h 381"/>
                <a:gd name="T100" fmla="*/ 313 w 378"/>
                <a:gd name="T101" fmla="*/ 218 h 381"/>
                <a:gd name="T102" fmla="*/ 313 w 378"/>
                <a:gd name="T103" fmla="*/ 206 h 381"/>
                <a:gd name="T104" fmla="*/ 323 w 378"/>
                <a:gd name="T105" fmla="*/ 195 h 381"/>
                <a:gd name="T106" fmla="*/ 328 w 378"/>
                <a:gd name="T107" fmla="*/ 187 h 381"/>
                <a:gd name="T108" fmla="*/ 335 w 378"/>
                <a:gd name="T109" fmla="*/ 179 h 381"/>
                <a:gd name="T110" fmla="*/ 342 w 378"/>
                <a:gd name="T111" fmla="*/ 169 h 381"/>
                <a:gd name="T112" fmla="*/ 341 w 378"/>
                <a:gd name="T113" fmla="*/ 166 h 381"/>
                <a:gd name="T114" fmla="*/ 349 w 378"/>
                <a:gd name="T115" fmla="*/ 167 h 381"/>
                <a:gd name="T116" fmla="*/ 356 w 378"/>
                <a:gd name="T117" fmla="*/ 162 h 381"/>
                <a:gd name="T118" fmla="*/ 357 w 378"/>
                <a:gd name="T119" fmla="*/ 151 h 381"/>
                <a:gd name="T120" fmla="*/ 368 w 378"/>
                <a:gd name="T121" fmla="*/ 97 h 381"/>
                <a:gd name="T122" fmla="*/ 158 w 378"/>
                <a:gd name="T123" fmla="*/ 371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8" h="381">
                  <a:moveTo>
                    <a:pt x="362" y="97"/>
                  </a:moveTo>
                  <a:cubicBezTo>
                    <a:pt x="359" y="95"/>
                    <a:pt x="359" y="95"/>
                    <a:pt x="359" y="95"/>
                  </a:cubicBezTo>
                  <a:cubicBezTo>
                    <a:pt x="356" y="91"/>
                    <a:pt x="356" y="91"/>
                    <a:pt x="356" y="91"/>
                  </a:cubicBezTo>
                  <a:cubicBezTo>
                    <a:pt x="353" y="92"/>
                    <a:pt x="353" y="92"/>
                    <a:pt x="353" y="92"/>
                  </a:cubicBezTo>
                  <a:cubicBezTo>
                    <a:pt x="351" y="94"/>
                    <a:pt x="351" y="94"/>
                    <a:pt x="351" y="94"/>
                  </a:cubicBezTo>
                  <a:cubicBezTo>
                    <a:pt x="345" y="92"/>
                    <a:pt x="345" y="92"/>
                    <a:pt x="345" y="92"/>
                  </a:cubicBezTo>
                  <a:cubicBezTo>
                    <a:pt x="341" y="89"/>
                    <a:pt x="341" y="89"/>
                    <a:pt x="341" y="89"/>
                  </a:cubicBezTo>
                  <a:cubicBezTo>
                    <a:pt x="338" y="91"/>
                    <a:pt x="338" y="91"/>
                    <a:pt x="338" y="91"/>
                  </a:cubicBezTo>
                  <a:cubicBezTo>
                    <a:pt x="335" y="89"/>
                    <a:pt x="335" y="89"/>
                    <a:pt x="335" y="89"/>
                  </a:cubicBezTo>
                  <a:cubicBezTo>
                    <a:pt x="333" y="85"/>
                    <a:pt x="333" y="85"/>
                    <a:pt x="333" y="85"/>
                  </a:cubicBezTo>
                  <a:cubicBezTo>
                    <a:pt x="332" y="81"/>
                    <a:pt x="332" y="81"/>
                    <a:pt x="332" y="81"/>
                  </a:cubicBezTo>
                  <a:cubicBezTo>
                    <a:pt x="328" y="77"/>
                    <a:pt x="328" y="77"/>
                    <a:pt x="328" y="77"/>
                  </a:cubicBezTo>
                  <a:cubicBezTo>
                    <a:pt x="326" y="78"/>
                    <a:pt x="326" y="78"/>
                    <a:pt x="326" y="78"/>
                  </a:cubicBezTo>
                  <a:cubicBezTo>
                    <a:pt x="326" y="78"/>
                    <a:pt x="326" y="78"/>
                    <a:pt x="326" y="78"/>
                  </a:cubicBezTo>
                  <a:cubicBezTo>
                    <a:pt x="325" y="78"/>
                    <a:pt x="323" y="77"/>
                    <a:pt x="323" y="77"/>
                  </a:cubicBezTo>
                  <a:cubicBezTo>
                    <a:pt x="323" y="76"/>
                    <a:pt x="323" y="76"/>
                    <a:pt x="323" y="76"/>
                  </a:cubicBezTo>
                  <a:cubicBezTo>
                    <a:pt x="322" y="75"/>
                    <a:pt x="322" y="75"/>
                    <a:pt x="322" y="75"/>
                  </a:cubicBezTo>
                  <a:cubicBezTo>
                    <a:pt x="321" y="75"/>
                    <a:pt x="321" y="75"/>
                    <a:pt x="321" y="75"/>
                  </a:cubicBezTo>
                  <a:cubicBezTo>
                    <a:pt x="319" y="76"/>
                    <a:pt x="319" y="76"/>
                    <a:pt x="319" y="76"/>
                  </a:cubicBezTo>
                  <a:cubicBezTo>
                    <a:pt x="319" y="77"/>
                    <a:pt x="319" y="77"/>
                    <a:pt x="319" y="77"/>
                  </a:cubicBezTo>
                  <a:cubicBezTo>
                    <a:pt x="318" y="77"/>
                    <a:pt x="318" y="77"/>
                    <a:pt x="318" y="77"/>
                  </a:cubicBezTo>
                  <a:cubicBezTo>
                    <a:pt x="317" y="78"/>
                    <a:pt x="317" y="78"/>
                    <a:pt x="317" y="78"/>
                  </a:cubicBezTo>
                  <a:cubicBezTo>
                    <a:pt x="317" y="77"/>
                    <a:pt x="317" y="77"/>
                    <a:pt x="317" y="77"/>
                  </a:cubicBezTo>
                  <a:cubicBezTo>
                    <a:pt x="317" y="77"/>
                    <a:pt x="317" y="78"/>
                    <a:pt x="317" y="78"/>
                  </a:cubicBezTo>
                  <a:cubicBezTo>
                    <a:pt x="316" y="78"/>
                    <a:pt x="315" y="78"/>
                    <a:pt x="315" y="78"/>
                  </a:cubicBezTo>
                  <a:cubicBezTo>
                    <a:pt x="314" y="78"/>
                    <a:pt x="314" y="78"/>
                    <a:pt x="314" y="78"/>
                  </a:cubicBezTo>
                  <a:cubicBezTo>
                    <a:pt x="314" y="76"/>
                    <a:pt x="314" y="76"/>
                    <a:pt x="314" y="76"/>
                  </a:cubicBezTo>
                  <a:cubicBezTo>
                    <a:pt x="314" y="76"/>
                    <a:pt x="314" y="76"/>
                    <a:pt x="314" y="76"/>
                  </a:cubicBezTo>
                  <a:cubicBezTo>
                    <a:pt x="313" y="75"/>
                    <a:pt x="313" y="75"/>
                    <a:pt x="313" y="75"/>
                  </a:cubicBezTo>
                  <a:cubicBezTo>
                    <a:pt x="312" y="75"/>
                    <a:pt x="312" y="75"/>
                    <a:pt x="312" y="75"/>
                  </a:cubicBezTo>
                  <a:cubicBezTo>
                    <a:pt x="312" y="75"/>
                    <a:pt x="311" y="74"/>
                    <a:pt x="311" y="74"/>
                  </a:cubicBezTo>
                  <a:cubicBezTo>
                    <a:pt x="311" y="74"/>
                    <a:pt x="310" y="74"/>
                    <a:pt x="310" y="74"/>
                  </a:cubicBezTo>
                  <a:cubicBezTo>
                    <a:pt x="309" y="73"/>
                    <a:pt x="309" y="73"/>
                    <a:pt x="309" y="73"/>
                  </a:cubicBezTo>
                  <a:cubicBezTo>
                    <a:pt x="311" y="73"/>
                    <a:pt x="311" y="73"/>
                    <a:pt x="311" y="73"/>
                  </a:cubicBezTo>
                  <a:cubicBezTo>
                    <a:pt x="311" y="73"/>
                    <a:pt x="311" y="72"/>
                    <a:pt x="311" y="72"/>
                  </a:cubicBezTo>
                  <a:cubicBezTo>
                    <a:pt x="311" y="72"/>
                    <a:pt x="311" y="72"/>
                    <a:pt x="311" y="72"/>
                  </a:cubicBezTo>
                  <a:cubicBezTo>
                    <a:pt x="311" y="72"/>
                    <a:pt x="310" y="72"/>
                    <a:pt x="310" y="72"/>
                  </a:cubicBezTo>
                  <a:cubicBezTo>
                    <a:pt x="308" y="72"/>
                    <a:pt x="308" y="72"/>
                    <a:pt x="308" y="72"/>
                  </a:cubicBezTo>
                  <a:cubicBezTo>
                    <a:pt x="308" y="73"/>
                    <a:pt x="308" y="73"/>
                    <a:pt x="308" y="73"/>
                  </a:cubicBezTo>
                  <a:cubicBezTo>
                    <a:pt x="306" y="73"/>
                    <a:pt x="306" y="73"/>
                    <a:pt x="306" y="73"/>
                  </a:cubicBezTo>
                  <a:cubicBezTo>
                    <a:pt x="305" y="73"/>
                    <a:pt x="305" y="73"/>
                    <a:pt x="305" y="73"/>
                  </a:cubicBezTo>
                  <a:cubicBezTo>
                    <a:pt x="302" y="73"/>
                    <a:pt x="302" y="73"/>
                    <a:pt x="302" y="73"/>
                  </a:cubicBezTo>
                  <a:cubicBezTo>
                    <a:pt x="301" y="72"/>
                    <a:pt x="301" y="72"/>
                    <a:pt x="301" y="72"/>
                  </a:cubicBezTo>
                  <a:cubicBezTo>
                    <a:pt x="301" y="70"/>
                    <a:pt x="301" y="70"/>
                    <a:pt x="301" y="70"/>
                  </a:cubicBezTo>
                  <a:cubicBezTo>
                    <a:pt x="300" y="69"/>
                    <a:pt x="300" y="69"/>
                    <a:pt x="300" y="69"/>
                  </a:cubicBezTo>
                  <a:cubicBezTo>
                    <a:pt x="299" y="69"/>
                    <a:pt x="299" y="69"/>
                    <a:pt x="299" y="69"/>
                  </a:cubicBezTo>
                  <a:cubicBezTo>
                    <a:pt x="297" y="69"/>
                    <a:pt x="297" y="69"/>
                    <a:pt x="297" y="69"/>
                  </a:cubicBezTo>
                  <a:cubicBezTo>
                    <a:pt x="297" y="67"/>
                    <a:pt x="297" y="67"/>
                    <a:pt x="297" y="67"/>
                  </a:cubicBezTo>
                  <a:cubicBezTo>
                    <a:pt x="297" y="67"/>
                    <a:pt x="297" y="65"/>
                    <a:pt x="296" y="65"/>
                  </a:cubicBezTo>
                  <a:cubicBezTo>
                    <a:pt x="296" y="65"/>
                    <a:pt x="295" y="66"/>
                    <a:pt x="295" y="66"/>
                  </a:cubicBezTo>
                  <a:cubicBezTo>
                    <a:pt x="293" y="63"/>
                    <a:pt x="293" y="63"/>
                    <a:pt x="293" y="63"/>
                  </a:cubicBezTo>
                  <a:cubicBezTo>
                    <a:pt x="293" y="63"/>
                    <a:pt x="293" y="63"/>
                    <a:pt x="293" y="63"/>
                  </a:cubicBezTo>
                  <a:cubicBezTo>
                    <a:pt x="292" y="62"/>
                    <a:pt x="291" y="61"/>
                    <a:pt x="291" y="61"/>
                  </a:cubicBezTo>
                  <a:cubicBezTo>
                    <a:pt x="290" y="61"/>
                    <a:pt x="288" y="61"/>
                    <a:pt x="288" y="61"/>
                  </a:cubicBezTo>
                  <a:cubicBezTo>
                    <a:pt x="288" y="61"/>
                    <a:pt x="288" y="60"/>
                    <a:pt x="287" y="60"/>
                  </a:cubicBezTo>
                  <a:cubicBezTo>
                    <a:pt x="287" y="60"/>
                    <a:pt x="284" y="60"/>
                    <a:pt x="284" y="60"/>
                  </a:cubicBezTo>
                  <a:cubicBezTo>
                    <a:pt x="284" y="60"/>
                    <a:pt x="284" y="58"/>
                    <a:pt x="285" y="57"/>
                  </a:cubicBezTo>
                  <a:cubicBezTo>
                    <a:pt x="285" y="57"/>
                    <a:pt x="285" y="54"/>
                    <a:pt x="285" y="54"/>
                  </a:cubicBezTo>
                  <a:cubicBezTo>
                    <a:pt x="284" y="53"/>
                    <a:pt x="284" y="53"/>
                    <a:pt x="284" y="53"/>
                  </a:cubicBezTo>
                  <a:cubicBezTo>
                    <a:pt x="284" y="53"/>
                    <a:pt x="284" y="53"/>
                    <a:pt x="284" y="51"/>
                  </a:cubicBezTo>
                  <a:cubicBezTo>
                    <a:pt x="285" y="50"/>
                    <a:pt x="285" y="50"/>
                    <a:pt x="285" y="48"/>
                  </a:cubicBezTo>
                  <a:cubicBezTo>
                    <a:pt x="286" y="46"/>
                    <a:pt x="286" y="45"/>
                    <a:pt x="286" y="45"/>
                  </a:cubicBezTo>
                  <a:cubicBezTo>
                    <a:pt x="284" y="44"/>
                    <a:pt x="284" y="44"/>
                    <a:pt x="284" y="44"/>
                  </a:cubicBezTo>
                  <a:cubicBezTo>
                    <a:pt x="284" y="44"/>
                    <a:pt x="284" y="44"/>
                    <a:pt x="283" y="45"/>
                  </a:cubicBezTo>
                  <a:cubicBezTo>
                    <a:pt x="283" y="46"/>
                    <a:pt x="282" y="46"/>
                    <a:pt x="282" y="46"/>
                  </a:cubicBezTo>
                  <a:cubicBezTo>
                    <a:pt x="281" y="48"/>
                    <a:pt x="281" y="48"/>
                    <a:pt x="281" y="48"/>
                  </a:cubicBezTo>
                  <a:cubicBezTo>
                    <a:pt x="280" y="51"/>
                    <a:pt x="280" y="51"/>
                    <a:pt x="280" y="51"/>
                  </a:cubicBezTo>
                  <a:cubicBezTo>
                    <a:pt x="280" y="51"/>
                    <a:pt x="281" y="52"/>
                    <a:pt x="279" y="52"/>
                  </a:cubicBezTo>
                  <a:cubicBezTo>
                    <a:pt x="277" y="52"/>
                    <a:pt x="276" y="52"/>
                    <a:pt x="276" y="52"/>
                  </a:cubicBezTo>
                  <a:cubicBezTo>
                    <a:pt x="276" y="52"/>
                    <a:pt x="277" y="53"/>
                    <a:pt x="275" y="53"/>
                  </a:cubicBezTo>
                  <a:cubicBezTo>
                    <a:pt x="273" y="53"/>
                    <a:pt x="271" y="53"/>
                    <a:pt x="271" y="53"/>
                  </a:cubicBezTo>
                  <a:cubicBezTo>
                    <a:pt x="269" y="52"/>
                    <a:pt x="269" y="52"/>
                    <a:pt x="269" y="52"/>
                  </a:cubicBezTo>
                  <a:cubicBezTo>
                    <a:pt x="266" y="52"/>
                    <a:pt x="266" y="52"/>
                    <a:pt x="266" y="52"/>
                  </a:cubicBezTo>
                  <a:cubicBezTo>
                    <a:pt x="266" y="52"/>
                    <a:pt x="266" y="52"/>
                    <a:pt x="266" y="50"/>
                  </a:cubicBezTo>
                  <a:cubicBezTo>
                    <a:pt x="266" y="49"/>
                    <a:pt x="265" y="48"/>
                    <a:pt x="266" y="48"/>
                  </a:cubicBezTo>
                  <a:cubicBezTo>
                    <a:pt x="267" y="48"/>
                    <a:pt x="268" y="47"/>
                    <a:pt x="268" y="47"/>
                  </a:cubicBezTo>
                  <a:cubicBezTo>
                    <a:pt x="267" y="45"/>
                    <a:pt x="267" y="45"/>
                    <a:pt x="267" y="45"/>
                  </a:cubicBezTo>
                  <a:cubicBezTo>
                    <a:pt x="267" y="45"/>
                    <a:pt x="267" y="45"/>
                    <a:pt x="267" y="45"/>
                  </a:cubicBezTo>
                  <a:cubicBezTo>
                    <a:pt x="267" y="45"/>
                    <a:pt x="266" y="44"/>
                    <a:pt x="266" y="44"/>
                  </a:cubicBezTo>
                  <a:cubicBezTo>
                    <a:pt x="266" y="43"/>
                    <a:pt x="267" y="41"/>
                    <a:pt x="267" y="41"/>
                  </a:cubicBezTo>
                  <a:cubicBezTo>
                    <a:pt x="268" y="41"/>
                    <a:pt x="268" y="39"/>
                    <a:pt x="268" y="39"/>
                  </a:cubicBezTo>
                  <a:cubicBezTo>
                    <a:pt x="267" y="39"/>
                    <a:pt x="267" y="39"/>
                    <a:pt x="267" y="39"/>
                  </a:cubicBezTo>
                  <a:cubicBezTo>
                    <a:pt x="267" y="39"/>
                    <a:pt x="266" y="40"/>
                    <a:pt x="265" y="38"/>
                  </a:cubicBezTo>
                  <a:cubicBezTo>
                    <a:pt x="265" y="37"/>
                    <a:pt x="264" y="35"/>
                    <a:pt x="264" y="35"/>
                  </a:cubicBezTo>
                  <a:cubicBezTo>
                    <a:pt x="264" y="35"/>
                    <a:pt x="263" y="35"/>
                    <a:pt x="263" y="35"/>
                  </a:cubicBezTo>
                  <a:cubicBezTo>
                    <a:pt x="262" y="35"/>
                    <a:pt x="262" y="35"/>
                    <a:pt x="261" y="35"/>
                  </a:cubicBezTo>
                  <a:cubicBezTo>
                    <a:pt x="261" y="36"/>
                    <a:pt x="258" y="35"/>
                    <a:pt x="258" y="35"/>
                  </a:cubicBezTo>
                  <a:cubicBezTo>
                    <a:pt x="258" y="35"/>
                    <a:pt x="257" y="35"/>
                    <a:pt x="256" y="35"/>
                  </a:cubicBezTo>
                  <a:cubicBezTo>
                    <a:pt x="256" y="35"/>
                    <a:pt x="255" y="36"/>
                    <a:pt x="255" y="36"/>
                  </a:cubicBezTo>
                  <a:cubicBezTo>
                    <a:pt x="253" y="34"/>
                    <a:pt x="253" y="34"/>
                    <a:pt x="253" y="34"/>
                  </a:cubicBezTo>
                  <a:cubicBezTo>
                    <a:pt x="254" y="32"/>
                    <a:pt x="254" y="32"/>
                    <a:pt x="254" y="32"/>
                  </a:cubicBezTo>
                  <a:cubicBezTo>
                    <a:pt x="254" y="32"/>
                    <a:pt x="252" y="30"/>
                    <a:pt x="252" y="30"/>
                  </a:cubicBezTo>
                  <a:cubicBezTo>
                    <a:pt x="252" y="29"/>
                    <a:pt x="251" y="28"/>
                    <a:pt x="251" y="28"/>
                  </a:cubicBezTo>
                  <a:cubicBezTo>
                    <a:pt x="250" y="28"/>
                    <a:pt x="250" y="28"/>
                    <a:pt x="250" y="28"/>
                  </a:cubicBezTo>
                  <a:cubicBezTo>
                    <a:pt x="249" y="26"/>
                    <a:pt x="249" y="26"/>
                    <a:pt x="249" y="26"/>
                  </a:cubicBezTo>
                  <a:cubicBezTo>
                    <a:pt x="249" y="26"/>
                    <a:pt x="247" y="27"/>
                    <a:pt x="247" y="27"/>
                  </a:cubicBezTo>
                  <a:cubicBezTo>
                    <a:pt x="246" y="27"/>
                    <a:pt x="246" y="27"/>
                    <a:pt x="245" y="27"/>
                  </a:cubicBezTo>
                  <a:cubicBezTo>
                    <a:pt x="245" y="27"/>
                    <a:pt x="244" y="26"/>
                    <a:pt x="244" y="25"/>
                  </a:cubicBezTo>
                  <a:cubicBezTo>
                    <a:pt x="244" y="24"/>
                    <a:pt x="244" y="24"/>
                    <a:pt x="243" y="23"/>
                  </a:cubicBezTo>
                  <a:cubicBezTo>
                    <a:pt x="243" y="22"/>
                    <a:pt x="242" y="20"/>
                    <a:pt x="242" y="20"/>
                  </a:cubicBezTo>
                  <a:cubicBezTo>
                    <a:pt x="242" y="19"/>
                    <a:pt x="243" y="18"/>
                    <a:pt x="242" y="18"/>
                  </a:cubicBezTo>
                  <a:cubicBezTo>
                    <a:pt x="242" y="17"/>
                    <a:pt x="241" y="16"/>
                    <a:pt x="241" y="16"/>
                  </a:cubicBezTo>
                  <a:cubicBezTo>
                    <a:pt x="239" y="14"/>
                    <a:pt x="239" y="14"/>
                    <a:pt x="239" y="14"/>
                  </a:cubicBezTo>
                  <a:cubicBezTo>
                    <a:pt x="239" y="14"/>
                    <a:pt x="237" y="15"/>
                    <a:pt x="236" y="15"/>
                  </a:cubicBezTo>
                  <a:cubicBezTo>
                    <a:pt x="236" y="15"/>
                    <a:pt x="234" y="15"/>
                    <a:pt x="234" y="15"/>
                  </a:cubicBezTo>
                  <a:cubicBezTo>
                    <a:pt x="234" y="16"/>
                    <a:pt x="234" y="17"/>
                    <a:pt x="234" y="17"/>
                  </a:cubicBezTo>
                  <a:cubicBezTo>
                    <a:pt x="233" y="18"/>
                    <a:pt x="231" y="17"/>
                    <a:pt x="231" y="16"/>
                  </a:cubicBezTo>
                  <a:cubicBezTo>
                    <a:pt x="230" y="16"/>
                    <a:pt x="230" y="15"/>
                    <a:pt x="229" y="14"/>
                  </a:cubicBezTo>
                  <a:cubicBezTo>
                    <a:pt x="229" y="14"/>
                    <a:pt x="229" y="13"/>
                    <a:pt x="228" y="13"/>
                  </a:cubicBezTo>
                  <a:cubicBezTo>
                    <a:pt x="228" y="13"/>
                    <a:pt x="226" y="13"/>
                    <a:pt x="226" y="12"/>
                  </a:cubicBezTo>
                  <a:cubicBezTo>
                    <a:pt x="226" y="11"/>
                    <a:pt x="227" y="9"/>
                    <a:pt x="227" y="9"/>
                  </a:cubicBezTo>
                  <a:cubicBezTo>
                    <a:pt x="226" y="7"/>
                    <a:pt x="226" y="7"/>
                    <a:pt x="226" y="7"/>
                  </a:cubicBezTo>
                  <a:cubicBezTo>
                    <a:pt x="226" y="7"/>
                    <a:pt x="227" y="5"/>
                    <a:pt x="226" y="5"/>
                  </a:cubicBezTo>
                  <a:cubicBezTo>
                    <a:pt x="226" y="4"/>
                    <a:pt x="225" y="3"/>
                    <a:pt x="225" y="3"/>
                  </a:cubicBezTo>
                  <a:cubicBezTo>
                    <a:pt x="225" y="1"/>
                    <a:pt x="225" y="1"/>
                    <a:pt x="225" y="1"/>
                  </a:cubicBezTo>
                  <a:cubicBezTo>
                    <a:pt x="226" y="0"/>
                    <a:pt x="226" y="0"/>
                    <a:pt x="226" y="0"/>
                  </a:cubicBezTo>
                  <a:cubicBezTo>
                    <a:pt x="226" y="0"/>
                    <a:pt x="226" y="0"/>
                    <a:pt x="227" y="0"/>
                  </a:cubicBezTo>
                  <a:cubicBezTo>
                    <a:pt x="209" y="3"/>
                    <a:pt x="209" y="3"/>
                    <a:pt x="209" y="3"/>
                  </a:cubicBezTo>
                  <a:cubicBezTo>
                    <a:pt x="200" y="3"/>
                    <a:pt x="200" y="3"/>
                    <a:pt x="200" y="3"/>
                  </a:cubicBezTo>
                  <a:cubicBezTo>
                    <a:pt x="197" y="7"/>
                    <a:pt x="197" y="7"/>
                    <a:pt x="197" y="7"/>
                  </a:cubicBezTo>
                  <a:cubicBezTo>
                    <a:pt x="196" y="11"/>
                    <a:pt x="196" y="11"/>
                    <a:pt x="196" y="11"/>
                  </a:cubicBezTo>
                  <a:cubicBezTo>
                    <a:pt x="196" y="18"/>
                    <a:pt x="196" y="18"/>
                    <a:pt x="196" y="18"/>
                  </a:cubicBezTo>
                  <a:cubicBezTo>
                    <a:pt x="194" y="22"/>
                    <a:pt x="194" y="22"/>
                    <a:pt x="194" y="22"/>
                  </a:cubicBezTo>
                  <a:cubicBezTo>
                    <a:pt x="194" y="27"/>
                    <a:pt x="194" y="27"/>
                    <a:pt x="194" y="27"/>
                  </a:cubicBezTo>
                  <a:cubicBezTo>
                    <a:pt x="193" y="34"/>
                    <a:pt x="193" y="34"/>
                    <a:pt x="193" y="34"/>
                  </a:cubicBezTo>
                  <a:cubicBezTo>
                    <a:pt x="190" y="37"/>
                    <a:pt x="190" y="37"/>
                    <a:pt x="190" y="37"/>
                  </a:cubicBezTo>
                  <a:cubicBezTo>
                    <a:pt x="184" y="42"/>
                    <a:pt x="184" y="42"/>
                    <a:pt x="184" y="42"/>
                  </a:cubicBezTo>
                  <a:cubicBezTo>
                    <a:pt x="176" y="45"/>
                    <a:pt x="176" y="45"/>
                    <a:pt x="176" y="45"/>
                  </a:cubicBezTo>
                  <a:cubicBezTo>
                    <a:pt x="166" y="48"/>
                    <a:pt x="166" y="48"/>
                    <a:pt x="166" y="48"/>
                  </a:cubicBezTo>
                  <a:cubicBezTo>
                    <a:pt x="157" y="50"/>
                    <a:pt x="157" y="50"/>
                    <a:pt x="157" y="50"/>
                  </a:cubicBezTo>
                  <a:cubicBezTo>
                    <a:pt x="151" y="54"/>
                    <a:pt x="151" y="54"/>
                    <a:pt x="151" y="54"/>
                  </a:cubicBezTo>
                  <a:cubicBezTo>
                    <a:pt x="149" y="60"/>
                    <a:pt x="149" y="60"/>
                    <a:pt x="149" y="60"/>
                  </a:cubicBezTo>
                  <a:cubicBezTo>
                    <a:pt x="148" y="67"/>
                    <a:pt x="148" y="67"/>
                    <a:pt x="148" y="67"/>
                  </a:cubicBezTo>
                  <a:cubicBezTo>
                    <a:pt x="143" y="69"/>
                    <a:pt x="143" y="69"/>
                    <a:pt x="143" y="69"/>
                  </a:cubicBezTo>
                  <a:cubicBezTo>
                    <a:pt x="143" y="69"/>
                    <a:pt x="140" y="71"/>
                    <a:pt x="138" y="70"/>
                  </a:cubicBezTo>
                  <a:cubicBezTo>
                    <a:pt x="136" y="70"/>
                    <a:pt x="131" y="68"/>
                    <a:pt x="131" y="68"/>
                  </a:cubicBezTo>
                  <a:cubicBezTo>
                    <a:pt x="131" y="68"/>
                    <a:pt x="125" y="65"/>
                    <a:pt x="123" y="65"/>
                  </a:cubicBezTo>
                  <a:cubicBezTo>
                    <a:pt x="121" y="65"/>
                    <a:pt x="117" y="60"/>
                    <a:pt x="117" y="60"/>
                  </a:cubicBezTo>
                  <a:cubicBezTo>
                    <a:pt x="113" y="64"/>
                    <a:pt x="113" y="64"/>
                    <a:pt x="113" y="64"/>
                  </a:cubicBezTo>
                  <a:cubicBezTo>
                    <a:pt x="113" y="64"/>
                    <a:pt x="110" y="62"/>
                    <a:pt x="110" y="60"/>
                  </a:cubicBezTo>
                  <a:cubicBezTo>
                    <a:pt x="110" y="59"/>
                    <a:pt x="110" y="59"/>
                    <a:pt x="110" y="57"/>
                  </a:cubicBezTo>
                  <a:cubicBezTo>
                    <a:pt x="110" y="55"/>
                    <a:pt x="110" y="51"/>
                    <a:pt x="110" y="51"/>
                  </a:cubicBezTo>
                  <a:cubicBezTo>
                    <a:pt x="104" y="49"/>
                    <a:pt x="104" y="49"/>
                    <a:pt x="104" y="49"/>
                  </a:cubicBezTo>
                  <a:cubicBezTo>
                    <a:pt x="99" y="48"/>
                    <a:pt x="99" y="48"/>
                    <a:pt x="99" y="48"/>
                  </a:cubicBezTo>
                  <a:cubicBezTo>
                    <a:pt x="99" y="48"/>
                    <a:pt x="99" y="49"/>
                    <a:pt x="97" y="48"/>
                  </a:cubicBezTo>
                  <a:cubicBezTo>
                    <a:pt x="95" y="46"/>
                    <a:pt x="95" y="43"/>
                    <a:pt x="95" y="43"/>
                  </a:cubicBezTo>
                  <a:cubicBezTo>
                    <a:pt x="90" y="41"/>
                    <a:pt x="90" y="41"/>
                    <a:pt x="90" y="41"/>
                  </a:cubicBezTo>
                  <a:cubicBezTo>
                    <a:pt x="88" y="47"/>
                    <a:pt x="88" y="47"/>
                    <a:pt x="88" y="47"/>
                  </a:cubicBezTo>
                  <a:cubicBezTo>
                    <a:pt x="94" y="52"/>
                    <a:pt x="94" y="52"/>
                    <a:pt x="94" y="52"/>
                  </a:cubicBezTo>
                  <a:cubicBezTo>
                    <a:pt x="96" y="55"/>
                    <a:pt x="96" y="55"/>
                    <a:pt x="96" y="55"/>
                  </a:cubicBezTo>
                  <a:cubicBezTo>
                    <a:pt x="94" y="60"/>
                    <a:pt x="94" y="60"/>
                    <a:pt x="94" y="60"/>
                  </a:cubicBezTo>
                  <a:cubicBezTo>
                    <a:pt x="96" y="64"/>
                    <a:pt x="96" y="64"/>
                    <a:pt x="96" y="64"/>
                  </a:cubicBezTo>
                  <a:cubicBezTo>
                    <a:pt x="97" y="67"/>
                    <a:pt x="97" y="67"/>
                    <a:pt x="97" y="67"/>
                  </a:cubicBezTo>
                  <a:cubicBezTo>
                    <a:pt x="97" y="67"/>
                    <a:pt x="98" y="67"/>
                    <a:pt x="97" y="69"/>
                  </a:cubicBezTo>
                  <a:cubicBezTo>
                    <a:pt x="97" y="71"/>
                    <a:pt x="96" y="79"/>
                    <a:pt x="96" y="79"/>
                  </a:cubicBezTo>
                  <a:cubicBezTo>
                    <a:pt x="97" y="86"/>
                    <a:pt x="97" y="86"/>
                    <a:pt x="97" y="86"/>
                  </a:cubicBezTo>
                  <a:cubicBezTo>
                    <a:pt x="99" y="92"/>
                    <a:pt x="99" y="92"/>
                    <a:pt x="99" y="92"/>
                  </a:cubicBezTo>
                  <a:cubicBezTo>
                    <a:pt x="99" y="92"/>
                    <a:pt x="95" y="94"/>
                    <a:pt x="93" y="94"/>
                  </a:cubicBezTo>
                  <a:cubicBezTo>
                    <a:pt x="92" y="94"/>
                    <a:pt x="88" y="93"/>
                    <a:pt x="88" y="93"/>
                  </a:cubicBezTo>
                  <a:cubicBezTo>
                    <a:pt x="86" y="88"/>
                    <a:pt x="86" y="88"/>
                    <a:pt x="86" y="88"/>
                  </a:cubicBezTo>
                  <a:cubicBezTo>
                    <a:pt x="77" y="89"/>
                    <a:pt x="77" y="89"/>
                    <a:pt x="77" y="89"/>
                  </a:cubicBezTo>
                  <a:cubicBezTo>
                    <a:pt x="71" y="89"/>
                    <a:pt x="71" y="89"/>
                    <a:pt x="71" y="89"/>
                  </a:cubicBezTo>
                  <a:cubicBezTo>
                    <a:pt x="66" y="92"/>
                    <a:pt x="66" y="92"/>
                    <a:pt x="66" y="92"/>
                  </a:cubicBezTo>
                  <a:cubicBezTo>
                    <a:pt x="63" y="91"/>
                    <a:pt x="63" y="91"/>
                    <a:pt x="63" y="91"/>
                  </a:cubicBezTo>
                  <a:cubicBezTo>
                    <a:pt x="60" y="88"/>
                    <a:pt x="60" y="88"/>
                    <a:pt x="60" y="88"/>
                  </a:cubicBezTo>
                  <a:cubicBezTo>
                    <a:pt x="59" y="83"/>
                    <a:pt x="59" y="83"/>
                    <a:pt x="59" y="83"/>
                  </a:cubicBezTo>
                  <a:cubicBezTo>
                    <a:pt x="57" y="79"/>
                    <a:pt x="57" y="79"/>
                    <a:pt x="57" y="79"/>
                  </a:cubicBezTo>
                  <a:cubicBezTo>
                    <a:pt x="54" y="75"/>
                    <a:pt x="54" y="75"/>
                    <a:pt x="54" y="75"/>
                  </a:cubicBezTo>
                  <a:cubicBezTo>
                    <a:pt x="43" y="76"/>
                    <a:pt x="43" y="76"/>
                    <a:pt x="43" y="76"/>
                  </a:cubicBezTo>
                  <a:cubicBezTo>
                    <a:pt x="40" y="76"/>
                    <a:pt x="40" y="76"/>
                    <a:pt x="40" y="76"/>
                  </a:cubicBezTo>
                  <a:cubicBezTo>
                    <a:pt x="37" y="79"/>
                    <a:pt x="37" y="79"/>
                    <a:pt x="37" y="79"/>
                  </a:cubicBezTo>
                  <a:cubicBezTo>
                    <a:pt x="32" y="78"/>
                    <a:pt x="32" y="78"/>
                    <a:pt x="32" y="78"/>
                  </a:cubicBezTo>
                  <a:cubicBezTo>
                    <a:pt x="31" y="81"/>
                    <a:pt x="31" y="81"/>
                    <a:pt x="31" y="81"/>
                  </a:cubicBezTo>
                  <a:cubicBezTo>
                    <a:pt x="25" y="79"/>
                    <a:pt x="25" y="79"/>
                    <a:pt x="25" y="79"/>
                  </a:cubicBezTo>
                  <a:cubicBezTo>
                    <a:pt x="20" y="79"/>
                    <a:pt x="20" y="79"/>
                    <a:pt x="20" y="79"/>
                  </a:cubicBezTo>
                  <a:cubicBezTo>
                    <a:pt x="15" y="79"/>
                    <a:pt x="15" y="79"/>
                    <a:pt x="15" y="79"/>
                  </a:cubicBezTo>
                  <a:cubicBezTo>
                    <a:pt x="8" y="81"/>
                    <a:pt x="8" y="81"/>
                    <a:pt x="8" y="81"/>
                  </a:cubicBezTo>
                  <a:cubicBezTo>
                    <a:pt x="4" y="84"/>
                    <a:pt x="4" y="84"/>
                    <a:pt x="4" y="84"/>
                  </a:cubicBezTo>
                  <a:cubicBezTo>
                    <a:pt x="0" y="90"/>
                    <a:pt x="0" y="90"/>
                    <a:pt x="0" y="90"/>
                  </a:cubicBezTo>
                  <a:cubicBezTo>
                    <a:pt x="0" y="90"/>
                    <a:pt x="2" y="90"/>
                    <a:pt x="3" y="90"/>
                  </a:cubicBezTo>
                  <a:cubicBezTo>
                    <a:pt x="4" y="91"/>
                    <a:pt x="11" y="91"/>
                    <a:pt x="11" y="91"/>
                  </a:cubicBezTo>
                  <a:cubicBezTo>
                    <a:pt x="13" y="93"/>
                    <a:pt x="13" y="93"/>
                    <a:pt x="13" y="93"/>
                  </a:cubicBezTo>
                  <a:cubicBezTo>
                    <a:pt x="8" y="96"/>
                    <a:pt x="8" y="96"/>
                    <a:pt x="8" y="96"/>
                  </a:cubicBezTo>
                  <a:cubicBezTo>
                    <a:pt x="12" y="97"/>
                    <a:pt x="12" y="97"/>
                    <a:pt x="12" y="97"/>
                  </a:cubicBezTo>
                  <a:cubicBezTo>
                    <a:pt x="13" y="99"/>
                    <a:pt x="13" y="99"/>
                    <a:pt x="13" y="99"/>
                  </a:cubicBezTo>
                  <a:cubicBezTo>
                    <a:pt x="13" y="102"/>
                    <a:pt x="13" y="102"/>
                    <a:pt x="13" y="102"/>
                  </a:cubicBezTo>
                  <a:cubicBezTo>
                    <a:pt x="4" y="103"/>
                    <a:pt x="4" y="103"/>
                    <a:pt x="4" y="103"/>
                  </a:cubicBezTo>
                  <a:cubicBezTo>
                    <a:pt x="4" y="103"/>
                    <a:pt x="2" y="102"/>
                    <a:pt x="1" y="103"/>
                  </a:cubicBezTo>
                  <a:cubicBezTo>
                    <a:pt x="1" y="105"/>
                    <a:pt x="4" y="106"/>
                    <a:pt x="4" y="106"/>
                  </a:cubicBezTo>
                  <a:cubicBezTo>
                    <a:pt x="8" y="108"/>
                    <a:pt x="8" y="108"/>
                    <a:pt x="8" y="108"/>
                  </a:cubicBezTo>
                  <a:cubicBezTo>
                    <a:pt x="7" y="116"/>
                    <a:pt x="7" y="116"/>
                    <a:pt x="7" y="116"/>
                  </a:cubicBezTo>
                  <a:cubicBezTo>
                    <a:pt x="11" y="116"/>
                    <a:pt x="11" y="116"/>
                    <a:pt x="11" y="116"/>
                  </a:cubicBezTo>
                  <a:cubicBezTo>
                    <a:pt x="15" y="116"/>
                    <a:pt x="15" y="116"/>
                    <a:pt x="15" y="116"/>
                  </a:cubicBezTo>
                  <a:cubicBezTo>
                    <a:pt x="15" y="116"/>
                    <a:pt x="16" y="114"/>
                    <a:pt x="18" y="114"/>
                  </a:cubicBezTo>
                  <a:cubicBezTo>
                    <a:pt x="21" y="113"/>
                    <a:pt x="23" y="114"/>
                    <a:pt x="23" y="114"/>
                  </a:cubicBezTo>
                  <a:cubicBezTo>
                    <a:pt x="23" y="114"/>
                    <a:pt x="23" y="113"/>
                    <a:pt x="24" y="117"/>
                  </a:cubicBezTo>
                  <a:cubicBezTo>
                    <a:pt x="25" y="120"/>
                    <a:pt x="25" y="120"/>
                    <a:pt x="25" y="120"/>
                  </a:cubicBezTo>
                  <a:cubicBezTo>
                    <a:pt x="28" y="121"/>
                    <a:pt x="28" y="121"/>
                    <a:pt x="28" y="121"/>
                  </a:cubicBezTo>
                  <a:cubicBezTo>
                    <a:pt x="30" y="121"/>
                    <a:pt x="30" y="121"/>
                    <a:pt x="30" y="121"/>
                  </a:cubicBezTo>
                  <a:cubicBezTo>
                    <a:pt x="30" y="121"/>
                    <a:pt x="33" y="124"/>
                    <a:pt x="34" y="124"/>
                  </a:cubicBezTo>
                  <a:cubicBezTo>
                    <a:pt x="36" y="125"/>
                    <a:pt x="40" y="128"/>
                    <a:pt x="40" y="128"/>
                  </a:cubicBezTo>
                  <a:cubicBezTo>
                    <a:pt x="41" y="129"/>
                    <a:pt x="41" y="129"/>
                    <a:pt x="41" y="129"/>
                  </a:cubicBezTo>
                  <a:cubicBezTo>
                    <a:pt x="41" y="133"/>
                    <a:pt x="41" y="133"/>
                    <a:pt x="41" y="133"/>
                  </a:cubicBezTo>
                  <a:cubicBezTo>
                    <a:pt x="41" y="133"/>
                    <a:pt x="45" y="134"/>
                    <a:pt x="47" y="134"/>
                  </a:cubicBezTo>
                  <a:cubicBezTo>
                    <a:pt x="49" y="134"/>
                    <a:pt x="54" y="133"/>
                    <a:pt x="54" y="133"/>
                  </a:cubicBezTo>
                  <a:cubicBezTo>
                    <a:pt x="56" y="136"/>
                    <a:pt x="56" y="136"/>
                    <a:pt x="56" y="136"/>
                  </a:cubicBezTo>
                  <a:cubicBezTo>
                    <a:pt x="58" y="136"/>
                    <a:pt x="65" y="138"/>
                    <a:pt x="65" y="138"/>
                  </a:cubicBezTo>
                  <a:cubicBezTo>
                    <a:pt x="63" y="141"/>
                    <a:pt x="63" y="141"/>
                    <a:pt x="63" y="141"/>
                  </a:cubicBezTo>
                  <a:cubicBezTo>
                    <a:pt x="60" y="144"/>
                    <a:pt x="60" y="144"/>
                    <a:pt x="60" y="144"/>
                  </a:cubicBezTo>
                  <a:cubicBezTo>
                    <a:pt x="60" y="147"/>
                    <a:pt x="60" y="147"/>
                    <a:pt x="60" y="147"/>
                  </a:cubicBezTo>
                  <a:cubicBezTo>
                    <a:pt x="60" y="147"/>
                    <a:pt x="60" y="146"/>
                    <a:pt x="63" y="147"/>
                  </a:cubicBezTo>
                  <a:cubicBezTo>
                    <a:pt x="66" y="148"/>
                    <a:pt x="69" y="150"/>
                    <a:pt x="69" y="150"/>
                  </a:cubicBezTo>
                  <a:cubicBezTo>
                    <a:pt x="68" y="154"/>
                    <a:pt x="68" y="154"/>
                    <a:pt x="68" y="154"/>
                  </a:cubicBezTo>
                  <a:cubicBezTo>
                    <a:pt x="71" y="157"/>
                    <a:pt x="71" y="157"/>
                    <a:pt x="71" y="157"/>
                  </a:cubicBezTo>
                  <a:cubicBezTo>
                    <a:pt x="71" y="157"/>
                    <a:pt x="73" y="159"/>
                    <a:pt x="73" y="160"/>
                  </a:cubicBezTo>
                  <a:cubicBezTo>
                    <a:pt x="73" y="161"/>
                    <a:pt x="72" y="162"/>
                    <a:pt x="72" y="162"/>
                  </a:cubicBezTo>
                  <a:cubicBezTo>
                    <a:pt x="70" y="162"/>
                    <a:pt x="70" y="162"/>
                    <a:pt x="70" y="162"/>
                  </a:cubicBezTo>
                  <a:cubicBezTo>
                    <a:pt x="70" y="162"/>
                    <a:pt x="70" y="163"/>
                    <a:pt x="69" y="162"/>
                  </a:cubicBezTo>
                  <a:cubicBezTo>
                    <a:pt x="68" y="160"/>
                    <a:pt x="66" y="159"/>
                    <a:pt x="66" y="159"/>
                  </a:cubicBezTo>
                  <a:cubicBezTo>
                    <a:pt x="66" y="161"/>
                    <a:pt x="66" y="161"/>
                    <a:pt x="66" y="161"/>
                  </a:cubicBezTo>
                  <a:cubicBezTo>
                    <a:pt x="66" y="161"/>
                    <a:pt x="67" y="165"/>
                    <a:pt x="68" y="166"/>
                  </a:cubicBezTo>
                  <a:cubicBezTo>
                    <a:pt x="69" y="166"/>
                    <a:pt x="70" y="165"/>
                    <a:pt x="69" y="167"/>
                  </a:cubicBezTo>
                  <a:cubicBezTo>
                    <a:pt x="69" y="169"/>
                    <a:pt x="70" y="173"/>
                    <a:pt x="71" y="174"/>
                  </a:cubicBezTo>
                  <a:cubicBezTo>
                    <a:pt x="71" y="176"/>
                    <a:pt x="71" y="179"/>
                    <a:pt x="73" y="180"/>
                  </a:cubicBezTo>
                  <a:cubicBezTo>
                    <a:pt x="74" y="180"/>
                    <a:pt x="75" y="181"/>
                    <a:pt x="75" y="181"/>
                  </a:cubicBezTo>
                  <a:cubicBezTo>
                    <a:pt x="76" y="183"/>
                    <a:pt x="76" y="183"/>
                    <a:pt x="76" y="183"/>
                  </a:cubicBezTo>
                  <a:cubicBezTo>
                    <a:pt x="81" y="187"/>
                    <a:pt x="81" y="187"/>
                    <a:pt x="81" y="187"/>
                  </a:cubicBezTo>
                  <a:cubicBezTo>
                    <a:pt x="81" y="187"/>
                    <a:pt x="84" y="189"/>
                    <a:pt x="86" y="190"/>
                  </a:cubicBezTo>
                  <a:cubicBezTo>
                    <a:pt x="88" y="191"/>
                    <a:pt x="89" y="191"/>
                    <a:pt x="89" y="191"/>
                  </a:cubicBezTo>
                  <a:cubicBezTo>
                    <a:pt x="92" y="195"/>
                    <a:pt x="92" y="195"/>
                    <a:pt x="92" y="195"/>
                  </a:cubicBezTo>
                  <a:cubicBezTo>
                    <a:pt x="92" y="195"/>
                    <a:pt x="95" y="199"/>
                    <a:pt x="94" y="199"/>
                  </a:cubicBezTo>
                  <a:cubicBezTo>
                    <a:pt x="93" y="199"/>
                    <a:pt x="94" y="199"/>
                    <a:pt x="92" y="199"/>
                  </a:cubicBezTo>
                  <a:cubicBezTo>
                    <a:pt x="90" y="200"/>
                    <a:pt x="91" y="201"/>
                    <a:pt x="89" y="200"/>
                  </a:cubicBezTo>
                  <a:cubicBezTo>
                    <a:pt x="87" y="198"/>
                    <a:pt x="86" y="195"/>
                    <a:pt x="83" y="195"/>
                  </a:cubicBezTo>
                  <a:cubicBezTo>
                    <a:pt x="81" y="196"/>
                    <a:pt x="81" y="196"/>
                    <a:pt x="81" y="196"/>
                  </a:cubicBezTo>
                  <a:cubicBezTo>
                    <a:pt x="85" y="200"/>
                    <a:pt x="85" y="200"/>
                    <a:pt x="85" y="200"/>
                  </a:cubicBezTo>
                  <a:cubicBezTo>
                    <a:pt x="87" y="201"/>
                    <a:pt x="87" y="201"/>
                    <a:pt x="87" y="201"/>
                  </a:cubicBezTo>
                  <a:cubicBezTo>
                    <a:pt x="91" y="203"/>
                    <a:pt x="91" y="203"/>
                    <a:pt x="91" y="203"/>
                  </a:cubicBezTo>
                  <a:cubicBezTo>
                    <a:pt x="92" y="203"/>
                    <a:pt x="92" y="203"/>
                    <a:pt x="92" y="203"/>
                  </a:cubicBezTo>
                  <a:cubicBezTo>
                    <a:pt x="92" y="203"/>
                    <a:pt x="92" y="206"/>
                    <a:pt x="92" y="206"/>
                  </a:cubicBezTo>
                  <a:cubicBezTo>
                    <a:pt x="92" y="207"/>
                    <a:pt x="91" y="209"/>
                    <a:pt x="91" y="210"/>
                  </a:cubicBezTo>
                  <a:cubicBezTo>
                    <a:pt x="91" y="212"/>
                    <a:pt x="91" y="213"/>
                    <a:pt x="91" y="213"/>
                  </a:cubicBezTo>
                  <a:cubicBezTo>
                    <a:pt x="89" y="208"/>
                    <a:pt x="89" y="208"/>
                    <a:pt x="89" y="208"/>
                  </a:cubicBezTo>
                  <a:cubicBezTo>
                    <a:pt x="89" y="208"/>
                    <a:pt x="89" y="206"/>
                    <a:pt x="87" y="206"/>
                  </a:cubicBezTo>
                  <a:cubicBezTo>
                    <a:pt x="86" y="205"/>
                    <a:pt x="84" y="206"/>
                    <a:pt x="84" y="206"/>
                  </a:cubicBezTo>
                  <a:cubicBezTo>
                    <a:pt x="84" y="206"/>
                    <a:pt x="84" y="208"/>
                    <a:pt x="85" y="209"/>
                  </a:cubicBezTo>
                  <a:cubicBezTo>
                    <a:pt x="86" y="209"/>
                    <a:pt x="87" y="210"/>
                    <a:pt x="87" y="211"/>
                  </a:cubicBezTo>
                  <a:cubicBezTo>
                    <a:pt x="87" y="212"/>
                    <a:pt x="88" y="212"/>
                    <a:pt x="88" y="212"/>
                  </a:cubicBezTo>
                  <a:cubicBezTo>
                    <a:pt x="88" y="212"/>
                    <a:pt x="89" y="213"/>
                    <a:pt x="89" y="214"/>
                  </a:cubicBezTo>
                  <a:cubicBezTo>
                    <a:pt x="90" y="216"/>
                    <a:pt x="89" y="219"/>
                    <a:pt x="89" y="219"/>
                  </a:cubicBezTo>
                  <a:cubicBezTo>
                    <a:pt x="89" y="219"/>
                    <a:pt x="87" y="219"/>
                    <a:pt x="89" y="220"/>
                  </a:cubicBezTo>
                  <a:cubicBezTo>
                    <a:pt x="91" y="222"/>
                    <a:pt x="92" y="223"/>
                    <a:pt x="93" y="224"/>
                  </a:cubicBezTo>
                  <a:cubicBezTo>
                    <a:pt x="94" y="224"/>
                    <a:pt x="97" y="228"/>
                    <a:pt x="97" y="228"/>
                  </a:cubicBezTo>
                  <a:cubicBezTo>
                    <a:pt x="100" y="232"/>
                    <a:pt x="100" y="232"/>
                    <a:pt x="100" y="232"/>
                  </a:cubicBezTo>
                  <a:cubicBezTo>
                    <a:pt x="100" y="232"/>
                    <a:pt x="100" y="233"/>
                    <a:pt x="99" y="233"/>
                  </a:cubicBezTo>
                  <a:cubicBezTo>
                    <a:pt x="99" y="233"/>
                    <a:pt x="98" y="234"/>
                    <a:pt x="98" y="234"/>
                  </a:cubicBezTo>
                  <a:cubicBezTo>
                    <a:pt x="98" y="234"/>
                    <a:pt x="96" y="233"/>
                    <a:pt x="96" y="232"/>
                  </a:cubicBezTo>
                  <a:cubicBezTo>
                    <a:pt x="95" y="231"/>
                    <a:pt x="93" y="228"/>
                    <a:pt x="93" y="228"/>
                  </a:cubicBezTo>
                  <a:cubicBezTo>
                    <a:pt x="91" y="228"/>
                    <a:pt x="91" y="228"/>
                    <a:pt x="91" y="228"/>
                  </a:cubicBezTo>
                  <a:cubicBezTo>
                    <a:pt x="90" y="228"/>
                    <a:pt x="90" y="228"/>
                    <a:pt x="90" y="228"/>
                  </a:cubicBezTo>
                  <a:cubicBezTo>
                    <a:pt x="90" y="228"/>
                    <a:pt x="89" y="231"/>
                    <a:pt x="89" y="232"/>
                  </a:cubicBezTo>
                  <a:cubicBezTo>
                    <a:pt x="89" y="233"/>
                    <a:pt x="86" y="237"/>
                    <a:pt x="86" y="237"/>
                  </a:cubicBezTo>
                  <a:cubicBezTo>
                    <a:pt x="84" y="247"/>
                    <a:pt x="84" y="247"/>
                    <a:pt x="84" y="247"/>
                  </a:cubicBezTo>
                  <a:cubicBezTo>
                    <a:pt x="84" y="247"/>
                    <a:pt x="84" y="258"/>
                    <a:pt x="84" y="259"/>
                  </a:cubicBezTo>
                  <a:cubicBezTo>
                    <a:pt x="84" y="260"/>
                    <a:pt x="81" y="268"/>
                    <a:pt x="81" y="268"/>
                  </a:cubicBezTo>
                  <a:cubicBezTo>
                    <a:pt x="81" y="268"/>
                    <a:pt x="80" y="268"/>
                    <a:pt x="80" y="271"/>
                  </a:cubicBezTo>
                  <a:cubicBezTo>
                    <a:pt x="80" y="273"/>
                    <a:pt x="79" y="278"/>
                    <a:pt x="79" y="278"/>
                  </a:cubicBezTo>
                  <a:cubicBezTo>
                    <a:pt x="79" y="278"/>
                    <a:pt x="78" y="281"/>
                    <a:pt x="78" y="282"/>
                  </a:cubicBezTo>
                  <a:cubicBezTo>
                    <a:pt x="78" y="284"/>
                    <a:pt x="75" y="290"/>
                    <a:pt x="75" y="290"/>
                  </a:cubicBezTo>
                  <a:cubicBezTo>
                    <a:pt x="74" y="297"/>
                    <a:pt x="74" y="297"/>
                    <a:pt x="74" y="297"/>
                  </a:cubicBezTo>
                  <a:cubicBezTo>
                    <a:pt x="68" y="311"/>
                    <a:pt x="68" y="311"/>
                    <a:pt x="68" y="311"/>
                  </a:cubicBezTo>
                  <a:cubicBezTo>
                    <a:pt x="63" y="315"/>
                    <a:pt x="63" y="315"/>
                    <a:pt x="63" y="315"/>
                  </a:cubicBezTo>
                  <a:cubicBezTo>
                    <a:pt x="60" y="317"/>
                    <a:pt x="60" y="317"/>
                    <a:pt x="60" y="317"/>
                  </a:cubicBezTo>
                  <a:cubicBezTo>
                    <a:pt x="62" y="318"/>
                    <a:pt x="65" y="319"/>
                    <a:pt x="65" y="321"/>
                  </a:cubicBezTo>
                  <a:cubicBezTo>
                    <a:pt x="67" y="325"/>
                    <a:pt x="70" y="332"/>
                    <a:pt x="70" y="332"/>
                  </a:cubicBezTo>
                  <a:cubicBezTo>
                    <a:pt x="80" y="335"/>
                    <a:pt x="80" y="335"/>
                    <a:pt x="80" y="335"/>
                  </a:cubicBezTo>
                  <a:cubicBezTo>
                    <a:pt x="80" y="335"/>
                    <a:pt x="86" y="340"/>
                    <a:pt x="87" y="341"/>
                  </a:cubicBezTo>
                  <a:cubicBezTo>
                    <a:pt x="88" y="342"/>
                    <a:pt x="100" y="347"/>
                    <a:pt x="100" y="347"/>
                  </a:cubicBezTo>
                  <a:cubicBezTo>
                    <a:pt x="108" y="354"/>
                    <a:pt x="108" y="354"/>
                    <a:pt x="108" y="354"/>
                  </a:cubicBezTo>
                  <a:cubicBezTo>
                    <a:pt x="120" y="354"/>
                    <a:pt x="120" y="354"/>
                    <a:pt x="120" y="354"/>
                  </a:cubicBezTo>
                  <a:cubicBezTo>
                    <a:pt x="128" y="356"/>
                    <a:pt x="128" y="356"/>
                    <a:pt x="128" y="356"/>
                  </a:cubicBezTo>
                  <a:cubicBezTo>
                    <a:pt x="132" y="351"/>
                    <a:pt x="132" y="351"/>
                    <a:pt x="132" y="351"/>
                  </a:cubicBezTo>
                  <a:cubicBezTo>
                    <a:pt x="132" y="351"/>
                    <a:pt x="152" y="360"/>
                    <a:pt x="153" y="360"/>
                  </a:cubicBezTo>
                  <a:cubicBezTo>
                    <a:pt x="153" y="360"/>
                    <a:pt x="154" y="363"/>
                    <a:pt x="154" y="365"/>
                  </a:cubicBezTo>
                  <a:cubicBezTo>
                    <a:pt x="154" y="365"/>
                    <a:pt x="154" y="365"/>
                    <a:pt x="154" y="365"/>
                  </a:cubicBezTo>
                  <a:cubicBezTo>
                    <a:pt x="154" y="366"/>
                    <a:pt x="154" y="366"/>
                    <a:pt x="154" y="366"/>
                  </a:cubicBezTo>
                  <a:cubicBezTo>
                    <a:pt x="154" y="366"/>
                    <a:pt x="154" y="366"/>
                    <a:pt x="154" y="366"/>
                  </a:cubicBezTo>
                  <a:cubicBezTo>
                    <a:pt x="154" y="366"/>
                    <a:pt x="154" y="366"/>
                    <a:pt x="154" y="366"/>
                  </a:cubicBezTo>
                  <a:cubicBezTo>
                    <a:pt x="155" y="368"/>
                    <a:pt x="155" y="368"/>
                    <a:pt x="155" y="368"/>
                  </a:cubicBezTo>
                  <a:cubicBezTo>
                    <a:pt x="154" y="368"/>
                    <a:pt x="154" y="368"/>
                    <a:pt x="154" y="368"/>
                  </a:cubicBezTo>
                  <a:cubicBezTo>
                    <a:pt x="154" y="368"/>
                    <a:pt x="154" y="368"/>
                    <a:pt x="154" y="368"/>
                  </a:cubicBezTo>
                  <a:cubicBezTo>
                    <a:pt x="154" y="368"/>
                    <a:pt x="153" y="369"/>
                    <a:pt x="154" y="369"/>
                  </a:cubicBezTo>
                  <a:cubicBezTo>
                    <a:pt x="154" y="369"/>
                    <a:pt x="154" y="369"/>
                    <a:pt x="154" y="369"/>
                  </a:cubicBezTo>
                  <a:cubicBezTo>
                    <a:pt x="154" y="369"/>
                    <a:pt x="154" y="369"/>
                    <a:pt x="154" y="369"/>
                  </a:cubicBezTo>
                  <a:cubicBezTo>
                    <a:pt x="154" y="369"/>
                    <a:pt x="154" y="369"/>
                    <a:pt x="154" y="369"/>
                  </a:cubicBezTo>
                  <a:cubicBezTo>
                    <a:pt x="154" y="370"/>
                    <a:pt x="154" y="370"/>
                    <a:pt x="154" y="370"/>
                  </a:cubicBezTo>
                  <a:cubicBezTo>
                    <a:pt x="154" y="370"/>
                    <a:pt x="154" y="370"/>
                    <a:pt x="154" y="370"/>
                  </a:cubicBezTo>
                  <a:cubicBezTo>
                    <a:pt x="154" y="371"/>
                    <a:pt x="154" y="371"/>
                    <a:pt x="154" y="371"/>
                  </a:cubicBezTo>
                  <a:cubicBezTo>
                    <a:pt x="154" y="371"/>
                    <a:pt x="155" y="371"/>
                    <a:pt x="155" y="371"/>
                  </a:cubicBezTo>
                  <a:cubicBezTo>
                    <a:pt x="155" y="371"/>
                    <a:pt x="156" y="372"/>
                    <a:pt x="156" y="372"/>
                  </a:cubicBezTo>
                  <a:cubicBezTo>
                    <a:pt x="156" y="372"/>
                    <a:pt x="157" y="372"/>
                    <a:pt x="157" y="372"/>
                  </a:cubicBezTo>
                  <a:cubicBezTo>
                    <a:pt x="157" y="372"/>
                    <a:pt x="157" y="372"/>
                    <a:pt x="157" y="372"/>
                  </a:cubicBezTo>
                  <a:cubicBezTo>
                    <a:pt x="157" y="372"/>
                    <a:pt x="157" y="372"/>
                    <a:pt x="157" y="372"/>
                  </a:cubicBezTo>
                  <a:cubicBezTo>
                    <a:pt x="158" y="372"/>
                    <a:pt x="158" y="372"/>
                    <a:pt x="158" y="372"/>
                  </a:cubicBezTo>
                  <a:cubicBezTo>
                    <a:pt x="158" y="372"/>
                    <a:pt x="158" y="371"/>
                    <a:pt x="158" y="371"/>
                  </a:cubicBezTo>
                  <a:cubicBezTo>
                    <a:pt x="158" y="371"/>
                    <a:pt x="158" y="371"/>
                    <a:pt x="158" y="371"/>
                  </a:cubicBezTo>
                  <a:cubicBezTo>
                    <a:pt x="169" y="373"/>
                    <a:pt x="169" y="373"/>
                    <a:pt x="169" y="373"/>
                  </a:cubicBezTo>
                  <a:cubicBezTo>
                    <a:pt x="171" y="374"/>
                    <a:pt x="171" y="376"/>
                    <a:pt x="174" y="377"/>
                  </a:cubicBezTo>
                  <a:cubicBezTo>
                    <a:pt x="180" y="375"/>
                    <a:pt x="180" y="375"/>
                    <a:pt x="180" y="375"/>
                  </a:cubicBezTo>
                  <a:cubicBezTo>
                    <a:pt x="188" y="381"/>
                    <a:pt x="188" y="381"/>
                    <a:pt x="188" y="381"/>
                  </a:cubicBezTo>
                  <a:cubicBezTo>
                    <a:pt x="195" y="378"/>
                    <a:pt x="195" y="378"/>
                    <a:pt x="195" y="378"/>
                  </a:cubicBezTo>
                  <a:cubicBezTo>
                    <a:pt x="203" y="378"/>
                    <a:pt x="203" y="378"/>
                    <a:pt x="203" y="378"/>
                  </a:cubicBezTo>
                  <a:cubicBezTo>
                    <a:pt x="203" y="377"/>
                    <a:pt x="206" y="377"/>
                    <a:pt x="208" y="378"/>
                  </a:cubicBezTo>
                  <a:cubicBezTo>
                    <a:pt x="208" y="378"/>
                    <a:pt x="208" y="378"/>
                    <a:pt x="208" y="378"/>
                  </a:cubicBezTo>
                  <a:cubicBezTo>
                    <a:pt x="209" y="375"/>
                    <a:pt x="209" y="375"/>
                    <a:pt x="209" y="375"/>
                  </a:cubicBezTo>
                  <a:cubicBezTo>
                    <a:pt x="209" y="375"/>
                    <a:pt x="209" y="371"/>
                    <a:pt x="208" y="370"/>
                  </a:cubicBezTo>
                  <a:cubicBezTo>
                    <a:pt x="208" y="369"/>
                    <a:pt x="206" y="368"/>
                    <a:pt x="206" y="368"/>
                  </a:cubicBezTo>
                  <a:cubicBezTo>
                    <a:pt x="206" y="368"/>
                    <a:pt x="207" y="365"/>
                    <a:pt x="207" y="364"/>
                  </a:cubicBezTo>
                  <a:cubicBezTo>
                    <a:pt x="207" y="362"/>
                    <a:pt x="207" y="359"/>
                    <a:pt x="207" y="359"/>
                  </a:cubicBezTo>
                  <a:cubicBezTo>
                    <a:pt x="207" y="358"/>
                    <a:pt x="207" y="355"/>
                    <a:pt x="208" y="354"/>
                  </a:cubicBezTo>
                  <a:cubicBezTo>
                    <a:pt x="208" y="354"/>
                    <a:pt x="207" y="354"/>
                    <a:pt x="208" y="352"/>
                  </a:cubicBezTo>
                  <a:cubicBezTo>
                    <a:pt x="210" y="350"/>
                    <a:pt x="210" y="349"/>
                    <a:pt x="210" y="349"/>
                  </a:cubicBezTo>
                  <a:cubicBezTo>
                    <a:pt x="213" y="344"/>
                    <a:pt x="213" y="344"/>
                    <a:pt x="213" y="344"/>
                  </a:cubicBezTo>
                  <a:cubicBezTo>
                    <a:pt x="213" y="344"/>
                    <a:pt x="215" y="341"/>
                    <a:pt x="216" y="341"/>
                  </a:cubicBezTo>
                  <a:cubicBezTo>
                    <a:pt x="217" y="341"/>
                    <a:pt x="220" y="340"/>
                    <a:pt x="221" y="340"/>
                  </a:cubicBezTo>
                  <a:cubicBezTo>
                    <a:pt x="222" y="340"/>
                    <a:pt x="225" y="343"/>
                    <a:pt x="227" y="340"/>
                  </a:cubicBezTo>
                  <a:cubicBezTo>
                    <a:pt x="228" y="338"/>
                    <a:pt x="229" y="336"/>
                    <a:pt x="229" y="335"/>
                  </a:cubicBezTo>
                  <a:cubicBezTo>
                    <a:pt x="230" y="334"/>
                    <a:pt x="231" y="332"/>
                    <a:pt x="233" y="332"/>
                  </a:cubicBezTo>
                  <a:cubicBezTo>
                    <a:pt x="235" y="332"/>
                    <a:pt x="241" y="331"/>
                    <a:pt x="241" y="331"/>
                  </a:cubicBezTo>
                  <a:cubicBezTo>
                    <a:pt x="244" y="332"/>
                    <a:pt x="244" y="332"/>
                    <a:pt x="244" y="332"/>
                  </a:cubicBezTo>
                  <a:cubicBezTo>
                    <a:pt x="250" y="335"/>
                    <a:pt x="250" y="335"/>
                    <a:pt x="250" y="335"/>
                  </a:cubicBezTo>
                  <a:cubicBezTo>
                    <a:pt x="250" y="335"/>
                    <a:pt x="253" y="335"/>
                    <a:pt x="254" y="335"/>
                  </a:cubicBezTo>
                  <a:cubicBezTo>
                    <a:pt x="255" y="335"/>
                    <a:pt x="256" y="335"/>
                    <a:pt x="256" y="335"/>
                  </a:cubicBezTo>
                  <a:cubicBezTo>
                    <a:pt x="258" y="338"/>
                    <a:pt x="258" y="338"/>
                    <a:pt x="258" y="338"/>
                  </a:cubicBezTo>
                  <a:cubicBezTo>
                    <a:pt x="258" y="338"/>
                    <a:pt x="261" y="339"/>
                    <a:pt x="262" y="339"/>
                  </a:cubicBezTo>
                  <a:cubicBezTo>
                    <a:pt x="263" y="339"/>
                    <a:pt x="269" y="338"/>
                    <a:pt x="269" y="338"/>
                  </a:cubicBezTo>
                  <a:cubicBezTo>
                    <a:pt x="269" y="338"/>
                    <a:pt x="272" y="337"/>
                    <a:pt x="272" y="338"/>
                  </a:cubicBezTo>
                  <a:cubicBezTo>
                    <a:pt x="273" y="338"/>
                    <a:pt x="276" y="340"/>
                    <a:pt x="276" y="340"/>
                  </a:cubicBezTo>
                  <a:cubicBezTo>
                    <a:pt x="276" y="341"/>
                    <a:pt x="283" y="344"/>
                    <a:pt x="284" y="345"/>
                  </a:cubicBezTo>
                  <a:cubicBezTo>
                    <a:pt x="285" y="346"/>
                    <a:pt x="288" y="345"/>
                    <a:pt x="288" y="345"/>
                  </a:cubicBezTo>
                  <a:cubicBezTo>
                    <a:pt x="290" y="349"/>
                    <a:pt x="290" y="349"/>
                    <a:pt x="290" y="349"/>
                  </a:cubicBezTo>
                  <a:cubicBezTo>
                    <a:pt x="298" y="351"/>
                    <a:pt x="298" y="351"/>
                    <a:pt x="298" y="351"/>
                  </a:cubicBezTo>
                  <a:cubicBezTo>
                    <a:pt x="302" y="351"/>
                    <a:pt x="302" y="351"/>
                    <a:pt x="302" y="351"/>
                  </a:cubicBezTo>
                  <a:cubicBezTo>
                    <a:pt x="313" y="356"/>
                    <a:pt x="313" y="356"/>
                    <a:pt x="313" y="356"/>
                  </a:cubicBezTo>
                  <a:cubicBezTo>
                    <a:pt x="320" y="350"/>
                    <a:pt x="320" y="350"/>
                    <a:pt x="320" y="350"/>
                  </a:cubicBezTo>
                  <a:cubicBezTo>
                    <a:pt x="320" y="350"/>
                    <a:pt x="322" y="350"/>
                    <a:pt x="323" y="350"/>
                  </a:cubicBezTo>
                  <a:cubicBezTo>
                    <a:pt x="323" y="351"/>
                    <a:pt x="325" y="344"/>
                    <a:pt x="325" y="344"/>
                  </a:cubicBezTo>
                  <a:cubicBezTo>
                    <a:pt x="325" y="344"/>
                    <a:pt x="324" y="343"/>
                    <a:pt x="326" y="343"/>
                  </a:cubicBezTo>
                  <a:cubicBezTo>
                    <a:pt x="327" y="343"/>
                    <a:pt x="333" y="341"/>
                    <a:pt x="333" y="340"/>
                  </a:cubicBezTo>
                  <a:cubicBezTo>
                    <a:pt x="333" y="339"/>
                    <a:pt x="332" y="336"/>
                    <a:pt x="334" y="335"/>
                  </a:cubicBezTo>
                  <a:cubicBezTo>
                    <a:pt x="336" y="335"/>
                    <a:pt x="339" y="332"/>
                    <a:pt x="339" y="332"/>
                  </a:cubicBezTo>
                  <a:cubicBezTo>
                    <a:pt x="340" y="331"/>
                    <a:pt x="339" y="330"/>
                    <a:pt x="341" y="329"/>
                  </a:cubicBezTo>
                  <a:cubicBezTo>
                    <a:pt x="342" y="329"/>
                    <a:pt x="345" y="328"/>
                    <a:pt x="346" y="328"/>
                  </a:cubicBezTo>
                  <a:cubicBezTo>
                    <a:pt x="346" y="328"/>
                    <a:pt x="346" y="328"/>
                    <a:pt x="346" y="328"/>
                  </a:cubicBezTo>
                  <a:cubicBezTo>
                    <a:pt x="347" y="328"/>
                    <a:pt x="347" y="328"/>
                    <a:pt x="347" y="328"/>
                  </a:cubicBezTo>
                  <a:cubicBezTo>
                    <a:pt x="347" y="328"/>
                    <a:pt x="347" y="328"/>
                    <a:pt x="347" y="328"/>
                  </a:cubicBezTo>
                  <a:cubicBezTo>
                    <a:pt x="347" y="328"/>
                    <a:pt x="347" y="328"/>
                    <a:pt x="347" y="328"/>
                  </a:cubicBezTo>
                  <a:cubicBezTo>
                    <a:pt x="347" y="328"/>
                    <a:pt x="347" y="328"/>
                    <a:pt x="347" y="328"/>
                  </a:cubicBezTo>
                  <a:cubicBezTo>
                    <a:pt x="347" y="328"/>
                    <a:pt x="347" y="328"/>
                    <a:pt x="347" y="327"/>
                  </a:cubicBezTo>
                  <a:cubicBezTo>
                    <a:pt x="347" y="327"/>
                    <a:pt x="347" y="327"/>
                    <a:pt x="347" y="327"/>
                  </a:cubicBezTo>
                  <a:cubicBezTo>
                    <a:pt x="347" y="327"/>
                    <a:pt x="347" y="327"/>
                    <a:pt x="347" y="327"/>
                  </a:cubicBezTo>
                  <a:cubicBezTo>
                    <a:pt x="347" y="327"/>
                    <a:pt x="347" y="327"/>
                    <a:pt x="347" y="327"/>
                  </a:cubicBezTo>
                  <a:cubicBezTo>
                    <a:pt x="348" y="327"/>
                    <a:pt x="348" y="327"/>
                    <a:pt x="348" y="327"/>
                  </a:cubicBezTo>
                  <a:cubicBezTo>
                    <a:pt x="348" y="327"/>
                    <a:pt x="348" y="327"/>
                    <a:pt x="348" y="327"/>
                  </a:cubicBezTo>
                  <a:cubicBezTo>
                    <a:pt x="348" y="327"/>
                    <a:pt x="348" y="327"/>
                    <a:pt x="348" y="327"/>
                  </a:cubicBezTo>
                  <a:cubicBezTo>
                    <a:pt x="348" y="327"/>
                    <a:pt x="348" y="327"/>
                    <a:pt x="348" y="327"/>
                  </a:cubicBezTo>
                  <a:cubicBezTo>
                    <a:pt x="348" y="327"/>
                    <a:pt x="349" y="327"/>
                    <a:pt x="349" y="327"/>
                  </a:cubicBezTo>
                  <a:cubicBezTo>
                    <a:pt x="349" y="327"/>
                    <a:pt x="349" y="327"/>
                    <a:pt x="349" y="327"/>
                  </a:cubicBezTo>
                  <a:cubicBezTo>
                    <a:pt x="349" y="327"/>
                    <a:pt x="349" y="327"/>
                    <a:pt x="349" y="327"/>
                  </a:cubicBezTo>
                  <a:cubicBezTo>
                    <a:pt x="349" y="327"/>
                    <a:pt x="349" y="327"/>
                    <a:pt x="349" y="327"/>
                  </a:cubicBezTo>
                  <a:cubicBezTo>
                    <a:pt x="349" y="327"/>
                    <a:pt x="349" y="327"/>
                    <a:pt x="349" y="327"/>
                  </a:cubicBezTo>
                  <a:cubicBezTo>
                    <a:pt x="349" y="327"/>
                    <a:pt x="349" y="327"/>
                    <a:pt x="349" y="327"/>
                  </a:cubicBezTo>
                  <a:cubicBezTo>
                    <a:pt x="349" y="327"/>
                    <a:pt x="349" y="327"/>
                    <a:pt x="349" y="327"/>
                  </a:cubicBezTo>
                  <a:cubicBezTo>
                    <a:pt x="349" y="326"/>
                    <a:pt x="349" y="326"/>
                    <a:pt x="349" y="326"/>
                  </a:cubicBezTo>
                  <a:cubicBezTo>
                    <a:pt x="349" y="326"/>
                    <a:pt x="349" y="326"/>
                    <a:pt x="349" y="326"/>
                  </a:cubicBezTo>
                  <a:cubicBezTo>
                    <a:pt x="349" y="326"/>
                    <a:pt x="349" y="326"/>
                    <a:pt x="349" y="326"/>
                  </a:cubicBezTo>
                  <a:cubicBezTo>
                    <a:pt x="349" y="326"/>
                    <a:pt x="349" y="326"/>
                    <a:pt x="349" y="326"/>
                  </a:cubicBezTo>
                  <a:cubicBezTo>
                    <a:pt x="350" y="326"/>
                    <a:pt x="350" y="326"/>
                    <a:pt x="350" y="326"/>
                  </a:cubicBezTo>
                  <a:cubicBezTo>
                    <a:pt x="350" y="326"/>
                    <a:pt x="350" y="326"/>
                    <a:pt x="350" y="326"/>
                  </a:cubicBezTo>
                  <a:cubicBezTo>
                    <a:pt x="350" y="326"/>
                    <a:pt x="350" y="326"/>
                    <a:pt x="350" y="326"/>
                  </a:cubicBezTo>
                  <a:cubicBezTo>
                    <a:pt x="350" y="326"/>
                    <a:pt x="350" y="326"/>
                    <a:pt x="350" y="326"/>
                  </a:cubicBezTo>
                  <a:cubicBezTo>
                    <a:pt x="350" y="326"/>
                    <a:pt x="350" y="326"/>
                    <a:pt x="350" y="326"/>
                  </a:cubicBezTo>
                  <a:cubicBezTo>
                    <a:pt x="350" y="326"/>
                    <a:pt x="350" y="326"/>
                    <a:pt x="350" y="326"/>
                  </a:cubicBezTo>
                  <a:cubicBezTo>
                    <a:pt x="350" y="326"/>
                    <a:pt x="350" y="326"/>
                    <a:pt x="350" y="326"/>
                  </a:cubicBezTo>
                  <a:cubicBezTo>
                    <a:pt x="350" y="326"/>
                    <a:pt x="350" y="326"/>
                    <a:pt x="350" y="326"/>
                  </a:cubicBezTo>
                  <a:cubicBezTo>
                    <a:pt x="350" y="326"/>
                    <a:pt x="350" y="326"/>
                    <a:pt x="350" y="326"/>
                  </a:cubicBezTo>
                  <a:cubicBezTo>
                    <a:pt x="351" y="326"/>
                    <a:pt x="351" y="326"/>
                    <a:pt x="351" y="326"/>
                  </a:cubicBezTo>
                  <a:cubicBezTo>
                    <a:pt x="351" y="326"/>
                    <a:pt x="351" y="326"/>
                    <a:pt x="351" y="326"/>
                  </a:cubicBezTo>
                  <a:cubicBezTo>
                    <a:pt x="351" y="326"/>
                    <a:pt x="351" y="326"/>
                    <a:pt x="351" y="326"/>
                  </a:cubicBezTo>
                  <a:cubicBezTo>
                    <a:pt x="351" y="326"/>
                    <a:pt x="351" y="326"/>
                    <a:pt x="351" y="326"/>
                  </a:cubicBezTo>
                  <a:cubicBezTo>
                    <a:pt x="351" y="326"/>
                    <a:pt x="351" y="326"/>
                    <a:pt x="351" y="326"/>
                  </a:cubicBezTo>
                  <a:cubicBezTo>
                    <a:pt x="352" y="325"/>
                    <a:pt x="352" y="325"/>
                    <a:pt x="352" y="325"/>
                  </a:cubicBezTo>
                  <a:cubicBezTo>
                    <a:pt x="357" y="321"/>
                    <a:pt x="357" y="321"/>
                    <a:pt x="357" y="321"/>
                  </a:cubicBezTo>
                  <a:cubicBezTo>
                    <a:pt x="359" y="312"/>
                    <a:pt x="359" y="312"/>
                    <a:pt x="359" y="312"/>
                  </a:cubicBezTo>
                  <a:cubicBezTo>
                    <a:pt x="356" y="309"/>
                    <a:pt x="356" y="309"/>
                    <a:pt x="356" y="309"/>
                  </a:cubicBezTo>
                  <a:cubicBezTo>
                    <a:pt x="349" y="310"/>
                    <a:pt x="349" y="310"/>
                    <a:pt x="349" y="310"/>
                  </a:cubicBezTo>
                  <a:cubicBezTo>
                    <a:pt x="341" y="306"/>
                    <a:pt x="341" y="306"/>
                    <a:pt x="341" y="306"/>
                  </a:cubicBezTo>
                  <a:cubicBezTo>
                    <a:pt x="337" y="300"/>
                    <a:pt x="337" y="300"/>
                    <a:pt x="337" y="300"/>
                  </a:cubicBezTo>
                  <a:cubicBezTo>
                    <a:pt x="334" y="300"/>
                    <a:pt x="334" y="300"/>
                    <a:pt x="334" y="300"/>
                  </a:cubicBezTo>
                  <a:cubicBezTo>
                    <a:pt x="334" y="294"/>
                    <a:pt x="332" y="297"/>
                    <a:pt x="335" y="293"/>
                  </a:cubicBezTo>
                  <a:cubicBezTo>
                    <a:pt x="338" y="288"/>
                    <a:pt x="338" y="288"/>
                    <a:pt x="338" y="288"/>
                  </a:cubicBezTo>
                  <a:cubicBezTo>
                    <a:pt x="338" y="280"/>
                    <a:pt x="338" y="280"/>
                    <a:pt x="338" y="280"/>
                  </a:cubicBezTo>
                  <a:cubicBezTo>
                    <a:pt x="335" y="277"/>
                    <a:pt x="335" y="277"/>
                    <a:pt x="335" y="277"/>
                  </a:cubicBezTo>
                  <a:cubicBezTo>
                    <a:pt x="331" y="276"/>
                    <a:pt x="331" y="276"/>
                    <a:pt x="331" y="276"/>
                  </a:cubicBezTo>
                  <a:cubicBezTo>
                    <a:pt x="331" y="276"/>
                    <a:pt x="328" y="272"/>
                    <a:pt x="328" y="271"/>
                  </a:cubicBezTo>
                  <a:cubicBezTo>
                    <a:pt x="328" y="271"/>
                    <a:pt x="328" y="270"/>
                    <a:pt x="328" y="269"/>
                  </a:cubicBezTo>
                  <a:cubicBezTo>
                    <a:pt x="327" y="269"/>
                    <a:pt x="330" y="269"/>
                    <a:pt x="331" y="269"/>
                  </a:cubicBezTo>
                  <a:cubicBezTo>
                    <a:pt x="331" y="269"/>
                    <a:pt x="334" y="268"/>
                    <a:pt x="334" y="268"/>
                  </a:cubicBezTo>
                  <a:cubicBezTo>
                    <a:pt x="335" y="268"/>
                    <a:pt x="338" y="265"/>
                    <a:pt x="338" y="265"/>
                  </a:cubicBezTo>
                  <a:cubicBezTo>
                    <a:pt x="338" y="265"/>
                    <a:pt x="340" y="262"/>
                    <a:pt x="342" y="261"/>
                  </a:cubicBezTo>
                  <a:cubicBezTo>
                    <a:pt x="343" y="260"/>
                    <a:pt x="344" y="253"/>
                    <a:pt x="344" y="253"/>
                  </a:cubicBezTo>
                  <a:cubicBezTo>
                    <a:pt x="344" y="252"/>
                    <a:pt x="342" y="249"/>
                    <a:pt x="342" y="249"/>
                  </a:cubicBezTo>
                  <a:cubicBezTo>
                    <a:pt x="335" y="245"/>
                    <a:pt x="336" y="244"/>
                    <a:pt x="332" y="242"/>
                  </a:cubicBezTo>
                  <a:cubicBezTo>
                    <a:pt x="332" y="238"/>
                    <a:pt x="332" y="238"/>
                    <a:pt x="332" y="238"/>
                  </a:cubicBezTo>
                  <a:cubicBezTo>
                    <a:pt x="337" y="235"/>
                    <a:pt x="337" y="235"/>
                    <a:pt x="337" y="235"/>
                  </a:cubicBezTo>
                  <a:cubicBezTo>
                    <a:pt x="338" y="234"/>
                    <a:pt x="339" y="234"/>
                    <a:pt x="340" y="233"/>
                  </a:cubicBezTo>
                  <a:cubicBezTo>
                    <a:pt x="340" y="232"/>
                    <a:pt x="340" y="232"/>
                    <a:pt x="340" y="232"/>
                  </a:cubicBezTo>
                  <a:cubicBezTo>
                    <a:pt x="340" y="232"/>
                    <a:pt x="339" y="230"/>
                    <a:pt x="339" y="230"/>
                  </a:cubicBezTo>
                  <a:cubicBezTo>
                    <a:pt x="339" y="230"/>
                    <a:pt x="338" y="229"/>
                    <a:pt x="338" y="229"/>
                  </a:cubicBezTo>
                  <a:cubicBezTo>
                    <a:pt x="337" y="229"/>
                    <a:pt x="337" y="228"/>
                    <a:pt x="337" y="228"/>
                  </a:cubicBezTo>
                  <a:cubicBezTo>
                    <a:pt x="337" y="228"/>
                    <a:pt x="336" y="228"/>
                    <a:pt x="335" y="228"/>
                  </a:cubicBezTo>
                  <a:cubicBezTo>
                    <a:pt x="335" y="228"/>
                    <a:pt x="336" y="226"/>
                    <a:pt x="336" y="226"/>
                  </a:cubicBezTo>
                  <a:cubicBezTo>
                    <a:pt x="336" y="226"/>
                    <a:pt x="336" y="224"/>
                    <a:pt x="336" y="224"/>
                  </a:cubicBezTo>
                  <a:cubicBezTo>
                    <a:pt x="336" y="224"/>
                    <a:pt x="334" y="224"/>
                    <a:pt x="333" y="223"/>
                  </a:cubicBezTo>
                  <a:cubicBezTo>
                    <a:pt x="333" y="223"/>
                    <a:pt x="333" y="223"/>
                    <a:pt x="333" y="223"/>
                  </a:cubicBezTo>
                  <a:cubicBezTo>
                    <a:pt x="333" y="223"/>
                    <a:pt x="333" y="221"/>
                    <a:pt x="334" y="220"/>
                  </a:cubicBezTo>
                  <a:cubicBezTo>
                    <a:pt x="335" y="220"/>
                    <a:pt x="334" y="219"/>
                    <a:pt x="334" y="219"/>
                  </a:cubicBezTo>
                  <a:cubicBezTo>
                    <a:pt x="334" y="219"/>
                    <a:pt x="334" y="218"/>
                    <a:pt x="335" y="217"/>
                  </a:cubicBezTo>
                  <a:cubicBezTo>
                    <a:pt x="335" y="216"/>
                    <a:pt x="335" y="216"/>
                    <a:pt x="335" y="216"/>
                  </a:cubicBezTo>
                  <a:cubicBezTo>
                    <a:pt x="335" y="216"/>
                    <a:pt x="333" y="215"/>
                    <a:pt x="333" y="215"/>
                  </a:cubicBezTo>
                  <a:cubicBezTo>
                    <a:pt x="332" y="215"/>
                    <a:pt x="332" y="215"/>
                    <a:pt x="333" y="214"/>
                  </a:cubicBezTo>
                  <a:cubicBezTo>
                    <a:pt x="334" y="213"/>
                    <a:pt x="334" y="213"/>
                    <a:pt x="334" y="213"/>
                  </a:cubicBezTo>
                  <a:cubicBezTo>
                    <a:pt x="334" y="211"/>
                    <a:pt x="334" y="211"/>
                    <a:pt x="334" y="211"/>
                  </a:cubicBezTo>
                  <a:cubicBezTo>
                    <a:pt x="332" y="211"/>
                    <a:pt x="332" y="211"/>
                    <a:pt x="332" y="211"/>
                  </a:cubicBezTo>
                  <a:cubicBezTo>
                    <a:pt x="330" y="210"/>
                    <a:pt x="330" y="210"/>
                    <a:pt x="330" y="210"/>
                  </a:cubicBezTo>
                  <a:cubicBezTo>
                    <a:pt x="330" y="210"/>
                    <a:pt x="327" y="210"/>
                    <a:pt x="327" y="210"/>
                  </a:cubicBezTo>
                  <a:cubicBezTo>
                    <a:pt x="327" y="210"/>
                    <a:pt x="325" y="210"/>
                    <a:pt x="325" y="210"/>
                  </a:cubicBezTo>
                  <a:cubicBezTo>
                    <a:pt x="323" y="210"/>
                    <a:pt x="323" y="210"/>
                    <a:pt x="323" y="210"/>
                  </a:cubicBezTo>
                  <a:cubicBezTo>
                    <a:pt x="322" y="211"/>
                    <a:pt x="322" y="211"/>
                    <a:pt x="322" y="211"/>
                  </a:cubicBezTo>
                  <a:cubicBezTo>
                    <a:pt x="320" y="212"/>
                    <a:pt x="320" y="212"/>
                    <a:pt x="320" y="212"/>
                  </a:cubicBezTo>
                  <a:cubicBezTo>
                    <a:pt x="318" y="212"/>
                    <a:pt x="318" y="212"/>
                    <a:pt x="318" y="212"/>
                  </a:cubicBezTo>
                  <a:cubicBezTo>
                    <a:pt x="318" y="212"/>
                    <a:pt x="317" y="214"/>
                    <a:pt x="316" y="214"/>
                  </a:cubicBezTo>
                  <a:cubicBezTo>
                    <a:pt x="316" y="215"/>
                    <a:pt x="316" y="216"/>
                    <a:pt x="316" y="216"/>
                  </a:cubicBezTo>
                  <a:cubicBezTo>
                    <a:pt x="317" y="217"/>
                    <a:pt x="317" y="217"/>
                    <a:pt x="317" y="217"/>
                  </a:cubicBezTo>
                  <a:cubicBezTo>
                    <a:pt x="317" y="218"/>
                    <a:pt x="317" y="218"/>
                    <a:pt x="317" y="218"/>
                  </a:cubicBezTo>
                  <a:cubicBezTo>
                    <a:pt x="318" y="218"/>
                    <a:pt x="318" y="218"/>
                    <a:pt x="318" y="218"/>
                  </a:cubicBezTo>
                  <a:cubicBezTo>
                    <a:pt x="318" y="219"/>
                    <a:pt x="318" y="219"/>
                    <a:pt x="318" y="219"/>
                  </a:cubicBezTo>
                  <a:cubicBezTo>
                    <a:pt x="318" y="219"/>
                    <a:pt x="316" y="220"/>
                    <a:pt x="316" y="221"/>
                  </a:cubicBezTo>
                  <a:cubicBezTo>
                    <a:pt x="315" y="221"/>
                    <a:pt x="315" y="222"/>
                    <a:pt x="315" y="222"/>
                  </a:cubicBezTo>
                  <a:cubicBezTo>
                    <a:pt x="313" y="223"/>
                    <a:pt x="313" y="223"/>
                    <a:pt x="313" y="223"/>
                  </a:cubicBezTo>
                  <a:cubicBezTo>
                    <a:pt x="311" y="222"/>
                    <a:pt x="311" y="222"/>
                    <a:pt x="311" y="222"/>
                  </a:cubicBezTo>
                  <a:cubicBezTo>
                    <a:pt x="310" y="223"/>
                    <a:pt x="310" y="223"/>
                    <a:pt x="310" y="223"/>
                  </a:cubicBezTo>
                  <a:cubicBezTo>
                    <a:pt x="309" y="223"/>
                    <a:pt x="309" y="223"/>
                    <a:pt x="309" y="223"/>
                  </a:cubicBezTo>
                  <a:cubicBezTo>
                    <a:pt x="309" y="221"/>
                    <a:pt x="309" y="221"/>
                    <a:pt x="309" y="221"/>
                  </a:cubicBezTo>
                  <a:cubicBezTo>
                    <a:pt x="308" y="221"/>
                    <a:pt x="308" y="221"/>
                    <a:pt x="308" y="221"/>
                  </a:cubicBezTo>
                  <a:cubicBezTo>
                    <a:pt x="308" y="220"/>
                    <a:pt x="308" y="220"/>
                    <a:pt x="308" y="220"/>
                  </a:cubicBezTo>
                  <a:cubicBezTo>
                    <a:pt x="308" y="220"/>
                    <a:pt x="309" y="219"/>
                    <a:pt x="310" y="219"/>
                  </a:cubicBezTo>
                  <a:cubicBezTo>
                    <a:pt x="310" y="219"/>
                    <a:pt x="311" y="218"/>
                    <a:pt x="311" y="218"/>
                  </a:cubicBezTo>
                  <a:cubicBezTo>
                    <a:pt x="313" y="218"/>
                    <a:pt x="313" y="218"/>
                    <a:pt x="313" y="218"/>
                  </a:cubicBezTo>
                  <a:cubicBezTo>
                    <a:pt x="313" y="217"/>
                    <a:pt x="313" y="217"/>
                    <a:pt x="313" y="217"/>
                  </a:cubicBezTo>
                  <a:cubicBezTo>
                    <a:pt x="313" y="215"/>
                    <a:pt x="313" y="215"/>
                    <a:pt x="313" y="215"/>
                  </a:cubicBezTo>
                  <a:cubicBezTo>
                    <a:pt x="314" y="213"/>
                    <a:pt x="314" y="213"/>
                    <a:pt x="314" y="213"/>
                  </a:cubicBezTo>
                  <a:cubicBezTo>
                    <a:pt x="313" y="212"/>
                    <a:pt x="313" y="212"/>
                    <a:pt x="313" y="212"/>
                  </a:cubicBezTo>
                  <a:cubicBezTo>
                    <a:pt x="312" y="211"/>
                    <a:pt x="312" y="211"/>
                    <a:pt x="312" y="211"/>
                  </a:cubicBezTo>
                  <a:cubicBezTo>
                    <a:pt x="312" y="210"/>
                    <a:pt x="312" y="210"/>
                    <a:pt x="312" y="210"/>
                  </a:cubicBezTo>
                  <a:cubicBezTo>
                    <a:pt x="312" y="208"/>
                    <a:pt x="312" y="208"/>
                    <a:pt x="312" y="208"/>
                  </a:cubicBezTo>
                  <a:cubicBezTo>
                    <a:pt x="312" y="207"/>
                    <a:pt x="312" y="207"/>
                    <a:pt x="312" y="207"/>
                  </a:cubicBezTo>
                  <a:cubicBezTo>
                    <a:pt x="312" y="207"/>
                    <a:pt x="313" y="207"/>
                    <a:pt x="313" y="206"/>
                  </a:cubicBezTo>
                  <a:cubicBezTo>
                    <a:pt x="314" y="206"/>
                    <a:pt x="314" y="205"/>
                    <a:pt x="314" y="204"/>
                  </a:cubicBezTo>
                  <a:cubicBezTo>
                    <a:pt x="314" y="204"/>
                    <a:pt x="313" y="204"/>
                    <a:pt x="313" y="204"/>
                  </a:cubicBezTo>
                  <a:cubicBezTo>
                    <a:pt x="316" y="201"/>
                    <a:pt x="316" y="201"/>
                    <a:pt x="316" y="201"/>
                  </a:cubicBezTo>
                  <a:cubicBezTo>
                    <a:pt x="319" y="199"/>
                    <a:pt x="319" y="199"/>
                    <a:pt x="319" y="199"/>
                  </a:cubicBezTo>
                  <a:cubicBezTo>
                    <a:pt x="319" y="199"/>
                    <a:pt x="320" y="198"/>
                    <a:pt x="320" y="198"/>
                  </a:cubicBezTo>
                  <a:cubicBezTo>
                    <a:pt x="320" y="198"/>
                    <a:pt x="322" y="198"/>
                    <a:pt x="322" y="198"/>
                  </a:cubicBezTo>
                  <a:cubicBezTo>
                    <a:pt x="322" y="198"/>
                    <a:pt x="322" y="197"/>
                    <a:pt x="323" y="197"/>
                  </a:cubicBezTo>
                  <a:cubicBezTo>
                    <a:pt x="323" y="197"/>
                    <a:pt x="323" y="196"/>
                    <a:pt x="323" y="196"/>
                  </a:cubicBezTo>
                  <a:cubicBezTo>
                    <a:pt x="323" y="196"/>
                    <a:pt x="323" y="195"/>
                    <a:pt x="323" y="195"/>
                  </a:cubicBezTo>
                  <a:cubicBezTo>
                    <a:pt x="323" y="195"/>
                    <a:pt x="323" y="194"/>
                    <a:pt x="323" y="194"/>
                  </a:cubicBezTo>
                  <a:cubicBezTo>
                    <a:pt x="323" y="194"/>
                    <a:pt x="323" y="193"/>
                    <a:pt x="323" y="193"/>
                  </a:cubicBezTo>
                  <a:cubicBezTo>
                    <a:pt x="323" y="193"/>
                    <a:pt x="324" y="192"/>
                    <a:pt x="324" y="192"/>
                  </a:cubicBezTo>
                  <a:cubicBezTo>
                    <a:pt x="324" y="191"/>
                    <a:pt x="324" y="191"/>
                    <a:pt x="324" y="191"/>
                  </a:cubicBezTo>
                  <a:cubicBezTo>
                    <a:pt x="324" y="191"/>
                    <a:pt x="323" y="190"/>
                    <a:pt x="323" y="189"/>
                  </a:cubicBezTo>
                  <a:cubicBezTo>
                    <a:pt x="323" y="189"/>
                    <a:pt x="323" y="189"/>
                    <a:pt x="323" y="188"/>
                  </a:cubicBezTo>
                  <a:cubicBezTo>
                    <a:pt x="324" y="188"/>
                    <a:pt x="324" y="187"/>
                    <a:pt x="324" y="187"/>
                  </a:cubicBezTo>
                  <a:cubicBezTo>
                    <a:pt x="326" y="187"/>
                    <a:pt x="326" y="187"/>
                    <a:pt x="326" y="187"/>
                  </a:cubicBezTo>
                  <a:cubicBezTo>
                    <a:pt x="326" y="187"/>
                    <a:pt x="327" y="187"/>
                    <a:pt x="328" y="187"/>
                  </a:cubicBezTo>
                  <a:cubicBezTo>
                    <a:pt x="328" y="186"/>
                    <a:pt x="329" y="186"/>
                    <a:pt x="329" y="186"/>
                  </a:cubicBezTo>
                  <a:cubicBezTo>
                    <a:pt x="330" y="185"/>
                    <a:pt x="330" y="185"/>
                    <a:pt x="330" y="185"/>
                  </a:cubicBezTo>
                  <a:cubicBezTo>
                    <a:pt x="331" y="184"/>
                    <a:pt x="331" y="184"/>
                    <a:pt x="331" y="184"/>
                  </a:cubicBezTo>
                  <a:cubicBezTo>
                    <a:pt x="331" y="183"/>
                    <a:pt x="331" y="183"/>
                    <a:pt x="331" y="183"/>
                  </a:cubicBezTo>
                  <a:cubicBezTo>
                    <a:pt x="331" y="182"/>
                    <a:pt x="331" y="182"/>
                    <a:pt x="331" y="182"/>
                  </a:cubicBezTo>
                  <a:cubicBezTo>
                    <a:pt x="333" y="181"/>
                    <a:pt x="333" y="181"/>
                    <a:pt x="333" y="181"/>
                  </a:cubicBezTo>
                  <a:cubicBezTo>
                    <a:pt x="333" y="180"/>
                    <a:pt x="333" y="180"/>
                    <a:pt x="333" y="180"/>
                  </a:cubicBezTo>
                  <a:cubicBezTo>
                    <a:pt x="334" y="180"/>
                    <a:pt x="334" y="180"/>
                    <a:pt x="334" y="180"/>
                  </a:cubicBezTo>
                  <a:cubicBezTo>
                    <a:pt x="335" y="179"/>
                    <a:pt x="335" y="179"/>
                    <a:pt x="335" y="179"/>
                  </a:cubicBezTo>
                  <a:cubicBezTo>
                    <a:pt x="336" y="178"/>
                    <a:pt x="336" y="178"/>
                    <a:pt x="336" y="178"/>
                  </a:cubicBezTo>
                  <a:cubicBezTo>
                    <a:pt x="337" y="177"/>
                    <a:pt x="337" y="177"/>
                    <a:pt x="337" y="177"/>
                  </a:cubicBezTo>
                  <a:cubicBezTo>
                    <a:pt x="337" y="177"/>
                    <a:pt x="339" y="175"/>
                    <a:pt x="339" y="175"/>
                  </a:cubicBezTo>
                  <a:cubicBezTo>
                    <a:pt x="339" y="174"/>
                    <a:pt x="339" y="174"/>
                    <a:pt x="339" y="173"/>
                  </a:cubicBezTo>
                  <a:cubicBezTo>
                    <a:pt x="339" y="173"/>
                    <a:pt x="340" y="173"/>
                    <a:pt x="340" y="172"/>
                  </a:cubicBezTo>
                  <a:cubicBezTo>
                    <a:pt x="341" y="172"/>
                    <a:pt x="341" y="171"/>
                    <a:pt x="341" y="171"/>
                  </a:cubicBezTo>
                  <a:cubicBezTo>
                    <a:pt x="342" y="171"/>
                    <a:pt x="342" y="171"/>
                    <a:pt x="342" y="171"/>
                  </a:cubicBezTo>
                  <a:cubicBezTo>
                    <a:pt x="342" y="170"/>
                    <a:pt x="342" y="170"/>
                    <a:pt x="342" y="170"/>
                  </a:cubicBezTo>
                  <a:cubicBezTo>
                    <a:pt x="342" y="169"/>
                    <a:pt x="342" y="169"/>
                    <a:pt x="342" y="169"/>
                  </a:cubicBezTo>
                  <a:cubicBezTo>
                    <a:pt x="342" y="169"/>
                    <a:pt x="340" y="170"/>
                    <a:pt x="340" y="170"/>
                  </a:cubicBezTo>
                  <a:cubicBezTo>
                    <a:pt x="340" y="170"/>
                    <a:pt x="339" y="170"/>
                    <a:pt x="339" y="170"/>
                  </a:cubicBezTo>
                  <a:cubicBezTo>
                    <a:pt x="338" y="170"/>
                    <a:pt x="337" y="170"/>
                    <a:pt x="337" y="170"/>
                  </a:cubicBezTo>
                  <a:cubicBezTo>
                    <a:pt x="336" y="169"/>
                    <a:pt x="337" y="169"/>
                    <a:pt x="337" y="169"/>
                  </a:cubicBezTo>
                  <a:cubicBezTo>
                    <a:pt x="337" y="169"/>
                    <a:pt x="338" y="169"/>
                    <a:pt x="338" y="168"/>
                  </a:cubicBezTo>
                  <a:cubicBezTo>
                    <a:pt x="338" y="168"/>
                    <a:pt x="338" y="167"/>
                    <a:pt x="338" y="167"/>
                  </a:cubicBezTo>
                  <a:cubicBezTo>
                    <a:pt x="339" y="167"/>
                    <a:pt x="339" y="167"/>
                    <a:pt x="339" y="167"/>
                  </a:cubicBezTo>
                  <a:cubicBezTo>
                    <a:pt x="340" y="166"/>
                    <a:pt x="340" y="166"/>
                    <a:pt x="340" y="166"/>
                  </a:cubicBezTo>
                  <a:cubicBezTo>
                    <a:pt x="340" y="166"/>
                    <a:pt x="340" y="166"/>
                    <a:pt x="341" y="166"/>
                  </a:cubicBezTo>
                  <a:cubicBezTo>
                    <a:pt x="341" y="166"/>
                    <a:pt x="340" y="165"/>
                    <a:pt x="340" y="165"/>
                  </a:cubicBezTo>
                  <a:cubicBezTo>
                    <a:pt x="340" y="164"/>
                    <a:pt x="340" y="164"/>
                    <a:pt x="340" y="164"/>
                  </a:cubicBezTo>
                  <a:cubicBezTo>
                    <a:pt x="342" y="164"/>
                    <a:pt x="342" y="164"/>
                    <a:pt x="342" y="164"/>
                  </a:cubicBezTo>
                  <a:cubicBezTo>
                    <a:pt x="344" y="164"/>
                    <a:pt x="344" y="164"/>
                    <a:pt x="344" y="164"/>
                  </a:cubicBezTo>
                  <a:cubicBezTo>
                    <a:pt x="345" y="164"/>
                    <a:pt x="345" y="164"/>
                    <a:pt x="345" y="164"/>
                  </a:cubicBezTo>
                  <a:cubicBezTo>
                    <a:pt x="345" y="164"/>
                    <a:pt x="346" y="165"/>
                    <a:pt x="346" y="165"/>
                  </a:cubicBezTo>
                  <a:cubicBezTo>
                    <a:pt x="345" y="166"/>
                    <a:pt x="346" y="166"/>
                    <a:pt x="346" y="166"/>
                  </a:cubicBezTo>
                  <a:cubicBezTo>
                    <a:pt x="346" y="167"/>
                    <a:pt x="348" y="167"/>
                    <a:pt x="348" y="167"/>
                  </a:cubicBezTo>
                  <a:cubicBezTo>
                    <a:pt x="348" y="167"/>
                    <a:pt x="348" y="167"/>
                    <a:pt x="349" y="167"/>
                  </a:cubicBezTo>
                  <a:cubicBezTo>
                    <a:pt x="349" y="167"/>
                    <a:pt x="350" y="167"/>
                    <a:pt x="350" y="167"/>
                  </a:cubicBezTo>
                  <a:cubicBezTo>
                    <a:pt x="350" y="167"/>
                    <a:pt x="351" y="167"/>
                    <a:pt x="351" y="167"/>
                  </a:cubicBezTo>
                  <a:cubicBezTo>
                    <a:pt x="351" y="167"/>
                    <a:pt x="352" y="166"/>
                    <a:pt x="353" y="166"/>
                  </a:cubicBezTo>
                  <a:cubicBezTo>
                    <a:pt x="353" y="166"/>
                    <a:pt x="353" y="166"/>
                    <a:pt x="353" y="166"/>
                  </a:cubicBezTo>
                  <a:cubicBezTo>
                    <a:pt x="353" y="166"/>
                    <a:pt x="353" y="165"/>
                    <a:pt x="353" y="165"/>
                  </a:cubicBezTo>
                  <a:cubicBezTo>
                    <a:pt x="353" y="165"/>
                    <a:pt x="354" y="164"/>
                    <a:pt x="354" y="164"/>
                  </a:cubicBezTo>
                  <a:cubicBezTo>
                    <a:pt x="354" y="164"/>
                    <a:pt x="355" y="164"/>
                    <a:pt x="355" y="164"/>
                  </a:cubicBezTo>
                  <a:cubicBezTo>
                    <a:pt x="355" y="164"/>
                    <a:pt x="355" y="164"/>
                    <a:pt x="355" y="163"/>
                  </a:cubicBezTo>
                  <a:cubicBezTo>
                    <a:pt x="355" y="163"/>
                    <a:pt x="356" y="163"/>
                    <a:pt x="356" y="162"/>
                  </a:cubicBezTo>
                  <a:cubicBezTo>
                    <a:pt x="356" y="162"/>
                    <a:pt x="355" y="162"/>
                    <a:pt x="355" y="162"/>
                  </a:cubicBezTo>
                  <a:cubicBezTo>
                    <a:pt x="355" y="162"/>
                    <a:pt x="356" y="162"/>
                    <a:pt x="356" y="162"/>
                  </a:cubicBezTo>
                  <a:cubicBezTo>
                    <a:pt x="356" y="161"/>
                    <a:pt x="356" y="161"/>
                    <a:pt x="356" y="161"/>
                  </a:cubicBezTo>
                  <a:cubicBezTo>
                    <a:pt x="356" y="161"/>
                    <a:pt x="358" y="160"/>
                    <a:pt x="358" y="160"/>
                  </a:cubicBezTo>
                  <a:cubicBezTo>
                    <a:pt x="358" y="160"/>
                    <a:pt x="358" y="160"/>
                    <a:pt x="358" y="160"/>
                  </a:cubicBezTo>
                  <a:cubicBezTo>
                    <a:pt x="360" y="159"/>
                    <a:pt x="360" y="159"/>
                    <a:pt x="360" y="159"/>
                  </a:cubicBezTo>
                  <a:cubicBezTo>
                    <a:pt x="360" y="159"/>
                    <a:pt x="360" y="160"/>
                    <a:pt x="360" y="160"/>
                  </a:cubicBezTo>
                  <a:cubicBezTo>
                    <a:pt x="359" y="158"/>
                    <a:pt x="356" y="155"/>
                    <a:pt x="356" y="155"/>
                  </a:cubicBezTo>
                  <a:cubicBezTo>
                    <a:pt x="357" y="151"/>
                    <a:pt x="357" y="151"/>
                    <a:pt x="357" y="151"/>
                  </a:cubicBezTo>
                  <a:cubicBezTo>
                    <a:pt x="357" y="151"/>
                    <a:pt x="359" y="145"/>
                    <a:pt x="359" y="144"/>
                  </a:cubicBezTo>
                  <a:cubicBezTo>
                    <a:pt x="359" y="143"/>
                    <a:pt x="358" y="139"/>
                    <a:pt x="358" y="139"/>
                  </a:cubicBezTo>
                  <a:cubicBezTo>
                    <a:pt x="358" y="139"/>
                    <a:pt x="356" y="138"/>
                    <a:pt x="358" y="135"/>
                  </a:cubicBezTo>
                  <a:cubicBezTo>
                    <a:pt x="360" y="132"/>
                    <a:pt x="362" y="128"/>
                    <a:pt x="362" y="128"/>
                  </a:cubicBezTo>
                  <a:cubicBezTo>
                    <a:pt x="363" y="120"/>
                    <a:pt x="363" y="120"/>
                    <a:pt x="363" y="120"/>
                  </a:cubicBezTo>
                  <a:cubicBezTo>
                    <a:pt x="363" y="120"/>
                    <a:pt x="360" y="118"/>
                    <a:pt x="363" y="116"/>
                  </a:cubicBezTo>
                  <a:cubicBezTo>
                    <a:pt x="366" y="114"/>
                    <a:pt x="372" y="106"/>
                    <a:pt x="372" y="106"/>
                  </a:cubicBezTo>
                  <a:cubicBezTo>
                    <a:pt x="378" y="100"/>
                    <a:pt x="378" y="100"/>
                    <a:pt x="378" y="100"/>
                  </a:cubicBezTo>
                  <a:cubicBezTo>
                    <a:pt x="368" y="97"/>
                    <a:pt x="368" y="97"/>
                    <a:pt x="368" y="97"/>
                  </a:cubicBezTo>
                  <a:lnTo>
                    <a:pt x="362" y="97"/>
                  </a:lnTo>
                  <a:close/>
                  <a:moveTo>
                    <a:pt x="157" y="372"/>
                  </a:moveTo>
                  <a:cubicBezTo>
                    <a:pt x="157" y="372"/>
                    <a:pt x="157" y="372"/>
                    <a:pt x="157" y="372"/>
                  </a:cubicBezTo>
                  <a:cubicBezTo>
                    <a:pt x="157" y="372"/>
                    <a:pt x="157" y="372"/>
                    <a:pt x="157" y="372"/>
                  </a:cubicBezTo>
                  <a:close/>
                  <a:moveTo>
                    <a:pt x="158" y="371"/>
                  </a:moveTo>
                  <a:cubicBezTo>
                    <a:pt x="158" y="371"/>
                    <a:pt x="158" y="371"/>
                    <a:pt x="158" y="371"/>
                  </a:cubicBezTo>
                  <a:cubicBezTo>
                    <a:pt x="158" y="371"/>
                    <a:pt x="158" y="371"/>
                    <a:pt x="158" y="371"/>
                  </a:cubicBezTo>
                  <a:cubicBezTo>
                    <a:pt x="158" y="371"/>
                    <a:pt x="158" y="371"/>
                    <a:pt x="158" y="371"/>
                  </a:cubicBezTo>
                  <a:cubicBezTo>
                    <a:pt x="158" y="371"/>
                    <a:pt x="158" y="371"/>
                    <a:pt x="158" y="371"/>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Freeform 73"/>
            <p:cNvSpPr>
              <a:spLocks/>
            </p:cNvSpPr>
            <p:nvPr/>
          </p:nvSpPr>
          <p:spPr bwMode="auto">
            <a:xfrm>
              <a:off x="5316549" y="5089513"/>
              <a:ext cx="89537" cy="196070"/>
            </a:xfrm>
            <a:custGeom>
              <a:avLst/>
              <a:gdLst>
                <a:gd name="T0" fmla="*/ 31 w 31"/>
                <a:gd name="T1" fmla="*/ 35 h 72"/>
                <a:gd name="T2" fmla="*/ 28 w 31"/>
                <a:gd name="T3" fmla="*/ 30 h 72"/>
                <a:gd name="T4" fmla="*/ 30 w 31"/>
                <a:gd name="T5" fmla="*/ 21 h 72"/>
                <a:gd name="T6" fmla="*/ 29 w 31"/>
                <a:gd name="T7" fmla="*/ 19 h 72"/>
                <a:gd name="T8" fmla="*/ 28 w 31"/>
                <a:gd name="T9" fmla="*/ 17 h 72"/>
                <a:gd name="T10" fmla="*/ 27 w 31"/>
                <a:gd name="T11" fmla="*/ 10 h 72"/>
                <a:gd name="T12" fmla="*/ 27 w 31"/>
                <a:gd name="T13" fmla="*/ 0 h 72"/>
                <a:gd name="T14" fmla="*/ 22 w 31"/>
                <a:gd name="T15" fmla="*/ 1 h 72"/>
                <a:gd name="T16" fmla="*/ 23 w 31"/>
                <a:gd name="T17" fmla="*/ 5 h 72"/>
                <a:gd name="T18" fmla="*/ 22 w 31"/>
                <a:gd name="T19" fmla="*/ 13 h 72"/>
                <a:gd name="T20" fmla="*/ 18 w 31"/>
                <a:gd name="T21" fmla="*/ 14 h 72"/>
                <a:gd name="T22" fmla="*/ 16 w 31"/>
                <a:gd name="T23" fmla="*/ 14 h 72"/>
                <a:gd name="T24" fmla="*/ 14 w 31"/>
                <a:gd name="T25" fmla="*/ 17 h 72"/>
                <a:gd name="T26" fmla="*/ 10 w 31"/>
                <a:gd name="T27" fmla="*/ 18 h 72"/>
                <a:gd name="T28" fmla="*/ 6 w 31"/>
                <a:gd name="T29" fmla="*/ 20 h 72"/>
                <a:gd name="T30" fmla="*/ 3 w 31"/>
                <a:gd name="T31" fmla="*/ 25 h 72"/>
                <a:gd name="T32" fmla="*/ 0 w 31"/>
                <a:gd name="T33" fmla="*/ 27 h 72"/>
                <a:gd name="T34" fmla="*/ 2 w 31"/>
                <a:gd name="T35" fmla="*/ 30 h 72"/>
                <a:gd name="T36" fmla="*/ 0 w 31"/>
                <a:gd name="T37" fmla="*/ 41 h 72"/>
                <a:gd name="T38" fmla="*/ 3 w 31"/>
                <a:gd name="T39" fmla="*/ 40 h 72"/>
                <a:gd name="T40" fmla="*/ 3 w 31"/>
                <a:gd name="T41" fmla="*/ 45 h 72"/>
                <a:gd name="T42" fmla="*/ 1 w 31"/>
                <a:gd name="T43" fmla="*/ 48 h 72"/>
                <a:gd name="T44" fmla="*/ 4 w 31"/>
                <a:gd name="T45" fmla="*/ 50 h 72"/>
                <a:gd name="T46" fmla="*/ 6 w 31"/>
                <a:gd name="T47" fmla="*/ 50 h 72"/>
                <a:gd name="T48" fmla="*/ 4 w 31"/>
                <a:gd name="T49" fmla="*/ 55 h 72"/>
                <a:gd name="T50" fmla="*/ 4 w 31"/>
                <a:gd name="T51" fmla="*/ 57 h 72"/>
                <a:gd name="T52" fmla="*/ 9 w 31"/>
                <a:gd name="T53" fmla="*/ 59 h 72"/>
                <a:gd name="T54" fmla="*/ 7 w 31"/>
                <a:gd name="T55" fmla="*/ 61 h 72"/>
                <a:gd name="T56" fmla="*/ 6 w 31"/>
                <a:gd name="T57" fmla="*/ 64 h 72"/>
                <a:gd name="T58" fmla="*/ 10 w 31"/>
                <a:gd name="T59" fmla="*/ 66 h 72"/>
                <a:gd name="T60" fmla="*/ 12 w 31"/>
                <a:gd name="T61" fmla="*/ 68 h 72"/>
                <a:gd name="T62" fmla="*/ 16 w 31"/>
                <a:gd name="T63" fmla="*/ 71 h 72"/>
                <a:gd name="T64" fmla="*/ 20 w 31"/>
                <a:gd name="T65" fmla="*/ 72 h 72"/>
                <a:gd name="T66" fmla="*/ 22 w 31"/>
                <a:gd name="T67" fmla="*/ 68 h 72"/>
                <a:gd name="T68" fmla="*/ 23 w 31"/>
                <a:gd name="T69" fmla="*/ 61 h 72"/>
                <a:gd name="T70" fmla="*/ 25 w 31"/>
                <a:gd name="T71" fmla="*/ 55 h 72"/>
                <a:gd name="T72" fmla="*/ 26 w 31"/>
                <a:gd name="T73" fmla="*/ 51 h 72"/>
                <a:gd name="T74" fmla="*/ 24 w 31"/>
                <a:gd name="T75" fmla="*/ 46 h 72"/>
                <a:gd name="T76" fmla="*/ 25 w 31"/>
                <a:gd name="T77" fmla="*/ 45 h 72"/>
                <a:gd name="T78" fmla="*/ 28 w 31"/>
                <a:gd name="T79" fmla="*/ 42 h 72"/>
                <a:gd name="T80" fmla="*/ 30 w 31"/>
                <a:gd name="T81" fmla="*/ 39 h 72"/>
                <a:gd name="T82" fmla="*/ 31 w 31"/>
                <a:gd name="T83" fmla="*/ 3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 h="72">
                  <a:moveTo>
                    <a:pt x="31" y="35"/>
                  </a:moveTo>
                  <a:cubicBezTo>
                    <a:pt x="30" y="34"/>
                    <a:pt x="28" y="30"/>
                    <a:pt x="28" y="30"/>
                  </a:cubicBezTo>
                  <a:cubicBezTo>
                    <a:pt x="30" y="21"/>
                    <a:pt x="30" y="21"/>
                    <a:pt x="30" y="21"/>
                  </a:cubicBezTo>
                  <a:cubicBezTo>
                    <a:pt x="29" y="19"/>
                    <a:pt x="29" y="19"/>
                    <a:pt x="29" y="19"/>
                  </a:cubicBezTo>
                  <a:cubicBezTo>
                    <a:pt x="28" y="17"/>
                    <a:pt x="28" y="17"/>
                    <a:pt x="28" y="17"/>
                  </a:cubicBezTo>
                  <a:cubicBezTo>
                    <a:pt x="27" y="10"/>
                    <a:pt x="27" y="10"/>
                    <a:pt x="27" y="10"/>
                  </a:cubicBezTo>
                  <a:cubicBezTo>
                    <a:pt x="27" y="0"/>
                    <a:pt x="27" y="0"/>
                    <a:pt x="27" y="0"/>
                  </a:cubicBezTo>
                  <a:cubicBezTo>
                    <a:pt x="22" y="1"/>
                    <a:pt x="22" y="1"/>
                    <a:pt x="22" y="1"/>
                  </a:cubicBezTo>
                  <a:cubicBezTo>
                    <a:pt x="23" y="5"/>
                    <a:pt x="23" y="5"/>
                    <a:pt x="23" y="5"/>
                  </a:cubicBezTo>
                  <a:cubicBezTo>
                    <a:pt x="22" y="13"/>
                    <a:pt x="22" y="13"/>
                    <a:pt x="22" y="13"/>
                  </a:cubicBezTo>
                  <a:cubicBezTo>
                    <a:pt x="18" y="14"/>
                    <a:pt x="18" y="14"/>
                    <a:pt x="18" y="14"/>
                  </a:cubicBezTo>
                  <a:cubicBezTo>
                    <a:pt x="16" y="14"/>
                    <a:pt x="16" y="14"/>
                    <a:pt x="16" y="14"/>
                  </a:cubicBezTo>
                  <a:cubicBezTo>
                    <a:pt x="14" y="17"/>
                    <a:pt x="14" y="17"/>
                    <a:pt x="14" y="17"/>
                  </a:cubicBezTo>
                  <a:cubicBezTo>
                    <a:pt x="10" y="18"/>
                    <a:pt x="10" y="18"/>
                    <a:pt x="10" y="18"/>
                  </a:cubicBezTo>
                  <a:cubicBezTo>
                    <a:pt x="6" y="20"/>
                    <a:pt x="6" y="20"/>
                    <a:pt x="6" y="20"/>
                  </a:cubicBezTo>
                  <a:cubicBezTo>
                    <a:pt x="3" y="25"/>
                    <a:pt x="3" y="25"/>
                    <a:pt x="3" y="25"/>
                  </a:cubicBezTo>
                  <a:cubicBezTo>
                    <a:pt x="0" y="27"/>
                    <a:pt x="0" y="27"/>
                    <a:pt x="0" y="27"/>
                  </a:cubicBezTo>
                  <a:cubicBezTo>
                    <a:pt x="0" y="27"/>
                    <a:pt x="1" y="28"/>
                    <a:pt x="2" y="30"/>
                  </a:cubicBezTo>
                  <a:cubicBezTo>
                    <a:pt x="3" y="33"/>
                    <a:pt x="0" y="41"/>
                    <a:pt x="0" y="41"/>
                  </a:cubicBezTo>
                  <a:cubicBezTo>
                    <a:pt x="3" y="40"/>
                    <a:pt x="3" y="40"/>
                    <a:pt x="3" y="40"/>
                  </a:cubicBezTo>
                  <a:cubicBezTo>
                    <a:pt x="3" y="45"/>
                    <a:pt x="3" y="45"/>
                    <a:pt x="3" y="45"/>
                  </a:cubicBezTo>
                  <a:cubicBezTo>
                    <a:pt x="1" y="48"/>
                    <a:pt x="1" y="48"/>
                    <a:pt x="1" y="48"/>
                  </a:cubicBezTo>
                  <a:cubicBezTo>
                    <a:pt x="4" y="50"/>
                    <a:pt x="4" y="50"/>
                    <a:pt x="4" y="50"/>
                  </a:cubicBezTo>
                  <a:cubicBezTo>
                    <a:pt x="6" y="50"/>
                    <a:pt x="6" y="50"/>
                    <a:pt x="6" y="50"/>
                  </a:cubicBezTo>
                  <a:cubicBezTo>
                    <a:pt x="4" y="55"/>
                    <a:pt x="4" y="55"/>
                    <a:pt x="4" y="55"/>
                  </a:cubicBezTo>
                  <a:cubicBezTo>
                    <a:pt x="4" y="57"/>
                    <a:pt x="4" y="57"/>
                    <a:pt x="4" y="57"/>
                  </a:cubicBezTo>
                  <a:cubicBezTo>
                    <a:pt x="9" y="59"/>
                    <a:pt x="9" y="59"/>
                    <a:pt x="9" y="59"/>
                  </a:cubicBezTo>
                  <a:cubicBezTo>
                    <a:pt x="7" y="61"/>
                    <a:pt x="7" y="61"/>
                    <a:pt x="7" y="61"/>
                  </a:cubicBezTo>
                  <a:cubicBezTo>
                    <a:pt x="6" y="64"/>
                    <a:pt x="6" y="64"/>
                    <a:pt x="6" y="64"/>
                  </a:cubicBezTo>
                  <a:cubicBezTo>
                    <a:pt x="10" y="66"/>
                    <a:pt x="10" y="66"/>
                    <a:pt x="10" y="66"/>
                  </a:cubicBezTo>
                  <a:cubicBezTo>
                    <a:pt x="12" y="68"/>
                    <a:pt x="12" y="68"/>
                    <a:pt x="12" y="68"/>
                  </a:cubicBezTo>
                  <a:cubicBezTo>
                    <a:pt x="12" y="68"/>
                    <a:pt x="14" y="71"/>
                    <a:pt x="16" y="71"/>
                  </a:cubicBezTo>
                  <a:cubicBezTo>
                    <a:pt x="17" y="71"/>
                    <a:pt x="20" y="72"/>
                    <a:pt x="20" y="72"/>
                  </a:cubicBezTo>
                  <a:cubicBezTo>
                    <a:pt x="20" y="72"/>
                    <a:pt x="21" y="70"/>
                    <a:pt x="22" y="68"/>
                  </a:cubicBezTo>
                  <a:cubicBezTo>
                    <a:pt x="22" y="65"/>
                    <a:pt x="19" y="62"/>
                    <a:pt x="23" y="61"/>
                  </a:cubicBezTo>
                  <a:cubicBezTo>
                    <a:pt x="28" y="60"/>
                    <a:pt x="25" y="55"/>
                    <a:pt x="25" y="55"/>
                  </a:cubicBezTo>
                  <a:cubicBezTo>
                    <a:pt x="26" y="51"/>
                    <a:pt x="26" y="51"/>
                    <a:pt x="26" y="51"/>
                  </a:cubicBezTo>
                  <a:cubicBezTo>
                    <a:pt x="24" y="46"/>
                    <a:pt x="24" y="46"/>
                    <a:pt x="24" y="46"/>
                  </a:cubicBezTo>
                  <a:cubicBezTo>
                    <a:pt x="25" y="45"/>
                    <a:pt x="25" y="45"/>
                    <a:pt x="25" y="45"/>
                  </a:cubicBezTo>
                  <a:cubicBezTo>
                    <a:pt x="28" y="42"/>
                    <a:pt x="28" y="42"/>
                    <a:pt x="28" y="42"/>
                  </a:cubicBezTo>
                  <a:cubicBezTo>
                    <a:pt x="30" y="39"/>
                    <a:pt x="30" y="39"/>
                    <a:pt x="30" y="39"/>
                  </a:cubicBezTo>
                  <a:cubicBezTo>
                    <a:pt x="30" y="39"/>
                    <a:pt x="31" y="37"/>
                    <a:pt x="31" y="35"/>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 name="Freeform 74"/>
            <p:cNvSpPr>
              <a:spLocks noEditPoints="1"/>
            </p:cNvSpPr>
            <p:nvPr/>
          </p:nvSpPr>
          <p:spPr bwMode="auto">
            <a:xfrm>
              <a:off x="6258132" y="1377795"/>
              <a:ext cx="3445733" cy="3277368"/>
            </a:xfrm>
            <a:custGeom>
              <a:avLst/>
              <a:gdLst>
                <a:gd name="T0" fmla="*/ 317 w 1189"/>
                <a:gd name="T1" fmla="*/ 847 h 1199"/>
                <a:gd name="T2" fmla="*/ 272 w 1189"/>
                <a:gd name="T3" fmla="*/ 852 h 1199"/>
                <a:gd name="T4" fmla="*/ 289 w 1189"/>
                <a:gd name="T5" fmla="*/ 813 h 1199"/>
                <a:gd name="T6" fmla="*/ 239 w 1189"/>
                <a:gd name="T7" fmla="*/ 779 h 1199"/>
                <a:gd name="T8" fmla="*/ 214 w 1189"/>
                <a:gd name="T9" fmla="*/ 734 h 1199"/>
                <a:gd name="T10" fmla="*/ 158 w 1189"/>
                <a:gd name="T11" fmla="*/ 729 h 1199"/>
                <a:gd name="T12" fmla="*/ 128 w 1189"/>
                <a:gd name="T13" fmla="*/ 703 h 1199"/>
                <a:gd name="T14" fmla="*/ 120 w 1189"/>
                <a:gd name="T15" fmla="*/ 659 h 1199"/>
                <a:gd name="T16" fmla="*/ 104 w 1189"/>
                <a:gd name="T17" fmla="*/ 592 h 1199"/>
                <a:gd name="T18" fmla="*/ 149 w 1189"/>
                <a:gd name="T19" fmla="*/ 559 h 1199"/>
                <a:gd name="T20" fmla="*/ 98 w 1189"/>
                <a:gd name="T21" fmla="*/ 539 h 1199"/>
                <a:gd name="T22" fmla="*/ 129 w 1189"/>
                <a:gd name="T23" fmla="*/ 448 h 1199"/>
                <a:gd name="T24" fmla="*/ 81 w 1189"/>
                <a:gd name="T25" fmla="*/ 368 h 1199"/>
                <a:gd name="T26" fmla="*/ 61 w 1189"/>
                <a:gd name="T27" fmla="*/ 307 h 1199"/>
                <a:gd name="T28" fmla="*/ 9 w 1189"/>
                <a:gd name="T29" fmla="*/ 218 h 1199"/>
                <a:gd name="T30" fmla="*/ 0 w 1189"/>
                <a:gd name="T31" fmla="*/ 190 h 1199"/>
                <a:gd name="T32" fmla="*/ 0 w 1189"/>
                <a:gd name="T33" fmla="*/ 190 h 1199"/>
                <a:gd name="T34" fmla="*/ 1 w 1189"/>
                <a:gd name="T35" fmla="*/ 189 h 1199"/>
                <a:gd name="T36" fmla="*/ 2 w 1189"/>
                <a:gd name="T37" fmla="*/ 188 h 1199"/>
                <a:gd name="T38" fmla="*/ 6 w 1189"/>
                <a:gd name="T39" fmla="*/ 183 h 1199"/>
                <a:gd name="T40" fmla="*/ 38 w 1189"/>
                <a:gd name="T41" fmla="*/ 134 h 1199"/>
                <a:gd name="T42" fmla="*/ 45 w 1189"/>
                <a:gd name="T43" fmla="*/ 141 h 1199"/>
                <a:gd name="T44" fmla="*/ 74 w 1189"/>
                <a:gd name="T45" fmla="*/ 147 h 1199"/>
                <a:gd name="T46" fmla="*/ 157 w 1189"/>
                <a:gd name="T47" fmla="*/ 156 h 1199"/>
                <a:gd name="T48" fmla="*/ 208 w 1189"/>
                <a:gd name="T49" fmla="*/ 166 h 1199"/>
                <a:gd name="T50" fmla="*/ 226 w 1189"/>
                <a:gd name="T51" fmla="*/ 225 h 1199"/>
                <a:gd name="T52" fmla="*/ 129 w 1189"/>
                <a:gd name="T53" fmla="*/ 257 h 1199"/>
                <a:gd name="T54" fmla="*/ 88 w 1189"/>
                <a:gd name="T55" fmla="*/ 249 h 1199"/>
                <a:gd name="T56" fmla="*/ 121 w 1189"/>
                <a:gd name="T57" fmla="*/ 273 h 1199"/>
                <a:gd name="T58" fmla="*/ 152 w 1189"/>
                <a:gd name="T59" fmla="*/ 311 h 1199"/>
                <a:gd name="T60" fmla="*/ 186 w 1189"/>
                <a:gd name="T61" fmla="*/ 339 h 1199"/>
                <a:gd name="T62" fmla="*/ 232 w 1189"/>
                <a:gd name="T63" fmla="*/ 334 h 1199"/>
                <a:gd name="T64" fmla="*/ 192 w 1189"/>
                <a:gd name="T65" fmla="*/ 305 h 1199"/>
                <a:gd name="T66" fmla="*/ 259 w 1189"/>
                <a:gd name="T67" fmla="*/ 297 h 1199"/>
                <a:gd name="T68" fmla="*/ 253 w 1189"/>
                <a:gd name="T69" fmla="*/ 203 h 1199"/>
                <a:gd name="T70" fmla="*/ 282 w 1189"/>
                <a:gd name="T71" fmla="*/ 171 h 1199"/>
                <a:gd name="T72" fmla="*/ 227 w 1189"/>
                <a:gd name="T73" fmla="*/ 109 h 1199"/>
                <a:gd name="T74" fmla="*/ 282 w 1189"/>
                <a:gd name="T75" fmla="*/ 126 h 1199"/>
                <a:gd name="T76" fmla="*/ 327 w 1189"/>
                <a:gd name="T77" fmla="*/ 143 h 1199"/>
                <a:gd name="T78" fmla="*/ 338 w 1189"/>
                <a:gd name="T79" fmla="*/ 68 h 1199"/>
                <a:gd name="T80" fmla="*/ 360 w 1189"/>
                <a:gd name="T81" fmla="*/ 13 h 1199"/>
                <a:gd name="T82" fmla="*/ 1162 w 1189"/>
                <a:gd name="T83" fmla="*/ 672 h 1199"/>
                <a:gd name="T84" fmla="*/ 1002 w 1189"/>
                <a:gd name="T85" fmla="*/ 761 h 1199"/>
                <a:gd name="T86" fmla="*/ 825 w 1189"/>
                <a:gd name="T87" fmla="*/ 816 h 1199"/>
                <a:gd name="T88" fmla="*/ 895 w 1189"/>
                <a:gd name="T89" fmla="*/ 958 h 1199"/>
                <a:gd name="T90" fmla="*/ 954 w 1189"/>
                <a:gd name="T91" fmla="*/ 1173 h 1199"/>
                <a:gd name="T92" fmla="*/ 899 w 1189"/>
                <a:gd name="T93" fmla="*/ 1164 h 1199"/>
                <a:gd name="T94" fmla="*/ 888 w 1189"/>
                <a:gd name="T95" fmla="*/ 1194 h 1199"/>
                <a:gd name="T96" fmla="*/ 853 w 1189"/>
                <a:gd name="T97" fmla="*/ 1166 h 1199"/>
                <a:gd name="T98" fmla="*/ 794 w 1189"/>
                <a:gd name="T99" fmla="*/ 1161 h 1199"/>
                <a:gd name="T100" fmla="*/ 739 w 1189"/>
                <a:gd name="T101" fmla="*/ 1153 h 1199"/>
                <a:gd name="T102" fmla="*/ 723 w 1189"/>
                <a:gd name="T103" fmla="*/ 1155 h 1199"/>
                <a:gd name="T104" fmla="*/ 722 w 1189"/>
                <a:gd name="T105" fmla="*/ 1155 h 1199"/>
                <a:gd name="T106" fmla="*/ 710 w 1189"/>
                <a:gd name="T107" fmla="*/ 1156 h 1199"/>
                <a:gd name="T108" fmla="*/ 557 w 1189"/>
                <a:gd name="T109" fmla="*/ 1135 h 1199"/>
                <a:gd name="T110" fmla="*/ 522 w 1189"/>
                <a:gd name="T111" fmla="*/ 1046 h 1199"/>
                <a:gd name="T112" fmla="*/ 521 w 1189"/>
                <a:gd name="T113" fmla="*/ 990 h 1199"/>
                <a:gd name="T114" fmla="*/ 533 w 1189"/>
                <a:gd name="T115" fmla="*/ 920 h 1199"/>
                <a:gd name="T116" fmla="*/ 477 w 1189"/>
                <a:gd name="T117" fmla="*/ 894 h 1199"/>
                <a:gd name="T118" fmla="*/ 418 w 1189"/>
                <a:gd name="T119" fmla="*/ 903 h 1199"/>
                <a:gd name="T120" fmla="*/ 307 w 1189"/>
                <a:gd name="T121" fmla="*/ 57 h 1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89" h="1199">
                  <a:moveTo>
                    <a:pt x="369" y="880"/>
                  </a:moveTo>
                  <a:cubicBezTo>
                    <a:pt x="363" y="882"/>
                    <a:pt x="363" y="882"/>
                    <a:pt x="363" y="882"/>
                  </a:cubicBezTo>
                  <a:cubicBezTo>
                    <a:pt x="363" y="882"/>
                    <a:pt x="359" y="886"/>
                    <a:pt x="359" y="884"/>
                  </a:cubicBezTo>
                  <a:cubicBezTo>
                    <a:pt x="359" y="883"/>
                    <a:pt x="360" y="879"/>
                    <a:pt x="360" y="878"/>
                  </a:cubicBezTo>
                  <a:cubicBezTo>
                    <a:pt x="359" y="877"/>
                    <a:pt x="355" y="880"/>
                    <a:pt x="356" y="876"/>
                  </a:cubicBezTo>
                  <a:cubicBezTo>
                    <a:pt x="357" y="875"/>
                    <a:pt x="356" y="872"/>
                    <a:pt x="355" y="872"/>
                  </a:cubicBezTo>
                  <a:cubicBezTo>
                    <a:pt x="354" y="870"/>
                    <a:pt x="349" y="870"/>
                    <a:pt x="351" y="866"/>
                  </a:cubicBezTo>
                  <a:cubicBezTo>
                    <a:pt x="352" y="864"/>
                    <a:pt x="356" y="863"/>
                    <a:pt x="356" y="863"/>
                  </a:cubicBezTo>
                  <a:cubicBezTo>
                    <a:pt x="356" y="861"/>
                    <a:pt x="356" y="861"/>
                    <a:pt x="356" y="861"/>
                  </a:cubicBezTo>
                  <a:cubicBezTo>
                    <a:pt x="353" y="858"/>
                    <a:pt x="353" y="858"/>
                    <a:pt x="353" y="858"/>
                  </a:cubicBezTo>
                  <a:cubicBezTo>
                    <a:pt x="344" y="854"/>
                    <a:pt x="344" y="854"/>
                    <a:pt x="344" y="854"/>
                  </a:cubicBezTo>
                  <a:cubicBezTo>
                    <a:pt x="344" y="854"/>
                    <a:pt x="343" y="849"/>
                    <a:pt x="342" y="849"/>
                  </a:cubicBezTo>
                  <a:cubicBezTo>
                    <a:pt x="341" y="849"/>
                    <a:pt x="338" y="846"/>
                    <a:pt x="338" y="846"/>
                  </a:cubicBezTo>
                  <a:cubicBezTo>
                    <a:pt x="338" y="846"/>
                    <a:pt x="336" y="843"/>
                    <a:pt x="333" y="841"/>
                  </a:cubicBezTo>
                  <a:cubicBezTo>
                    <a:pt x="330" y="840"/>
                    <a:pt x="327" y="848"/>
                    <a:pt x="327" y="848"/>
                  </a:cubicBezTo>
                  <a:cubicBezTo>
                    <a:pt x="324" y="845"/>
                    <a:pt x="324" y="845"/>
                    <a:pt x="324" y="845"/>
                  </a:cubicBezTo>
                  <a:cubicBezTo>
                    <a:pt x="317" y="847"/>
                    <a:pt x="317" y="847"/>
                    <a:pt x="317" y="847"/>
                  </a:cubicBezTo>
                  <a:cubicBezTo>
                    <a:pt x="313" y="854"/>
                    <a:pt x="313" y="854"/>
                    <a:pt x="313" y="854"/>
                  </a:cubicBezTo>
                  <a:cubicBezTo>
                    <a:pt x="309" y="855"/>
                    <a:pt x="309" y="855"/>
                    <a:pt x="309" y="855"/>
                  </a:cubicBezTo>
                  <a:cubicBezTo>
                    <a:pt x="305" y="855"/>
                    <a:pt x="305" y="855"/>
                    <a:pt x="305" y="855"/>
                  </a:cubicBezTo>
                  <a:cubicBezTo>
                    <a:pt x="298" y="857"/>
                    <a:pt x="298" y="857"/>
                    <a:pt x="298" y="857"/>
                  </a:cubicBezTo>
                  <a:cubicBezTo>
                    <a:pt x="295" y="862"/>
                    <a:pt x="295" y="862"/>
                    <a:pt x="295" y="862"/>
                  </a:cubicBezTo>
                  <a:cubicBezTo>
                    <a:pt x="296" y="867"/>
                    <a:pt x="296" y="867"/>
                    <a:pt x="296" y="867"/>
                  </a:cubicBezTo>
                  <a:cubicBezTo>
                    <a:pt x="292" y="870"/>
                    <a:pt x="292" y="870"/>
                    <a:pt x="292" y="870"/>
                  </a:cubicBezTo>
                  <a:cubicBezTo>
                    <a:pt x="283" y="869"/>
                    <a:pt x="283" y="869"/>
                    <a:pt x="283" y="869"/>
                  </a:cubicBezTo>
                  <a:cubicBezTo>
                    <a:pt x="285" y="869"/>
                    <a:pt x="285" y="869"/>
                    <a:pt x="285" y="869"/>
                  </a:cubicBezTo>
                  <a:cubicBezTo>
                    <a:pt x="279" y="866"/>
                    <a:pt x="279" y="866"/>
                    <a:pt x="279" y="866"/>
                  </a:cubicBezTo>
                  <a:cubicBezTo>
                    <a:pt x="279" y="863"/>
                    <a:pt x="279" y="863"/>
                    <a:pt x="279" y="863"/>
                  </a:cubicBezTo>
                  <a:cubicBezTo>
                    <a:pt x="276" y="864"/>
                    <a:pt x="276" y="864"/>
                    <a:pt x="276" y="864"/>
                  </a:cubicBezTo>
                  <a:cubicBezTo>
                    <a:pt x="274" y="863"/>
                    <a:pt x="274" y="863"/>
                    <a:pt x="274" y="863"/>
                  </a:cubicBezTo>
                  <a:cubicBezTo>
                    <a:pt x="275" y="861"/>
                    <a:pt x="275" y="861"/>
                    <a:pt x="275" y="861"/>
                  </a:cubicBezTo>
                  <a:cubicBezTo>
                    <a:pt x="274" y="859"/>
                    <a:pt x="274" y="859"/>
                    <a:pt x="274" y="859"/>
                  </a:cubicBezTo>
                  <a:cubicBezTo>
                    <a:pt x="271" y="854"/>
                    <a:pt x="271" y="854"/>
                    <a:pt x="271" y="854"/>
                  </a:cubicBezTo>
                  <a:cubicBezTo>
                    <a:pt x="272" y="852"/>
                    <a:pt x="272" y="852"/>
                    <a:pt x="272" y="852"/>
                  </a:cubicBezTo>
                  <a:cubicBezTo>
                    <a:pt x="270" y="851"/>
                    <a:pt x="270" y="851"/>
                    <a:pt x="270" y="851"/>
                  </a:cubicBezTo>
                  <a:cubicBezTo>
                    <a:pt x="268" y="849"/>
                    <a:pt x="268" y="849"/>
                    <a:pt x="268" y="849"/>
                  </a:cubicBezTo>
                  <a:cubicBezTo>
                    <a:pt x="269" y="846"/>
                    <a:pt x="269" y="846"/>
                    <a:pt x="269" y="846"/>
                  </a:cubicBezTo>
                  <a:cubicBezTo>
                    <a:pt x="268" y="843"/>
                    <a:pt x="268" y="843"/>
                    <a:pt x="268" y="843"/>
                  </a:cubicBezTo>
                  <a:cubicBezTo>
                    <a:pt x="265" y="841"/>
                    <a:pt x="265" y="841"/>
                    <a:pt x="265" y="841"/>
                  </a:cubicBezTo>
                  <a:cubicBezTo>
                    <a:pt x="261" y="839"/>
                    <a:pt x="261" y="839"/>
                    <a:pt x="261" y="839"/>
                  </a:cubicBezTo>
                  <a:cubicBezTo>
                    <a:pt x="258" y="837"/>
                    <a:pt x="258" y="837"/>
                    <a:pt x="258" y="837"/>
                  </a:cubicBezTo>
                  <a:cubicBezTo>
                    <a:pt x="258" y="835"/>
                    <a:pt x="258" y="835"/>
                    <a:pt x="258" y="835"/>
                  </a:cubicBezTo>
                  <a:cubicBezTo>
                    <a:pt x="259" y="829"/>
                    <a:pt x="259" y="829"/>
                    <a:pt x="259" y="829"/>
                  </a:cubicBezTo>
                  <a:cubicBezTo>
                    <a:pt x="259" y="829"/>
                    <a:pt x="260" y="828"/>
                    <a:pt x="263" y="827"/>
                  </a:cubicBezTo>
                  <a:cubicBezTo>
                    <a:pt x="266" y="826"/>
                    <a:pt x="266" y="827"/>
                    <a:pt x="266" y="827"/>
                  </a:cubicBezTo>
                  <a:cubicBezTo>
                    <a:pt x="272" y="828"/>
                    <a:pt x="272" y="828"/>
                    <a:pt x="272" y="828"/>
                  </a:cubicBezTo>
                  <a:cubicBezTo>
                    <a:pt x="277" y="826"/>
                    <a:pt x="277" y="826"/>
                    <a:pt x="277" y="826"/>
                  </a:cubicBezTo>
                  <a:cubicBezTo>
                    <a:pt x="277" y="826"/>
                    <a:pt x="283" y="822"/>
                    <a:pt x="284" y="821"/>
                  </a:cubicBezTo>
                  <a:cubicBezTo>
                    <a:pt x="285" y="820"/>
                    <a:pt x="283" y="816"/>
                    <a:pt x="283" y="816"/>
                  </a:cubicBezTo>
                  <a:cubicBezTo>
                    <a:pt x="287" y="815"/>
                    <a:pt x="287" y="815"/>
                    <a:pt x="287" y="815"/>
                  </a:cubicBezTo>
                  <a:cubicBezTo>
                    <a:pt x="289" y="813"/>
                    <a:pt x="289" y="813"/>
                    <a:pt x="289" y="813"/>
                  </a:cubicBezTo>
                  <a:cubicBezTo>
                    <a:pt x="288" y="808"/>
                    <a:pt x="288" y="808"/>
                    <a:pt x="288" y="808"/>
                  </a:cubicBezTo>
                  <a:cubicBezTo>
                    <a:pt x="285" y="807"/>
                    <a:pt x="285" y="807"/>
                    <a:pt x="285" y="807"/>
                  </a:cubicBezTo>
                  <a:cubicBezTo>
                    <a:pt x="282" y="805"/>
                    <a:pt x="282" y="805"/>
                    <a:pt x="282" y="805"/>
                  </a:cubicBezTo>
                  <a:cubicBezTo>
                    <a:pt x="278" y="803"/>
                    <a:pt x="278" y="803"/>
                    <a:pt x="278" y="803"/>
                  </a:cubicBezTo>
                  <a:cubicBezTo>
                    <a:pt x="279" y="799"/>
                    <a:pt x="279" y="799"/>
                    <a:pt x="279" y="799"/>
                  </a:cubicBezTo>
                  <a:cubicBezTo>
                    <a:pt x="276" y="799"/>
                    <a:pt x="276" y="799"/>
                    <a:pt x="276" y="799"/>
                  </a:cubicBezTo>
                  <a:cubicBezTo>
                    <a:pt x="272" y="799"/>
                    <a:pt x="272" y="799"/>
                    <a:pt x="272" y="799"/>
                  </a:cubicBezTo>
                  <a:cubicBezTo>
                    <a:pt x="268" y="798"/>
                    <a:pt x="268" y="798"/>
                    <a:pt x="268" y="798"/>
                  </a:cubicBezTo>
                  <a:cubicBezTo>
                    <a:pt x="266" y="799"/>
                    <a:pt x="266" y="799"/>
                    <a:pt x="266" y="799"/>
                  </a:cubicBezTo>
                  <a:cubicBezTo>
                    <a:pt x="264" y="801"/>
                    <a:pt x="264" y="801"/>
                    <a:pt x="264" y="801"/>
                  </a:cubicBezTo>
                  <a:cubicBezTo>
                    <a:pt x="260" y="801"/>
                    <a:pt x="260" y="801"/>
                    <a:pt x="260" y="801"/>
                  </a:cubicBezTo>
                  <a:cubicBezTo>
                    <a:pt x="259" y="794"/>
                    <a:pt x="259" y="794"/>
                    <a:pt x="259" y="794"/>
                  </a:cubicBezTo>
                  <a:cubicBezTo>
                    <a:pt x="257" y="790"/>
                    <a:pt x="257" y="790"/>
                    <a:pt x="257" y="790"/>
                  </a:cubicBezTo>
                  <a:cubicBezTo>
                    <a:pt x="253" y="789"/>
                    <a:pt x="253" y="789"/>
                    <a:pt x="253" y="789"/>
                  </a:cubicBezTo>
                  <a:cubicBezTo>
                    <a:pt x="244" y="787"/>
                    <a:pt x="244" y="787"/>
                    <a:pt x="244" y="787"/>
                  </a:cubicBezTo>
                  <a:cubicBezTo>
                    <a:pt x="240" y="781"/>
                    <a:pt x="240" y="781"/>
                    <a:pt x="240" y="781"/>
                  </a:cubicBezTo>
                  <a:cubicBezTo>
                    <a:pt x="239" y="779"/>
                    <a:pt x="239" y="779"/>
                    <a:pt x="239" y="779"/>
                  </a:cubicBezTo>
                  <a:cubicBezTo>
                    <a:pt x="239" y="779"/>
                    <a:pt x="239" y="779"/>
                    <a:pt x="236" y="778"/>
                  </a:cubicBezTo>
                  <a:cubicBezTo>
                    <a:pt x="234" y="778"/>
                    <a:pt x="236" y="776"/>
                    <a:pt x="236" y="776"/>
                  </a:cubicBezTo>
                  <a:cubicBezTo>
                    <a:pt x="236" y="772"/>
                    <a:pt x="236" y="772"/>
                    <a:pt x="236" y="772"/>
                  </a:cubicBezTo>
                  <a:cubicBezTo>
                    <a:pt x="232" y="772"/>
                    <a:pt x="232" y="772"/>
                    <a:pt x="232" y="772"/>
                  </a:cubicBezTo>
                  <a:cubicBezTo>
                    <a:pt x="229" y="769"/>
                    <a:pt x="229" y="769"/>
                    <a:pt x="229" y="769"/>
                  </a:cubicBezTo>
                  <a:cubicBezTo>
                    <a:pt x="223" y="767"/>
                    <a:pt x="223" y="767"/>
                    <a:pt x="223" y="767"/>
                  </a:cubicBezTo>
                  <a:cubicBezTo>
                    <a:pt x="225" y="761"/>
                    <a:pt x="225" y="761"/>
                    <a:pt x="225" y="761"/>
                  </a:cubicBezTo>
                  <a:cubicBezTo>
                    <a:pt x="226" y="758"/>
                    <a:pt x="226" y="758"/>
                    <a:pt x="226" y="758"/>
                  </a:cubicBezTo>
                  <a:cubicBezTo>
                    <a:pt x="226" y="754"/>
                    <a:pt x="226" y="754"/>
                    <a:pt x="226" y="754"/>
                  </a:cubicBezTo>
                  <a:cubicBezTo>
                    <a:pt x="224" y="752"/>
                    <a:pt x="224" y="752"/>
                    <a:pt x="224" y="752"/>
                  </a:cubicBezTo>
                  <a:cubicBezTo>
                    <a:pt x="220" y="749"/>
                    <a:pt x="220" y="749"/>
                    <a:pt x="220" y="749"/>
                  </a:cubicBezTo>
                  <a:cubicBezTo>
                    <a:pt x="219" y="746"/>
                    <a:pt x="219" y="746"/>
                    <a:pt x="219" y="746"/>
                  </a:cubicBezTo>
                  <a:cubicBezTo>
                    <a:pt x="219" y="744"/>
                    <a:pt x="219" y="744"/>
                    <a:pt x="219" y="744"/>
                  </a:cubicBezTo>
                  <a:cubicBezTo>
                    <a:pt x="219" y="737"/>
                    <a:pt x="219" y="737"/>
                    <a:pt x="219" y="737"/>
                  </a:cubicBezTo>
                  <a:cubicBezTo>
                    <a:pt x="218" y="734"/>
                    <a:pt x="218" y="734"/>
                    <a:pt x="218" y="734"/>
                  </a:cubicBezTo>
                  <a:cubicBezTo>
                    <a:pt x="214" y="736"/>
                    <a:pt x="214" y="736"/>
                    <a:pt x="214" y="736"/>
                  </a:cubicBezTo>
                  <a:cubicBezTo>
                    <a:pt x="214" y="734"/>
                    <a:pt x="214" y="734"/>
                    <a:pt x="214" y="734"/>
                  </a:cubicBezTo>
                  <a:cubicBezTo>
                    <a:pt x="211" y="735"/>
                    <a:pt x="211" y="735"/>
                    <a:pt x="211" y="735"/>
                  </a:cubicBezTo>
                  <a:cubicBezTo>
                    <a:pt x="209" y="733"/>
                    <a:pt x="209" y="733"/>
                    <a:pt x="209" y="733"/>
                  </a:cubicBezTo>
                  <a:cubicBezTo>
                    <a:pt x="206" y="731"/>
                    <a:pt x="206" y="731"/>
                    <a:pt x="206" y="731"/>
                  </a:cubicBezTo>
                  <a:cubicBezTo>
                    <a:pt x="200" y="729"/>
                    <a:pt x="200" y="729"/>
                    <a:pt x="200" y="729"/>
                  </a:cubicBezTo>
                  <a:cubicBezTo>
                    <a:pt x="200" y="729"/>
                    <a:pt x="197" y="730"/>
                    <a:pt x="194" y="731"/>
                  </a:cubicBezTo>
                  <a:cubicBezTo>
                    <a:pt x="191" y="732"/>
                    <a:pt x="192" y="732"/>
                    <a:pt x="191" y="733"/>
                  </a:cubicBezTo>
                  <a:cubicBezTo>
                    <a:pt x="189" y="733"/>
                    <a:pt x="188" y="735"/>
                    <a:pt x="188" y="737"/>
                  </a:cubicBezTo>
                  <a:cubicBezTo>
                    <a:pt x="187" y="738"/>
                    <a:pt x="184" y="739"/>
                    <a:pt x="183" y="739"/>
                  </a:cubicBezTo>
                  <a:cubicBezTo>
                    <a:pt x="182" y="739"/>
                    <a:pt x="180" y="737"/>
                    <a:pt x="180" y="737"/>
                  </a:cubicBezTo>
                  <a:cubicBezTo>
                    <a:pt x="180" y="735"/>
                    <a:pt x="180" y="735"/>
                    <a:pt x="180" y="735"/>
                  </a:cubicBezTo>
                  <a:cubicBezTo>
                    <a:pt x="179" y="730"/>
                    <a:pt x="179" y="730"/>
                    <a:pt x="179" y="730"/>
                  </a:cubicBezTo>
                  <a:cubicBezTo>
                    <a:pt x="173" y="730"/>
                    <a:pt x="173" y="730"/>
                    <a:pt x="173" y="730"/>
                  </a:cubicBezTo>
                  <a:cubicBezTo>
                    <a:pt x="167" y="732"/>
                    <a:pt x="167" y="732"/>
                    <a:pt x="167" y="732"/>
                  </a:cubicBezTo>
                  <a:cubicBezTo>
                    <a:pt x="166" y="734"/>
                    <a:pt x="166" y="734"/>
                    <a:pt x="166" y="734"/>
                  </a:cubicBezTo>
                  <a:cubicBezTo>
                    <a:pt x="162" y="733"/>
                    <a:pt x="162" y="733"/>
                    <a:pt x="162" y="733"/>
                  </a:cubicBezTo>
                  <a:cubicBezTo>
                    <a:pt x="161" y="730"/>
                    <a:pt x="161" y="730"/>
                    <a:pt x="161" y="730"/>
                  </a:cubicBezTo>
                  <a:cubicBezTo>
                    <a:pt x="158" y="729"/>
                    <a:pt x="158" y="729"/>
                    <a:pt x="158" y="729"/>
                  </a:cubicBezTo>
                  <a:cubicBezTo>
                    <a:pt x="154" y="731"/>
                    <a:pt x="154" y="731"/>
                    <a:pt x="154" y="731"/>
                  </a:cubicBezTo>
                  <a:cubicBezTo>
                    <a:pt x="154" y="731"/>
                    <a:pt x="154" y="732"/>
                    <a:pt x="152" y="733"/>
                  </a:cubicBezTo>
                  <a:cubicBezTo>
                    <a:pt x="152" y="733"/>
                    <a:pt x="151" y="732"/>
                    <a:pt x="150" y="732"/>
                  </a:cubicBezTo>
                  <a:cubicBezTo>
                    <a:pt x="150" y="733"/>
                    <a:pt x="148" y="732"/>
                    <a:pt x="147" y="731"/>
                  </a:cubicBezTo>
                  <a:cubicBezTo>
                    <a:pt x="147" y="730"/>
                    <a:pt x="147" y="730"/>
                    <a:pt x="147" y="729"/>
                  </a:cubicBezTo>
                  <a:cubicBezTo>
                    <a:pt x="147" y="728"/>
                    <a:pt x="147" y="726"/>
                    <a:pt x="147" y="726"/>
                  </a:cubicBezTo>
                  <a:cubicBezTo>
                    <a:pt x="148" y="722"/>
                    <a:pt x="148" y="722"/>
                    <a:pt x="148" y="722"/>
                  </a:cubicBezTo>
                  <a:cubicBezTo>
                    <a:pt x="148" y="722"/>
                    <a:pt x="145" y="719"/>
                    <a:pt x="144" y="719"/>
                  </a:cubicBezTo>
                  <a:cubicBezTo>
                    <a:pt x="144" y="718"/>
                    <a:pt x="143" y="715"/>
                    <a:pt x="143" y="715"/>
                  </a:cubicBezTo>
                  <a:cubicBezTo>
                    <a:pt x="143" y="715"/>
                    <a:pt x="142" y="714"/>
                    <a:pt x="141" y="713"/>
                  </a:cubicBezTo>
                  <a:cubicBezTo>
                    <a:pt x="140" y="713"/>
                    <a:pt x="139" y="712"/>
                    <a:pt x="139" y="712"/>
                  </a:cubicBezTo>
                  <a:cubicBezTo>
                    <a:pt x="140" y="710"/>
                    <a:pt x="140" y="710"/>
                    <a:pt x="140" y="710"/>
                  </a:cubicBezTo>
                  <a:cubicBezTo>
                    <a:pt x="137" y="708"/>
                    <a:pt x="137" y="708"/>
                    <a:pt x="137" y="708"/>
                  </a:cubicBezTo>
                  <a:cubicBezTo>
                    <a:pt x="132" y="705"/>
                    <a:pt x="132" y="705"/>
                    <a:pt x="132" y="705"/>
                  </a:cubicBezTo>
                  <a:cubicBezTo>
                    <a:pt x="134" y="703"/>
                    <a:pt x="134" y="703"/>
                    <a:pt x="134" y="703"/>
                  </a:cubicBezTo>
                  <a:cubicBezTo>
                    <a:pt x="131" y="701"/>
                    <a:pt x="131" y="701"/>
                    <a:pt x="131" y="701"/>
                  </a:cubicBezTo>
                  <a:cubicBezTo>
                    <a:pt x="128" y="703"/>
                    <a:pt x="128" y="703"/>
                    <a:pt x="128" y="703"/>
                  </a:cubicBezTo>
                  <a:cubicBezTo>
                    <a:pt x="128" y="699"/>
                    <a:pt x="128" y="699"/>
                    <a:pt x="128" y="699"/>
                  </a:cubicBezTo>
                  <a:cubicBezTo>
                    <a:pt x="126" y="693"/>
                    <a:pt x="126" y="693"/>
                    <a:pt x="126" y="693"/>
                  </a:cubicBezTo>
                  <a:cubicBezTo>
                    <a:pt x="128" y="691"/>
                    <a:pt x="128" y="691"/>
                    <a:pt x="128" y="691"/>
                  </a:cubicBezTo>
                  <a:cubicBezTo>
                    <a:pt x="127" y="683"/>
                    <a:pt x="127" y="683"/>
                    <a:pt x="127" y="683"/>
                  </a:cubicBezTo>
                  <a:cubicBezTo>
                    <a:pt x="127" y="683"/>
                    <a:pt x="125" y="682"/>
                    <a:pt x="125" y="682"/>
                  </a:cubicBezTo>
                  <a:cubicBezTo>
                    <a:pt x="124" y="682"/>
                    <a:pt x="122" y="680"/>
                    <a:pt x="122" y="680"/>
                  </a:cubicBezTo>
                  <a:cubicBezTo>
                    <a:pt x="118" y="679"/>
                    <a:pt x="118" y="679"/>
                    <a:pt x="118" y="679"/>
                  </a:cubicBezTo>
                  <a:cubicBezTo>
                    <a:pt x="118" y="677"/>
                    <a:pt x="118" y="677"/>
                    <a:pt x="118" y="677"/>
                  </a:cubicBezTo>
                  <a:cubicBezTo>
                    <a:pt x="116" y="675"/>
                    <a:pt x="116" y="675"/>
                    <a:pt x="116" y="675"/>
                  </a:cubicBezTo>
                  <a:cubicBezTo>
                    <a:pt x="113" y="675"/>
                    <a:pt x="113" y="675"/>
                    <a:pt x="113" y="675"/>
                  </a:cubicBezTo>
                  <a:cubicBezTo>
                    <a:pt x="113" y="675"/>
                    <a:pt x="112" y="675"/>
                    <a:pt x="112" y="675"/>
                  </a:cubicBezTo>
                  <a:cubicBezTo>
                    <a:pt x="112" y="674"/>
                    <a:pt x="111" y="671"/>
                    <a:pt x="111" y="671"/>
                  </a:cubicBezTo>
                  <a:cubicBezTo>
                    <a:pt x="113" y="668"/>
                    <a:pt x="113" y="668"/>
                    <a:pt x="113" y="668"/>
                  </a:cubicBezTo>
                  <a:cubicBezTo>
                    <a:pt x="113" y="668"/>
                    <a:pt x="113" y="665"/>
                    <a:pt x="113" y="664"/>
                  </a:cubicBezTo>
                  <a:cubicBezTo>
                    <a:pt x="114" y="663"/>
                    <a:pt x="117" y="663"/>
                    <a:pt x="117" y="663"/>
                  </a:cubicBezTo>
                  <a:cubicBezTo>
                    <a:pt x="119" y="662"/>
                    <a:pt x="119" y="662"/>
                    <a:pt x="119" y="662"/>
                  </a:cubicBezTo>
                  <a:cubicBezTo>
                    <a:pt x="120" y="659"/>
                    <a:pt x="120" y="659"/>
                    <a:pt x="120" y="659"/>
                  </a:cubicBezTo>
                  <a:cubicBezTo>
                    <a:pt x="120" y="659"/>
                    <a:pt x="117" y="659"/>
                    <a:pt x="116" y="657"/>
                  </a:cubicBezTo>
                  <a:cubicBezTo>
                    <a:pt x="115" y="656"/>
                    <a:pt x="116" y="657"/>
                    <a:pt x="116" y="656"/>
                  </a:cubicBezTo>
                  <a:cubicBezTo>
                    <a:pt x="116" y="655"/>
                    <a:pt x="115" y="656"/>
                    <a:pt x="115" y="656"/>
                  </a:cubicBezTo>
                  <a:cubicBezTo>
                    <a:pt x="115" y="656"/>
                    <a:pt x="114" y="656"/>
                    <a:pt x="114" y="654"/>
                  </a:cubicBezTo>
                  <a:cubicBezTo>
                    <a:pt x="114" y="654"/>
                    <a:pt x="114" y="652"/>
                    <a:pt x="113" y="652"/>
                  </a:cubicBezTo>
                  <a:cubicBezTo>
                    <a:pt x="113" y="650"/>
                    <a:pt x="111" y="650"/>
                    <a:pt x="111" y="650"/>
                  </a:cubicBezTo>
                  <a:cubicBezTo>
                    <a:pt x="110" y="649"/>
                    <a:pt x="110" y="649"/>
                    <a:pt x="109" y="648"/>
                  </a:cubicBezTo>
                  <a:cubicBezTo>
                    <a:pt x="108" y="646"/>
                    <a:pt x="108" y="646"/>
                    <a:pt x="108" y="646"/>
                  </a:cubicBezTo>
                  <a:cubicBezTo>
                    <a:pt x="105" y="644"/>
                    <a:pt x="107" y="640"/>
                    <a:pt x="105" y="638"/>
                  </a:cubicBezTo>
                  <a:cubicBezTo>
                    <a:pt x="102" y="636"/>
                    <a:pt x="102" y="630"/>
                    <a:pt x="101" y="628"/>
                  </a:cubicBezTo>
                  <a:cubicBezTo>
                    <a:pt x="98" y="624"/>
                    <a:pt x="99" y="623"/>
                    <a:pt x="100" y="621"/>
                  </a:cubicBezTo>
                  <a:cubicBezTo>
                    <a:pt x="101" y="616"/>
                    <a:pt x="104" y="612"/>
                    <a:pt x="104" y="604"/>
                  </a:cubicBezTo>
                  <a:cubicBezTo>
                    <a:pt x="105" y="598"/>
                    <a:pt x="105" y="598"/>
                    <a:pt x="105" y="598"/>
                  </a:cubicBezTo>
                  <a:cubicBezTo>
                    <a:pt x="109" y="595"/>
                    <a:pt x="109" y="595"/>
                    <a:pt x="109" y="595"/>
                  </a:cubicBezTo>
                  <a:cubicBezTo>
                    <a:pt x="108" y="593"/>
                    <a:pt x="108" y="593"/>
                    <a:pt x="108" y="593"/>
                  </a:cubicBezTo>
                  <a:cubicBezTo>
                    <a:pt x="104" y="592"/>
                    <a:pt x="104" y="592"/>
                    <a:pt x="104" y="592"/>
                  </a:cubicBezTo>
                  <a:cubicBezTo>
                    <a:pt x="104" y="592"/>
                    <a:pt x="104" y="592"/>
                    <a:pt x="104" y="592"/>
                  </a:cubicBezTo>
                  <a:cubicBezTo>
                    <a:pt x="105" y="591"/>
                    <a:pt x="105" y="591"/>
                    <a:pt x="105" y="591"/>
                  </a:cubicBezTo>
                  <a:cubicBezTo>
                    <a:pt x="102" y="581"/>
                    <a:pt x="102" y="581"/>
                    <a:pt x="102" y="581"/>
                  </a:cubicBezTo>
                  <a:cubicBezTo>
                    <a:pt x="103" y="578"/>
                    <a:pt x="103" y="578"/>
                    <a:pt x="103" y="578"/>
                  </a:cubicBezTo>
                  <a:cubicBezTo>
                    <a:pt x="106" y="580"/>
                    <a:pt x="106" y="580"/>
                    <a:pt x="106" y="580"/>
                  </a:cubicBezTo>
                  <a:cubicBezTo>
                    <a:pt x="108" y="581"/>
                    <a:pt x="108" y="581"/>
                    <a:pt x="108" y="581"/>
                  </a:cubicBezTo>
                  <a:cubicBezTo>
                    <a:pt x="110" y="578"/>
                    <a:pt x="110" y="578"/>
                    <a:pt x="110" y="578"/>
                  </a:cubicBezTo>
                  <a:cubicBezTo>
                    <a:pt x="109" y="575"/>
                    <a:pt x="109" y="575"/>
                    <a:pt x="109" y="575"/>
                  </a:cubicBezTo>
                  <a:cubicBezTo>
                    <a:pt x="109" y="575"/>
                    <a:pt x="110" y="572"/>
                    <a:pt x="111" y="572"/>
                  </a:cubicBezTo>
                  <a:cubicBezTo>
                    <a:pt x="112" y="573"/>
                    <a:pt x="116" y="573"/>
                    <a:pt x="116" y="573"/>
                  </a:cubicBezTo>
                  <a:cubicBezTo>
                    <a:pt x="119" y="570"/>
                    <a:pt x="119" y="570"/>
                    <a:pt x="119" y="570"/>
                  </a:cubicBezTo>
                  <a:cubicBezTo>
                    <a:pt x="119" y="566"/>
                    <a:pt x="119" y="566"/>
                    <a:pt x="119" y="566"/>
                  </a:cubicBezTo>
                  <a:cubicBezTo>
                    <a:pt x="121" y="563"/>
                    <a:pt x="121" y="563"/>
                    <a:pt x="121" y="563"/>
                  </a:cubicBezTo>
                  <a:cubicBezTo>
                    <a:pt x="126" y="562"/>
                    <a:pt x="126" y="562"/>
                    <a:pt x="126" y="562"/>
                  </a:cubicBezTo>
                  <a:cubicBezTo>
                    <a:pt x="126" y="562"/>
                    <a:pt x="135" y="562"/>
                    <a:pt x="136" y="562"/>
                  </a:cubicBezTo>
                  <a:cubicBezTo>
                    <a:pt x="137" y="562"/>
                    <a:pt x="140" y="562"/>
                    <a:pt x="141" y="562"/>
                  </a:cubicBezTo>
                  <a:cubicBezTo>
                    <a:pt x="142" y="562"/>
                    <a:pt x="147" y="563"/>
                    <a:pt x="147" y="563"/>
                  </a:cubicBezTo>
                  <a:cubicBezTo>
                    <a:pt x="149" y="559"/>
                    <a:pt x="149" y="559"/>
                    <a:pt x="149" y="559"/>
                  </a:cubicBezTo>
                  <a:cubicBezTo>
                    <a:pt x="142" y="557"/>
                    <a:pt x="142" y="557"/>
                    <a:pt x="142" y="557"/>
                  </a:cubicBezTo>
                  <a:cubicBezTo>
                    <a:pt x="138" y="557"/>
                    <a:pt x="138" y="557"/>
                    <a:pt x="138" y="557"/>
                  </a:cubicBezTo>
                  <a:cubicBezTo>
                    <a:pt x="135" y="553"/>
                    <a:pt x="135" y="553"/>
                    <a:pt x="135" y="553"/>
                  </a:cubicBezTo>
                  <a:cubicBezTo>
                    <a:pt x="130" y="552"/>
                    <a:pt x="130" y="552"/>
                    <a:pt x="130" y="552"/>
                  </a:cubicBezTo>
                  <a:cubicBezTo>
                    <a:pt x="124" y="554"/>
                    <a:pt x="124" y="554"/>
                    <a:pt x="124" y="554"/>
                  </a:cubicBezTo>
                  <a:cubicBezTo>
                    <a:pt x="120" y="555"/>
                    <a:pt x="120" y="555"/>
                    <a:pt x="120" y="555"/>
                  </a:cubicBezTo>
                  <a:cubicBezTo>
                    <a:pt x="114" y="554"/>
                    <a:pt x="114" y="554"/>
                    <a:pt x="114" y="554"/>
                  </a:cubicBezTo>
                  <a:cubicBezTo>
                    <a:pt x="113" y="551"/>
                    <a:pt x="113" y="551"/>
                    <a:pt x="113" y="551"/>
                  </a:cubicBezTo>
                  <a:cubicBezTo>
                    <a:pt x="113" y="551"/>
                    <a:pt x="109" y="551"/>
                    <a:pt x="108" y="551"/>
                  </a:cubicBezTo>
                  <a:cubicBezTo>
                    <a:pt x="107" y="551"/>
                    <a:pt x="106" y="551"/>
                    <a:pt x="105" y="550"/>
                  </a:cubicBezTo>
                  <a:cubicBezTo>
                    <a:pt x="104" y="550"/>
                    <a:pt x="101" y="545"/>
                    <a:pt x="101" y="545"/>
                  </a:cubicBezTo>
                  <a:cubicBezTo>
                    <a:pt x="102" y="542"/>
                    <a:pt x="102" y="542"/>
                    <a:pt x="102" y="542"/>
                  </a:cubicBezTo>
                  <a:cubicBezTo>
                    <a:pt x="104" y="544"/>
                    <a:pt x="104" y="544"/>
                    <a:pt x="104" y="544"/>
                  </a:cubicBezTo>
                  <a:cubicBezTo>
                    <a:pt x="104" y="544"/>
                    <a:pt x="105" y="545"/>
                    <a:pt x="105" y="544"/>
                  </a:cubicBezTo>
                  <a:cubicBezTo>
                    <a:pt x="105" y="543"/>
                    <a:pt x="104" y="539"/>
                    <a:pt x="104" y="539"/>
                  </a:cubicBezTo>
                  <a:cubicBezTo>
                    <a:pt x="104" y="539"/>
                    <a:pt x="105" y="534"/>
                    <a:pt x="103" y="535"/>
                  </a:cubicBezTo>
                  <a:cubicBezTo>
                    <a:pt x="101" y="535"/>
                    <a:pt x="98" y="538"/>
                    <a:pt x="98" y="539"/>
                  </a:cubicBezTo>
                  <a:cubicBezTo>
                    <a:pt x="98" y="540"/>
                    <a:pt x="97" y="542"/>
                    <a:pt x="96" y="543"/>
                  </a:cubicBezTo>
                  <a:cubicBezTo>
                    <a:pt x="96" y="545"/>
                    <a:pt x="95" y="545"/>
                    <a:pt x="94" y="546"/>
                  </a:cubicBezTo>
                  <a:cubicBezTo>
                    <a:pt x="93" y="547"/>
                    <a:pt x="89" y="548"/>
                    <a:pt x="89" y="548"/>
                  </a:cubicBezTo>
                  <a:cubicBezTo>
                    <a:pt x="86" y="548"/>
                    <a:pt x="86" y="548"/>
                    <a:pt x="86" y="548"/>
                  </a:cubicBezTo>
                  <a:cubicBezTo>
                    <a:pt x="88" y="545"/>
                    <a:pt x="88" y="545"/>
                    <a:pt x="88" y="545"/>
                  </a:cubicBezTo>
                  <a:cubicBezTo>
                    <a:pt x="90" y="540"/>
                    <a:pt x="90" y="540"/>
                    <a:pt x="90" y="540"/>
                  </a:cubicBezTo>
                  <a:cubicBezTo>
                    <a:pt x="90" y="540"/>
                    <a:pt x="94" y="533"/>
                    <a:pt x="94" y="531"/>
                  </a:cubicBezTo>
                  <a:cubicBezTo>
                    <a:pt x="95" y="530"/>
                    <a:pt x="96" y="527"/>
                    <a:pt x="96" y="526"/>
                  </a:cubicBezTo>
                  <a:cubicBezTo>
                    <a:pt x="97" y="524"/>
                    <a:pt x="99" y="523"/>
                    <a:pt x="99" y="523"/>
                  </a:cubicBezTo>
                  <a:cubicBezTo>
                    <a:pt x="102" y="514"/>
                    <a:pt x="102" y="514"/>
                    <a:pt x="102" y="514"/>
                  </a:cubicBezTo>
                  <a:cubicBezTo>
                    <a:pt x="112" y="494"/>
                    <a:pt x="112" y="494"/>
                    <a:pt x="112" y="494"/>
                  </a:cubicBezTo>
                  <a:cubicBezTo>
                    <a:pt x="112" y="494"/>
                    <a:pt x="114" y="488"/>
                    <a:pt x="115" y="486"/>
                  </a:cubicBezTo>
                  <a:cubicBezTo>
                    <a:pt x="115" y="485"/>
                    <a:pt x="117" y="480"/>
                    <a:pt x="117" y="479"/>
                  </a:cubicBezTo>
                  <a:cubicBezTo>
                    <a:pt x="118" y="477"/>
                    <a:pt x="120" y="471"/>
                    <a:pt x="120" y="471"/>
                  </a:cubicBezTo>
                  <a:cubicBezTo>
                    <a:pt x="120" y="471"/>
                    <a:pt x="122" y="463"/>
                    <a:pt x="122" y="461"/>
                  </a:cubicBezTo>
                  <a:cubicBezTo>
                    <a:pt x="122" y="459"/>
                    <a:pt x="124" y="458"/>
                    <a:pt x="125" y="457"/>
                  </a:cubicBezTo>
                  <a:cubicBezTo>
                    <a:pt x="126" y="457"/>
                    <a:pt x="128" y="449"/>
                    <a:pt x="129" y="448"/>
                  </a:cubicBezTo>
                  <a:cubicBezTo>
                    <a:pt x="129" y="446"/>
                    <a:pt x="131" y="432"/>
                    <a:pt x="131" y="432"/>
                  </a:cubicBezTo>
                  <a:cubicBezTo>
                    <a:pt x="129" y="422"/>
                    <a:pt x="129" y="422"/>
                    <a:pt x="129" y="422"/>
                  </a:cubicBezTo>
                  <a:cubicBezTo>
                    <a:pt x="125" y="419"/>
                    <a:pt x="125" y="419"/>
                    <a:pt x="125" y="419"/>
                  </a:cubicBezTo>
                  <a:cubicBezTo>
                    <a:pt x="120" y="416"/>
                    <a:pt x="120" y="416"/>
                    <a:pt x="120" y="416"/>
                  </a:cubicBezTo>
                  <a:cubicBezTo>
                    <a:pt x="120" y="416"/>
                    <a:pt x="114" y="413"/>
                    <a:pt x="113" y="412"/>
                  </a:cubicBezTo>
                  <a:cubicBezTo>
                    <a:pt x="113" y="411"/>
                    <a:pt x="109" y="410"/>
                    <a:pt x="108" y="409"/>
                  </a:cubicBezTo>
                  <a:cubicBezTo>
                    <a:pt x="107" y="409"/>
                    <a:pt x="103" y="408"/>
                    <a:pt x="102" y="408"/>
                  </a:cubicBezTo>
                  <a:cubicBezTo>
                    <a:pt x="101" y="408"/>
                    <a:pt x="98" y="406"/>
                    <a:pt x="96" y="404"/>
                  </a:cubicBezTo>
                  <a:cubicBezTo>
                    <a:pt x="94" y="402"/>
                    <a:pt x="90" y="399"/>
                    <a:pt x="90" y="399"/>
                  </a:cubicBezTo>
                  <a:cubicBezTo>
                    <a:pt x="94" y="392"/>
                    <a:pt x="94" y="392"/>
                    <a:pt x="94" y="392"/>
                  </a:cubicBezTo>
                  <a:cubicBezTo>
                    <a:pt x="94" y="392"/>
                    <a:pt x="94" y="387"/>
                    <a:pt x="95" y="386"/>
                  </a:cubicBezTo>
                  <a:cubicBezTo>
                    <a:pt x="95" y="385"/>
                    <a:pt x="95" y="382"/>
                    <a:pt x="95" y="382"/>
                  </a:cubicBezTo>
                  <a:cubicBezTo>
                    <a:pt x="94" y="379"/>
                    <a:pt x="94" y="379"/>
                    <a:pt x="94" y="379"/>
                  </a:cubicBezTo>
                  <a:cubicBezTo>
                    <a:pt x="91" y="375"/>
                    <a:pt x="91" y="375"/>
                    <a:pt x="91" y="375"/>
                  </a:cubicBezTo>
                  <a:cubicBezTo>
                    <a:pt x="91" y="375"/>
                    <a:pt x="87" y="374"/>
                    <a:pt x="86" y="375"/>
                  </a:cubicBezTo>
                  <a:cubicBezTo>
                    <a:pt x="85" y="375"/>
                    <a:pt x="85" y="373"/>
                    <a:pt x="84" y="371"/>
                  </a:cubicBezTo>
                  <a:cubicBezTo>
                    <a:pt x="84" y="370"/>
                    <a:pt x="83" y="370"/>
                    <a:pt x="81" y="368"/>
                  </a:cubicBezTo>
                  <a:cubicBezTo>
                    <a:pt x="79" y="367"/>
                    <a:pt x="78" y="365"/>
                    <a:pt x="78" y="365"/>
                  </a:cubicBezTo>
                  <a:cubicBezTo>
                    <a:pt x="80" y="360"/>
                    <a:pt x="80" y="360"/>
                    <a:pt x="80" y="360"/>
                  </a:cubicBezTo>
                  <a:cubicBezTo>
                    <a:pt x="80" y="360"/>
                    <a:pt x="79" y="358"/>
                    <a:pt x="79" y="356"/>
                  </a:cubicBezTo>
                  <a:cubicBezTo>
                    <a:pt x="79" y="355"/>
                    <a:pt x="76" y="356"/>
                    <a:pt x="76" y="356"/>
                  </a:cubicBezTo>
                  <a:cubicBezTo>
                    <a:pt x="70" y="355"/>
                    <a:pt x="70" y="355"/>
                    <a:pt x="70" y="355"/>
                  </a:cubicBezTo>
                  <a:cubicBezTo>
                    <a:pt x="66" y="348"/>
                    <a:pt x="66" y="348"/>
                    <a:pt x="66" y="348"/>
                  </a:cubicBezTo>
                  <a:cubicBezTo>
                    <a:pt x="66" y="348"/>
                    <a:pt x="67" y="343"/>
                    <a:pt x="67" y="342"/>
                  </a:cubicBezTo>
                  <a:cubicBezTo>
                    <a:pt x="68" y="341"/>
                    <a:pt x="68" y="339"/>
                    <a:pt x="68" y="339"/>
                  </a:cubicBezTo>
                  <a:cubicBezTo>
                    <a:pt x="64" y="338"/>
                    <a:pt x="64" y="338"/>
                    <a:pt x="64" y="338"/>
                  </a:cubicBezTo>
                  <a:cubicBezTo>
                    <a:pt x="65" y="335"/>
                    <a:pt x="65" y="335"/>
                    <a:pt x="65" y="335"/>
                  </a:cubicBezTo>
                  <a:cubicBezTo>
                    <a:pt x="63" y="330"/>
                    <a:pt x="63" y="330"/>
                    <a:pt x="63" y="330"/>
                  </a:cubicBezTo>
                  <a:cubicBezTo>
                    <a:pt x="63" y="327"/>
                    <a:pt x="63" y="327"/>
                    <a:pt x="63" y="327"/>
                  </a:cubicBezTo>
                  <a:cubicBezTo>
                    <a:pt x="61" y="323"/>
                    <a:pt x="61" y="323"/>
                    <a:pt x="61" y="323"/>
                  </a:cubicBezTo>
                  <a:cubicBezTo>
                    <a:pt x="61" y="321"/>
                    <a:pt x="61" y="321"/>
                    <a:pt x="61" y="321"/>
                  </a:cubicBezTo>
                  <a:cubicBezTo>
                    <a:pt x="64" y="317"/>
                    <a:pt x="64" y="317"/>
                    <a:pt x="64" y="317"/>
                  </a:cubicBezTo>
                  <a:cubicBezTo>
                    <a:pt x="64" y="313"/>
                    <a:pt x="64" y="313"/>
                    <a:pt x="64" y="313"/>
                  </a:cubicBezTo>
                  <a:cubicBezTo>
                    <a:pt x="61" y="307"/>
                    <a:pt x="61" y="307"/>
                    <a:pt x="61" y="307"/>
                  </a:cubicBezTo>
                  <a:cubicBezTo>
                    <a:pt x="61" y="307"/>
                    <a:pt x="59" y="304"/>
                    <a:pt x="59" y="303"/>
                  </a:cubicBezTo>
                  <a:cubicBezTo>
                    <a:pt x="58" y="302"/>
                    <a:pt x="52" y="298"/>
                    <a:pt x="52" y="298"/>
                  </a:cubicBezTo>
                  <a:cubicBezTo>
                    <a:pt x="50" y="292"/>
                    <a:pt x="50" y="292"/>
                    <a:pt x="50" y="292"/>
                  </a:cubicBezTo>
                  <a:cubicBezTo>
                    <a:pt x="44" y="285"/>
                    <a:pt x="44" y="285"/>
                    <a:pt x="44" y="285"/>
                  </a:cubicBezTo>
                  <a:cubicBezTo>
                    <a:pt x="39" y="279"/>
                    <a:pt x="39" y="279"/>
                    <a:pt x="39" y="279"/>
                  </a:cubicBezTo>
                  <a:cubicBezTo>
                    <a:pt x="35" y="276"/>
                    <a:pt x="35" y="276"/>
                    <a:pt x="35" y="276"/>
                  </a:cubicBezTo>
                  <a:cubicBezTo>
                    <a:pt x="33" y="270"/>
                    <a:pt x="33" y="270"/>
                    <a:pt x="33" y="270"/>
                  </a:cubicBezTo>
                  <a:cubicBezTo>
                    <a:pt x="33" y="270"/>
                    <a:pt x="34" y="264"/>
                    <a:pt x="34" y="263"/>
                  </a:cubicBezTo>
                  <a:cubicBezTo>
                    <a:pt x="34" y="262"/>
                    <a:pt x="37" y="256"/>
                    <a:pt x="37" y="252"/>
                  </a:cubicBezTo>
                  <a:cubicBezTo>
                    <a:pt x="37" y="249"/>
                    <a:pt x="39" y="244"/>
                    <a:pt x="39" y="244"/>
                  </a:cubicBezTo>
                  <a:cubicBezTo>
                    <a:pt x="39" y="238"/>
                    <a:pt x="39" y="238"/>
                    <a:pt x="39" y="238"/>
                  </a:cubicBezTo>
                  <a:cubicBezTo>
                    <a:pt x="37" y="235"/>
                    <a:pt x="37" y="235"/>
                    <a:pt x="37" y="235"/>
                  </a:cubicBezTo>
                  <a:cubicBezTo>
                    <a:pt x="32" y="232"/>
                    <a:pt x="32" y="232"/>
                    <a:pt x="32" y="232"/>
                  </a:cubicBezTo>
                  <a:cubicBezTo>
                    <a:pt x="29" y="228"/>
                    <a:pt x="29" y="228"/>
                    <a:pt x="29" y="228"/>
                  </a:cubicBezTo>
                  <a:cubicBezTo>
                    <a:pt x="29" y="228"/>
                    <a:pt x="28" y="223"/>
                    <a:pt x="22" y="222"/>
                  </a:cubicBezTo>
                  <a:cubicBezTo>
                    <a:pt x="16" y="220"/>
                    <a:pt x="15" y="221"/>
                    <a:pt x="15" y="221"/>
                  </a:cubicBezTo>
                  <a:cubicBezTo>
                    <a:pt x="9" y="218"/>
                    <a:pt x="9" y="218"/>
                    <a:pt x="9" y="218"/>
                  </a:cubicBezTo>
                  <a:cubicBezTo>
                    <a:pt x="6" y="212"/>
                    <a:pt x="6" y="212"/>
                    <a:pt x="6" y="212"/>
                  </a:cubicBezTo>
                  <a:cubicBezTo>
                    <a:pt x="3" y="207"/>
                    <a:pt x="3" y="207"/>
                    <a:pt x="3" y="207"/>
                  </a:cubicBezTo>
                  <a:cubicBezTo>
                    <a:pt x="5" y="204"/>
                    <a:pt x="5" y="204"/>
                    <a:pt x="5" y="204"/>
                  </a:cubicBezTo>
                  <a:cubicBezTo>
                    <a:pt x="6" y="199"/>
                    <a:pt x="6" y="199"/>
                    <a:pt x="6" y="199"/>
                  </a:cubicBezTo>
                  <a:cubicBezTo>
                    <a:pt x="6" y="196"/>
                    <a:pt x="6" y="196"/>
                    <a:pt x="6" y="196"/>
                  </a:cubicBezTo>
                  <a:cubicBezTo>
                    <a:pt x="5" y="192"/>
                    <a:pt x="5" y="192"/>
                    <a:pt x="5" y="192"/>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90"/>
                    <a:pt x="0" y="190"/>
                    <a:pt x="0" y="190"/>
                  </a:cubicBezTo>
                  <a:cubicBezTo>
                    <a:pt x="0" y="189"/>
                    <a:pt x="0" y="189"/>
                    <a:pt x="0" y="189"/>
                  </a:cubicBezTo>
                  <a:cubicBezTo>
                    <a:pt x="1" y="189"/>
                    <a:pt x="1" y="189"/>
                    <a:pt x="1" y="189"/>
                  </a:cubicBezTo>
                  <a:cubicBezTo>
                    <a:pt x="1" y="189"/>
                    <a:pt x="1" y="189"/>
                    <a:pt x="1" y="189"/>
                  </a:cubicBezTo>
                  <a:cubicBezTo>
                    <a:pt x="1" y="189"/>
                    <a:pt x="1" y="189"/>
                    <a:pt x="1" y="189"/>
                  </a:cubicBezTo>
                  <a:cubicBezTo>
                    <a:pt x="1" y="189"/>
                    <a:pt x="1" y="189"/>
                    <a:pt x="1" y="189"/>
                  </a:cubicBezTo>
                  <a:cubicBezTo>
                    <a:pt x="1" y="189"/>
                    <a:pt x="1" y="189"/>
                    <a:pt x="1" y="189"/>
                  </a:cubicBezTo>
                  <a:cubicBezTo>
                    <a:pt x="1" y="189"/>
                    <a:pt x="1" y="189"/>
                    <a:pt x="1" y="189"/>
                  </a:cubicBezTo>
                  <a:cubicBezTo>
                    <a:pt x="1" y="189"/>
                    <a:pt x="1" y="189"/>
                    <a:pt x="1" y="189"/>
                  </a:cubicBezTo>
                  <a:cubicBezTo>
                    <a:pt x="1" y="189"/>
                    <a:pt x="1" y="189"/>
                    <a:pt x="1" y="189"/>
                  </a:cubicBezTo>
                  <a:cubicBezTo>
                    <a:pt x="1" y="189"/>
                    <a:pt x="1" y="189"/>
                    <a:pt x="1" y="189"/>
                  </a:cubicBezTo>
                  <a:cubicBezTo>
                    <a:pt x="1" y="189"/>
                    <a:pt x="1" y="189"/>
                    <a:pt x="1" y="189"/>
                  </a:cubicBezTo>
                  <a:cubicBezTo>
                    <a:pt x="1" y="189"/>
                    <a:pt x="1" y="189"/>
                    <a:pt x="1" y="189"/>
                  </a:cubicBezTo>
                  <a:cubicBezTo>
                    <a:pt x="1" y="189"/>
                    <a:pt x="1" y="189"/>
                    <a:pt x="1" y="189"/>
                  </a:cubicBezTo>
                  <a:cubicBezTo>
                    <a:pt x="1" y="188"/>
                    <a:pt x="1" y="188"/>
                    <a:pt x="1" y="188"/>
                  </a:cubicBezTo>
                  <a:cubicBezTo>
                    <a:pt x="2" y="188"/>
                    <a:pt x="2" y="188"/>
                    <a:pt x="2" y="188"/>
                  </a:cubicBezTo>
                  <a:cubicBezTo>
                    <a:pt x="2" y="188"/>
                    <a:pt x="2" y="188"/>
                    <a:pt x="2" y="188"/>
                  </a:cubicBezTo>
                  <a:cubicBezTo>
                    <a:pt x="2" y="188"/>
                    <a:pt x="2" y="188"/>
                    <a:pt x="2" y="188"/>
                  </a:cubicBezTo>
                  <a:cubicBezTo>
                    <a:pt x="2" y="188"/>
                    <a:pt x="2" y="188"/>
                    <a:pt x="2" y="188"/>
                  </a:cubicBezTo>
                  <a:cubicBezTo>
                    <a:pt x="2" y="188"/>
                    <a:pt x="2" y="188"/>
                    <a:pt x="2" y="188"/>
                  </a:cubicBezTo>
                  <a:cubicBezTo>
                    <a:pt x="2" y="188"/>
                    <a:pt x="2" y="188"/>
                    <a:pt x="2" y="188"/>
                  </a:cubicBezTo>
                  <a:cubicBezTo>
                    <a:pt x="2" y="188"/>
                    <a:pt x="2" y="188"/>
                    <a:pt x="2" y="188"/>
                  </a:cubicBezTo>
                  <a:cubicBezTo>
                    <a:pt x="2" y="188"/>
                    <a:pt x="2" y="188"/>
                    <a:pt x="2" y="188"/>
                  </a:cubicBezTo>
                  <a:cubicBezTo>
                    <a:pt x="3" y="187"/>
                    <a:pt x="3" y="187"/>
                    <a:pt x="3" y="187"/>
                  </a:cubicBezTo>
                  <a:cubicBezTo>
                    <a:pt x="3" y="187"/>
                    <a:pt x="3" y="187"/>
                    <a:pt x="3" y="187"/>
                  </a:cubicBezTo>
                  <a:cubicBezTo>
                    <a:pt x="3" y="187"/>
                    <a:pt x="3" y="187"/>
                    <a:pt x="3" y="187"/>
                  </a:cubicBezTo>
                  <a:cubicBezTo>
                    <a:pt x="3" y="187"/>
                    <a:pt x="3" y="187"/>
                    <a:pt x="3" y="187"/>
                  </a:cubicBezTo>
                  <a:cubicBezTo>
                    <a:pt x="3" y="187"/>
                    <a:pt x="3" y="187"/>
                    <a:pt x="3" y="187"/>
                  </a:cubicBezTo>
                  <a:cubicBezTo>
                    <a:pt x="3" y="187"/>
                    <a:pt x="3" y="187"/>
                    <a:pt x="3" y="187"/>
                  </a:cubicBezTo>
                  <a:cubicBezTo>
                    <a:pt x="3" y="187"/>
                    <a:pt x="3" y="187"/>
                    <a:pt x="3" y="187"/>
                  </a:cubicBezTo>
                  <a:cubicBezTo>
                    <a:pt x="4" y="186"/>
                    <a:pt x="4" y="186"/>
                    <a:pt x="4" y="186"/>
                  </a:cubicBezTo>
                  <a:cubicBezTo>
                    <a:pt x="4" y="186"/>
                    <a:pt x="4" y="186"/>
                    <a:pt x="4" y="186"/>
                  </a:cubicBezTo>
                  <a:cubicBezTo>
                    <a:pt x="4" y="186"/>
                    <a:pt x="4" y="186"/>
                    <a:pt x="4" y="186"/>
                  </a:cubicBezTo>
                  <a:cubicBezTo>
                    <a:pt x="4" y="186"/>
                    <a:pt x="4" y="186"/>
                    <a:pt x="4" y="186"/>
                  </a:cubicBezTo>
                  <a:cubicBezTo>
                    <a:pt x="4" y="186"/>
                    <a:pt x="4" y="186"/>
                    <a:pt x="4" y="186"/>
                  </a:cubicBezTo>
                  <a:cubicBezTo>
                    <a:pt x="4" y="186"/>
                    <a:pt x="4" y="186"/>
                    <a:pt x="4" y="186"/>
                  </a:cubicBezTo>
                  <a:cubicBezTo>
                    <a:pt x="4" y="186"/>
                    <a:pt x="4" y="186"/>
                    <a:pt x="4" y="186"/>
                  </a:cubicBezTo>
                  <a:cubicBezTo>
                    <a:pt x="4" y="186"/>
                    <a:pt x="4" y="186"/>
                    <a:pt x="4" y="186"/>
                  </a:cubicBezTo>
                  <a:cubicBezTo>
                    <a:pt x="5" y="185"/>
                    <a:pt x="6" y="184"/>
                    <a:pt x="6" y="183"/>
                  </a:cubicBezTo>
                  <a:cubicBezTo>
                    <a:pt x="6" y="183"/>
                    <a:pt x="7" y="183"/>
                    <a:pt x="7" y="183"/>
                  </a:cubicBezTo>
                  <a:cubicBezTo>
                    <a:pt x="8" y="183"/>
                    <a:pt x="8" y="183"/>
                    <a:pt x="9" y="183"/>
                  </a:cubicBezTo>
                  <a:cubicBezTo>
                    <a:pt x="9" y="183"/>
                    <a:pt x="12" y="176"/>
                    <a:pt x="11" y="173"/>
                  </a:cubicBezTo>
                  <a:cubicBezTo>
                    <a:pt x="10" y="170"/>
                    <a:pt x="14" y="167"/>
                    <a:pt x="14" y="167"/>
                  </a:cubicBezTo>
                  <a:cubicBezTo>
                    <a:pt x="19" y="161"/>
                    <a:pt x="19" y="161"/>
                    <a:pt x="19" y="161"/>
                  </a:cubicBezTo>
                  <a:cubicBezTo>
                    <a:pt x="18" y="155"/>
                    <a:pt x="18" y="155"/>
                    <a:pt x="18" y="155"/>
                  </a:cubicBezTo>
                  <a:cubicBezTo>
                    <a:pt x="25" y="155"/>
                    <a:pt x="25" y="155"/>
                    <a:pt x="25" y="155"/>
                  </a:cubicBezTo>
                  <a:cubicBezTo>
                    <a:pt x="25" y="155"/>
                    <a:pt x="30" y="153"/>
                    <a:pt x="28" y="150"/>
                  </a:cubicBezTo>
                  <a:cubicBezTo>
                    <a:pt x="27" y="148"/>
                    <a:pt x="27" y="146"/>
                    <a:pt x="26" y="144"/>
                  </a:cubicBezTo>
                  <a:cubicBezTo>
                    <a:pt x="26" y="144"/>
                    <a:pt x="26" y="143"/>
                    <a:pt x="26" y="143"/>
                  </a:cubicBezTo>
                  <a:cubicBezTo>
                    <a:pt x="26" y="143"/>
                    <a:pt x="28" y="141"/>
                    <a:pt x="28" y="141"/>
                  </a:cubicBezTo>
                  <a:cubicBezTo>
                    <a:pt x="30" y="141"/>
                    <a:pt x="30" y="141"/>
                    <a:pt x="30" y="141"/>
                  </a:cubicBezTo>
                  <a:cubicBezTo>
                    <a:pt x="33" y="141"/>
                    <a:pt x="33" y="141"/>
                    <a:pt x="33" y="141"/>
                  </a:cubicBezTo>
                  <a:cubicBezTo>
                    <a:pt x="33" y="141"/>
                    <a:pt x="34" y="142"/>
                    <a:pt x="36" y="142"/>
                  </a:cubicBezTo>
                  <a:cubicBezTo>
                    <a:pt x="37" y="142"/>
                    <a:pt x="40" y="141"/>
                    <a:pt x="40" y="141"/>
                  </a:cubicBezTo>
                  <a:cubicBezTo>
                    <a:pt x="37" y="137"/>
                    <a:pt x="37" y="137"/>
                    <a:pt x="37" y="137"/>
                  </a:cubicBezTo>
                  <a:cubicBezTo>
                    <a:pt x="38" y="134"/>
                    <a:pt x="38" y="134"/>
                    <a:pt x="38" y="134"/>
                  </a:cubicBezTo>
                  <a:cubicBezTo>
                    <a:pt x="41" y="134"/>
                    <a:pt x="41" y="134"/>
                    <a:pt x="41" y="134"/>
                  </a:cubicBezTo>
                  <a:cubicBezTo>
                    <a:pt x="42" y="134"/>
                    <a:pt x="42" y="134"/>
                    <a:pt x="42" y="134"/>
                  </a:cubicBezTo>
                  <a:cubicBezTo>
                    <a:pt x="39" y="129"/>
                    <a:pt x="39" y="129"/>
                    <a:pt x="39" y="129"/>
                  </a:cubicBezTo>
                  <a:cubicBezTo>
                    <a:pt x="39" y="129"/>
                    <a:pt x="40" y="127"/>
                    <a:pt x="41" y="127"/>
                  </a:cubicBezTo>
                  <a:cubicBezTo>
                    <a:pt x="42" y="127"/>
                    <a:pt x="44" y="129"/>
                    <a:pt x="44" y="129"/>
                  </a:cubicBezTo>
                  <a:cubicBezTo>
                    <a:pt x="45" y="129"/>
                    <a:pt x="48" y="130"/>
                    <a:pt x="48" y="130"/>
                  </a:cubicBezTo>
                  <a:cubicBezTo>
                    <a:pt x="51" y="131"/>
                    <a:pt x="51" y="131"/>
                    <a:pt x="51" y="131"/>
                  </a:cubicBezTo>
                  <a:cubicBezTo>
                    <a:pt x="54" y="131"/>
                    <a:pt x="54" y="131"/>
                    <a:pt x="54" y="131"/>
                  </a:cubicBezTo>
                  <a:cubicBezTo>
                    <a:pt x="58" y="131"/>
                    <a:pt x="58" y="131"/>
                    <a:pt x="58" y="131"/>
                  </a:cubicBezTo>
                  <a:cubicBezTo>
                    <a:pt x="59" y="133"/>
                    <a:pt x="59" y="133"/>
                    <a:pt x="59" y="133"/>
                  </a:cubicBezTo>
                  <a:cubicBezTo>
                    <a:pt x="59" y="133"/>
                    <a:pt x="60" y="135"/>
                    <a:pt x="60" y="135"/>
                  </a:cubicBezTo>
                  <a:cubicBezTo>
                    <a:pt x="59" y="136"/>
                    <a:pt x="59" y="138"/>
                    <a:pt x="58" y="138"/>
                  </a:cubicBezTo>
                  <a:cubicBezTo>
                    <a:pt x="58" y="139"/>
                    <a:pt x="57" y="139"/>
                    <a:pt x="56" y="139"/>
                  </a:cubicBezTo>
                  <a:cubicBezTo>
                    <a:pt x="55" y="139"/>
                    <a:pt x="52" y="140"/>
                    <a:pt x="52" y="140"/>
                  </a:cubicBezTo>
                  <a:cubicBezTo>
                    <a:pt x="48" y="140"/>
                    <a:pt x="48" y="140"/>
                    <a:pt x="48" y="140"/>
                  </a:cubicBezTo>
                  <a:cubicBezTo>
                    <a:pt x="46" y="139"/>
                    <a:pt x="46" y="139"/>
                    <a:pt x="46" y="139"/>
                  </a:cubicBezTo>
                  <a:cubicBezTo>
                    <a:pt x="45" y="141"/>
                    <a:pt x="45" y="141"/>
                    <a:pt x="45" y="141"/>
                  </a:cubicBezTo>
                  <a:cubicBezTo>
                    <a:pt x="45" y="141"/>
                    <a:pt x="47" y="142"/>
                    <a:pt x="48" y="143"/>
                  </a:cubicBezTo>
                  <a:cubicBezTo>
                    <a:pt x="50" y="143"/>
                    <a:pt x="50" y="143"/>
                    <a:pt x="50" y="143"/>
                  </a:cubicBezTo>
                  <a:cubicBezTo>
                    <a:pt x="51" y="143"/>
                    <a:pt x="52" y="145"/>
                    <a:pt x="52" y="145"/>
                  </a:cubicBezTo>
                  <a:cubicBezTo>
                    <a:pt x="51" y="148"/>
                    <a:pt x="51" y="148"/>
                    <a:pt x="51" y="148"/>
                  </a:cubicBezTo>
                  <a:cubicBezTo>
                    <a:pt x="51" y="148"/>
                    <a:pt x="53" y="145"/>
                    <a:pt x="54" y="145"/>
                  </a:cubicBezTo>
                  <a:cubicBezTo>
                    <a:pt x="54" y="145"/>
                    <a:pt x="58" y="145"/>
                    <a:pt x="58" y="145"/>
                  </a:cubicBezTo>
                  <a:cubicBezTo>
                    <a:pt x="58" y="145"/>
                    <a:pt x="62" y="143"/>
                    <a:pt x="62" y="143"/>
                  </a:cubicBezTo>
                  <a:cubicBezTo>
                    <a:pt x="63" y="143"/>
                    <a:pt x="62" y="145"/>
                    <a:pt x="62" y="145"/>
                  </a:cubicBezTo>
                  <a:cubicBezTo>
                    <a:pt x="65" y="144"/>
                    <a:pt x="65" y="144"/>
                    <a:pt x="65" y="144"/>
                  </a:cubicBezTo>
                  <a:cubicBezTo>
                    <a:pt x="68" y="142"/>
                    <a:pt x="68" y="142"/>
                    <a:pt x="68" y="142"/>
                  </a:cubicBezTo>
                  <a:cubicBezTo>
                    <a:pt x="70" y="142"/>
                    <a:pt x="70" y="142"/>
                    <a:pt x="70" y="142"/>
                  </a:cubicBezTo>
                  <a:cubicBezTo>
                    <a:pt x="70" y="142"/>
                    <a:pt x="71" y="144"/>
                    <a:pt x="70" y="145"/>
                  </a:cubicBezTo>
                  <a:cubicBezTo>
                    <a:pt x="70" y="146"/>
                    <a:pt x="70" y="146"/>
                    <a:pt x="70" y="147"/>
                  </a:cubicBezTo>
                  <a:cubicBezTo>
                    <a:pt x="70" y="148"/>
                    <a:pt x="70" y="149"/>
                    <a:pt x="70" y="150"/>
                  </a:cubicBezTo>
                  <a:cubicBezTo>
                    <a:pt x="70" y="150"/>
                    <a:pt x="70" y="151"/>
                    <a:pt x="71" y="151"/>
                  </a:cubicBezTo>
                  <a:cubicBezTo>
                    <a:pt x="72" y="151"/>
                    <a:pt x="72" y="150"/>
                    <a:pt x="72" y="150"/>
                  </a:cubicBezTo>
                  <a:cubicBezTo>
                    <a:pt x="74" y="147"/>
                    <a:pt x="74" y="147"/>
                    <a:pt x="74" y="147"/>
                  </a:cubicBezTo>
                  <a:cubicBezTo>
                    <a:pt x="74" y="147"/>
                    <a:pt x="75" y="145"/>
                    <a:pt x="76" y="145"/>
                  </a:cubicBezTo>
                  <a:cubicBezTo>
                    <a:pt x="76" y="145"/>
                    <a:pt x="78" y="144"/>
                    <a:pt x="78" y="144"/>
                  </a:cubicBezTo>
                  <a:cubicBezTo>
                    <a:pt x="83" y="143"/>
                    <a:pt x="83" y="143"/>
                    <a:pt x="83" y="143"/>
                  </a:cubicBezTo>
                  <a:cubicBezTo>
                    <a:pt x="83" y="143"/>
                    <a:pt x="87" y="143"/>
                    <a:pt x="87" y="143"/>
                  </a:cubicBezTo>
                  <a:cubicBezTo>
                    <a:pt x="88" y="143"/>
                    <a:pt x="89" y="143"/>
                    <a:pt x="90" y="143"/>
                  </a:cubicBezTo>
                  <a:cubicBezTo>
                    <a:pt x="91" y="144"/>
                    <a:pt x="93" y="144"/>
                    <a:pt x="94" y="144"/>
                  </a:cubicBezTo>
                  <a:cubicBezTo>
                    <a:pt x="95" y="144"/>
                    <a:pt x="95" y="144"/>
                    <a:pt x="95" y="144"/>
                  </a:cubicBezTo>
                  <a:cubicBezTo>
                    <a:pt x="95" y="144"/>
                    <a:pt x="97" y="142"/>
                    <a:pt x="97" y="142"/>
                  </a:cubicBezTo>
                  <a:cubicBezTo>
                    <a:pt x="97" y="141"/>
                    <a:pt x="97" y="141"/>
                    <a:pt x="98" y="140"/>
                  </a:cubicBezTo>
                  <a:cubicBezTo>
                    <a:pt x="98" y="139"/>
                    <a:pt x="99" y="138"/>
                    <a:pt x="99" y="138"/>
                  </a:cubicBezTo>
                  <a:cubicBezTo>
                    <a:pt x="100" y="138"/>
                    <a:pt x="113" y="140"/>
                    <a:pt x="113" y="140"/>
                  </a:cubicBezTo>
                  <a:cubicBezTo>
                    <a:pt x="123" y="143"/>
                    <a:pt x="123" y="143"/>
                    <a:pt x="123" y="143"/>
                  </a:cubicBezTo>
                  <a:cubicBezTo>
                    <a:pt x="130" y="144"/>
                    <a:pt x="130" y="144"/>
                    <a:pt x="130" y="144"/>
                  </a:cubicBezTo>
                  <a:cubicBezTo>
                    <a:pt x="130" y="144"/>
                    <a:pt x="136" y="147"/>
                    <a:pt x="137" y="148"/>
                  </a:cubicBezTo>
                  <a:cubicBezTo>
                    <a:pt x="138" y="148"/>
                    <a:pt x="148" y="150"/>
                    <a:pt x="148" y="150"/>
                  </a:cubicBezTo>
                  <a:cubicBezTo>
                    <a:pt x="153" y="153"/>
                    <a:pt x="153" y="153"/>
                    <a:pt x="153" y="153"/>
                  </a:cubicBezTo>
                  <a:cubicBezTo>
                    <a:pt x="153" y="153"/>
                    <a:pt x="157" y="155"/>
                    <a:pt x="157" y="156"/>
                  </a:cubicBezTo>
                  <a:cubicBezTo>
                    <a:pt x="158" y="156"/>
                    <a:pt x="161" y="158"/>
                    <a:pt x="161" y="158"/>
                  </a:cubicBezTo>
                  <a:cubicBezTo>
                    <a:pt x="164" y="156"/>
                    <a:pt x="164" y="156"/>
                    <a:pt x="164" y="156"/>
                  </a:cubicBezTo>
                  <a:cubicBezTo>
                    <a:pt x="164" y="156"/>
                    <a:pt x="168" y="157"/>
                    <a:pt x="168" y="158"/>
                  </a:cubicBezTo>
                  <a:cubicBezTo>
                    <a:pt x="168" y="158"/>
                    <a:pt x="176" y="160"/>
                    <a:pt x="176" y="160"/>
                  </a:cubicBezTo>
                  <a:cubicBezTo>
                    <a:pt x="176" y="160"/>
                    <a:pt x="182" y="162"/>
                    <a:pt x="183" y="162"/>
                  </a:cubicBezTo>
                  <a:cubicBezTo>
                    <a:pt x="184" y="162"/>
                    <a:pt x="187" y="161"/>
                    <a:pt x="187" y="161"/>
                  </a:cubicBezTo>
                  <a:cubicBezTo>
                    <a:pt x="187" y="159"/>
                    <a:pt x="187" y="159"/>
                    <a:pt x="187" y="159"/>
                  </a:cubicBezTo>
                  <a:cubicBezTo>
                    <a:pt x="187" y="159"/>
                    <a:pt x="186" y="158"/>
                    <a:pt x="188" y="158"/>
                  </a:cubicBezTo>
                  <a:cubicBezTo>
                    <a:pt x="189" y="158"/>
                    <a:pt x="190" y="158"/>
                    <a:pt x="191" y="159"/>
                  </a:cubicBezTo>
                  <a:cubicBezTo>
                    <a:pt x="191" y="160"/>
                    <a:pt x="193" y="159"/>
                    <a:pt x="194" y="161"/>
                  </a:cubicBezTo>
                  <a:cubicBezTo>
                    <a:pt x="194" y="162"/>
                    <a:pt x="198" y="163"/>
                    <a:pt x="198" y="163"/>
                  </a:cubicBezTo>
                  <a:cubicBezTo>
                    <a:pt x="201" y="165"/>
                    <a:pt x="201" y="165"/>
                    <a:pt x="201" y="165"/>
                  </a:cubicBezTo>
                  <a:cubicBezTo>
                    <a:pt x="202" y="167"/>
                    <a:pt x="202" y="167"/>
                    <a:pt x="202" y="167"/>
                  </a:cubicBezTo>
                  <a:cubicBezTo>
                    <a:pt x="204" y="168"/>
                    <a:pt x="204" y="168"/>
                    <a:pt x="204" y="168"/>
                  </a:cubicBezTo>
                  <a:cubicBezTo>
                    <a:pt x="204" y="166"/>
                    <a:pt x="204" y="166"/>
                    <a:pt x="204" y="166"/>
                  </a:cubicBezTo>
                  <a:cubicBezTo>
                    <a:pt x="205" y="166"/>
                    <a:pt x="205" y="165"/>
                    <a:pt x="205" y="165"/>
                  </a:cubicBezTo>
                  <a:cubicBezTo>
                    <a:pt x="208" y="166"/>
                    <a:pt x="208" y="166"/>
                    <a:pt x="208" y="166"/>
                  </a:cubicBezTo>
                  <a:cubicBezTo>
                    <a:pt x="208" y="166"/>
                    <a:pt x="209" y="166"/>
                    <a:pt x="209" y="166"/>
                  </a:cubicBezTo>
                  <a:cubicBezTo>
                    <a:pt x="210" y="166"/>
                    <a:pt x="212" y="165"/>
                    <a:pt x="212" y="166"/>
                  </a:cubicBezTo>
                  <a:cubicBezTo>
                    <a:pt x="212" y="166"/>
                    <a:pt x="214" y="167"/>
                    <a:pt x="214" y="168"/>
                  </a:cubicBezTo>
                  <a:cubicBezTo>
                    <a:pt x="215" y="169"/>
                    <a:pt x="216" y="171"/>
                    <a:pt x="216" y="171"/>
                  </a:cubicBezTo>
                  <a:cubicBezTo>
                    <a:pt x="216" y="171"/>
                    <a:pt x="216" y="172"/>
                    <a:pt x="216" y="173"/>
                  </a:cubicBezTo>
                  <a:cubicBezTo>
                    <a:pt x="216" y="174"/>
                    <a:pt x="217" y="175"/>
                    <a:pt x="217" y="175"/>
                  </a:cubicBezTo>
                  <a:cubicBezTo>
                    <a:pt x="219" y="176"/>
                    <a:pt x="219" y="176"/>
                    <a:pt x="219" y="176"/>
                  </a:cubicBezTo>
                  <a:cubicBezTo>
                    <a:pt x="222" y="183"/>
                    <a:pt x="222" y="183"/>
                    <a:pt x="222" y="183"/>
                  </a:cubicBezTo>
                  <a:cubicBezTo>
                    <a:pt x="224" y="184"/>
                    <a:pt x="224" y="184"/>
                    <a:pt x="224" y="184"/>
                  </a:cubicBezTo>
                  <a:cubicBezTo>
                    <a:pt x="226" y="183"/>
                    <a:pt x="226" y="183"/>
                    <a:pt x="226" y="183"/>
                  </a:cubicBezTo>
                  <a:cubicBezTo>
                    <a:pt x="228" y="183"/>
                    <a:pt x="228" y="183"/>
                    <a:pt x="228" y="183"/>
                  </a:cubicBezTo>
                  <a:cubicBezTo>
                    <a:pt x="231" y="188"/>
                    <a:pt x="231" y="188"/>
                    <a:pt x="231" y="188"/>
                  </a:cubicBezTo>
                  <a:cubicBezTo>
                    <a:pt x="233" y="195"/>
                    <a:pt x="233" y="195"/>
                    <a:pt x="233" y="195"/>
                  </a:cubicBezTo>
                  <a:cubicBezTo>
                    <a:pt x="232" y="205"/>
                    <a:pt x="232" y="205"/>
                    <a:pt x="232" y="205"/>
                  </a:cubicBezTo>
                  <a:cubicBezTo>
                    <a:pt x="231" y="212"/>
                    <a:pt x="231" y="212"/>
                    <a:pt x="231" y="212"/>
                  </a:cubicBezTo>
                  <a:cubicBezTo>
                    <a:pt x="231" y="212"/>
                    <a:pt x="230" y="217"/>
                    <a:pt x="230" y="218"/>
                  </a:cubicBezTo>
                  <a:cubicBezTo>
                    <a:pt x="230" y="219"/>
                    <a:pt x="226" y="225"/>
                    <a:pt x="226" y="225"/>
                  </a:cubicBezTo>
                  <a:cubicBezTo>
                    <a:pt x="226" y="225"/>
                    <a:pt x="223" y="230"/>
                    <a:pt x="223" y="231"/>
                  </a:cubicBezTo>
                  <a:cubicBezTo>
                    <a:pt x="222" y="232"/>
                    <a:pt x="218" y="238"/>
                    <a:pt x="218" y="238"/>
                  </a:cubicBezTo>
                  <a:cubicBezTo>
                    <a:pt x="209" y="248"/>
                    <a:pt x="209" y="248"/>
                    <a:pt x="209" y="248"/>
                  </a:cubicBezTo>
                  <a:cubicBezTo>
                    <a:pt x="209" y="248"/>
                    <a:pt x="204" y="251"/>
                    <a:pt x="203" y="252"/>
                  </a:cubicBezTo>
                  <a:cubicBezTo>
                    <a:pt x="201" y="253"/>
                    <a:pt x="194" y="254"/>
                    <a:pt x="194" y="254"/>
                  </a:cubicBezTo>
                  <a:cubicBezTo>
                    <a:pt x="187" y="254"/>
                    <a:pt x="187" y="254"/>
                    <a:pt x="187" y="254"/>
                  </a:cubicBezTo>
                  <a:cubicBezTo>
                    <a:pt x="178" y="251"/>
                    <a:pt x="178" y="251"/>
                    <a:pt x="178" y="251"/>
                  </a:cubicBezTo>
                  <a:cubicBezTo>
                    <a:pt x="172" y="253"/>
                    <a:pt x="172" y="253"/>
                    <a:pt x="172" y="253"/>
                  </a:cubicBezTo>
                  <a:cubicBezTo>
                    <a:pt x="165" y="255"/>
                    <a:pt x="165" y="255"/>
                    <a:pt x="165" y="255"/>
                  </a:cubicBezTo>
                  <a:cubicBezTo>
                    <a:pt x="158" y="255"/>
                    <a:pt x="158" y="255"/>
                    <a:pt x="158" y="255"/>
                  </a:cubicBezTo>
                  <a:cubicBezTo>
                    <a:pt x="151" y="257"/>
                    <a:pt x="151" y="257"/>
                    <a:pt x="151" y="257"/>
                  </a:cubicBezTo>
                  <a:cubicBezTo>
                    <a:pt x="151" y="257"/>
                    <a:pt x="148" y="257"/>
                    <a:pt x="147" y="257"/>
                  </a:cubicBezTo>
                  <a:cubicBezTo>
                    <a:pt x="147" y="257"/>
                    <a:pt x="141" y="255"/>
                    <a:pt x="141" y="255"/>
                  </a:cubicBezTo>
                  <a:cubicBezTo>
                    <a:pt x="136" y="254"/>
                    <a:pt x="136" y="254"/>
                    <a:pt x="136" y="254"/>
                  </a:cubicBezTo>
                  <a:cubicBezTo>
                    <a:pt x="132" y="254"/>
                    <a:pt x="132" y="254"/>
                    <a:pt x="132" y="254"/>
                  </a:cubicBezTo>
                  <a:cubicBezTo>
                    <a:pt x="131" y="257"/>
                    <a:pt x="131" y="257"/>
                    <a:pt x="131" y="257"/>
                  </a:cubicBezTo>
                  <a:cubicBezTo>
                    <a:pt x="131" y="257"/>
                    <a:pt x="131" y="257"/>
                    <a:pt x="129" y="257"/>
                  </a:cubicBezTo>
                  <a:cubicBezTo>
                    <a:pt x="128" y="257"/>
                    <a:pt x="126" y="257"/>
                    <a:pt x="126" y="257"/>
                  </a:cubicBezTo>
                  <a:cubicBezTo>
                    <a:pt x="126" y="254"/>
                    <a:pt x="126" y="254"/>
                    <a:pt x="126" y="254"/>
                  </a:cubicBezTo>
                  <a:cubicBezTo>
                    <a:pt x="120" y="254"/>
                    <a:pt x="120" y="254"/>
                    <a:pt x="120" y="254"/>
                  </a:cubicBezTo>
                  <a:cubicBezTo>
                    <a:pt x="120" y="254"/>
                    <a:pt x="118" y="254"/>
                    <a:pt x="116" y="254"/>
                  </a:cubicBezTo>
                  <a:cubicBezTo>
                    <a:pt x="114" y="254"/>
                    <a:pt x="112" y="252"/>
                    <a:pt x="111" y="252"/>
                  </a:cubicBezTo>
                  <a:cubicBezTo>
                    <a:pt x="110" y="252"/>
                    <a:pt x="110" y="253"/>
                    <a:pt x="110" y="253"/>
                  </a:cubicBezTo>
                  <a:cubicBezTo>
                    <a:pt x="110" y="255"/>
                    <a:pt x="110" y="255"/>
                    <a:pt x="110" y="255"/>
                  </a:cubicBezTo>
                  <a:cubicBezTo>
                    <a:pt x="106" y="255"/>
                    <a:pt x="106" y="255"/>
                    <a:pt x="106" y="255"/>
                  </a:cubicBezTo>
                  <a:cubicBezTo>
                    <a:pt x="101" y="253"/>
                    <a:pt x="101" y="253"/>
                    <a:pt x="101" y="253"/>
                  </a:cubicBezTo>
                  <a:cubicBezTo>
                    <a:pt x="98" y="251"/>
                    <a:pt x="98" y="251"/>
                    <a:pt x="98" y="251"/>
                  </a:cubicBezTo>
                  <a:cubicBezTo>
                    <a:pt x="94" y="247"/>
                    <a:pt x="94" y="247"/>
                    <a:pt x="94" y="247"/>
                  </a:cubicBezTo>
                  <a:cubicBezTo>
                    <a:pt x="94" y="245"/>
                    <a:pt x="94" y="245"/>
                    <a:pt x="94" y="245"/>
                  </a:cubicBezTo>
                  <a:cubicBezTo>
                    <a:pt x="90" y="245"/>
                    <a:pt x="90" y="245"/>
                    <a:pt x="90" y="245"/>
                  </a:cubicBezTo>
                  <a:cubicBezTo>
                    <a:pt x="85" y="245"/>
                    <a:pt x="85" y="245"/>
                    <a:pt x="85" y="245"/>
                  </a:cubicBezTo>
                  <a:cubicBezTo>
                    <a:pt x="81" y="247"/>
                    <a:pt x="81" y="247"/>
                    <a:pt x="81" y="247"/>
                  </a:cubicBezTo>
                  <a:cubicBezTo>
                    <a:pt x="85" y="248"/>
                    <a:pt x="85" y="248"/>
                    <a:pt x="85" y="248"/>
                  </a:cubicBezTo>
                  <a:cubicBezTo>
                    <a:pt x="88" y="249"/>
                    <a:pt x="88" y="249"/>
                    <a:pt x="88" y="249"/>
                  </a:cubicBezTo>
                  <a:cubicBezTo>
                    <a:pt x="88" y="249"/>
                    <a:pt x="91" y="248"/>
                    <a:pt x="91" y="250"/>
                  </a:cubicBezTo>
                  <a:cubicBezTo>
                    <a:pt x="91" y="252"/>
                    <a:pt x="89" y="252"/>
                    <a:pt x="90" y="254"/>
                  </a:cubicBezTo>
                  <a:cubicBezTo>
                    <a:pt x="92" y="256"/>
                    <a:pt x="94" y="257"/>
                    <a:pt x="94" y="257"/>
                  </a:cubicBezTo>
                  <a:cubicBezTo>
                    <a:pt x="94" y="257"/>
                    <a:pt x="96" y="257"/>
                    <a:pt x="97" y="257"/>
                  </a:cubicBezTo>
                  <a:cubicBezTo>
                    <a:pt x="98" y="257"/>
                    <a:pt x="99" y="257"/>
                    <a:pt x="99" y="257"/>
                  </a:cubicBezTo>
                  <a:cubicBezTo>
                    <a:pt x="101" y="259"/>
                    <a:pt x="101" y="259"/>
                    <a:pt x="101" y="259"/>
                  </a:cubicBezTo>
                  <a:cubicBezTo>
                    <a:pt x="101" y="259"/>
                    <a:pt x="100" y="260"/>
                    <a:pt x="101" y="260"/>
                  </a:cubicBezTo>
                  <a:cubicBezTo>
                    <a:pt x="102" y="260"/>
                    <a:pt x="106" y="260"/>
                    <a:pt x="106" y="260"/>
                  </a:cubicBezTo>
                  <a:cubicBezTo>
                    <a:pt x="110" y="262"/>
                    <a:pt x="110" y="262"/>
                    <a:pt x="110" y="262"/>
                  </a:cubicBezTo>
                  <a:cubicBezTo>
                    <a:pt x="110" y="264"/>
                    <a:pt x="110" y="264"/>
                    <a:pt x="110" y="264"/>
                  </a:cubicBezTo>
                  <a:cubicBezTo>
                    <a:pt x="110" y="264"/>
                    <a:pt x="109" y="266"/>
                    <a:pt x="111" y="266"/>
                  </a:cubicBezTo>
                  <a:cubicBezTo>
                    <a:pt x="112" y="266"/>
                    <a:pt x="115" y="266"/>
                    <a:pt x="115" y="266"/>
                  </a:cubicBezTo>
                  <a:cubicBezTo>
                    <a:pt x="115" y="266"/>
                    <a:pt x="114" y="265"/>
                    <a:pt x="116" y="266"/>
                  </a:cubicBezTo>
                  <a:cubicBezTo>
                    <a:pt x="117" y="266"/>
                    <a:pt x="117" y="267"/>
                    <a:pt x="117" y="267"/>
                  </a:cubicBezTo>
                  <a:cubicBezTo>
                    <a:pt x="117" y="267"/>
                    <a:pt x="118" y="269"/>
                    <a:pt x="118" y="270"/>
                  </a:cubicBezTo>
                  <a:cubicBezTo>
                    <a:pt x="118" y="271"/>
                    <a:pt x="119" y="272"/>
                    <a:pt x="119" y="272"/>
                  </a:cubicBezTo>
                  <a:cubicBezTo>
                    <a:pt x="119" y="272"/>
                    <a:pt x="117" y="273"/>
                    <a:pt x="121" y="273"/>
                  </a:cubicBezTo>
                  <a:cubicBezTo>
                    <a:pt x="125" y="273"/>
                    <a:pt x="125" y="273"/>
                    <a:pt x="125" y="273"/>
                  </a:cubicBezTo>
                  <a:cubicBezTo>
                    <a:pt x="127" y="273"/>
                    <a:pt x="127" y="273"/>
                    <a:pt x="127" y="273"/>
                  </a:cubicBezTo>
                  <a:cubicBezTo>
                    <a:pt x="131" y="274"/>
                    <a:pt x="131" y="274"/>
                    <a:pt x="131" y="274"/>
                  </a:cubicBezTo>
                  <a:cubicBezTo>
                    <a:pt x="136" y="276"/>
                    <a:pt x="136" y="276"/>
                    <a:pt x="136" y="276"/>
                  </a:cubicBezTo>
                  <a:cubicBezTo>
                    <a:pt x="142" y="279"/>
                    <a:pt x="142" y="279"/>
                    <a:pt x="142" y="279"/>
                  </a:cubicBezTo>
                  <a:cubicBezTo>
                    <a:pt x="142" y="279"/>
                    <a:pt x="142" y="282"/>
                    <a:pt x="143" y="282"/>
                  </a:cubicBezTo>
                  <a:cubicBezTo>
                    <a:pt x="144" y="282"/>
                    <a:pt x="147" y="282"/>
                    <a:pt x="147" y="282"/>
                  </a:cubicBezTo>
                  <a:cubicBezTo>
                    <a:pt x="150" y="289"/>
                    <a:pt x="150" y="289"/>
                    <a:pt x="150" y="289"/>
                  </a:cubicBezTo>
                  <a:cubicBezTo>
                    <a:pt x="145" y="289"/>
                    <a:pt x="145" y="289"/>
                    <a:pt x="145" y="289"/>
                  </a:cubicBezTo>
                  <a:cubicBezTo>
                    <a:pt x="148" y="295"/>
                    <a:pt x="148" y="295"/>
                    <a:pt x="148" y="295"/>
                  </a:cubicBezTo>
                  <a:cubicBezTo>
                    <a:pt x="150" y="298"/>
                    <a:pt x="150" y="298"/>
                    <a:pt x="150" y="298"/>
                  </a:cubicBezTo>
                  <a:cubicBezTo>
                    <a:pt x="149" y="302"/>
                    <a:pt x="149" y="302"/>
                    <a:pt x="149" y="302"/>
                  </a:cubicBezTo>
                  <a:cubicBezTo>
                    <a:pt x="147" y="305"/>
                    <a:pt x="147" y="305"/>
                    <a:pt x="147" y="305"/>
                  </a:cubicBezTo>
                  <a:cubicBezTo>
                    <a:pt x="147" y="305"/>
                    <a:pt x="147" y="305"/>
                    <a:pt x="147" y="306"/>
                  </a:cubicBezTo>
                  <a:cubicBezTo>
                    <a:pt x="147" y="307"/>
                    <a:pt x="148" y="307"/>
                    <a:pt x="148" y="307"/>
                  </a:cubicBezTo>
                  <a:cubicBezTo>
                    <a:pt x="148" y="307"/>
                    <a:pt x="149" y="308"/>
                    <a:pt x="150" y="309"/>
                  </a:cubicBezTo>
                  <a:cubicBezTo>
                    <a:pt x="150" y="310"/>
                    <a:pt x="152" y="310"/>
                    <a:pt x="152" y="311"/>
                  </a:cubicBezTo>
                  <a:cubicBezTo>
                    <a:pt x="152" y="312"/>
                    <a:pt x="155" y="315"/>
                    <a:pt x="155" y="315"/>
                  </a:cubicBezTo>
                  <a:cubicBezTo>
                    <a:pt x="156" y="316"/>
                    <a:pt x="156" y="316"/>
                    <a:pt x="156" y="316"/>
                  </a:cubicBezTo>
                  <a:cubicBezTo>
                    <a:pt x="159" y="318"/>
                    <a:pt x="159" y="318"/>
                    <a:pt x="159" y="318"/>
                  </a:cubicBezTo>
                  <a:cubicBezTo>
                    <a:pt x="159" y="318"/>
                    <a:pt x="159" y="318"/>
                    <a:pt x="159" y="319"/>
                  </a:cubicBezTo>
                  <a:cubicBezTo>
                    <a:pt x="159" y="320"/>
                    <a:pt x="161" y="322"/>
                    <a:pt x="161" y="322"/>
                  </a:cubicBezTo>
                  <a:cubicBezTo>
                    <a:pt x="164" y="324"/>
                    <a:pt x="164" y="324"/>
                    <a:pt x="164" y="324"/>
                  </a:cubicBezTo>
                  <a:cubicBezTo>
                    <a:pt x="164" y="324"/>
                    <a:pt x="164" y="324"/>
                    <a:pt x="164" y="325"/>
                  </a:cubicBezTo>
                  <a:cubicBezTo>
                    <a:pt x="164" y="327"/>
                    <a:pt x="164" y="329"/>
                    <a:pt x="164" y="329"/>
                  </a:cubicBezTo>
                  <a:cubicBezTo>
                    <a:pt x="167" y="329"/>
                    <a:pt x="167" y="329"/>
                    <a:pt x="167" y="329"/>
                  </a:cubicBezTo>
                  <a:cubicBezTo>
                    <a:pt x="166" y="332"/>
                    <a:pt x="166" y="332"/>
                    <a:pt x="166" y="332"/>
                  </a:cubicBezTo>
                  <a:cubicBezTo>
                    <a:pt x="166" y="332"/>
                    <a:pt x="165" y="333"/>
                    <a:pt x="166" y="335"/>
                  </a:cubicBezTo>
                  <a:cubicBezTo>
                    <a:pt x="168" y="336"/>
                    <a:pt x="168" y="338"/>
                    <a:pt x="168" y="338"/>
                  </a:cubicBezTo>
                  <a:cubicBezTo>
                    <a:pt x="174" y="342"/>
                    <a:pt x="174" y="342"/>
                    <a:pt x="174" y="342"/>
                  </a:cubicBezTo>
                  <a:cubicBezTo>
                    <a:pt x="177" y="342"/>
                    <a:pt x="177" y="342"/>
                    <a:pt x="177" y="342"/>
                  </a:cubicBezTo>
                  <a:cubicBezTo>
                    <a:pt x="180" y="341"/>
                    <a:pt x="180" y="341"/>
                    <a:pt x="180" y="341"/>
                  </a:cubicBezTo>
                  <a:cubicBezTo>
                    <a:pt x="182" y="338"/>
                    <a:pt x="182" y="338"/>
                    <a:pt x="182" y="338"/>
                  </a:cubicBezTo>
                  <a:cubicBezTo>
                    <a:pt x="182" y="338"/>
                    <a:pt x="184" y="338"/>
                    <a:pt x="186" y="339"/>
                  </a:cubicBezTo>
                  <a:cubicBezTo>
                    <a:pt x="188" y="339"/>
                    <a:pt x="191" y="339"/>
                    <a:pt x="191" y="339"/>
                  </a:cubicBezTo>
                  <a:cubicBezTo>
                    <a:pt x="191" y="339"/>
                    <a:pt x="191" y="339"/>
                    <a:pt x="191" y="340"/>
                  </a:cubicBezTo>
                  <a:cubicBezTo>
                    <a:pt x="192" y="342"/>
                    <a:pt x="194" y="341"/>
                    <a:pt x="194" y="341"/>
                  </a:cubicBezTo>
                  <a:cubicBezTo>
                    <a:pt x="194" y="341"/>
                    <a:pt x="196" y="341"/>
                    <a:pt x="196" y="342"/>
                  </a:cubicBezTo>
                  <a:cubicBezTo>
                    <a:pt x="196" y="343"/>
                    <a:pt x="197" y="344"/>
                    <a:pt x="198" y="345"/>
                  </a:cubicBezTo>
                  <a:cubicBezTo>
                    <a:pt x="199" y="346"/>
                    <a:pt x="199" y="346"/>
                    <a:pt x="200" y="347"/>
                  </a:cubicBezTo>
                  <a:cubicBezTo>
                    <a:pt x="200" y="348"/>
                    <a:pt x="197" y="348"/>
                    <a:pt x="201" y="349"/>
                  </a:cubicBezTo>
                  <a:cubicBezTo>
                    <a:pt x="204" y="349"/>
                    <a:pt x="212" y="350"/>
                    <a:pt x="212" y="350"/>
                  </a:cubicBezTo>
                  <a:cubicBezTo>
                    <a:pt x="212" y="350"/>
                    <a:pt x="217" y="349"/>
                    <a:pt x="219" y="349"/>
                  </a:cubicBezTo>
                  <a:cubicBezTo>
                    <a:pt x="222" y="349"/>
                    <a:pt x="222" y="350"/>
                    <a:pt x="222" y="350"/>
                  </a:cubicBezTo>
                  <a:cubicBezTo>
                    <a:pt x="224" y="350"/>
                    <a:pt x="224" y="350"/>
                    <a:pt x="224" y="350"/>
                  </a:cubicBezTo>
                  <a:cubicBezTo>
                    <a:pt x="224" y="350"/>
                    <a:pt x="226" y="349"/>
                    <a:pt x="226" y="348"/>
                  </a:cubicBezTo>
                  <a:cubicBezTo>
                    <a:pt x="226" y="347"/>
                    <a:pt x="226" y="345"/>
                    <a:pt x="226" y="345"/>
                  </a:cubicBezTo>
                  <a:cubicBezTo>
                    <a:pt x="226" y="345"/>
                    <a:pt x="226" y="343"/>
                    <a:pt x="227" y="343"/>
                  </a:cubicBezTo>
                  <a:cubicBezTo>
                    <a:pt x="229" y="343"/>
                    <a:pt x="230" y="342"/>
                    <a:pt x="230" y="342"/>
                  </a:cubicBezTo>
                  <a:cubicBezTo>
                    <a:pt x="232" y="341"/>
                    <a:pt x="232" y="341"/>
                    <a:pt x="232" y="341"/>
                  </a:cubicBezTo>
                  <a:cubicBezTo>
                    <a:pt x="232" y="334"/>
                    <a:pt x="232" y="334"/>
                    <a:pt x="232" y="334"/>
                  </a:cubicBezTo>
                  <a:cubicBezTo>
                    <a:pt x="232" y="334"/>
                    <a:pt x="231" y="331"/>
                    <a:pt x="230" y="331"/>
                  </a:cubicBezTo>
                  <a:cubicBezTo>
                    <a:pt x="229" y="330"/>
                    <a:pt x="227" y="328"/>
                    <a:pt x="227" y="328"/>
                  </a:cubicBezTo>
                  <a:cubicBezTo>
                    <a:pt x="226" y="325"/>
                    <a:pt x="226" y="325"/>
                    <a:pt x="226" y="325"/>
                  </a:cubicBezTo>
                  <a:cubicBezTo>
                    <a:pt x="222" y="323"/>
                    <a:pt x="222" y="323"/>
                    <a:pt x="222" y="323"/>
                  </a:cubicBezTo>
                  <a:cubicBezTo>
                    <a:pt x="222" y="323"/>
                    <a:pt x="222" y="321"/>
                    <a:pt x="221" y="321"/>
                  </a:cubicBezTo>
                  <a:cubicBezTo>
                    <a:pt x="220" y="322"/>
                    <a:pt x="221" y="322"/>
                    <a:pt x="219" y="324"/>
                  </a:cubicBezTo>
                  <a:cubicBezTo>
                    <a:pt x="218" y="326"/>
                    <a:pt x="215" y="327"/>
                    <a:pt x="215" y="327"/>
                  </a:cubicBezTo>
                  <a:cubicBezTo>
                    <a:pt x="211" y="328"/>
                    <a:pt x="211" y="328"/>
                    <a:pt x="211" y="328"/>
                  </a:cubicBezTo>
                  <a:cubicBezTo>
                    <a:pt x="211" y="328"/>
                    <a:pt x="208" y="326"/>
                    <a:pt x="207" y="326"/>
                  </a:cubicBezTo>
                  <a:cubicBezTo>
                    <a:pt x="206" y="325"/>
                    <a:pt x="200" y="320"/>
                    <a:pt x="200" y="320"/>
                  </a:cubicBezTo>
                  <a:cubicBezTo>
                    <a:pt x="200" y="320"/>
                    <a:pt x="197" y="317"/>
                    <a:pt x="196" y="317"/>
                  </a:cubicBezTo>
                  <a:cubicBezTo>
                    <a:pt x="195" y="317"/>
                    <a:pt x="193" y="317"/>
                    <a:pt x="193" y="317"/>
                  </a:cubicBezTo>
                  <a:cubicBezTo>
                    <a:pt x="191" y="313"/>
                    <a:pt x="191" y="313"/>
                    <a:pt x="191" y="313"/>
                  </a:cubicBezTo>
                  <a:cubicBezTo>
                    <a:pt x="190" y="312"/>
                    <a:pt x="190" y="312"/>
                    <a:pt x="190" y="312"/>
                  </a:cubicBezTo>
                  <a:cubicBezTo>
                    <a:pt x="190" y="312"/>
                    <a:pt x="187" y="310"/>
                    <a:pt x="189" y="310"/>
                  </a:cubicBezTo>
                  <a:cubicBezTo>
                    <a:pt x="191" y="310"/>
                    <a:pt x="192" y="308"/>
                    <a:pt x="192" y="308"/>
                  </a:cubicBezTo>
                  <a:cubicBezTo>
                    <a:pt x="192" y="305"/>
                    <a:pt x="192" y="305"/>
                    <a:pt x="192" y="305"/>
                  </a:cubicBezTo>
                  <a:cubicBezTo>
                    <a:pt x="192" y="303"/>
                    <a:pt x="192" y="303"/>
                    <a:pt x="192" y="303"/>
                  </a:cubicBezTo>
                  <a:cubicBezTo>
                    <a:pt x="191" y="299"/>
                    <a:pt x="191" y="299"/>
                    <a:pt x="191" y="299"/>
                  </a:cubicBezTo>
                  <a:cubicBezTo>
                    <a:pt x="191" y="299"/>
                    <a:pt x="190" y="295"/>
                    <a:pt x="191" y="295"/>
                  </a:cubicBezTo>
                  <a:cubicBezTo>
                    <a:pt x="193" y="295"/>
                    <a:pt x="198" y="294"/>
                    <a:pt x="198" y="294"/>
                  </a:cubicBezTo>
                  <a:cubicBezTo>
                    <a:pt x="198" y="294"/>
                    <a:pt x="200" y="295"/>
                    <a:pt x="202" y="295"/>
                  </a:cubicBezTo>
                  <a:cubicBezTo>
                    <a:pt x="204" y="296"/>
                    <a:pt x="206" y="297"/>
                    <a:pt x="206" y="297"/>
                  </a:cubicBezTo>
                  <a:cubicBezTo>
                    <a:pt x="206" y="297"/>
                    <a:pt x="210" y="298"/>
                    <a:pt x="211" y="299"/>
                  </a:cubicBezTo>
                  <a:cubicBezTo>
                    <a:pt x="212" y="300"/>
                    <a:pt x="213" y="301"/>
                    <a:pt x="215" y="302"/>
                  </a:cubicBezTo>
                  <a:cubicBezTo>
                    <a:pt x="217" y="303"/>
                    <a:pt x="222" y="302"/>
                    <a:pt x="222" y="302"/>
                  </a:cubicBezTo>
                  <a:cubicBezTo>
                    <a:pt x="222" y="302"/>
                    <a:pt x="224" y="301"/>
                    <a:pt x="226" y="301"/>
                  </a:cubicBezTo>
                  <a:cubicBezTo>
                    <a:pt x="227" y="301"/>
                    <a:pt x="234" y="301"/>
                    <a:pt x="234" y="301"/>
                  </a:cubicBezTo>
                  <a:cubicBezTo>
                    <a:pt x="234" y="301"/>
                    <a:pt x="237" y="301"/>
                    <a:pt x="238" y="301"/>
                  </a:cubicBezTo>
                  <a:cubicBezTo>
                    <a:pt x="239" y="301"/>
                    <a:pt x="242" y="301"/>
                    <a:pt x="242" y="301"/>
                  </a:cubicBezTo>
                  <a:cubicBezTo>
                    <a:pt x="249" y="303"/>
                    <a:pt x="249" y="303"/>
                    <a:pt x="249" y="303"/>
                  </a:cubicBezTo>
                  <a:cubicBezTo>
                    <a:pt x="254" y="300"/>
                    <a:pt x="254" y="300"/>
                    <a:pt x="254" y="300"/>
                  </a:cubicBezTo>
                  <a:cubicBezTo>
                    <a:pt x="254" y="300"/>
                    <a:pt x="254" y="296"/>
                    <a:pt x="254" y="296"/>
                  </a:cubicBezTo>
                  <a:cubicBezTo>
                    <a:pt x="255" y="297"/>
                    <a:pt x="257" y="296"/>
                    <a:pt x="259" y="297"/>
                  </a:cubicBezTo>
                  <a:cubicBezTo>
                    <a:pt x="261" y="297"/>
                    <a:pt x="265" y="295"/>
                    <a:pt x="265" y="295"/>
                  </a:cubicBezTo>
                  <a:cubicBezTo>
                    <a:pt x="261" y="289"/>
                    <a:pt x="261" y="289"/>
                    <a:pt x="261" y="289"/>
                  </a:cubicBezTo>
                  <a:cubicBezTo>
                    <a:pt x="261" y="289"/>
                    <a:pt x="260" y="289"/>
                    <a:pt x="259" y="286"/>
                  </a:cubicBezTo>
                  <a:cubicBezTo>
                    <a:pt x="258" y="283"/>
                    <a:pt x="255" y="279"/>
                    <a:pt x="255" y="279"/>
                  </a:cubicBezTo>
                  <a:cubicBezTo>
                    <a:pt x="255" y="279"/>
                    <a:pt x="252" y="279"/>
                    <a:pt x="250" y="278"/>
                  </a:cubicBezTo>
                  <a:cubicBezTo>
                    <a:pt x="247" y="277"/>
                    <a:pt x="249" y="278"/>
                    <a:pt x="247" y="277"/>
                  </a:cubicBezTo>
                  <a:cubicBezTo>
                    <a:pt x="246" y="275"/>
                    <a:pt x="239" y="271"/>
                    <a:pt x="239" y="271"/>
                  </a:cubicBezTo>
                  <a:cubicBezTo>
                    <a:pt x="239" y="271"/>
                    <a:pt x="236" y="271"/>
                    <a:pt x="235" y="269"/>
                  </a:cubicBezTo>
                  <a:cubicBezTo>
                    <a:pt x="234" y="266"/>
                    <a:pt x="234" y="259"/>
                    <a:pt x="234" y="259"/>
                  </a:cubicBezTo>
                  <a:cubicBezTo>
                    <a:pt x="236" y="255"/>
                    <a:pt x="236" y="255"/>
                    <a:pt x="236" y="255"/>
                  </a:cubicBezTo>
                  <a:cubicBezTo>
                    <a:pt x="240" y="247"/>
                    <a:pt x="240" y="247"/>
                    <a:pt x="240" y="247"/>
                  </a:cubicBezTo>
                  <a:cubicBezTo>
                    <a:pt x="241" y="240"/>
                    <a:pt x="241" y="240"/>
                    <a:pt x="241" y="240"/>
                  </a:cubicBezTo>
                  <a:cubicBezTo>
                    <a:pt x="249" y="230"/>
                    <a:pt x="249" y="230"/>
                    <a:pt x="249" y="230"/>
                  </a:cubicBezTo>
                  <a:cubicBezTo>
                    <a:pt x="251" y="223"/>
                    <a:pt x="251" y="223"/>
                    <a:pt x="251" y="223"/>
                  </a:cubicBezTo>
                  <a:cubicBezTo>
                    <a:pt x="253" y="216"/>
                    <a:pt x="253" y="216"/>
                    <a:pt x="253" y="216"/>
                  </a:cubicBezTo>
                  <a:cubicBezTo>
                    <a:pt x="254" y="209"/>
                    <a:pt x="254" y="209"/>
                    <a:pt x="254" y="209"/>
                  </a:cubicBezTo>
                  <a:cubicBezTo>
                    <a:pt x="253" y="203"/>
                    <a:pt x="253" y="203"/>
                    <a:pt x="253" y="203"/>
                  </a:cubicBezTo>
                  <a:cubicBezTo>
                    <a:pt x="264" y="203"/>
                    <a:pt x="264" y="203"/>
                    <a:pt x="264" y="203"/>
                  </a:cubicBezTo>
                  <a:cubicBezTo>
                    <a:pt x="264" y="206"/>
                    <a:pt x="264" y="206"/>
                    <a:pt x="264" y="206"/>
                  </a:cubicBezTo>
                  <a:cubicBezTo>
                    <a:pt x="264" y="206"/>
                    <a:pt x="265" y="202"/>
                    <a:pt x="266" y="202"/>
                  </a:cubicBezTo>
                  <a:cubicBezTo>
                    <a:pt x="267" y="202"/>
                    <a:pt x="273" y="199"/>
                    <a:pt x="273" y="199"/>
                  </a:cubicBezTo>
                  <a:cubicBezTo>
                    <a:pt x="276" y="200"/>
                    <a:pt x="276" y="200"/>
                    <a:pt x="276" y="200"/>
                  </a:cubicBezTo>
                  <a:cubicBezTo>
                    <a:pt x="282" y="202"/>
                    <a:pt x="282" y="202"/>
                    <a:pt x="282" y="202"/>
                  </a:cubicBezTo>
                  <a:cubicBezTo>
                    <a:pt x="282" y="202"/>
                    <a:pt x="285" y="202"/>
                    <a:pt x="284" y="204"/>
                  </a:cubicBezTo>
                  <a:cubicBezTo>
                    <a:pt x="283" y="206"/>
                    <a:pt x="283" y="206"/>
                    <a:pt x="284" y="206"/>
                  </a:cubicBezTo>
                  <a:cubicBezTo>
                    <a:pt x="285" y="206"/>
                    <a:pt x="288" y="203"/>
                    <a:pt x="288" y="203"/>
                  </a:cubicBezTo>
                  <a:cubicBezTo>
                    <a:pt x="293" y="205"/>
                    <a:pt x="293" y="205"/>
                    <a:pt x="293" y="205"/>
                  </a:cubicBezTo>
                  <a:cubicBezTo>
                    <a:pt x="288" y="200"/>
                    <a:pt x="288" y="200"/>
                    <a:pt x="288" y="200"/>
                  </a:cubicBezTo>
                  <a:cubicBezTo>
                    <a:pt x="288" y="200"/>
                    <a:pt x="288" y="195"/>
                    <a:pt x="288" y="194"/>
                  </a:cubicBezTo>
                  <a:cubicBezTo>
                    <a:pt x="288" y="193"/>
                    <a:pt x="287" y="186"/>
                    <a:pt x="287" y="186"/>
                  </a:cubicBezTo>
                  <a:cubicBezTo>
                    <a:pt x="286" y="181"/>
                    <a:pt x="286" y="181"/>
                    <a:pt x="286" y="181"/>
                  </a:cubicBezTo>
                  <a:cubicBezTo>
                    <a:pt x="285" y="177"/>
                    <a:pt x="285" y="177"/>
                    <a:pt x="285" y="177"/>
                  </a:cubicBezTo>
                  <a:cubicBezTo>
                    <a:pt x="282" y="175"/>
                    <a:pt x="282" y="175"/>
                    <a:pt x="282" y="175"/>
                  </a:cubicBezTo>
                  <a:cubicBezTo>
                    <a:pt x="282" y="171"/>
                    <a:pt x="282" y="171"/>
                    <a:pt x="282" y="171"/>
                  </a:cubicBezTo>
                  <a:cubicBezTo>
                    <a:pt x="279" y="168"/>
                    <a:pt x="279" y="168"/>
                    <a:pt x="279" y="168"/>
                  </a:cubicBezTo>
                  <a:cubicBezTo>
                    <a:pt x="274" y="165"/>
                    <a:pt x="274" y="165"/>
                    <a:pt x="274" y="165"/>
                  </a:cubicBezTo>
                  <a:cubicBezTo>
                    <a:pt x="270" y="164"/>
                    <a:pt x="270" y="164"/>
                    <a:pt x="270" y="164"/>
                  </a:cubicBezTo>
                  <a:cubicBezTo>
                    <a:pt x="267" y="164"/>
                    <a:pt x="267" y="164"/>
                    <a:pt x="267" y="164"/>
                  </a:cubicBezTo>
                  <a:cubicBezTo>
                    <a:pt x="264" y="164"/>
                    <a:pt x="264" y="164"/>
                    <a:pt x="264" y="164"/>
                  </a:cubicBezTo>
                  <a:cubicBezTo>
                    <a:pt x="261" y="161"/>
                    <a:pt x="261" y="161"/>
                    <a:pt x="261" y="161"/>
                  </a:cubicBezTo>
                  <a:cubicBezTo>
                    <a:pt x="261" y="161"/>
                    <a:pt x="260" y="155"/>
                    <a:pt x="260" y="154"/>
                  </a:cubicBezTo>
                  <a:cubicBezTo>
                    <a:pt x="260" y="153"/>
                    <a:pt x="259" y="148"/>
                    <a:pt x="259" y="148"/>
                  </a:cubicBezTo>
                  <a:cubicBezTo>
                    <a:pt x="258" y="141"/>
                    <a:pt x="258" y="141"/>
                    <a:pt x="258" y="141"/>
                  </a:cubicBezTo>
                  <a:cubicBezTo>
                    <a:pt x="256" y="135"/>
                    <a:pt x="256" y="135"/>
                    <a:pt x="256" y="135"/>
                  </a:cubicBezTo>
                  <a:cubicBezTo>
                    <a:pt x="256" y="135"/>
                    <a:pt x="254" y="131"/>
                    <a:pt x="253" y="129"/>
                  </a:cubicBezTo>
                  <a:cubicBezTo>
                    <a:pt x="252" y="128"/>
                    <a:pt x="251" y="124"/>
                    <a:pt x="251" y="124"/>
                  </a:cubicBezTo>
                  <a:cubicBezTo>
                    <a:pt x="249" y="118"/>
                    <a:pt x="249" y="118"/>
                    <a:pt x="249" y="118"/>
                  </a:cubicBezTo>
                  <a:cubicBezTo>
                    <a:pt x="243" y="117"/>
                    <a:pt x="243" y="117"/>
                    <a:pt x="243" y="117"/>
                  </a:cubicBezTo>
                  <a:cubicBezTo>
                    <a:pt x="232" y="114"/>
                    <a:pt x="232" y="114"/>
                    <a:pt x="232" y="114"/>
                  </a:cubicBezTo>
                  <a:cubicBezTo>
                    <a:pt x="227" y="111"/>
                    <a:pt x="227" y="111"/>
                    <a:pt x="227" y="111"/>
                  </a:cubicBezTo>
                  <a:cubicBezTo>
                    <a:pt x="227" y="109"/>
                    <a:pt x="227" y="109"/>
                    <a:pt x="227" y="109"/>
                  </a:cubicBezTo>
                  <a:cubicBezTo>
                    <a:pt x="230" y="108"/>
                    <a:pt x="230" y="108"/>
                    <a:pt x="230" y="108"/>
                  </a:cubicBezTo>
                  <a:cubicBezTo>
                    <a:pt x="230" y="108"/>
                    <a:pt x="232" y="108"/>
                    <a:pt x="234" y="108"/>
                  </a:cubicBezTo>
                  <a:cubicBezTo>
                    <a:pt x="236" y="109"/>
                    <a:pt x="238" y="109"/>
                    <a:pt x="239" y="109"/>
                  </a:cubicBezTo>
                  <a:cubicBezTo>
                    <a:pt x="241" y="109"/>
                    <a:pt x="243" y="109"/>
                    <a:pt x="243" y="109"/>
                  </a:cubicBezTo>
                  <a:cubicBezTo>
                    <a:pt x="247" y="104"/>
                    <a:pt x="247" y="104"/>
                    <a:pt x="247" y="104"/>
                  </a:cubicBezTo>
                  <a:cubicBezTo>
                    <a:pt x="259" y="98"/>
                    <a:pt x="259" y="98"/>
                    <a:pt x="259" y="98"/>
                  </a:cubicBezTo>
                  <a:cubicBezTo>
                    <a:pt x="264" y="97"/>
                    <a:pt x="264" y="97"/>
                    <a:pt x="264" y="97"/>
                  </a:cubicBezTo>
                  <a:cubicBezTo>
                    <a:pt x="270" y="97"/>
                    <a:pt x="270" y="97"/>
                    <a:pt x="270" y="97"/>
                  </a:cubicBezTo>
                  <a:cubicBezTo>
                    <a:pt x="270" y="97"/>
                    <a:pt x="270" y="100"/>
                    <a:pt x="272" y="101"/>
                  </a:cubicBezTo>
                  <a:cubicBezTo>
                    <a:pt x="273" y="102"/>
                    <a:pt x="274" y="102"/>
                    <a:pt x="275" y="102"/>
                  </a:cubicBezTo>
                  <a:cubicBezTo>
                    <a:pt x="276" y="103"/>
                    <a:pt x="281" y="103"/>
                    <a:pt x="281" y="103"/>
                  </a:cubicBezTo>
                  <a:cubicBezTo>
                    <a:pt x="284" y="105"/>
                    <a:pt x="284" y="105"/>
                    <a:pt x="284" y="105"/>
                  </a:cubicBezTo>
                  <a:cubicBezTo>
                    <a:pt x="287" y="109"/>
                    <a:pt x="287" y="109"/>
                    <a:pt x="287" y="109"/>
                  </a:cubicBezTo>
                  <a:cubicBezTo>
                    <a:pt x="294" y="113"/>
                    <a:pt x="294" y="113"/>
                    <a:pt x="294" y="113"/>
                  </a:cubicBezTo>
                  <a:cubicBezTo>
                    <a:pt x="294" y="113"/>
                    <a:pt x="294" y="115"/>
                    <a:pt x="293" y="116"/>
                  </a:cubicBezTo>
                  <a:cubicBezTo>
                    <a:pt x="292" y="117"/>
                    <a:pt x="294" y="119"/>
                    <a:pt x="290" y="121"/>
                  </a:cubicBezTo>
                  <a:cubicBezTo>
                    <a:pt x="287" y="122"/>
                    <a:pt x="283" y="126"/>
                    <a:pt x="282" y="126"/>
                  </a:cubicBezTo>
                  <a:cubicBezTo>
                    <a:pt x="282" y="127"/>
                    <a:pt x="279" y="130"/>
                    <a:pt x="279" y="130"/>
                  </a:cubicBezTo>
                  <a:cubicBezTo>
                    <a:pt x="277" y="133"/>
                    <a:pt x="277" y="133"/>
                    <a:pt x="277" y="133"/>
                  </a:cubicBezTo>
                  <a:cubicBezTo>
                    <a:pt x="278" y="136"/>
                    <a:pt x="278" y="136"/>
                    <a:pt x="278" y="136"/>
                  </a:cubicBezTo>
                  <a:cubicBezTo>
                    <a:pt x="278" y="136"/>
                    <a:pt x="278" y="137"/>
                    <a:pt x="278" y="137"/>
                  </a:cubicBezTo>
                  <a:cubicBezTo>
                    <a:pt x="278" y="138"/>
                    <a:pt x="276" y="141"/>
                    <a:pt x="276" y="141"/>
                  </a:cubicBezTo>
                  <a:cubicBezTo>
                    <a:pt x="277" y="145"/>
                    <a:pt x="277" y="145"/>
                    <a:pt x="277" y="145"/>
                  </a:cubicBezTo>
                  <a:cubicBezTo>
                    <a:pt x="277" y="145"/>
                    <a:pt x="278" y="147"/>
                    <a:pt x="278" y="148"/>
                  </a:cubicBezTo>
                  <a:cubicBezTo>
                    <a:pt x="279" y="150"/>
                    <a:pt x="286" y="151"/>
                    <a:pt x="286" y="151"/>
                  </a:cubicBezTo>
                  <a:cubicBezTo>
                    <a:pt x="293" y="151"/>
                    <a:pt x="293" y="151"/>
                    <a:pt x="293" y="151"/>
                  </a:cubicBezTo>
                  <a:cubicBezTo>
                    <a:pt x="299" y="157"/>
                    <a:pt x="299" y="157"/>
                    <a:pt x="299" y="157"/>
                  </a:cubicBezTo>
                  <a:cubicBezTo>
                    <a:pt x="304" y="160"/>
                    <a:pt x="304" y="160"/>
                    <a:pt x="304" y="160"/>
                  </a:cubicBezTo>
                  <a:cubicBezTo>
                    <a:pt x="310" y="158"/>
                    <a:pt x="310" y="158"/>
                    <a:pt x="310" y="158"/>
                  </a:cubicBezTo>
                  <a:cubicBezTo>
                    <a:pt x="315" y="155"/>
                    <a:pt x="315" y="155"/>
                    <a:pt x="315" y="155"/>
                  </a:cubicBezTo>
                  <a:cubicBezTo>
                    <a:pt x="319" y="152"/>
                    <a:pt x="319" y="152"/>
                    <a:pt x="319" y="152"/>
                  </a:cubicBezTo>
                  <a:cubicBezTo>
                    <a:pt x="319" y="152"/>
                    <a:pt x="321" y="149"/>
                    <a:pt x="322" y="148"/>
                  </a:cubicBezTo>
                  <a:cubicBezTo>
                    <a:pt x="323" y="148"/>
                    <a:pt x="325" y="145"/>
                    <a:pt x="325" y="145"/>
                  </a:cubicBezTo>
                  <a:cubicBezTo>
                    <a:pt x="325" y="145"/>
                    <a:pt x="327" y="144"/>
                    <a:pt x="327" y="143"/>
                  </a:cubicBezTo>
                  <a:cubicBezTo>
                    <a:pt x="327" y="142"/>
                    <a:pt x="326" y="135"/>
                    <a:pt x="326" y="135"/>
                  </a:cubicBezTo>
                  <a:cubicBezTo>
                    <a:pt x="324" y="130"/>
                    <a:pt x="324" y="130"/>
                    <a:pt x="324" y="130"/>
                  </a:cubicBezTo>
                  <a:cubicBezTo>
                    <a:pt x="322" y="125"/>
                    <a:pt x="322" y="125"/>
                    <a:pt x="322" y="125"/>
                  </a:cubicBezTo>
                  <a:cubicBezTo>
                    <a:pt x="322" y="125"/>
                    <a:pt x="321" y="122"/>
                    <a:pt x="321" y="121"/>
                  </a:cubicBezTo>
                  <a:cubicBezTo>
                    <a:pt x="321" y="120"/>
                    <a:pt x="319" y="117"/>
                    <a:pt x="319" y="117"/>
                  </a:cubicBezTo>
                  <a:cubicBezTo>
                    <a:pt x="316" y="114"/>
                    <a:pt x="316" y="114"/>
                    <a:pt x="316" y="114"/>
                  </a:cubicBezTo>
                  <a:cubicBezTo>
                    <a:pt x="318" y="110"/>
                    <a:pt x="318" y="110"/>
                    <a:pt x="318" y="110"/>
                  </a:cubicBezTo>
                  <a:cubicBezTo>
                    <a:pt x="319" y="108"/>
                    <a:pt x="319" y="108"/>
                    <a:pt x="319" y="108"/>
                  </a:cubicBezTo>
                  <a:cubicBezTo>
                    <a:pt x="324" y="103"/>
                    <a:pt x="324" y="103"/>
                    <a:pt x="324" y="103"/>
                  </a:cubicBezTo>
                  <a:cubicBezTo>
                    <a:pt x="326" y="100"/>
                    <a:pt x="326" y="100"/>
                    <a:pt x="326" y="100"/>
                  </a:cubicBezTo>
                  <a:cubicBezTo>
                    <a:pt x="322" y="96"/>
                    <a:pt x="322" y="96"/>
                    <a:pt x="322" y="96"/>
                  </a:cubicBezTo>
                  <a:cubicBezTo>
                    <a:pt x="320" y="96"/>
                    <a:pt x="320" y="96"/>
                    <a:pt x="320" y="96"/>
                  </a:cubicBezTo>
                  <a:cubicBezTo>
                    <a:pt x="324" y="93"/>
                    <a:pt x="324" y="93"/>
                    <a:pt x="324" y="93"/>
                  </a:cubicBezTo>
                  <a:cubicBezTo>
                    <a:pt x="328" y="91"/>
                    <a:pt x="328" y="91"/>
                    <a:pt x="328" y="91"/>
                  </a:cubicBezTo>
                  <a:cubicBezTo>
                    <a:pt x="332" y="82"/>
                    <a:pt x="332" y="82"/>
                    <a:pt x="332" y="82"/>
                  </a:cubicBezTo>
                  <a:cubicBezTo>
                    <a:pt x="334" y="76"/>
                    <a:pt x="334" y="76"/>
                    <a:pt x="334" y="76"/>
                  </a:cubicBezTo>
                  <a:cubicBezTo>
                    <a:pt x="338" y="68"/>
                    <a:pt x="338" y="68"/>
                    <a:pt x="338" y="68"/>
                  </a:cubicBezTo>
                  <a:cubicBezTo>
                    <a:pt x="338" y="68"/>
                    <a:pt x="339" y="61"/>
                    <a:pt x="339" y="60"/>
                  </a:cubicBezTo>
                  <a:cubicBezTo>
                    <a:pt x="339" y="60"/>
                    <a:pt x="341" y="58"/>
                    <a:pt x="341" y="58"/>
                  </a:cubicBezTo>
                  <a:cubicBezTo>
                    <a:pt x="345" y="54"/>
                    <a:pt x="345" y="54"/>
                    <a:pt x="345" y="54"/>
                  </a:cubicBezTo>
                  <a:cubicBezTo>
                    <a:pt x="347" y="49"/>
                    <a:pt x="347" y="49"/>
                    <a:pt x="347" y="49"/>
                  </a:cubicBezTo>
                  <a:cubicBezTo>
                    <a:pt x="349" y="45"/>
                    <a:pt x="349" y="45"/>
                    <a:pt x="349" y="45"/>
                  </a:cubicBezTo>
                  <a:cubicBezTo>
                    <a:pt x="353" y="39"/>
                    <a:pt x="353" y="39"/>
                    <a:pt x="353" y="39"/>
                  </a:cubicBezTo>
                  <a:cubicBezTo>
                    <a:pt x="356" y="41"/>
                    <a:pt x="356" y="41"/>
                    <a:pt x="356" y="41"/>
                  </a:cubicBezTo>
                  <a:cubicBezTo>
                    <a:pt x="356" y="41"/>
                    <a:pt x="357" y="43"/>
                    <a:pt x="357" y="44"/>
                  </a:cubicBezTo>
                  <a:cubicBezTo>
                    <a:pt x="357" y="45"/>
                    <a:pt x="357" y="46"/>
                    <a:pt x="358" y="46"/>
                  </a:cubicBezTo>
                  <a:cubicBezTo>
                    <a:pt x="359" y="46"/>
                    <a:pt x="358" y="46"/>
                    <a:pt x="360" y="45"/>
                  </a:cubicBezTo>
                  <a:cubicBezTo>
                    <a:pt x="361" y="44"/>
                    <a:pt x="362" y="41"/>
                    <a:pt x="362" y="40"/>
                  </a:cubicBezTo>
                  <a:cubicBezTo>
                    <a:pt x="362" y="39"/>
                    <a:pt x="363" y="39"/>
                    <a:pt x="361" y="38"/>
                  </a:cubicBezTo>
                  <a:cubicBezTo>
                    <a:pt x="359" y="37"/>
                    <a:pt x="356" y="36"/>
                    <a:pt x="356" y="36"/>
                  </a:cubicBezTo>
                  <a:cubicBezTo>
                    <a:pt x="356" y="36"/>
                    <a:pt x="353" y="35"/>
                    <a:pt x="353" y="34"/>
                  </a:cubicBezTo>
                  <a:cubicBezTo>
                    <a:pt x="353" y="33"/>
                    <a:pt x="356" y="26"/>
                    <a:pt x="356" y="26"/>
                  </a:cubicBezTo>
                  <a:cubicBezTo>
                    <a:pt x="359" y="18"/>
                    <a:pt x="359" y="18"/>
                    <a:pt x="359" y="18"/>
                  </a:cubicBezTo>
                  <a:cubicBezTo>
                    <a:pt x="360" y="13"/>
                    <a:pt x="360" y="13"/>
                    <a:pt x="360" y="13"/>
                  </a:cubicBezTo>
                  <a:cubicBezTo>
                    <a:pt x="362" y="10"/>
                    <a:pt x="362" y="10"/>
                    <a:pt x="362" y="10"/>
                  </a:cubicBezTo>
                  <a:cubicBezTo>
                    <a:pt x="364" y="6"/>
                    <a:pt x="366" y="1"/>
                    <a:pt x="369" y="0"/>
                  </a:cubicBezTo>
                  <a:cubicBezTo>
                    <a:pt x="1189" y="0"/>
                    <a:pt x="1189" y="0"/>
                    <a:pt x="1189" y="0"/>
                  </a:cubicBezTo>
                  <a:cubicBezTo>
                    <a:pt x="1189" y="591"/>
                    <a:pt x="1189" y="591"/>
                    <a:pt x="1189" y="591"/>
                  </a:cubicBezTo>
                  <a:cubicBezTo>
                    <a:pt x="1177" y="595"/>
                    <a:pt x="1177" y="595"/>
                    <a:pt x="1177" y="595"/>
                  </a:cubicBezTo>
                  <a:cubicBezTo>
                    <a:pt x="1176" y="595"/>
                    <a:pt x="1153" y="592"/>
                    <a:pt x="1154" y="599"/>
                  </a:cubicBezTo>
                  <a:cubicBezTo>
                    <a:pt x="1154" y="603"/>
                    <a:pt x="1159" y="604"/>
                    <a:pt x="1159" y="604"/>
                  </a:cubicBezTo>
                  <a:cubicBezTo>
                    <a:pt x="1169" y="614"/>
                    <a:pt x="1169" y="614"/>
                    <a:pt x="1169" y="614"/>
                  </a:cubicBezTo>
                  <a:cubicBezTo>
                    <a:pt x="1168" y="619"/>
                    <a:pt x="1168" y="619"/>
                    <a:pt x="1168" y="619"/>
                  </a:cubicBezTo>
                  <a:cubicBezTo>
                    <a:pt x="1175" y="621"/>
                    <a:pt x="1175" y="621"/>
                    <a:pt x="1175" y="621"/>
                  </a:cubicBezTo>
                  <a:cubicBezTo>
                    <a:pt x="1189" y="621"/>
                    <a:pt x="1189" y="621"/>
                    <a:pt x="1189" y="621"/>
                  </a:cubicBezTo>
                  <a:cubicBezTo>
                    <a:pt x="1189" y="631"/>
                    <a:pt x="1189" y="631"/>
                    <a:pt x="1189" y="631"/>
                  </a:cubicBezTo>
                  <a:cubicBezTo>
                    <a:pt x="1180" y="632"/>
                    <a:pt x="1171" y="633"/>
                    <a:pt x="1170" y="633"/>
                  </a:cubicBezTo>
                  <a:cubicBezTo>
                    <a:pt x="1162" y="644"/>
                    <a:pt x="1162" y="644"/>
                    <a:pt x="1162" y="644"/>
                  </a:cubicBezTo>
                  <a:cubicBezTo>
                    <a:pt x="1172" y="657"/>
                    <a:pt x="1172" y="657"/>
                    <a:pt x="1172" y="657"/>
                  </a:cubicBezTo>
                  <a:cubicBezTo>
                    <a:pt x="1171" y="666"/>
                    <a:pt x="1171" y="666"/>
                    <a:pt x="1171" y="666"/>
                  </a:cubicBezTo>
                  <a:cubicBezTo>
                    <a:pt x="1162" y="672"/>
                    <a:pt x="1162" y="672"/>
                    <a:pt x="1162" y="672"/>
                  </a:cubicBezTo>
                  <a:cubicBezTo>
                    <a:pt x="1169" y="680"/>
                    <a:pt x="1169" y="680"/>
                    <a:pt x="1169" y="680"/>
                  </a:cubicBezTo>
                  <a:cubicBezTo>
                    <a:pt x="1182" y="679"/>
                    <a:pt x="1182" y="679"/>
                    <a:pt x="1182" y="679"/>
                  </a:cubicBezTo>
                  <a:cubicBezTo>
                    <a:pt x="1189" y="684"/>
                    <a:pt x="1189" y="684"/>
                    <a:pt x="1189" y="684"/>
                  </a:cubicBezTo>
                  <a:cubicBezTo>
                    <a:pt x="1189" y="722"/>
                    <a:pt x="1189" y="722"/>
                    <a:pt x="1189" y="722"/>
                  </a:cubicBezTo>
                  <a:cubicBezTo>
                    <a:pt x="1186" y="722"/>
                    <a:pt x="1183" y="723"/>
                    <a:pt x="1179" y="723"/>
                  </a:cubicBezTo>
                  <a:cubicBezTo>
                    <a:pt x="1173" y="733"/>
                    <a:pt x="1173" y="733"/>
                    <a:pt x="1173" y="733"/>
                  </a:cubicBezTo>
                  <a:cubicBezTo>
                    <a:pt x="1132" y="725"/>
                    <a:pt x="1132" y="725"/>
                    <a:pt x="1132" y="725"/>
                  </a:cubicBezTo>
                  <a:cubicBezTo>
                    <a:pt x="1119" y="717"/>
                    <a:pt x="1119" y="717"/>
                    <a:pt x="1119" y="717"/>
                  </a:cubicBezTo>
                  <a:cubicBezTo>
                    <a:pt x="1108" y="724"/>
                    <a:pt x="1111" y="722"/>
                    <a:pt x="1102" y="731"/>
                  </a:cubicBezTo>
                  <a:cubicBezTo>
                    <a:pt x="1077" y="724"/>
                    <a:pt x="1077" y="724"/>
                    <a:pt x="1077" y="724"/>
                  </a:cubicBezTo>
                  <a:cubicBezTo>
                    <a:pt x="1062" y="732"/>
                    <a:pt x="1062" y="732"/>
                    <a:pt x="1062" y="732"/>
                  </a:cubicBezTo>
                  <a:cubicBezTo>
                    <a:pt x="1044" y="749"/>
                    <a:pt x="1044" y="749"/>
                    <a:pt x="1044" y="749"/>
                  </a:cubicBezTo>
                  <a:cubicBezTo>
                    <a:pt x="1015" y="748"/>
                    <a:pt x="1015" y="748"/>
                    <a:pt x="1015" y="748"/>
                  </a:cubicBezTo>
                  <a:cubicBezTo>
                    <a:pt x="1008" y="739"/>
                    <a:pt x="1008" y="739"/>
                    <a:pt x="1008" y="739"/>
                  </a:cubicBezTo>
                  <a:cubicBezTo>
                    <a:pt x="1007" y="747"/>
                    <a:pt x="1007" y="747"/>
                    <a:pt x="1007" y="747"/>
                  </a:cubicBezTo>
                  <a:cubicBezTo>
                    <a:pt x="1013" y="755"/>
                    <a:pt x="1013" y="755"/>
                    <a:pt x="1013" y="755"/>
                  </a:cubicBezTo>
                  <a:cubicBezTo>
                    <a:pt x="1002" y="761"/>
                    <a:pt x="1002" y="761"/>
                    <a:pt x="1002" y="761"/>
                  </a:cubicBezTo>
                  <a:cubicBezTo>
                    <a:pt x="998" y="750"/>
                    <a:pt x="998" y="750"/>
                    <a:pt x="998" y="750"/>
                  </a:cubicBezTo>
                  <a:cubicBezTo>
                    <a:pt x="988" y="737"/>
                    <a:pt x="988" y="737"/>
                    <a:pt x="988" y="737"/>
                  </a:cubicBezTo>
                  <a:cubicBezTo>
                    <a:pt x="974" y="734"/>
                    <a:pt x="974" y="734"/>
                    <a:pt x="974" y="734"/>
                  </a:cubicBezTo>
                  <a:cubicBezTo>
                    <a:pt x="966" y="728"/>
                    <a:pt x="966" y="728"/>
                    <a:pt x="966" y="728"/>
                  </a:cubicBezTo>
                  <a:cubicBezTo>
                    <a:pt x="964" y="728"/>
                    <a:pt x="935" y="731"/>
                    <a:pt x="929" y="732"/>
                  </a:cubicBezTo>
                  <a:cubicBezTo>
                    <a:pt x="922" y="727"/>
                    <a:pt x="921" y="727"/>
                    <a:pt x="913" y="723"/>
                  </a:cubicBezTo>
                  <a:cubicBezTo>
                    <a:pt x="905" y="729"/>
                    <a:pt x="905" y="729"/>
                    <a:pt x="905" y="729"/>
                  </a:cubicBezTo>
                  <a:cubicBezTo>
                    <a:pt x="905" y="729"/>
                    <a:pt x="901" y="736"/>
                    <a:pt x="894" y="737"/>
                  </a:cubicBezTo>
                  <a:cubicBezTo>
                    <a:pt x="887" y="737"/>
                    <a:pt x="888" y="727"/>
                    <a:pt x="888" y="727"/>
                  </a:cubicBezTo>
                  <a:cubicBezTo>
                    <a:pt x="877" y="729"/>
                    <a:pt x="877" y="729"/>
                    <a:pt x="877" y="729"/>
                  </a:cubicBezTo>
                  <a:cubicBezTo>
                    <a:pt x="864" y="748"/>
                    <a:pt x="864" y="748"/>
                    <a:pt x="864" y="748"/>
                  </a:cubicBezTo>
                  <a:cubicBezTo>
                    <a:pt x="847" y="762"/>
                    <a:pt x="847" y="762"/>
                    <a:pt x="847" y="762"/>
                  </a:cubicBezTo>
                  <a:cubicBezTo>
                    <a:pt x="837" y="777"/>
                    <a:pt x="837" y="777"/>
                    <a:pt x="837" y="777"/>
                  </a:cubicBezTo>
                  <a:cubicBezTo>
                    <a:pt x="819" y="784"/>
                    <a:pt x="819" y="784"/>
                    <a:pt x="819" y="784"/>
                  </a:cubicBezTo>
                  <a:cubicBezTo>
                    <a:pt x="820" y="791"/>
                    <a:pt x="820" y="791"/>
                    <a:pt x="820" y="791"/>
                  </a:cubicBezTo>
                  <a:cubicBezTo>
                    <a:pt x="838" y="806"/>
                    <a:pt x="838" y="806"/>
                    <a:pt x="838" y="806"/>
                  </a:cubicBezTo>
                  <a:cubicBezTo>
                    <a:pt x="825" y="816"/>
                    <a:pt x="825" y="816"/>
                    <a:pt x="825" y="816"/>
                  </a:cubicBezTo>
                  <a:cubicBezTo>
                    <a:pt x="806" y="795"/>
                    <a:pt x="813" y="811"/>
                    <a:pt x="789" y="792"/>
                  </a:cubicBezTo>
                  <a:cubicBezTo>
                    <a:pt x="785" y="807"/>
                    <a:pt x="785" y="802"/>
                    <a:pt x="786" y="814"/>
                  </a:cubicBezTo>
                  <a:cubicBezTo>
                    <a:pt x="776" y="822"/>
                    <a:pt x="776" y="822"/>
                    <a:pt x="776" y="822"/>
                  </a:cubicBezTo>
                  <a:cubicBezTo>
                    <a:pt x="782" y="843"/>
                    <a:pt x="778" y="836"/>
                    <a:pt x="791" y="851"/>
                  </a:cubicBezTo>
                  <a:cubicBezTo>
                    <a:pt x="784" y="867"/>
                    <a:pt x="785" y="860"/>
                    <a:pt x="786" y="880"/>
                  </a:cubicBezTo>
                  <a:cubicBezTo>
                    <a:pt x="805" y="886"/>
                    <a:pt x="805" y="886"/>
                    <a:pt x="805" y="886"/>
                  </a:cubicBezTo>
                  <a:cubicBezTo>
                    <a:pt x="809" y="897"/>
                    <a:pt x="809" y="897"/>
                    <a:pt x="809" y="897"/>
                  </a:cubicBezTo>
                  <a:cubicBezTo>
                    <a:pt x="822" y="903"/>
                    <a:pt x="822" y="903"/>
                    <a:pt x="822" y="903"/>
                  </a:cubicBezTo>
                  <a:cubicBezTo>
                    <a:pt x="834" y="895"/>
                    <a:pt x="834" y="895"/>
                    <a:pt x="834" y="895"/>
                  </a:cubicBezTo>
                  <a:cubicBezTo>
                    <a:pt x="851" y="904"/>
                    <a:pt x="851" y="904"/>
                    <a:pt x="851" y="904"/>
                  </a:cubicBezTo>
                  <a:cubicBezTo>
                    <a:pt x="874" y="921"/>
                    <a:pt x="874" y="921"/>
                    <a:pt x="874" y="921"/>
                  </a:cubicBezTo>
                  <a:cubicBezTo>
                    <a:pt x="888" y="938"/>
                    <a:pt x="888" y="938"/>
                    <a:pt x="888" y="938"/>
                  </a:cubicBezTo>
                  <a:cubicBezTo>
                    <a:pt x="880" y="932"/>
                    <a:pt x="880" y="932"/>
                    <a:pt x="880" y="932"/>
                  </a:cubicBezTo>
                  <a:cubicBezTo>
                    <a:pt x="875" y="934"/>
                    <a:pt x="875" y="934"/>
                    <a:pt x="875" y="934"/>
                  </a:cubicBezTo>
                  <a:cubicBezTo>
                    <a:pt x="878" y="940"/>
                    <a:pt x="878" y="940"/>
                    <a:pt x="878" y="940"/>
                  </a:cubicBezTo>
                  <a:cubicBezTo>
                    <a:pt x="895" y="944"/>
                    <a:pt x="895" y="944"/>
                    <a:pt x="895" y="944"/>
                  </a:cubicBezTo>
                  <a:cubicBezTo>
                    <a:pt x="895" y="958"/>
                    <a:pt x="895" y="958"/>
                    <a:pt x="895" y="958"/>
                  </a:cubicBezTo>
                  <a:cubicBezTo>
                    <a:pt x="882" y="1006"/>
                    <a:pt x="882" y="1006"/>
                    <a:pt x="882" y="1006"/>
                  </a:cubicBezTo>
                  <a:cubicBezTo>
                    <a:pt x="871" y="1028"/>
                    <a:pt x="871" y="1028"/>
                    <a:pt x="871" y="1028"/>
                  </a:cubicBezTo>
                  <a:cubicBezTo>
                    <a:pt x="868" y="1042"/>
                    <a:pt x="868" y="1042"/>
                    <a:pt x="868" y="1042"/>
                  </a:cubicBezTo>
                  <a:cubicBezTo>
                    <a:pt x="867" y="1055"/>
                    <a:pt x="867" y="1055"/>
                    <a:pt x="867" y="1055"/>
                  </a:cubicBezTo>
                  <a:cubicBezTo>
                    <a:pt x="870" y="1067"/>
                    <a:pt x="870" y="1067"/>
                    <a:pt x="870" y="1067"/>
                  </a:cubicBezTo>
                  <a:cubicBezTo>
                    <a:pt x="870" y="1067"/>
                    <a:pt x="871" y="1070"/>
                    <a:pt x="873" y="1073"/>
                  </a:cubicBezTo>
                  <a:cubicBezTo>
                    <a:pt x="876" y="1076"/>
                    <a:pt x="877" y="1080"/>
                    <a:pt x="881" y="1083"/>
                  </a:cubicBezTo>
                  <a:cubicBezTo>
                    <a:pt x="886" y="1086"/>
                    <a:pt x="884" y="1087"/>
                    <a:pt x="898" y="1088"/>
                  </a:cubicBezTo>
                  <a:cubicBezTo>
                    <a:pt x="912" y="1089"/>
                    <a:pt x="899" y="1096"/>
                    <a:pt x="900" y="1098"/>
                  </a:cubicBezTo>
                  <a:cubicBezTo>
                    <a:pt x="901" y="1100"/>
                    <a:pt x="902" y="1111"/>
                    <a:pt x="907" y="1122"/>
                  </a:cubicBezTo>
                  <a:cubicBezTo>
                    <a:pt x="913" y="1133"/>
                    <a:pt x="916" y="1132"/>
                    <a:pt x="925" y="1136"/>
                  </a:cubicBezTo>
                  <a:cubicBezTo>
                    <a:pt x="933" y="1141"/>
                    <a:pt x="930" y="1143"/>
                    <a:pt x="936" y="1154"/>
                  </a:cubicBezTo>
                  <a:cubicBezTo>
                    <a:pt x="941" y="1164"/>
                    <a:pt x="955" y="1159"/>
                    <a:pt x="957" y="1159"/>
                  </a:cubicBezTo>
                  <a:cubicBezTo>
                    <a:pt x="958" y="1159"/>
                    <a:pt x="960" y="1162"/>
                    <a:pt x="962" y="1165"/>
                  </a:cubicBezTo>
                  <a:cubicBezTo>
                    <a:pt x="962" y="1165"/>
                    <a:pt x="962" y="1165"/>
                    <a:pt x="962" y="1165"/>
                  </a:cubicBezTo>
                  <a:cubicBezTo>
                    <a:pt x="962" y="1165"/>
                    <a:pt x="958" y="1170"/>
                    <a:pt x="956" y="1171"/>
                  </a:cubicBezTo>
                  <a:cubicBezTo>
                    <a:pt x="955" y="1171"/>
                    <a:pt x="954" y="1172"/>
                    <a:pt x="954" y="1173"/>
                  </a:cubicBezTo>
                  <a:cubicBezTo>
                    <a:pt x="953" y="1174"/>
                    <a:pt x="955" y="1175"/>
                    <a:pt x="954" y="1176"/>
                  </a:cubicBezTo>
                  <a:cubicBezTo>
                    <a:pt x="952" y="1177"/>
                    <a:pt x="951" y="1180"/>
                    <a:pt x="951" y="1182"/>
                  </a:cubicBezTo>
                  <a:cubicBezTo>
                    <a:pt x="951" y="1183"/>
                    <a:pt x="950" y="1185"/>
                    <a:pt x="950" y="1185"/>
                  </a:cubicBezTo>
                  <a:cubicBezTo>
                    <a:pt x="950" y="1185"/>
                    <a:pt x="946" y="1190"/>
                    <a:pt x="943" y="1190"/>
                  </a:cubicBezTo>
                  <a:cubicBezTo>
                    <a:pt x="939" y="1190"/>
                    <a:pt x="937" y="1189"/>
                    <a:pt x="934" y="1188"/>
                  </a:cubicBezTo>
                  <a:cubicBezTo>
                    <a:pt x="931" y="1187"/>
                    <a:pt x="930" y="1188"/>
                    <a:pt x="930" y="1188"/>
                  </a:cubicBezTo>
                  <a:cubicBezTo>
                    <a:pt x="930" y="1188"/>
                    <a:pt x="928" y="1188"/>
                    <a:pt x="925" y="1186"/>
                  </a:cubicBezTo>
                  <a:cubicBezTo>
                    <a:pt x="922" y="1185"/>
                    <a:pt x="924" y="1185"/>
                    <a:pt x="924" y="1185"/>
                  </a:cubicBezTo>
                  <a:cubicBezTo>
                    <a:pt x="921" y="1181"/>
                    <a:pt x="921" y="1181"/>
                    <a:pt x="921" y="1181"/>
                  </a:cubicBezTo>
                  <a:cubicBezTo>
                    <a:pt x="918" y="1178"/>
                    <a:pt x="918" y="1178"/>
                    <a:pt x="918" y="1178"/>
                  </a:cubicBezTo>
                  <a:cubicBezTo>
                    <a:pt x="918" y="1178"/>
                    <a:pt x="917" y="1177"/>
                    <a:pt x="917" y="1175"/>
                  </a:cubicBezTo>
                  <a:cubicBezTo>
                    <a:pt x="916" y="1174"/>
                    <a:pt x="916" y="1175"/>
                    <a:pt x="915" y="1175"/>
                  </a:cubicBezTo>
                  <a:cubicBezTo>
                    <a:pt x="913" y="1176"/>
                    <a:pt x="912" y="1176"/>
                    <a:pt x="911" y="1175"/>
                  </a:cubicBezTo>
                  <a:cubicBezTo>
                    <a:pt x="910" y="1175"/>
                    <a:pt x="910" y="1173"/>
                    <a:pt x="910" y="1173"/>
                  </a:cubicBezTo>
                  <a:cubicBezTo>
                    <a:pt x="909" y="1172"/>
                    <a:pt x="907" y="1171"/>
                    <a:pt x="905" y="1170"/>
                  </a:cubicBezTo>
                  <a:cubicBezTo>
                    <a:pt x="902" y="1170"/>
                    <a:pt x="903" y="1168"/>
                    <a:pt x="900" y="1168"/>
                  </a:cubicBezTo>
                  <a:cubicBezTo>
                    <a:pt x="897" y="1168"/>
                    <a:pt x="899" y="1165"/>
                    <a:pt x="899" y="1164"/>
                  </a:cubicBezTo>
                  <a:cubicBezTo>
                    <a:pt x="898" y="1163"/>
                    <a:pt x="896" y="1166"/>
                    <a:pt x="895" y="1167"/>
                  </a:cubicBezTo>
                  <a:cubicBezTo>
                    <a:pt x="894" y="1168"/>
                    <a:pt x="894" y="1169"/>
                    <a:pt x="892" y="1169"/>
                  </a:cubicBezTo>
                  <a:cubicBezTo>
                    <a:pt x="891" y="1169"/>
                    <a:pt x="891" y="1165"/>
                    <a:pt x="891" y="1165"/>
                  </a:cubicBezTo>
                  <a:cubicBezTo>
                    <a:pt x="891" y="1165"/>
                    <a:pt x="891" y="1165"/>
                    <a:pt x="887" y="1165"/>
                  </a:cubicBezTo>
                  <a:cubicBezTo>
                    <a:pt x="883" y="1164"/>
                    <a:pt x="886" y="1167"/>
                    <a:pt x="886" y="1167"/>
                  </a:cubicBezTo>
                  <a:cubicBezTo>
                    <a:pt x="883" y="1172"/>
                    <a:pt x="883" y="1172"/>
                    <a:pt x="883" y="1172"/>
                  </a:cubicBezTo>
                  <a:cubicBezTo>
                    <a:pt x="879" y="1175"/>
                    <a:pt x="879" y="1175"/>
                    <a:pt x="879" y="1175"/>
                  </a:cubicBezTo>
                  <a:cubicBezTo>
                    <a:pt x="879" y="1175"/>
                    <a:pt x="880" y="1178"/>
                    <a:pt x="880" y="1179"/>
                  </a:cubicBezTo>
                  <a:cubicBezTo>
                    <a:pt x="881" y="1181"/>
                    <a:pt x="883" y="1182"/>
                    <a:pt x="883" y="1182"/>
                  </a:cubicBezTo>
                  <a:cubicBezTo>
                    <a:pt x="883" y="1182"/>
                    <a:pt x="885" y="1184"/>
                    <a:pt x="888" y="1185"/>
                  </a:cubicBezTo>
                  <a:cubicBezTo>
                    <a:pt x="890" y="1187"/>
                    <a:pt x="890" y="1187"/>
                    <a:pt x="891" y="1187"/>
                  </a:cubicBezTo>
                  <a:cubicBezTo>
                    <a:pt x="893" y="1187"/>
                    <a:pt x="895" y="1188"/>
                    <a:pt x="898" y="1189"/>
                  </a:cubicBezTo>
                  <a:cubicBezTo>
                    <a:pt x="902" y="1191"/>
                    <a:pt x="900" y="1190"/>
                    <a:pt x="904" y="1194"/>
                  </a:cubicBezTo>
                  <a:cubicBezTo>
                    <a:pt x="909" y="1197"/>
                    <a:pt x="904" y="1194"/>
                    <a:pt x="903" y="1197"/>
                  </a:cubicBezTo>
                  <a:cubicBezTo>
                    <a:pt x="902" y="1199"/>
                    <a:pt x="898" y="1193"/>
                    <a:pt x="895" y="1194"/>
                  </a:cubicBezTo>
                  <a:cubicBezTo>
                    <a:pt x="891" y="1195"/>
                    <a:pt x="890" y="1193"/>
                    <a:pt x="888" y="1193"/>
                  </a:cubicBezTo>
                  <a:cubicBezTo>
                    <a:pt x="888" y="1193"/>
                    <a:pt x="888" y="1194"/>
                    <a:pt x="888" y="1194"/>
                  </a:cubicBezTo>
                  <a:cubicBezTo>
                    <a:pt x="887" y="1194"/>
                    <a:pt x="887" y="1194"/>
                    <a:pt x="887" y="1194"/>
                  </a:cubicBezTo>
                  <a:cubicBezTo>
                    <a:pt x="887" y="1193"/>
                    <a:pt x="886" y="1192"/>
                    <a:pt x="886" y="1192"/>
                  </a:cubicBezTo>
                  <a:cubicBezTo>
                    <a:pt x="885" y="1191"/>
                    <a:pt x="881" y="1190"/>
                    <a:pt x="881" y="1190"/>
                  </a:cubicBezTo>
                  <a:cubicBezTo>
                    <a:pt x="878" y="1190"/>
                    <a:pt x="878" y="1190"/>
                    <a:pt x="878" y="1190"/>
                  </a:cubicBezTo>
                  <a:cubicBezTo>
                    <a:pt x="876" y="1189"/>
                    <a:pt x="876" y="1189"/>
                    <a:pt x="876" y="1189"/>
                  </a:cubicBezTo>
                  <a:cubicBezTo>
                    <a:pt x="873" y="1185"/>
                    <a:pt x="873" y="1185"/>
                    <a:pt x="873" y="1185"/>
                  </a:cubicBezTo>
                  <a:cubicBezTo>
                    <a:pt x="871" y="1183"/>
                    <a:pt x="871" y="1183"/>
                    <a:pt x="871" y="1183"/>
                  </a:cubicBezTo>
                  <a:cubicBezTo>
                    <a:pt x="868" y="1180"/>
                    <a:pt x="868" y="1180"/>
                    <a:pt x="868" y="1180"/>
                  </a:cubicBezTo>
                  <a:cubicBezTo>
                    <a:pt x="869" y="1178"/>
                    <a:pt x="869" y="1178"/>
                    <a:pt x="869" y="1178"/>
                  </a:cubicBezTo>
                  <a:cubicBezTo>
                    <a:pt x="872" y="1176"/>
                    <a:pt x="872" y="1176"/>
                    <a:pt x="872" y="1176"/>
                  </a:cubicBezTo>
                  <a:cubicBezTo>
                    <a:pt x="872" y="1176"/>
                    <a:pt x="873" y="1175"/>
                    <a:pt x="874" y="1173"/>
                  </a:cubicBezTo>
                  <a:cubicBezTo>
                    <a:pt x="875" y="1171"/>
                    <a:pt x="873" y="1172"/>
                    <a:pt x="873" y="1172"/>
                  </a:cubicBezTo>
                  <a:cubicBezTo>
                    <a:pt x="873" y="1172"/>
                    <a:pt x="871" y="1170"/>
                    <a:pt x="869" y="1169"/>
                  </a:cubicBezTo>
                  <a:cubicBezTo>
                    <a:pt x="867" y="1168"/>
                    <a:pt x="865" y="1170"/>
                    <a:pt x="865" y="1170"/>
                  </a:cubicBezTo>
                  <a:cubicBezTo>
                    <a:pt x="860" y="1170"/>
                    <a:pt x="860" y="1170"/>
                    <a:pt x="860" y="1170"/>
                  </a:cubicBezTo>
                  <a:cubicBezTo>
                    <a:pt x="856" y="1169"/>
                    <a:pt x="856" y="1169"/>
                    <a:pt x="856" y="1169"/>
                  </a:cubicBezTo>
                  <a:cubicBezTo>
                    <a:pt x="853" y="1166"/>
                    <a:pt x="853" y="1166"/>
                    <a:pt x="853" y="1166"/>
                  </a:cubicBezTo>
                  <a:cubicBezTo>
                    <a:pt x="847" y="1165"/>
                    <a:pt x="847" y="1165"/>
                    <a:pt x="847" y="1165"/>
                  </a:cubicBezTo>
                  <a:cubicBezTo>
                    <a:pt x="844" y="1163"/>
                    <a:pt x="844" y="1163"/>
                    <a:pt x="844" y="1163"/>
                  </a:cubicBezTo>
                  <a:cubicBezTo>
                    <a:pt x="844" y="1163"/>
                    <a:pt x="844" y="1157"/>
                    <a:pt x="844" y="1156"/>
                  </a:cubicBezTo>
                  <a:cubicBezTo>
                    <a:pt x="844" y="1155"/>
                    <a:pt x="844" y="1152"/>
                    <a:pt x="844" y="1152"/>
                  </a:cubicBezTo>
                  <a:cubicBezTo>
                    <a:pt x="844" y="1152"/>
                    <a:pt x="839" y="1152"/>
                    <a:pt x="837" y="1152"/>
                  </a:cubicBezTo>
                  <a:cubicBezTo>
                    <a:pt x="835" y="1153"/>
                    <a:pt x="833" y="1152"/>
                    <a:pt x="833" y="1152"/>
                  </a:cubicBezTo>
                  <a:cubicBezTo>
                    <a:pt x="833" y="1152"/>
                    <a:pt x="826" y="1151"/>
                    <a:pt x="825" y="1150"/>
                  </a:cubicBezTo>
                  <a:cubicBezTo>
                    <a:pt x="825" y="1148"/>
                    <a:pt x="825" y="1148"/>
                    <a:pt x="824" y="1149"/>
                  </a:cubicBezTo>
                  <a:cubicBezTo>
                    <a:pt x="823" y="1149"/>
                    <a:pt x="818" y="1149"/>
                    <a:pt x="818" y="1149"/>
                  </a:cubicBezTo>
                  <a:cubicBezTo>
                    <a:pt x="813" y="1147"/>
                    <a:pt x="813" y="1147"/>
                    <a:pt x="813" y="1147"/>
                  </a:cubicBezTo>
                  <a:cubicBezTo>
                    <a:pt x="813" y="1154"/>
                    <a:pt x="813" y="1154"/>
                    <a:pt x="813" y="1154"/>
                  </a:cubicBezTo>
                  <a:cubicBezTo>
                    <a:pt x="812" y="1152"/>
                    <a:pt x="812" y="1152"/>
                    <a:pt x="812" y="1152"/>
                  </a:cubicBezTo>
                  <a:cubicBezTo>
                    <a:pt x="804" y="1152"/>
                    <a:pt x="804" y="1152"/>
                    <a:pt x="804" y="1152"/>
                  </a:cubicBezTo>
                  <a:cubicBezTo>
                    <a:pt x="800" y="1155"/>
                    <a:pt x="800" y="1155"/>
                    <a:pt x="800" y="1155"/>
                  </a:cubicBezTo>
                  <a:cubicBezTo>
                    <a:pt x="795" y="1156"/>
                    <a:pt x="795" y="1156"/>
                    <a:pt x="795" y="1156"/>
                  </a:cubicBezTo>
                  <a:cubicBezTo>
                    <a:pt x="796" y="1159"/>
                    <a:pt x="796" y="1159"/>
                    <a:pt x="796" y="1159"/>
                  </a:cubicBezTo>
                  <a:cubicBezTo>
                    <a:pt x="794" y="1161"/>
                    <a:pt x="794" y="1161"/>
                    <a:pt x="794" y="1161"/>
                  </a:cubicBezTo>
                  <a:cubicBezTo>
                    <a:pt x="794" y="1161"/>
                    <a:pt x="791" y="1162"/>
                    <a:pt x="790" y="1162"/>
                  </a:cubicBezTo>
                  <a:cubicBezTo>
                    <a:pt x="790" y="1162"/>
                    <a:pt x="789" y="1164"/>
                    <a:pt x="789" y="1165"/>
                  </a:cubicBezTo>
                  <a:cubicBezTo>
                    <a:pt x="788" y="1166"/>
                    <a:pt x="787" y="1166"/>
                    <a:pt x="787" y="1166"/>
                  </a:cubicBezTo>
                  <a:cubicBezTo>
                    <a:pt x="784" y="1165"/>
                    <a:pt x="784" y="1165"/>
                    <a:pt x="784" y="1165"/>
                  </a:cubicBezTo>
                  <a:cubicBezTo>
                    <a:pt x="781" y="1165"/>
                    <a:pt x="781" y="1165"/>
                    <a:pt x="781" y="1165"/>
                  </a:cubicBezTo>
                  <a:cubicBezTo>
                    <a:pt x="779" y="1164"/>
                    <a:pt x="779" y="1164"/>
                    <a:pt x="779" y="1164"/>
                  </a:cubicBezTo>
                  <a:cubicBezTo>
                    <a:pt x="781" y="1160"/>
                    <a:pt x="781" y="1160"/>
                    <a:pt x="781" y="1160"/>
                  </a:cubicBezTo>
                  <a:cubicBezTo>
                    <a:pt x="781" y="1158"/>
                    <a:pt x="781" y="1158"/>
                    <a:pt x="781" y="1158"/>
                  </a:cubicBezTo>
                  <a:cubicBezTo>
                    <a:pt x="781" y="1158"/>
                    <a:pt x="781" y="1158"/>
                    <a:pt x="781" y="1158"/>
                  </a:cubicBezTo>
                  <a:cubicBezTo>
                    <a:pt x="781" y="1158"/>
                    <a:pt x="781" y="1158"/>
                    <a:pt x="781" y="1158"/>
                  </a:cubicBezTo>
                  <a:cubicBezTo>
                    <a:pt x="776" y="1159"/>
                    <a:pt x="776" y="1159"/>
                    <a:pt x="776" y="1159"/>
                  </a:cubicBezTo>
                  <a:cubicBezTo>
                    <a:pt x="771" y="1156"/>
                    <a:pt x="771" y="1156"/>
                    <a:pt x="771" y="1156"/>
                  </a:cubicBezTo>
                  <a:cubicBezTo>
                    <a:pt x="761" y="1156"/>
                    <a:pt x="761" y="1156"/>
                    <a:pt x="761" y="1156"/>
                  </a:cubicBezTo>
                  <a:cubicBezTo>
                    <a:pt x="755" y="1155"/>
                    <a:pt x="755" y="1155"/>
                    <a:pt x="755" y="1155"/>
                  </a:cubicBezTo>
                  <a:cubicBezTo>
                    <a:pt x="751" y="1150"/>
                    <a:pt x="751" y="1150"/>
                    <a:pt x="751" y="1150"/>
                  </a:cubicBezTo>
                  <a:cubicBezTo>
                    <a:pt x="744" y="1149"/>
                    <a:pt x="744" y="1149"/>
                    <a:pt x="744" y="1149"/>
                  </a:cubicBezTo>
                  <a:cubicBezTo>
                    <a:pt x="739" y="1153"/>
                    <a:pt x="739" y="1153"/>
                    <a:pt x="739" y="1153"/>
                  </a:cubicBezTo>
                  <a:cubicBezTo>
                    <a:pt x="739" y="1153"/>
                    <a:pt x="733" y="1150"/>
                    <a:pt x="731" y="1151"/>
                  </a:cubicBezTo>
                  <a:cubicBezTo>
                    <a:pt x="729" y="1151"/>
                    <a:pt x="726" y="1152"/>
                    <a:pt x="725" y="1153"/>
                  </a:cubicBezTo>
                  <a:cubicBezTo>
                    <a:pt x="724" y="1153"/>
                    <a:pt x="724" y="1153"/>
                    <a:pt x="723" y="1154"/>
                  </a:cubicBezTo>
                  <a:cubicBezTo>
                    <a:pt x="723" y="1154"/>
                    <a:pt x="723" y="1154"/>
                    <a:pt x="723" y="1154"/>
                  </a:cubicBezTo>
                  <a:cubicBezTo>
                    <a:pt x="723" y="1154"/>
                    <a:pt x="723" y="1154"/>
                    <a:pt x="723" y="1154"/>
                  </a:cubicBezTo>
                  <a:cubicBezTo>
                    <a:pt x="723" y="1154"/>
                    <a:pt x="723" y="1154"/>
                    <a:pt x="723" y="1154"/>
                  </a:cubicBezTo>
                  <a:cubicBezTo>
                    <a:pt x="723" y="1154"/>
                    <a:pt x="723" y="1154"/>
                    <a:pt x="723" y="1154"/>
                  </a:cubicBezTo>
                  <a:cubicBezTo>
                    <a:pt x="723" y="1154"/>
                    <a:pt x="723" y="1154"/>
                    <a:pt x="723" y="1154"/>
                  </a:cubicBezTo>
                  <a:cubicBezTo>
                    <a:pt x="723" y="1154"/>
                    <a:pt x="723" y="1154"/>
                    <a:pt x="723" y="1154"/>
                  </a:cubicBezTo>
                  <a:cubicBezTo>
                    <a:pt x="723" y="1154"/>
                    <a:pt x="723" y="1154"/>
                    <a:pt x="723" y="1154"/>
                  </a:cubicBezTo>
                  <a:cubicBezTo>
                    <a:pt x="723" y="1154"/>
                    <a:pt x="723" y="1154"/>
                    <a:pt x="723" y="1154"/>
                  </a:cubicBezTo>
                  <a:cubicBezTo>
                    <a:pt x="723" y="1154"/>
                    <a:pt x="723" y="1154"/>
                    <a:pt x="723" y="1154"/>
                  </a:cubicBezTo>
                  <a:cubicBezTo>
                    <a:pt x="723" y="1154"/>
                    <a:pt x="723" y="1154"/>
                    <a:pt x="723" y="1154"/>
                  </a:cubicBezTo>
                  <a:cubicBezTo>
                    <a:pt x="723" y="1154"/>
                    <a:pt x="723" y="1154"/>
                    <a:pt x="723" y="1154"/>
                  </a:cubicBezTo>
                  <a:cubicBezTo>
                    <a:pt x="723" y="1154"/>
                    <a:pt x="723" y="1154"/>
                    <a:pt x="723" y="1154"/>
                  </a:cubicBezTo>
                  <a:cubicBezTo>
                    <a:pt x="723" y="1154"/>
                    <a:pt x="723" y="1154"/>
                    <a:pt x="723" y="1154"/>
                  </a:cubicBezTo>
                  <a:cubicBezTo>
                    <a:pt x="723" y="1155"/>
                    <a:pt x="723" y="1155"/>
                    <a:pt x="723" y="1155"/>
                  </a:cubicBezTo>
                  <a:cubicBezTo>
                    <a:pt x="723" y="1155"/>
                    <a:pt x="723" y="1155"/>
                    <a:pt x="723" y="1155"/>
                  </a:cubicBezTo>
                  <a:cubicBezTo>
                    <a:pt x="722" y="1155"/>
                    <a:pt x="722" y="1155"/>
                    <a:pt x="722" y="1155"/>
                  </a:cubicBezTo>
                  <a:cubicBezTo>
                    <a:pt x="722" y="1155"/>
                    <a:pt x="722" y="1155"/>
                    <a:pt x="722" y="1155"/>
                  </a:cubicBezTo>
                  <a:cubicBezTo>
                    <a:pt x="722" y="1155"/>
                    <a:pt x="722" y="1155"/>
                    <a:pt x="722" y="1155"/>
                  </a:cubicBezTo>
                  <a:cubicBezTo>
                    <a:pt x="722" y="1155"/>
                    <a:pt x="722" y="1155"/>
                    <a:pt x="722" y="1155"/>
                  </a:cubicBezTo>
                  <a:cubicBezTo>
                    <a:pt x="722" y="1155"/>
                    <a:pt x="722" y="1155"/>
                    <a:pt x="722" y="1155"/>
                  </a:cubicBezTo>
                  <a:cubicBezTo>
                    <a:pt x="722" y="1155"/>
                    <a:pt x="722" y="1155"/>
                    <a:pt x="722" y="1155"/>
                  </a:cubicBezTo>
                  <a:cubicBezTo>
                    <a:pt x="722" y="1155"/>
                    <a:pt x="722" y="1155"/>
                    <a:pt x="722" y="1155"/>
                  </a:cubicBezTo>
                  <a:cubicBezTo>
                    <a:pt x="722" y="1155"/>
                    <a:pt x="722" y="1155"/>
                    <a:pt x="722" y="1155"/>
                  </a:cubicBezTo>
                  <a:cubicBezTo>
                    <a:pt x="722" y="1155"/>
                    <a:pt x="722" y="1155"/>
                    <a:pt x="722" y="1155"/>
                  </a:cubicBezTo>
                  <a:cubicBezTo>
                    <a:pt x="722" y="1155"/>
                    <a:pt x="722" y="1155"/>
                    <a:pt x="722" y="1155"/>
                  </a:cubicBezTo>
                  <a:cubicBezTo>
                    <a:pt x="722" y="1155"/>
                    <a:pt x="722" y="1155"/>
                    <a:pt x="722" y="1155"/>
                  </a:cubicBezTo>
                  <a:cubicBezTo>
                    <a:pt x="722" y="1155"/>
                    <a:pt x="722" y="1155"/>
                    <a:pt x="722" y="1155"/>
                  </a:cubicBezTo>
                  <a:cubicBezTo>
                    <a:pt x="722" y="1155"/>
                    <a:pt x="722" y="1155"/>
                    <a:pt x="722" y="1155"/>
                  </a:cubicBezTo>
                  <a:cubicBezTo>
                    <a:pt x="722" y="1155"/>
                    <a:pt x="722" y="1155"/>
                    <a:pt x="722" y="1155"/>
                  </a:cubicBezTo>
                  <a:cubicBezTo>
                    <a:pt x="722" y="1155"/>
                    <a:pt x="722" y="1155"/>
                    <a:pt x="722" y="1155"/>
                  </a:cubicBezTo>
                  <a:cubicBezTo>
                    <a:pt x="722" y="1155"/>
                    <a:pt x="722" y="1155"/>
                    <a:pt x="722" y="1155"/>
                  </a:cubicBezTo>
                  <a:cubicBezTo>
                    <a:pt x="722" y="1155"/>
                    <a:pt x="722" y="1155"/>
                    <a:pt x="722" y="1155"/>
                  </a:cubicBezTo>
                  <a:cubicBezTo>
                    <a:pt x="722" y="1155"/>
                    <a:pt x="722" y="1155"/>
                    <a:pt x="722" y="1155"/>
                  </a:cubicBezTo>
                  <a:cubicBezTo>
                    <a:pt x="722" y="1155"/>
                    <a:pt x="722" y="1155"/>
                    <a:pt x="722" y="1155"/>
                  </a:cubicBezTo>
                  <a:cubicBezTo>
                    <a:pt x="722" y="1155"/>
                    <a:pt x="722" y="1155"/>
                    <a:pt x="722" y="1155"/>
                  </a:cubicBezTo>
                  <a:cubicBezTo>
                    <a:pt x="722" y="1155"/>
                    <a:pt x="722" y="1155"/>
                    <a:pt x="722" y="1155"/>
                  </a:cubicBezTo>
                  <a:cubicBezTo>
                    <a:pt x="722" y="1155"/>
                    <a:pt x="722" y="1155"/>
                    <a:pt x="722" y="1155"/>
                  </a:cubicBezTo>
                  <a:cubicBezTo>
                    <a:pt x="721" y="1155"/>
                    <a:pt x="721" y="1155"/>
                    <a:pt x="721" y="1155"/>
                  </a:cubicBezTo>
                  <a:cubicBezTo>
                    <a:pt x="721" y="1155"/>
                    <a:pt x="721" y="1155"/>
                    <a:pt x="721" y="1155"/>
                  </a:cubicBezTo>
                  <a:cubicBezTo>
                    <a:pt x="721" y="1155"/>
                    <a:pt x="721" y="1155"/>
                    <a:pt x="721" y="1155"/>
                  </a:cubicBezTo>
                  <a:cubicBezTo>
                    <a:pt x="721" y="1155"/>
                    <a:pt x="721" y="1155"/>
                    <a:pt x="721" y="1155"/>
                  </a:cubicBezTo>
                  <a:cubicBezTo>
                    <a:pt x="721" y="1155"/>
                    <a:pt x="721" y="1155"/>
                    <a:pt x="721" y="1155"/>
                  </a:cubicBezTo>
                  <a:cubicBezTo>
                    <a:pt x="721" y="1155"/>
                    <a:pt x="721" y="1155"/>
                    <a:pt x="721" y="1155"/>
                  </a:cubicBezTo>
                  <a:cubicBezTo>
                    <a:pt x="721" y="1155"/>
                    <a:pt x="721" y="1155"/>
                    <a:pt x="721" y="1155"/>
                  </a:cubicBezTo>
                  <a:cubicBezTo>
                    <a:pt x="721" y="1155"/>
                    <a:pt x="721" y="1155"/>
                    <a:pt x="721" y="1155"/>
                  </a:cubicBezTo>
                  <a:cubicBezTo>
                    <a:pt x="720" y="1156"/>
                    <a:pt x="718" y="1155"/>
                    <a:pt x="717" y="1155"/>
                  </a:cubicBezTo>
                  <a:cubicBezTo>
                    <a:pt x="716" y="1156"/>
                    <a:pt x="715" y="1157"/>
                    <a:pt x="713" y="1157"/>
                  </a:cubicBezTo>
                  <a:cubicBezTo>
                    <a:pt x="712" y="1157"/>
                    <a:pt x="711" y="1156"/>
                    <a:pt x="710" y="1156"/>
                  </a:cubicBezTo>
                  <a:cubicBezTo>
                    <a:pt x="709" y="1157"/>
                    <a:pt x="708" y="1157"/>
                    <a:pt x="707" y="1157"/>
                  </a:cubicBezTo>
                  <a:cubicBezTo>
                    <a:pt x="705" y="1157"/>
                    <a:pt x="704" y="1156"/>
                    <a:pt x="704" y="1156"/>
                  </a:cubicBezTo>
                  <a:cubicBezTo>
                    <a:pt x="701" y="1156"/>
                    <a:pt x="701" y="1156"/>
                    <a:pt x="701" y="1156"/>
                  </a:cubicBezTo>
                  <a:cubicBezTo>
                    <a:pt x="699" y="1154"/>
                    <a:pt x="699" y="1154"/>
                    <a:pt x="699" y="1154"/>
                  </a:cubicBezTo>
                  <a:cubicBezTo>
                    <a:pt x="699" y="1154"/>
                    <a:pt x="698" y="1155"/>
                    <a:pt x="696" y="1155"/>
                  </a:cubicBezTo>
                  <a:cubicBezTo>
                    <a:pt x="694" y="1155"/>
                    <a:pt x="692" y="1154"/>
                    <a:pt x="691" y="1154"/>
                  </a:cubicBezTo>
                  <a:cubicBezTo>
                    <a:pt x="689" y="1155"/>
                    <a:pt x="687" y="1155"/>
                    <a:pt x="687" y="1155"/>
                  </a:cubicBezTo>
                  <a:cubicBezTo>
                    <a:pt x="681" y="1153"/>
                    <a:pt x="681" y="1153"/>
                    <a:pt x="681" y="1153"/>
                  </a:cubicBezTo>
                  <a:cubicBezTo>
                    <a:pt x="677" y="1152"/>
                    <a:pt x="677" y="1152"/>
                    <a:pt x="677" y="1152"/>
                  </a:cubicBezTo>
                  <a:cubicBezTo>
                    <a:pt x="673" y="1151"/>
                    <a:pt x="673" y="1151"/>
                    <a:pt x="673" y="1151"/>
                  </a:cubicBezTo>
                  <a:cubicBezTo>
                    <a:pt x="671" y="1153"/>
                    <a:pt x="671" y="1153"/>
                    <a:pt x="671" y="1153"/>
                  </a:cubicBezTo>
                  <a:cubicBezTo>
                    <a:pt x="667" y="1153"/>
                    <a:pt x="667" y="1153"/>
                    <a:pt x="667" y="1153"/>
                  </a:cubicBezTo>
                  <a:cubicBezTo>
                    <a:pt x="667" y="1153"/>
                    <a:pt x="663" y="1152"/>
                    <a:pt x="660" y="1153"/>
                  </a:cubicBezTo>
                  <a:cubicBezTo>
                    <a:pt x="659" y="1153"/>
                    <a:pt x="656" y="1155"/>
                    <a:pt x="656" y="1155"/>
                  </a:cubicBezTo>
                  <a:cubicBezTo>
                    <a:pt x="655" y="1156"/>
                    <a:pt x="658" y="1159"/>
                    <a:pt x="656" y="1159"/>
                  </a:cubicBezTo>
                  <a:cubicBezTo>
                    <a:pt x="633" y="1156"/>
                    <a:pt x="604" y="1146"/>
                    <a:pt x="580" y="1140"/>
                  </a:cubicBezTo>
                  <a:cubicBezTo>
                    <a:pt x="580" y="1140"/>
                    <a:pt x="560" y="1135"/>
                    <a:pt x="557" y="1135"/>
                  </a:cubicBezTo>
                  <a:cubicBezTo>
                    <a:pt x="554" y="1135"/>
                    <a:pt x="547" y="1126"/>
                    <a:pt x="547" y="1124"/>
                  </a:cubicBezTo>
                  <a:cubicBezTo>
                    <a:pt x="547" y="1122"/>
                    <a:pt x="546" y="1114"/>
                    <a:pt x="550" y="1113"/>
                  </a:cubicBezTo>
                  <a:cubicBezTo>
                    <a:pt x="553" y="1111"/>
                    <a:pt x="553" y="1111"/>
                    <a:pt x="558" y="1106"/>
                  </a:cubicBezTo>
                  <a:cubicBezTo>
                    <a:pt x="563" y="1101"/>
                    <a:pt x="563" y="1096"/>
                    <a:pt x="563" y="1096"/>
                  </a:cubicBezTo>
                  <a:cubicBezTo>
                    <a:pt x="551" y="1089"/>
                    <a:pt x="551" y="1089"/>
                    <a:pt x="551" y="1089"/>
                  </a:cubicBezTo>
                  <a:cubicBezTo>
                    <a:pt x="551" y="1089"/>
                    <a:pt x="537" y="1097"/>
                    <a:pt x="535" y="1095"/>
                  </a:cubicBezTo>
                  <a:cubicBezTo>
                    <a:pt x="532" y="1093"/>
                    <a:pt x="519" y="1102"/>
                    <a:pt x="519" y="1102"/>
                  </a:cubicBezTo>
                  <a:cubicBezTo>
                    <a:pt x="506" y="1103"/>
                    <a:pt x="506" y="1103"/>
                    <a:pt x="506" y="1103"/>
                  </a:cubicBezTo>
                  <a:cubicBezTo>
                    <a:pt x="506" y="1101"/>
                    <a:pt x="506" y="1101"/>
                    <a:pt x="506" y="1101"/>
                  </a:cubicBezTo>
                  <a:cubicBezTo>
                    <a:pt x="506" y="1101"/>
                    <a:pt x="509" y="1093"/>
                    <a:pt x="512" y="1095"/>
                  </a:cubicBezTo>
                  <a:cubicBezTo>
                    <a:pt x="515" y="1085"/>
                    <a:pt x="515" y="1085"/>
                    <a:pt x="515" y="1085"/>
                  </a:cubicBezTo>
                  <a:cubicBezTo>
                    <a:pt x="514" y="1074"/>
                    <a:pt x="514" y="1074"/>
                    <a:pt x="514" y="1074"/>
                  </a:cubicBezTo>
                  <a:cubicBezTo>
                    <a:pt x="510" y="1059"/>
                    <a:pt x="510" y="1059"/>
                    <a:pt x="510" y="1059"/>
                  </a:cubicBezTo>
                  <a:cubicBezTo>
                    <a:pt x="526" y="1058"/>
                    <a:pt x="526" y="1058"/>
                    <a:pt x="526" y="1058"/>
                  </a:cubicBezTo>
                  <a:cubicBezTo>
                    <a:pt x="541" y="1050"/>
                    <a:pt x="541" y="1050"/>
                    <a:pt x="541" y="1050"/>
                  </a:cubicBezTo>
                  <a:cubicBezTo>
                    <a:pt x="536" y="1042"/>
                    <a:pt x="536" y="1042"/>
                    <a:pt x="536" y="1042"/>
                  </a:cubicBezTo>
                  <a:cubicBezTo>
                    <a:pt x="522" y="1046"/>
                    <a:pt x="522" y="1046"/>
                    <a:pt x="522" y="1046"/>
                  </a:cubicBezTo>
                  <a:cubicBezTo>
                    <a:pt x="510" y="1044"/>
                    <a:pt x="510" y="1044"/>
                    <a:pt x="510" y="1044"/>
                  </a:cubicBezTo>
                  <a:cubicBezTo>
                    <a:pt x="492" y="1059"/>
                    <a:pt x="492" y="1059"/>
                    <a:pt x="492" y="1059"/>
                  </a:cubicBezTo>
                  <a:cubicBezTo>
                    <a:pt x="473" y="1059"/>
                    <a:pt x="473" y="1059"/>
                    <a:pt x="473" y="1059"/>
                  </a:cubicBezTo>
                  <a:cubicBezTo>
                    <a:pt x="467" y="1058"/>
                    <a:pt x="467" y="1058"/>
                    <a:pt x="467" y="1058"/>
                  </a:cubicBezTo>
                  <a:cubicBezTo>
                    <a:pt x="467" y="1056"/>
                    <a:pt x="468" y="1055"/>
                    <a:pt x="468" y="1055"/>
                  </a:cubicBezTo>
                  <a:cubicBezTo>
                    <a:pt x="470" y="1054"/>
                    <a:pt x="482" y="1050"/>
                    <a:pt x="482" y="1050"/>
                  </a:cubicBezTo>
                  <a:cubicBezTo>
                    <a:pt x="490" y="1045"/>
                    <a:pt x="490" y="1045"/>
                    <a:pt x="490" y="1045"/>
                  </a:cubicBezTo>
                  <a:cubicBezTo>
                    <a:pt x="490" y="1045"/>
                    <a:pt x="494" y="1039"/>
                    <a:pt x="496" y="1039"/>
                  </a:cubicBezTo>
                  <a:cubicBezTo>
                    <a:pt x="498" y="1038"/>
                    <a:pt x="499" y="1035"/>
                    <a:pt x="501" y="1032"/>
                  </a:cubicBezTo>
                  <a:cubicBezTo>
                    <a:pt x="503" y="1028"/>
                    <a:pt x="505" y="1026"/>
                    <a:pt x="505" y="1026"/>
                  </a:cubicBezTo>
                  <a:cubicBezTo>
                    <a:pt x="505" y="1026"/>
                    <a:pt x="514" y="1024"/>
                    <a:pt x="514" y="1022"/>
                  </a:cubicBezTo>
                  <a:cubicBezTo>
                    <a:pt x="513" y="1021"/>
                    <a:pt x="510" y="1018"/>
                    <a:pt x="515" y="1018"/>
                  </a:cubicBezTo>
                  <a:cubicBezTo>
                    <a:pt x="519" y="1017"/>
                    <a:pt x="519" y="1018"/>
                    <a:pt x="521" y="1017"/>
                  </a:cubicBezTo>
                  <a:cubicBezTo>
                    <a:pt x="523" y="1015"/>
                    <a:pt x="523" y="1014"/>
                    <a:pt x="524" y="1012"/>
                  </a:cubicBezTo>
                  <a:cubicBezTo>
                    <a:pt x="524" y="1011"/>
                    <a:pt x="526" y="1008"/>
                    <a:pt x="525" y="1006"/>
                  </a:cubicBezTo>
                  <a:cubicBezTo>
                    <a:pt x="525" y="1005"/>
                    <a:pt x="521" y="999"/>
                    <a:pt x="520" y="997"/>
                  </a:cubicBezTo>
                  <a:cubicBezTo>
                    <a:pt x="520" y="995"/>
                    <a:pt x="521" y="990"/>
                    <a:pt x="521" y="990"/>
                  </a:cubicBezTo>
                  <a:cubicBezTo>
                    <a:pt x="521" y="990"/>
                    <a:pt x="523" y="989"/>
                    <a:pt x="525" y="988"/>
                  </a:cubicBezTo>
                  <a:cubicBezTo>
                    <a:pt x="527" y="986"/>
                    <a:pt x="530" y="981"/>
                    <a:pt x="530" y="981"/>
                  </a:cubicBezTo>
                  <a:cubicBezTo>
                    <a:pt x="531" y="977"/>
                    <a:pt x="531" y="977"/>
                    <a:pt x="531" y="977"/>
                  </a:cubicBezTo>
                  <a:cubicBezTo>
                    <a:pt x="531" y="977"/>
                    <a:pt x="534" y="975"/>
                    <a:pt x="535" y="974"/>
                  </a:cubicBezTo>
                  <a:cubicBezTo>
                    <a:pt x="537" y="974"/>
                    <a:pt x="549" y="969"/>
                    <a:pt x="550" y="969"/>
                  </a:cubicBezTo>
                  <a:cubicBezTo>
                    <a:pt x="551" y="969"/>
                    <a:pt x="559" y="969"/>
                    <a:pt x="557" y="966"/>
                  </a:cubicBezTo>
                  <a:cubicBezTo>
                    <a:pt x="554" y="962"/>
                    <a:pt x="553" y="960"/>
                    <a:pt x="553" y="958"/>
                  </a:cubicBezTo>
                  <a:cubicBezTo>
                    <a:pt x="552" y="956"/>
                    <a:pt x="552" y="950"/>
                    <a:pt x="552" y="949"/>
                  </a:cubicBezTo>
                  <a:cubicBezTo>
                    <a:pt x="553" y="948"/>
                    <a:pt x="560" y="947"/>
                    <a:pt x="552" y="946"/>
                  </a:cubicBezTo>
                  <a:cubicBezTo>
                    <a:pt x="545" y="945"/>
                    <a:pt x="551" y="942"/>
                    <a:pt x="549" y="941"/>
                  </a:cubicBezTo>
                  <a:cubicBezTo>
                    <a:pt x="546" y="939"/>
                    <a:pt x="542" y="936"/>
                    <a:pt x="542" y="936"/>
                  </a:cubicBezTo>
                  <a:cubicBezTo>
                    <a:pt x="539" y="936"/>
                    <a:pt x="539" y="936"/>
                    <a:pt x="539" y="936"/>
                  </a:cubicBezTo>
                  <a:cubicBezTo>
                    <a:pt x="540" y="928"/>
                    <a:pt x="540" y="928"/>
                    <a:pt x="540" y="928"/>
                  </a:cubicBezTo>
                  <a:cubicBezTo>
                    <a:pt x="540" y="928"/>
                    <a:pt x="542" y="925"/>
                    <a:pt x="543" y="924"/>
                  </a:cubicBezTo>
                  <a:cubicBezTo>
                    <a:pt x="544" y="924"/>
                    <a:pt x="545" y="921"/>
                    <a:pt x="543" y="921"/>
                  </a:cubicBezTo>
                  <a:cubicBezTo>
                    <a:pt x="542" y="921"/>
                    <a:pt x="537" y="923"/>
                    <a:pt x="537" y="923"/>
                  </a:cubicBezTo>
                  <a:cubicBezTo>
                    <a:pt x="537" y="923"/>
                    <a:pt x="533" y="922"/>
                    <a:pt x="533" y="920"/>
                  </a:cubicBezTo>
                  <a:cubicBezTo>
                    <a:pt x="534" y="918"/>
                    <a:pt x="535" y="918"/>
                    <a:pt x="538" y="916"/>
                  </a:cubicBezTo>
                  <a:cubicBezTo>
                    <a:pt x="540" y="913"/>
                    <a:pt x="541" y="912"/>
                    <a:pt x="541" y="912"/>
                  </a:cubicBezTo>
                  <a:cubicBezTo>
                    <a:pt x="540" y="907"/>
                    <a:pt x="540" y="907"/>
                    <a:pt x="540" y="907"/>
                  </a:cubicBezTo>
                  <a:cubicBezTo>
                    <a:pt x="540" y="907"/>
                    <a:pt x="540" y="904"/>
                    <a:pt x="539" y="903"/>
                  </a:cubicBezTo>
                  <a:cubicBezTo>
                    <a:pt x="539" y="903"/>
                    <a:pt x="535" y="894"/>
                    <a:pt x="535" y="894"/>
                  </a:cubicBezTo>
                  <a:cubicBezTo>
                    <a:pt x="535" y="894"/>
                    <a:pt x="529" y="892"/>
                    <a:pt x="529" y="893"/>
                  </a:cubicBezTo>
                  <a:cubicBezTo>
                    <a:pt x="529" y="895"/>
                    <a:pt x="527" y="898"/>
                    <a:pt x="527" y="898"/>
                  </a:cubicBezTo>
                  <a:cubicBezTo>
                    <a:pt x="522" y="898"/>
                    <a:pt x="522" y="898"/>
                    <a:pt x="522" y="898"/>
                  </a:cubicBezTo>
                  <a:cubicBezTo>
                    <a:pt x="519" y="895"/>
                    <a:pt x="519" y="895"/>
                    <a:pt x="519" y="895"/>
                  </a:cubicBezTo>
                  <a:cubicBezTo>
                    <a:pt x="511" y="894"/>
                    <a:pt x="511" y="894"/>
                    <a:pt x="511" y="894"/>
                  </a:cubicBezTo>
                  <a:cubicBezTo>
                    <a:pt x="511" y="894"/>
                    <a:pt x="511" y="895"/>
                    <a:pt x="510" y="896"/>
                  </a:cubicBezTo>
                  <a:cubicBezTo>
                    <a:pt x="510" y="896"/>
                    <a:pt x="504" y="892"/>
                    <a:pt x="504" y="892"/>
                  </a:cubicBezTo>
                  <a:cubicBezTo>
                    <a:pt x="504" y="892"/>
                    <a:pt x="502" y="896"/>
                    <a:pt x="501" y="896"/>
                  </a:cubicBezTo>
                  <a:cubicBezTo>
                    <a:pt x="500" y="896"/>
                    <a:pt x="495" y="895"/>
                    <a:pt x="495" y="895"/>
                  </a:cubicBezTo>
                  <a:cubicBezTo>
                    <a:pt x="488" y="895"/>
                    <a:pt x="488" y="895"/>
                    <a:pt x="488" y="895"/>
                  </a:cubicBezTo>
                  <a:cubicBezTo>
                    <a:pt x="482" y="896"/>
                    <a:pt x="482" y="896"/>
                    <a:pt x="482" y="896"/>
                  </a:cubicBezTo>
                  <a:cubicBezTo>
                    <a:pt x="477" y="894"/>
                    <a:pt x="477" y="894"/>
                    <a:pt x="477" y="894"/>
                  </a:cubicBezTo>
                  <a:cubicBezTo>
                    <a:pt x="476" y="896"/>
                    <a:pt x="476" y="896"/>
                    <a:pt x="476" y="896"/>
                  </a:cubicBezTo>
                  <a:cubicBezTo>
                    <a:pt x="477" y="900"/>
                    <a:pt x="477" y="900"/>
                    <a:pt x="477" y="900"/>
                  </a:cubicBezTo>
                  <a:cubicBezTo>
                    <a:pt x="473" y="903"/>
                    <a:pt x="473" y="903"/>
                    <a:pt x="473" y="903"/>
                  </a:cubicBezTo>
                  <a:cubicBezTo>
                    <a:pt x="467" y="900"/>
                    <a:pt x="467" y="900"/>
                    <a:pt x="467" y="900"/>
                  </a:cubicBezTo>
                  <a:cubicBezTo>
                    <a:pt x="464" y="899"/>
                    <a:pt x="464" y="899"/>
                    <a:pt x="464" y="899"/>
                  </a:cubicBezTo>
                  <a:cubicBezTo>
                    <a:pt x="458" y="894"/>
                    <a:pt x="458" y="894"/>
                    <a:pt x="458" y="894"/>
                  </a:cubicBezTo>
                  <a:cubicBezTo>
                    <a:pt x="453" y="892"/>
                    <a:pt x="453" y="892"/>
                    <a:pt x="453" y="892"/>
                  </a:cubicBezTo>
                  <a:cubicBezTo>
                    <a:pt x="448" y="890"/>
                    <a:pt x="448" y="890"/>
                    <a:pt x="448" y="890"/>
                  </a:cubicBezTo>
                  <a:cubicBezTo>
                    <a:pt x="448" y="890"/>
                    <a:pt x="446" y="896"/>
                    <a:pt x="445" y="896"/>
                  </a:cubicBezTo>
                  <a:cubicBezTo>
                    <a:pt x="444" y="896"/>
                    <a:pt x="441" y="898"/>
                    <a:pt x="439" y="898"/>
                  </a:cubicBezTo>
                  <a:cubicBezTo>
                    <a:pt x="438" y="899"/>
                    <a:pt x="437" y="903"/>
                    <a:pt x="437" y="903"/>
                  </a:cubicBezTo>
                  <a:cubicBezTo>
                    <a:pt x="433" y="905"/>
                    <a:pt x="433" y="905"/>
                    <a:pt x="433" y="905"/>
                  </a:cubicBezTo>
                  <a:cubicBezTo>
                    <a:pt x="433" y="905"/>
                    <a:pt x="431" y="903"/>
                    <a:pt x="429" y="904"/>
                  </a:cubicBezTo>
                  <a:cubicBezTo>
                    <a:pt x="428" y="904"/>
                    <a:pt x="428" y="904"/>
                    <a:pt x="428" y="904"/>
                  </a:cubicBezTo>
                  <a:cubicBezTo>
                    <a:pt x="426" y="907"/>
                    <a:pt x="426" y="907"/>
                    <a:pt x="426" y="907"/>
                  </a:cubicBezTo>
                  <a:cubicBezTo>
                    <a:pt x="426" y="907"/>
                    <a:pt x="425" y="907"/>
                    <a:pt x="423" y="906"/>
                  </a:cubicBezTo>
                  <a:cubicBezTo>
                    <a:pt x="421" y="904"/>
                    <a:pt x="418" y="903"/>
                    <a:pt x="418" y="903"/>
                  </a:cubicBezTo>
                  <a:cubicBezTo>
                    <a:pt x="416" y="902"/>
                    <a:pt x="416" y="902"/>
                    <a:pt x="416" y="902"/>
                  </a:cubicBezTo>
                  <a:cubicBezTo>
                    <a:pt x="416" y="902"/>
                    <a:pt x="409" y="905"/>
                    <a:pt x="408" y="906"/>
                  </a:cubicBezTo>
                  <a:cubicBezTo>
                    <a:pt x="408" y="907"/>
                    <a:pt x="407" y="909"/>
                    <a:pt x="407" y="909"/>
                  </a:cubicBezTo>
                  <a:cubicBezTo>
                    <a:pt x="402" y="906"/>
                    <a:pt x="402" y="906"/>
                    <a:pt x="402" y="906"/>
                  </a:cubicBezTo>
                  <a:cubicBezTo>
                    <a:pt x="397" y="903"/>
                    <a:pt x="397" y="903"/>
                    <a:pt x="397" y="903"/>
                  </a:cubicBezTo>
                  <a:cubicBezTo>
                    <a:pt x="397" y="897"/>
                    <a:pt x="397" y="897"/>
                    <a:pt x="397" y="897"/>
                  </a:cubicBezTo>
                  <a:cubicBezTo>
                    <a:pt x="388" y="890"/>
                    <a:pt x="388" y="890"/>
                    <a:pt x="388" y="890"/>
                  </a:cubicBezTo>
                  <a:cubicBezTo>
                    <a:pt x="386" y="881"/>
                    <a:pt x="386" y="881"/>
                    <a:pt x="386" y="881"/>
                  </a:cubicBezTo>
                  <a:cubicBezTo>
                    <a:pt x="380" y="877"/>
                    <a:pt x="380" y="877"/>
                    <a:pt x="380" y="877"/>
                  </a:cubicBezTo>
                  <a:cubicBezTo>
                    <a:pt x="376" y="881"/>
                    <a:pt x="376" y="881"/>
                    <a:pt x="376" y="881"/>
                  </a:cubicBezTo>
                  <a:cubicBezTo>
                    <a:pt x="369" y="880"/>
                    <a:pt x="369" y="880"/>
                    <a:pt x="369" y="880"/>
                  </a:cubicBezTo>
                  <a:close/>
                  <a:moveTo>
                    <a:pt x="287" y="58"/>
                  </a:moveTo>
                  <a:cubicBezTo>
                    <a:pt x="287" y="58"/>
                    <a:pt x="287" y="58"/>
                    <a:pt x="287" y="58"/>
                  </a:cubicBezTo>
                  <a:cubicBezTo>
                    <a:pt x="288" y="59"/>
                    <a:pt x="288" y="59"/>
                    <a:pt x="288" y="59"/>
                  </a:cubicBezTo>
                  <a:cubicBezTo>
                    <a:pt x="288" y="59"/>
                    <a:pt x="293" y="64"/>
                    <a:pt x="297" y="64"/>
                  </a:cubicBezTo>
                  <a:cubicBezTo>
                    <a:pt x="300" y="64"/>
                    <a:pt x="297" y="64"/>
                    <a:pt x="301" y="63"/>
                  </a:cubicBezTo>
                  <a:cubicBezTo>
                    <a:pt x="305" y="62"/>
                    <a:pt x="305" y="59"/>
                    <a:pt x="307" y="57"/>
                  </a:cubicBezTo>
                  <a:cubicBezTo>
                    <a:pt x="309" y="54"/>
                    <a:pt x="309" y="54"/>
                    <a:pt x="309" y="52"/>
                  </a:cubicBezTo>
                  <a:cubicBezTo>
                    <a:pt x="309" y="50"/>
                    <a:pt x="308" y="46"/>
                    <a:pt x="308" y="43"/>
                  </a:cubicBezTo>
                  <a:cubicBezTo>
                    <a:pt x="308" y="40"/>
                    <a:pt x="311" y="41"/>
                    <a:pt x="313" y="41"/>
                  </a:cubicBezTo>
                  <a:cubicBezTo>
                    <a:pt x="315" y="41"/>
                    <a:pt x="312" y="35"/>
                    <a:pt x="312" y="35"/>
                  </a:cubicBezTo>
                  <a:cubicBezTo>
                    <a:pt x="312" y="35"/>
                    <a:pt x="305" y="32"/>
                    <a:pt x="301" y="32"/>
                  </a:cubicBezTo>
                  <a:cubicBezTo>
                    <a:pt x="298" y="32"/>
                    <a:pt x="291" y="31"/>
                    <a:pt x="291" y="31"/>
                  </a:cubicBezTo>
                  <a:cubicBezTo>
                    <a:pt x="282" y="42"/>
                    <a:pt x="282" y="42"/>
                    <a:pt x="282" y="42"/>
                  </a:cubicBezTo>
                  <a:cubicBezTo>
                    <a:pt x="282" y="42"/>
                    <a:pt x="286" y="58"/>
                    <a:pt x="287" y="58"/>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 name="Freeform 75"/>
            <p:cNvSpPr>
              <a:spLocks noEditPoints="1"/>
            </p:cNvSpPr>
            <p:nvPr/>
          </p:nvSpPr>
          <p:spPr bwMode="auto">
            <a:xfrm>
              <a:off x="4116464" y="2940910"/>
              <a:ext cx="678749" cy="1210461"/>
            </a:xfrm>
            <a:custGeom>
              <a:avLst/>
              <a:gdLst>
                <a:gd name="T0" fmla="*/ 24 w 234"/>
                <a:gd name="T1" fmla="*/ 434 h 443"/>
                <a:gd name="T2" fmla="*/ 78 w 234"/>
                <a:gd name="T3" fmla="*/ 436 h 443"/>
                <a:gd name="T4" fmla="*/ 140 w 234"/>
                <a:gd name="T5" fmla="*/ 427 h 443"/>
                <a:gd name="T6" fmla="*/ 171 w 234"/>
                <a:gd name="T7" fmla="*/ 429 h 443"/>
                <a:gd name="T8" fmla="*/ 205 w 234"/>
                <a:gd name="T9" fmla="*/ 408 h 443"/>
                <a:gd name="T10" fmla="*/ 229 w 234"/>
                <a:gd name="T11" fmla="*/ 377 h 443"/>
                <a:gd name="T12" fmla="*/ 202 w 234"/>
                <a:gd name="T13" fmla="*/ 328 h 443"/>
                <a:gd name="T14" fmla="*/ 192 w 234"/>
                <a:gd name="T15" fmla="*/ 297 h 443"/>
                <a:gd name="T16" fmla="*/ 167 w 234"/>
                <a:gd name="T17" fmla="*/ 227 h 443"/>
                <a:gd name="T18" fmla="*/ 127 w 234"/>
                <a:gd name="T19" fmla="*/ 196 h 443"/>
                <a:gd name="T20" fmla="*/ 133 w 234"/>
                <a:gd name="T21" fmla="*/ 183 h 443"/>
                <a:gd name="T22" fmla="*/ 178 w 234"/>
                <a:gd name="T23" fmla="*/ 139 h 443"/>
                <a:gd name="T24" fmla="*/ 134 w 234"/>
                <a:gd name="T25" fmla="*/ 127 h 443"/>
                <a:gd name="T26" fmla="*/ 116 w 234"/>
                <a:gd name="T27" fmla="*/ 126 h 443"/>
                <a:gd name="T28" fmla="*/ 134 w 234"/>
                <a:gd name="T29" fmla="*/ 110 h 443"/>
                <a:gd name="T30" fmla="*/ 126 w 234"/>
                <a:gd name="T31" fmla="*/ 87 h 443"/>
                <a:gd name="T32" fmla="*/ 110 w 234"/>
                <a:gd name="T33" fmla="*/ 86 h 443"/>
                <a:gd name="T34" fmla="*/ 103 w 234"/>
                <a:gd name="T35" fmla="*/ 111 h 443"/>
                <a:gd name="T36" fmla="*/ 90 w 234"/>
                <a:gd name="T37" fmla="*/ 115 h 443"/>
                <a:gd name="T38" fmla="*/ 87 w 234"/>
                <a:gd name="T39" fmla="*/ 133 h 443"/>
                <a:gd name="T40" fmla="*/ 73 w 234"/>
                <a:gd name="T41" fmla="*/ 116 h 443"/>
                <a:gd name="T42" fmla="*/ 68 w 234"/>
                <a:gd name="T43" fmla="*/ 128 h 443"/>
                <a:gd name="T44" fmla="*/ 84 w 234"/>
                <a:gd name="T45" fmla="*/ 139 h 443"/>
                <a:gd name="T46" fmla="*/ 68 w 234"/>
                <a:gd name="T47" fmla="*/ 154 h 443"/>
                <a:gd name="T48" fmla="*/ 77 w 234"/>
                <a:gd name="T49" fmla="*/ 169 h 443"/>
                <a:gd name="T50" fmla="*/ 53 w 234"/>
                <a:gd name="T51" fmla="*/ 195 h 443"/>
                <a:gd name="T52" fmla="*/ 71 w 234"/>
                <a:gd name="T53" fmla="*/ 187 h 443"/>
                <a:gd name="T54" fmla="*/ 68 w 234"/>
                <a:gd name="T55" fmla="*/ 206 h 443"/>
                <a:gd name="T56" fmla="*/ 81 w 234"/>
                <a:gd name="T57" fmla="*/ 191 h 443"/>
                <a:gd name="T58" fmla="*/ 79 w 234"/>
                <a:gd name="T59" fmla="*/ 247 h 443"/>
                <a:gd name="T60" fmla="*/ 107 w 234"/>
                <a:gd name="T61" fmla="*/ 247 h 443"/>
                <a:gd name="T62" fmla="*/ 115 w 234"/>
                <a:gd name="T63" fmla="*/ 271 h 443"/>
                <a:gd name="T64" fmla="*/ 116 w 234"/>
                <a:gd name="T65" fmla="*/ 308 h 443"/>
                <a:gd name="T66" fmla="*/ 78 w 234"/>
                <a:gd name="T67" fmla="*/ 303 h 443"/>
                <a:gd name="T68" fmla="*/ 84 w 234"/>
                <a:gd name="T69" fmla="*/ 340 h 443"/>
                <a:gd name="T70" fmla="*/ 50 w 234"/>
                <a:gd name="T71" fmla="*/ 371 h 443"/>
                <a:gd name="T72" fmla="*/ 82 w 234"/>
                <a:gd name="T73" fmla="*/ 380 h 443"/>
                <a:gd name="T74" fmla="*/ 112 w 234"/>
                <a:gd name="T75" fmla="*/ 388 h 443"/>
                <a:gd name="T76" fmla="*/ 40 w 234"/>
                <a:gd name="T77" fmla="*/ 214 h 443"/>
                <a:gd name="T78" fmla="*/ 65 w 234"/>
                <a:gd name="T79" fmla="*/ 253 h 443"/>
                <a:gd name="T80" fmla="*/ 34 w 234"/>
                <a:gd name="T81" fmla="*/ 261 h 443"/>
                <a:gd name="T82" fmla="*/ 11 w 234"/>
                <a:gd name="T83" fmla="*/ 232 h 443"/>
                <a:gd name="T84" fmla="*/ 61 w 234"/>
                <a:gd name="T85" fmla="*/ 183 h 443"/>
                <a:gd name="T86" fmla="*/ 83 w 234"/>
                <a:gd name="T87" fmla="*/ 212 h 443"/>
                <a:gd name="T88" fmla="*/ 53 w 234"/>
                <a:gd name="T89" fmla="*/ 160 h 443"/>
                <a:gd name="T90" fmla="*/ 63 w 234"/>
                <a:gd name="T91" fmla="*/ 138 h 443"/>
                <a:gd name="T92" fmla="*/ 37 w 234"/>
                <a:gd name="T93" fmla="*/ 143 h 443"/>
                <a:gd name="T94" fmla="*/ 48 w 234"/>
                <a:gd name="T95" fmla="*/ 128 h 443"/>
                <a:gd name="T96" fmla="*/ 56 w 234"/>
                <a:gd name="T97" fmla="*/ 107 h 443"/>
                <a:gd name="T98" fmla="*/ 65 w 234"/>
                <a:gd name="T99" fmla="*/ 86 h 443"/>
                <a:gd name="T100" fmla="*/ 76 w 234"/>
                <a:gd name="T101" fmla="*/ 94 h 443"/>
                <a:gd name="T102" fmla="*/ 215 w 234"/>
                <a:gd name="T103" fmla="*/ 12 h 443"/>
                <a:gd name="T104" fmla="*/ 198 w 234"/>
                <a:gd name="T105" fmla="*/ 22 h 443"/>
                <a:gd name="T106" fmla="*/ 217 w 234"/>
                <a:gd name="T107" fmla="*/ 2 h 443"/>
                <a:gd name="T108" fmla="*/ 209 w 234"/>
                <a:gd name="T109" fmla="*/ 24 h 443"/>
                <a:gd name="T110" fmla="*/ 195 w 234"/>
                <a:gd name="T111" fmla="*/ 52 h 443"/>
                <a:gd name="T112" fmla="*/ 178 w 234"/>
                <a:gd name="T113" fmla="*/ 58 h 443"/>
                <a:gd name="T114" fmla="*/ 166 w 234"/>
                <a:gd name="T115" fmla="*/ 65 h 443"/>
                <a:gd name="T116" fmla="*/ 165 w 234"/>
                <a:gd name="T117" fmla="*/ 61 h 443"/>
                <a:gd name="T118" fmla="*/ 154 w 234"/>
                <a:gd name="T119" fmla="*/ 74 h 443"/>
                <a:gd name="T120" fmla="*/ 151 w 234"/>
                <a:gd name="T121" fmla="*/ 75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4" h="443">
                  <a:moveTo>
                    <a:pt x="59" y="403"/>
                  </a:moveTo>
                  <a:cubicBezTo>
                    <a:pt x="56" y="406"/>
                    <a:pt x="56" y="406"/>
                    <a:pt x="56" y="406"/>
                  </a:cubicBezTo>
                  <a:cubicBezTo>
                    <a:pt x="56" y="409"/>
                    <a:pt x="56" y="409"/>
                    <a:pt x="56" y="409"/>
                  </a:cubicBezTo>
                  <a:cubicBezTo>
                    <a:pt x="54" y="412"/>
                    <a:pt x="54" y="412"/>
                    <a:pt x="54" y="412"/>
                  </a:cubicBezTo>
                  <a:cubicBezTo>
                    <a:pt x="54" y="412"/>
                    <a:pt x="53" y="413"/>
                    <a:pt x="52" y="413"/>
                  </a:cubicBezTo>
                  <a:cubicBezTo>
                    <a:pt x="52" y="414"/>
                    <a:pt x="49" y="417"/>
                    <a:pt x="49" y="417"/>
                  </a:cubicBezTo>
                  <a:cubicBezTo>
                    <a:pt x="49" y="417"/>
                    <a:pt x="48" y="417"/>
                    <a:pt x="48" y="418"/>
                  </a:cubicBezTo>
                  <a:cubicBezTo>
                    <a:pt x="47" y="418"/>
                    <a:pt x="42" y="420"/>
                    <a:pt x="42" y="420"/>
                  </a:cubicBezTo>
                  <a:cubicBezTo>
                    <a:pt x="40" y="423"/>
                    <a:pt x="40" y="423"/>
                    <a:pt x="40" y="423"/>
                  </a:cubicBezTo>
                  <a:cubicBezTo>
                    <a:pt x="36" y="424"/>
                    <a:pt x="36" y="424"/>
                    <a:pt x="36" y="424"/>
                  </a:cubicBezTo>
                  <a:cubicBezTo>
                    <a:pt x="34" y="428"/>
                    <a:pt x="34" y="428"/>
                    <a:pt x="34" y="428"/>
                  </a:cubicBezTo>
                  <a:cubicBezTo>
                    <a:pt x="30" y="430"/>
                    <a:pt x="30" y="430"/>
                    <a:pt x="30" y="430"/>
                  </a:cubicBezTo>
                  <a:cubicBezTo>
                    <a:pt x="27" y="430"/>
                    <a:pt x="27" y="430"/>
                    <a:pt x="27" y="430"/>
                  </a:cubicBezTo>
                  <a:cubicBezTo>
                    <a:pt x="24" y="429"/>
                    <a:pt x="24" y="429"/>
                    <a:pt x="24" y="429"/>
                  </a:cubicBezTo>
                  <a:cubicBezTo>
                    <a:pt x="21" y="430"/>
                    <a:pt x="21" y="430"/>
                    <a:pt x="21" y="430"/>
                  </a:cubicBezTo>
                  <a:cubicBezTo>
                    <a:pt x="19" y="432"/>
                    <a:pt x="19" y="432"/>
                    <a:pt x="19" y="432"/>
                  </a:cubicBezTo>
                  <a:cubicBezTo>
                    <a:pt x="20" y="435"/>
                    <a:pt x="20" y="435"/>
                    <a:pt x="20" y="435"/>
                  </a:cubicBezTo>
                  <a:cubicBezTo>
                    <a:pt x="23" y="437"/>
                    <a:pt x="23" y="437"/>
                    <a:pt x="23" y="437"/>
                  </a:cubicBezTo>
                  <a:cubicBezTo>
                    <a:pt x="24" y="434"/>
                    <a:pt x="24" y="434"/>
                    <a:pt x="24" y="434"/>
                  </a:cubicBezTo>
                  <a:cubicBezTo>
                    <a:pt x="29" y="437"/>
                    <a:pt x="29" y="437"/>
                    <a:pt x="29" y="437"/>
                  </a:cubicBezTo>
                  <a:cubicBezTo>
                    <a:pt x="29" y="437"/>
                    <a:pt x="31" y="439"/>
                    <a:pt x="31" y="440"/>
                  </a:cubicBezTo>
                  <a:cubicBezTo>
                    <a:pt x="31" y="440"/>
                    <a:pt x="31" y="443"/>
                    <a:pt x="32" y="442"/>
                  </a:cubicBezTo>
                  <a:cubicBezTo>
                    <a:pt x="33" y="442"/>
                    <a:pt x="36" y="439"/>
                    <a:pt x="36" y="439"/>
                  </a:cubicBezTo>
                  <a:cubicBezTo>
                    <a:pt x="35" y="436"/>
                    <a:pt x="35" y="436"/>
                    <a:pt x="35" y="436"/>
                  </a:cubicBezTo>
                  <a:cubicBezTo>
                    <a:pt x="35" y="436"/>
                    <a:pt x="38" y="435"/>
                    <a:pt x="39" y="435"/>
                  </a:cubicBezTo>
                  <a:cubicBezTo>
                    <a:pt x="41" y="436"/>
                    <a:pt x="42" y="436"/>
                    <a:pt x="43" y="435"/>
                  </a:cubicBezTo>
                  <a:cubicBezTo>
                    <a:pt x="43" y="434"/>
                    <a:pt x="45" y="433"/>
                    <a:pt x="45" y="433"/>
                  </a:cubicBezTo>
                  <a:cubicBezTo>
                    <a:pt x="45" y="433"/>
                    <a:pt x="47" y="432"/>
                    <a:pt x="47" y="431"/>
                  </a:cubicBezTo>
                  <a:cubicBezTo>
                    <a:pt x="47" y="430"/>
                    <a:pt x="50" y="429"/>
                    <a:pt x="50" y="429"/>
                  </a:cubicBezTo>
                  <a:cubicBezTo>
                    <a:pt x="50" y="429"/>
                    <a:pt x="55" y="431"/>
                    <a:pt x="56" y="431"/>
                  </a:cubicBezTo>
                  <a:cubicBezTo>
                    <a:pt x="57" y="431"/>
                    <a:pt x="62" y="430"/>
                    <a:pt x="62" y="430"/>
                  </a:cubicBezTo>
                  <a:cubicBezTo>
                    <a:pt x="65" y="432"/>
                    <a:pt x="65" y="432"/>
                    <a:pt x="65" y="432"/>
                  </a:cubicBezTo>
                  <a:cubicBezTo>
                    <a:pt x="65" y="432"/>
                    <a:pt x="65" y="434"/>
                    <a:pt x="66" y="434"/>
                  </a:cubicBezTo>
                  <a:cubicBezTo>
                    <a:pt x="68" y="435"/>
                    <a:pt x="69" y="434"/>
                    <a:pt x="69" y="434"/>
                  </a:cubicBezTo>
                  <a:cubicBezTo>
                    <a:pt x="71" y="437"/>
                    <a:pt x="71" y="437"/>
                    <a:pt x="71" y="437"/>
                  </a:cubicBezTo>
                  <a:cubicBezTo>
                    <a:pt x="74" y="440"/>
                    <a:pt x="74" y="440"/>
                    <a:pt x="74" y="440"/>
                  </a:cubicBezTo>
                  <a:cubicBezTo>
                    <a:pt x="74" y="440"/>
                    <a:pt x="76" y="439"/>
                    <a:pt x="76" y="439"/>
                  </a:cubicBezTo>
                  <a:cubicBezTo>
                    <a:pt x="76" y="438"/>
                    <a:pt x="77" y="436"/>
                    <a:pt x="78" y="436"/>
                  </a:cubicBezTo>
                  <a:cubicBezTo>
                    <a:pt x="78" y="435"/>
                    <a:pt x="81" y="435"/>
                    <a:pt x="81" y="435"/>
                  </a:cubicBezTo>
                  <a:cubicBezTo>
                    <a:pt x="81" y="435"/>
                    <a:pt x="81" y="433"/>
                    <a:pt x="81" y="432"/>
                  </a:cubicBezTo>
                  <a:cubicBezTo>
                    <a:pt x="81" y="431"/>
                    <a:pt x="81" y="428"/>
                    <a:pt x="81" y="428"/>
                  </a:cubicBezTo>
                  <a:cubicBezTo>
                    <a:pt x="82" y="427"/>
                    <a:pt x="84" y="424"/>
                    <a:pt x="84" y="424"/>
                  </a:cubicBezTo>
                  <a:cubicBezTo>
                    <a:pt x="88" y="423"/>
                    <a:pt x="88" y="423"/>
                    <a:pt x="88" y="423"/>
                  </a:cubicBezTo>
                  <a:cubicBezTo>
                    <a:pt x="98" y="422"/>
                    <a:pt x="98" y="422"/>
                    <a:pt x="98" y="422"/>
                  </a:cubicBezTo>
                  <a:cubicBezTo>
                    <a:pt x="101" y="422"/>
                    <a:pt x="101" y="422"/>
                    <a:pt x="101" y="422"/>
                  </a:cubicBezTo>
                  <a:cubicBezTo>
                    <a:pt x="105" y="426"/>
                    <a:pt x="105" y="426"/>
                    <a:pt x="105" y="426"/>
                  </a:cubicBezTo>
                  <a:cubicBezTo>
                    <a:pt x="109" y="430"/>
                    <a:pt x="109" y="430"/>
                    <a:pt x="109" y="430"/>
                  </a:cubicBezTo>
                  <a:cubicBezTo>
                    <a:pt x="109" y="430"/>
                    <a:pt x="112" y="433"/>
                    <a:pt x="112" y="432"/>
                  </a:cubicBezTo>
                  <a:cubicBezTo>
                    <a:pt x="112" y="431"/>
                    <a:pt x="113" y="427"/>
                    <a:pt x="114" y="427"/>
                  </a:cubicBezTo>
                  <a:cubicBezTo>
                    <a:pt x="114" y="427"/>
                    <a:pt x="117" y="431"/>
                    <a:pt x="117" y="431"/>
                  </a:cubicBezTo>
                  <a:cubicBezTo>
                    <a:pt x="120" y="431"/>
                    <a:pt x="120" y="431"/>
                    <a:pt x="120" y="431"/>
                  </a:cubicBezTo>
                  <a:cubicBezTo>
                    <a:pt x="123" y="431"/>
                    <a:pt x="123" y="431"/>
                    <a:pt x="123" y="431"/>
                  </a:cubicBezTo>
                  <a:cubicBezTo>
                    <a:pt x="125" y="429"/>
                    <a:pt x="125" y="429"/>
                    <a:pt x="125" y="429"/>
                  </a:cubicBezTo>
                  <a:cubicBezTo>
                    <a:pt x="123" y="427"/>
                    <a:pt x="123" y="427"/>
                    <a:pt x="123" y="427"/>
                  </a:cubicBezTo>
                  <a:cubicBezTo>
                    <a:pt x="127" y="428"/>
                    <a:pt x="127" y="428"/>
                    <a:pt x="127" y="428"/>
                  </a:cubicBezTo>
                  <a:cubicBezTo>
                    <a:pt x="135" y="428"/>
                    <a:pt x="135" y="428"/>
                    <a:pt x="135" y="428"/>
                  </a:cubicBezTo>
                  <a:cubicBezTo>
                    <a:pt x="140" y="427"/>
                    <a:pt x="140" y="427"/>
                    <a:pt x="140" y="427"/>
                  </a:cubicBezTo>
                  <a:cubicBezTo>
                    <a:pt x="143" y="426"/>
                    <a:pt x="143" y="426"/>
                    <a:pt x="143" y="426"/>
                  </a:cubicBezTo>
                  <a:cubicBezTo>
                    <a:pt x="142" y="428"/>
                    <a:pt x="142" y="428"/>
                    <a:pt x="142" y="428"/>
                  </a:cubicBezTo>
                  <a:cubicBezTo>
                    <a:pt x="138" y="430"/>
                    <a:pt x="138" y="430"/>
                    <a:pt x="138" y="430"/>
                  </a:cubicBezTo>
                  <a:cubicBezTo>
                    <a:pt x="138" y="430"/>
                    <a:pt x="136" y="430"/>
                    <a:pt x="137" y="431"/>
                  </a:cubicBezTo>
                  <a:cubicBezTo>
                    <a:pt x="137" y="432"/>
                    <a:pt x="141" y="434"/>
                    <a:pt x="141" y="434"/>
                  </a:cubicBezTo>
                  <a:cubicBezTo>
                    <a:pt x="141" y="434"/>
                    <a:pt x="139" y="435"/>
                    <a:pt x="142" y="435"/>
                  </a:cubicBezTo>
                  <a:cubicBezTo>
                    <a:pt x="145" y="435"/>
                    <a:pt x="146" y="434"/>
                    <a:pt x="146" y="434"/>
                  </a:cubicBezTo>
                  <a:cubicBezTo>
                    <a:pt x="149" y="431"/>
                    <a:pt x="149" y="431"/>
                    <a:pt x="149" y="431"/>
                  </a:cubicBezTo>
                  <a:cubicBezTo>
                    <a:pt x="147" y="430"/>
                    <a:pt x="147" y="430"/>
                    <a:pt x="147" y="430"/>
                  </a:cubicBezTo>
                  <a:cubicBezTo>
                    <a:pt x="143" y="429"/>
                    <a:pt x="143" y="429"/>
                    <a:pt x="143" y="429"/>
                  </a:cubicBezTo>
                  <a:cubicBezTo>
                    <a:pt x="144" y="426"/>
                    <a:pt x="144" y="426"/>
                    <a:pt x="144" y="426"/>
                  </a:cubicBezTo>
                  <a:cubicBezTo>
                    <a:pt x="145" y="425"/>
                    <a:pt x="145" y="425"/>
                    <a:pt x="145" y="425"/>
                  </a:cubicBezTo>
                  <a:cubicBezTo>
                    <a:pt x="147" y="428"/>
                    <a:pt x="147" y="428"/>
                    <a:pt x="147" y="428"/>
                  </a:cubicBezTo>
                  <a:cubicBezTo>
                    <a:pt x="150" y="426"/>
                    <a:pt x="150" y="426"/>
                    <a:pt x="150" y="426"/>
                  </a:cubicBezTo>
                  <a:cubicBezTo>
                    <a:pt x="153" y="427"/>
                    <a:pt x="153" y="427"/>
                    <a:pt x="153" y="427"/>
                  </a:cubicBezTo>
                  <a:cubicBezTo>
                    <a:pt x="155" y="431"/>
                    <a:pt x="155" y="431"/>
                    <a:pt x="155" y="431"/>
                  </a:cubicBezTo>
                  <a:cubicBezTo>
                    <a:pt x="155" y="431"/>
                    <a:pt x="157" y="432"/>
                    <a:pt x="158" y="431"/>
                  </a:cubicBezTo>
                  <a:cubicBezTo>
                    <a:pt x="159" y="430"/>
                    <a:pt x="161" y="429"/>
                    <a:pt x="161" y="429"/>
                  </a:cubicBezTo>
                  <a:cubicBezTo>
                    <a:pt x="171" y="429"/>
                    <a:pt x="171" y="429"/>
                    <a:pt x="171" y="429"/>
                  </a:cubicBezTo>
                  <a:cubicBezTo>
                    <a:pt x="171" y="429"/>
                    <a:pt x="175" y="429"/>
                    <a:pt x="176" y="430"/>
                  </a:cubicBezTo>
                  <a:cubicBezTo>
                    <a:pt x="177" y="431"/>
                    <a:pt x="180" y="433"/>
                    <a:pt x="180" y="433"/>
                  </a:cubicBezTo>
                  <a:cubicBezTo>
                    <a:pt x="184" y="434"/>
                    <a:pt x="184" y="434"/>
                    <a:pt x="184" y="434"/>
                  </a:cubicBezTo>
                  <a:cubicBezTo>
                    <a:pt x="188" y="433"/>
                    <a:pt x="188" y="433"/>
                    <a:pt x="188" y="433"/>
                  </a:cubicBezTo>
                  <a:cubicBezTo>
                    <a:pt x="188" y="433"/>
                    <a:pt x="189" y="432"/>
                    <a:pt x="190" y="432"/>
                  </a:cubicBezTo>
                  <a:cubicBezTo>
                    <a:pt x="191" y="431"/>
                    <a:pt x="194" y="430"/>
                    <a:pt x="195" y="430"/>
                  </a:cubicBezTo>
                  <a:cubicBezTo>
                    <a:pt x="196" y="430"/>
                    <a:pt x="200" y="429"/>
                    <a:pt x="201" y="429"/>
                  </a:cubicBezTo>
                  <a:cubicBezTo>
                    <a:pt x="202" y="429"/>
                    <a:pt x="202" y="430"/>
                    <a:pt x="204" y="429"/>
                  </a:cubicBezTo>
                  <a:cubicBezTo>
                    <a:pt x="205" y="429"/>
                    <a:pt x="207" y="425"/>
                    <a:pt x="207" y="425"/>
                  </a:cubicBezTo>
                  <a:cubicBezTo>
                    <a:pt x="207" y="425"/>
                    <a:pt x="208" y="424"/>
                    <a:pt x="210" y="423"/>
                  </a:cubicBezTo>
                  <a:cubicBezTo>
                    <a:pt x="211" y="423"/>
                    <a:pt x="213" y="424"/>
                    <a:pt x="214" y="422"/>
                  </a:cubicBezTo>
                  <a:cubicBezTo>
                    <a:pt x="215" y="421"/>
                    <a:pt x="216" y="420"/>
                    <a:pt x="217" y="419"/>
                  </a:cubicBezTo>
                  <a:cubicBezTo>
                    <a:pt x="217" y="418"/>
                    <a:pt x="219" y="416"/>
                    <a:pt x="219" y="415"/>
                  </a:cubicBezTo>
                  <a:cubicBezTo>
                    <a:pt x="219" y="414"/>
                    <a:pt x="219" y="411"/>
                    <a:pt x="219" y="411"/>
                  </a:cubicBezTo>
                  <a:cubicBezTo>
                    <a:pt x="219" y="411"/>
                    <a:pt x="216" y="411"/>
                    <a:pt x="216" y="411"/>
                  </a:cubicBezTo>
                  <a:cubicBezTo>
                    <a:pt x="215" y="411"/>
                    <a:pt x="212" y="411"/>
                    <a:pt x="211" y="411"/>
                  </a:cubicBezTo>
                  <a:cubicBezTo>
                    <a:pt x="211" y="411"/>
                    <a:pt x="207" y="410"/>
                    <a:pt x="207" y="410"/>
                  </a:cubicBezTo>
                  <a:cubicBezTo>
                    <a:pt x="207" y="409"/>
                    <a:pt x="207" y="409"/>
                    <a:pt x="207" y="409"/>
                  </a:cubicBezTo>
                  <a:cubicBezTo>
                    <a:pt x="207" y="409"/>
                    <a:pt x="205" y="408"/>
                    <a:pt x="205" y="408"/>
                  </a:cubicBezTo>
                  <a:cubicBezTo>
                    <a:pt x="204" y="408"/>
                    <a:pt x="204" y="407"/>
                    <a:pt x="203" y="407"/>
                  </a:cubicBezTo>
                  <a:cubicBezTo>
                    <a:pt x="202" y="406"/>
                    <a:pt x="201" y="405"/>
                    <a:pt x="201" y="405"/>
                  </a:cubicBezTo>
                  <a:cubicBezTo>
                    <a:pt x="198" y="404"/>
                    <a:pt x="198" y="404"/>
                    <a:pt x="198" y="404"/>
                  </a:cubicBezTo>
                  <a:cubicBezTo>
                    <a:pt x="195" y="404"/>
                    <a:pt x="195" y="404"/>
                    <a:pt x="195" y="404"/>
                  </a:cubicBezTo>
                  <a:cubicBezTo>
                    <a:pt x="198" y="403"/>
                    <a:pt x="198" y="403"/>
                    <a:pt x="198" y="403"/>
                  </a:cubicBezTo>
                  <a:cubicBezTo>
                    <a:pt x="198" y="403"/>
                    <a:pt x="201" y="403"/>
                    <a:pt x="202" y="403"/>
                  </a:cubicBezTo>
                  <a:cubicBezTo>
                    <a:pt x="203" y="403"/>
                    <a:pt x="207" y="403"/>
                    <a:pt x="207" y="403"/>
                  </a:cubicBezTo>
                  <a:cubicBezTo>
                    <a:pt x="207" y="402"/>
                    <a:pt x="209" y="399"/>
                    <a:pt x="209" y="399"/>
                  </a:cubicBezTo>
                  <a:cubicBezTo>
                    <a:pt x="209" y="396"/>
                    <a:pt x="209" y="396"/>
                    <a:pt x="209" y="396"/>
                  </a:cubicBezTo>
                  <a:cubicBezTo>
                    <a:pt x="207" y="395"/>
                    <a:pt x="207" y="395"/>
                    <a:pt x="207" y="395"/>
                  </a:cubicBezTo>
                  <a:cubicBezTo>
                    <a:pt x="203" y="395"/>
                    <a:pt x="203" y="395"/>
                    <a:pt x="203" y="395"/>
                  </a:cubicBezTo>
                  <a:cubicBezTo>
                    <a:pt x="208" y="393"/>
                    <a:pt x="208" y="393"/>
                    <a:pt x="208" y="393"/>
                  </a:cubicBezTo>
                  <a:cubicBezTo>
                    <a:pt x="210" y="391"/>
                    <a:pt x="210" y="391"/>
                    <a:pt x="210" y="391"/>
                  </a:cubicBezTo>
                  <a:cubicBezTo>
                    <a:pt x="212" y="393"/>
                    <a:pt x="212" y="393"/>
                    <a:pt x="212" y="393"/>
                  </a:cubicBezTo>
                  <a:cubicBezTo>
                    <a:pt x="212" y="393"/>
                    <a:pt x="217" y="393"/>
                    <a:pt x="217" y="393"/>
                  </a:cubicBezTo>
                  <a:cubicBezTo>
                    <a:pt x="217" y="392"/>
                    <a:pt x="218" y="390"/>
                    <a:pt x="218" y="390"/>
                  </a:cubicBezTo>
                  <a:cubicBezTo>
                    <a:pt x="219" y="388"/>
                    <a:pt x="219" y="388"/>
                    <a:pt x="219" y="388"/>
                  </a:cubicBezTo>
                  <a:cubicBezTo>
                    <a:pt x="226" y="382"/>
                    <a:pt x="226" y="382"/>
                    <a:pt x="226" y="382"/>
                  </a:cubicBezTo>
                  <a:cubicBezTo>
                    <a:pt x="229" y="377"/>
                    <a:pt x="229" y="377"/>
                    <a:pt x="229" y="377"/>
                  </a:cubicBezTo>
                  <a:cubicBezTo>
                    <a:pt x="230" y="373"/>
                    <a:pt x="230" y="373"/>
                    <a:pt x="230" y="373"/>
                  </a:cubicBezTo>
                  <a:cubicBezTo>
                    <a:pt x="234" y="365"/>
                    <a:pt x="234" y="365"/>
                    <a:pt x="234" y="365"/>
                  </a:cubicBezTo>
                  <a:cubicBezTo>
                    <a:pt x="234" y="356"/>
                    <a:pt x="234" y="356"/>
                    <a:pt x="234" y="356"/>
                  </a:cubicBezTo>
                  <a:cubicBezTo>
                    <a:pt x="229" y="349"/>
                    <a:pt x="229" y="349"/>
                    <a:pt x="229" y="349"/>
                  </a:cubicBezTo>
                  <a:cubicBezTo>
                    <a:pt x="229" y="349"/>
                    <a:pt x="225" y="345"/>
                    <a:pt x="223" y="345"/>
                  </a:cubicBezTo>
                  <a:cubicBezTo>
                    <a:pt x="222" y="344"/>
                    <a:pt x="213" y="343"/>
                    <a:pt x="213" y="343"/>
                  </a:cubicBezTo>
                  <a:cubicBezTo>
                    <a:pt x="206" y="341"/>
                    <a:pt x="206" y="341"/>
                    <a:pt x="206" y="341"/>
                  </a:cubicBezTo>
                  <a:cubicBezTo>
                    <a:pt x="203" y="342"/>
                    <a:pt x="203" y="342"/>
                    <a:pt x="203" y="342"/>
                  </a:cubicBezTo>
                  <a:cubicBezTo>
                    <a:pt x="202" y="345"/>
                    <a:pt x="202" y="345"/>
                    <a:pt x="202" y="345"/>
                  </a:cubicBezTo>
                  <a:cubicBezTo>
                    <a:pt x="200" y="346"/>
                    <a:pt x="200" y="346"/>
                    <a:pt x="200" y="346"/>
                  </a:cubicBezTo>
                  <a:cubicBezTo>
                    <a:pt x="200" y="346"/>
                    <a:pt x="198" y="348"/>
                    <a:pt x="197" y="348"/>
                  </a:cubicBezTo>
                  <a:cubicBezTo>
                    <a:pt x="197" y="348"/>
                    <a:pt x="195" y="345"/>
                    <a:pt x="195" y="345"/>
                  </a:cubicBezTo>
                  <a:cubicBezTo>
                    <a:pt x="195" y="345"/>
                    <a:pt x="193" y="343"/>
                    <a:pt x="192" y="343"/>
                  </a:cubicBezTo>
                  <a:cubicBezTo>
                    <a:pt x="192" y="343"/>
                    <a:pt x="189" y="342"/>
                    <a:pt x="189" y="342"/>
                  </a:cubicBezTo>
                  <a:cubicBezTo>
                    <a:pt x="193" y="340"/>
                    <a:pt x="193" y="340"/>
                    <a:pt x="193" y="340"/>
                  </a:cubicBezTo>
                  <a:cubicBezTo>
                    <a:pt x="196" y="338"/>
                    <a:pt x="196" y="338"/>
                    <a:pt x="196" y="338"/>
                  </a:cubicBezTo>
                  <a:cubicBezTo>
                    <a:pt x="196" y="338"/>
                    <a:pt x="198" y="336"/>
                    <a:pt x="198" y="336"/>
                  </a:cubicBezTo>
                  <a:cubicBezTo>
                    <a:pt x="199" y="336"/>
                    <a:pt x="201" y="334"/>
                    <a:pt x="201" y="334"/>
                  </a:cubicBezTo>
                  <a:cubicBezTo>
                    <a:pt x="202" y="328"/>
                    <a:pt x="202" y="328"/>
                    <a:pt x="202" y="328"/>
                  </a:cubicBezTo>
                  <a:cubicBezTo>
                    <a:pt x="200" y="321"/>
                    <a:pt x="200" y="321"/>
                    <a:pt x="200" y="321"/>
                  </a:cubicBezTo>
                  <a:cubicBezTo>
                    <a:pt x="197" y="318"/>
                    <a:pt x="197" y="318"/>
                    <a:pt x="197" y="318"/>
                  </a:cubicBezTo>
                  <a:cubicBezTo>
                    <a:pt x="196" y="315"/>
                    <a:pt x="196" y="315"/>
                    <a:pt x="196" y="315"/>
                  </a:cubicBezTo>
                  <a:cubicBezTo>
                    <a:pt x="194" y="314"/>
                    <a:pt x="194" y="314"/>
                    <a:pt x="194" y="314"/>
                  </a:cubicBezTo>
                  <a:cubicBezTo>
                    <a:pt x="191" y="312"/>
                    <a:pt x="191" y="312"/>
                    <a:pt x="191" y="312"/>
                  </a:cubicBezTo>
                  <a:cubicBezTo>
                    <a:pt x="189" y="309"/>
                    <a:pt x="189" y="309"/>
                    <a:pt x="189" y="309"/>
                  </a:cubicBezTo>
                  <a:cubicBezTo>
                    <a:pt x="187" y="307"/>
                    <a:pt x="187" y="307"/>
                    <a:pt x="187" y="307"/>
                  </a:cubicBezTo>
                  <a:cubicBezTo>
                    <a:pt x="188" y="305"/>
                    <a:pt x="188" y="305"/>
                    <a:pt x="188" y="305"/>
                  </a:cubicBezTo>
                  <a:cubicBezTo>
                    <a:pt x="189" y="306"/>
                    <a:pt x="189" y="306"/>
                    <a:pt x="189" y="306"/>
                  </a:cubicBezTo>
                  <a:cubicBezTo>
                    <a:pt x="189" y="306"/>
                    <a:pt x="190" y="308"/>
                    <a:pt x="190" y="308"/>
                  </a:cubicBezTo>
                  <a:cubicBezTo>
                    <a:pt x="190" y="308"/>
                    <a:pt x="191" y="309"/>
                    <a:pt x="191" y="310"/>
                  </a:cubicBezTo>
                  <a:cubicBezTo>
                    <a:pt x="192" y="310"/>
                    <a:pt x="195" y="311"/>
                    <a:pt x="195" y="311"/>
                  </a:cubicBezTo>
                  <a:cubicBezTo>
                    <a:pt x="197" y="311"/>
                    <a:pt x="197" y="311"/>
                    <a:pt x="197" y="311"/>
                  </a:cubicBezTo>
                  <a:cubicBezTo>
                    <a:pt x="198" y="314"/>
                    <a:pt x="198" y="314"/>
                    <a:pt x="198" y="314"/>
                  </a:cubicBezTo>
                  <a:cubicBezTo>
                    <a:pt x="198" y="314"/>
                    <a:pt x="199" y="312"/>
                    <a:pt x="199" y="312"/>
                  </a:cubicBezTo>
                  <a:cubicBezTo>
                    <a:pt x="199" y="311"/>
                    <a:pt x="197" y="308"/>
                    <a:pt x="197" y="308"/>
                  </a:cubicBezTo>
                  <a:cubicBezTo>
                    <a:pt x="196" y="307"/>
                    <a:pt x="195" y="305"/>
                    <a:pt x="195" y="304"/>
                  </a:cubicBezTo>
                  <a:cubicBezTo>
                    <a:pt x="195" y="304"/>
                    <a:pt x="193" y="299"/>
                    <a:pt x="193" y="299"/>
                  </a:cubicBezTo>
                  <a:cubicBezTo>
                    <a:pt x="193" y="299"/>
                    <a:pt x="192" y="297"/>
                    <a:pt x="192" y="297"/>
                  </a:cubicBezTo>
                  <a:cubicBezTo>
                    <a:pt x="192" y="296"/>
                    <a:pt x="192" y="292"/>
                    <a:pt x="192" y="292"/>
                  </a:cubicBezTo>
                  <a:cubicBezTo>
                    <a:pt x="194" y="291"/>
                    <a:pt x="194" y="291"/>
                    <a:pt x="194" y="291"/>
                  </a:cubicBezTo>
                  <a:cubicBezTo>
                    <a:pt x="195" y="290"/>
                    <a:pt x="195" y="290"/>
                    <a:pt x="195" y="290"/>
                  </a:cubicBezTo>
                  <a:cubicBezTo>
                    <a:pt x="195" y="290"/>
                    <a:pt x="194" y="290"/>
                    <a:pt x="194" y="289"/>
                  </a:cubicBezTo>
                  <a:cubicBezTo>
                    <a:pt x="194" y="288"/>
                    <a:pt x="192" y="286"/>
                    <a:pt x="192" y="286"/>
                  </a:cubicBezTo>
                  <a:cubicBezTo>
                    <a:pt x="192" y="286"/>
                    <a:pt x="190" y="285"/>
                    <a:pt x="190" y="284"/>
                  </a:cubicBezTo>
                  <a:cubicBezTo>
                    <a:pt x="189" y="283"/>
                    <a:pt x="188" y="281"/>
                    <a:pt x="188" y="281"/>
                  </a:cubicBezTo>
                  <a:cubicBezTo>
                    <a:pt x="188" y="280"/>
                    <a:pt x="187" y="275"/>
                    <a:pt x="187" y="275"/>
                  </a:cubicBezTo>
                  <a:cubicBezTo>
                    <a:pt x="184" y="271"/>
                    <a:pt x="184" y="271"/>
                    <a:pt x="184" y="271"/>
                  </a:cubicBezTo>
                  <a:cubicBezTo>
                    <a:pt x="184" y="271"/>
                    <a:pt x="182" y="269"/>
                    <a:pt x="182" y="269"/>
                  </a:cubicBezTo>
                  <a:cubicBezTo>
                    <a:pt x="181" y="269"/>
                    <a:pt x="179" y="268"/>
                    <a:pt x="179" y="268"/>
                  </a:cubicBezTo>
                  <a:cubicBezTo>
                    <a:pt x="178" y="268"/>
                    <a:pt x="174" y="266"/>
                    <a:pt x="174" y="266"/>
                  </a:cubicBezTo>
                  <a:cubicBezTo>
                    <a:pt x="174" y="266"/>
                    <a:pt x="171" y="262"/>
                    <a:pt x="171" y="261"/>
                  </a:cubicBezTo>
                  <a:cubicBezTo>
                    <a:pt x="171" y="260"/>
                    <a:pt x="169" y="256"/>
                    <a:pt x="169" y="256"/>
                  </a:cubicBezTo>
                  <a:cubicBezTo>
                    <a:pt x="169" y="252"/>
                    <a:pt x="169" y="252"/>
                    <a:pt x="169" y="252"/>
                  </a:cubicBezTo>
                  <a:cubicBezTo>
                    <a:pt x="168" y="246"/>
                    <a:pt x="168" y="246"/>
                    <a:pt x="168" y="246"/>
                  </a:cubicBezTo>
                  <a:cubicBezTo>
                    <a:pt x="167" y="239"/>
                    <a:pt x="167" y="239"/>
                    <a:pt x="167" y="239"/>
                  </a:cubicBezTo>
                  <a:cubicBezTo>
                    <a:pt x="167" y="233"/>
                    <a:pt x="167" y="233"/>
                    <a:pt x="167" y="233"/>
                  </a:cubicBezTo>
                  <a:cubicBezTo>
                    <a:pt x="167" y="227"/>
                    <a:pt x="167" y="227"/>
                    <a:pt x="167" y="227"/>
                  </a:cubicBezTo>
                  <a:cubicBezTo>
                    <a:pt x="166" y="223"/>
                    <a:pt x="166" y="223"/>
                    <a:pt x="166" y="223"/>
                  </a:cubicBezTo>
                  <a:cubicBezTo>
                    <a:pt x="163" y="217"/>
                    <a:pt x="163" y="217"/>
                    <a:pt x="163" y="217"/>
                  </a:cubicBezTo>
                  <a:cubicBezTo>
                    <a:pt x="161" y="213"/>
                    <a:pt x="161" y="213"/>
                    <a:pt x="161" y="213"/>
                  </a:cubicBezTo>
                  <a:cubicBezTo>
                    <a:pt x="156" y="208"/>
                    <a:pt x="156" y="208"/>
                    <a:pt x="156" y="208"/>
                  </a:cubicBezTo>
                  <a:cubicBezTo>
                    <a:pt x="153" y="204"/>
                    <a:pt x="153" y="204"/>
                    <a:pt x="153" y="204"/>
                  </a:cubicBezTo>
                  <a:cubicBezTo>
                    <a:pt x="151" y="203"/>
                    <a:pt x="151" y="203"/>
                    <a:pt x="151" y="203"/>
                  </a:cubicBezTo>
                  <a:cubicBezTo>
                    <a:pt x="147" y="199"/>
                    <a:pt x="147" y="199"/>
                    <a:pt x="147" y="199"/>
                  </a:cubicBezTo>
                  <a:cubicBezTo>
                    <a:pt x="143" y="197"/>
                    <a:pt x="143" y="197"/>
                    <a:pt x="143" y="197"/>
                  </a:cubicBezTo>
                  <a:cubicBezTo>
                    <a:pt x="140" y="199"/>
                    <a:pt x="140" y="199"/>
                    <a:pt x="140" y="199"/>
                  </a:cubicBezTo>
                  <a:cubicBezTo>
                    <a:pt x="137" y="200"/>
                    <a:pt x="137" y="200"/>
                    <a:pt x="137" y="200"/>
                  </a:cubicBezTo>
                  <a:cubicBezTo>
                    <a:pt x="134" y="201"/>
                    <a:pt x="134" y="201"/>
                    <a:pt x="134" y="201"/>
                  </a:cubicBezTo>
                  <a:cubicBezTo>
                    <a:pt x="129" y="198"/>
                    <a:pt x="129" y="198"/>
                    <a:pt x="129" y="198"/>
                  </a:cubicBezTo>
                  <a:cubicBezTo>
                    <a:pt x="126" y="196"/>
                    <a:pt x="126" y="196"/>
                    <a:pt x="126" y="196"/>
                  </a:cubicBezTo>
                  <a:cubicBezTo>
                    <a:pt x="122" y="195"/>
                    <a:pt x="122" y="195"/>
                    <a:pt x="122" y="195"/>
                  </a:cubicBezTo>
                  <a:cubicBezTo>
                    <a:pt x="121" y="195"/>
                    <a:pt x="121" y="195"/>
                    <a:pt x="121" y="195"/>
                  </a:cubicBezTo>
                  <a:cubicBezTo>
                    <a:pt x="121" y="195"/>
                    <a:pt x="121" y="194"/>
                    <a:pt x="121" y="194"/>
                  </a:cubicBezTo>
                  <a:cubicBezTo>
                    <a:pt x="121" y="195"/>
                    <a:pt x="123" y="194"/>
                    <a:pt x="123" y="194"/>
                  </a:cubicBezTo>
                  <a:cubicBezTo>
                    <a:pt x="123" y="194"/>
                    <a:pt x="125" y="195"/>
                    <a:pt x="125" y="195"/>
                  </a:cubicBezTo>
                  <a:cubicBezTo>
                    <a:pt x="125" y="195"/>
                    <a:pt x="127" y="196"/>
                    <a:pt x="127" y="196"/>
                  </a:cubicBezTo>
                  <a:cubicBezTo>
                    <a:pt x="127" y="196"/>
                    <a:pt x="128" y="197"/>
                    <a:pt x="129" y="197"/>
                  </a:cubicBezTo>
                  <a:cubicBezTo>
                    <a:pt x="130" y="197"/>
                    <a:pt x="132" y="197"/>
                    <a:pt x="132" y="197"/>
                  </a:cubicBezTo>
                  <a:cubicBezTo>
                    <a:pt x="135" y="195"/>
                    <a:pt x="135" y="195"/>
                    <a:pt x="135" y="195"/>
                  </a:cubicBezTo>
                  <a:cubicBezTo>
                    <a:pt x="136" y="193"/>
                    <a:pt x="136" y="193"/>
                    <a:pt x="136" y="193"/>
                  </a:cubicBezTo>
                  <a:cubicBezTo>
                    <a:pt x="138" y="192"/>
                    <a:pt x="138" y="192"/>
                    <a:pt x="138" y="192"/>
                  </a:cubicBezTo>
                  <a:cubicBezTo>
                    <a:pt x="140" y="191"/>
                    <a:pt x="140" y="191"/>
                    <a:pt x="140" y="191"/>
                  </a:cubicBezTo>
                  <a:cubicBezTo>
                    <a:pt x="141" y="191"/>
                    <a:pt x="141" y="191"/>
                    <a:pt x="141" y="191"/>
                  </a:cubicBezTo>
                  <a:cubicBezTo>
                    <a:pt x="141" y="191"/>
                    <a:pt x="142" y="192"/>
                    <a:pt x="143" y="192"/>
                  </a:cubicBezTo>
                  <a:cubicBezTo>
                    <a:pt x="145" y="192"/>
                    <a:pt x="146" y="191"/>
                    <a:pt x="146" y="191"/>
                  </a:cubicBezTo>
                  <a:cubicBezTo>
                    <a:pt x="146" y="191"/>
                    <a:pt x="149" y="189"/>
                    <a:pt x="149" y="189"/>
                  </a:cubicBezTo>
                  <a:cubicBezTo>
                    <a:pt x="149" y="189"/>
                    <a:pt x="148" y="188"/>
                    <a:pt x="148" y="188"/>
                  </a:cubicBezTo>
                  <a:cubicBezTo>
                    <a:pt x="148" y="187"/>
                    <a:pt x="146" y="186"/>
                    <a:pt x="146" y="186"/>
                  </a:cubicBezTo>
                  <a:cubicBezTo>
                    <a:pt x="146" y="186"/>
                    <a:pt x="145" y="186"/>
                    <a:pt x="145" y="185"/>
                  </a:cubicBezTo>
                  <a:cubicBezTo>
                    <a:pt x="145" y="184"/>
                    <a:pt x="145" y="182"/>
                    <a:pt x="145" y="182"/>
                  </a:cubicBezTo>
                  <a:cubicBezTo>
                    <a:pt x="144" y="181"/>
                    <a:pt x="144" y="181"/>
                    <a:pt x="144" y="181"/>
                  </a:cubicBezTo>
                  <a:cubicBezTo>
                    <a:pt x="144" y="181"/>
                    <a:pt x="143" y="180"/>
                    <a:pt x="142" y="181"/>
                  </a:cubicBezTo>
                  <a:cubicBezTo>
                    <a:pt x="141" y="181"/>
                    <a:pt x="140" y="181"/>
                    <a:pt x="140" y="181"/>
                  </a:cubicBezTo>
                  <a:cubicBezTo>
                    <a:pt x="137" y="182"/>
                    <a:pt x="137" y="182"/>
                    <a:pt x="137" y="182"/>
                  </a:cubicBezTo>
                  <a:cubicBezTo>
                    <a:pt x="133" y="183"/>
                    <a:pt x="133" y="183"/>
                    <a:pt x="133" y="183"/>
                  </a:cubicBezTo>
                  <a:cubicBezTo>
                    <a:pt x="133" y="182"/>
                    <a:pt x="133" y="182"/>
                    <a:pt x="133" y="182"/>
                  </a:cubicBezTo>
                  <a:cubicBezTo>
                    <a:pt x="137" y="181"/>
                    <a:pt x="137" y="181"/>
                    <a:pt x="137" y="181"/>
                  </a:cubicBezTo>
                  <a:cubicBezTo>
                    <a:pt x="139" y="180"/>
                    <a:pt x="139" y="180"/>
                    <a:pt x="139" y="180"/>
                  </a:cubicBezTo>
                  <a:cubicBezTo>
                    <a:pt x="139" y="180"/>
                    <a:pt x="139" y="179"/>
                    <a:pt x="140" y="179"/>
                  </a:cubicBezTo>
                  <a:cubicBezTo>
                    <a:pt x="141" y="179"/>
                    <a:pt x="143" y="180"/>
                    <a:pt x="144" y="180"/>
                  </a:cubicBezTo>
                  <a:cubicBezTo>
                    <a:pt x="144" y="180"/>
                    <a:pt x="147" y="180"/>
                    <a:pt x="147" y="180"/>
                  </a:cubicBezTo>
                  <a:cubicBezTo>
                    <a:pt x="147" y="180"/>
                    <a:pt x="150" y="178"/>
                    <a:pt x="150" y="178"/>
                  </a:cubicBezTo>
                  <a:cubicBezTo>
                    <a:pt x="151" y="177"/>
                    <a:pt x="154" y="175"/>
                    <a:pt x="154" y="175"/>
                  </a:cubicBezTo>
                  <a:cubicBezTo>
                    <a:pt x="154" y="173"/>
                    <a:pt x="154" y="173"/>
                    <a:pt x="154" y="173"/>
                  </a:cubicBezTo>
                  <a:cubicBezTo>
                    <a:pt x="154" y="173"/>
                    <a:pt x="155" y="171"/>
                    <a:pt x="156" y="171"/>
                  </a:cubicBezTo>
                  <a:cubicBezTo>
                    <a:pt x="156" y="171"/>
                    <a:pt x="159" y="169"/>
                    <a:pt x="159" y="169"/>
                  </a:cubicBezTo>
                  <a:cubicBezTo>
                    <a:pt x="162" y="165"/>
                    <a:pt x="162" y="165"/>
                    <a:pt x="162" y="165"/>
                  </a:cubicBezTo>
                  <a:cubicBezTo>
                    <a:pt x="164" y="161"/>
                    <a:pt x="164" y="161"/>
                    <a:pt x="164" y="161"/>
                  </a:cubicBezTo>
                  <a:cubicBezTo>
                    <a:pt x="166" y="158"/>
                    <a:pt x="166" y="158"/>
                    <a:pt x="166" y="158"/>
                  </a:cubicBezTo>
                  <a:cubicBezTo>
                    <a:pt x="166" y="158"/>
                    <a:pt x="168" y="156"/>
                    <a:pt x="168" y="155"/>
                  </a:cubicBezTo>
                  <a:cubicBezTo>
                    <a:pt x="168" y="154"/>
                    <a:pt x="168" y="151"/>
                    <a:pt x="168" y="151"/>
                  </a:cubicBezTo>
                  <a:cubicBezTo>
                    <a:pt x="168" y="151"/>
                    <a:pt x="170" y="149"/>
                    <a:pt x="171" y="149"/>
                  </a:cubicBezTo>
                  <a:cubicBezTo>
                    <a:pt x="171" y="148"/>
                    <a:pt x="177" y="144"/>
                    <a:pt x="177" y="144"/>
                  </a:cubicBezTo>
                  <a:cubicBezTo>
                    <a:pt x="178" y="139"/>
                    <a:pt x="178" y="139"/>
                    <a:pt x="178" y="139"/>
                  </a:cubicBezTo>
                  <a:cubicBezTo>
                    <a:pt x="177" y="138"/>
                    <a:pt x="177" y="138"/>
                    <a:pt x="177" y="138"/>
                  </a:cubicBezTo>
                  <a:cubicBezTo>
                    <a:pt x="176" y="135"/>
                    <a:pt x="176" y="135"/>
                    <a:pt x="176" y="135"/>
                  </a:cubicBezTo>
                  <a:cubicBezTo>
                    <a:pt x="174" y="133"/>
                    <a:pt x="174" y="133"/>
                    <a:pt x="174" y="133"/>
                  </a:cubicBezTo>
                  <a:cubicBezTo>
                    <a:pt x="172" y="131"/>
                    <a:pt x="172" y="131"/>
                    <a:pt x="172" y="131"/>
                  </a:cubicBezTo>
                  <a:cubicBezTo>
                    <a:pt x="170" y="131"/>
                    <a:pt x="170" y="131"/>
                    <a:pt x="170" y="131"/>
                  </a:cubicBezTo>
                  <a:cubicBezTo>
                    <a:pt x="170" y="131"/>
                    <a:pt x="169" y="132"/>
                    <a:pt x="168" y="132"/>
                  </a:cubicBezTo>
                  <a:cubicBezTo>
                    <a:pt x="168" y="131"/>
                    <a:pt x="166" y="130"/>
                    <a:pt x="166" y="130"/>
                  </a:cubicBezTo>
                  <a:cubicBezTo>
                    <a:pt x="163" y="131"/>
                    <a:pt x="163" y="131"/>
                    <a:pt x="163" y="131"/>
                  </a:cubicBezTo>
                  <a:cubicBezTo>
                    <a:pt x="159" y="130"/>
                    <a:pt x="159" y="130"/>
                    <a:pt x="159" y="130"/>
                  </a:cubicBezTo>
                  <a:cubicBezTo>
                    <a:pt x="158" y="129"/>
                    <a:pt x="158" y="129"/>
                    <a:pt x="158" y="129"/>
                  </a:cubicBezTo>
                  <a:cubicBezTo>
                    <a:pt x="155" y="128"/>
                    <a:pt x="155" y="128"/>
                    <a:pt x="155" y="128"/>
                  </a:cubicBezTo>
                  <a:cubicBezTo>
                    <a:pt x="153" y="127"/>
                    <a:pt x="153" y="127"/>
                    <a:pt x="153" y="127"/>
                  </a:cubicBezTo>
                  <a:cubicBezTo>
                    <a:pt x="150" y="128"/>
                    <a:pt x="150" y="128"/>
                    <a:pt x="150" y="128"/>
                  </a:cubicBezTo>
                  <a:cubicBezTo>
                    <a:pt x="147" y="129"/>
                    <a:pt x="147" y="129"/>
                    <a:pt x="147" y="129"/>
                  </a:cubicBezTo>
                  <a:cubicBezTo>
                    <a:pt x="146" y="127"/>
                    <a:pt x="146" y="127"/>
                    <a:pt x="146" y="127"/>
                  </a:cubicBezTo>
                  <a:cubicBezTo>
                    <a:pt x="144" y="126"/>
                    <a:pt x="144" y="126"/>
                    <a:pt x="144" y="126"/>
                  </a:cubicBezTo>
                  <a:cubicBezTo>
                    <a:pt x="138" y="125"/>
                    <a:pt x="138" y="125"/>
                    <a:pt x="138" y="125"/>
                  </a:cubicBezTo>
                  <a:cubicBezTo>
                    <a:pt x="138" y="127"/>
                    <a:pt x="138" y="127"/>
                    <a:pt x="138" y="127"/>
                  </a:cubicBezTo>
                  <a:cubicBezTo>
                    <a:pt x="134" y="127"/>
                    <a:pt x="134" y="127"/>
                    <a:pt x="134" y="127"/>
                  </a:cubicBezTo>
                  <a:cubicBezTo>
                    <a:pt x="134" y="127"/>
                    <a:pt x="134" y="126"/>
                    <a:pt x="133" y="127"/>
                  </a:cubicBezTo>
                  <a:cubicBezTo>
                    <a:pt x="133" y="127"/>
                    <a:pt x="131" y="128"/>
                    <a:pt x="131" y="128"/>
                  </a:cubicBezTo>
                  <a:cubicBezTo>
                    <a:pt x="130" y="129"/>
                    <a:pt x="130" y="129"/>
                    <a:pt x="130" y="129"/>
                  </a:cubicBezTo>
                  <a:cubicBezTo>
                    <a:pt x="128" y="128"/>
                    <a:pt x="128" y="128"/>
                    <a:pt x="128" y="128"/>
                  </a:cubicBezTo>
                  <a:cubicBezTo>
                    <a:pt x="125" y="128"/>
                    <a:pt x="125" y="128"/>
                    <a:pt x="125" y="128"/>
                  </a:cubicBezTo>
                  <a:cubicBezTo>
                    <a:pt x="123" y="130"/>
                    <a:pt x="123" y="130"/>
                    <a:pt x="123" y="130"/>
                  </a:cubicBezTo>
                  <a:cubicBezTo>
                    <a:pt x="121" y="131"/>
                    <a:pt x="121" y="131"/>
                    <a:pt x="121" y="131"/>
                  </a:cubicBezTo>
                  <a:cubicBezTo>
                    <a:pt x="119" y="133"/>
                    <a:pt x="119" y="133"/>
                    <a:pt x="119" y="133"/>
                  </a:cubicBezTo>
                  <a:cubicBezTo>
                    <a:pt x="120" y="131"/>
                    <a:pt x="120" y="131"/>
                    <a:pt x="120" y="131"/>
                  </a:cubicBezTo>
                  <a:cubicBezTo>
                    <a:pt x="121" y="129"/>
                    <a:pt x="121" y="129"/>
                    <a:pt x="121" y="129"/>
                  </a:cubicBezTo>
                  <a:cubicBezTo>
                    <a:pt x="123" y="129"/>
                    <a:pt x="123" y="129"/>
                    <a:pt x="123" y="129"/>
                  </a:cubicBezTo>
                  <a:cubicBezTo>
                    <a:pt x="125" y="126"/>
                    <a:pt x="125" y="126"/>
                    <a:pt x="125" y="126"/>
                  </a:cubicBezTo>
                  <a:cubicBezTo>
                    <a:pt x="125" y="126"/>
                    <a:pt x="127" y="125"/>
                    <a:pt x="127" y="125"/>
                  </a:cubicBezTo>
                  <a:cubicBezTo>
                    <a:pt x="128" y="124"/>
                    <a:pt x="129" y="123"/>
                    <a:pt x="129" y="123"/>
                  </a:cubicBezTo>
                  <a:cubicBezTo>
                    <a:pt x="127" y="122"/>
                    <a:pt x="127" y="122"/>
                    <a:pt x="127" y="122"/>
                  </a:cubicBezTo>
                  <a:cubicBezTo>
                    <a:pt x="124" y="124"/>
                    <a:pt x="124" y="124"/>
                    <a:pt x="124" y="124"/>
                  </a:cubicBezTo>
                  <a:cubicBezTo>
                    <a:pt x="124" y="124"/>
                    <a:pt x="123" y="123"/>
                    <a:pt x="123" y="123"/>
                  </a:cubicBezTo>
                  <a:cubicBezTo>
                    <a:pt x="123" y="123"/>
                    <a:pt x="121" y="125"/>
                    <a:pt x="121" y="125"/>
                  </a:cubicBezTo>
                  <a:cubicBezTo>
                    <a:pt x="116" y="126"/>
                    <a:pt x="116" y="126"/>
                    <a:pt x="116" y="126"/>
                  </a:cubicBezTo>
                  <a:cubicBezTo>
                    <a:pt x="120" y="123"/>
                    <a:pt x="120" y="123"/>
                    <a:pt x="120" y="123"/>
                  </a:cubicBezTo>
                  <a:cubicBezTo>
                    <a:pt x="120" y="123"/>
                    <a:pt x="122" y="122"/>
                    <a:pt x="123" y="122"/>
                  </a:cubicBezTo>
                  <a:cubicBezTo>
                    <a:pt x="123" y="122"/>
                    <a:pt x="125" y="121"/>
                    <a:pt x="125" y="121"/>
                  </a:cubicBezTo>
                  <a:cubicBezTo>
                    <a:pt x="126" y="121"/>
                    <a:pt x="127" y="121"/>
                    <a:pt x="128" y="121"/>
                  </a:cubicBezTo>
                  <a:cubicBezTo>
                    <a:pt x="128" y="121"/>
                    <a:pt x="130" y="122"/>
                    <a:pt x="131" y="121"/>
                  </a:cubicBezTo>
                  <a:cubicBezTo>
                    <a:pt x="131" y="121"/>
                    <a:pt x="132" y="120"/>
                    <a:pt x="132" y="119"/>
                  </a:cubicBezTo>
                  <a:cubicBezTo>
                    <a:pt x="132" y="119"/>
                    <a:pt x="134" y="117"/>
                    <a:pt x="134" y="117"/>
                  </a:cubicBezTo>
                  <a:cubicBezTo>
                    <a:pt x="129" y="117"/>
                    <a:pt x="129" y="117"/>
                    <a:pt x="129" y="117"/>
                  </a:cubicBezTo>
                  <a:cubicBezTo>
                    <a:pt x="129" y="117"/>
                    <a:pt x="128" y="118"/>
                    <a:pt x="127" y="118"/>
                  </a:cubicBezTo>
                  <a:cubicBezTo>
                    <a:pt x="127" y="117"/>
                    <a:pt x="125" y="117"/>
                    <a:pt x="125" y="117"/>
                  </a:cubicBezTo>
                  <a:cubicBezTo>
                    <a:pt x="124" y="116"/>
                    <a:pt x="123" y="116"/>
                    <a:pt x="123" y="115"/>
                  </a:cubicBezTo>
                  <a:cubicBezTo>
                    <a:pt x="123" y="115"/>
                    <a:pt x="121" y="114"/>
                    <a:pt x="121" y="114"/>
                  </a:cubicBezTo>
                  <a:cubicBezTo>
                    <a:pt x="122" y="113"/>
                    <a:pt x="122" y="113"/>
                    <a:pt x="122" y="113"/>
                  </a:cubicBezTo>
                  <a:cubicBezTo>
                    <a:pt x="123" y="115"/>
                    <a:pt x="123" y="115"/>
                    <a:pt x="123" y="115"/>
                  </a:cubicBezTo>
                  <a:cubicBezTo>
                    <a:pt x="123" y="115"/>
                    <a:pt x="124" y="116"/>
                    <a:pt x="125" y="116"/>
                  </a:cubicBezTo>
                  <a:cubicBezTo>
                    <a:pt x="126" y="115"/>
                    <a:pt x="127" y="115"/>
                    <a:pt x="128" y="115"/>
                  </a:cubicBezTo>
                  <a:cubicBezTo>
                    <a:pt x="129" y="115"/>
                    <a:pt x="130" y="113"/>
                    <a:pt x="130" y="113"/>
                  </a:cubicBezTo>
                  <a:cubicBezTo>
                    <a:pt x="130" y="113"/>
                    <a:pt x="129" y="113"/>
                    <a:pt x="131" y="112"/>
                  </a:cubicBezTo>
                  <a:cubicBezTo>
                    <a:pt x="133" y="111"/>
                    <a:pt x="133" y="111"/>
                    <a:pt x="134" y="110"/>
                  </a:cubicBezTo>
                  <a:cubicBezTo>
                    <a:pt x="136" y="109"/>
                    <a:pt x="140" y="107"/>
                    <a:pt x="140" y="107"/>
                  </a:cubicBezTo>
                  <a:cubicBezTo>
                    <a:pt x="144" y="105"/>
                    <a:pt x="144" y="105"/>
                    <a:pt x="144" y="105"/>
                  </a:cubicBezTo>
                  <a:cubicBezTo>
                    <a:pt x="148" y="101"/>
                    <a:pt x="148" y="101"/>
                    <a:pt x="148" y="101"/>
                  </a:cubicBezTo>
                  <a:cubicBezTo>
                    <a:pt x="150" y="101"/>
                    <a:pt x="150" y="101"/>
                    <a:pt x="150" y="101"/>
                  </a:cubicBezTo>
                  <a:cubicBezTo>
                    <a:pt x="153" y="98"/>
                    <a:pt x="153" y="98"/>
                    <a:pt x="153" y="98"/>
                  </a:cubicBezTo>
                  <a:cubicBezTo>
                    <a:pt x="155" y="96"/>
                    <a:pt x="155" y="96"/>
                    <a:pt x="155" y="96"/>
                  </a:cubicBezTo>
                  <a:cubicBezTo>
                    <a:pt x="154" y="92"/>
                    <a:pt x="154" y="92"/>
                    <a:pt x="154" y="92"/>
                  </a:cubicBezTo>
                  <a:cubicBezTo>
                    <a:pt x="156" y="89"/>
                    <a:pt x="156" y="89"/>
                    <a:pt x="156" y="89"/>
                  </a:cubicBezTo>
                  <a:cubicBezTo>
                    <a:pt x="155" y="87"/>
                    <a:pt x="155" y="87"/>
                    <a:pt x="155" y="87"/>
                  </a:cubicBezTo>
                  <a:cubicBezTo>
                    <a:pt x="153" y="86"/>
                    <a:pt x="153" y="86"/>
                    <a:pt x="153" y="86"/>
                  </a:cubicBezTo>
                  <a:cubicBezTo>
                    <a:pt x="149" y="86"/>
                    <a:pt x="149" y="86"/>
                    <a:pt x="149" y="86"/>
                  </a:cubicBezTo>
                  <a:cubicBezTo>
                    <a:pt x="149" y="86"/>
                    <a:pt x="148" y="88"/>
                    <a:pt x="147" y="88"/>
                  </a:cubicBezTo>
                  <a:cubicBezTo>
                    <a:pt x="147" y="88"/>
                    <a:pt x="143" y="85"/>
                    <a:pt x="143" y="85"/>
                  </a:cubicBezTo>
                  <a:cubicBezTo>
                    <a:pt x="143" y="85"/>
                    <a:pt x="140" y="87"/>
                    <a:pt x="140" y="87"/>
                  </a:cubicBezTo>
                  <a:cubicBezTo>
                    <a:pt x="138" y="87"/>
                    <a:pt x="138" y="87"/>
                    <a:pt x="138" y="87"/>
                  </a:cubicBezTo>
                  <a:cubicBezTo>
                    <a:pt x="138" y="87"/>
                    <a:pt x="137" y="87"/>
                    <a:pt x="136" y="87"/>
                  </a:cubicBezTo>
                  <a:cubicBezTo>
                    <a:pt x="134" y="87"/>
                    <a:pt x="131" y="86"/>
                    <a:pt x="131" y="86"/>
                  </a:cubicBezTo>
                  <a:cubicBezTo>
                    <a:pt x="128" y="87"/>
                    <a:pt x="128" y="87"/>
                    <a:pt x="128" y="87"/>
                  </a:cubicBezTo>
                  <a:cubicBezTo>
                    <a:pt x="126" y="87"/>
                    <a:pt x="126" y="87"/>
                    <a:pt x="126" y="87"/>
                  </a:cubicBezTo>
                  <a:cubicBezTo>
                    <a:pt x="123" y="89"/>
                    <a:pt x="123" y="89"/>
                    <a:pt x="123" y="89"/>
                  </a:cubicBezTo>
                  <a:cubicBezTo>
                    <a:pt x="124" y="88"/>
                    <a:pt x="124" y="88"/>
                    <a:pt x="124" y="88"/>
                  </a:cubicBezTo>
                  <a:cubicBezTo>
                    <a:pt x="125" y="85"/>
                    <a:pt x="125" y="85"/>
                    <a:pt x="125" y="85"/>
                  </a:cubicBezTo>
                  <a:cubicBezTo>
                    <a:pt x="125" y="85"/>
                    <a:pt x="124" y="84"/>
                    <a:pt x="124" y="84"/>
                  </a:cubicBezTo>
                  <a:cubicBezTo>
                    <a:pt x="123" y="84"/>
                    <a:pt x="122" y="83"/>
                    <a:pt x="122" y="83"/>
                  </a:cubicBezTo>
                  <a:cubicBezTo>
                    <a:pt x="120" y="86"/>
                    <a:pt x="120" y="86"/>
                    <a:pt x="120" y="86"/>
                  </a:cubicBezTo>
                  <a:cubicBezTo>
                    <a:pt x="117" y="87"/>
                    <a:pt x="117" y="87"/>
                    <a:pt x="117" y="87"/>
                  </a:cubicBezTo>
                  <a:cubicBezTo>
                    <a:pt x="118" y="86"/>
                    <a:pt x="118" y="86"/>
                    <a:pt x="118" y="86"/>
                  </a:cubicBezTo>
                  <a:cubicBezTo>
                    <a:pt x="120" y="85"/>
                    <a:pt x="120" y="85"/>
                    <a:pt x="120" y="85"/>
                  </a:cubicBezTo>
                  <a:cubicBezTo>
                    <a:pt x="120" y="83"/>
                    <a:pt x="120" y="83"/>
                    <a:pt x="120" y="83"/>
                  </a:cubicBezTo>
                  <a:cubicBezTo>
                    <a:pt x="120" y="83"/>
                    <a:pt x="120" y="83"/>
                    <a:pt x="119" y="83"/>
                  </a:cubicBezTo>
                  <a:cubicBezTo>
                    <a:pt x="119" y="83"/>
                    <a:pt x="118" y="83"/>
                    <a:pt x="118" y="83"/>
                  </a:cubicBezTo>
                  <a:cubicBezTo>
                    <a:pt x="116" y="82"/>
                    <a:pt x="116" y="82"/>
                    <a:pt x="116" y="82"/>
                  </a:cubicBezTo>
                  <a:cubicBezTo>
                    <a:pt x="115" y="80"/>
                    <a:pt x="115" y="80"/>
                    <a:pt x="115" y="80"/>
                  </a:cubicBezTo>
                  <a:cubicBezTo>
                    <a:pt x="113" y="81"/>
                    <a:pt x="113" y="81"/>
                    <a:pt x="113" y="81"/>
                  </a:cubicBezTo>
                  <a:cubicBezTo>
                    <a:pt x="112" y="82"/>
                    <a:pt x="112" y="82"/>
                    <a:pt x="112" y="82"/>
                  </a:cubicBezTo>
                  <a:cubicBezTo>
                    <a:pt x="111" y="83"/>
                    <a:pt x="111" y="83"/>
                    <a:pt x="111" y="83"/>
                  </a:cubicBezTo>
                  <a:cubicBezTo>
                    <a:pt x="109" y="84"/>
                    <a:pt x="109" y="84"/>
                    <a:pt x="109" y="84"/>
                  </a:cubicBezTo>
                  <a:cubicBezTo>
                    <a:pt x="110" y="86"/>
                    <a:pt x="110" y="86"/>
                    <a:pt x="110" y="86"/>
                  </a:cubicBezTo>
                  <a:cubicBezTo>
                    <a:pt x="109" y="88"/>
                    <a:pt x="109" y="88"/>
                    <a:pt x="109" y="88"/>
                  </a:cubicBezTo>
                  <a:cubicBezTo>
                    <a:pt x="107" y="88"/>
                    <a:pt x="107" y="88"/>
                    <a:pt x="107" y="88"/>
                  </a:cubicBezTo>
                  <a:cubicBezTo>
                    <a:pt x="107" y="88"/>
                    <a:pt x="107" y="91"/>
                    <a:pt x="107" y="91"/>
                  </a:cubicBezTo>
                  <a:cubicBezTo>
                    <a:pt x="107" y="92"/>
                    <a:pt x="109" y="93"/>
                    <a:pt x="109" y="93"/>
                  </a:cubicBezTo>
                  <a:cubicBezTo>
                    <a:pt x="108" y="95"/>
                    <a:pt x="108" y="95"/>
                    <a:pt x="108" y="95"/>
                  </a:cubicBezTo>
                  <a:cubicBezTo>
                    <a:pt x="109" y="95"/>
                    <a:pt x="109" y="95"/>
                    <a:pt x="109" y="95"/>
                  </a:cubicBezTo>
                  <a:cubicBezTo>
                    <a:pt x="109" y="95"/>
                    <a:pt x="108" y="96"/>
                    <a:pt x="108" y="96"/>
                  </a:cubicBezTo>
                  <a:cubicBezTo>
                    <a:pt x="107" y="96"/>
                    <a:pt x="106" y="94"/>
                    <a:pt x="106" y="94"/>
                  </a:cubicBezTo>
                  <a:cubicBezTo>
                    <a:pt x="104" y="94"/>
                    <a:pt x="104" y="94"/>
                    <a:pt x="104" y="94"/>
                  </a:cubicBezTo>
                  <a:cubicBezTo>
                    <a:pt x="102" y="94"/>
                    <a:pt x="102" y="94"/>
                    <a:pt x="102" y="94"/>
                  </a:cubicBezTo>
                  <a:cubicBezTo>
                    <a:pt x="101" y="96"/>
                    <a:pt x="101" y="96"/>
                    <a:pt x="101" y="96"/>
                  </a:cubicBezTo>
                  <a:cubicBezTo>
                    <a:pt x="102" y="98"/>
                    <a:pt x="102" y="98"/>
                    <a:pt x="102" y="98"/>
                  </a:cubicBezTo>
                  <a:cubicBezTo>
                    <a:pt x="101" y="100"/>
                    <a:pt x="101" y="100"/>
                    <a:pt x="101" y="100"/>
                  </a:cubicBezTo>
                  <a:cubicBezTo>
                    <a:pt x="101" y="101"/>
                    <a:pt x="101" y="101"/>
                    <a:pt x="101" y="101"/>
                  </a:cubicBezTo>
                  <a:cubicBezTo>
                    <a:pt x="101" y="101"/>
                    <a:pt x="100" y="102"/>
                    <a:pt x="100" y="103"/>
                  </a:cubicBezTo>
                  <a:cubicBezTo>
                    <a:pt x="100" y="103"/>
                    <a:pt x="100" y="106"/>
                    <a:pt x="100" y="106"/>
                  </a:cubicBezTo>
                  <a:cubicBezTo>
                    <a:pt x="100" y="106"/>
                    <a:pt x="101" y="107"/>
                    <a:pt x="101" y="108"/>
                  </a:cubicBezTo>
                  <a:cubicBezTo>
                    <a:pt x="102" y="108"/>
                    <a:pt x="103" y="109"/>
                    <a:pt x="103" y="109"/>
                  </a:cubicBezTo>
                  <a:cubicBezTo>
                    <a:pt x="103" y="111"/>
                    <a:pt x="103" y="111"/>
                    <a:pt x="103" y="111"/>
                  </a:cubicBezTo>
                  <a:cubicBezTo>
                    <a:pt x="102" y="109"/>
                    <a:pt x="102" y="109"/>
                    <a:pt x="102" y="109"/>
                  </a:cubicBezTo>
                  <a:cubicBezTo>
                    <a:pt x="102" y="109"/>
                    <a:pt x="101" y="108"/>
                    <a:pt x="100" y="108"/>
                  </a:cubicBezTo>
                  <a:cubicBezTo>
                    <a:pt x="100" y="107"/>
                    <a:pt x="100" y="106"/>
                    <a:pt x="99" y="106"/>
                  </a:cubicBezTo>
                  <a:cubicBezTo>
                    <a:pt x="99" y="106"/>
                    <a:pt x="98" y="107"/>
                    <a:pt x="98" y="107"/>
                  </a:cubicBezTo>
                  <a:cubicBezTo>
                    <a:pt x="98" y="107"/>
                    <a:pt x="97" y="107"/>
                    <a:pt x="97" y="107"/>
                  </a:cubicBezTo>
                  <a:cubicBezTo>
                    <a:pt x="98" y="108"/>
                    <a:pt x="96" y="109"/>
                    <a:pt x="96" y="109"/>
                  </a:cubicBezTo>
                  <a:cubicBezTo>
                    <a:pt x="96" y="109"/>
                    <a:pt x="94" y="110"/>
                    <a:pt x="94" y="109"/>
                  </a:cubicBezTo>
                  <a:cubicBezTo>
                    <a:pt x="94" y="108"/>
                    <a:pt x="94" y="107"/>
                    <a:pt x="93" y="107"/>
                  </a:cubicBezTo>
                  <a:cubicBezTo>
                    <a:pt x="93" y="106"/>
                    <a:pt x="92" y="107"/>
                    <a:pt x="92" y="107"/>
                  </a:cubicBezTo>
                  <a:cubicBezTo>
                    <a:pt x="92" y="108"/>
                    <a:pt x="91" y="109"/>
                    <a:pt x="91" y="109"/>
                  </a:cubicBezTo>
                  <a:cubicBezTo>
                    <a:pt x="92" y="110"/>
                    <a:pt x="92" y="110"/>
                    <a:pt x="92" y="110"/>
                  </a:cubicBezTo>
                  <a:cubicBezTo>
                    <a:pt x="92" y="110"/>
                    <a:pt x="91" y="112"/>
                    <a:pt x="91" y="112"/>
                  </a:cubicBezTo>
                  <a:cubicBezTo>
                    <a:pt x="91" y="112"/>
                    <a:pt x="90" y="110"/>
                    <a:pt x="90" y="109"/>
                  </a:cubicBezTo>
                  <a:cubicBezTo>
                    <a:pt x="90" y="109"/>
                    <a:pt x="90" y="107"/>
                    <a:pt x="90" y="108"/>
                  </a:cubicBezTo>
                  <a:cubicBezTo>
                    <a:pt x="89" y="108"/>
                    <a:pt x="88" y="109"/>
                    <a:pt x="88" y="109"/>
                  </a:cubicBezTo>
                  <a:cubicBezTo>
                    <a:pt x="88" y="109"/>
                    <a:pt x="87" y="109"/>
                    <a:pt x="87" y="110"/>
                  </a:cubicBezTo>
                  <a:cubicBezTo>
                    <a:pt x="88" y="110"/>
                    <a:pt x="87" y="113"/>
                    <a:pt x="88" y="113"/>
                  </a:cubicBezTo>
                  <a:cubicBezTo>
                    <a:pt x="89" y="114"/>
                    <a:pt x="88" y="114"/>
                    <a:pt x="89" y="114"/>
                  </a:cubicBezTo>
                  <a:cubicBezTo>
                    <a:pt x="90" y="114"/>
                    <a:pt x="90" y="115"/>
                    <a:pt x="90" y="115"/>
                  </a:cubicBezTo>
                  <a:cubicBezTo>
                    <a:pt x="87" y="115"/>
                    <a:pt x="87" y="115"/>
                    <a:pt x="87" y="115"/>
                  </a:cubicBezTo>
                  <a:cubicBezTo>
                    <a:pt x="87" y="115"/>
                    <a:pt x="86" y="116"/>
                    <a:pt x="86" y="116"/>
                  </a:cubicBezTo>
                  <a:cubicBezTo>
                    <a:pt x="86" y="117"/>
                    <a:pt x="87" y="118"/>
                    <a:pt x="87" y="118"/>
                  </a:cubicBezTo>
                  <a:cubicBezTo>
                    <a:pt x="87" y="118"/>
                    <a:pt x="88" y="119"/>
                    <a:pt x="88" y="120"/>
                  </a:cubicBezTo>
                  <a:cubicBezTo>
                    <a:pt x="88" y="120"/>
                    <a:pt x="87" y="121"/>
                    <a:pt x="87" y="121"/>
                  </a:cubicBezTo>
                  <a:cubicBezTo>
                    <a:pt x="87" y="121"/>
                    <a:pt x="86" y="120"/>
                    <a:pt x="85" y="120"/>
                  </a:cubicBezTo>
                  <a:cubicBezTo>
                    <a:pt x="85" y="120"/>
                    <a:pt x="85" y="120"/>
                    <a:pt x="84" y="121"/>
                  </a:cubicBezTo>
                  <a:cubicBezTo>
                    <a:pt x="84" y="121"/>
                    <a:pt x="83" y="122"/>
                    <a:pt x="83" y="123"/>
                  </a:cubicBezTo>
                  <a:cubicBezTo>
                    <a:pt x="83" y="123"/>
                    <a:pt x="84" y="123"/>
                    <a:pt x="84" y="125"/>
                  </a:cubicBezTo>
                  <a:cubicBezTo>
                    <a:pt x="84" y="126"/>
                    <a:pt x="83" y="127"/>
                    <a:pt x="83" y="127"/>
                  </a:cubicBezTo>
                  <a:cubicBezTo>
                    <a:pt x="83" y="127"/>
                    <a:pt x="83" y="128"/>
                    <a:pt x="83" y="128"/>
                  </a:cubicBezTo>
                  <a:cubicBezTo>
                    <a:pt x="84" y="129"/>
                    <a:pt x="86" y="129"/>
                    <a:pt x="86" y="129"/>
                  </a:cubicBezTo>
                  <a:cubicBezTo>
                    <a:pt x="87" y="129"/>
                    <a:pt x="87" y="129"/>
                    <a:pt x="88" y="129"/>
                  </a:cubicBezTo>
                  <a:cubicBezTo>
                    <a:pt x="88" y="129"/>
                    <a:pt x="89" y="129"/>
                    <a:pt x="89" y="130"/>
                  </a:cubicBezTo>
                  <a:cubicBezTo>
                    <a:pt x="90" y="130"/>
                    <a:pt x="91" y="130"/>
                    <a:pt x="91" y="130"/>
                  </a:cubicBezTo>
                  <a:cubicBezTo>
                    <a:pt x="91" y="130"/>
                    <a:pt x="90" y="132"/>
                    <a:pt x="89" y="131"/>
                  </a:cubicBezTo>
                  <a:cubicBezTo>
                    <a:pt x="88" y="130"/>
                    <a:pt x="87" y="130"/>
                    <a:pt x="86" y="130"/>
                  </a:cubicBezTo>
                  <a:cubicBezTo>
                    <a:pt x="85" y="130"/>
                    <a:pt x="85" y="132"/>
                    <a:pt x="85" y="132"/>
                  </a:cubicBezTo>
                  <a:cubicBezTo>
                    <a:pt x="87" y="133"/>
                    <a:pt x="87" y="133"/>
                    <a:pt x="87" y="133"/>
                  </a:cubicBezTo>
                  <a:cubicBezTo>
                    <a:pt x="87" y="133"/>
                    <a:pt x="88" y="134"/>
                    <a:pt x="87" y="134"/>
                  </a:cubicBezTo>
                  <a:cubicBezTo>
                    <a:pt x="86" y="134"/>
                    <a:pt x="84" y="133"/>
                    <a:pt x="84" y="133"/>
                  </a:cubicBezTo>
                  <a:cubicBezTo>
                    <a:pt x="84" y="133"/>
                    <a:pt x="84" y="133"/>
                    <a:pt x="83" y="133"/>
                  </a:cubicBezTo>
                  <a:cubicBezTo>
                    <a:pt x="83" y="133"/>
                    <a:pt x="82" y="134"/>
                    <a:pt x="82" y="134"/>
                  </a:cubicBezTo>
                  <a:cubicBezTo>
                    <a:pt x="81" y="134"/>
                    <a:pt x="81" y="134"/>
                    <a:pt x="80" y="134"/>
                  </a:cubicBezTo>
                  <a:cubicBezTo>
                    <a:pt x="80" y="133"/>
                    <a:pt x="78" y="132"/>
                    <a:pt x="78" y="132"/>
                  </a:cubicBezTo>
                  <a:cubicBezTo>
                    <a:pt x="78" y="132"/>
                    <a:pt x="77" y="131"/>
                    <a:pt x="77" y="131"/>
                  </a:cubicBezTo>
                  <a:cubicBezTo>
                    <a:pt x="77" y="130"/>
                    <a:pt x="77" y="128"/>
                    <a:pt x="78" y="128"/>
                  </a:cubicBezTo>
                  <a:cubicBezTo>
                    <a:pt x="78" y="128"/>
                    <a:pt x="78" y="127"/>
                    <a:pt x="79" y="127"/>
                  </a:cubicBezTo>
                  <a:cubicBezTo>
                    <a:pt x="79" y="127"/>
                    <a:pt x="82" y="127"/>
                    <a:pt x="80" y="126"/>
                  </a:cubicBezTo>
                  <a:cubicBezTo>
                    <a:pt x="79" y="125"/>
                    <a:pt x="79" y="124"/>
                    <a:pt x="78" y="125"/>
                  </a:cubicBezTo>
                  <a:cubicBezTo>
                    <a:pt x="78" y="125"/>
                    <a:pt x="76" y="126"/>
                    <a:pt x="76" y="126"/>
                  </a:cubicBezTo>
                  <a:cubicBezTo>
                    <a:pt x="76" y="126"/>
                    <a:pt x="76" y="125"/>
                    <a:pt x="76" y="123"/>
                  </a:cubicBezTo>
                  <a:cubicBezTo>
                    <a:pt x="77" y="120"/>
                    <a:pt x="76" y="120"/>
                    <a:pt x="77" y="119"/>
                  </a:cubicBezTo>
                  <a:cubicBezTo>
                    <a:pt x="78" y="119"/>
                    <a:pt x="78" y="118"/>
                    <a:pt x="78" y="118"/>
                  </a:cubicBezTo>
                  <a:cubicBezTo>
                    <a:pt x="78" y="118"/>
                    <a:pt x="78" y="117"/>
                    <a:pt x="77" y="116"/>
                  </a:cubicBezTo>
                  <a:cubicBezTo>
                    <a:pt x="76" y="114"/>
                    <a:pt x="76" y="113"/>
                    <a:pt x="75" y="112"/>
                  </a:cubicBezTo>
                  <a:cubicBezTo>
                    <a:pt x="74" y="112"/>
                    <a:pt x="73" y="113"/>
                    <a:pt x="73" y="113"/>
                  </a:cubicBezTo>
                  <a:cubicBezTo>
                    <a:pt x="73" y="114"/>
                    <a:pt x="72" y="115"/>
                    <a:pt x="73" y="116"/>
                  </a:cubicBezTo>
                  <a:cubicBezTo>
                    <a:pt x="73" y="117"/>
                    <a:pt x="73" y="118"/>
                    <a:pt x="72" y="118"/>
                  </a:cubicBezTo>
                  <a:cubicBezTo>
                    <a:pt x="72" y="119"/>
                    <a:pt x="72" y="119"/>
                    <a:pt x="71" y="119"/>
                  </a:cubicBezTo>
                  <a:cubicBezTo>
                    <a:pt x="70" y="118"/>
                    <a:pt x="70" y="118"/>
                    <a:pt x="70" y="117"/>
                  </a:cubicBezTo>
                  <a:cubicBezTo>
                    <a:pt x="69" y="117"/>
                    <a:pt x="69" y="117"/>
                    <a:pt x="69" y="116"/>
                  </a:cubicBezTo>
                  <a:cubicBezTo>
                    <a:pt x="68" y="116"/>
                    <a:pt x="67" y="115"/>
                    <a:pt x="67" y="115"/>
                  </a:cubicBezTo>
                  <a:cubicBezTo>
                    <a:pt x="67" y="115"/>
                    <a:pt x="65" y="114"/>
                    <a:pt x="65" y="115"/>
                  </a:cubicBezTo>
                  <a:cubicBezTo>
                    <a:pt x="65" y="115"/>
                    <a:pt x="65" y="116"/>
                    <a:pt x="66" y="116"/>
                  </a:cubicBezTo>
                  <a:cubicBezTo>
                    <a:pt x="66" y="117"/>
                    <a:pt x="66" y="117"/>
                    <a:pt x="66" y="118"/>
                  </a:cubicBezTo>
                  <a:cubicBezTo>
                    <a:pt x="66" y="118"/>
                    <a:pt x="66" y="119"/>
                    <a:pt x="66" y="119"/>
                  </a:cubicBezTo>
                  <a:cubicBezTo>
                    <a:pt x="66" y="119"/>
                    <a:pt x="65" y="118"/>
                    <a:pt x="64" y="118"/>
                  </a:cubicBezTo>
                  <a:cubicBezTo>
                    <a:pt x="64" y="118"/>
                    <a:pt x="62" y="120"/>
                    <a:pt x="62" y="120"/>
                  </a:cubicBezTo>
                  <a:cubicBezTo>
                    <a:pt x="62" y="120"/>
                    <a:pt x="62" y="120"/>
                    <a:pt x="62" y="121"/>
                  </a:cubicBezTo>
                  <a:cubicBezTo>
                    <a:pt x="63" y="121"/>
                    <a:pt x="62" y="122"/>
                    <a:pt x="63" y="123"/>
                  </a:cubicBezTo>
                  <a:cubicBezTo>
                    <a:pt x="63" y="124"/>
                    <a:pt x="63" y="125"/>
                    <a:pt x="64" y="125"/>
                  </a:cubicBezTo>
                  <a:cubicBezTo>
                    <a:pt x="65" y="126"/>
                    <a:pt x="69" y="124"/>
                    <a:pt x="69" y="124"/>
                  </a:cubicBezTo>
                  <a:cubicBezTo>
                    <a:pt x="69" y="124"/>
                    <a:pt x="71" y="126"/>
                    <a:pt x="71" y="126"/>
                  </a:cubicBezTo>
                  <a:cubicBezTo>
                    <a:pt x="71" y="126"/>
                    <a:pt x="71" y="128"/>
                    <a:pt x="71" y="128"/>
                  </a:cubicBezTo>
                  <a:cubicBezTo>
                    <a:pt x="71" y="128"/>
                    <a:pt x="71" y="128"/>
                    <a:pt x="70" y="128"/>
                  </a:cubicBezTo>
                  <a:cubicBezTo>
                    <a:pt x="69" y="128"/>
                    <a:pt x="68" y="127"/>
                    <a:pt x="68" y="128"/>
                  </a:cubicBezTo>
                  <a:cubicBezTo>
                    <a:pt x="68" y="129"/>
                    <a:pt x="68" y="131"/>
                    <a:pt x="68" y="131"/>
                  </a:cubicBezTo>
                  <a:cubicBezTo>
                    <a:pt x="69" y="132"/>
                    <a:pt x="69" y="134"/>
                    <a:pt x="70" y="134"/>
                  </a:cubicBezTo>
                  <a:cubicBezTo>
                    <a:pt x="72" y="135"/>
                    <a:pt x="72" y="135"/>
                    <a:pt x="73" y="135"/>
                  </a:cubicBezTo>
                  <a:cubicBezTo>
                    <a:pt x="74" y="134"/>
                    <a:pt x="73" y="133"/>
                    <a:pt x="74" y="134"/>
                  </a:cubicBezTo>
                  <a:cubicBezTo>
                    <a:pt x="75" y="134"/>
                    <a:pt x="76" y="134"/>
                    <a:pt x="77" y="135"/>
                  </a:cubicBezTo>
                  <a:cubicBezTo>
                    <a:pt x="77" y="136"/>
                    <a:pt x="76" y="136"/>
                    <a:pt x="76" y="136"/>
                  </a:cubicBezTo>
                  <a:cubicBezTo>
                    <a:pt x="76" y="136"/>
                    <a:pt x="75" y="136"/>
                    <a:pt x="75" y="136"/>
                  </a:cubicBezTo>
                  <a:cubicBezTo>
                    <a:pt x="75" y="137"/>
                    <a:pt x="74" y="137"/>
                    <a:pt x="75" y="137"/>
                  </a:cubicBezTo>
                  <a:cubicBezTo>
                    <a:pt x="77" y="138"/>
                    <a:pt x="78" y="137"/>
                    <a:pt x="78" y="137"/>
                  </a:cubicBezTo>
                  <a:cubicBezTo>
                    <a:pt x="78" y="137"/>
                    <a:pt x="79" y="136"/>
                    <a:pt x="79" y="137"/>
                  </a:cubicBezTo>
                  <a:cubicBezTo>
                    <a:pt x="79" y="137"/>
                    <a:pt x="78" y="138"/>
                    <a:pt x="78" y="138"/>
                  </a:cubicBezTo>
                  <a:cubicBezTo>
                    <a:pt x="77" y="139"/>
                    <a:pt x="77" y="139"/>
                    <a:pt x="77" y="140"/>
                  </a:cubicBezTo>
                  <a:cubicBezTo>
                    <a:pt x="77" y="140"/>
                    <a:pt x="76" y="141"/>
                    <a:pt x="76" y="141"/>
                  </a:cubicBezTo>
                  <a:cubicBezTo>
                    <a:pt x="76" y="142"/>
                    <a:pt x="74" y="145"/>
                    <a:pt x="77" y="143"/>
                  </a:cubicBezTo>
                  <a:cubicBezTo>
                    <a:pt x="80" y="141"/>
                    <a:pt x="80" y="141"/>
                    <a:pt x="80" y="140"/>
                  </a:cubicBezTo>
                  <a:cubicBezTo>
                    <a:pt x="80" y="140"/>
                    <a:pt x="80" y="140"/>
                    <a:pt x="81" y="139"/>
                  </a:cubicBezTo>
                  <a:cubicBezTo>
                    <a:pt x="83" y="138"/>
                    <a:pt x="84" y="138"/>
                    <a:pt x="84" y="138"/>
                  </a:cubicBezTo>
                  <a:cubicBezTo>
                    <a:pt x="84" y="137"/>
                    <a:pt x="85" y="137"/>
                    <a:pt x="85" y="138"/>
                  </a:cubicBezTo>
                  <a:cubicBezTo>
                    <a:pt x="84" y="139"/>
                    <a:pt x="84" y="138"/>
                    <a:pt x="84" y="139"/>
                  </a:cubicBezTo>
                  <a:cubicBezTo>
                    <a:pt x="85" y="140"/>
                    <a:pt x="85" y="140"/>
                    <a:pt x="86" y="140"/>
                  </a:cubicBezTo>
                  <a:cubicBezTo>
                    <a:pt x="86" y="140"/>
                    <a:pt x="87" y="141"/>
                    <a:pt x="87" y="141"/>
                  </a:cubicBezTo>
                  <a:cubicBezTo>
                    <a:pt x="87" y="141"/>
                    <a:pt x="85" y="140"/>
                    <a:pt x="84" y="140"/>
                  </a:cubicBezTo>
                  <a:cubicBezTo>
                    <a:pt x="84" y="140"/>
                    <a:pt x="83" y="140"/>
                    <a:pt x="83" y="140"/>
                  </a:cubicBezTo>
                  <a:cubicBezTo>
                    <a:pt x="83" y="140"/>
                    <a:pt x="82" y="141"/>
                    <a:pt x="82" y="141"/>
                  </a:cubicBezTo>
                  <a:cubicBezTo>
                    <a:pt x="82" y="142"/>
                    <a:pt x="82" y="142"/>
                    <a:pt x="82" y="142"/>
                  </a:cubicBezTo>
                  <a:cubicBezTo>
                    <a:pt x="82" y="142"/>
                    <a:pt x="83" y="143"/>
                    <a:pt x="83" y="143"/>
                  </a:cubicBezTo>
                  <a:cubicBezTo>
                    <a:pt x="83" y="144"/>
                    <a:pt x="83" y="144"/>
                    <a:pt x="82" y="144"/>
                  </a:cubicBezTo>
                  <a:cubicBezTo>
                    <a:pt x="81" y="144"/>
                    <a:pt x="82" y="143"/>
                    <a:pt x="80" y="143"/>
                  </a:cubicBezTo>
                  <a:cubicBezTo>
                    <a:pt x="79" y="144"/>
                    <a:pt x="79" y="142"/>
                    <a:pt x="78" y="144"/>
                  </a:cubicBezTo>
                  <a:cubicBezTo>
                    <a:pt x="78" y="147"/>
                    <a:pt x="77" y="147"/>
                    <a:pt x="77" y="147"/>
                  </a:cubicBezTo>
                  <a:cubicBezTo>
                    <a:pt x="77" y="147"/>
                    <a:pt x="77" y="147"/>
                    <a:pt x="77" y="148"/>
                  </a:cubicBezTo>
                  <a:cubicBezTo>
                    <a:pt x="77" y="148"/>
                    <a:pt x="77" y="148"/>
                    <a:pt x="79" y="149"/>
                  </a:cubicBezTo>
                  <a:cubicBezTo>
                    <a:pt x="80" y="150"/>
                    <a:pt x="81" y="151"/>
                    <a:pt x="81" y="151"/>
                  </a:cubicBezTo>
                  <a:cubicBezTo>
                    <a:pt x="81" y="151"/>
                    <a:pt x="80" y="151"/>
                    <a:pt x="79" y="151"/>
                  </a:cubicBezTo>
                  <a:cubicBezTo>
                    <a:pt x="78" y="152"/>
                    <a:pt x="77" y="152"/>
                    <a:pt x="76" y="152"/>
                  </a:cubicBezTo>
                  <a:cubicBezTo>
                    <a:pt x="76" y="153"/>
                    <a:pt x="75" y="153"/>
                    <a:pt x="74" y="153"/>
                  </a:cubicBezTo>
                  <a:cubicBezTo>
                    <a:pt x="74" y="153"/>
                    <a:pt x="72" y="153"/>
                    <a:pt x="71" y="153"/>
                  </a:cubicBezTo>
                  <a:cubicBezTo>
                    <a:pt x="70" y="153"/>
                    <a:pt x="69" y="153"/>
                    <a:pt x="68" y="154"/>
                  </a:cubicBezTo>
                  <a:cubicBezTo>
                    <a:pt x="68" y="154"/>
                    <a:pt x="68" y="155"/>
                    <a:pt x="68" y="155"/>
                  </a:cubicBezTo>
                  <a:cubicBezTo>
                    <a:pt x="68" y="155"/>
                    <a:pt x="67" y="155"/>
                    <a:pt x="68" y="156"/>
                  </a:cubicBezTo>
                  <a:cubicBezTo>
                    <a:pt x="69" y="156"/>
                    <a:pt x="72" y="156"/>
                    <a:pt x="72" y="156"/>
                  </a:cubicBezTo>
                  <a:cubicBezTo>
                    <a:pt x="73" y="156"/>
                    <a:pt x="73" y="157"/>
                    <a:pt x="73" y="157"/>
                  </a:cubicBezTo>
                  <a:cubicBezTo>
                    <a:pt x="71" y="157"/>
                    <a:pt x="71" y="157"/>
                    <a:pt x="71" y="157"/>
                  </a:cubicBezTo>
                  <a:cubicBezTo>
                    <a:pt x="71" y="157"/>
                    <a:pt x="70" y="156"/>
                    <a:pt x="69" y="156"/>
                  </a:cubicBezTo>
                  <a:cubicBezTo>
                    <a:pt x="69" y="157"/>
                    <a:pt x="66" y="157"/>
                    <a:pt x="66" y="157"/>
                  </a:cubicBezTo>
                  <a:cubicBezTo>
                    <a:pt x="66" y="157"/>
                    <a:pt x="65" y="159"/>
                    <a:pt x="65" y="159"/>
                  </a:cubicBezTo>
                  <a:cubicBezTo>
                    <a:pt x="65" y="160"/>
                    <a:pt x="65" y="161"/>
                    <a:pt x="66" y="162"/>
                  </a:cubicBezTo>
                  <a:cubicBezTo>
                    <a:pt x="67" y="163"/>
                    <a:pt x="67" y="164"/>
                    <a:pt x="67" y="164"/>
                  </a:cubicBezTo>
                  <a:cubicBezTo>
                    <a:pt x="67" y="165"/>
                    <a:pt x="67" y="164"/>
                    <a:pt x="67" y="165"/>
                  </a:cubicBezTo>
                  <a:cubicBezTo>
                    <a:pt x="67" y="166"/>
                    <a:pt x="65" y="167"/>
                    <a:pt x="65" y="167"/>
                  </a:cubicBezTo>
                  <a:cubicBezTo>
                    <a:pt x="65" y="167"/>
                    <a:pt x="65" y="167"/>
                    <a:pt x="65" y="168"/>
                  </a:cubicBezTo>
                  <a:cubicBezTo>
                    <a:pt x="64" y="170"/>
                    <a:pt x="63" y="172"/>
                    <a:pt x="64" y="172"/>
                  </a:cubicBezTo>
                  <a:cubicBezTo>
                    <a:pt x="65" y="172"/>
                    <a:pt x="65" y="173"/>
                    <a:pt x="67" y="172"/>
                  </a:cubicBezTo>
                  <a:cubicBezTo>
                    <a:pt x="69" y="172"/>
                    <a:pt x="66" y="171"/>
                    <a:pt x="70" y="172"/>
                  </a:cubicBezTo>
                  <a:cubicBezTo>
                    <a:pt x="73" y="172"/>
                    <a:pt x="73" y="172"/>
                    <a:pt x="74" y="172"/>
                  </a:cubicBezTo>
                  <a:cubicBezTo>
                    <a:pt x="75" y="171"/>
                    <a:pt x="75" y="171"/>
                    <a:pt x="76" y="171"/>
                  </a:cubicBezTo>
                  <a:cubicBezTo>
                    <a:pt x="76" y="170"/>
                    <a:pt x="74" y="170"/>
                    <a:pt x="77" y="169"/>
                  </a:cubicBezTo>
                  <a:cubicBezTo>
                    <a:pt x="79" y="168"/>
                    <a:pt x="79" y="168"/>
                    <a:pt x="79" y="168"/>
                  </a:cubicBezTo>
                  <a:cubicBezTo>
                    <a:pt x="79" y="168"/>
                    <a:pt x="78" y="166"/>
                    <a:pt x="80" y="168"/>
                  </a:cubicBezTo>
                  <a:cubicBezTo>
                    <a:pt x="82" y="170"/>
                    <a:pt x="81" y="170"/>
                    <a:pt x="81" y="170"/>
                  </a:cubicBezTo>
                  <a:cubicBezTo>
                    <a:pt x="80" y="172"/>
                    <a:pt x="80" y="172"/>
                    <a:pt x="80" y="172"/>
                  </a:cubicBezTo>
                  <a:cubicBezTo>
                    <a:pt x="80" y="173"/>
                    <a:pt x="80" y="173"/>
                    <a:pt x="80" y="173"/>
                  </a:cubicBezTo>
                  <a:cubicBezTo>
                    <a:pt x="80" y="173"/>
                    <a:pt x="79" y="173"/>
                    <a:pt x="78" y="174"/>
                  </a:cubicBezTo>
                  <a:cubicBezTo>
                    <a:pt x="77" y="176"/>
                    <a:pt x="75" y="179"/>
                    <a:pt x="74" y="179"/>
                  </a:cubicBezTo>
                  <a:cubicBezTo>
                    <a:pt x="74" y="179"/>
                    <a:pt x="75" y="179"/>
                    <a:pt x="73" y="180"/>
                  </a:cubicBezTo>
                  <a:cubicBezTo>
                    <a:pt x="72" y="181"/>
                    <a:pt x="71" y="182"/>
                    <a:pt x="69" y="183"/>
                  </a:cubicBezTo>
                  <a:cubicBezTo>
                    <a:pt x="68" y="184"/>
                    <a:pt x="68" y="183"/>
                    <a:pt x="67" y="184"/>
                  </a:cubicBezTo>
                  <a:cubicBezTo>
                    <a:pt x="67" y="184"/>
                    <a:pt x="67" y="186"/>
                    <a:pt x="67" y="186"/>
                  </a:cubicBezTo>
                  <a:cubicBezTo>
                    <a:pt x="66" y="187"/>
                    <a:pt x="66" y="187"/>
                    <a:pt x="66" y="187"/>
                  </a:cubicBezTo>
                  <a:cubicBezTo>
                    <a:pt x="63" y="188"/>
                    <a:pt x="63" y="188"/>
                    <a:pt x="63" y="188"/>
                  </a:cubicBezTo>
                  <a:cubicBezTo>
                    <a:pt x="61" y="187"/>
                    <a:pt x="61" y="187"/>
                    <a:pt x="61" y="187"/>
                  </a:cubicBezTo>
                  <a:cubicBezTo>
                    <a:pt x="59" y="189"/>
                    <a:pt x="59" y="189"/>
                    <a:pt x="59" y="189"/>
                  </a:cubicBezTo>
                  <a:cubicBezTo>
                    <a:pt x="59" y="189"/>
                    <a:pt x="57" y="188"/>
                    <a:pt x="56" y="188"/>
                  </a:cubicBezTo>
                  <a:cubicBezTo>
                    <a:pt x="55" y="188"/>
                    <a:pt x="55" y="189"/>
                    <a:pt x="55" y="189"/>
                  </a:cubicBezTo>
                  <a:cubicBezTo>
                    <a:pt x="55" y="189"/>
                    <a:pt x="54" y="190"/>
                    <a:pt x="54" y="191"/>
                  </a:cubicBezTo>
                  <a:cubicBezTo>
                    <a:pt x="53" y="192"/>
                    <a:pt x="53" y="195"/>
                    <a:pt x="53" y="195"/>
                  </a:cubicBezTo>
                  <a:cubicBezTo>
                    <a:pt x="51" y="196"/>
                    <a:pt x="51" y="196"/>
                    <a:pt x="51" y="196"/>
                  </a:cubicBezTo>
                  <a:cubicBezTo>
                    <a:pt x="51" y="196"/>
                    <a:pt x="51" y="198"/>
                    <a:pt x="52" y="197"/>
                  </a:cubicBezTo>
                  <a:cubicBezTo>
                    <a:pt x="53" y="196"/>
                    <a:pt x="54" y="195"/>
                    <a:pt x="55" y="194"/>
                  </a:cubicBezTo>
                  <a:cubicBezTo>
                    <a:pt x="56" y="194"/>
                    <a:pt x="57" y="193"/>
                    <a:pt x="57" y="193"/>
                  </a:cubicBezTo>
                  <a:cubicBezTo>
                    <a:pt x="57" y="195"/>
                    <a:pt x="57" y="195"/>
                    <a:pt x="57" y="195"/>
                  </a:cubicBezTo>
                  <a:cubicBezTo>
                    <a:pt x="56" y="198"/>
                    <a:pt x="56" y="198"/>
                    <a:pt x="56" y="198"/>
                  </a:cubicBezTo>
                  <a:cubicBezTo>
                    <a:pt x="55" y="199"/>
                    <a:pt x="55" y="199"/>
                    <a:pt x="55" y="199"/>
                  </a:cubicBezTo>
                  <a:cubicBezTo>
                    <a:pt x="54" y="200"/>
                    <a:pt x="54" y="200"/>
                    <a:pt x="54" y="200"/>
                  </a:cubicBezTo>
                  <a:cubicBezTo>
                    <a:pt x="54" y="200"/>
                    <a:pt x="53" y="204"/>
                    <a:pt x="54" y="203"/>
                  </a:cubicBezTo>
                  <a:cubicBezTo>
                    <a:pt x="56" y="202"/>
                    <a:pt x="55" y="202"/>
                    <a:pt x="57" y="202"/>
                  </a:cubicBezTo>
                  <a:cubicBezTo>
                    <a:pt x="58" y="201"/>
                    <a:pt x="58" y="200"/>
                    <a:pt x="61" y="200"/>
                  </a:cubicBezTo>
                  <a:cubicBezTo>
                    <a:pt x="63" y="200"/>
                    <a:pt x="63" y="198"/>
                    <a:pt x="63" y="198"/>
                  </a:cubicBezTo>
                  <a:cubicBezTo>
                    <a:pt x="63" y="197"/>
                    <a:pt x="63" y="196"/>
                    <a:pt x="63" y="196"/>
                  </a:cubicBezTo>
                  <a:cubicBezTo>
                    <a:pt x="63" y="195"/>
                    <a:pt x="62" y="194"/>
                    <a:pt x="64" y="194"/>
                  </a:cubicBezTo>
                  <a:cubicBezTo>
                    <a:pt x="66" y="193"/>
                    <a:pt x="65" y="194"/>
                    <a:pt x="66" y="193"/>
                  </a:cubicBezTo>
                  <a:cubicBezTo>
                    <a:pt x="66" y="193"/>
                    <a:pt x="66" y="194"/>
                    <a:pt x="67" y="192"/>
                  </a:cubicBezTo>
                  <a:cubicBezTo>
                    <a:pt x="67" y="190"/>
                    <a:pt x="67" y="191"/>
                    <a:pt x="68" y="189"/>
                  </a:cubicBezTo>
                  <a:cubicBezTo>
                    <a:pt x="70" y="188"/>
                    <a:pt x="69" y="188"/>
                    <a:pt x="70" y="188"/>
                  </a:cubicBezTo>
                  <a:cubicBezTo>
                    <a:pt x="70" y="187"/>
                    <a:pt x="70" y="187"/>
                    <a:pt x="71" y="187"/>
                  </a:cubicBezTo>
                  <a:cubicBezTo>
                    <a:pt x="72" y="186"/>
                    <a:pt x="72" y="186"/>
                    <a:pt x="72" y="185"/>
                  </a:cubicBezTo>
                  <a:cubicBezTo>
                    <a:pt x="72" y="185"/>
                    <a:pt x="75" y="183"/>
                    <a:pt x="75" y="183"/>
                  </a:cubicBezTo>
                  <a:cubicBezTo>
                    <a:pt x="75" y="182"/>
                    <a:pt x="75" y="182"/>
                    <a:pt x="75" y="182"/>
                  </a:cubicBezTo>
                  <a:cubicBezTo>
                    <a:pt x="78" y="179"/>
                    <a:pt x="78" y="179"/>
                    <a:pt x="78" y="179"/>
                  </a:cubicBezTo>
                  <a:cubicBezTo>
                    <a:pt x="78" y="179"/>
                    <a:pt x="79" y="179"/>
                    <a:pt x="78" y="180"/>
                  </a:cubicBezTo>
                  <a:cubicBezTo>
                    <a:pt x="78" y="181"/>
                    <a:pt x="77" y="182"/>
                    <a:pt x="77" y="182"/>
                  </a:cubicBezTo>
                  <a:cubicBezTo>
                    <a:pt x="77" y="184"/>
                    <a:pt x="77" y="184"/>
                    <a:pt x="77" y="184"/>
                  </a:cubicBezTo>
                  <a:cubicBezTo>
                    <a:pt x="75" y="186"/>
                    <a:pt x="75" y="186"/>
                    <a:pt x="75" y="186"/>
                  </a:cubicBezTo>
                  <a:cubicBezTo>
                    <a:pt x="75" y="186"/>
                    <a:pt x="76" y="187"/>
                    <a:pt x="75" y="187"/>
                  </a:cubicBezTo>
                  <a:cubicBezTo>
                    <a:pt x="74" y="188"/>
                    <a:pt x="73" y="189"/>
                    <a:pt x="73" y="189"/>
                  </a:cubicBezTo>
                  <a:cubicBezTo>
                    <a:pt x="73" y="191"/>
                    <a:pt x="73" y="191"/>
                    <a:pt x="73" y="191"/>
                  </a:cubicBezTo>
                  <a:cubicBezTo>
                    <a:pt x="73" y="191"/>
                    <a:pt x="73" y="191"/>
                    <a:pt x="73" y="191"/>
                  </a:cubicBezTo>
                  <a:cubicBezTo>
                    <a:pt x="72" y="194"/>
                    <a:pt x="72" y="194"/>
                    <a:pt x="72" y="194"/>
                  </a:cubicBezTo>
                  <a:cubicBezTo>
                    <a:pt x="74" y="196"/>
                    <a:pt x="74" y="196"/>
                    <a:pt x="74" y="196"/>
                  </a:cubicBezTo>
                  <a:cubicBezTo>
                    <a:pt x="74" y="197"/>
                    <a:pt x="74" y="197"/>
                    <a:pt x="74" y="197"/>
                  </a:cubicBezTo>
                  <a:cubicBezTo>
                    <a:pt x="74" y="197"/>
                    <a:pt x="73" y="198"/>
                    <a:pt x="73" y="199"/>
                  </a:cubicBezTo>
                  <a:cubicBezTo>
                    <a:pt x="72" y="199"/>
                    <a:pt x="70" y="202"/>
                    <a:pt x="70" y="202"/>
                  </a:cubicBezTo>
                  <a:cubicBezTo>
                    <a:pt x="69" y="204"/>
                    <a:pt x="69" y="204"/>
                    <a:pt x="69" y="204"/>
                  </a:cubicBezTo>
                  <a:cubicBezTo>
                    <a:pt x="68" y="206"/>
                    <a:pt x="68" y="206"/>
                    <a:pt x="68" y="206"/>
                  </a:cubicBezTo>
                  <a:cubicBezTo>
                    <a:pt x="67" y="209"/>
                    <a:pt x="67" y="209"/>
                    <a:pt x="67" y="209"/>
                  </a:cubicBezTo>
                  <a:cubicBezTo>
                    <a:pt x="66" y="212"/>
                    <a:pt x="66" y="212"/>
                    <a:pt x="66" y="212"/>
                  </a:cubicBezTo>
                  <a:cubicBezTo>
                    <a:pt x="65" y="213"/>
                    <a:pt x="65" y="213"/>
                    <a:pt x="65" y="213"/>
                  </a:cubicBezTo>
                  <a:cubicBezTo>
                    <a:pt x="65" y="213"/>
                    <a:pt x="64" y="215"/>
                    <a:pt x="66" y="215"/>
                  </a:cubicBezTo>
                  <a:cubicBezTo>
                    <a:pt x="67" y="216"/>
                    <a:pt x="67" y="216"/>
                    <a:pt x="68" y="216"/>
                  </a:cubicBezTo>
                  <a:cubicBezTo>
                    <a:pt x="70" y="216"/>
                    <a:pt x="69" y="216"/>
                    <a:pt x="70" y="216"/>
                  </a:cubicBezTo>
                  <a:cubicBezTo>
                    <a:pt x="70" y="216"/>
                    <a:pt x="72" y="216"/>
                    <a:pt x="72" y="214"/>
                  </a:cubicBezTo>
                  <a:cubicBezTo>
                    <a:pt x="72" y="213"/>
                    <a:pt x="72" y="211"/>
                    <a:pt x="72" y="211"/>
                  </a:cubicBezTo>
                  <a:cubicBezTo>
                    <a:pt x="72" y="210"/>
                    <a:pt x="74" y="208"/>
                    <a:pt x="74" y="208"/>
                  </a:cubicBezTo>
                  <a:cubicBezTo>
                    <a:pt x="74" y="205"/>
                    <a:pt x="74" y="205"/>
                    <a:pt x="74" y="205"/>
                  </a:cubicBezTo>
                  <a:cubicBezTo>
                    <a:pt x="74" y="205"/>
                    <a:pt x="73" y="204"/>
                    <a:pt x="75" y="202"/>
                  </a:cubicBezTo>
                  <a:cubicBezTo>
                    <a:pt x="77" y="201"/>
                    <a:pt x="76" y="202"/>
                    <a:pt x="77" y="201"/>
                  </a:cubicBezTo>
                  <a:cubicBezTo>
                    <a:pt x="77" y="201"/>
                    <a:pt x="78" y="200"/>
                    <a:pt x="78" y="199"/>
                  </a:cubicBezTo>
                  <a:cubicBezTo>
                    <a:pt x="79" y="198"/>
                    <a:pt x="79" y="198"/>
                    <a:pt x="79" y="198"/>
                  </a:cubicBezTo>
                  <a:cubicBezTo>
                    <a:pt x="80" y="197"/>
                    <a:pt x="80" y="197"/>
                    <a:pt x="80" y="197"/>
                  </a:cubicBezTo>
                  <a:cubicBezTo>
                    <a:pt x="79" y="191"/>
                    <a:pt x="79" y="191"/>
                    <a:pt x="79" y="191"/>
                  </a:cubicBezTo>
                  <a:cubicBezTo>
                    <a:pt x="79" y="191"/>
                    <a:pt x="80" y="189"/>
                    <a:pt x="80" y="189"/>
                  </a:cubicBezTo>
                  <a:cubicBezTo>
                    <a:pt x="81" y="188"/>
                    <a:pt x="82" y="189"/>
                    <a:pt x="82" y="189"/>
                  </a:cubicBezTo>
                  <a:cubicBezTo>
                    <a:pt x="82" y="189"/>
                    <a:pt x="82" y="189"/>
                    <a:pt x="81" y="191"/>
                  </a:cubicBezTo>
                  <a:cubicBezTo>
                    <a:pt x="81" y="192"/>
                    <a:pt x="82" y="195"/>
                    <a:pt x="82" y="195"/>
                  </a:cubicBezTo>
                  <a:cubicBezTo>
                    <a:pt x="87" y="200"/>
                    <a:pt x="87" y="200"/>
                    <a:pt x="87" y="200"/>
                  </a:cubicBezTo>
                  <a:cubicBezTo>
                    <a:pt x="87" y="200"/>
                    <a:pt x="90" y="204"/>
                    <a:pt x="90" y="204"/>
                  </a:cubicBezTo>
                  <a:cubicBezTo>
                    <a:pt x="90" y="205"/>
                    <a:pt x="94" y="208"/>
                    <a:pt x="94" y="208"/>
                  </a:cubicBezTo>
                  <a:cubicBezTo>
                    <a:pt x="94" y="208"/>
                    <a:pt x="94" y="209"/>
                    <a:pt x="94" y="210"/>
                  </a:cubicBezTo>
                  <a:cubicBezTo>
                    <a:pt x="94" y="210"/>
                    <a:pt x="95" y="211"/>
                    <a:pt x="94" y="212"/>
                  </a:cubicBezTo>
                  <a:cubicBezTo>
                    <a:pt x="94" y="213"/>
                    <a:pt x="93" y="215"/>
                    <a:pt x="93" y="215"/>
                  </a:cubicBezTo>
                  <a:cubicBezTo>
                    <a:pt x="91" y="216"/>
                    <a:pt x="91" y="216"/>
                    <a:pt x="91" y="216"/>
                  </a:cubicBezTo>
                  <a:cubicBezTo>
                    <a:pt x="89" y="218"/>
                    <a:pt x="89" y="218"/>
                    <a:pt x="89" y="218"/>
                  </a:cubicBezTo>
                  <a:cubicBezTo>
                    <a:pt x="88" y="222"/>
                    <a:pt x="88" y="222"/>
                    <a:pt x="88" y="222"/>
                  </a:cubicBezTo>
                  <a:cubicBezTo>
                    <a:pt x="86" y="224"/>
                    <a:pt x="86" y="224"/>
                    <a:pt x="86" y="224"/>
                  </a:cubicBezTo>
                  <a:cubicBezTo>
                    <a:pt x="83" y="226"/>
                    <a:pt x="83" y="226"/>
                    <a:pt x="83" y="226"/>
                  </a:cubicBezTo>
                  <a:cubicBezTo>
                    <a:pt x="79" y="230"/>
                    <a:pt x="79" y="230"/>
                    <a:pt x="79" y="230"/>
                  </a:cubicBezTo>
                  <a:cubicBezTo>
                    <a:pt x="78" y="233"/>
                    <a:pt x="78" y="233"/>
                    <a:pt x="78" y="233"/>
                  </a:cubicBezTo>
                  <a:cubicBezTo>
                    <a:pt x="75" y="236"/>
                    <a:pt x="75" y="236"/>
                    <a:pt x="75" y="236"/>
                  </a:cubicBezTo>
                  <a:cubicBezTo>
                    <a:pt x="75" y="239"/>
                    <a:pt x="75" y="239"/>
                    <a:pt x="75" y="239"/>
                  </a:cubicBezTo>
                  <a:cubicBezTo>
                    <a:pt x="75" y="239"/>
                    <a:pt x="77" y="242"/>
                    <a:pt x="77" y="242"/>
                  </a:cubicBezTo>
                  <a:cubicBezTo>
                    <a:pt x="78" y="242"/>
                    <a:pt x="79" y="243"/>
                    <a:pt x="79" y="243"/>
                  </a:cubicBezTo>
                  <a:cubicBezTo>
                    <a:pt x="79" y="247"/>
                    <a:pt x="79" y="247"/>
                    <a:pt x="79" y="247"/>
                  </a:cubicBezTo>
                  <a:cubicBezTo>
                    <a:pt x="79" y="247"/>
                    <a:pt x="80" y="249"/>
                    <a:pt x="80" y="249"/>
                  </a:cubicBezTo>
                  <a:cubicBezTo>
                    <a:pt x="81" y="249"/>
                    <a:pt x="82" y="246"/>
                    <a:pt x="82" y="246"/>
                  </a:cubicBezTo>
                  <a:cubicBezTo>
                    <a:pt x="82" y="246"/>
                    <a:pt x="80" y="244"/>
                    <a:pt x="80" y="242"/>
                  </a:cubicBezTo>
                  <a:cubicBezTo>
                    <a:pt x="80" y="241"/>
                    <a:pt x="81" y="238"/>
                    <a:pt x="81" y="238"/>
                  </a:cubicBezTo>
                  <a:cubicBezTo>
                    <a:pt x="83" y="238"/>
                    <a:pt x="83" y="238"/>
                    <a:pt x="83" y="238"/>
                  </a:cubicBezTo>
                  <a:cubicBezTo>
                    <a:pt x="83" y="238"/>
                    <a:pt x="83" y="238"/>
                    <a:pt x="84" y="239"/>
                  </a:cubicBezTo>
                  <a:cubicBezTo>
                    <a:pt x="84" y="240"/>
                    <a:pt x="84" y="239"/>
                    <a:pt x="85" y="240"/>
                  </a:cubicBezTo>
                  <a:cubicBezTo>
                    <a:pt x="85" y="241"/>
                    <a:pt x="88" y="243"/>
                    <a:pt x="88" y="243"/>
                  </a:cubicBezTo>
                  <a:cubicBezTo>
                    <a:pt x="88" y="243"/>
                    <a:pt x="90" y="246"/>
                    <a:pt x="90" y="246"/>
                  </a:cubicBezTo>
                  <a:cubicBezTo>
                    <a:pt x="91" y="247"/>
                    <a:pt x="92" y="249"/>
                    <a:pt x="93" y="249"/>
                  </a:cubicBezTo>
                  <a:cubicBezTo>
                    <a:pt x="94" y="248"/>
                    <a:pt x="94" y="249"/>
                    <a:pt x="95" y="247"/>
                  </a:cubicBezTo>
                  <a:cubicBezTo>
                    <a:pt x="95" y="245"/>
                    <a:pt x="95" y="245"/>
                    <a:pt x="95" y="244"/>
                  </a:cubicBezTo>
                  <a:cubicBezTo>
                    <a:pt x="95" y="243"/>
                    <a:pt x="95" y="241"/>
                    <a:pt x="95" y="241"/>
                  </a:cubicBezTo>
                  <a:cubicBezTo>
                    <a:pt x="95" y="241"/>
                    <a:pt x="94" y="240"/>
                    <a:pt x="96" y="240"/>
                  </a:cubicBezTo>
                  <a:cubicBezTo>
                    <a:pt x="97" y="240"/>
                    <a:pt x="97" y="242"/>
                    <a:pt x="97" y="242"/>
                  </a:cubicBezTo>
                  <a:cubicBezTo>
                    <a:pt x="97" y="242"/>
                    <a:pt x="98" y="244"/>
                    <a:pt x="99" y="245"/>
                  </a:cubicBezTo>
                  <a:cubicBezTo>
                    <a:pt x="100" y="245"/>
                    <a:pt x="100" y="245"/>
                    <a:pt x="101" y="246"/>
                  </a:cubicBezTo>
                  <a:cubicBezTo>
                    <a:pt x="102" y="247"/>
                    <a:pt x="106" y="248"/>
                    <a:pt x="106" y="248"/>
                  </a:cubicBezTo>
                  <a:cubicBezTo>
                    <a:pt x="106" y="248"/>
                    <a:pt x="106" y="247"/>
                    <a:pt x="107" y="247"/>
                  </a:cubicBezTo>
                  <a:cubicBezTo>
                    <a:pt x="108" y="246"/>
                    <a:pt x="109" y="245"/>
                    <a:pt x="109" y="245"/>
                  </a:cubicBezTo>
                  <a:cubicBezTo>
                    <a:pt x="109" y="245"/>
                    <a:pt x="109" y="244"/>
                    <a:pt x="110" y="245"/>
                  </a:cubicBezTo>
                  <a:cubicBezTo>
                    <a:pt x="112" y="245"/>
                    <a:pt x="113" y="245"/>
                    <a:pt x="113" y="245"/>
                  </a:cubicBezTo>
                  <a:cubicBezTo>
                    <a:pt x="114" y="244"/>
                    <a:pt x="115" y="241"/>
                    <a:pt x="115" y="241"/>
                  </a:cubicBezTo>
                  <a:cubicBezTo>
                    <a:pt x="115" y="241"/>
                    <a:pt x="115" y="239"/>
                    <a:pt x="117" y="240"/>
                  </a:cubicBezTo>
                  <a:cubicBezTo>
                    <a:pt x="118" y="241"/>
                    <a:pt x="128" y="243"/>
                    <a:pt x="128" y="243"/>
                  </a:cubicBezTo>
                  <a:cubicBezTo>
                    <a:pt x="127" y="244"/>
                    <a:pt x="127" y="244"/>
                    <a:pt x="127" y="244"/>
                  </a:cubicBezTo>
                  <a:cubicBezTo>
                    <a:pt x="123" y="244"/>
                    <a:pt x="123" y="244"/>
                    <a:pt x="123" y="244"/>
                  </a:cubicBezTo>
                  <a:cubicBezTo>
                    <a:pt x="121" y="244"/>
                    <a:pt x="121" y="244"/>
                    <a:pt x="121" y="244"/>
                  </a:cubicBezTo>
                  <a:cubicBezTo>
                    <a:pt x="121" y="244"/>
                    <a:pt x="120" y="244"/>
                    <a:pt x="120" y="245"/>
                  </a:cubicBezTo>
                  <a:cubicBezTo>
                    <a:pt x="120" y="246"/>
                    <a:pt x="119" y="247"/>
                    <a:pt x="119" y="248"/>
                  </a:cubicBezTo>
                  <a:cubicBezTo>
                    <a:pt x="118" y="249"/>
                    <a:pt x="118" y="249"/>
                    <a:pt x="117" y="250"/>
                  </a:cubicBezTo>
                  <a:cubicBezTo>
                    <a:pt x="117" y="251"/>
                    <a:pt x="114" y="253"/>
                    <a:pt x="114" y="253"/>
                  </a:cubicBezTo>
                  <a:cubicBezTo>
                    <a:pt x="112" y="255"/>
                    <a:pt x="112" y="255"/>
                    <a:pt x="112" y="255"/>
                  </a:cubicBezTo>
                  <a:cubicBezTo>
                    <a:pt x="110" y="259"/>
                    <a:pt x="110" y="259"/>
                    <a:pt x="110" y="259"/>
                  </a:cubicBezTo>
                  <a:cubicBezTo>
                    <a:pt x="110" y="259"/>
                    <a:pt x="111" y="263"/>
                    <a:pt x="111" y="263"/>
                  </a:cubicBezTo>
                  <a:cubicBezTo>
                    <a:pt x="112" y="263"/>
                    <a:pt x="114" y="266"/>
                    <a:pt x="114" y="266"/>
                  </a:cubicBezTo>
                  <a:cubicBezTo>
                    <a:pt x="114" y="266"/>
                    <a:pt x="114" y="267"/>
                    <a:pt x="114" y="268"/>
                  </a:cubicBezTo>
                  <a:cubicBezTo>
                    <a:pt x="114" y="269"/>
                    <a:pt x="114" y="270"/>
                    <a:pt x="115" y="271"/>
                  </a:cubicBezTo>
                  <a:cubicBezTo>
                    <a:pt x="115" y="272"/>
                    <a:pt x="116" y="275"/>
                    <a:pt x="116" y="275"/>
                  </a:cubicBezTo>
                  <a:cubicBezTo>
                    <a:pt x="117" y="276"/>
                    <a:pt x="117" y="276"/>
                    <a:pt x="117" y="276"/>
                  </a:cubicBezTo>
                  <a:cubicBezTo>
                    <a:pt x="117" y="278"/>
                    <a:pt x="117" y="278"/>
                    <a:pt x="117" y="278"/>
                  </a:cubicBezTo>
                  <a:cubicBezTo>
                    <a:pt x="117" y="278"/>
                    <a:pt x="117" y="280"/>
                    <a:pt x="118" y="280"/>
                  </a:cubicBezTo>
                  <a:cubicBezTo>
                    <a:pt x="119" y="280"/>
                    <a:pt x="122" y="278"/>
                    <a:pt x="122" y="278"/>
                  </a:cubicBezTo>
                  <a:cubicBezTo>
                    <a:pt x="128" y="277"/>
                    <a:pt x="128" y="277"/>
                    <a:pt x="128" y="277"/>
                  </a:cubicBezTo>
                  <a:cubicBezTo>
                    <a:pt x="128" y="277"/>
                    <a:pt x="128" y="280"/>
                    <a:pt x="127" y="281"/>
                  </a:cubicBezTo>
                  <a:cubicBezTo>
                    <a:pt x="127" y="282"/>
                    <a:pt x="126" y="282"/>
                    <a:pt x="125" y="283"/>
                  </a:cubicBezTo>
                  <a:cubicBezTo>
                    <a:pt x="125" y="283"/>
                    <a:pt x="125" y="285"/>
                    <a:pt x="125" y="285"/>
                  </a:cubicBezTo>
                  <a:cubicBezTo>
                    <a:pt x="125" y="285"/>
                    <a:pt x="125" y="286"/>
                    <a:pt x="123" y="287"/>
                  </a:cubicBezTo>
                  <a:cubicBezTo>
                    <a:pt x="122" y="287"/>
                    <a:pt x="121" y="287"/>
                    <a:pt x="121" y="287"/>
                  </a:cubicBezTo>
                  <a:cubicBezTo>
                    <a:pt x="121" y="287"/>
                    <a:pt x="119" y="286"/>
                    <a:pt x="119" y="288"/>
                  </a:cubicBezTo>
                  <a:cubicBezTo>
                    <a:pt x="119" y="290"/>
                    <a:pt x="118" y="291"/>
                    <a:pt x="118" y="292"/>
                  </a:cubicBezTo>
                  <a:cubicBezTo>
                    <a:pt x="118" y="293"/>
                    <a:pt x="116" y="294"/>
                    <a:pt x="118" y="295"/>
                  </a:cubicBezTo>
                  <a:cubicBezTo>
                    <a:pt x="120" y="295"/>
                    <a:pt x="120" y="297"/>
                    <a:pt x="120" y="297"/>
                  </a:cubicBezTo>
                  <a:cubicBezTo>
                    <a:pt x="120" y="297"/>
                    <a:pt x="119" y="299"/>
                    <a:pt x="118" y="300"/>
                  </a:cubicBezTo>
                  <a:cubicBezTo>
                    <a:pt x="117" y="300"/>
                    <a:pt x="116" y="300"/>
                    <a:pt x="116" y="301"/>
                  </a:cubicBezTo>
                  <a:cubicBezTo>
                    <a:pt x="116" y="302"/>
                    <a:pt x="117" y="306"/>
                    <a:pt x="117" y="306"/>
                  </a:cubicBezTo>
                  <a:cubicBezTo>
                    <a:pt x="117" y="306"/>
                    <a:pt x="118" y="308"/>
                    <a:pt x="116" y="308"/>
                  </a:cubicBezTo>
                  <a:cubicBezTo>
                    <a:pt x="115" y="307"/>
                    <a:pt x="115" y="307"/>
                    <a:pt x="114" y="307"/>
                  </a:cubicBezTo>
                  <a:cubicBezTo>
                    <a:pt x="113" y="307"/>
                    <a:pt x="113" y="308"/>
                    <a:pt x="113" y="308"/>
                  </a:cubicBezTo>
                  <a:cubicBezTo>
                    <a:pt x="113" y="308"/>
                    <a:pt x="113" y="308"/>
                    <a:pt x="113" y="310"/>
                  </a:cubicBezTo>
                  <a:cubicBezTo>
                    <a:pt x="113" y="311"/>
                    <a:pt x="113" y="313"/>
                    <a:pt x="113" y="313"/>
                  </a:cubicBezTo>
                  <a:cubicBezTo>
                    <a:pt x="111" y="313"/>
                    <a:pt x="111" y="313"/>
                    <a:pt x="111" y="313"/>
                  </a:cubicBezTo>
                  <a:cubicBezTo>
                    <a:pt x="109" y="310"/>
                    <a:pt x="109" y="310"/>
                    <a:pt x="109" y="310"/>
                  </a:cubicBezTo>
                  <a:cubicBezTo>
                    <a:pt x="109" y="310"/>
                    <a:pt x="106" y="310"/>
                    <a:pt x="105" y="310"/>
                  </a:cubicBezTo>
                  <a:cubicBezTo>
                    <a:pt x="104" y="310"/>
                    <a:pt x="102" y="311"/>
                    <a:pt x="102" y="311"/>
                  </a:cubicBezTo>
                  <a:cubicBezTo>
                    <a:pt x="102" y="311"/>
                    <a:pt x="98" y="309"/>
                    <a:pt x="97" y="308"/>
                  </a:cubicBezTo>
                  <a:cubicBezTo>
                    <a:pt x="97" y="308"/>
                    <a:pt x="97" y="307"/>
                    <a:pt x="96" y="308"/>
                  </a:cubicBezTo>
                  <a:cubicBezTo>
                    <a:pt x="96" y="309"/>
                    <a:pt x="97" y="308"/>
                    <a:pt x="96" y="309"/>
                  </a:cubicBezTo>
                  <a:cubicBezTo>
                    <a:pt x="95" y="309"/>
                    <a:pt x="97" y="309"/>
                    <a:pt x="94" y="309"/>
                  </a:cubicBezTo>
                  <a:cubicBezTo>
                    <a:pt x="91" y="310"/>
                    <a:pt x="87" y="311"/>
                    <a:pt x="87" y="311"/>
                  </a:cubicBezTo>
                  <a:cubicBezTo>
                    <a:pt x="87" y="311"/>
                    <a:pt x="90" y="308"/>
                    <a:pt x="89" y="308"/>
                  </a:cubicBezTo>
                  <a:cubicBezTo>
                    <a:pt x="88" y="307"/>
                    <a:pt x="89" y="307"/>
                    <a:pt x="88" y="307"/>
                  </a:cubicBezTo>
                  <a:cubicBezTo>
                    <a:pt x="86" y="306"/>
                    <a:pt x="85" y="304"/>
                    <a:pt x="85" y="304"/>
                  </a:cubicBezTo>
                  <a:cubicBezTo>
                    <a:pt x="85" y="303"/>
                    <a:pt x="85" y="301"/>
                    <a:pt x="84" y="301"/>
                  </a:cubicBezTo>
                  <a:cubicBezTo>
                    <a:pt x="82" y="301"/>
                    <a:pt x="82" y="299"/>
                    <a:pt x="80" y="301"/>
                  </a:cubicBezTo>
                  <a:cubicBezTo>
                    <a:pt x="79" y="302"/>
                    <a:pt x="79" y="302"/>
                    <a:pt x="78" y="303"/>
                  </a:cubicBezTo>
                  <a:cubicBezTo>
                    <a:pt x="78" y="304"/>
                    <a:pt x="74" y="304"/>
                    <a:pt x="74" y="304"/>
                  </a:cubicBezTo>
                  <a:cubicBezTo>
                    <a:pt x="74" y="304"/>
                    <a:pt x="77" y="308"/>
                    <a:pt x="77" y="309"/>
                  </a:cubicBezTo>
                  <a:cubicBezTo>
                    <a:pt x="77" y="309"/>
                    <a:pt x="78" y="313"/>
                    <a:pt x="78" y="313"/>
                  </a:cubicBezTo>
                  <a:cubicBezTo>
                    <a:pt x="84" y="312"/>
                    <a:pt x="84" y="312"/>
                    <a:pt x="84" y="312"/>
                  </a:cubicBezTo>
                  <a:cubicBezTo>
                    <a:pt x="84" y="312"/>
                    <a:pt x="80" y="314"/>
                    <a:pt x="80" y="315"/>
                  </a:cubicBezTo>
                  <a:cubicBezTo>
                    <a:pt x="79" y="317"/>
                    <a:pt x="79" y="317"/>
                    <a:pt x="79" y="318"/>
                  </a:cubicBezTo>
                  <a:cubicBezTo>
                    <a:pt x="78" y="319"/>
                    <a:pt x="78" y="320"/>
                    <a:pt x="76" y="320"/>
                  </a:cubicBezTo>
                  <a:cubicBezTo>
                    <a:pt x="74" y="321"/>
                    <a:pt x="71" y="321"/>
                    <a:pt x="70" y="322"/>
                  </a:cubicBezTo>
                  <a:cubicBezTo>
                    <a:pt x="69" y="323"/>
                    <a:pt x="68" y="323"/>
                    <a:pt x="68" y="324"/>
                  </a:cubicBezTo>
                  <a:cubicBezTo>
                    <a:pt x="68" y="325"/>
                    <a:pt x="64" y="325"/>
                    <a:pt x="68" y="326"/>
                  </a:cubicBezTo>
                  <a:cubicBezTo>
                    <a:pt x="73" y="327"/>
                    <a:pt x="74" y="327"/>
                    <a:pt x="74" y="327"/>
                  </a:cubicBezTo>
                  <a:cubicBezTo>
                    <a:pt x="74" y="327"/>
                    <a:pt x="76" y="325"/>
                    <a:pt x="77" y="324"/>
                  </a:cubicBezTo>
                  <a:cubicBezTo>
                    <a:pt x="79" y="323"/>
                    <a:pt x="79" y="323"/>
                    <a:pt x="82" y="323"/>
                  </a:cubicBezTo>
                  <a:cubicBezTo>
                    <a:pt x="85" y="324"/>
                    <a:pt x="85" y="323"/>
                    <a:pt x="85" y="324"/>
                  </a:cubicBezTo>
                  <a:cubicBezTo>
                    <a:pt x="85" y="325"/>
                    <a:pt x="85" y="326"/>
                    <a:pt x="85" y="327"/>
                  </a:cubicBezTo>
                  <a:cubicBezTo>
                    <a:pt x="84" y="329"/>
                    <a:pt x="83" y="330"/>
                    <a:pt x="84" y="332"/>
                  </a:cubicBezTo>
                  <a:cubicBezTo>
                    <a:pt x="86" y="334"/>
                    <a:pt x="83" y="336"/>
                    <a:pt x="83" y="336"/>
                  </a:cubicBezTo>
                  <a:cubicBezTo>
                    <a:pt x="83" y="336"/>
                    <a:pt x="82" y="339"/>
                    <a:pt x="83" y="339"/>
                  </a:cubicBezTo>
                  <a:cubicBezTo>
                    <a:pt x="83" y="339"/>
                    <a:pt x="84" y="340"/>
                    <a:pt x="84" y="340"/>
                  </a:cubicBezTo>
                  <a:cubicBezTo>
                    <a:pt x="84" y="340"/>
                    <a:pt x="82" y="344"/>
                    <a:pt x="82" y="344"/>
                  </a:cubicBezTo>
                  <a:cubicBezTo>
                    <a:pt x="82" y="345"/>
                    <a:pt x="79" y="350"/>
                    <a:pt x="79" y="350"/>
                  </a:cubicBezTo>
                  <a:cubicBezTo>
                    <a:pt x="78" y="350"/>
                    <a:pt x="79" y="350"/>
                    <a:pt x="75" y="352"/>
                  </a:cubicBezTo>
                  <a:cubicBezTo>
                    <a:pt x="70" y="353"/>
                    <a:pt x="67" y="354"/>
                    <a:pt x="67" y="354"/>
                  </a:cubicBezTo>
                  <a:cubicBezTo>
                    <a:pt x="63" y="355"/>
                    <a:pt x="63" y="355"/>
                    <a:pt x="63" y="355"/>
                  </a:cubicBezTo>
                  <a:cubicBezTo>
                    <a:pt x="60" y="357"/>
                    <a:pt x="60" y="357"/>
                    <a:pt x="60" y="357"/>
                  </a:cubicBezTo>
                  <a:cubicBezTo>
                    <a:pt x="58" y="357"/>
                    <a:pt x="58" y="357"/>
                    <a:pt x="58" y="357"/>
                  </a:cubicBezTo>
                  <a:cubicBezTo>
                    <a:pt x="54" y="357"/>
                    <a:pt x="54" y="357"/>
                    <a:pt x="54" y="357"/>
                  </a:cubicBezTo>
                  <a:cubicBezTo>
                    <a:pt x="54" y="357"/>
                    <a:pt x="50" y="359"/>
                    <a:pt x="50" y="360"/>
                  </a:cubicBezTo>
                  <a:cubicBezTo>
                    <a:pt x="49" y="360"/>
                    <a:pt x="47" y="361"/>
                    <a:pt x="47" y="361"/>
                  </a:cubicBezTo>
                  <a:cubicBezTo>
                    <a:pt x="46" y="362"/>
                    <a:pt x="50" y="364"/>
                    <a:pt x="50" y="364"/>
                  </a:cubicBezTo>
                  <a:cubicBezTo>
                    <a:pt x="51" y="366"/>
                    <a:pt x="51" y="366"/>
                    <a:pt x="51" y="366"/>
                  </a:cubicBezTo>
                  <a:cubicBezTo>
                    <a:pt x="49" y="366"/>
                    <a:pt x="49" y="366"/>
                    <a:pt x="49" y="366"/>
                  </a:cubicBezTo>
                  <a:cubicBezTo>
                    <a:pt x="47" y="367"/>
                    <a:pt x="47" y="367"/>
                    <a:pt x="47" y="367"/>
                  </a:cubicBezTo>
                  <a:cubicBezTo>
                    <a:pt x="46" y="369"/>
                    <a:pt x="46" y="369"/>
                    <a:pt x="46" y="369"/>
                  </a:cubicBezTo>
                  <a:cubicBezTo>
                    <a:pt x="48" y="370"/>
                    <a:pt x="48" y="370"/>
                    <a:pt x="48" y="370"/>
                  </a:cubicBezTo>
                  <a:cubicBezTo>
                    <a:pt x="48" y="370"/>
                    <a:pt x="49" y="370"/>
                    <a:pt x="50" y="370"/>
                  </a:cubicBezTo>
                  <a:cubicBezTo>
                    <a:pt x="51" y="370"/>
                    <a:pt x="54" y="369"/>
                    <a:pt x="54" y="369"/>
                  </a:cubicBezTo>
                  <a:cubicBezTo>
                    <a:pt x="50" y="371"/>
                    <a:pt x="50" y="371"/>
                    <a:pt x="50" y="371"/>
                  </a:cubicBezTo>
                  <a:cubicBezTo>
                    <a:pt x="50" y="374"/>
                    <a:pt x="50" y="374"/>
                    <a:pt x="50" y="374"/>
                  </a:cubicBezTo>
                  <a:cubicBezTo>
                    <a:pt x="50" y="374"/>
                    <a:pt x="49" y="375"/>
                    <a:pt x="50" y="375"/>
                  </a:cubicBezTo>
                  <a:cubicBezTo>
                    <a:pt x="52" y="375"/>
                    <a:pt x="53" y="375"/>
                    <a:pt x="53" y="375"/>
                  </a:cubicBezTo>
                  <a:cubicBezTo>
                    <a:pt x="53" y="375"/>
                    <a:pt x="55" y="374"/>
                    <a:pt x="56" y="374"/>
                  </a:cubicBezTo>
                  <a:cubicBezTo>
                    <a:pt x="58" y="374"/>
                    <a:pt x="59" y="374"/>
                    <a:pt x="59" y="374"/>
                  </a:cubicBezTo>
                  <a:cubicBezTo>
                    <a:pt x="59" y="374"/>
                    <a:pt x="59" y="372"/>
                    <a:pt x="60" y="372"/>
                  </a:cubicBezTo>
                  <a:cubicBezTo>
                    <a:pt x="60" y="372"/>
                    <a:pt x="59" y="372"/>
                    <a:pt x="61" y="372"/>
                  </a:cubicBezTo>
                  <a:cubicBezTo>
                    <a:pt x="63" y="372"/>
                    <a:pt x="69" y="372"/>
                    <a:pt x="69" y="372"/>
                  </a:cubicBezTo>
                  <a:cubicBezTo>
                    <a:pt x="69" y="372"/>
                    <a:pt x="69" y="372"/>
                    <a:pt x="70" y="373"/>
                  </a:cubicBezTo>
                  <a:cubicBezTo>
                    <a:pt x="70" y="374"/>
                    <a:pt x="71" y="375"/>
                    <a:pt x="72" y="376"/>
                  </a:cubicBezTo>
                  <a:cubicBezTo>
                    <a:pt x="74" y="377"/>
                    <a:pt x="77" y="377"/>
                    <a:pt x="77" y="377"/>
                  </a:cubicBezTo>
                  <a:cubicBezTo>
                    <a:pt x="75" y="378"/>
                    <a:pt x="75" y="378"/>
                    <a:pt x="75" y="378"/>
                  </a:cubicBezTo>
                  <a:cubicBezTo>
                    <a:pt x="72" y="378"/>
                    <a:pt x="72" y="378"/>
                    <a:pt x="72" y="378"/>
                  </a:cubicBezTo>
                  <a:cubicBezTo>
                    <a:pt x="72" y="378"/>
                    <a:pt x="70" y="377"/>
                    <a:pt x="70" y="378"/>
                  </a:cubicBezTo>
                  <a:cubicBezTo>
                    <a:pt x="70" y="379"/>
                    <a:pt x="68" y="381"/>
                    <a:pt x="69" y="382"/>
                  </a:cubicBezTo>
                  <a:cubicBezTo>
                    <a:pt x="70" y="382"/>
                    <a:pt x="74" y="383"/>
                    <a:pt x="74" y="383"/>
                  </a:cubicBezTo>
                  <a:cubicBezTo>
                    <a:pt x="78" y="382"/>
                    <a:pt x="78" y="382"/>
                    <a:pt x="78" y="382"/>
                  </a:cubicBezTo>
                  <a:cubicBezTo>
                    <a:pt x="79" y="381"/>
                    <a:pt x="79" y="381"/>
                    <a:pt x="79" y="381"/>
                  </a:cubicBezTo>
                  <a:cubicBezTo>
                    <a:pt x="82" y="380"/>
                    <a:pt x="82" y="380"/>
                    <a:pt x="82" y="380"/>
                  </a:cubicBezTo>
                  <a:cubicBezTo>
                    <a:pt x="82" y="380"/>
                    <a:pt x="82" y="381"/>
                    <a:pt x="82" y="382"/>
                  </a:cubicBezTo>
                  <a:cubicBezTo>
                    <a:pt x="82" y="382"/>
                    <a:pt x="82" y="384"/>
                    <a:pt x="82" y="384"/>
                  </a:cubicBezTo>
                  <a:cubicBezTo>
                    <a:pt x="82" y="384"/>
                    <a:pt x="83" y="386"/>
                    <a:pt x="83" y="386"/>
                  </a:cubicBezTo>
                  <a:cubicBezTo>
                    <a:pt x="84" y="387"/>
                    <a:pt x="86" y="388"/>
                    <a:pt x="86" y="388"/>
                  </a:cubicBezTo>
                  <a:cubicBezTo>
                    <a:pt x="87" y="391"/>
                    <a:pt x="87" y="391"/>
                    <a:pt x="87" y="391"/>
                  </a:cubicBezTo>
                  <a:cubicBezTo>
                    <a:pt x="90" y="392"/>
                    <a:pt x="90" y="392"/>
                    <a:pt x="90" y="392"/>
                  </a:cubicBezTo>
                  <a:cubicBezTo>
                    <a:pt x="90" y="392"/>
                    <a:pt x="93" y="392"/>
                    <a:pt x="93" y="392"/>
                  </a:cubicBezTo>
                  <a:cubicBezTo>
                    <a:pt x="94" y="392"/>
                    <a:pt x="96" y="393"/>
                    <a:pt x="96" y="393"/>
                  </a:cubicBezTo>
                  <a:cubicBezTo>
                    <a:pt x="97" y="392"/>
                    <a:pt x="99" y="390"/>
                    <a:pt x="99" y="390"/>
                  </a:cubicBezTo>
                  <a:cubicBezTo>
                    <a:pt x="102" y="388"/>
                    <a:pt x="102" y="388"/>
                    <a:pt x="102" y="388"/>
                  </a:cubicBezTo>
                  <a:cubicBezTo>
                    <a:pt x="102" y="388"/>
                    <a:pt x="104" y="388"/>
                    <a:pt x="105" y="388"/>
                  </a:cubicBezTo>
                  <a:cubicBezTo>
                    <a:pt x="106" y="388"/>
                    <a:pt x="111" y="387"/>
                    <a:pt x="111" y="387"/>
                  </a:cubicBezTo>
                  <a:cubicBezTo>
                    <a:pt x="111" y="387"/>
                    <a:pt x="112" y="385"/>
                    <a:pt x="114" y="385"/>
                  </a:cubicBezTo>
                  <a:cubicBezTo>
                    <a:pt x="115" y="384"/>
                    <a:pt x="118" y="382"/>
                    <a:pt x="118" y="382"/>
                  </a:cubicBezTo>
                  <a:cubicBezTo>
                    <a:pt x="124" y="381"/>
                    <a:pt x="124" y="381"/>
                    <a:pt x="124" y="381"/>
                  </a:cubicBezTo>
                  <a:cubicBezTo>
                    <a:pt x="119" y="383"/>
                    <a:pt x="119" y="383"/>
                    <a:pt x="119" y="383"/>
                  </a:cubicBezTo>
                  <a:cubicBezTo>
                    <a:pt x="117" y="384"/>
                    <a:pt x="117" y="384"/>
                    <a:pt x="117" y="384"/>
                  </a:cubicBezTo>
                  <a:cubicBezTo>
                    <a:pt x="114" y="387"/>
                    <a:pt x="114" y="387"/>
                    <a:pt x="114" y="387"/>
                  </a:cubicBezTo>
                  <a:cubicBezTo>
                    <a:pt x="112" y="388"/>
                    <a:pt x="112" y="388"/>
                    <a:pt x="112" y="388"/>
                  </a:cubicBezTo>
                  <a:cubicBezTo>
                    <a:pt x="112" y="388"/>
                    <a:pt x="110" y="389"/>
                    <a:pt x="110" y="389"/>
                  </a:cubicBezTo>
                  <a:cubicBezTo>
                    <a:pt x="110" y="390"/>
                    <a:pt x="107" y="394"/>
                    <a:pt x="107" y="394"/>
                  </a:cubicBezTo>
                  <a:cubicBezTo>
                    <a:pt x="105" y="394"/>
                    <a:pt x="105" y="394"/>
                    <a:pt x="105" y="394"/>
                  </a:cubicBezTo>
                  <a:cubicBezTo>
                    <a:pt x="105" y="394"/>
                    <a:pt x="103" y="396"/>
                    <a:pt x="102" y="397"/>
                  </a:cubicBezTo>
                  <a:cubicBezTo>
                    <a:pt x="101" y="399"/>
                    <a:pt x="100" y="399"/>
                    <a:pt x="100" y="399"/>
                  </a:cubicBezTo>
                  <a:cubicBezTo>
                    <a:pt x="100" y="399"/>
                    <a:pt x="101" y="401"/>
                    <a:pt x="97" y="401"/>
                  </a:cubicBezTo>
                  <a:cubicBezTo>
                    <a:pt x="93" y="400"/>
                    <a:pt x="90" y="399"/>
                    <a:pt x="90" y="399"/>
                  </a:cubicBezTo>
                  <a:cubicBezTo>
                    <a:pt x="90" y="399"/>
                    <a:pt x="85" y="398"/>
                    <a:pt x="85" y="398"/>
                  </a:cubicBezTo>
                  <a:cubicBezTo>
                    <a:pt x="84" y="398"/>
                    <a:pt x="84" y="398"/>
                    <a:pt x="82" y="398"/>
                  </a:cubicBezTo>
                  <a:cubicBezTo>
                    <a:pt x="80" y="397"/>
                    <a:pt x="72" y="395"/>
                    <a:pt x="72" y="395"/>
                  </a:cubicBezTo>
                  <a:cubicBezTo>
                    <a:pt x="72" y="395"/>
                    <a:pt x="70" y="395"/>
                    <a:pt x="69" y="396"/>
                  </a:cubicBezTo>
                  <a:cubicBezTo>
                    <a:pt x="69" y="396"/>
                    <a:pt x="67" y="397"/>
                    <a:pt x="67" y="398"/>
                  </a:cubicBezTo>
                  <a:cubicBezTo>
                    <a:pt x="67" y="399"/>
                    <a:pt x="67" y="400"/>
                    <a:pt x="67" y="400"/>
                  </a:cubicBezTo>
                  <a:cubicBezTo>
                    <a:pt x="67" y="402"/>
                    <a:pt x="67" y="402"/>
                    <a:pt x="67" y="402"/>
                  </a:cubicBezTo>
                  <a:cubicBezTo>
                    <a:pt x="64" y="403"/>
                    <a:pt x="64" y="403"/>
                    <a:pt x="64" y="403"/>
                  </a:cubicBezTo>
                  <a:cubicBezTo>
                    <a:pt x="59" y="403"/>
                    <a:pt x="59" y="403"/>
                    <a:pt x="59" y="403"/>
                  </a:cubicBezTo>
                  <a:close/>
                  <a:moveTo>
                    <a:pt x="35" y="214"/>
                  </a:moveTo>
                  <a:cubicBezTo>
                    <a:pt x="35" y="214"/>
                    <a:pt x="35" y="214"/>
                    <a:pt x="35" y="214"/>
                  </a:cubicBezTo>
                  <a:cubicBezTo>
                    <a:pt x="36" y="215"/>
                    <a:pt x="40" y="214"/>
                    <a:pt x="40" y="214"/>
                  </a:cubicBezTo>
                  <a:cubicBezTo>
                    <a:pt x="44" y="214"/>
                    <a:pt x="44" y="214"/>
                    <a:pt x="44" y="214"/>
                  </a:cubicBezTo>
                  <a:cubicBezTo>
                    <a:pt x="44" y="214"/>
                    <a:pt x="48" y="214"/>
                    <a:pt x="48" y="214"/>
                  </a:cubicBezTo>
                  <a:cubicBezTo>
                    <a:pt x="49" y="215"/>
                    <a:pt x="50" y="215"/>
                    <a:pt x="50" y="215"/>
                  </a:cubicBezTo>
                  <a:cubicBezTo>
                    <a:pt x="50" y="215"/>
                    <a:pt x="52" y="214"/>
                    <a:pt x="53" y="214"/>
                  </a:cubicBezTo>
                  <a:cubicBezTo>
                    <a:pt x="54" y="215"/>
                    <a:pt x="56" y="217"/>
                    <a:pt x="56" y="217"/>
                  </a:cubicBezTo>
                  <a:cubicBezTo>
                    <a:pt x="56" y="221"/>
                    <a:pt x="56" y="221"/>
                    <a:pt x="56" y="221"/>
                  </a:cubicBezTo>
                  <a:cubicBezTo>
                    <a:pt x="57" y="225"/>
                    <a:pt x="57" y="225"/>
                    <a:pt x="57" y="225"/>
                  </a:cubicBezTo>
                  <a:cubicBezTo>
                    <a:pt x="59" y="229"/>
                    <a:pt x="59" y="229"/>
                    <a:pt x="59" y="229"/>
                  </a:cubicBezTo>
                  <a:cubicBezTo>
                    <a:pt x="62" y="233"/>
                    <a:pt x="62" y="233"/>
                    <a:pt x="62" y="233"/>
                  </a:cubicBezTo>
                  <a:cubicBezTo>
                    <a:pt x="60" y="236"/>
                    <a:pt x="60" y="236"/>
                    <a:pt x="60" y="236"/>
                  </a:cubicBezTo>
                  <a:cubicBezTo>
                    <a:pt x="60" y="236"/>
                    <a:pt x="60" y="239"/>
                    <a:pt x="60" y="239"/>
                  </a:cubicBezTo>
                  <a:cubicBezTo>
                    <a:pt x="59" y="239"/>
                    <a:pt x="57" y="240"/>
                    <a:pt x="56" y="240"/>
                  </a:cubicBezTo>
                  <a:cubicBezTo>
                    <a:pt x="56" y="241"/>
                    <a:pt x="55" y="243"/>
                    <a:pt x="55" y="243"/>
                  </a:cubicBezTo>
                  <a:cubicBezTo>
                    <a:pt x="55" y="243"/>
                    <a:pt x="59" y="240"/>
                    <a:pt x="59" y="241"/>
                  </a:cubicBezTo>
                  <a:cubicBezTo>
                    <a:pt x="60" y="241"/>
                    <a:pt x="62" y="241"/>
                    <a:pt x="62" y="241"/>
                  </a:cubicBezTo>
                  <a:cubicBezTo>
                    <a:pt x="64" y="242"/>
                    <a:pt x="64" y="242"/>
                    <a:pt x="64" y="242"/>
                  </a:cubicBezTo>
                  <a:cubicBezTo>
                    <a:pt x="65" y="246"/>
                    <a:pt x="65" y="246"/>
                    <a:pt x="65" y="246"/>
                  </a:cubicBezTo>
                  <a:cubicBezTo>
                    <a:pt x="65" y="250"/>
                    <a:pt x="65" y="250"/>
                    <a:pt x="65" y="250"/>
                  </a:cubicBezTo>
                  <a:cubicBezTo>
                    <a:pt x="65" y="250"/>
                    <a:pt x="65" y="253"/>
                    <a:pt x="65" y="253"/>
                  </a:cubicBezTo>
                  <a:cubicBezTo>
                    <a:pt x="65" y="254"/>
                    <a:pt x="64" y="255"/>
                    <a:pt x="64" y="254"/>
                  </a:cubicBezTo>
                  <a:cubicBezTo>
                    <a:pt x="63" y="254"/>
                    <a:pt x="62" y="254"/>
                    <a:pt x="62" y="253"/>
                  </a:cubicBezTo>
                  <a:cubicBezTo>
                    <a:pt x="62" y="251"/>
                    <a:pt x="63" y="250"/>
                    <a:pt x="63" y="249"/>
                  </a:cubicBezTo>
                  <a:cubicBezTo>
                    <a:pt x="63" y="249"/>
                    <a:pt x="64" y="246"/>
                    <a:pt x="63" y="246"/>
                  </a:cubicBezTo>
                  <a:cubicBezTo>
                    <a:pt x="62" y="246"/>
                    <a:pt x="61" y="244"/>
                    <a:pt x="61" y="246"/>
                  </a:cubicBezTo>
                  <a:cubicBezTo>
                    <a:pt x="60" y="247"/>
                    <a:pt x="61" y="249"/>
                    <a:pt x="61" y="249"/>
                  </a:cubicBezTo>
                  <a:cubicBezTo>
                    <a:pt x="61" y="249"/>
                    <a:pt x="62" y="250"/>
                    <a:pt x="61" y="251"/>
                  </a:cubicBezTo>
                  <a:cubicBezTo>
                    <a:pt x="61" y="252"/>
                    <a:pt x="61" y="252"/>
                    <a:pt x="60" y="253"/>
                  </a:cubicBezTo>
                  <a:cubicBezTo>
                    <a:pt x="59" y="254"/>
                    <a:pt x="61" y="255"/>
                    <a:pt x="61" y="255"/>
                  </a:cubicBezTo>
                  <a:cubicBezTo>
                    <a:pt x="61" y="256"/>
                    <a:pt x="61" y="256"/>
                    <a:pt x="61" y="256"/>
                  </a:cubicBezTo>
                  <a:cubicBezTo>
                    <a:pt x="61" y="256"/>
                    <a:pt x="62" y="259"/>
                    <a:pt x="61" y="259"/>
                  </a:cubicBezTo>
                  <a:cubicBezTo>
                    <a:pt x="60" y="259"/>
                    <a:pt x="60" y="260"/>
                    <a:pt x="57" y="259"/>
                  </a:cubicBezTo>
                  <a:cubicBezTo>
                    <a:pt x="54" y="257"/>
                    <a:pt x="52" y="257"/>
                    <a:pt x="52" y="257"/>
                  </a:cubicBezTo>
                  <a:cubicBezTo>
                    <a:pt x="52" y="261"/>
                    <a:pt x="52" y="261"/>
                    <a:pt x="52" y="261"/>
                  </a:cubicBezTo>
                  <a:cubicBezTo>
                    <a:pt x="50" y="264"/>
                    <a:pt x="50" y="264"/>
                    <a:pt x="50" y="264"/>
                  </a:cubicBezTo>
                  <a:cubicBezTo>
                    <a:pt x="44" y="266"/>
                    <a:pt x="44" y="266"/>
                    <a:pt x="44" y="266"/>
                  </a:cubicBezTo>
                  <a:cubicBezTo>
                    <a:pt x="41" y="262"/>
                    <a:pt x="41" y="262"/>
                    <a:pt x="41" y="262"/>
                  </a:cubicBezTo>
                  <a:cubicBezTo>
                    <a:pt x="41" y="262"/>
                    <a:pt x="39" y="262"/>
                    <a:pt x="38" y="262"/>
                  </a:cubicBezTo>
                  <a:cubicBezTo>
                    <a:pt x="38" y="262"/>
                    <a:pt x="34" y="261"/>
                    <a:pt x="34" y="261"/>
                  </a:cubicBezTo>
                  <a:cubicBezTo>
                    <a:pt x="33" y="257"/>
                    <a:pt x="33" y="257"/>
                    <a:pt x="33" y="257"/>
                  </a:cubicBezTo>
                  <a:cubicBezTo>
                    <a:pt x="29" y="253"/>
                    <a:pt x="29" y="253"/>
                    <a:pt x="29" y="253"/>
                  </a:cubicBezTo>
                  <a:cubicBezTo>
                    <a:pt x="29" y="250"/>
                    <a:pt x="29" y="250"/>
                    <a:pt x="29" y="250"/>
                  </a:cubicBezTo>
                  <a:cubicBezTo>
                    <a:pt x="27" y="245"/>
                    <a:pt x="27" y="245"/>
                    <a:pt x="27" y="245"/>
                  </a:cubicBezTo>
                  <a:cubicBezTo>
                    <a:pt x="22" y="246"/>
                    <a:pt x="22" y="246"/>
                    <a:pt x="22" y="246"/>
                  </a:cubicBezTo>
                  <a:cubicBezTo>
                    <a:pt x="21" y="250"/>
                    <a:pt x="21" y="250"/>
                    <a:pt x="21" y="250"/>
                  </a:cubicBezTo>
                  <a:cubicBezTo>
                    <a:pt x="21" y="250"/>
                    <a:pt x="22" y="251"/>
                    <a:pt x="20" y="252"/>
                  </a:cubicBezTo>
                  <a:cubicBezTo>
                    <a:pt x="19" y="252"/>
                    <a:pt x="16" y="253"/>
                    <a:pt x="16" y="253"/>
                  </a:cubicBezTo>
                  <a:cubicBezTo>
                    <a:pt x="16" y="253"/>
                    <a:pt x="12" y="254"/>
                    <a:pt x="11" y="253"/>
                  </a:cubicBezTo>
                  <a:cubicBezTo>
                    <a:pt x="11" y="253"/>
                    <a:pt x="8" y="249"/>
                    <a:pt x="8" y="249"/>
                  </a:cubicBezTo>
                  <a:cubicBezTo>
                    <a:pt x="8" y="249"/>
                    <a:pt x="6" y="249"/>
                    <a:pt x="6" y="249"/>
                  </a:cubicBezTo>
                  <a:cubicBezTo>
                    <a:pt x="5" y="249"/>
                    <a:pt x="4" y="250"/>
                    <a:pt x="4" y="248"/>
                  </a:cubicBezTo>
                  <a:cubicBezTo>
                    <a:pt x="4" y="246"/>
                    <a:pt x="4" y="244"/>
                    <a:pt x="4" y="244"/>
                  </a:cubicBezTo>
                  <a:cubicBezTo>
                    <a:pt x="4" y="244"/>
                    <a:pt x="6" y="247"/>
                    <a:pt x="4" y="243"/>
                  </a:cubicBezTo>
                  <a:cubicBezTo>
                    <a:pt x="1" y="240"/>
                    <a:pt x="0" y="237"/>
                    <a:pt x="0" y="237"/>
                  </a:cubicBezTo>
                  <a:cubicBezTo>
                    <a:pt x="5" y="235"/>
                    <a:pt x="5" y="235"/>
                    <a:pt x="5" y="235"/>
                  </a:cubicBezTo>
                  <a:cubicBezTo>
                    <a:pt x="5" y="235"/>
                    <a:pt x="9" y="235"/>
                    <a:pt x="9" y="235"/>
                  </a:cubicBezTo>
                  <a:cubicBezTo>
                    <a:pt x="10" y="235"/>
                    <a:pt x="11" y="233"/>
                    <a:pt x="11" y="233"/>
                  </a:cubicBezTo>
                  <a:cubicBezTo>
                    <a:pt x="11" y="233"/>
                    <a:pt x="12" y="232"/>
                    <a:pt x="11" y="232"/>
                  </a:cubicBezTo>
                  <a:cubicBezTo>
                    <a:pt x="10" y="231"/>
                    <a:pt x="8" y="230"/>
                    <a:pt x="8" y="230"/>
                  </a:cubicBezTo>
                  <a:cubicBezTo>
                    <a:pt x="8" y="230"/>
                    <a:pt x="7" y="228"/>
                    <a:pt x="9" y="227"/>
                  </a:cubicBezTo>
                  <a:cubicBezTo>
                    <a:pt x="12" y="227"/>
                    <a:pt x="12" y="227"/>
                    <a:pt x="13" y="227"/>
                  </a:cubicBezTo>
                  <a:cubicBezTo>
                    <a:pt x="15" y="228"/>
                    <a:pt x="16" y="230"/>
                    <a:pt x="17" y="227"/>
                  </a:cubicBezTo>
                  <a:cubicBezTo>
                    <a:pt x="18" y="225"/>
                    <a:pt x="16" y="225"/>
                    <a:pt x="18" y="224"/>
                  </a:cubicBezTo>
                  <a:cubicBezTo>
                    <a:pt x="21" y="224"/>
                    <a:pt x="22" y="223"/>
                    <a:pt x="22" y="222"/>
                  </a:cubicBezTo>
                  <a:cubicBezTo>
                    <a:pt x="22" y="222"/>
                    <a:pt x="23" y="219"/>
                    <a:pt x="23" y="219"/>
                  </a:cubicBezTo>
                  <a:cubicBezTo>
                    <a:pt x="24" y="219"/>
                    <a:pt x="28" y="219"/>
                    <a:pt x="28" y="219"/>
                  </a:cubicBezTo>
                  <a:cubicBezTo>
                    <a:pt x="28" y="219"/>
                    <a:pt x="29" y="218"/>
                    <a:pt x="31" y="218"/>
                  </a:cubicBezTo>
                  <a:cubicBezTo>
                    <a:pt x="33" y="219"/>
                    <a:pt x="33" y="218"/>
                    <a:pt x="33" y="218"/>
                  </a:cubicBezTo>
                  <a:cubicBezTo>
                    <a:pt x="33" y="218"/>
                    <a:pt x="35" y="215"/>
                    <a:pt x="35" y="214"/>
                  </a:cubicBezTo>
                  <a:close/>
                  <a:moveTo>
                    <a:pt x="60" y="183"/>
                  </a:moveTo>
                  <a:cubicBezTo>
                    <a:pt x="60" y="183"/>
                    <a:pt x="60" y="183"/>
                    <a:pt x="60" y="183"/>
                  </a:cubicBezTo>
                  <a:cubicBezTo>
                    <a:pt x="60" y="183"/>
                    <a:pt x="59" y="180"/>
                    <a:pt x="60" y="181"/>
                  </a:cubicBezTo>
                  <a:cubicBezTo>
                    <a:pt x="61" y="181"/>
                    <a:pt x="63" y="180"/>
                    <a:pt x="63" y="180"/>
                  </a:cubicBezTo>
                  <a:cubicBezTo>
                    <a:pt x="63" y="180"/>
                    <a:pt x="64" y="179"/>
                    <a:pt x="64" y="179"/>
                  </a:cubicBezTo>
                  <a:cubicBezTo>
                    <a:pt x="65" y="179"/>
                    <a:pt x="65" y="181"/>
                    <a:pt x="64" y="181"/>
                  </a:cubicBezTo>
                  <a:cubicBezTo>
                    <a:pt x="64" y="181"/>
                    <a:pt x="63" y="182"/>
                    <a:pt x="62" y="182"/>
                  </a:cubicBezTo>
                  <a:cubicBezTo>
                    <a:pt x="62" y="182"/>
                    <a:pt x="61" y="183"/>
                    <a:pt x="61" y="183"/>
                  </a:cubicBezTo>
                  <a:cubicBezTo>
                    <a:pt x="60" y="183"/>
                    <a:pt x="60" y="183"/>
                    <a:pt x="60" y="183"/>
                  </a:cubicBezTo>
                  <a:close/>
                  <a:moveTo>
                    <a:pt x="71" y="200"/>
                  </a:moveTo>
                  <a:cubicBezTo>
                    <a:pt x="71" y="200"/>
                    <a:pt x="71" y="200"/>
                    <a:pt x="71" y="200"/>
                  </a:cubicBezTo>
                  <a:cubicBezTo>
                    <a:pt x="71" y="200"/>
                    <a:pt x="70" y="200"/>
                    <a:pt x="70" y="201"/>
                  </a:cubicBezTo>
                  <a:cubicBezTo>
                    <a:pt x="69" y="201"/>
                    <a:pt x="67" y="200"/>
                    <a:pt x="67" y="200"/>
                  </a:cubicBezTo>
                  <a:cubicBezTo>
                    <a:pt x="67" y="200"/>
                    <a:pt x="68" y="199"/>
                    <a:pt x="68" y="198"/>
                  </a:cubicBezTo>
                  <a:cubicBezTo>
                    <a:pt x="69" y="198"/>
                    <a:pt x="70" y="197"/>
                    <a:pt x="70" y="197"/>
                  </a:cubicBezTo>
                  <a:cubicBezTo>
                    <a:pt x="70" y="197"/>
                    <a:pt x="70" y="196"/>
                    <a:pt x="70" y="196"/>
                  </a:cubicBezTo>
                  <a:cubicBezTo>
                    <a:pt x="70" y="197"/>
                    <a:pt x="71" y="199"/>
                    <a:pt x="71" y="199"/>
                  </a:cubicBezTo>
                  <a:cubicBezTo>
                    <a:pt x="71" y="200"/>
                    <a:pt x="71" y="200"/>
                    <a:pt x="71" y="200"/>
                  </a:cubicBezTo>
                  <a:close/>
                  <a:moveTo>
                    <a:pt x="77" y="205"/>
                  </a:moveTo>
                  <a:cubicBezTo>
                    <a:pt x="77" y="205"/>
                    <a:pt x="77" y="205"/>
                    <a:pt x="77" y="205"/>
                  </a:cubicBezTo>
                  <a:cubicBezTo>
                    <a:pt x="77" y="205"/>
                    <a:pt x="78" y="203"/>
                    <a:pt x="79" y="203"/>
                  </a:cubicBezTo>
                  <a:cubicBezTo>
                    <a:pt x="79" y="202"/>
                    <a:pt x="79" y="202"/>
                    <a:pt x="80" y="201"/>
                  </a:cubicBezTo>
                  <a:cubicBezTo>
                    <a:pt x="80" y="201"/>
                    <a:pt x="81" y="200"/>
                    <a:pt x="82" y="201"/>
                  </a:cubicBezTo>
                  <a:cubicBezTo>
                    <a:pt x="83" y="201"/>
                    <a:pt x="85" y="203"/>
                    <a:pt x="84" y="203"/>
                  </a:cubicBezTo>
                  <a:cubicBezTo>
                    <a:pt x="84" y="204"/>
                    <a:pt x="83" y="203"/>
                    <a:pt x="83" y="206"/>
                  </a:cubicBezTo>
                  <a:cubicBezTo>
                    <a:pt x="83" y="208"/>
                    <a:pt x="84" y="208"/>
                    <a:pt x="84" y="209"/>
                  </a:cubicBezTo>
                  <a:cubicBezTo>
                    <a:pt x="84" y="209"/>
                    <a:pt x="83" y="212"/>
                    <a:pt x="83" y="212"/>
                  </a:cubicBezTo>
                  <a:cubicBezTo>
                    <a:pt x="83" y="212"/>
                    <a:pt x="83" y="214"/>
                    <a:pt x="82" y="213"/>
                  </a:cubicBezTo>
                  <a:cubicBezTo>
                    <a:pt x="82" y="213"/>
                    <a:pt x="82" y="213"/>
                    <a:pt x="80" y="213"/>
                  </a:cubicBezTo>
                  <a:cubicBezTo>
                    <a:pt x="79" y="213"/>
                    <a:pt x="77" y="211"/>
                    <a:pt x="77" y="211"/>
                  </a:cubicBezTo>
                  <a:cubicBezTo>
                    <a:pt x="77" y="211"/>
                    <a:pt x="77" y="207"/>
                    <a:pt x="77" y="207"/>
                  </a:cubicBezTo>
                  <a:cubicBezTo>
                    <a:pt x="77" y="207"/>
                    <a:pt x="76" y="205"/>
                    <a:pt x="76" y="205"/>
                  </a:cubicBezTo>
                  <a:cubicBezTo>
                    <a:pt x="77" y="205"/>
                    <a:pt x="77" y="205"/>
                    <a:pt x="77" y="205"/>
                  </a:cubicBezTo>
                  <a:close/>
                  <a:moveTo>
                    <a:pt x="60" y="169"/>
                  </a:moveTo>
                  <a:cubicBezTo>
                    <a:pt x="60" y="169"/>
                    <a:pt x="60" y="169"/>
                    <a:pt x="60" y="169"/>
                  </a:cubicBezTo>
                  <a:cubicBezTo>
                    <a:pt x="60" y="169"/>
                    <a:pt x="60" y="168"/>
                    <a:pt x="61" y="169"/>
                  </a:cubicBezTo>
                  <a:cubicBezTo>
                    <a:pt x="62" y="169"/>
                    <a:pt x="63" y="170"/>
                    <a:pt x="63" y="171"/>
                  </a:cubicBezTo>
                  <a:cubicBezTo>
                    <a:pt x="63" y="171"/>
                    <a:pt x="65" y="172"/>
                    <a:pt x="64" y="173"/>
                  </a:cubicBezTo>
                  <a:cubicBezTo>
                    <a:pt x="63" y="173"/>
                    <a:pt x="62" y="174"/>
                    <a:pt x="62" y="173"/>
                  </a:cubicBezTo>
                  <a:cubicBezTo>
                    <a:pt x="61" y="173"/>
                    <a:pt x="61" y="173"/>
                    <a:pt x="61" y="173"/>
                  </a:cubicBezTo>
                  <a:cubicBezTo>
                    <a:pt x="61" y="172"/>
                    <a:pt x="59" y="171"/>
                    <a:pt x="59" y="171"/>
                  </a:cubicBezTo>
                  <a:cubicBezTo>
                    <a:pt x="59" y="171"/>
                    <a:pt x="60" y="169"/>
                    <a:pt x="60" y="169"/>
                  </a:cubicBezTo>
                  <a:close/>
                  <a:moveTo>
                    <a:pt x="50" y="158"/>
                  </a:moveTo>
                  <a:cubicBezTo>
                    <a:pt x="50" y="158"/>
                    <a:pt x="50" y="158"/>
                    <a:pt x="50" y="158"/>
                  </a:cubicBezTo>
                  <a:cubicBezTo>
                    <a:pt x="51" y="159"/>
                    <a:pt x="52" y="158"/>
                    <a:pt x="52" y="159"/>
                  </a:cubicBezTo>
                  <a:cubicBezTo>
                    <a:pt x="52" y="159"/>
                    <a:pt x="54" y="159"/>
                    <a:pt x="53" y="160"/>
                  </a:cubicBezTo>
                  <a:cubicBezTo>
                    <a:pt x="52" y="161"/>
                    <a:pt x="51" y="161"/>
                    <a:pt x="50" y="161"/>
                  </a:cubicBezTo>
                  <a:cubicBezTo>
                    <a:pt x="49" y="161"/>
                    <a:pt x="51" y="161"/>
                    <a:pt x="49" y="161"/>
                  </a:cubicBezTo>
                  <a:cubicBezTo>
                    <a:pt x="47" y="161"/>
                    <a:pt x="45" y="163"/>
                    <a:pt x="46" y="161"/>
                  </a:cubicBezTo>
                  <a:cubicBezTo>
                    <a:pt x="48" y="159"/>
                    <a:pt x="50" y="158"/>
                    <a:pt x="50" y="158"/>
                  </a:cubicBezTo>
                  <a:close/>
                  <a:moveTo>
                    <a:pt x="59" y="154"/>
                  </a:moveTo>
                  <a:cubicBezTo>
                    <a:pt x="59" y="154"/>
                    <a:pt x="59" y="154"/>
                    <a:pt x="59" y="154"/>
                  </a:cubicBezTo>
                  <a:cubicBezTo>
                    <a:pt x="59" y="154"/>
                    <a:pt x="60" y="152"/>
                    <a:pt x="61" y="153"/>
                  </a:cubicBezTo>
                  <a:cubicBezTo>
                    <a:pt x="62" y="154"/>
                    <a:pt x="63" y="155"/>
                    <a:pt x="62" y="156"/>
                  </a:cubicBezTo>
                  <a:cubicBezTo>
                    <a:pt x="60" y="157"/>
                    <a:pt x="60" y="157"/>
                    <a:pt x="59" y="157"/>
                  </a:cubicBezTo>
                  <a:cubicBezTo>
                    <a:pt x="58" y="158"/>
                    <a:pt x="56" y="159"/>
                    <a:pt x="55" y="159"/>
                  </a:cubicBezTo>
                  <a:cubicBezTo>
                    <a:pt x="55" y="159"/>
                    <a:pt x="53" y="158"/>
                    <a:pt x="54" y="157"/>
                  </a:cubicBezTo>
                  <a:cubicBezTo>
                    <a:pt x="55" y="157"/>
                    <a:pt x="56" y="157"/>
                    <a:pt x="56" y="156"/>
                  </a:cubicBezTo>
                  <a:cubicBezTo>
                    <a:pt x="57" y="156"/>
                    <a:pt x="59" y="154"/>
                    <a:pt x="59" y="154"/>
                  </a:cubicBezTo>
                  <a:close/>
                  <a:moveTo>
                    <a:pt x="63" y="138"/>
                  </a:moveTo>
                  <a:cubicBezTo>
                    <a:pt x="63" y="138"/>
                    <a:pt x="63" y="138"/>
                    <a:pt x="63" y="138"/>
                  </a:cubicBezTo>
                  <a:cubicBezTo>
                    <a:pt x="63" y="138"/>
                    <a:pt x="63" y="135"/>
                    <a:pt x="64" y="136"/>
                  </a:cubicBezTo>
                  <a:cubicBezTo>
                    <a:pt x="66" y="137"/>
                    <a:pt x="66" y="136"/>
                    <a:pt x="66" y="137"/>
                  </a:cubicBezTo>
                  <a:cubicBezTo>
                    <a:pt x="66" y="138"/>
                    <a:pt x="67" y="137"/>
                    <a:pt x="66" y="138"/>
                  </a:cubicBezTo>
                  <a:cubicBezTo>
                    <a:pt x="65" y="138"/>
                    <a:pt x="63" y="138"/>
                    <a:pt x="63" y="138"/>
                  </a:cubicBezTo>
                  <a:close/>
                  <a:moveTo>
                    <a:pt x="70" y="146"/>
                  </a:moveTo>
                  <a:cubicBezTo>
                    <a:pt x="70" y="146"/>
                    <a:pt x="70" y="146"/>
                    <a:pt x="70" y="146"/>
                  </a:cubicBezTo>
                  <a:cubicBezTo>
                    <a:pt x="70" y="146"/>
                    <a:pt x="71" y="144"/>
                    <a:pt x="72" y="145"/>
                  </a:cubicBezTo>
                  <a:cubicBezTo>
                    <a:pt x="72" y="145"/>
                    <a:pt x="73" y="144"/>
                    <a:pt x="73" y="145"/>
                  </a:cubicBezTo>
                  <a:cubicBezTo>
                    <a:pt x="73" y="146"/>
                    <a:pt x="73" y="147"/>
                    <a:pt x="72" y="148"/>
                  </a:cubicBezTo>
                  <a:cubicBezTo>
                    <a:pt x="71" y="148"/>
                    <a:pt x="71" y="148"/>
                    <a:pt x="70" y="148"/>
                  </a:cubicBezTo>
                  <a:cubicBezTo>
                    <a:pt x="70" y="147"/>
                    <a:pt x="70" y="146"/>
                    <a:pt x="70" y="146"/>
                  </a:cubicBezTo>
                  <a:close/>
                  <a:moveTo>
                    <a:pt x="66" y="143"/>
                  </a:moveTo>
                  <a:cubicBezTo>
                    <a:pt x="66" y="143"/>
                    <a:pt x="66" y="143"/>
                    <a:pt x="66" y="143"/>
                  </a:cubicBezTo>
                  <a:cubicBezTo>
                    <a:pt x="66" y="143"/>
                    <a:pt x="66" y="140"/>
                    <a:pt x="67" y="139"/>
                  </a:cubicBezTo>
                  <a:cubicBezTo>
                    <a:pt x="68" y="139"/>
                    <a:pt x="69" y="139"/>
                    <a:pt x="69" y="139"/>
                  </a:cubicBezTo>
                  <a:cubicBezTo>
                    <a:pt x="69" y="139"/>
                    <a:pt x="72" y="142"/>
                    <a:pt x="72" y="142"/>
                  </a:cubicBezTo>
                  <a:cubicBezTo>
                    <a:pt x="72" y="143"/>
                    <a:pt x="71" y="143"/>
                    <a:pt x="70" y="144"/>
                  </a:cubicBezTo>
                  <a:cubicBezTo>
                    <a:pt x="69" y="144"/>
                    <a:pt x="68" y="144"/>
                    <a:pt x="68" y="144"/>
                  </a:cubicBezTo>
                  <a:cubicBezTo>
                    <a:pt x="67" y="143"/>
                    <a:pt x="66" y="143"/>
                    <a:pt x="66" y="143"/>
                  </a:cubicBezTo>
                  <a:close/>
                  <a:moveTo>
                    <a:pt x="37" y="140"/>
                  </a:moveTo>
                  <a:cubicBezTo>
                    <a:pt x="37" y="140"/>
                    <a:pt x="37" y="140"/>
                    <a:pt x="37" y="140"/>
                  </a:cubicBezTo>
                  <a:cubicBezTo>
                    <a:pt x="37" y="141"/>
                    <a:pt x="37" y="140"/>
                    <a:pt x="38" y="141"/>
                  </a:cubicBezTo>
                  <a:cubicBezTo>
                    <a:pt x="38" y="142"/>
                    <a:pt x="37" y="143"/>
                    <a:pt x="37" y="143"/>
                  </a:cubicBezTo>
                  <a:cubicBezTo>
                    <a:pt x="37" y="143"/>
                    <a:pt x="36" y="144"/>
                    <a:pt x="36" y="144"/>
                  </a:cubicBezTo>
                  <a:cubicBezTo>
                    <a:pt x="35" y="143"/>
                    <a:pt x="35" y="142"/>
                    <a:pt x="35" y="142"/>
                  </a:cubicBezTo>
                  <a:cubicBezTo>
                    <a:pt x="37" y="140"/>
                    <a:pt x="37" y="140"/>
                    <a:pt x="37" y="140"/>
                  </a:cubicBezTo>
                  <a:close/>
                  <a:moveTo>
                    <a:pt x="43" y="133"/>
                  </a:moveTo>
                  <a:cubicBezTo>
                    <a:pt x="43" y="133"/>
                    <a:pt x="43" y="133"/>
                    <a:pt x="43" y="133"/>
                  </a:cubicBezTo>
                  <a:cubicBezTo>
                    <a:pt x="44" y="133"/>
                    <a:pt x="45" y="135"/>
                    <a:pt x="45" y="135"/>
                  </a:cubicBezTo>
                  <a:cubicBezTo>
                    <a:pt x="43" y="137"/>
                    <a:pt x="43" y="137"/>
                    <a:pt x="43" y="137"/>
                  </a:cubicBezTo>
                  <a:cubicBezTo>
                    <a:pt x="43" y="137"/>
                    <a:pt x="41" y="138"/>
                    <a:pt x="40" y="138"/>
                  </a:cubicBezTo>
                  <a:cubicBezTo>
                    <a:pt x="40" y="139"/>
                    <a:pt x="41" y="141"/>
                    <a:pt x="40" y="140"/>
                  </a:cubicBezTo>
                  <a:cubicBezTo>
                    <a:pt x="38" y="140"/>
                    <a:pt x="38" y="138"/>
                    <a:pt x="38" y="138"/>
                  </a:cubicBezTo>
                  <a:cubicBezTo>
                    <a:pt x="39" y="137"/>
                    <a:pt x="39" y="137"/>
                    <a:pt x="40" y="136"/>
                  </a:cubicBezTo>
                  <a:cubicBezTo>
                    <a:pt x="40" y="136"/>
                    <a:pt x="42" y="133"/>
                    <a:pt x="42" y="133"/>
                  </a:cubicBezTo>
                  <a:cubicBezTo>
                    <a:pt x="43" y="133"/>
                    <a:pt x="43" y="133"/>
                    <a:pt x="43" y="133"/>
                  </a:cubicBezTo>
                  <a:close/>
                  <a:moveTo>
                    <a:pt x="47" y="121"/>
                  </a:moveTo>
                  <a:cubicBezTo>
                    <a:pt x="47" y="121"/>
                    <a:pt x="47" y="121"/>
                    <a:pt x="47" y="121"/>
                  </a:cubicBezTo>
                  <a:cubicBezTo>
                    <a:pt x="47" y="121"/>
                    <a:pt x="49" y="121"/>
                    <a:pt x="49" y="122"/>
                  </a:cubicBezTo>
                  <a:cubicBezTo>
                    <a:pt x="50" y="122"/>
                    <a:pt x="50" y="124"/>
                    <a:pt x="50" y="124"/>
                  </a:cubicBezTo>
                  <a:cubicBezTo>
                    <a:pt x="50" y="124"/>
                    <a:pt x="51" y="125"/>
                    <a:pt x="50" y="126"/>
                  </a:cubicBezTo>
                  <a:cubicBezTo>
                    <a:pt x="50" y="127"/>
                    <a:pt x="48" y="128"/>
                    <a:pt x="48" y="128"/>
                  </a:cubicBezTo>
                  <a:cubicBezTo>
                    <a:pt x="48" y="132"/>
                    <a:pt x="48" y="132"/>
                    <a:pt x="48" y="132"/>
                  </a:cubicBezTo>
                  <a:cubicBezTo>
                    <a:pt x="47" y="133"/>
                    <a:pt x="47" y="133"/>
                    <a:pt x="47" y="133"/>
                  </a:cubicBezTo>
                  <a:cubicBezTo>
                    <a:pt x="45" y="132"/>
                    <a:pt x="45" y="132"/>
                    <a:pt x="45" y="132"/>
                  </a:cubicBezTo>
                  <a:cubicBezTo>
                    <a:pt x="45" y="128"/>
                    <a:pt x="45" y="128"/>
                    <a:pt x="45" y="128"/>
                  </a:cubicBezTo>
                  <a:cubicBezTo>
                    <a:pt x="44" y="125"/>
                    <a:pt x="44" y="125"/>
                    <a:pt x="44" y="125"/>
                  </a:cubicBezTo>
                  <a:cubicBezTo>
                    <a:pt x="46" y="123"/>
                    <a:pt x="46" y="123"/>
                    <a:pt x="46" y="123"/>
                  </a:cubicBezTo>
                  <a:cubicBezTo>
                    <a:pt x="47" y="121"/>
                    <a:pt x="47" y="121"/>
                    <a:pt x="47" y="121"/>
                  </a:cubicBezTo>
                  <a:close/>
                  <a:moveTo>
                    <a:pt x="49" y="115"/>
                  </a:moveTo>
                  <a:cubicBezTo>
                    <a:pt x="49" y="115"/>
                    <a:pt x="49" y="115"/>
                    <a:pt x="49" y="115"/>
                  </a:cubicBezTo>
                  <a:cubicBezTo>
                    <a:pt x="49" y="115"/>
                    <a:pt x="51" y="114"/>
                    <a:pt x="52" y="115"/>
                  </a:cubicBezTo>
                  <a:cubicBezTo>
                    <a:pt x="52" y="115"/>
                    <a:pt x="52" y="114"/>
                    <a:pt x="53" y="116"/>
                  </a:cubicBezTo>
                  <a:cubicBezTo>
                    <a:pt x="53" y="118"/>
                    <a:pt x="54" y="117"/>
                    <a:pt x="54" y="118"/>
                  </a:cubicBezTo>
                  <a:cubicBezTo>
                    <a:pt x="53" y="119"/>
                    <a:pt x="53" y="120"/>
                    <a:pt x="53" y="120"/>
                  </a:cubicBezTo>
                  <a:cubicBezTo>
                    <a:pt x="52" y="121"/>
                    <a:pt x="53" y="122"/>
                    <a:pt x="51" y="121"/>
                  </a:cubicBezTo>
                  <a:cubicBezTo>
                    <a:pt x="49" y="120"/>
                    <a:pt x="49" y="120"/>
                    <a:pt x="49" y="120"/>
                  </a:cubicBezTo>
                  <a:cubicBezTo>
                    <a:pt x="48" y="119"/>
                    <a:pt x="48" y="119"/>
                    <a:pt x="48" y="119"/>
                  </a:cubicBezTo>
                  <a:cubicBezTo>
                    <a:pt x="49" y="115"/>
                    <a:pt x="49" y="115"/>
                    <a:pt x="49" y="115"/>
                  </a:cubicBezTo>
                  <a:close/>
                  <a:moveTo>
                    <a:pt x="56" y="107"/>
                  </a:moveTo>
                  <a:cubicBezTo>
                    <a:pt x="56" y="107"/>
                    <a:pt x="56" y="107"/>
                    <a:pt x="56" y="107"/>
                  </a:cubicBezTo>
                  <a:cubicBezTo>
                    <a:pt x="56" y="107"/>
                    <a:pt x="57" y="106"/>
                    <a:pt x="56" y="108"/>
                  </a:cubicBezTo>
                  <a:cubicBezTo>
                    <a:pt x="55" y="110"/>
                    <a:pt x="54" y="110"/>
                    <a:pt x="55" y="111"/>
                  </a:cubicBezTo>
                  <a:cubicBezTo>
                    <a:pt x="55" y="111"/>
                    <a:pt x="56" y="111"/>
                    <a:pt x="56" y="111"/>
                  </a:cubicBezTo>
                  <a:cubicBezTo>
                    <a:pt x="56" y="114"/>
                    <a:pt x="56" y="114"/>
                    <a:pt x="56" y="114"/>
                  </a:cubicBezTo>
                  <a:cubicBezTo>
                    <a:pt x="56" y="114"/>
                    <a:pt x="56" y="114"/>
                    <a:pt x="54" y="114"/>
                  </a:cubicBezTo>
                  <a:cubicBezTo>
                    <a:pt x="52" y="114"/>
                    <a:pt x="50" y="113"/>
                    <a:pt x="50" y="113"/>
                  </a:cubicBezTo>
                  <a:cubicBezTo>
                    <a:pt x="47" y="111"/>
                    <a:pt x="47" y="111"/>
                    <a:pt x="47" y="111"/>
                  </a:cubicBezTo>
                  <a:cubicBezTo>
                    <a:pt x="47" y="111"/>
                    <a:pt x="47" y="110"/>
                    <a:pt x="48" y="108"/>
                  </a:cubicBezTo>
                  <a:cubicBezTo>
                    <a:pt x="49" y="107"/>
                    <a:pt x="51" y="107"/>
                    <a:pt x="51" y="107"/>
                  </a:cubicBezTo>
                  <a:cubicBezTo>
                    <a:pt x="51" y="107"/>
                    <a:pt x="52" y="109"/>
                    <a:pt x="53" y="107"/>
                  </a:cubicBezTo>
                  <a:cubicBezTo>
                    <a:pt x="54" y="106"/>
                    <a:pt x="54" y="104"/>
                    <a:pt x="54" y="105"/>
                  </a:cubicBezTo>
                  <a:cubicBezTo>
                    <a:pt x="55" y="106"/>
                    <a:pt x="56" y="107"/>
                    <a:pt x="56" y="107"/>
                  </a:cubicBezTo>
                  <a:close/>
                  <a:moveTo>
                    <a:pt x="63" y="98"/>
                  </a:moveTo>
                  <a:cubicBezTo>
                    <a:pt x="63" y="98"/>
                    <a:pt x="63" y="98"/>
                    <a:pt x="63" y="98"/>
                  </a:cubicBezTo>
                  <a:cubicBezTo>
                    <a:pt x="62" y="97"/>
                    <a:pt x="61" y="96"/>
                    <a:pt x="61" y="96"/>
                  </a:cubicBezTo>
                  <a:cubicBezTo>
                    <a:pt x="63" y="94"/>
                    <a:pt x="63" y="94"/>
                    <a:pt x="63" y="94"/>
                  </a:cubicBezTo>
                  <a:cubicBezTo>
                    <a:pt x="63" y="94"/>
                    <a:pt x="61" y="92"/>
                    <a:pt x="61" y="91"/>
                  </a:cubicBezTo>
                  <a:cubicBezTo>
                    <a:pt x="61" y="90"/>
                    <a:pt x="61" y="89"/>
                    <a:pt x="62" y="88"/>
                  </a:cubicBezTo>
                  <a:cubicBezTo>
                    <a:pt x="63" y="87"/>
                    <a:pt x="64" y="86"/>
                    <a:pt x="65" y="86"/>
                  </a:cubicBezTo>
                  <a:cubicBezTo>
                    <a:pt x="65" y="86"/>
                    <a:pt x="65" y="86"/>
                    <a:pt x="66" y="88"/>
                  </a:cubicBezTo>
                  <a:cubicBezTo>
                    <a:pt x="66" y="89"/>
                    <a:pt x="66" y="90"/>
                    <a:pt x="67" y="90"/>
                  </a:cubicBezTo>
                  <a:cubicBezTo>
                    <a:pt x="68" y="89"/>
                    <a:pt x="68" y="88"/>
                    <a:pt x="69" y="87"/>
                  </a:cubicBezTo>
                  <a:cubicBezTo>
                    <a:pt x="70" y="86"/>
                    <a:pt x="70" y="84"/>
                    <a:pt x="70" y="84"/>
                  </a:cubicBezTo>
                  <a:cubicBezTo>
                    <a:pt x="70" y="84"/>
                    <a:pt x="72" y="85"/>
                    <a:pt x="73" y="84"/>
                  </a:cubicBezTo>
                  <a:cubicBezTo>
                    <a:pt x="74" y="83"/>
                    <a:pt x="73" y="84"/>
                    <a:pt x="76" y="83"/>
                  </a:cubicBezTo>
                  <a:cubicBezTo>
                    <a:pt x="78" y="82"/>
                    <a:pt x="78" y="82"/>
                    <a:pt x="79" y="81"/>
                  </a:cubicBezTo>
                  <a:cubicBezTo>
                    <a:pt x="80" y="80"/>
                    <a:pt x="80" y="81"/>
                    <a:pt x="81" y="80"/>
                  </a:cubicBezTo>
                  <a:cubicBezTo>
                    <a:pt x="81" y="80"/>
                    <a:pt x="82" y="78"/>
                    <a:pt x="83" y="79"/>
                  </a:cubicBezTo>
                  <a:cubicBezTo>
                    <a:pt x="84" y="79"/>
                    <a:pt x="85" y="80"/>
                    <a:pt x="85" y="81"/>
                  </a:cubicBezTo>
                  <a:cubicBezTo>
                    <a:pt x="85" y="82"/>
                    <a:pt x="86" y="83"/>
                    <a:pt x="85" y="84"/>
                  </a:cubicBezTo>
                  <a:cubicBezTo>
                    <a:pt x="84" y="85"/>
                    <a:pt x="84" y="86"/>
                    <a:pt x="84" y="86"/>
                  </a:cubicBezTo>
                  <a:cubicBezTo>
                    <a:pt x="83" y="87"/>
                    <a:pt x="80" y="89"/>
                    <a:pt x="80" y="89"/>
                  </a:cubicBezTo>
                  <a:cubicBezTo>
                    <a:pt x="80" y="89"/>
                    <a:pt x="80" y="90"/>
                    <a:pt x="81" y="90"/>
                  </a:cubicBezTo>
                  <a:cubicBezTo>
                    <a:pt x="82" y="90"/>
                    <a:pt x="83" y="88"/>
                    <a:pt x="83" y="89"/>
                  </a:cubicBezTo>
                  <a:cubicBezTo>
                    <a:pt x="83" y="90"/>
                    <a:pt x="85" y="92"/>
                    <a:pt x="83" y="92"/>
                  </a:cubicBezTo>
                  <a:cubicBezTo>
                    <a:pt x="81" y="92"/>
                    <a:pt x="79" y="92"/>
                    <a:pt x="79" y="92"/>
                  </a:cubicBezTo>
                  <a:cubicBezTo>
                    <a:pt x="78" y="94"/>
                    <a:pt x="78" y="94"/>
                    <a:pt x="78" y="94"/>
                  </a:cubicBezTo>
                  <a:cubicBezTo>
                    <a:pt x="78" y="94"/>
                    <a:pt x="76" y="93"/>
                    <a:pt x="76" y="94"/>
                  </a:cubicBezTo>
                  <a:cubicBezTo>
                    <a:pt x="76" y="95"/>
                    <a:pt x="77" y="96"/>
                    <a:pt x="77" y="96"/>
                  </a:cubicBezTo>
                  <a:cubicBezTo>
                    <a:pt x="75" y="98"/>
                    <a:pt x="75" y="98"/>
                    <a:pt x="75" y="98"/>
                  </a:cubicBezTo>
                  <a:cubicBezTo>
                    <a:pt x="75" y="98"/>
                    <a:pt x="73" y="97"/>
                    <a:pt x="73" y="98"/>
                  </a:cubicBezTo>
                  <a:cubicBezTo>
                    <a:pt x="73" y="99"/>
                    <a:pt x="74" y="101"/>
                    <a:pt x="74" y="101"/>
                  </a:cubicBezTo>
                  <a:cubicBezTo>
                    <a:pt x="74" y="101"/>
                    <a:pt x="74" y="102"/>
                    <a:pt x="73" y="102"/>
                  </a:cubicBezTo>
                  <a:cubicBezTo>
                    <a:pt x="72" y="102"/>
                    <a:pt x="70" y="102"/>
                    <a:pt x="69" y="102"/>
                  </a:cubicBezTo>
                  <a:cubicBezTo>
                    <a:pt x="68" y="101"/>
                    <a:pt x="68" y="101"/>
                    <a:pt x="68" y="101"/>
                  </a:cubicBezTo>
                  <a:cubicBezTo>
                    <a:pt x="67" y="104"/>
                    <a:pt x="67" y="104"/>
                    <a:pt x="67" y="104"/>
                  </a:cubicBezTo>
                  <a:cubicBezTo>
                    <a:pt x="67" y="104"/>
                    <a:pt x="68" y="104"/>
                    <a:pt x="67" y="105"/>
                  </a:cubicBezTo>
                  <a:cubicBezTo>
                    <a:pt x="66" y="106"/>
                    <a:pt x="64" y="106"/>
                    <a:pt x="64" y="106"/>
                  </a:cubicBezTo>
                  <a:cubicBezTo>
                    <a:pt x="64" y="106"/>
                    <a:pt x="63" y="106"/>
                    <a:pt x="63" y="106"/>
                  </a:cubicBezTo>
                  <a:cubicBezTo>
                    <a:pt x="63" y="107"/>
                    <a:pt x="62" y="108"/>
                    <a:pt x="62" y="108"/>
                  </a:cubicBezTo>
                  <a:cubicBezTo>
                    <a:pt x="61" y="108"/>
                    <a:pt x="59" y="106"/>
                    <a:pt x="59" y="106"/>
                  </a:cubicBezTo>
                  <a:cubicBezTo>
                    <a:pt x="59" y="105"/>
                    <a:pt x="58" y="102"/>
                    <a:pt x="59" y="102"/>
                  </a:cubicBezTo>
                  <a:cubicBezTo>
                    <a:pt x="61" y="103"/>
                    <a:pt x="62" y="103"/>
                    <a:pt x="62" y="102"/>
                  </a:cubicBezTo>
                  <a:cubicBezTo>
                    <a:pt x="62" y="100"/>
                    <a:pt x="62" y="99"/>
                    <a:pt x="62" y="99"/>
                  </a:cubicBezTo>
                  <a:cubicBezTo>
                    <a:pt x="63" y="98"/>
                    <a:pt x="63" y="98"/>
                    <a:pt x="63" y="98"/>
                  </a:cubicBezTo>
                  <a:close/>
                  <a:moveTo>
                    <a:pt x="215" y="12"/>
                  </a:moveTo>
                  <a:cubicBezTo>
                    <a:pt x="215" y="12"/>
                    <a:pt x="215" y="12"/>
                    <a:pt x="215" y="12"/>
                  </a:cubicBezTo>
                  <a:cubicBezTo>
                    <a:pt x="216" y="13"/>
                    <a:pt x="218" y="14"/>
                    <a:pt x="218" y="13"/>
                  </a:cubicBezTo>
                  <a:cubicBezTo>
                    <a:pt x="219" y="12"/>
                    <a:pt x="219" y="11"/>
                    <a:pt x="219" y="11"/>
                  </a:cubicBezTo>
                  <a:cubicBezTo>
                    <a:pt x="219" y="10"/>
                    <a:pt x="217" y="10"/>
                    <a:pt x="217" y="10"/>
                  </a:cubicBezTo>
                  <a:cubicBezTo>
                    <a:pt x="216" y="10"/>
                    <a:pt x="215" y="11"/>
                    <a:pt x="215" y="11"/>
                  </a:cubicBezTo>
                  <a:cubicBezTo>
                    <a:pt x="215" y="12"/>
                    <a:pt x="215" y="12"/>
                    <a:pt x="215" y="12"/>
                  </a:cubicBezTo>
                  <a:close/>
                  <a:moveTo>
                    <a:pt x="190" y="26"/>
                  </a:moveTo>
                  <a:cubicBezTo>
                    <a:pt x="190" y="26"/>
                    <a:pt x="190" y="26"/>
                    <a:pt x="190" y="26"/>
                  </a:cubicBezTo>
                  <a:cubicBezTo>
                    <a:pt x="190" y="26"/>
                    <a:pt x="191" y="25"/>
                    <a:pt x="191" y="26"/>
                  </a:cubicBezTo>
                  <a:cubicBezTo>
                    <a:pt x="191" y="27"/>
                    <a:pt x="191" y="27"/>
                    <a:pt x="191" y="28"/>
                  </a:cubicBezTo>
                  <a:cubicBezTo>
                    <a:pt x="190" y="28"/>
                    <a:pt x="188" y="30"/>
                    <a:pt x="188" y="29"/>
                  </a:cubicBezTo>
                  <a:cubicBezTo>
                    <a:pt x="187" y="28"/>
                    <a:pt x="188" y="26"/>
                    <a:pt x="188" y="26"/>
                  </a:cubicBezTo>
                  <a:cubicBezTo>
                    <a:pt x="190" y="26"/>
                    <a:pt x="190" y="26"/>
                    <a:pt x="190" y="26"/>
                  </a:cubicBezTo>
                  <a:close/>
                  <a:moveTo>
                    <a:pt x="204" y="28"/>
                  </a:moveTo>
                  <a:cubicBezTo>
                    <a:pt x="204" y="28"/>
                    <a:pt x="204" y="28"/>
                    <a:pt x="204" y="28"/>
                  </a:cubicBezTo>
                  <a:cubicBezTo>
                    <a:pt x="204" y="28"/>
                    <a:pt x="205" y="28"/>
                    <a:pt x="203" y="28"/>
                  </a:cubicBezTo>
                  <a:cubicBezTo>
                    <a:pt x="201" y="28"/>
                    <a:pt x="200" y="29"/>
                    <a:pt x="200" y="27"/>
                  </a:cubicBezTo>
                  <a:cubicBezTo>
                    <a:pt x="200" y="26"/>
                    <a:pt x="201" y="25"/>
                    <a:pt x="199" y="25"/>
                  </a:cubicBezTo>
                  <a:cubicBezTo>
                    <a:pt x="198" y="25"/>
                    <a:pt x="198" y="25"/>
                    <a:pt x="198" y="25"/>
                  </a:cubicBezTo>
                  <a:cubicBezTo>
                    <a:pt x="197" y="25"/>
                    <a:pt x="197" y="23"/>
                    <a:pt x="198" y="22"/>
                  </a:cubicBezTo>
                  <a:cubicBezTo>
                    <a:pt x="199" y="21"/>
                    <a:pt x="199" y="21"/>
                    <a:pt x="200" y="21"/>
                  </a:cubicBezTo>
                  <a:cubicBezTo>
                    <a:pt x="201" y="22"/>
                    <a:pt x="201" y="22"/>
                    <a:pt x="202" y="22"/>
                  </a:cubicBezTo>
                  <a:cubicBezTo>
                    <a:pt x="204" y="22"/>
                    <a:pt x="204" y="23"/>
                    <a:pt x="204" y="22"/>
                  </a:cubicBezTo>
                  <a:cubicBezTo>
                    <a:pt x="205" y="21"/>
                    <a:pt x="205" y="20"/>
                    <a:pt x="204" y="19"/>
                  </a:cubicBezTo>
                  <a:cubicBezTo>
                    <a:pt x="203" y="18"/>
                    <a:pt x="203" y="18"/>
                    <a:pt x="202" y="17"/>
                  </a:cubicBezTo>
                  <a:cubicBezTo>
                    <a:pt x="202" y="16"/>
                    <a:pt x="200" y="14"/>
                    <a:pt x="200" y="13"/>
                  </a:cubicBezTo>
                  <a:cubicBezTo>
                    <a:pt x="200" y="13"/>
                    <a:pt x="200" y="12"/>
                    <a:pt x="202" y="11"/>
                  </a:cubicBezTo>
                  <a:cubicBezTo>
                    <a:pt x="203" y="10"/>
                    <a:pt x="205" y="8"/>
                    <a:pt x="206" y="8"/>
                  </a:cubicBezTo>
                  <a:cubicBezTo>
                    <a:pt x="207" y="9"/>
                    <a:pt x="208" y="8"/>
                    <a:pt x="208" y="10"/>
                  </a:cubicBezTo>
                  <a:cubicBezTo>
                    <a:pt x="208" y="11"/>
                    <a:pt x="208" y="12"/>
                    <a:pt x="207" y="13"/>
                  </a:cubicBezTo>
                  <a:cubicBezTo>
                    <a:pt x="207" y="13"/>
                    <a:pt x="206" y="14"/>
                    <a:pt x="206" y="14"/>
                  </a:cubicBezTo>
                  <a:cubicBezTo>
                    <a:pt x="206" y="14"/>
                    <a:pt x="206" y="16"/>
                    <a:pt x="207" y="16"/>
                  </a:cubicBezTo>
                  <a:cubicBezTo>
                    <a:pt x="209" y="15"/>
                    <a:pt x="210" y="14"/>
                    <a:pt x="210" y="13"/>
                  </a:cubicBezTo>
                  <a:cubicBezTo>
                    <a:pt x="210" y="12"/>
                    <a:pt x="211" y="13"/>
                    <a:pt x="211" y="11"/>
                  </a:cubicBezTo>
                  <a:cubicBezTo>
                    <a:pt x="210" y="9"/>
                    <a:pt x="209" y="9"/>
                    <a:pt x="210" y="9"/>
                  </a:cubicBezTo>
                  <a:cubicBezTo>
                    <a:pt x="211" y="9"/>
                    <a:pt x="212" y="10"/>
                    <a:pt x="213" y="8"/>
                  </a:cubicBezTo>
                  <a:cubicBezTo>
                    <a:pt x="214" y="6"/>
                    <a:pt x="214" y="5"/>
                    <a:pt x="214" y="5"/>
                  </a:cubicBezTo>
                  <a:cubicBezTo>
                    <a:pt x="214" y="5"/>
                    <a:pt x="214" y="6"/>
                    <a:pt x="215" y="5"/>
                  </a:cubicBezTo>
                  <a:cubicBezTo>
                    <a:pt x="217" y="4"/>
                    <a:pt x="216" y="3"/>
                    <a:pt x="217" y="2"/>
                  </a:cubicBezTo>
                  <a:cubicBezTo>
                    <a:pt x="217" y="2"/>
                    <a:pt x="216" y="0"/>
                    <a:pt x="218" y="1"/>
                  </a:cubicBezTo>
                  <a:cubicBezTo>
                    <a:pt x="220" y="1"/>
                    <a:pt x="220" y="1"/>
                    <a:pt x="221" y="2"/>
                  </a:cubicBezTo>
                  <a:cubicBezTo>
                    <a:pt x="221" y="3"/>
                    <a:pt x="220" y="5"/>
                    <a:pt x="219" y="5"/>
                  </a:cubicBezTo>
                  <a:cubicBezTo>
                    <a:pt x="219" y="5"/>
                    <a:pt x="218" y="5"/>
                    <a:pt x="217" y="6"/>
                  </a:cubicBezTo>
                  <a:cubicBezTo>
                    <a:pt x="216" y="7"/>
                    <a:pt x="217" y="8"/>
                    <a:pt x="217" y="9"/>
                  </a:cubicBezTo>
                  <a:cubicBezTo>
                    <a:pt x="216" y="9"/>
                    <a:pt x="215" y="9"/>
                    <a:pt x="215" y="10"/>
                  </a:cubicBezTo>
                  <a:cubicBezTo>
                    <a:pt x="214" y="10"/>
                    <a:pt x="213" y="11"/>
                    <a:pt x="213" y="11"/>
                  </a:cubicBezTo>
                  <a:cubicBezTo>
                    <a:pt x="214" y="12"/>
                    <a:pt x="213" y="13"/>
                    <a:pt x="212" y="13"/>
                  </a:cubicBezTo>
                  <a:cubicBezTo>
                    <a:pt x="212" y="14"/>
                    <a:pt x="209" y="12"/>
                    <a:pt x="212" y="14"/>
                  </a:cubicBezTo>
                  <a:cubicBezTo>
                    <a:pt x="214" y="15"/>
                    <a:pt x="215" y="15"/>
                    <a:pt x="214" y="16"/>
                  </a:cubicBezTo>
                  <a:cubicBezTo>
                    <a:pt x="213" y="16"/>
                    <a:pt x="212" y="16"/>
                    <a:pt x="211" y="16"/>
                  </a:cubicBezTo>
                  <a:cubicBezTo>
                    <a:pt x="210" y="17"/>
                    <a:pt x="210" y="18"/>
                    <a:pt x="211" y="18"/>
                  </a:cubicBezTo>
                  <a:cubicBezTo>
                    <a:pt x="213" y="19"/>
                    <a:pt x="212" y="19"/>
                    <a:pt x="213" y="19"/>
                  </a:cubicBezTo>
                  <a:cubicBezTo>
                    <a:pt x="214" y="19"/>
                    <a:pt x="218" y="19"/>
                    <a:pt x="217" y="20"/>
                  </a:cubicBezTo>
                  <a:cubicBezTo>
                    <a:pt x="217" y="20"/>
                    <a:pt x="217" y="21"/>
                    <a:pt x="216" y="21"/>
                  </a:cubicBezTo>
                  <a:cubicBezTo>
                    <a:pt x="214" y="22"/>
                    <a:pt x="212" y="22"/>
                    <a:pt x="211" y="21"/>
                  </a:cubicBezTo>
                  <a:cubicBezTo>
                    <a:pt x="210" y="20"/>
                    <a:pt x="210" y="19"/>
                    <a:pt x="210" y="21"/>
                  </a:cubicBezTo>
                  <a:cubicBezTo>
                    <a:pt x="211" y="24"/>
                    <a:pt x="213" y="24"/>
                    <a:pt x="212" y="24"/>
                  </a:cubicBezTo>
                  <a:cubicBezTo>
                    <a:pt x="210" y="24"/>
                    <a:pt x="209" y="24"/>
                    <a:pt x="209" y="24"/>
                  </a:cubicBezTo>
                  <a:cubicBezTo>
                    <a:pt x="209" y="24"/>
                    <a:pt x="208" y="23"/>
                    <a:pt x="209" y="25"/>
                  </a:cubicBezTo>
                  <a:cubicBezTo>
                    <a:pt x="209" y="27"/>
                    <a:pt x="209" y="27"/>
                    <a:pt x="209" y="27"/>
                  </a:cubicBezTo>
                  <a:cubicBezTo>
                    <a:pt x="209" y="27"/>
                    <a:pt x="208" y="28"/>
                    <a:pt x="208" y="28"/>
                  </a:cubicBezTo>
                  <a:cubicBezTo>
                    <a:pt x="208" y="29"/>
                    <a:pt x="209" y="30"/>
                    <a:pt x="209" y="31"/>
                  </a:cubicBezTo>
                  <a:cubicBezTo>
                    <a:pt x="210" y="32"/>
                    <a:pt x="209" y="34"/>
                    <a:pt x="208" y="34"/>
                  </a:cubicBezTo>
                  <a:cubicBezTo>
                    <a:pt x="208" y="35"/>
                    <a:pt x="207" y="35"/>
                    <a:pt x="207" y="36"/>
                  </a:cubicBezTo>
                  <a:cubicBezTo>
                    <a:pt x="206" y="37"/>
                    <a:pt x="206" y="38"/>
                    <a:pt x="206" y="38"/>
                  </a:cubicBezTo>
                  <a:cubicBezTo>
                    <a:pt x="204" y="42"/>
                    <a:pt x="204" y="42"/>
                    <a:pt x="204" y="42"/>
                  </a:cubicBezTo>
                  <a:cubicBezTo>
                    <a:pt x="204" y="42"/>
                    <a:pt x="203" y="44"/>
                    <a:pt x="203" y="42"/>
                  </a:cubicBezTo>
                  <a:cubicBezTo>
                    <a:pt x="202" y="40"/>
                    <a:pt x="202" y="41"/>
                    <a:pt x="202" y="40"/>
                  </a:cubicBezTo>
                  <a:cubicBezTo>
                    <a:pt x="203" y="40"/>
                    <a:pt x="203" y="38"/>
                    <a:pt x="204" y="38"/>
                  </a:cubicBezTo>
                  <a:cubicBezTo>
                    <a:pt x="204" y="37"/>
                    <a:pt x="205" y="34"/>
                    <a:pt x="205" y="34"/>
                  </a:cubicBezTo>
                  <a:cubicBezTo>
                    <a:pt x="205" y="34"/>
                    <a:pt x="206" y="33"/>
                    <a:pt x="207" y="33"/>
                  </a:cubicBezTo>
                  <a:cubicBezTo>
                    <a:pt x="207" y="33"/>
                    <a:pt x="205" y="30"/>
                    <a:pt x="205" y="30"/>
                  </a:cubicBezTo>
                  <a:cubicBezTo>
                    <a:pt x="206" y="28"/>
                    <a:pt x="206" y="28"/>
                    <a:pt x="206" y="28"/>
                  </a:cubicBezTo>
                  <a:cubicBezTo>
                    <a:pt x="204" y="28"/>
                    <a:pt x="204" y="28"/>
                    <a:pt x="204" y="28"/>
                  </a:cubicBezTo>
                  <a:close/>
                  <a:moveTo>
                    <a:pt x="193" y="55"/>
                  </a:moveTo>
                  <a:cubicBezTo>
                    <a:pt x="193" y="55"/>
                    <a:pt x="193" y="55"/>
                    <a:pt x="193" y="55"/>
                  </a:cubicBezTo>
                  <a:cubicBezTo>
                    <a:pt x="193" y="55"/>
                    <a:pt x="195" y="52"/>
                    <a:pt x="195" y="52"/>
                  </a:cubicBezTo>
                  <a:cubicBezTo>
                    <a:pt x="196" y="52"/>
                    <a:pt x="196" y="53"/>
                    <a:pt x="196" y="53"/>
                  </a:cubicBezTo>
                  <a:cubicBezTo>
                    <a:pt x="196" y="54"/>
                    <a:pt x="196" y="56"/>
                    <a:pt x="196" y="55"/>
                  </a:cubicBezTo>
                  <a:cubicBezTo>
                    <a:pt x="195" y="55"/>
                    <a:pt x="194" y="55"/>
                    <a:pt x="194" y="55"/>
                  </a:cubicBezTo>
                  <a:cubicBezTo>
                    <a:pt x="193" y="55"/>
                    <a:pt x="193" y="55"/>
                    <a:pt x="193" y="55"/>
                  </a:cubicBezTo>
                  <a:close/>
                  <a:moveTo>
                    <a:pt x="158" y="79"/>
                  </a:moveTo>
                  <a:cubicBezTo>
                    <a:pt x="158" y="79"/>
                    <a:pt x="158" y="79"/>
                    <a:pt x="158" y="79"/>
                  </a:cubicBezTo>
                  <a:cubicBezTo>
                    <a:pt x="160" y="78"/>
                    <a:pt x="160" y="78"/>
                    <a:pt x="160" y="78"/>
                  </a:cubicBezTo>
                  <a:cubicBezTo>
                    <a:pt x="162" y="78"/>
                    <a:pt x="162" y="78"/>
                    <a:pt x="162" y="78"/>
                  </a:cubicBezTo>
                  <a:cubicBezTo>
                    <a:pt x="162" y="78"/>
                    <a:pt x="163" y="77"/>
                    <a:pt x="163" y="79"/>
                  </a:cubicBezTo>
                  <a:cubicBezTo>
                    <a:pt x="162" y="80"/>
                    <a:pt x="160" y="83"/>
                    <a:pt x="160" y="83"/>
                  </a:cubicBezTo>
                  <a:cubicBezTo>
                    <a:pt x="160" y="83"/>
                    <a:pt x="161" y="83"/>
                    <a:pt x="160" y="83"/>
                  </a:cubicBezTo>
                  <a:cubicBezTo>
                    <a:pt x="158" y="84"/>
                    <a:pt x="158" y="85"/>
                    <a:pt x="157" y="84"/>
                  </a:cubicBezTo>
                  <a:cubicBezTo>
                    <a:pt x="156" y="83"/>
                    <a:pt x="156" y="83"/>
                    <a:pt x="156" y="82"/>
                  </a:cubicBezTo>
                  <a:cubicBezTo>
                    <a:pt x="156" y="81"/>
                    <a:pt x="156" y="79"/>
                    <a:pt x="156" y="79"/>
                  </a:cubicBezTo>
                  <a:cubicBezTo>
                    <a:pt x="158" y="79"/>
                    <a:pt x="158" y="79"/>
                    <a:pt x="158" y="79"/>
                  </a:cubicBezTo>
                  <a:close/>
                  <a:moveTo>
                    <a:pt x="175" y="59"/>
                  </a:moveTo>
                  <a:cubicBezTo>
                    <a:pt x="175" y="59"/>
                    <a:pt x="175" y="59"/>
                    <a:pt x="175" y="59"/>
                  </a:cubicBezTo>
                  <a:cubicBezTo>
                    <a:pt x="175" y="58"/>
                    <a:pt x="176" y="57"/>
                    <a:pt x="177" y="57"/>
                  </a:cubicBezTo>
                  <a:cubicBezTo>
                    <a:pt x="177" y="57"/>
                    <a:pt x="178" y="57"/>
                    <a:pt x="178" y="58"/>
                  </a:cubicBezTo>
                  <a:cubicBezTo>
                    <a:pt x="177" y="59"/>
                    <a:pt x="177" y="60"/>
                    <a:pt x="176" y="60"/>
                  </a:cubicBezTo>
                  <a:cubicBezTo>
                    <a:pt x="175" y="60"/>
                    <a:pt x="175" y="59"/>
                    <a:pt x="175" y="59"/>
                  </a:cubicBezTo>
                  <a:close/>
                  <a:moveTo>
                    <a:pt x="172" y="62"/>
                  </a:moveTo>
                  <a:cubicBezTo>
                    <a:pt x="172" y="62"/>
                    <a:pt x="172" y="62"/>
                    <a:pt x="172" y="62"/>
                  </a:cubicBezTo>
                  <a:cubicBezTo>
                    <a:pt x="172" y="62"/>
                    <a:pt x="174" y="61"/>
                    <a:pt x="174" y="61"/>
                  </a:cubicBezTo>
                  <a:cubicBezTo>
                    <a:pt x="174" y="62"/>
                    <a:pt x="175" y="61"/>
                    <a:pt x="174" y="62"/>
                  </a:cubicBezTo>
                  <a:cubicBezTo>
                    <a:pt x="174" y="63"/>
                    <a:pt x="176" y="63"/>
                    <a:pt x="174" y="64"/>
                  </a:cubicBezTo>
                  <a:cubicBezTo>
                    <a:pt x="172" y="65"/>
                    <a:pt x="172" y="66"/>
                    <a:pt x="171" y="65"/>
                  </a:cubicBezTo>
                  <a:cubicBezTo>
                    <a:pt x="170" y="64"/>
                    <a:pt x="170" y="63"/>
                    <a:pt x="170" y="63"/>
                  </a:cubicBezTo>
                  <a:cubicBezTo>
                    <a:pt x="170" y="62"/>
                    <a:pt x="171" y="61"/>
                    <a:pt x="171" y="61"/>
                  </a:cubicBezTo>
                  <a:cubicBezTo>
                    <a:pt x="171" y="61"/>
                    <a:pt x="172" y="62"/>
                    <a:pt x="172" y="62"/>
                  </a:cubicBezTo>
                  <a:close/>
                  <a:moveTo>
                    <a:pt x="166" y="65"/>
                  </a:moveTo>
                  <a:cubicBezTo>
                    <a:pt x="166" y="65"/>
                    <a:pt x="166" y="65"/>
                    <a:pt x="166" y="65"/>
                  </a:cubicBezTo>
                  <a:cubicBezTo>
                    <a:pt x="166" y="65"/>
                    <a:pt x="167" y="66"/>
                    <a:pt x="167" y="66"/>
                  </a:cubicBezTo>
                  <a:cubicBezTo>
                    <a:pt x="167" y="66"/>
                    <a:pt x="168" y="66"/>
                    <a:pt x="169" y="65"/>
                  </a:cubicBezTo>
                  <a:cubicBezTo>
                    <a:pt x="170" y="65"/>
                    <a:pt x="169" y="65"/>
                    <a:pt x="169" y="64"/>
                  </a:cubicBezTo>
                  <a:cubicBezTo>
                    <a:pt x="170" y="63"/>
                    <a:pt x="169" y="63"/>
                    <a:pt x="169" y="63"/>
                  </a:cubicBezTo>
                  <a:cubicBezTo>
                    <a:pt x="169" y="62"/>
                    <a:pt x="168" y="62"/>
                    <a:pt x="167" y="62"/>
                  </a:cubicBezTo>
                  <a:cubicBezTo>
                    <a:pt x="166" y="62"/>
                    <a:pt x="166" y="65"/>
                    <a:pt x="166" y="65"/>
                  </a:cubicBezTo>
                  <a:close/>
                  <a:moveTo>
                    <a:pt x="169" y="69"/>
                  </a:moveTo>
                  <a:cubicBezTo>
                    <a:pt x="169" y="69"/>
                    <a:pt x="169" y="69"/>
                    <a:pt x="169" y="69"/>
                  </a:cubicBezTo>
                  <a:cubicBezTo>
                    <a:pt x="169" y="69"/>
                    <a:pt x="169" y="68"/>
                    <a:pt x="170" y="68"/>
                  </a:cubicBezTo>
                  <a:cubicBezTo>
                    <a:pt x="171" y="68"/>
                    <a:pt x="171" y="68"/>
                    <a:pt x="171" y="68"/>
                  </a:cubicBezTo>
                  <a:cubicBezTo>
                    <a:pt x="171" y="69"/>
                    <a:pt x="171" y="70"/>
                    <a:pt x="170" y="70"/>
                  </a:cubicBezTo>
                  <a:cubicBezTo>
                    <a:pt x="170" y="70"/>
                    <a:pt x="169" y="69"/>
                    <a:pt x="169" y="69"/>
                  </a:cubicBezTo>
                  <a:close/>
                  <a:moveTo>
                    <a:pt x="162" y="70"/>
                  </a:moveTo>
                  <a:cubicBezTo>
                    <a:pt x="162" y="70"/>
                    <a:pt x="162" y="70"/>
                    <a:pt x="162" y="70"/>
                  </a:cubicBezTo>
                  <a:cubicBezTo>
                    <a:pt x="163" y="68"/>
                    <a:pt x="163" y="68"/>
                    <a:pt x="163" y="68"/>
                  </a:cubicBezTo>
                  <a:cubicBezTo>
                    <a:pt x="164" y="69"/>
                    <a:pt x="164" y="69"/>
                    <a:pt x="164" y="69"/>
                  </a:cubicBezTo>
                  <a:cubicBezTo>
                    <a:pt x="164" y="69"/>
                    <a:pt x="165" y="70"/>
                    <a:pt x="165" y="70"/>
                  </a:cubicBezTo>
                  <a:cubicBezTo>
                    <a:pt x="164" y="71"/>
                    <a:pt x="164" y="71"/>
                    <a:pt x="163" y="71"/>
                  </a:cubicBezTo>
                  <a:cubicBezTo>
                    <a:pt x="163" y="71"/>
                    <a:pt x="162" y="71"/>
                    <a:pt x="162" y="71"/>
                  </a:cubicBezTo>
                  <a:cubicBezTo>
                    <a:pt x="162" y="70"/>
                    <a:pt x="162" y="70"/>
                    <a:pt x="162" y="70"/>
                  </a:cubicBezTo>
                  <a:close/>
                  <a:moveTo>
                    <a:pt x="162" y="59"/>
                  </a:moveTo>
                  <a:cubicBezTo>
                    <a:pt x="162" y="59"/>
                    <a:pt x="162" y="59"/>
                    <a:pt x="162" y="59"/>
                  </a:cubicBezTo>
                  <a:cubicBezTo>
                    <a:pt x="162" y="59"/>
                    <a:pt x="164" y="57"/>
                    <a:pt x="164" y="57"/>
                  </a:cubicBezTo>
                  <a:cubicBezTo>
                    <a:pt x="164" y="57"/>
                    <a:pt x="165" y="56"/>
                    <a:pt x="165" y="58"/>
                  </a:cubicBezTo>
                  <a:cubicBezTo>
                    <a:pt x="166" y="59"/>
                    <a:pt x="167" y="61"/>
                    <a:pt x="165" y="61"/>
                  </a:cubicBezTo>
                  <a:cubicBezTo>
                    <a:pt x="163" y="61"/>
                    <a:pt x="162" y="62"/>
                    <a:pt x="162" y="61"/>
                  </a:cubicBezTo>
                  <a:cubicBezTo>
                    <a:pt x="162" y="60"/>
                    <a:pt x="162" y="59"/>
                    <a:pt x="162" y="59"/>
                  </a:cubicBezTo>
                  <a:close/>
                  <a:moveTo>
                    <a:pt x="159" y="64"/>
                  </a:moveTo>
                  <a:cubicBezTo>
                    <a:pt x="159" y="64"/>
                    <a:pt x="159" y="64"/>
                    <a:pt x="159" y="64"/>
                  </a:cubicBezTo>
                  <a:cubicBezTo>
                    <a:pt x="159" y="64"/>
                    <a:pt x="161" y="63"/>
                    <a:pt x="161" y="63"/>
                  </a:cubicBezTo>
                  <a:cubicBezTo>
                    <a:pt x="162" y="63"/>
                    <a:pt x="163" y="63"/>
                    <a:pt x="163" y="64"/>
                  </a:cubicBezTo>
                  <a:cubicBezTo>
                    <a:pt x="163" y="65"/>
                    <a:pt x="163" y="65"/>
                    <a:pt x="162" y="66"/>
                  </a:cubicBezTo>
                  <a:cubicBezTo>
                    <a:pt x="162" y="66"/>
                    <a:pt x="161" y="67"/>
                    <a:pt x="161" y="66"/>
                  </a:cubicBezTo>
                  <a:cubicBezTo>
                    <a:pt x="160" y="66"/>
                    <a:pt x="159" y="64"/>
                    <a:pt x="159" y="64"/>
                  </a:cubicBezTo>
                  <a:close/>
                  <a:moveTo>
                    <a:pt x="161" y="74"/>
                  </a:moveTo>
                  <a:cubicBezTo>
                    <a:pt x="161" y="74"/>
                    <a:pt x="161" y="74"/>
                    <a:pt x="161" y="74"/>
                  </a:cubicBezTo>
                  <a:cubicBezTo>
                    <a:pt x="161" y="74"/>
                    <a:pt x="160" y="77"/>
                    <a:pt x="161" y="77"/>
                  </a:cubicBezTo>
                  <a:cubicBezTo>
                    <a:pt x="161" y="78"/>
                    <a:pt x="163" y="77"/>
                    <a:pt x="163" y="77"/>
                  </a:cubicBezTo>
                  <a:cubicBezTo>
                    <a:pt x="164" y="77"/>
                    <a:pt x="164" y="75"/>
                    <a:pt x="164" y="75"/>
                  </a:cubicBezTo>
                  <a:cubicBezTo>
                    <a:pt x="164" y="75"/>
                    <a:pt x="163" y="74"/>
                    <a:pt x="163" y="73"/>
                  </a:cubicBezTo>
                  <a:cubicBezTo>
                    <a:pt x="162" y="72"/>
                    <a:pt x="161" y="74"/>
                    <a:pt x="161" y="74"/>
                  </a:cubicBezTo>
                  <a:close/>
                  <a:moveTo>
                    <a:pt x="154" y="71"/>
                  </a:moveTo>
                  <a:cubicBezTo>
                    <a:pt x="154" y="71"/>
                    <a:pt x="154" y="71"/>
                    <a:pt x="154" y="71"/>
                  </a:cubicBezTo>
                  <a:cubicBezTo>
                    <a:pt x="154" y="74"/>
                    <a:pt x="154" y="74"/>
                    <a:pt x="154" y="74"/>
                  </a:cubicBezTo>
                  <a:cubicBezTo>
                    <a:pt x="154" y="74"/>
                    <a:pt x="156" y="75"/>
                    <a:pt x="156" y="75"/>
                  </a:cubicBezTo>
                  <a:cubicBezTo>
                    <a:pt x="157" y="76"/>
                    <a:pt x="157" y="76"/>
                    <a:pt x="158" y="76"/>
                  </a:cubicBezTo>
                  <a:cubicBezTo>
                    <a:pt x="160" y="76"/>
                    <a:pt x="159" y="76"/>
                    <a:pt x="160" y="76"/>
                  </a:cubicBezTo>
                  <a:cubicBezTo>
                    <a:pt x="160" y="75"/>
                    <a:pt x="160" y="75"/>
                    <a:pt x="160" y="75"/>
                  </a:cubicBezTo>
                  <a:cubicBezTo>
                    <a:pt x="160" y="75"/>
                    <a:pt x="159" y="73"/>
                    <a:pt x="158" y="73"/>
                  </a:cubicBezTo>
                  <a:cubicBezTo>
                    <a:pt x="158" y="73"/>
                    <a:pt x="158" y="72"/>
                    <a:pt x="158" y="72"/>
                  </a:cubicBezTo>
                  <a:cubicBezTo>
                    <a:pt x="158" y="71"/>
                    <a:pt x="159" y="71"/>
                    <a:pt x="159" y="70"/>
                  </a:cubicBezTo>
                  <a:cubicBezTo>
                    <a:pt x="160" y="70"/>
                    <a:pt x="160" y="68"/>
                    <a:pt x="160" y="68"/>
                  </a:cubicBezTo>
                  <a:cubicBezTo>
                    <a:pt x="160" y="68"/>
                    <a:pt x="158" y="68"/>
                    <a:pt x="158" y="67"/>
                  </a:cubicBezTo>
                  <a:cubicBezTo>
                    <a:pt x="158" y="67"/>
                    <a:pt x="157" y="66"/>
                    <a:pt x="157" y="66"/>
                  </a:cubicBezTo>
                  <a:cubicBezTo>
                    <a:pt x="156" y="65"/>
                    <a:pt x="155" y="65"/>
                    <a:pt x="154" y="65"/>
                  </a:cubicBezTo>
                  <a:cubicBezTo>
                    <a:pt x="154" y="65"/>
                    <a:pt x="153" y="67"/>
                    <a:pt x="153" y="68"/>
                  </a:cubicBezTo>
                  <a:cubicBezTo>
                    <a:pt x="153" y="69"/>
                    <a:pt x="152" y="70"/>
                    <a:pt x="151" y="70"/>
                  </a:cubicBezTo>
                  <a:cubicBezTo>
                    <a:pt x="151" y="71"/>
                    <a:pt x="152" y="72"/>
                    <a:pt x="153" y="72"/>
                  </a:cubicBezTo>
                  <a:cubicBezTo>
                    <a:pt x="153" y="72"/>
                    <a:pt x="154" y="71"/>
                    <a:pt x="154" y="71"/>
                  </a:cubicBezTo>
                  <a:close/>
                  <a:moveTo>
                    <a:pt x="151" y="78"/>
                  </a:moveTo>
                  <a:cubicBezTo>
                    <a:pt x="151" y="78"/>
                    <a:pt x="151" y="78"/>
                    <a:pt x="151" y="78"/>
                  </a:cubicBezTo>
                  <a:cubicBezTo>
                    <a:pt x="151" y="78"/>
                    <a:pt x="149" y="76"/>
                    <a:pt x="149" y="76"/>
                  </a:cubicBezTo>
                  <a:cubicBezTo>
                    <a:pt x="149" y="76"/>
                    <a:pt x="151" y="75"/>
                    <a:pt x="151" y="75"/>
                  </a:cubicBezTo>
                  <a:cubicBezTo>
                    <a:pt x="151" y="75"/>
                    <a:pt x="151" y="74"/>
                    <a:pt x="152" y="74"/>
                  </a:cubicBezTo>
                  <a:cubicBezTo>
                    <a:pt x="154" y="74"/>
                    <a:pt x="154" y="75"/>
                    <a:pt x="154" y="75"/>
                  </a:cubicBezTo>
                  <a:cubicBezTo>
                    <a:pt x="154" y="75"/>
                    <a:pt x="155" y="77"/>
                    <a:pt x="155" y="77"/>
                  </a:cubicBezTo>
                  <a:cubicBezTo>
                    <a:pt x="155" y="78"/>
                    <a:pt x="155" y="78"/>
                    <a:pt x="155" y="79"/>
                  </a:cubicBezTo>
                  <a:cubicBezTo>
                    <a:pt x="155" y="79"/>
                    <a:pt x="156" y="80"/>
                    <a:pt x="154" y="80"/>
                  </a:cubicBezTo>
                  <a:cubicBezTo>
                    <a:pt x="153" y="80"/>
                    <a:pt x="152" y="80"/>
                    <a:pt x="152" y="80"/>
                  </a:cubicBezTo>
                  <a:lnTo>
                    <a:pt x="151" y="78"/>
                  </a:ln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 name="Rectangle 76"/>
            <p:cNvSpPr>
              <a:spLocks noChangeArrowheads="1"/>
            </p:cNvSpPr>
            <p:nvPr/>
          </p:nvSpPr>
          <p:spPr bwMode="auto">
            <a:xfrm>
              <a:off x="4006708" y="3714299"/>
              <a:ext cx="1444" cy="1362"/>
            </a:xfrm>
            <a:prstGeom prst="rect">
              <a:avLst/>
            </a:pr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 name="Rectangle 77"/>
            <p:cNvSpPr>
              <a:spLocks noChangeArrowheads="1"/>
            </p:cNvSpPr>
            <p:nvPr/>
          </p:nvSpPr>
          <p:spPr bwMode="auto">
            <a:xfrm>
              <a:off x="4015373" y="3703406"/>
              <a:ext cx="1444" cy="1362"/>
            </a:xfrm>
            <a:prstGeom prst="rect">
              <a:avLst/>
            </a:pr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 name="Freeform 78"/>
            <p:cNvSpPr>
              <a:spLocks/>
            </p:cNvSpPr>
            <p:nvPr/>
          </p:nvSpPr>
          <p:spPr bwMode="auto">
            <a:xfrm>
              <a:off x="3989379" y="363260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 name="Freeform 79"/>
            <p:cNvSpPr>
              <a:spLocks/>
            </p:cNvSpPr>
            <p:nvPr/>
          </p:nvSpPr>
          <p:spPr bwMode="auto">
            <a:xfrm>
              <a:off x="3989379" y="362988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 name="Rectangle 80"/>
            <p:cNvSpPr>
              <a:spLocks noChangeArrowheads="1"/>
            </p:cNvSpPr>
            <p:nvPr/>
          </p:nvSpPr>
          <p:spPr bwMode="auto">
            <a:xfrm>
              <a:off x="3977826" y="3618987"/>
              <a:ext cx="1444" cy="1362"/>
            </a:xfrm>
            <a:prstGeom prst="rect">
              <a:avLst/>
            </a:pr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 name="Freeform 81"/>
            <p:cNvSpPr>
              <a:spLocks/>
            </p:cNvSpPr>
            <p:nvPr/>
          </p:nvSpPr>
          <p:spPr bwMode="auto">
            <a:xfrm>
              <a:off x="4003820" y="37714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 name="Rectangle 82"/>
            <p:cNvSpPr>
              <a:spLocks noChangeArrowheads="1"/>
            </p:cNvSpPr>
            <p:nvPr/>
          </p:nvSpPr>
          <p:spPr bwMode="auto">
            <a:xfrm>
              <a:off x="4015373" y="3717022"/>
              <a:ext cx="1444" cy="1362"/>
            </a:xfrm>
            <a:prstGeom prst="rect">
              <a:avLst/>
            </a:pr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 name="Freeform 83"/>
            <p:cNvSpPr>
              <a:spLocks/>
            </p:cNvSpPr>
            <p:nvPr/>
          </p:nvSpPr>
          <p:spPr bwMode="auto">
            <a:xfrm>
              <a:off x="3931613" y="376876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 name="Freeform 84"/>
            <p:cNvSpPr>
              <a:spLocks/>
            </p:cNvSpPr>
            <p:nvPr/>
          </p:nvSpPr>
          <p:spPr bwMode="auto">
            <a:xfrm>
              <a:off x="4110687" y="351822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 name="Freeform 85"/>
            <p:cNvSpPr>
              <a:spLocks/>
            </p:cNvSpPr>
            <p:nvPr/>
          </p:nvSpPr>
          <p:spPr bwMode="auto">
            <a:xfrm>
              <a:off x="3998044" y="37742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 name="Rectangle 86"/>
            <p:cNvSpPr>
              <a:spLocks noChangeArrowheads="1"/>
            </p:cNvSpPr>
            <p:nvPr/>
          </p:nvSpPr>
          <p:spPr bwMode="auto">
            <a:xfrm>
              <a:off x="3888288" y="3812334"/>
              <a:ext cx="1444" cy="1362"/>
            </a:xfrm>
            <a:prstGeom prst="rect">
              <a:avLst/>
            </a:pr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 name="Freeform 87"/>
            <p:cNvSpPr>
              <a:spLocks/>
            </p:cNvSpPr>
            <p:nvPr/>
          </p:nvSpPr>
          <p:spPr bwMode="auto">
            <a:xfrm>
              <a:off x="3917171" y="381505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 name="Freeform 88"/>
            <p:cNvSpPr>
              <a:spLocks/>
            </p:cNvSpPr>
            <p:nvPr/>
          </p:nvSpPr>
          <p:spPr bwMode="auto">
            <a:xfrm>
              <a:off x="3920060" y="381778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 name="Freeform 89"/>
            <p:cNvSpPr>
              <a:spLocks/>
            </p:cNvSpPr>
            <p:nvPr/>
          </p:nvSpPr>
          <p:spPr bwMode="auto">
            <a:xfrm>
              <a:off x="3896953" y="379599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6" name="Freeform 90"/>
            <p:cNvSpPr>
              <a:spLocks/>
            </p:cNvSpPr>
            <p:nvPr/>
          </p:nvSpPr>
          <p:spPr bwMode="auto">
            <a:xfrm>
              <a:off x="3868070" y="3493720"/>
              <a:ext cx="371146" cy="409841"/>
            </a:xfrm>
            <a:custGeom>
              <a:avLst/>
              <a:gdLst>
                <a:gd name="T0" fmla="*/ 93 w 128"/>
                <a:gd name="T1" fmla="*/ 137 h 150"/>
                <a:gd name="T2" fmla="*/ 108 w 128"/>
                <a:gd name="T3" fmla="*/ 137 h 150"/>
                <a:gd name="T4" fmla="*/ 109 w 128"/>
                <a:gd name="T5" fmla="*/ 131 h 150"/>
                <a:gd name="T6" fmla="*/ 122 w 128"/>
                <a:gd name="T7" fmla="*/ 111 h 150"/>
                <a:gd name="T8" fmla="*/ 123 w 128"/>
                <a:gd name="T9" fmla="*/ 91 h 150"/>
                <a:gd name="T10" fmla="*/ 125 w 128"/>
                <a:gd name="T11" fmla="*/ 72 h 150"/>
                <a:gd name="T12" fmla="*/ 113 w 128"/>
                <a:gd name="T13" fmla="*/ 48 h 150"/>
                <a:gd name="T14" fmla="*/ 91 w 128"/>
                <a:gd name="T15" fmla="*/ 49 h 150"/>
                <a:gd name="T16" fmla="*/ 93 w 128"/>
                <a:gd name="T17" fmla="*/ 29 h 150"/>
                <a:gd name="T18" fmla="*/ 113 w 128"/>
                <a:gd name="T19" fmla="*/ 15 h 150"/>
                <a:gd name="T20" fmla="*/ 120 w 128"/>
                <a:gd name="T21" fmla="*/ 5 h 150"/>
                <a:gd name="T22" fmla="*/ 117 w 128"/>
                <a:gd name="T23" fmla="*/ 4 h 150"/>
                <a:gd name="T24" fmla="*/ 109 w 128"/>
                <a:gd name="T25" fmla="*/ 4 h 150"/>
                <a:gd name="T26" fmla="*/ 107 w 128"/>
                <a:gd name="T27" fmla="*/ 13 h 150"/>
                <a:gd name="T28" fmla="*/ 107 w 128"/>
                <a:gd name="T29" fmla="*/ 5 h 150"/>
                <a:gd name="T30" fmla="*/ 98 w 128"/>
                <a:gd name="T31" fmla="*/ 3 h 150"/>
                <a:gd name="T32" fmla="*/ 86 w 128"/>
                <a:gd name="T33" fmla="*/ 8 h 150"/>
                <a:gd name="T34" fmla="*/ 86 w 128"/>
                <a:gd name="T35" fmla="*/ 15 h 150"/>
                <a:gd name="T36" fmla="*/ 80 w 128"/>
                <a:gd name="T37" fmla="*/ 18 h 150"/>
                <a:gd name="T38" fmla="*/ 77 w 128"/>
                <a:gd name="T39" fmla="*/ 24 h 150"/>
                <a:gd name="T40" fmla="*/ 87 w 128"/>
                <a:gd name="T41" fmla="*/ 25 h 150"/>
                <a:gd name="T42" fmla="*/ 73 w 128"/>
                <a:gd name="T43" fmla="*/ 34 h 150"/>
                <a:gd name="T44" fmla="*/ 72 w 128"/>
                <a:gd name="T45" fmla="*/ 41 h 150"/>
                <a:gd name="T46" fmla="*/ 58 w 128"/>
                <a:gd name="T47" fmla="*/ 37 h 150"/>
                <a:gd name="T48" fmla="*/ 49 w 128"/>
                <a:gd name="T49" fmla="*/ 29 h 150"/>
                <a:gd name="T50" fmla="*/ 39 w 128"/>
                <a:gd name="T51" fmla="*/ 28 h 150"/>
                <a:gd name="T52" fmla="*/ 36 w 128"/>
                <a:gd name="T53" fmla="*/ 33 h 150"/>
                <a:gd name="T54" fmla="*/ 37 w 128"/>
                <a:gd name="T55" fmla="*/ 38 h 150"/>
                <a:gd name="T56" fmla="*/ 28 w 128"/>
                <a:gd name="T57" fmla="*/ 39 h 150"/>
                <a:gd name="T58" fmla="*/ 38 w 128"/>
                <a:gd name="T59" fmla="*/ 46 h 150"/>
                <a:gd name="T60" fmla="*/ 36 w 128"/>
                <a:gd name="T61" fmla="*/ 50 h 150"/>
                <a:gd name="T62" fmla="*/ 34 w 128"/>
                <a:gd name="T63" fmla="*/ 57 h 150"/>
                <a:gd name="T64" fmla="*/ 28 w 128"/>
                <a:gd name="T65" fmla="*/ 61 h 150"/>
                <a:gd name="T66" fmla="*/ 28 w 128"/>
                <a:gd name="T67" fmla="*/ 65 h 150"/>
                <a:gd name="T68" fmla="*/ 32 w 128"/>
                <a:gd name="T69" fmla="*/ 70 h 150"/>
                <a:gd name="T70" fmla="*/ 36 w 128"/>
                <a:gd name="T71" fmla="*/ 72 h 150"/>
                <a:gd name="T72" fmla="*/ 37 w 128"/>
                <a:gd name="T73" fmla="*/ 74 h 150"/>
                <a:gd name="T74" fmla="*/ 51 w 128"/>
                <a:gd name="T75" fmla="*/ 77 h 150"/>
                <a:gd name="T76" fmla="*/ 51 w 128"/>
                <a:gd name="T77" fmla="*/ 82 h 150"/>
                <a:gd name="T78" fmla="*/ 39 w 128"/>
                <a:gd name="T79" fmla="*/ 85 h 150"/>
                <a:gd name="T80" fmla="*/ 29 w 128"/>
                <a:gd name="T81" fmla="*/ 95 h 150"/>
                <a:gd name="T82" fmla="*/ 23 w 128"/>
                <a:gd name="T83" fmla="*/ 101 h 150"/>
                <a:gd name="T84" fmla="*/ 35 w 128"/>
                <a:gd name="T85" fmla="*/ 102 h 150"/>
                <a:gd name="T86" fmla="*/ 46 w 128"/>
                <a:gd name="T87" fmla="*/ 99 h 150"/>
                <a:gd name="T88" fmla="*/ 34 w 128"/>
                <a:gd name="T89" fmla="*/ 104 h 150"/>
                <a:gd name="T90" fmla="*/ 24 w 128"/>
                <a:gd name="T91" fmla="*/ 106 h 150"/>
                <a:gd name="T92" fmla="*/ 19 w 128"/>
                <a:gd name="T93" fmla="*/ 114 h 150"/>
                <a:gd name="T94" fmla="*/ 13 w 128"/>
                <a:gd name="T95" fmla="*/ 111 h 150"/>
                <a:gd name="T96" fmla="*/ 5 w 128"/>
                <a:gd name="T97" fmla="*/ 111 h 150"/>
                <a:gd name="T98" fmla="*/ 8 w 128"/>
                <a:gd name="T99" fmla="*/ 117 h 150"/>
                <a:gd name="T100" fmla="*/ 19 w 128"/>
                <a:gd name="T101" fmla="*/ 118 h 150"/>
                <a:gd name="T102" fmla="*/ 8 w 128"/>
                <a:gd name="T103" fmla="*/ 121 h 150"/>
                <a:gd name="T104" fmla="*/ 0 w 128"/>
                <a:gd name="T105" fmla="*/ 128 h 150"/>
                <a:gd name="T106" fmla="*/ 4 w 128"/>
                <a:gd name="T107" fmla="*/ 132 h 150"/>
                <a:gd name="T108" fmla="*/ 16 w 128"/>
                <a:gd name="T109" fmla="*/ 131 h 150"/>
                <a:gd name="T110" fmla="*/ 5 w 128"/>
                <a:gd name="T111" fmla="*/ 137 h 150"/>
                <a:gd name="T112" fmla="*/ 15 w 128"/>
                <a:gd name="T113" fmla="*/ 139 h 150"/>
                <a:gd name="T114" fmla="*/ 11 w 128"/>
                <a:gd name="T115" fmla="*/ 143 h 150"/>
                <a:gd name="T116" fmla="*/ 16 w 128"/>
                <a:gd name="T117" fmla="*/ 144 h 150"/>
                <a:gd name="T118" fmla="*/ 23 w 128"/>
                <a:gd name="T119" fmla="*/ 149 h 150"/>
                <a:gd name="T120" fmla="*/ 46 w 128"/>
                <a:gd name="T121" fmla="*/ 146 h 150"/>
                <a:gd name="T122" fmla="*/ 56 w 128"/>
                <a:gd name="T123" fmla="*/ 144 h 150"/>
                <a:gd name="T124" fmla="*/ 75 w 128"/>
                <a:gd name="T125"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8" h="150">
                  <a:moveTo>
                    <a:pt x="75" y="138"/>
                  </a:moveTo>
                  <a:cubicBezTo>
                    <a:pt x="74" y="138"/>
                    <a:pt x="74" y="138"/>
                    <a:pt x="74" y="138"/>
                  </a:cubicBezTo>
                  <a:cubicBezTo>
                    <a:pt x="74" y="136"/>
                    <a:pt x="74" y="136"/>
                    <a:pt x="74" y="136"/>
                  </a:cubicBezTo>
                  <a:cubicBezTo>
                    <a:pt x="80" y="136"/>
                    <a:pt x="80" y="136"/>
                    <a:pt x="80" y="136"/>
                  </a:cubicBezTo>
                  <a:cubicBezTo>
                    <a:pt x="82" y="136"/>
                    <a:pt x="82" y="136"/>
                    <a:pt x="82" y="136"/>
                  </a:cubicBezTo>
                  <a:cubicBezTo>
                    <a:pt x="82" y="136"/>
                    <a:pt x="85" y="136"/>
                    <a:pt x="87" y="136"/>
                  </a:cubicBezTo>
                  <a:cubicBezTo>
                    <a:pt x="90" y="137"/>
                    <a:pt x="90" y="137"/>
                    <a:pt x="90" y="137"/>
                  </a:cubicBezTo>
                  <a:cubicBezTo>
                    <a:pt x="90" y="137"/>
                    <a:pt x="90" y="136"/>
                    <a:pt x="90" y="135"/>
                  </a:cubicBezTo>
                  <a:cubicBezTo>
                    <a:pt x="93" y="135"/>
                    <a:pt x="93" y="135"/>
                    <a:pt x="93" y="135"/>
                  </a:cubicBezTo>
                  <a:cubicBezTo>
                    <a:pt x="93" y="137"/>
                    <a:pt x="93" y="137"/>
                    <a:pt x="93" y="137"/>
                  </a:cubicBezTo>
                  <a:cubicBezTo>
                    <a:pt x="93" y="137"/>
                    <a:pt x="94" y="137"/>
                    <a:pt x="94" y="137"/>
                  </a:cubicBezTo>
                  <a:cubicBezTo>
                    <a:pt x="94" y="137"/>
                    <a:pt x="95" y="137"/>
                    <a:pt x="95" y="137"/>
                  </a:cubicBezTo>
                  <a:cubicBezTo>
                    <a:pt x="96" y="135"/>
                    <a:pt x="96" y="135"/>
                    <a:pt x="96" y="135"/>
                  </a:cubicBezTo>
                  <a:cubicBezTo>
                    <a:pt x="96" y="135"/>
                    <a:pt x="98" y="136"/>
                    <a:pt x="99" y="136"/>
                  </a:cubicBezTo>
                  <a:cubicBezTo>
                    <a:pt x="100" y="136"/>
                    <a:pt x="101" y="138"/>
                    <a:pt x="101" y="138"/>
                  </a:cubicBezTo>
                  <a:cubicBezTo>
                    <a:pt x="104" y="138"/>
                    <a:pt x="104" y="138"/>
                    <a:pt x="104" y="138"/>
                  </a:cubicBezTo>
                  <a:cubicBezTo>
                    <a:pt x="104" y="138"/>
                    <a:pt x="105" y="139"/>
                    <a:pt x="105" y="139"/>
                  </a:cubicBezTo>
                  <a:cubicBezTo>
                    <a:pt x="106" y="139"/>
                    <a:pt x="106" y="139"/>
                    <a:pt x="106" y="139"/>
                  </a:cubicBezTo>
                  <a:cubicBezTo>
                    <a:pt x="107" y="139"/>
                    <a:pt x="107" y="139"/>
                    <a:pt x="107" y="139"/>
                  </a:cubicBezTo>
                  <a:cubicBezTo>
                    <a:pt x="108" y="137"/>
                    <a:pt x="108" y="137"/>
                    <a:pt x="108" y="137"/>
                  </a:cubicBezTo>
                  <a:cubicBezTo>
                    <a:pt x="108" y="137"/>
                    <a:pt x="108" y="136"/>
                    <a:pt x="108" y="135"/>
                  </a:cubicBezTo>
                  <a:cubicBezTo>
                    <a:pt x="108" y="135"/>
                    <a:pt x="107" y="135"/>
                    <a:pt x="106" y="134"/>
                  </a:cubicBezTo>
                  <a:cubicBezTo>
                    <a:pt x="106" y="134"/>
                    <a:pt x="105" y="133"/>
                    <a:pt x="105" y="133"/>
                  </a:cubicBezTo>
                  <a:cubicBezTo>
                    <a:pt x="105" y="131"/>
                    <a:pt x="105" y="131"/>
                    <a:pt x="105" y="131"/>
                  </a:cubicBezTo>
                  <a:cubicBezTo>
                    <a:pt x="105" y="131"/>
                    <a:pt x="105" y="131"/>
                    <a:pt x="106" y="131"/>
                  </a:cubicBezTo>
                  <a:cubicBezTo>
                    <a:pt x="105" y="131"/>
                    <a:pt x="105" y="131"/>
                    <a:pt x="105" y="131"/>
                  </a:cubicBezTo>
                  <a:cubicBezTo>
                    <a:pt x="105" y="131"/>
                    <a:pt x="106" y="131"/>
                    <a:pt x="106" y="131"/>
                  </a:cubicBezTo>
                  <a:cubicBezTo>
                    <a:pt x="106" y="131"/>
                    <a:pt x="107" y="132"/>
                    <a:pt x="107" y="132"/>
                  </a:cubicBezTo>
                  <a:cubicBezTo>
                    <a:pt x="107" y="132"/>
                    <a:pt x="108" y="132"/>
                    <a:pt x="108" y="132"/>
                  </a:cubicBezTo>
                  <a:cubicBezTo>
                    <a:pt x="108" y="132"/>
                    <a:pt x="109" y="131"/>
                    <a:pt x="109" y="131"/>
                  </a:cubicBezTo>
                  <a:cubicBezTo>
                    <a:pt x="110" y="130"/>
                    <a:pt x="110" y="129"/>
                    <a:pt x="110" y="129"/>
                  </a:cubicBezTo>
                  <a:cubicBezTo>
                    <a:pt x="114" y="125"/>
                    <a:pt x="114" y="125"/>
                    <a:pt x="114" y="125"/>
                  </a:cubicBezTo>
                  <a:cubicBezTo>
                    <a:pt x="115" y="124"/>
                    <a:pt x="115" y="124"/>
                    <a:pt x="115" y="124"/>
                  </a:cubicBezTo>
                  <a:cubicBezTo>
                    <a:pt x="115" y="123"/>
                    <a:pt x="115" y="122"/>
                    <a:pt x="115" y="122"/>
                  </a:cubicBezTo>
                  <a:cubicBezTo>
                    <a:pt x="115" y="120"/>
                    <a:pt x="115" y="120"/>
                    <a:pt x="115" y="120"/>
                  </a:cubicBezTo>
                  <a:cubicBezTo>
                    <a:pt x="116" y="119"/>
                    <a:pt x="117" y="118"/>
                    <a:pt x="117" y="118"/>
                  </a:cubicBezTo>
                  <a:cubicBezTo>
                    <a:pt x="118" y="117"/>
                    <a:pt x="118" y="116"/>
                    <a:pt x="118" y="116"/>
                  </a:cubicBezTo>
                  <a:cubicBezTo>
                    <a:pt x="119" y="116"/>
                    <a:pt x="119" y="115"/>
                    <a:pt x="119" y="115"/>
                  </a:cubicBezTo>
                  <a:cubicBezTo>
                    <a:pt x="119" y="114"/>
                    <a:pt x="120" y="113"/>
                    <a:pt x="121" y="113"/>
                  </a:cubicBezTo>
                  <a:cubicBezTo>
                    <a:pt x="122" y="111"/>
                    <a:pt x="122" y="111"/>
                    <a:pt x="122" y="111"/>
                  </a:cubicBezTo>
                  <a:cubicBezTo>
                    <a:pt x="124" y="109"/>
                    <a:pt x="124" y="109"/>
                    <a:pt x="124" y="109"/>
                  </a:cubicBezTo>
                  <a:cubicBezTo>
                    <a:pt x="123" y="108"/>
                    <a:pt x="123" y="108"/>
                    <a:pt x="123" y="108"/>
                  </a:cubicBezTo>
                  <a:cubicBezTo>
                    <a:pt x="124" y="106"/>
                    <a:pt x="124" y="106"/>
                    <a:pt x="124" y="106"/>
                  </a:cubicBezTo>
                  <a:cubicBezTo>
                    <a:pt x="124" y="103"/>
                    <a:pt x="124" y="103"/>
                    <a:pt x="124" y="103"/>
                  </a:cubicBezTo>
                  <a:cubicBezTo>
                    <a:pt x="124" y="102"/>
                    <a:pt x="124" y="101"/>
                    <a:pt x="124" y="101"/>
                  </a:cubicBezTo>
                  <a:cubicBezTo>
                    <a:pt x="124" y="101"/>
                    <a:pt x="123" y="101"/>
                    <a:pt x="124" y="97"/>
                  </a:cubicBezTo>
                  <a:cubicBezTo>
                    <a:pt x="124" y="97"/>
                    <a:pt x="124" y="96"/>
                    <a:pt x="125" y="95"/>
                  </a:cubicBezTo>
                  <a:cubicBezTo>
                    <a:pt x="125" y="95"/>
                    <a:pt x="124" y="95"/>
                    <a:pt x="124" y="94"/>
                  </a:cubicBezTo>
                  <a:cubicBezTo>
                    <a:pt x="124" y="94"/>
                    <a:pt x="123" y="93"/>
                    <a:pt x="123" y="92"/>
                  </a:cubicBezTo>
                  <a:cubicBezTo>
                    <a:pt x="123" y="92"/>
                    <a:pt x="123" y="91"/>
                    <a:pt x="123" y="91"/>
                  </a:cubicBezTo>
                  <a:cubicBezTo>
                    <a:pt x="126" y="91"/>
                    <a:pt x="126" y="91"/>
                    <a:pt x="126" y="91"/>
                  </a:cubicBezTo>
                  <a:cubicBezTo>
                    <a:pt x="126" y="91"/>
                    <a:pt x="125" y="91"/>
                    <a:pt x="125" y="91"/>
                  </a:cubicBezTo>
                  <a:cubicBezTo>
                    <a:pt x="125" y="88"/>
                    <a:pt x="125" y="88"/>
                    <a:pt x="125" y="88"/>
                  </a:cubicBezTo>
                  <a:cubicBezTo>
                    <a:pt x="126" y="87"/>
                    <a:pt x="126" y="87"/>
                    <a:pt x="126" y="87"/>
                  </a:cubicBezTo>
                  <a:cubicBezTo>
                    <a:pt x="128" y="83"/>
                    <a:pt x="128" y="83"/>
                    <a:pt x="128" y="83"/>
                  </a:cubicBezTo>
                  <a:cubicBezTo>
                    <a:pt x="126" y="82"/>
                    <a:pt x="126" y="82"/>
                    <a:pt x="126" y="82"/>
                  </a:cubicBezTo>
                  <a:cubicBezTo>
                    <a:pt x="126" y="82"/>
                    <a:pt x="125" y="80"/>
                    <a:pt x="125" y="80"/>
                  </a:cubicBezTo>
                  <a:cubicBezTo>
                    <a:pt x="125" y="79"/>
                    <a:pt x="124" y="78"/>
                    <a:pt x="124" y="78"/>
                  </a:cubicBezTo>
                  <a:cubicBezTo>
                    <a:pt x="125" y="75"/>
                    <a:pt x="125" y="75"/>
                    <a:pt x="125" y="75"/>
                  </a:cubicBezTo>
                  <a:cubicBezTo>
                    <a:pt x="125" y="72"/>
                    <a:pt x="125" y="72"/>
                    <a:pt x="125" y="72"/>
                  </a:cubicBezTo>
                  <a:cubicBezTo>
                    <a:pt x="126" y="70"/>
                    <a:pt x="126" y="70"/>
                    <a:pt x="126" y="70"/>
                  </a:cubicBezTo>
                  <a:cubicBezTo>
                    <a:pt x="123" y="67"/>
                    <a:pt x="123" y="67"/>
                    <a:pt x="123" y="67"/>
                  </a:cubicBezTo>
                  <a:cubicBezTo>
                    <a:pt x="126" y="63"/>
                    <a:pt x="126" y="63"/>
                    <a:pt x="126" y="63"/>
                  </a:cubicBezTo>
                  <a:cubicBezTo>
                    <a:pt x="128" y="64"/>
                    <a:pt x="128" y="64"/>
                    <a:pt x="128" y="64"/>
                  </a:cubicBezTo>
                  <a:cubicBezTo>
                    <a:pt x="126" y="62"/>
                    <a:pt x="126" y="62"/>
                    <a:pt x="126" y="62"/>
                  </a:cubicBezTo>
                  <a:cubicBezTo>
                    <a:pt x="126" y="63"/>
                    <a:pt x="125" y="63"/>
                    <a:pt x="124" y="63"/>
                  </a:cubicBezTo>
                  <a:cubicBezTo>
                    <a:pt x="118" y="61"/>
                    <a:pt x="118" y="61"/>
                    <a:pt x="118" y="61"/>
                  </a:cubicBezTo>
                  <a:cubicBezTo>
                    <a:pt x="117" y="56"/>
                    <a:pt x="117" y="56"/>
                    <a:pt x="117" y="56"/>
                  </a:cubicBezTo>
                  <a:cubicBezTo>
                    <a:pt x="112" y="52"/>
                    <a:pt x="112" y="52"/>
                    <a:pt x="112" y="52"/>
                  </a:cubicBezTo>
                  <a:cubicBezTo>
                    <a:pt x="113" y="48"/>
                    <a:pt x="113" y="48"/>
                    <a:pt x="113" y="48"/>
                  </a:cubicBezTo>
                  <a:cubicBezTo>
                    <a:pt x="112" y="45"/>
                    <a:pt x="112" y="45"/>
                    <a:pt x="112" y="45"/>
                  </a:cubicBezTo>
                  <a:cubicBezTo>
                    <a:pt x="110" y="46"/>
                    <a:pt x="110" y="46"/>
                    <a:pt x="110" y="46"/>
                  </a:cubicBezTo>
                  <a:cubicBezTo>
                    <a:pt x="109" y="47"/>
                    <a:pt x="109" y="47"/>
                    <a:pt x="109" y="47"/>
                  </a:cubicBezTo>
                  <a:cubicBezTo>
                    <a:pt x="110" y="48"/>
                    <a:pt x="110" y="49"/>
                    <a:pt x="109" y="50"/>
                  </a:cubicBezTo>
                  <a:cubicBezTo>
                    <a:pt x="109" y="51"/>
                    <a:pt x="108" y="52"/>
                    <a:pt x="107" y="52"/>
                  </a:cubicBezTo>
                  <a:cubicBezTo>
                    <a:pt x="105" y="53"/>
                    <a:pt x="102" y="53"/>
                    <a:pt x="102" y="53"/>
                  </a:cubicBezTo>
                  <a:cubicBezTo>
                    <a:pt x="102" y="53"/>
                    <a:pt x="99" y="54"/>
                    <a:pt x="98" y="54"/>
                  </a:cubicBezTo>
                  <a:cubicBezTo>
                    <a:pt x="96" y="54"/>
                    <a:pt x="95" y="52"/>
                    <a:pt x="93" y="49"/>
                  </a:cubicBezTo>
                  <a:cubicBezTo>
                    <a:pt x="92" y="49"/>
                    <a:pt x="92" y="49"/>
                    <a:pt x="92" y="49"/>
                  </a:cubicBezTo>
                  <a:cubicBezTo>
                    <a:pt x="91" y="49"/>
                    <a:pt x="91" y="49"/>
                    <a:pt x="91" y="49"/>
                  </a:cubicBezTo>
                  <a:cubicBezTo>
                    <a:pt x="91" y="49"/>
                    <a:pt x="91" y="49"/>
                    <a:pt x="91" y="49"/>
                  </a:cubicBezTo>
                  <a:cubicBezTo>
                    <a:pt x="90" y="49"/>
                    <a:pt x="88" y="49"/>
                    <a:pt x="88" y="46"/>
                  </a:cubicBezTo>
                  <a:cubicBezTo>
                    <a:pt x="88" y="45"/>
                    <a:pt x="88" y="43"/>
                    <a:pt x="88" y="43"/>
                  </a:cubicBezTo>
                  <a:cubicBezTo>
                    <a:pt x="88" y="43"/>
                    <a:pt x="88" y="43"/>
                    <a:pt x="88" y="43"/>
                  </a:cubicBezTo>
                  <a:cubicBezTo>
                    <a:pt x="85" y="39"/>
                    <a:pt x="84" y="36"/>
                    <a:pt x="84" y="36"/>
                  </a:cubicBezTo>
                  <a:cubicBezTo>
                    <a:pt x="84" y="34"/>
                    <a:pt x="84" y="34"/>
                    <a:pt x="84" y="34"/>
                  </a:cubicBezTo>
                  <a:cubicBezTo>
                    <a:pt x="90" y="30"/>
                    <a:pt x="90" y="30"/>
                    <a:pt x="90" y="30"/>
                  </a:cubicBezTo>
                  <a:cubicBezTo>
                    <a:pt x="91" y="30"/>
                    <a:pt x="91" y="30"/>
                    <a:pt x="91" y="30"/>
                  </a:cubicBezTo>
                  <a:cubicBezTo>
                    <a:pt x="91" y="30"/>
                    <a:pt x="93" y="30"/>
                    <a:pt x="94" y="31"/>
                  </a:cubicBezTo>
                  <a:cubicBezTo>
                    <a:pt x="93" y="30"/>
                    <a:pt x="93" y="29"/>
                    <a:pt x="93" y="29"/>
                  </a:cubicBezTo>
                  <a:cubicBezTo>
                    <a:pt x="92" y="28"/>
                    <a:pt x="91" y="27"/>
                    <a:pt x="92" y="25"/>
                  </a:cubicBezTo>
                  <a:cubicBezTo>
                    <a:pt x="92" y="25"/>
                    <a:pt x="93" y="23"/>
                    <a:pt x="95" y="23"/>
                  </a:cubicBezTo>
                  <a:cubicBezTo>
                    <a:pt x="96" y="23"/>
                    <a:pt x="97" y="23"/>
                    <a:pt x="98" y="23"/>
                  </a:cubicBezTo>
                  <a:cubicBezTo>
                    <a:pt x="98" y="23"/>
                    <a:pt x="99" y="23"/>
                    <a:pt x="100" y="23"/>
                  </a:cubicBezTo>
                  <a:cubicBezTo>
                    <a:pt x="100" y="23"/>
                    <a:pt x="100" y="23"/>
                    <a:pt x="101" y="24"/>
                  </a:cubicBezTo>
                  <a:cubicBezTo>
                    <a:pt x="101" y="23"/>
                    <a:pt x="101" y="23"/>
                    <a:pt x="101" y="23"/>
                  </a:cubicBezTo>
                  <a:cubicBezTo>
                    <a:pt x="101" y="21"/>
                    <a:pt x="103" y="20"/>
                    <a:pt x="104" y="20"/>
                  </a:cubicBezTo>
                  <a:cubicBezTo>
                    <a:pt x="105" y="20"/>
                    <a:pt x="106" y="20"/>
                    <a:pt x="106" y="19"/>
                  </a:cubicBezTo>
                  <a:cubicBezTo>
                    <a:pt x="106" y="17"/>
                    <a:pt x="107" y="14"/>
                    <a:pt x="109" y="14"/>
                  </a:cubicBezTo>
                  <a:cubicBezTo>
                    <a:pt x="110" y="14"/>
                    <a:pt x="112" y="15"/>
                    <a:pt x="113" y="15"/>
                  </a:cubicBezTo>
                  <a:cubicBezTo>
                    <a:pt x="114" y="14"/>
                    <a:pt x="115" y="14"/>
                    <a:pt x="116" y="14"/>
                  </a:cubicBezTo>
                  <a:cubicBezTo>
                    <a:pt x="117" y="14"/>
                    <a:pt x="117" y="14"/>
                    <a:pt x="118" y="14"/>
                  </a:cubicBezTo>
                  <a:cubicBezTo>
                    <a:pt x="118" y="13"/>
                    <a:pt x="118" y="12"/>
                    <a:pt x="119" y="11"/>
                  </a:cubicBezTo>
                  <a:cubicBezTo>
                    <a:pt x="119" y="11"/>
                    <a:pt x="119" y="11"/>
                    <a:pt x="119" y="11"/>
                  </a:cubicBezTo>
                  <a:cubicBezTo>
                    <a:pt x="120" y="10"/>
                    <a:pt x="120" y="10"/>
                    <a:pt x="120" y="10"/>
                  </a:cubicBezTo>
                  <a:cubicBezTo>
                    <a:pt x="121" y="10"/>
                    <a:pt x="121" y="10"/>
                    <a:pt x="122" y="10"/>
                  </a:cubicBezTo>
                  <a:cubicBezTo>
                    <a:pt x="122" y="9"/>
                    <a:pt x="122" y="9"/>
                    <a:pt x="122" y="9"/>
                  </a:cubicBezTo>
                  <a:cubicBezTo>
                    <a:pt x="122" y="9"/>
                    <a:pt x="122" y="8"/>
                    <a:pt x="123" y="8"/>
                  </a:cubicBezTo>
                  <a:cubicBezTo>
                    <a:pt x="121" y="6"/>
                    <a:pt x="121" y="6"/>
                    <a:pt x="121" y="6"/>
                  </a:cubicBezTo>
                  <a:cubicBezTo>
                    <a:pt x="121" y="6"/>
                    <a:pt x="120" y="5"/>
                    <a:pt x="120" y="5"/>
                  </a:cubicBezTo>
                  <a:cubicBezTo>
                    <a:pt x="120" y="5"/>
                    <a:pt x="119" y="5"/>
                    <a:pt x="119" y="4"/>
                  </a:cubicBezTo>
                  <a:cubicBezTo>
                    <a:pt x="119" y="4"/>
                    <a:pt x="118" y="3"/>
                    <a:pt x="118" y="3"/>
                  </a:cubicBezTo>
                  <a:cubicBezTo>
                    <a:pt x="118" y="3"/>
                    <a:pt x="118" y="2"/>
                    <a:pt x="118" y="2"/>
                  </a:cubicBezTo>
                  <a:cubicBezTo>
                    <a:pt x="118" y="2"/>
                    <a:pt x="117" y="1"/>
                    <a:pt x="116" y="0"/>
                  </a:cubicBezTo>
                  <a:cubicBezTo>
                    <a:pt x="115" y="0"/>
                    <a:pt x="115" y="0"/>
                    <a:pt x="115" y="0"/>
                  </a:cubicBezTo>
                  <a:cubicBezTo>
                    <a:pt x="114" y="0"/>
                    <a:pt x="114" y="1"/>
                    <a:pt x="114" y="1"/>
                  </a:cubicBezTo>
                  <a:cubicBezTo>
                    <a:pt x="114" y="1"/>
                    <a:pt x="114" y="1"/>
                    <a:pt x="115" y="1"/>
                  </a:cubicBezTo>
                  <a:cubicBezTo>
                    <a:pt x="115" y="2"/>
                    <a:pt x="115" y="2"/>
                    <a:pt x="115" y="2"/>
                  </a:cubicBezTo>
                  <a:cubicBezTo>
                    <a:pt x="116" y="2"/>
                    <a:pt x="116" y="3"/>
                    <a:pt x="116" y="3"/>
                  </a:cubicBezTo>
                  <a:cubicBezTo>
                    <a:pt x="116" y="3"/>
                    <a:pt x="117" y="4"/>
                    <a:pt x="117" y="4"/>
                  </a:cubicBezTo>
                  <a:cubicBezTo>
                    <a:pt x="117" y="4"/>
                    <a:pt x="116" y="4"/>
                    <a:pt x="116" y="4"/>
                  </a:cubicBezTo>
                  <a:cubicBezTo>
                    <a:pt x="116" y="4"/>
                    <a:pt x="115" y="4"/>
                    <a:pt x="115" y="4"/>
                  </a:cubicBezTo>
                  <a:cubicBezTo>
                    <a:pt x="115" y="4"/>
                    <a:pt x="114" y="4"/>
                    <a:pt x="114" y="4"/>
                  </a:cubicBezTo>
                  <a:cubicBezTo>
                    <a:pt x="115" y="3"/>
                    <a:pt x="115" y="3"/>
                    <a:pt x="115" y="3"/>
                  </a:cubicBezTo>
                  <a:cubicBezTo>
                    <a:pt x="114" y="3"/>
                    <a:pt x="114" y="3"/>
                    <a:pt x="114" y="3"/>
                  </a:cubicBezTo>
                  <a:cubicBezTo>
                    <a:pt x="114" y="3"/>
                    <a:pt x="114" y="2"/>
                    <a:pt x="113" y="2"/>
                  </a:cubicBezTo>
                  <a:cubicBezTo>
                    <a:pt x="113" y="2"/>
                    <a:pt x="113" y="2"/>
                    <a:pt x="113" y="2"/>
                  </a:cubicBezTo>
                  <a:cubicBezTo>
                    <a:pt x="112" y="2"/>
                    <a:pt x="111" y="2"/>
                    <a:pt x="110" y="2"/>
                  </a:cubicBezTo>
                  <a:cubicBezTo>
                    <a:pt x="110" y="2"/>
                    <a:pt x="110" y="3"/>
                    <a:pt x="110" y="3"/>
                  </a:cubicBezTo>
                  <a:cubicBezTo>
                    <a:pt x="109" y="4"/>
                    <a:pt x="109" y="4"/>
                    <a:pt x="109" y="4"/>
                  </a:cubicBezTo>
                  <a:cubicBezTo>
                    <a:pt x="109" y="5"/>
                    <a:pt x="109" y="5"/>
                    <a:pt x="109" y="5"/>
                  </a:cubicBezTo>
                  <a:cubicBezTo>
                    <a:pt x="109" y="6"/>
                    <a:pt x="109" y="7"/>
                    <a:pt x="109" y="7"/>
                  </a:cubicBezTo>
                  <a:cubicBezTo>
                    <a:pt x="109" y="7"/>
                    <a:pt x="110" y="8"/>
                    <a:pt x="110" y="8"/>
                  </a:cubicBezTo>
                  <a:cubicBezTo>
                    <a:pt x="111" y="9"/>
                    <a:pt x="109" y="10"/>
                    <a:pt x="109" y="10"/>
                  </a:cubicBezTo>
                  <a:cubicBezTo>
                    <a:pt x="108" y="11"/>
                    <a:pt x="108" y="11"/>
                    <a:pt x="108" y="11"/>
                  </a:cubicBezTo>
                  <a:cubicBezTo>
                    <a:pt x="108" y="11"/>
                    <a:pt x="108" y="11"/>
                    <a:pt x="108" y="11"/>
                  </a:cubicBezTo>
                  <a:cubicBezTo>
                    <a:pt x="109" y="11"/>
                    <a:pt x="109" y="11"/>
                    <a:pt x="109" y="11"/>
                  </a:cubicBezTo>
                  <a:cubicBezTo>
                    <a:pt x="109" y="12"/>
                    <a:pt x="108" y="12"/>
                    <a:pt x="108" y="12"/>
                  </a:cubicBezTo>
                  <a:cubicBezTo>
                    <a:pt x="107" y="12"/>
                    <a:pt x="107" y="12"/>
                    <a:pt x="107" y="12"/>
                  </a:cubicBezTo>
                  <a:cubicBezTo>
                    <a:pt x="107" y="13"/>
                    <a:pt x="107" y="13"/>
                    <a:pt x="107" y="13"/>
                  </a:cubicBezTo>
                  <a:cubicBezTo>
                    <a:pt x="106" y="12"/>
                    <a:pt x="106" y="12"/>
                    <a:pt x="106" y="12"/>
                  </a:cubicBezTo>
                  <a:cubicBezTo>
                    <a:pt x="106" y="13"/>
                    <a:pt x="106" y="13"/>
                    <a:pt x="106" y="13"/>
                  </a:cubicBezTo>
                  <a:cubicBezTo>
                    <a:pt x="106" y="12"/>
                    <a:pt x="106" y="12"/>
                    <a:pt x="106" y="12"/>
                  </a:cubicBezTo>
                  <a:cubicBezTo>
                    <a:pt x="107" y="11"/>
                    <a:pt x="107" y="11"/>
                    <a:pt x="107" y="11"/>
                  </a:cubicBezTo>
                  <a:cubicBezTo>
                    <a:pt x="107" y="11"/>
                    <a:pt x="107" y="10"/>
                    <a:pt x="107" y="10"/>
                  </a:cubicBezTo>
                  <a:cubicBezTo>
                    <a:pt x="107" y="10"/>
                    <a:pt x="107" y="9"/>
                    <a:pt x="108" y="9"/>
                  </a:cubicBezTo>
                  <a:cubicBezTo>
                    <a:pt x="108" y="8"/>
                    <a:pt x="108" y="8"/>
                    <a:pt x="108" y="8"/>
                  </a:cubicBezTo>
                  <a:cubicBezTo>
                    <a:pt x="108" y="8"/>
                    <a:pt x="107" y="7"/>
                    <a:pt x="107" y="7"/>
                  </a:cubicBezTo>
                  <a:cubicBezTo>
                    <a:pt x="107" y="7"/>
                    <a:pt x="107" y="7"/>
                    <a:pt x="107" y="6"/>
                  </a:cubicBezTo>
                  <a:cubicBezTo>
                    <a:pt x="107" y="6"/>
                    <a:pt x="107" y="6"/>
                    <a:pt x="107" y="5"/>
                  </a:cubicBezTo>
                  <a:cubicBezTo>
                    <a:pt x="107" y="5"/>
                    <a:pt x="107" y="3"/>
                    <a:pt x="107" y="3"/>
                  </a:cubicBezTo>
                  <a:cubicBezTo>
                    <a:pt x="107" y="2"/>
                    <a:pt x="106" y="2"/>
                    <a:pt x="106" y="2"/>
                  </a:cubicBezTo>
                  <a:cubicBezTo>
                    <a:pt x="106" y="2"/>
                    <a:pt x="106" y="2"/>
                    <a:pt x="105" y="2"/>
                  </a:cubicBezTo>
                  <a:cubicBezTo>
                    <a:pt x="105" y="2"/>
                    <a:pt x="105" y="2"/>
                    <a:pt x="105" y="2"/>
                  </a:cubicBezTo>
                  <a:cubicBezTo>
                    <a:pt x="104" y="3"/>
                    <a:pt x="104" y="3"/>
                    <a:pt x="103" y="3"/>
                  </a:cubicBezTo>
                  <a:cubicBezTo>
                    <a:pt x="102" y="4"/>
                    <a:pt x="102" y="4"/>
                    <a:pt x="102" y="4"/>
                  </a:cubicBezTo>
                  <a:cubicBezTo>
                    <a:pt x="102" y="5"/>
                    <a:pt x="101" y="6"/>
                    <a:pt x="100" y="6"/>
                  </a:cubicBezTo>
                  <a:cubicBezTo>
                    <a:pt x="100" y="6"/>
                    <a:pt x="99" y="5"/>
                    <a:pt x="99" y="4"/>
                  </a:cubicBezTo>
                  <a:cubicBezTo>
                    <a:pt x="99" y="4"/>
                    <a:pt x="98" y="4"/>
                    <a:pt x="98" y="4"/>
                  </a:cubicBezTo>
                  <a:cubicBezTo>
                    <a:pt x="98" y="3"/>
                    <a:pt x="98" y="3"/>
                    <a:pt x="98" y="3"/>
                  </a:cubicBezTo>
                  <a:cubicBezTo>
                    <a:pt x="97" y="3"/>
                    <a:pt x="96" y="3"/>
                    <a:pt x="96" y="3"/>
                  </a:cubicBezTo>
                  <a:cubicBezTo>
                    <a:pt x="95" y="4"/>
                    <a:pt x="95" y="4"/>
                    <a:pt x="95" y="4"/>
                  </a:cubicBezTo>
                  <a:cubicBezTo>
                    <a:pt x="95" y="4"/>
                    <a:pt x="94" y="4"/>
                    <a:pt x="94" y="4"/>
                  </a:cubicBezTo>
                  <a:cubicBezTo>
                    <a:pt x="94" y="4"/>
                    <a:pt x="93" y="3"/>
                    <a:pt x="93" y="3"/>
                  </a:cubicBezTo>
                  <a:cubicBezTo>
                    <a:pt x="92" y="4"/>
                    <a:pt x="92" y="4"/>
                    <a:pt x="92" y="4"/>
                  </a:cubicBezTo>
                  <a:cubicBezTo>
                    <a:pt x="92" y="4"/>
                    <a:pt x="91" y="4"/>
                    <a:pt x="91" y="3"/>
                  </a:cubicBezTo>
                  <a:cubicBezTo>
                    <a:pt x="89" y="4"/>
                    <a:pt x="89" y="4"/>
                    <a:pt x="89" y="4"/>
                  </a:cubicBezTo>
                  <a:cubicBezTo>
                    <a:pt x="89" y="4"/>
                    <a:pt x="89" y="5"/>
                    <a:pt x="88" y="6"/>
                  </a:cubicBezTo>
                  <a:cubicBezTo>
                    <a:pt x="88" y="6"/>
                    <a:pt x="87" y="7"/>
                    <a:pt x="87" y="7"/>
                  </a:cubicBezTo>
                  <a:cubicBezTo>
                    <a:pt x="86" y="7"/>
                    <a:pt x="86" y="7"/>
                    <a:pt x="86" y="8"/>
                  </a:cubicBezTo>
                  <a:cubicBezTo>
                    <a:pt x="85" y="8"/>
                    <a:pt x="85" y="8"/>
                    <a:pt x="85" y="8"/>
                  </a:cubicBezTo>
                  <a:cubicBezTo>
                    <a:pt x="84" y="9"/>
                    <a:pt x="84" y="9"/>
                    <a:pt x="84" y="9"/>
                  </a:cubicBezTo>
                  <a:cubicBezTo>
                    <a:pt x="84" y="9"/>
                    <a:pt x="84" y="9"/>
                    <a:pt x="84" y="9"/>
                  </a:cubicBezTo>
                  <a:cubicBezTo>
                    <a:pt x="84" y="9"/>
                    <a:pt x="84" y="9"/>
                    <a:pt x="84" y="9"/>
                  </a:cubicBezTo>
                  <a:cubicBezTo>
                    <a:pt x="84" y="9"/>
                    <a:pt x="84" y="9"/>
                    <a:pt x="84" y="9"/>
                  </a:cubicBezTo>
                  <a:cubicBezTo>
                    <a:pt x="84" y="9"/>
                    <a:pt x="84" y="10"/>
                    <a:pt x="84" y="11"/>
                  </a:cubicBezTo>
                  <a:cubicBezTo>
                    <a:pt x="84" y="11"/>
                    <a:pt x="84" y="11"/>
                    <a:pt x="83" y="11"/>
                  </a:cubicBezTo>
                  <a:cubicBezTo>
                    <a:pt x="83" y="12"/>
                    <a:pt x="84" y="12"/>
                    <a:pt x="84" y="12"/>
                  </a:cubicBezTo>
                  <a:cubicBezTo>
                    <a:pt x="85" y="13"/>
                    <a:pt x="85" y="13"/>
                    <a:pt x="85" y="14"/>
                  </a:cubicBezTo>
                  <a:cubicBezTo>
                    <a:pt x="86" y="14"/>
                    <a:pt x="86" y="15"/>
                    <a:pt x="86" y="15"/>
                  </a:cubicBezTo>
                  <a:cubicBezTo>
                    <a:pt x="86" y="15"/>
                    <a:pt x="85" y="15"/>
                    <a:pt x="85" y="15"/>
                  </a:cubicBezTo>
                  <a:cubicBezTo>
                    <a:pt x="85" y="15"/>
                    <a:pt x="84" y="15"/>
                    <a:pt x="84" y="15"/>
                  </a:cubicBezTo>
                  <a:cubicBezTo>
                    <a:pt x="82" y="15"/>
                    <a:pt x="82" y="15"/>
                    <a:pt x="82" y="15"/>
                  </a:cubicBezTo>
                  <a:cubicBezTo>
                    <a:pt x="81" y="15"/>
                    <a:pt x="81" y="15"/>
                    <a:pt x="81" y="15"/>
                  </a:cubicBezTo>
                  <a:cubicBezTo>
                    <a:pt x="81" y="15"/>
                    <a:pt x="80" y="15"/>
                    <a:pt x="80" y="15"/>
                  </a:cubicBezTo>
                  <a:cubicBezTo>
                    <a:pt x="80" y="15"/>
                    <a:pt x="81" y="16"/>
                    <a:pt x="82" y="16"/>
                  </a:cubicBezTo>
                  <a:cubicBezTo>
                    <a:pt x="83" y="17"/>
                    <a:pt x="83" y="17"/>
                    <a:pt x="83" y="17"/>
                  </a:cubicBezTo>
                  <a:cubicBezTo>
                    <a:pt x="83" y="17"/>
                    <a:pt x="83" y="17"/>
                    <a:pt x="83" y="18"/>
                  </a:cubicBezTo>
                  <a:cubicBezTo>
                    <a:pt x="83" y="18"/>
                    <a:pt x="82" y="18"/>
                    <a:pt x="81" y="18"/>
                  </a:cubicBezTo>
                  <a:cubicBezTo>
                    <a:pt x="81" y="18"/>
                    <a:pt x="80" y="18"/>
                    <a:pt x="80" y="18"/>
                  </a:cubicBezTo>
                  <a:cubicBezTo>
                    <a:pt x="79" y="18"/>
                    <a:pt x="79" y="18"/>
                    <a:pt x="79" y="18"/>
                  </a:cubicBezTo>
                  <a:cubicBezTo>
                    <a:pt x="79" y="17"/>
                    <a:pt x="78" y="17"/>
                    <a:pt x="77" y="16"/>
                  </a:cubicBezTo>
                  <a:cubicBezTo>
                    <a:pt x="76" y="16"/>
                    <a:pt x="76" y="16"/>
                    <a:pt x="76" y="16"/>
                  </a:cubicBezTo>
                  <a:cubicBezTo>
                    <a:pt x="76" y="17"/>
                    <a:pt x="76" y="17"/>
                    <a:pt x="75" y="18"/>
                  </a:cubicBezTo>
                  <a:cubicBezTo>
                    <a:pt x="75" y="18"/>
                    <a:pt x="75" y="18"/>
                    <a:pt x="75" y="18"/>
                  </a:cubicBezTo>
                  <a:cubicBezTo>
                    <a:pt x="74" y="18"/>
                    <a:pt x="74" y="19"/>
                    <a:pt x="74" y="19"/>
                  </a:cubicBezTo>
                  <a:cubicBezTo>
                    <a:pt x="73" y="20"/>
                    <a:pt x="73" y="20"/>
                    <a:pt x="73" y="20"/>
                  </a:cubicBezTo>
                  <a:cubicBezTo>
                    <a:pt x="73" y="20"/>
                    <a:pt x="73" y="20"/>
                    <a:pt x="73" y="21"/>
                  </a:cubicBezTo>
                  <a:cubicBezTo>
                    <a:pt x="75" y="21"/>
                    <a:pt x="75" y="21"/>
                    <a:pt x="75" y="21"/>
                  </a:cubicBezTo>
                  <a:cubicBezTo>
                    <a:pt x="74" y="21"/>
                    <a:pt x="76" y="23"/>
                    <a:pt x="77" y="24"/>
                  </a:cubicBezTo>
                  <a:cubicBezTo>
                    <a:pt x="78" y="24"/>
                    <a:pt x="78" y="24"/>
                    <a:pt x="78" y="24"/>
                  </a:cubicBezTo>
                  <a:cubicBezTo>
                    <a:pt x="79" y="24"/>
                    <a:pt x="79" y="24"/>
                    <a:pt x="79" y="24"/>
                  </a:cubicBezTo>
                  <a:cubicBezTo>
                    <a:pt x="80" y="25"/>
                    <a:pt x="81" y="25"/>
                    <a:pt x="81" y="26"/>
                  </a:cubicBezTo>
                  <a:cubicBezTo>
                    <a:pt x="81" y="25"/>
                    <a:pt x="82" y="24"/>
                    <a:pt x="83" y="24"/>
                  </a:cubicBezTo>
                  <a:cubicBezTo>
                    <a:pt x="84" y="24"/>
                    <a:pt x="84" y="26"/>
                    <a:pt x="85" y="26"/>
                  </a:cubicBezTo>
                  <a:cubicBezTo>
                    <a:pt x="85" y="26"/>
                    <a:pt x="85" y="26"/>
                    <a:pt x="85" y="26"/>
                  </a:cubicBezTo>
                  <a:cubicBezTo>
                    <a:pt x="87" y="24"/>
                    <a:pt x="87" y="24"/>
                    <a:pt x="87" y="24"/>
                  </a:cubicBezTo>
                  <a:cubicBezTo>
                    <a:pt x="87" y="25"/>
                    <a:pt x="87" y="25"/>
                    <a:pt x="87" y="25"/>
                  </a:cubicBezTo>
                  <a:cubicBezTo>
                    <a:pt x="87" y="25"/>
                    <a:pt x="87" y="25"/>
                    <a:pt x="87" y="25"/>
                  </a:cubicBezTo>
                  <a:cubicBezTo>
                    <a:pt x="87" y="25"/>
                    <a:pt x="87" y="25"/>
                    <a:pt x="87" y="25"/>
                  </a:cubicBezTo>
                  <a:cubicBezTo>
                    <a:pt x="87" y="28"/>
                    <a:pt x="87" y="28"/>
                    <a:pt x="87" y="28"/>
                  </a:cubicBezTo>
                  <a:cubicBezTo>
                    <a:pt x="87" y="28"/>
                    <a:pt x="86" y="29"/>
                    <a:pt x="85" y="29"/>
                  </a:cubicBezTo>
                  <a:cubicBezTo>
                    <a:pt x="85" y="29"/>
                    <a:pt x="85" y="30"/>
                    <a:pt x="85" y="30"/>
                  </a:cubicBezTo>
                  <a:cubicBezTo>
                    <a:pt x="84" y="31"/>
                    <a:pt x="84" y="31"/>
                    <a:pt x="83" y="31"/>
                  </a:cubicBezTo>
                  <a:cubicBezTo>
                    <a:pt x="83" y="31"/>
                    <a:pt x="82" y="31"/>
                    <a:pt x="82" y="31"/>
                  </a:cubicBezTo>
                  <a:cubicBezTo>
                    <a:pt x="82" y="31"/>
                    <a:pt x="81" y="31"/>
                    <a:pt x="80" y="31"/>
                  </a:cubicBezTo>
                  <a:cubicBezTo>
                    <a:pt x="79" y="31"/>
                    <a:pt x="78" y="32"/>
                    <a:pt x="78" y="32"/>
                  </a:cubicBezTo>
                  <a:cubicBezTo>
                    <a:pt x="78" y="32"/>
                    <a:pt x="77" y="33"/>
                    <a:pt x="75" y="33"/>
                  </a:cubicBezTo>
                  <a:cubicBezTo>
                    <a:pt x="74" y="33"/>
                    <a:pt x="74" y="33"/>
                    <a:pt x="73" y="34"/>
                  </a:cubicBezTo>
                  <a:cubicBezTo>
                    <a:pt x="73" y="34"/>
                    <a:pt x="73" y="34"/>
                    <a:pt x="73" y="34"/>
                  </a:cubicBezTo>
                  <a:cubicBezTo>
                    <a:pt x="72" y="35"/>
                    <a:pt x="73" y="35"/>
                    <a:pt x="73" y="35"/>
                  </a:cubicBezTo>
                  <a:cubicBezTo>
                    <a:pt x="74" y="36"/>
                    <a:pt x="74" y="36"/>
                    <a:pt x="74" y="36"/>
                  </a:cubicBezTo>
                  <a:cubicBezTo>
                    <a:pt x="75" y="37"/>
                    <a:pt x="75" y="37"/>
                    <a:pt x="75" y="37"/>
                  </a:cubicBezTo>
                  <a:cubicBezTo>
                    <a:pt x="75" y="37"/>
                    <a:pt x="74" y="38"/>
                    <a:pt x="72" y="38"/>
                  </a:cubicBezTo>
                  <a:cubicBezTo>
                    <a:pt x="72" y="38"/>
                    <a:pt x="72" y="38"/>
                    <a:pt x="73" y="39"/>
                  </a:cubicBezTo>
                  <a:cubicBezTo>
                    <a:pt x="74" y="41"/>
                    <a:pt x="74" y="41"/>
                    <a:pt x="74" y="41"/>
                  </a:cubicBezTo>
                  <a:cubicBezTo>
                    <a:pt x="73" y="41"/>
                    <a:pt x="73" y="41"/>
                    <a:pt x="73" y="41"/>
                  </a:cubicBezTo>
                  <a:cubicBezTo>
                    <a:pt x="73" y="41"/>
                    <a:pt x="73" y="41"/>
                    <a:pt x="73" y="41"/>
                  </a:cubicBezTo>
                  <a:cubicBezTo>
                    <a:pt x="73" y="41"/>
                    <a:pt x="73" y="41"/>
                    <a:pt x="73" y="41"/>
                  </a:cubicBezTo>
                  <a:cubicBezTo>
                    <a:pt x="72" y="41"/>
                    <a:pt x="72" y="41"/>
                    <a:pt x="72" y="41"/>
                  </a:cubicBezTo>
                  <a:cubicBezTo>
                    <a:pt x="70" y="39"/>
                    <a:pt x="70" y="39"/>
                    <a:pt x="70" y="38"/>
                  </a:cubicBezTo>
                  <a:cubicBezTo>
                    <a:pt x="70" y="38"/>
                    <a:pt x="70" y="38"/>
                    <a:pt x="69" y="38"/>
                  </a:cubicBezTo>
                  <a:cubicBezTo>
                    <a:pt x="68" y="37"/>
                    <a:pt x="68" y="37"/>
                    <a:pt x="68" y="37"/>
                  </a:cubicBezTo>
                  <a:cubicBezTo>
                    <a:pt x="66" y="37"/>
                    <a:pt x="66" y="37"/>
                    <a:pt x="66" y="37"/>
                  </a:cubicBezTo>
                  <a:cubicBezTo>
                    <a:pt x="66" y="36"/>
                    <a:pt x="66" y="36"/>
                    <a:pt x="66" y="36"/>
                  </a:cubicBezTo>
                  <a:cubicBezTo>
                    <a:pt x="63" y="35"/>
                    <a:pt x="63" y="35"/>
                    <a:pt x="63" y="35"/>
                  </a:cubicBezTo>
                  <a:cubicBezTo>
                    <a:pt x="63" y="35"/>
                    <a:pt x="62" y="35"/>
                    <a:pt x="62" y="35"/>
                  </a:cubicBezTo>
                  <a:cubicBezTo>
                    <a:pt x="61" y="35"/>
                    <a:pt x="60" y="36"/>
                    <a:pt x="60" y="36"/>
                  </a:cubicBezTo>
                  <a:cubicBezTo>
                    <a:pt x="60" y="36"/>
                    <a:pt x="59" y="37"/>
                    <a:pt x="59" y="37"/>
                  </a:cubicBezTo>
                  <a:cubicBezTo>
                    <a:pt x="59" y="37"/>
                    <a:pt x="58" y="37"/>
                    <a:pt x="58" y="37"/>
                  </a:cubicBezTo>
                  <a:cubicBezTo>
                    <a:pt x="58" y="37"/>
                    <a:pt x="57" y="36"/>
                    <a:pt x="57" y="35"/>
                  </a:cubicBezTo>
                  <a:cubicBezTo>
                    <a:pt x="57" y="35"/>
                    <a:pt x="57" y="35"/>
                    <a:pt x="57" y="35"/>
                  </a:cubicBezTo>
                  <a:cubicBezTo>
                    <a:pt x="57" y="35"/>
                    <a:pt x="57" y="34"/>
                    <a:pt x="56" y="34"/>
                  </a:cubicBezTo>
                  <a:cubicBezTo>
                    <a:pt x="56" y="34"/>
                    <a:pt x="56" y="34"/>
                    <a:pt x="56" y="33"/>
                  </a:cubicBezTo>
                  <a:cubicBezTo>
                    <a:pt x="55" y="32"/>
                    <a:pt x="55" y="32"/>
                    <a:pt x="55" y="32"/>
                  </a:cubicBezTo>
                  <a:cubicBezTo>
                    <a:pt x="55" y="32"/>
                    <a:pt x="54" y="32"/>
                    <a:pt x="53" y="32"/>
                  </a:cubicBezTo>
                  <a:cubicBezTo>
                    <a:pt x="53" y="32"/>
                    <a:pt x="52" y="32"/>
                    <a:pt x="52" y="31"/>
                  </a:cubicBezTo>
                  <a:cubicBezTo>
                    <a:pt x="52" y="31"/>
                    <a:pt x="51" y="31"/>
                    <a:pt x="51" y="31"/>
                  </a:cubicBezTo>
                  <a:cubicBezTo>
                    <a:pt x="51" y="31"/>
                    <a:pt x="50" y="30"/>
                    <a:pt x="50" y="30"/>
                  </a:cubicBezTo>
                  <a:cubicBezTo>
                    <a:pt x="49" y="30"/>
                    <a:pt x="49" y="29"/>
                    <a:pt x="49" y="29"/>
                  </a:cubicBezTo>
                  <a:cubicBezTo>
                    <a:pt x="48" y="30"/>
                    <a:pt x="48" y="30"/>
                    <a:pt x="48" y="30"/>
                  </a:cubicBezTo>
                  <a:cubicBezTo>
                    <a:pt x="47" y="29"/>
                    <a:pt x="47" y="29"/>
                    <a:pt x="46" y="29"/>
                  </a:cubicBezTo>
                  <a:cubicBezTo>
                    <a:pt x="45" y="28"/>
                    <a:pt x="45" y="28"/>
                    <a:pt x="45" y="28"/>
                  </a:cubicBezTo>
                  <a:cubicBezTo>
                    <a:pt x="45" y="28"/>
                    <a:pt x="45" y="28"/>
                    <a:pt x="44" y="27"/>
                  </a:cubicBezTo>
                  <a:cubicBezTo>
                    <a:pt x="44" y="27"/>
                    <a:pt x="43" y="27"/>
                    <a:pt x="43" y="27"/>
                  </a:cubicBezTo>
                  <a:cubicBezTo>
                    <a:pt x="43" y="28"/>
                    <a:pt x="43" y="28"/>
                    <a:pt x="43" y="28"/>
                  </a:cubicBezTo>
                  <a:cubicBezTo>
                    <a:pt x="44" y="29"/>
                    <a:pt x="44" y="30"/>
                    <a:pt x="44" y="30"/>
                  </a:cubicBezTo>
                  <a:cubicBezTo>
                    <a:pt x="43" y="30"/>
                    <a:pt x="42" y="30"/>
                    <a:pt x="41" y="29"/>
                  </a:cubicBezTo>
                  <a:cubicBezTo>
                    <a:pt x="40" y="29"/>
                    <a:pt x="40" y="29"/>
                    <a:pt x="40" y="29"/>
                  </a:cubicBezTo>
                  <a:cubicBezTo>
                    <a:pt x="39" y="28"/>
                    <a:pt x="39" y="28"/>
                    <a:pt x="39" y="28"/>
                  </a:cubicBezTo>
                  <a:cubicBezTo>
                    <a:pt x="39" y="28"/>
                    <a:pt x="38" y="28"/>
                    <a:pt x="38" y="28"/>
                  </a:cubicBezTo>
                  <a:cubicBezTo>
                    <a:pt x="38" y="28"/>
                    <a:pt x="37" y="29"/>
                    <a:pt x="37" y="29"/>
                  </a:cubicBezTo>
                  <a:cubicBezTo>
                    <a:pt x="36" y="29"/>
                    <a:pt x="36" y="29"/>
                    <a:pt x="36" y="29"/>
                  </a:cubicBezTo>
                  <a:cubicBezTo>
                    <a:pt x="36" y="31"/>
                    <a:pt x="36" y="31"/>
                    <a:pt x="36" y="31"/>
                  </a:cubicBezTo>
                  <a:cubicBezTo>
                    <a:pt x="36" y="32"/>
                    <a:pt x="36" y="32"/>
                    <a:pt x="35" y="32"/>
                  </a:cubicBezTo>
                  <a:cubicBezTo>
                    <a:pt x="34" y="32"/>
                    <a:pt x="34" y="32"/>
                    <a:pt x="34" y="33"/>
                  </a:cubicBezTo>
                  <a:cubicBezTo>
                    <a:pt x="34" y="33"/>
                    <a:pt x="34" y="34"/>
                    <a:pt x="34" y="34"/>
                  </a:cubicBezTo>
                  <a:cubicBezTo>
                    <a:pt x="34" y="34"/>
                    <a:pt x="34" y="34"/>
                    <a:pt x="34" y="34"/>
                  </a:cubicBezTo>
                  <a:cubicBezTo>
                    <a:pt x="34" y="34"/>
                    <a:pt x="35" y="34"/>
                    <a:pt x="35" y="33"/>
                  </a:cubicBezTo>
                  <a:cubicBezTo>
                    <a:pt x="36" y="33"/>
                    <a:pt x="36" y="33"/>
                    <a:pt x="36" y="33"/>
                  </a:cubicBezTo>
                  <a:cubicBezTo>
                    <a:pt x="35" y="33"/>
                    <a:pt x="35" y="33"/>
                    <a:pt x="35" y="33"/>
                  </a:cubicBezTo>
                  <a:cubicBezTo>
                    <a:pt x="35" y="32"/>
                    <a:pt x="36" y="32"/>
                    <a:pt x="36" y="32"/>
                  </a:cubicBezTo>
                  <a:cubicBezTo>
                    <a:pt x="37" y="32"/>
                    <a:pt x="37" y="32"/>
                    <a:pt x="37" y="32"/>
                  </a:cubicBezTo>
                  <a:cubicBezTo>
                    <a:pt x="37" y="31"/>
                    <a:pt x="38" y="31"/>
                    <a:pt x="38" y="31"/>
                  </a:cubicBezTo>
                  <a:cubicBezTo>
                    <a:pt x="39" y="31"/>
                    <a:pt x="39" y="31"/>
                    <a:pt x="39" y="32"/>
                  </a:cubicBezTo>
                  <a:cubicBezTo>
                    <a:pt x="39" y="32"/>
                    <a:pt x="39" y="33"/>
                    <a:pt x="38" y="33"/>
                  </a:cubicBezTo>
                  <a:cubicBezTo>
                    <a:pt x="39" y="34"/>
                    <a:pt x="39" y="34"/>
                    <a:pt x="39" y="34"/>
                  </a:cubicBezTo>
                  <a:cubicBezTo>
                    <a:pt x="39" y="35"/>
                    <a:pt x="38" y="35"/>
                    <a:pt x="38" y="35"/>
                  </a:cubicBezTo>
                  <a:cubicBezTo>
                    <a:pt x="38" y="35"/>
                    <a:pt x="37" y="36"/>
                    <a:pt x="37" y="36"/>
                  </a:cubicBezTo>
                  <a:cubicBezTo>
                    <a:pt x="37" y="37"/>
                    <a:pt x="37" y="37"/>
                    <a:pt x="37" y="38"/>
                  </a:cubicBezTo>
                  <a:cubicBezTo>
                    <a:pt x="37" y="37"/>
                    <a:pt x="38" y="38"/>
                    <a:pt x="38" y="38"/>
                  </a:cubicBezTo>
                  <a:cubicBezTo>
                    <a:pt x="38" y="38"/>
                    <a:pt x="38" y="38"/>
                    <a:pt x="38" y="39"/>
                  </a:cubicBezTo>
                  <a:cubicBezTo>
                    <a:pt x="38" y="39"/>
                    <a:pt x="38" y="39"/>
                    <a:pt x="38" y="39"/>
                  </a:cubicBezTo>
                  <a:cubicBezTo>
                    <a:pt x="38" y="40"/>
                    <a:pt x="38" y="40"/>
                    <a:pt x="37" y="40"/>
                  </a:cubicBezTo>
                  <a:cubicBezTo>
                    <a:pt x="36" y="40"/>
                    <a:pt x="36" y="40"/>
                    <a:pt x="36" y="40"/>
                  </a:cubicBezTo>
                  <a:cubicBezTo>
                    <a:pt x="36" y="40"/>
                    <a:pt x="36" y="39"/>
                    <a:pt x="35" y="39"/>
                  </a:cubicBezTo>
                  <a:cubicBezTo>
                    <a:pt x="34" y="39"/>
                    <a:pt x="34" y="39"/>
                    <a:pt x="34" y="39"/>
                  </a:cubicBezTo>
                  <a:cubicBezTo>
                    <a:pt x="34" y="39"/>
                    <a:pt x="33" y="39"/>
                    <a:pt x="32" y="39"/>
                  </a:cubicBezTo>
                  <a:cubicBezTo>
                    <a:pt x="31" y="38"/>
                    <a:pt x="30" y="38"/>
                    <a:pt x="29" y="38"/>
                  </a:cubicBezTo>
                  <a:cubicBezTo>
                    <a:pt x="28" y="38"/>
                    <a:pt x="28" y="39"/>
                    <a:pt x="28" y="39"/>
                  </a:cubicBezTo>
                  <a:cubicBezTo>
                    <a:pt x="28" y="39"/>
                    <a:pt x="29" y="39"/>
                    <a:pt x="31" y="40"/>
                  </a:cubicBezTo>
                  <a:cubicBezTo>
                    <a:pt x="31" y="40"/>
                    <a:pt x="32" y="40"/>
                    <a:pt x="32" y="40"/>
                  </a:cubicBezTo>
                  <a:cubicBezTo>
                    <a:pt x="32" y="40"/>
                    <a:pt x="32" y="40"/>
                    <a:pt x="32" y="40"/>
                  </a:cubicBezTo>
                  <a:cubicBezTo>
                    <a:pt x="33" y="40"/>
                    <a:pt x="33" y="40"/>
                    <a:pt x="33" y="41"/>
                  </a:cubicBezTo>
                  <a:cubicBezTo>
                    <a:pt x="33" y="43"/>
                    <a:pt x="33" y="43"/>
                    <a:pt x="33" y="43"/>
                  </a:cubicBezTo>
                  <a:cubicBezTo>
                    <a:pt x="33" y="43"/>
                    <a:pt x="34" y="43"/>
                    <a:pt x="34" y="44"/>
                  </a:cubicBezTo>
                  <a:cubicBezTo>
                    <a:pt x="34" y="45"/>
                    <a:pt x="34" y="45"/>
                    <a:pt x="34" y="45"/>
                  </a:cubicBezTo>
                  <a:cubicBezTo>
                    <a:pt x="35" y="46"/>
                    <a:pt x="35" y="46"/>
                    <a:pt x="36" y="46"/>
                  </a:cubicBezTo>
                  <a:cubicBezTo>
                    <a:pt x="36" y="46"/>
                    <a:pt x="37" y="46"/>
                    <a:pt x="37" y="46"/>
                  </a:cubicBezTo>
                  <a:cubicBezTo>
                    <a:pt x="37" y="46"/>
                    <a:pt x="38" y="46"/>
                    <a:pt x="38" y="46"/>
                  </a:cubicBezTo>
                  <a:cubicBezTo>
                    <a:pt x="39" y="46"/>
                    <a:pt x="39" y="46"/>
                    <a:pt x="39" y="46"/>
                  </a:cubicBezTo>
                  <a:cubicBezTo>
                    <a:pt x="40" y="46"/>
                    <a:pt x="41" y="46"/>
                    <a:pt x="42" y="46"/>
                  </a:cubicBezTo>
                  <a:cubicBezTo>
                    <a:pt x="43" y="46"/>
                    <a:pt x="44" y="47"/>
                    <a:pt x="44" y="47"/>
                  </a:cubicBezTo>
                  <a:cubicBezTo>
                    <a:pt x="44" y="48"/>
                    <a:pt x="43" y="49"/>
                    <a:pt x="43" y="50"/>
                  </a:cubicBezTo>
                  <a:cubicBezTo>
                    <a:pt x="43" y="49"/>
                    <a:pt x="43" y="49"/>
                    <a:pt x="43" y="49"/>
                  </a:cubicBezTo>
                  <a:cubicBezTo>
                    <a:pt x="42" y="50"/>
                    <a:pt x="42" y="50"/>
                    <a:pt x="42" y="50"/>
                  </a:cubicBezTo>
                  <a:cubicBezTo>
                    <a:pt x="42" y="51"/>
                    <a:pt x="42" y="51"/>
                    <a:pt x="42" y="51"/>
                  </a:cubicBezTo>
                  <a:cubicBezTo>
                    <a:pt x="42" y="51"/>
                    <a:pt x="42" y="51"/>
                    <a:pt x="41" y="51"/>
                  </a:cubicBezTo>
                  <a:cubicBezTo>
                    <a:pt x="39" y="51"/>
                    <a:pt x="38" y="51"/>
                    <a:pt x="38" y="51"/>
                  </a:cubicBezTo>
                  <a:cubicBezTo>
                    <a:pt x="36" y="50"/>
                    <a:pt x="36" y="50"/>
                    <a:pt x="36" y="50"/>
                  </a:cubicBezTo>
                  <a:cubicBezTo>
                    <a:pt x="36" y="50"/>
                    <a:pt x="35" y="51"/>
                    <a:pt x="35" y="51"/>
                  </a:cubicBezTo>
                  <a:cubicBezTo>
                    <a:pt x="34" y="52"/>
                    <a:pt x="34" y="52"/>
                    <a:pt x="34" y="52"/>
                  </a:cubicBezTo>
                  <a:cubicBezTo>
                    <a:pt x="34" y="53"/>
                    <a:pt x="34" y="53"/>
                    <a:pt x="34" y="53"/>
                  </a:cubicBezTo>
                  <a:cubicBezTo>
                    <a:pt x="34" y="53"/>
                    <a:pt x="34" y="53"/>
                    <a:pt x="33" y="55"/>
                  </a:cubicBezTo>
                  <a:cubicBezTo>
                    <a:pt x="33" y="55"/>
                    <a:pt x="34" y="55"/>
                    <a:pt x="34" y="55"/>
                  </a:cubicBezTo>
                  <a:cubicBezTo>
                    <a:pt x="34" y="57"/>
                    <a:pt x="34" y="57"/>
                    <a:pt x="34" y="57"/>
                  </a:cubicBezTo>
                  <a:cubicBezTo>
                    <a:pt x="34" y="57"/>
                    <a:pt x="34" y="57"/>
                    <a:pt x="34" y="57"/>
                  </a:cubicBezTo>
                  <a:cubicBezTo>
                    <a:pt x="34" y="57"/>
                    <a:pt x="34" y="57"/>
                    <a:pt x="34" y="57"/>
                  </a:cubicBezTo>
                  <a:cubicBezTo>
                    <a:pt x="34" y="57"/>
                    <a:pt x="34" y="57"/>
                    <a:pt x="34" y="57"/>
                  </a:cubicBezTo>
                  <a:cubicBezTo>
                    <a:pt x="34" y="57"/>
                    <a:pt x="34" y="57"/>
                    <a:pt x="34" y="57"/>
                  </a:cubicBezTo>
                  <a:cubicBezTo>
                    <a:pt x="33" y="58"/>
                    <a:pt x="32" y="57"/>
                    <a:pt x="32" y="57"/>
                  </a:cubicBezTo>
                  <a:cubicBezTo>
                    <a:pt x="32" y="57"/>
                    <a:pt x="32" y="57"/>
                    <a:pt x="31" y="57"/>
                  </a:cubicBezTo>
                  <a:cubicBezTo>
                    <a:pt x="31" y="56"/>
                    <a:pt x="30" y="56"/>
                    <a:pt x="30" y="56"/>
                  </a:cubicBezTo>
                  <a:cubicBezTo>
                    <a:pt x="29" y="58"/>
                    <a:pt x="29" y="58"/>
                    <a:pt x="29" y="58"/>
                  </a:cubicBezTo>
                  <a:cubicBezTo>
                    <a:pt x="28" y="58"/>
                    <a:pt x="28" y="58"/>
                    <a:pt x="28" y="58"/>
                  </a:cubicBezTo>
                  <a:cubicBezTo>
                    <a:pt x="27" y="58"/>
                    <a:pt x="27" y="58"/>
                    <a:pt x="27" y="58"/>
                  </a:cubicBezTo>
                  <a:cubicBezTo>
                    <a:pt x="27" y="58"/>
                    <a:pt x="26" y="58"/>
                    <a:pt x="26" y="58"/>
                  </a:cubicBezTo>
                  <a:cubicBezTo>
                    <a:pt x="26" y="58"/>
                    <a:pt x="26" y="58"/>
                    <a:pt x="26" y="59"/>
                  </a:cubicBezTo>
                  <a:cubicBezTo>
                    <a:pt x="26" y="59"/>
                    <a:pt x="26" y="60"/>
                    <a:pt x="26" y="60"/>
                  </a:cubicBezTo>
                  <a:cubicBezTo>
                    <a:pt x="26" y="60"/>
                    <a:pt x="27" y="60"/>
                    <a:pt x="28" y="61"/>
                  </a:cubicBezTo>
                  <a:cubicBezTo>
                    <a:pt x="28" y="61"/>
                    <a:pt x="28" y="62"/>
                    <a:pt x="28" y="62"/>
                  </a:cubicBezTo>
                  <a:cubicBezTo>
                    <a:pt x="28" y="62"/>
                    <a:pt x="27" y="63"/>
                    <a:pt x="27" y="63"/>
                  </a:cubicBezTo>
                  <a:cubicBezTo>
                    <a:pt x="27" y="63"/>
                    <a:pt x="27" y="63"/>
                    <a:pt x="25" y="61"/>
                  </a:cubicBezTo>
                  <a:cubicBezTo>
                    <a:pt x="25" y="61"/>
                    <a:pt x="25" y="61"/>
                    <a:pt x="25" y="61"/>
                  </a:cubicBezTo>
                  <a:cubicBezTo>
                    <a:pt x="25" y="61"/>
                    <a:pt x="25" y="61"/>
                    <a:pt x="25" y="61"/>
                  </a:cubicBezTo>
                  <a:cubicBezTo>
                    <a:pt x="24" y="61"/>
                    <a:pt x="24" y="62"/>
                    <a:pt x="24" y="62"/>
                  </a:cubicBezTo>
                  <a:cubicBezTo>
                    <a:pt x="24" y="63"/>
                    <a:pt x="24" y="63"/>
                    <a:pt x="25" y="63"/>
                  </a:cubicBezTo>
                  <a:cubicBezTo>
                    <a:pt x="26" y="63"/>
                    <a:pt x="26" y="63"/>
                    <a:pt x="26" y="63"/>
                  </a:cubicBezTo>
                  <a:cubicBezTo>
                    <a:pt x="27" y="64"/>
                    <a:pt x="27" y="64"/>
                    <a:pt x="27" y="64"/>
                  </a:cubicBezTo>
                  <a:cubicBezTo>
                    <a:pt x="28" y="65"/>
                    <a:pt x="28" y="65"/>
                    <a:pt x="28" y="65"/>
                  </a:cubicBezTo>
                  <a:cubicBezTo>
                    <a:pt x="28" y="65"/>
                    <a:pt x="28" y="65"/>
                    <a:pt x="28" y="66"/>
                  </a:cubicBezTo>
                  <a:cubicBezTo>
                    <a:pt x="29" y="66"/>
                    <a:pt x="30" y="65"/>
                    <a:pt x="31" y="65"/>
                  </a:cubicBezTo>
                  <a:cubicBezTo>
                    <a:pt x="32" y="65"/>
                    <a:pt x="32" y="65"/>
                    <a:pt x="32" y="65"/>
                  </a:cubicBezTo>
                  <a:cubicBezTo>
                    <a:pt x="33" y="66"/>
                    <a:pt x="33" y="67"/>
                    <a:pt x="33" y="67"/>
                  </a:cubicBezTo>
                  <a:cubicBezTo>
                    <a:pt x="33" y="67"/>
                    <a:pt x="32" y="68"/>
                    <a:pt x="32" y="68"/>
                  </a:cubicBezTo>
                  <a:cubicBezTo>
                    <a:pt x="32" y="68"/>
                    <a:pt x="32" y="67"/>
                    <a:pt x="32" y="67"/>
                  </a:cubicBezTo>
                  <a:cubicBezTo>
                    <a:pt x="32" y="67"/>
                    <a:pt x="32" y="67"/>
                    <a:pt x="32" y="67"/>
                  </a:cubicBezTo>
                  <a:cubicBezTo>
                    <a:pt x="31" y="67"/>
                    <a:pt x="31" y="68"/>
                    <a:pt x="31" y="69"/>
                  </a:cubicBezTo>
                  <a:cubicBezTo>
                    <a:pt x="31" y="69"/>
                    <a:pt x="31" y="69"/>
                    <a:pt x="31" y="69"/>
                  </a:cubicBezTo>
                  <a:cubicBezTo>
                    <a:pt x="31" y="70"/>
                    <a:pt x="31" y="70"/>
                    <a:pt x="32" y="70"/>
                  </a:cubicBezTo>
                  <a:cubicBezTo>
                    <a:pt x="33" y="70"/>
                    <a:pt x="33" y="70"/>
                    <a:pt x="33" y="70"/>
                  </a:cubicBezTo>
                  <a:cubicBezTo>
                    <a:pt x="34" y="70"/>
                    <a:pt x="34" y="70"/>
                    <a:pt x="34" y="70"/>
                  </a:cubicBezTo>
                  <a:cubicBezTo>
                    <a:pt x="34" y="69"/>
                    <a:pt x="35" y="69"/>
                    <a:pt x="35" y="69"/>
                  </a:cubicBezTo>
                  <a:cubicBezTo>
                    <a:pt x="35" y="68"/>
                    <a:pt x="36" y="68"/>
                    <a:pt x="36" y="68"/>
                  </a:cubicBezTo>
                  <a:cubicBezTo>
                    <a:pt x="36" y="68"/>
                    <a:pt x="38" y="69"/>
                    <a:pt x="38" y="69"/>
                  </a:cubicBezTo>
                  <a:cubicBezTo>
                    <a:pt x="38" y="69"/>
                    <a:pt x="38" y="69"/>
                    <a:pt x="38" y="69"/>
                  </a:cubicBezTo>
                  <a:cubicBezTo>
                    <a:pt x="38" y="70"/>
                    <a:pt x="38" y="70"/>
                    <a:pt x="38" y="70"/>
                  </a:cubicBezTo>
                  <a:cubicBezTo>
                    <a:pt x="38" y="70"/>
                    <a:pt x="38" y="70"/>
                    <a:pt x="38" y="70"/>
                  </a:cubicBezTo>
                  <a:cubicBezTo>
                    <a:pt x="37" y="70"/>
                    <a:pt x="37" y="70"/>
                    <a:pt x="37" y="70"/>
                  </a:cubicBezTo>
                  <a:cubicBezTo>
                    <a:pt x="37" y="70"/>
                    <a:pt x="36" y="71"/>
                    <a:pt x="36" y="72"/>
                  </a:cubicBezTo>
                  <a:cubicBezTo>
                    <a:pt x="36" y="72"/>
                    <a:pt x="36" y="72"/>
                    <a:pt x="35" y="72"/>
                  </a:cubicBezTo>
                  <a:cubicBezTo>
                    <a:pt x="35" y="72"/>
                    <a:pt x="35" y="72"/>
                    <a:pt x="35" y="72"/>
                  </a:cubicBezTo>
                  <a:cubicBezTo>
                    <a:pt x="34" y="71"/>
                    <a:pt x="34" y="71"/>
                    <a:pt x="34" y="71"/>
                  </a:cubicBezTo>
                  <a:cubicBezTo>
                    <a:pt x="34" y="72"/>
                    <a:pt x="34" y="72"/>
                    <a:pt x="34" y="72"/>
                  </a:cubicBezTo>
                  <a:cubicBezTo>
                    <a:pt x="34" y="73"/>
                    <a:pt x="34" y="73"/>
                    <a:pt x="34" y="73"/>
                  </a:cubicBezTo>
                  <a:cubicBezTo>
                    <a:pt x="34" y="74"/>
                    <a:pt x="34" y="74"/>
                    <a:pt x="34" y="73"/>
                  </a:cubicBezTo>
                  <a:cubicBezTo>
                    <a:pt x="35" y="73"/>
                    <a:pt x="35" y="73"/>
                    <a:pt x="35" y="73"/>
                  </a:cubicBezTo>
                  <a:cubicBezTo>
                    <a:pt x="35" y="73"/>
                    <a:pt x="35" y="73"/>
                    <a:pt x="35" y="73"/>
                  </a:cubicBezTo>
                  <a:cubicBezTo>
                    <a:pt x="36" y="73"/>
                    <a:pt x="36" y="73"/>
                    <a:pt x="37" y="73"/>
                  </a:cubicBezTo>
                  <a:cubicBezTo>
                    <a:pt x="37" y="74"/>
                    <a:pt x="37" y="74"/>
                    <a:pt x="37" y="74"/>
                  </a:cubicBezTo>
                  <a:cubicBezTo>
                    <a:pt x="38" y="74"/>
                    <a:pt x="38" y="75"/>
                    <a:pt x="38" y="75"/>
                  </a:cubicBezTo>
                  <a:cubicBezTo>
                    <a:pt x="38" y="75"/>
                    <a:pt x="39" y="75"/>
                    <a:pt x="39" y="75"/>
                  </a:cubicBezTo>
                  <a:cubicBezTo>
                    <a:pt x="40" y="76"/>
                    <a:pt x="40" y="76"/>
                    <a:pt x="41" y="76"/>
                  </a:cubicBezTo>
                  <a:cubicBezTo>
                    <a:pt x="44" y="76"/>
                    <a:pt x="44" y="76"/>
                    <a:pt x="44" y="76"/>
                  </a:cubicBezTo>
                  <a:cubicBezTo>
                    <a:pt x="45" y="76"/>
                    <a:pt x="45" y="76"/>
                    <a:pt x="45" y="76"/>
                  </a:cubicBezTo>
                  <a:cubicBezTo>
                    <a:pt x="46" y="76"/>
                    <a:pt x="49" y="76"/>
                    <a:pt x="49" y="76"/>
                  </a:cubicBezTo>
                  <a:cubicBezTo>
                    <a:pt x="51" y="77"/>
                    <a:pt x="51" y="77"/>
                    <a:pt x="51" y="77"/>
                  </a:cubicBezTo>
                  <a:cubicBezTo>
                    <a:pt x="51" y="77"/>
                    <a:pt x="51" y="77"/>
                    <a:pt x="51" y="77"/>
                  </a:cubicBezTo>
                  <a:cubicBezTo>
                    <a:pt x="51" y="77"/>
                    <a:pt x="51" y="77"/>
                    <a:pt x="51" y="77"/>
                  </a:cubicBezTo>
                  <a:cubicBezTo>
                    <a:pt x="51" y="77"/>
                    <a:pt x="51" y="77"/>
                    <a:pt x="51" y="77"/>
                  </a:cubicBezTo>
                  <a:cubicBezTo>
                    <a:pt x="51" y="79"/>
                    <a:pt x="51" y="79"/>
                    <a:pt x="51" y="79"/>
                  </a:cubicBezTo>
                  <a:cubicBezTo>
                    <a:pt x="51" y="79"/>
                    <a:pt x="51" y="79"/>
                    <a:pt x="51" y="79"/>
                  </a:cubicBezTo>
                  <a:cubicBezTo>
                    <a:pt x="51" y="79"/>
                    <a:pt x="52" y="79"/>
                    <a:pt x="53" y="79"/>
                  </a:cubicBezTo>
                  <a:cubicBezTo>
                    <a:pt x="53" y="80"/>
                    <a:pt x="53" y="80"/>
                    <a:pt x="51" y="80"/>
                  </a:cubicBezTo>
                  <a:cubicBezTo>
                    <a:pt x="51" y="80"/>
                    <a:pt x="51" y="80"/>
                    <a:pt x="51" y="80"/>
                  </a:cubicBezTo>
                  <a:cubicBezTo>
                    <a:pt x="52" y="81"/>
                    <a:pt x="52" y="81"/>
                    <a:pt x="52" y="81"/>
                  </a:cubicBezTo>
                  <a:cubicBezTo>
                    <a:pt x="51" y="83"/>
                    <a:pt x="51" y="83"/>
                    <a:pt x="51" y="83"/>
                  </a:cubicBezTo>
                  <a:cubicBezTo>
                    <a:pt x="51" y="82"/>
                    <a:pt x="51" y="82"/>
                    <a:pt x="51" y="82"/>
                  </a:cubicBezTo>
                  <a:cubicBezTo>
                    <a:pt x="51" y="82"/>
                    <a:pt x="51" y="82"/>
                    <a:pt x="51" y="82"/>
                  </a:cubicBezTo>
                  <a:cubicBezTo>
                    <a:pt x="51" y="82"/>
                    <a:pt x="51" y="82"/>
                    <a:pt x="51" y="82"/>
                  </a:cubicBezTo>
                  <a:cubicBezTo>
                    <a:pt x="50" y="81"/>
                    <a:pt x="50" y="81"/>
                    <a:pt x="50" y="81"/>
                  </a:cubicBezTo>
                  <a:cubicBezTo>
                    <a:pt x="48" y="81"/>
                    <a:pt x="48" y="81"/>
                    <a:pt x="48" y="81"/>
                  </a:cubicBezTo>
                  <a:cubicBezTo>
                    <a:pt x="48" y="81"/>
                    <a:pt x="48" y="81"/>
                    <a:pt x="48" y="81"/>
                  </a:cubicBezTo>
                  <a:cubicBezTo>
                    <a:pt x="48" y="82"/>
                    <a:pt x="48" y="82"/>
                    <a:pt x="48" y="82"/>
                  </a:cubicBezTo>
                  <a:cubicBezTo>
                    <a:pt x="47" y="82"/>
                    <a:pt x="47" y="82"/>
                    <a:pt x="47" y="82"/>
                  </a:cubicBezTo>
                  <a:cubicBezTo>
                    <a:pt x="46" y="82"/>
                    <a:pt x="45" y="82"/>
                    <a:pt x="45" y="82"/>
                  </a:cubicBezTo>
                  <a:cubicBezTo>
                    <a:pt x="44" y="81"/>
                    <a:pt x="44" y="81"/>
                    <a:pt x="43" y="81"/>
                  </a:cubicBezTo>
                  <a:cubicBezTo>
                    <a:pt x="42" y="82"/>
                    <a:pt x="42" y="82"/>
                    <a:pt x="42" y="82"/>
                  </a:cubicBezTo>
                  <a:cubicBezTo>
                    <a:pt x="42" y="83"/>
                    <a:pt x="41" y="83"/>
                    <a:pt x="40" y="83"/>
                  </a:cubicBezTo>
                  <a:cubicBezTo>
                    <a:pt x="40" y="83"/>
                    <a:pt x="40" y="84"/>
                    <a:pt x="39" y="85"/>
                  </a:cubicBezTo>
                  <a:cubicBezTo>
                    <a:pt x="36" y="87"/>
                    <a:pt x="36" y="87"/>
                    <a:pt x="36" y="87"/>
                  </a:cubicBezTo>
                  <a:cubicBezTo>
                    <a:pt x="36" y="88"/>
                    <a:pt x="36" y="88"/>
                    <a:pt x="36" y="88"/>
                  </a:cubicBezTo>
                  <a:cubicBezTo>
                    <a:pt x="36" y="88"/>
                    <a:pt x="37" y="88"/>
                    <a:pt x="38" y="89"/>
                  </a:cubicBezTo>
                  <a:cubicBezTo>
                    <a:pt x="38" y="89"/>
                    <a:pt x="38" y="90"/>
                    <a:pt x="37" y="90"/>
                  </a:cubicBezTo>
                  <a:cubicBezTo>
                    <a:pt x="37" y="90"/>
                    <a:pt x="37" y="90"/>
                    <a:pt x="36" y="91"/>
                  </a:cubicBezTo>
                  <a:cubicBezTo>
                    <a:pt x="36" y="91"/>
                    <a:pt x="35" y="92"/>
                    <a:pt x="35" y="92"/>
                  </a:cubicBezTo>
                  <a:cubicBezTo>
                    <a:pt x="35" y="93"/>
                    <a:pt x="34" y="93"/>
                    <a:pt x="34" y="93"/>
                  </a:cubicBezTo>
                  <a:cubicBezTo>
                    <a:pt x="34" y="94"/>
                    <a:pt x="34" y="94"/>
                    <a:pt x="33" y="95"/>
                  </a:cubicBezTo>
                  <a:cubicBezTo>
                    <a:pt x="33" y="96"/>
                    <a:pt x="32" y="95"/>
                    <a:pt x="31" y="95"/>
                  </a:cubicBezTo>
                  <a:cubicBezTo>
                    <a:pt x="30" y="95"/>
                    <a:pt x="30" y="95"/>
                    <a:pt x="29" y="95"/>
                  </a:cubicBezTo>
                  <a:cubicBezTo>
                    <a:pt x="29" y="96"/>
                    <a:pt x="29" y="96"/>
                    <a:pt x="29" y="96"/>
                  </a:cubicBezTo>
                  <a:cubicBezTo>
                    <a:pt x="28" y="96"/>
                    <a:pt x="28" y="97"/>
                    <a:pt x="28" y="97"/>
                  </a:cubicBezTo>
                  <a:cubicBezTo>
                    <a:pt x="27" y="97"/>
                    <a:pt x="27" y="98"/>
                    <a:pt x="27" y="98"/>
                  </a:cubicBezTo>
                  <a:cubicBezTo>
                    <a:pt x="26" y="99"/>
                    <a:pt x="26" y="99"/>
                    <a:pt x="25" y="99"/>
                  </a:cubicBezTo>
                  <a:cubicBezTo>
                    <a:pt x="25" y="99"/>
                    <a:pt x="24" y="99"/>
                    <a:pt x="24" y="99"/>
                  </a:cubicBezTo>
                  <a:cubicBezTo>
                    <a:pt x="23" y="99"/>
                    <a:pt x="23" y="99"/>
                    <a:pt x="23" y="99"/>
                  </a:cubicBezTo>
                  <a:cubicBezTo>
                    <a:pt x="23" y="99"/>
                    <a:pt x="23" y="99"/>
                    <a:pt x="22" y="99"/>
                  </a:cubicBezTo>
                  <a:cubicBezTo>
                    <a:pt x="21" y="99"/>
                    <a:pt x="21" y="101"/>
                    <a:pt x="21" y="101"/>
                  </a:cubicBezTo>
                  <a:cubicBezTo>
                    <a:pt x="21" y="101"/>
                    <a:pt x="21" y="101"/>
                    <a:pt x="22" y="100"/>
                  </a:cubicBezTo>
                  <a:cubicBezTo>
                    <a:pt x="22" y="100"/>
                    <a:pt x="22" y="101"/>
                    <a:pt x="23" y="101"/>
                  </a:cubicBezTo>
                  <a:cubicBezTo>
                    <a:pt x="23" y="101"/>
                    <a:pt x="24" y="101"/>
                    <a:pt x="25" y="100"/>
                  </a:cubicBezTo>
                  <a:cubicBezTo>
                    <a:pt x="26" y="100"/>
                    <a:pt x="26" y="100"/>
                    <a:pt x="26" y="100"/>
                  </a:cubicBezTo>
                  <a:cubicBezTo>
                    <a:pt x="27" y="100"/>
                    <a:pt x="27" y="100"/>
                    <a:pt x="27" y="100"/>
                  </a:cubicBezTo>
                  <a:cubicBezTo>
                    <a:pt x="28" y="100"/>
                    <a:pt x="29" y="100"/>
                    <a:pt x="29" y="100"/>
                  </a:cubicBezTo>
                  <a:cubicBezTo>
                    <a:pt x="29" y="100"/>
                    <a:pt x="30" y="100"/>
                    <a:pt x="30" y="100"/>
                  </a:cubicBezTo>
                  <a:cubicBezTo>
                    <a:pt x="30" y="99"/>
                    <a:pt x="30" y="99"/>
                    <a:pt x="31" y="99"/>
                  </a:cubicBezTo>
                  <a:cubicBezTo>
                    <a:pt x="31" y="99"/>
                    <a:pt x="31" y="99"/>
                    <a:pt x="32" y="101"/>
                  </a:cubicBezTo>
                  <a:cubicBezTo>
                    <a:pt x="32" y="101"/>
                    <a:pt x="32" y="101"/>
                    <a:pt x="32" y="102"/>
                  </a:cubicBezTo>
                  <a:cubicBezTo>
                    <a:pt x="32" y="102"/>
                    <a:pt x="33" y="102"/>
                    <a:pt x="34" y="102"/>
                  </a:cubicBezTo>
                  <a:cubicBezTo>
                    <a:pt x="35" y="102"/>
                    <a:pt x="35" y="102"/>
                    <a:pt x="35" y="102"/>
                  </a:cubicBezTo>
                  <a:cubicBezTo>
                    <a:pt x="35" y="102"/>
                    <a:pt x="36" y="102"/>
                    <a:pt x="36" y="102"/>
                  </a:cubicBezTo>
                  <a:cubicBezTo>
                    <a:pt x="36" y="102"/>
                    <a:pt x="37" y="102"/>
                    <a:pt x="37" y="102"/>
                  </a:cubicBezTo>
                  <a:cubicBezTo>
                    <a:pt x="37" y="102"/>
                    <a:pt x="38" y="102"/>
                    <a:pt x="38" y="102"/>
                  </a:cubicBezTo>
                  <a:cubicBezTo>
                    <a:pt x="39" y="103"/>
                    <a:pt x="39" y="103"/>
                    <a:pt x="39" y="103"/>
                  </a:cubicBezTo>
                  <a:cubicBezTo>
                    <a:pt x="40" y="103"/>
                    <a:pt x="40" y="103"/>
                    <a:pt x="40" y="103"/>
                  </a:cubicBezTo>
                  <a:cubicBezTo>
                    <a:pt x="41" y="103"/>
                    <a:pt x="41" y="103"/>
                    <a:pt x="41" y="103"/>
                  </a:cubicBezTo>
                  <a:cubicBezTo>
                    <a:pt x="42" y="102"/>
                    <a:pt x="43" y="102"/>
                    <a:pt x="43" y="101"/>
                  </a:cubicBezTo>
                  <a:cubicBezTo>
                    <a:pt x="43" y="101"/>
                    <a:pt x="44" y="100"/>
                    <a:pt x="44" y="100"/>
                  </a:cubicBezTo>
                  <a:cubicBezTo>
                    <a:pt x="45" y="99"/>
                    <a:pt x="45" y="99"/>
                    <a:pt x="46" y="99"/>
                  </a:cubicBezTo>
                  <a:cubicBezTo>
                    <a:pt x="46" y="99"/>
                    <a:pt x="46" y="99"/>
                    <a:pt x="46" y="99"/>
                  </a:cubicBezTo>
                  <a:cubicBezTo>
                    <a:pt x="47" y="100"/>
                    <a:pt x="47" y="100"/>
                    <a:pt x="46" y="101"/>
                  </a:cubicBezTo>
                  <a:cubicBezTo>
                    <a:pt x="47" y="103"/>
                    <a:pt x="47" y="103"/>
                    <a:pt x="47" y="103"/>
                  </a:cubicBezTo>
                  <a:cubicBezTo>
                    <a:pt x="47" y="103"/>
                    <a:pt x="47" y="103"/>
                    <a:pt x="46" y="103"/>
                  </a:cubicBezTo>
                  <a:cubicBezTo>
                    <a:pt x="46" y="103"/>
                    <a:pt x="45" y="103"/>
                    <a:pt x="45" y="104"/>
                  </a:cubicBezTo>
                  <a:cubicBezTo>
                    <a:pt x="45" y="104"/>
                    <a:pt x="44" y="104"/>
                    <a:pt x="43" y="104"/>
                  </a:cubicBezTo>
                  <a:cubicBezTo>
                    <a:pt x="43" y="104"/>
                    <a:pt x="42" y="104"/>
                    <a:pt x="41" y="104"/>
                  </a:cubicBezTo>
                  <a:cubicBezTo>
                    <a:pt x="41" y="104"/>
                    <a:pt x="41" y="104"/>
                    <a:pt x="41" y="104"/>
                  </a:cubicBezTo>
                  <a:cubicBezTo>
                    <a:pt x="40" y="104"/>
                    <a:pt x="39" y="104"/>
                    <a:pt x="38" y="104"/>
                  </a:cubicBezTo>
                  <a:cubicBezTo>
                    <a:pt x="38" y="104"/>
                    <a:pt x="37" y="105"/>
                    <a:pt x="37" y="105"/>
                  </a:cubicBezTo>
                  <a:cubicBezTo>
                    <a:pt x="36" y="105"/>
                    <a:pt x="35" y="105"/>
                    <a:pt x="34" y="104"/>
                  </a:cubicBezTo>
                  <a:cubicBezTo>
                    <a:pt x="34" y="104"/>
                    <a:pt x="33" y="103"/>
                    <a:pt x="33" y="103"/>
                  </a:cubicBezTo>
                  <a:cubicBezTo>
                    <a:pt x="31" y="103"/>
                    <a:pt x="31" y="103"/>
                    <a:pt x="31" y="103"/>
                  </a:cubicBezTo>
                  <a:cubicBezTo>
                    <a:pt x="30" y="103"/>
                    <a:pt x="30" y="103"/>
                    <a:pt x="30" y="103"/>
                  </a:cubicBezTo>
                  <a:cubicBezTo>
                    <a:pt x="27" y="102"/>
                    <a:pt x="27" y="102"/>
                    <a:pt x="27" y="102"/>
                  </a:cubicBezTo>
                  <a:cubicBezTo>
                    <a:pt x="27" y="103"/>
                    <a:pt x="27" y="103"/>
                    <a:pt x="27" y="103"/>
                  </a:cubicBezTo>
                  <a:cubicBezTo>
                    <a:pt x="27" y="103"/>
                    <a:pt x="27" y="103"/>
                    <a:pt x="27" y="103"/>
                  </a:cubicBezTo>
                  <a:cubicBezTo>
                    <a:pt x="27" y="103"/>
                    <a:pt x="26" y="104"/>
                    <a:pt x="26" y="104"/>
                  </a:cubicBezTo>
                  <a:cubicBezTo>
                    <a:pt x="26" y="104"/>
                    <a:pt x="26" y="104"/>
                    <a:pt x="26" y="105"/>
                  </a:cubicBezTo>
                  <a:cubicBezTo>
                    <a:pt x="25" y="105"/>
                    <a:pt x="25" y="105"/>
                    <a:pt x="25" y="105"/>
                  </a:cubicBezTo>
                  <a:cubicBezTo>
                    <a:pt x="25" y="105"/>
                    <a:pt x="24" y="106"/>
                    <a:pt x="24" y="106"/>
                  </a:cubicBezTo>
                  <a:cubicBezTo>
                    <a:pt x="24" y="106"/>
                    <a:pt x="23" y="106"/>
                    <a:pt x="23" y="106"/>
                  </a:cubicBezTo>
                  <a:cubicBezTo>
                    <a:pt x="22" y="107"/>
                    <a:pt x="22" y="107"/>
                    <a:pt x="22" y="107"/>
                  </a:cubicBezTo>
                  <a:cubicBezTo>
                    <a:pt x="18" y="107"/>
                    <a:pt x="18" y="107"/>
                    <a:pt x="18" y="107"/>
                  </a:cubicBezTo>
                  <a:cubicBezTo>
                    <a:pt x="18" y="107"/>
                    <a:pt x="18" y="107"/>
                    <a:pt x="18" y="107"/>
                  </a:cubicBezTo>
                  <a:cubicBezTo>
                    <a:pt x="18" y="107"/>
                    <a:pt x="19" y="107"/>
                    <a:pt x="20" y="108"/>
                  </a:cubicBezTo>
                  <a:cubicBezTo>
                    <a:pt x="20" y="108"/>
                    <a:pt x="20" y="108"/>
                    <a:pt x="20" y="108"/>
                  </a:cubicBezTo>
                  <a:cubicBezTo>
                    <a:pt x="20" y="108"/>
                    <a:pt x="20" y="109"/>
                    <a:pt x="20" y="109"/>
                  </a:cubicBezTo>
                  <a:cubicBezTo>
                    <a:pt x="20" y="109"/>
                    <a:pt x="19" y="111"/>
                    <a:pt x="19" y="111"/>
                  </a:cubicBezTo>
                  <a:cubicBezTo>
                    <a:pt x="19" y="111"/>
                    <a:pt x="19" y="112"/>
                    <a:pt x="19" y="112"/>
                  </a:cubicBezTo>
                  <a:cubicBezTo>
                    <a:pt x="19" y="112"/>
                    <a:pt x="19" y="113"/>
                    <a:pt x="19" y="114"/>
                  </a:cubicBezTo>
                  <a:cubicBezTo>
                    <a:pt x="19" y="114"/>
                    <a:pt x="19" y="114"/>
                    <a:pt x="19" y="114"/>
                  </a:cubicBezTo>
                  <a:cubicBezTo>
                    <a:pt x="19" y="114"/>
                    <a:pt x="19" y="114"/>
                    <a:pt x="19" y="114"/>
                  </a:cubicBezTo>
                  <a:cubicBezTo>
                    <a:pt x="19" y="114"/>
                    <a:pt x="18" y="114"/>
                    <a:pt x="18" y="114"/>
                  </a:cubicBezTo>
                  <a:cubicBezTo>
                    <a:pt x="18" y="114"/>
                    <a:pt x="18" y="114"/>
                    <a:pt x="18" y="114"/>
                  </a:cubicBezTo>
                  <a:cubicBezTo>
                    <a:pt x="18" y="114"/>
                    <a:pt x="18" y="115"/>
                    <a:pt x="18" y="115"/>
                  </a:cubicBezTo>
                  <a:cubicBezTo>
                    <a:pt x="17" y="115"/>
                    <a:pt x="17" y="114"/>
                    <a:pt x="16" y="114"/>
                  </a:cubicBezTo>
                  <a:cubicBezTo>
                    <a:pt x="16" y="114"/>
                    <a:pt x="16" y="114"/>
                    <a:pt x="15" y="114"/>
                  </a:cubicBezTo>
                  <a:cubicBezTo>
                    <a:pt x="16" y="113"/>
                    <a:pt x="15" y="113"/>
                    <a:pt x="15" y="113"/>
                  </a:cubicBezTo>
                  <a:cubicBezTo>
                    <a:pt x="14" y="113"/>
                    <a:pt x="14" y="112"/>
                    <a:pt x="14" y="112"/>
                  </a:cubicBezTo>
                  <a:cubicBezTo>
                    <a:pt x="14" y="112"/>
                    <a:pt x="14" y="111"/>
                    <a:pt x="13" y="111"/>
                  </a:cubicBezTo>
                  <a:cubicBezTo>
                    <a:pt x="13" y="111"/>
                    <a:pt x="13" y="111"/>
                    <a:pt x="12" y="112"/>
                  </a:cubicBezTo>
                  <a:cubicBezTo>
                    <a:pt x="12" y="113"/>
                    <a:pt x="11" y="112"/>
                    <a:pt x="10" y="112"/>
                  </a:cubicBezTo>
                  <a:cubicBezTo>
                    <a:pt x="10" y="112"/>
                    <a:pt x="10" y="112"/>
                    <a:pt x="10" y="112"/>
                  </a:cubicBezTo>
                  <a:cubicBezTo>
                    <a:pt x="10" y="112"/>
                    <a:pt x="10" y="111"/>
                    <a:pt x="10" y="111"/>
                  </a:cubicBezTo>
                  <a:cubicBezTo>
                    <a:pt x="10" y="111"/>
                    <a:pt x="10" y="111"/>
                    <a:pt x="10" y="111"/>
                  </a:cubicBezTo>
                  <a:cubicBezTo>
                    <a:pt x="10" y="111"/>
                    <a:pt x="10" y="110"/>
                    <a:pt x="10" y="110"/>
                  </a:cubicBezTo>
                  <a:cubicBezTo>
                    <a:pt x="10" y="110"/>
                    <a:pt x="10" y="110"/>
                    <a:pt x="10" y="110"/>
                  </a:cubicBezTo>
                  <a:cubicBezTo>
                    <a:pt x="10" y="110"/>
                    <a:pt x="9" y="110"/>
                    <a:pt x="8" y="110"/>
                  </a:cubicBezTo>
                  <a:cubicBezTo>
                    <a:pt x="8" y="110"/>
                    <a:pt x="7" y="111"/>
                    <a:pt x="6" y="111"/>
                  </a:cubicBezTo>
                  <a:cubicBezTo>
                    <a:pt x="6" y="111"/>
                    <a:pt x="5" y="111"/>
                    <a:pt x="5" y="111"/>
                  </a:cubicBezTo>
                  <a:cubicBezTo>
                    <a:pt x="5" y="112"/>
                    <a:pt x="4" y="113"/>
                    <a:pt x="4" y="113"/>
                  </a:cubicBezTo>
                  <a:cubicBezTo>
                    <a:pt x="3" y="114"/>
                    <a:pt x="3" y="113"/>
                    <a:pt x="3" y="113"/>
                  </a:cubicBezTo>
                  <a:cubicBezTo>
                    <a:pt x="3" y="112"/>
                    <a:pt x="3" y="112"/>
                    <a:pt x="3" y="112"/>
                  </a:cubicBezTo>
                  <a:cubicBezTo>
                    <a:pt x="2" y="112"/>
                    <a:pt x="2" y="113"/>
                    <a:pt x="1" y="113"/>
                  </a:cubicBezTo>
                  <a:cubicBezTo>
                    <a:pt x="1" y="113"/>
                    <a:pt x="1" y="114"/>
                    <a:pt x="1" y="114"/>
                  </a:cubicBezTo>
                  <a:cubicBezTo>
                    <a:pt x="1" y="114"/>
                    <a:pt x="2" y="115"/>
                    <a:pt x="2" y="115"/>
                  </a:cubicBezTo>
                  <a:cubicBezTo>
                    <a:pt x="2" y="115"/>
                    <a:pt x="3" y="115"/>
                    <a:pt x="3" y="115"/>
                  </a:cubicBezTo>
                  <a:cubicBezTo>
                    <a:pt x="3" y="115"/>
                    <a:pt x="4" y="115"/>
                    <a:pt x="4" y="115"/>
                  </a:cubicBezTo>
                  <a:cubicBezTo>
                    <a:pt x="4" y="115"/>
                    <a:pt x="5" y="115"/>
                    <a:pt x="6" y="116"/>
                  </a:cubicBezTo>
                  <a:cubicBezTo>
                    <a:pt x="8" y="116"/>
                    <a:pt x="8" y="116"/>
                    <a:pt x="8" y="117"/>
                  </a:cubicBezTo>
                  <a:cubicBezTo>
                    <a:pt x="8" y="117"/>
                    <a:pt x="8" y="117"/>
                    <a:pt x="7" y="117"/>
                  </a:cubicBezTo>
                  <a:cubicBezTo>
                    <a:pt x="8" y="117"/>
                    <a:pt x="8" y="117"/>
                    <a:pt x="8" y="117"/>
                  </a:cubicBezTo>
                  <a:cubicBezTo>
                    <a:pt x="9" y="117"/>
                    <a:pt x="9" y="117"/>
                    <a:pt x="9" y="117"/>
                  </a:cubicBezTo>
                  <a:cubicBezTo>
                    <a:pt x="9" y="117"/>
                    <a:pt x="10" y="117"/>
                    <a:pt x="11" y="117"/>
                  </a:cubicBezTo>
                  <a:cubicBezTo>
                    <a:pt x="12" y="117"/>
                    <a:pt x="12" y="118"/>
                    <a:pt x="12" y="118"/>
                  </a:cubicBezTo>
                  <a:cubicBezTo>
                    <a:pt x="12" y="118"/>
                    <a:pt x="13" y="117"/>
                    <a:pt x="14" y="117"/>
                  </a:cubicBezTo>
                  <a:cubicBezTo>
                    <a:pt x="15" y="117"/>
                    <a:pt x="15" y="118"/>
                    <a:pt x="15" y="118"/>
                  </a:cubicBezTo>
                  <a:cubicBezTo>
                    <a:pt x="16" y="118"/>
                    <a:pt x="16" y="118"/>
                    <a:pt x="17" y="118"/>
                  </a:cubicBezTo>
                  <a:cubicBezTo>
                    <a:pt x="18" y="118"/>
                    <a:pt x="18" y="118"/>
                    <a:pt x="18" y="118"/>
                  </a:cubicBezTo>
                  <a:cubicBezTo>
                    <a:pt x="18" y="118"/>
                    <a:pt x="19" y="118"/>
                    <a:pt x="19" y="118"/>
                  </a:cubicBezTo>
                  <a:cubicBezTo>
                    <a:pt x="19" y="118"/>
                    <a:pt x="19" y="119"/>
                    <a:pt x="19" y="119"/>
                  </a:cubicBezTo>
                  <a:cubicBezTo>
                    <a:pt x="19" y="119"/>
                    <a:pt x="18" y="119"/>
                    <a:pt x="18" y="119"/>
                  </a:cubicBezTo>
                  <a:cubicBezTo>
                    <a:pt x="17" y="119"/>
                    <a:pt x="17" y="119"/>
                    <a:pt x="17" y="119"/>
                  </a:cubicBezTo>
                  <a:cubicBezTo>
                    <a:pt x="16" y="119"/>
                    <a:pt x="16" y="119"/>
                    <a:pt x="16" y="119"/>
                  </a:cubicBezTo>
                  <a:cubicBezTo>
                    <a:pt x="16" y="119"/>
                    <a:pt x="16" y="119"/>
                    <a:pt x="16" y="119"/>
                  </a:cubicBezTo>
                  <a:cubicBezTo>
                    <a:pt x="15" y="120"/>
                    <a:pt x="15" y="120"/>
                    <a:pt x="15" y="120"/>
                  </a:cubicBezTo>
                  <a:cubicBezTo>
                    <a:pt x="14" y="121"/>
                    <a:pt x="13" y="121"/>
                    <a:pt x="13" y="121"/>
                  </a:cubicBezTo>
                  <a:cubicBezTo>
                    <a:pt x="12" y="121"/>
                    <a:pt x="11" y="121"/>
                    <a:pt x="11" y="121"/>
                  </a:cubicBezTo>
                  <a:cubicBezTo>
                    <a:pt x="11" y="121"/>
                    <a:pt x="10" y="121"/>
                    <a:pt x="10" y="121"/>
                  </a:cubicBezTo>
                  <a:cubicBezTo>
                    <a:pt x="10" y="121"/>
                    <a:pt x="9" y="121"/>
                    <a:pt x="8" y="121"/>
                  </a:cubicBezTo>
                  <a:cubicBezTo>
                    <a:pt x="8" y="121"/>
                    <a:pt x="7" y="121"/>
                    <a:pt x="7" y="122"/>
                  </a:cubicBezTo>
                  <a:cubicBezTo>
                    <a:pt x="6" y="122"/>
                    <a:pt x="6" y="122"/>
                    <a:pt x="6" y="122"/>
                  </a:cubicBezTo>
                  <a:cubicBezTo>
                    <a:pt x="6" y="122"/>
                    <a:pt x="5" y="122"/>
                    <a:pt x="5" y="122"/>
                  </a:cubicBezTo>
                  <a:cubicBezTo>
                    <a:pt x="4" y="122"/>
                    <a:pt x="4" y="122"/>
                    <a:pt x="4" y="123"/>
                  </a:cubicBezTo>
                  <a:cubicBezTo>
                    <a:pt x="3" y="123"/>
                    <a:pt x="3" y="123"/>
                    <a:pt x="3" y="123"/>
                  </a:cubicBezTo>
                  <a:cubicBezTo>
                    <a:pt x="4" y="124"/>
                    <a:pt x="4" y="125"/>
                    <a:pt x="3" y="125"/>
                  </a:cubicBezTo>
                  <a:cubicBezTo>
                    <a:pt x="2" y="125"/>
                    <a:pt x="2" y="125"/>
                    <a:pt x="2" y="125"/>
                  </a:cubicBezTo>
                  <a:cubicBezTo>
                    <a:pt x="1" y="125"/>
                    <a:pt x="1" y="125"/>
                    <a:pt x="0" y="126"/>
                  </a:cubicBezTo>
                  <a:cubicBezTo>
                    <a:pt x="0" y="126"/>
                    <a:pt x="0" y="126"/>
                    <a:pt x="0" y="126"/>
                  </a:cubicBezTo>
                  <a:cubicBezTo>
                    <a:pt x="1" y="127"/>
                    <a:pt x="0" y="128"/>
                    <a:pt x="0" y="128"/>
                  </a:cubicBezTo>
                  <a:cubicBezTo>
                    <a:pt x="0" y="128"/>
                    <a:pt x="0" y="129"/>
                    <a:pt x="0" y="129"/>
                  </a:cubicBezTo>
                  <a:cubicBezTo>
                    <a:pt x="1" y="129"/>
                    <a:pt x="1" y="129"/>
                    <a:pt x="1" y="129"/>
                  </a:cubicBezTo>
                  <a:cubicBezTo>
                    <a:pt x="1" y="129"/>
                    <a:pt x="1" y="129"/>
                    <a:pt x="1" y="129"/>
                  </a:cubicBezTo>
                  <a:cubicBezTo>
                    <a:pt x="1" y="129"/>
                    <a:pt x="1" y="129"/>
                    <a:pt x="1" y="129"/>
                  </a:cubicBezTo>
                  <a:cubicBezTo>
                    <a:pt x="2" y="128"/>
                    <a:pt x="3" y="128"/>
                    <a:pt x="3" y="128"/>
                  </a:cubicBezTo>
                  <a:cubicBezTo>
                    <a:pt x="3" y="128"/>
                    <a:pt x="4" y="128"/>
                    <a:pt x="4" y="128"/>
                  </a:cubicBezTo>
                  <a:cubicBezTo>
                    <a:pt x="5" y="128"/>
                    <a:pt x="5" y="128"/>
                    <a:pt x="5" y="128"/>
                  </a:cubicBezTo>
                  <a:cubicBezTo>
                    <a:pt x="5" y="129"/>
                    <a:pt x="4" y="129"/>
                    <a:pt x="4" y="130"/>
                  </a:cubicBezTo>
                  <a:cubicBezTo>
                    <a:pt x="4" y="130"/>
                    <a:pt x="4" y="130"/>
                    <a:pt x="4" y="131"/>
                  </a:cubicBezTo>
                  <a:cubicBezTo>
                    <a:pt x="4" y="131"/>
                    <a:pt x="4" y="132"/>
                    <a:pt x="4" y="132"/>
                  </a:cubicBezTo>
                  <a:cubicBezTo>
                    <a:pt x="4" y="132"/>
                    <a:pt x="5" y="132"/>
                    <a:pt x="6" y="132"/>
                  </a:cubicBezTo>
                  <a:cubicBezTo>
                    <a:pt x="6" y="132"/>
                    <a:pt x="7" y="132"/>
                    <a:pt x="8" y="132"/>
                  </a:cubicBezTo>
                  <a:cubicBezTo>
                    <a:pt x="9" y="132"/>
                    <a:pt x="9" y="132"/>
                    <a:pt x="9" y="132"/>
                  </a:cubicBezTo>
                  <a:cubicBezTo>
                    <a:pt x="9" y="132"/>
                    <a:pt x="9" y="132"/>
                    <a:pt x="10" y="132"/>
                  </a:cubicBezTo>
                  <a:cubicBezTo>
                    <a:pt x="10" y="132"/>
                    <a:pt x="10" y="131"/>
                    <a:pt x="10" y="131"/>
                  </a:cubicBezTo>
                  <a:cubicBezTo>
                    <a:pt x="11" y="132"/>
                    <a:pt x="11" y="132"/>
                    <a:pt x="11" y="132"/>
                  </a:cubicBezTo>
                  <a:cubicBezTo>
                    <a:pt x="12" y="132"/>
                    <a:pt x="12" y="132"/>
                    <a:pt x="13" y="132"/>
                  </a:cubicBezTo>
                  <a:cubicBezTo>
                    <a:pt x="13" y="131"/>
                    <a:pt x="14" y="131"/>
                    <a:pt x="14" y="131"/>
                  </a:cubicBezTo>
                  <a:cubicBezTo>
                    <a:pt x="14" y="131"/>
                    <a:pt x="15" y="131"/>
                    <a:pt x="15" y="131"/>
                  </a:cubicBezTo>
                  <a:cubicBezTo>
                    <a:pt x="16" y="131"/>
                    <a:pt x="16" y="131"/>
                    <a:pt x="16" y="131"/>
                  </a:cubicBezTo>
                  <a:cubicBezTo>
                    <a:pt x="17" y="131"/>
                    <a:pt x="17" y="131"/>
                    <a:pt x="17" y="131"/>
                  </a:cubicBezTo>
                  <a:cubicBezTo>
                    <a:pt x="17" y="131"/>
                    <a:pt x="18" y="132"/>
                    <a:pt x="18" y="132"/>
                  </a:cubicBezTo>
                  <a:cubicBezTo>
                    <a:pt x="18" y="133"/>
                    <a:pt x="16" y="133"/>
                    <a:pt x="15" y="133"/>
                  </a:cubicBezTo>
                  <a:cubicBezTo>
                    <a:pt x="15" y="133"/>
                    <a:pt x="14" y="133"/>
                    <a:pt x="14" y="133"/>
                  </a:cubicBezTo>
                  <a:cubicBezTo>
                    <a:pt x="14" y="133"/>
                    <a:pt x="13" y="133"/>
                    <a:pt x="13" y="133"/>
                  </a:cubicBezTo>
                  <a:cubicBezTo>
                    <a:pt x="12" y="134"/>
                    <a:pt x="12" y="134"/>
                    <a:pt x="11" y="134"/>
                  </a:cubicBezTo>
                  <a:cubicBezTo>
                    <a:pt x="10" y="134"/>
                    <a:pt x="10" y="134"/>
                    <a:pt x="10" y="134"/>
                  </a:cubicBezTo>
                  <a:cubicBezTo>
                    <a:pt x="8" y="135"/>
                    <a:pt x="8" y="135"/>
                    <a:pt x="8" y="135"/>
                  </a:cubicBezTo>
                  <a:cubicBezTo>
                    <a:pt x="8" y="135"/>
                    <a:pt x="6" y="136"/>
                    <a:pt x="6" y="136"/>
                  </a:cubicBezTo>
                  <a:cubicBezTo>
                    <a:pt x="6" y="137"/>
                    <a:pt x="6" y="137"/>
                    <a:pt x="5" y="137"/>
                  </a:cubicBezTo>
                  <a:cubicBezTo>
                    <a:pt x="4" y="138"/>
                    <a:pt x="4" y="138"/>
                    <a:pt x="4" y="138"/>
                  </a:cubicBezTo>
                  <a:cubicBezTo>
                    <a:pt x="3" y="138"/>
                    <a:pt x="2" y="138"/>
                    <a:pt x="1" y="139"/>
                  </a:cubicBezTo>
                  <a:cubicBezTo>
                    <a:pt x="2" y="139"/>
                    <a:pt x="4" y="139"/>
                    <a:pt x="6" y="139"/>
                  </a:cubicBezTo>
                  <a:cubicBezTo>
                    <a:pt x="6" y="139"/>
                    <a:pt x="6" y="139"/>
                    <a:pt x="6" y="139"/>
                  </a:cubicBezTo>
                  <a:cubicBezTo>
                    <a:pt x="7" y="139"/>
                    <a:pt x="7" y="139"/>
                    <a:pt x="8" y="139"/>
                  </a:cubicBezTo>
                  <a:cubicBezTo>
                    <a:pt x="8" y="139"/>
                    <a:pt x="8" y="139"/>
                    <a:pt x="9" y="138"/>
                  </a:cubicBezTo>
                  <a:cubicBezTo>
                    <a:pt x="10" y="138"/>
                    <a:pt x="10" y="138"/>
                    <a:pt x="10" y="138"/>
                  </a:cubicBezTo>
                  <a:cubicBezTo>
                    <a:pt x="11" y="138"/>
                    <a:pt x="11" y="138"/>
                    <a:pt x="12" y="138"/>
                  </a:cubicBezTo>
                  <a:cubicBezTo>
                    <a:pt x="13" y="138"/>
                    <a:pt x="13" y="139"/>
                    <a:pt x="14" y="139"/>
                  </a:cubicBezTo>
                  <a:cubicBezTo>
                    <a:pt x="15" y="139"/>
                    <a:pt x="15" y="139"/>
                    <a:pt x="15" y="139"/>
                  </a:cubicBezTo>
                  <a:cubicBezTo>
                    <a:pt x="16" y="139"/>
                    <a:pt x="16" y="139"/>
                    <a:pt x="16" y="139"/>
                  </a:cubicBezTo>
                  <a:cubicBezTo>
                    <a:pt x="16" y="139"/>
                    <a:pt x="18" y="138"/>
                    <a:pt x="18" y="138"/>
                  </a:cubicBezTo>
                  <a:cubicBezTo>
                    <a:pt x="19" y="138"/>
                    <a:pt x="20" y="137"/>
                    <a:pt x="20" y="137"/>
                  </a:cubicBezTo>
                  <a:cubicBezTo>
                    <a:pt x="20" y="137"/>
                    <a:pt x="21" y="138"/>
                    <a:pt x="21" y="139"/>
                  </a:cubicBezTo>
                  <a:cubicBezTo>
                    <a:pt x="21" y="140"/>
                    <a:pt x="20" y="141"/>
                    <a:pt x="20" y="141"/>
                  </a:cubicBezTo>
                  <a:cubicBezTo>
                    <a:pt x="19" y="141"/>
                    <a:pt x="18" y="142"/>
                    <a:pt x="17" y="141"/>
                  </a:cubicBezTo>
                  <a:cubicBezTo>
                    <a:pt x="16" y="141"/>
                    <a:pt x="15" y="142"/>
                    <a:pt x="14" y="142"/>
                  </a:cubicBezTo>
                  <a:cubicBezTo>
                    <a:pt x="14" y="142"/>
                    <a:pt x="14" y="142"/>
                    <a:pt x="13" y="142"/>
                  </a:cubicBezTo>
                  <a:cubicBezTo>
                    <a:pt x="12" y="142"/>
                    <a:pt x="12" y="142"/>
                    <a:pt x="12" y="142"/>
                  </a:cubicBezTo>
                  <a:cubicBezTo>
                    <a:pt x="12" y="142"/>
                    <a:pt x="12" y="143"/>
                    <a:pt x="11" y="143"/>
                  </a:cubicBezTo>
                  <a:cubicBezTo>
                    <a:pt x="11" y="143"/>
                    <a:pt x="12" y="143"/>
                    <a:pt x="13" y="143"/>
                  </a:cubicBezTo>
                  <a:cubicBezTo>
                    <a:pt x="13" y="143"/>
                    <a:pt x="14" y="143"/>
                    <a:pt x="14" y="143"/>
                  </a:cubicBezTo>
                  <a:cubicBezTo>
                    <a:pt x="15" y="143"/>
                    <a:pt x="15" y="143"/>
                    <a:pt x="15" y="143"/>
                  </a:cubicBezTo>
                  <a:cubicBezTo>
                    <a:pt x="15" y="143"/>
                    <a:pt x="15" y="143"/>
                    <a:pt x="15" y="143"/>
                  </a:cubicBezTo>
                  <a:cubicBezTo>
                    <a:pt x="16" y="142"/>
                    <a:pt x="16" y="142"/>
                    <a:pt x="16" y="142"/>
                  </a:cubicBezTo>
                  <a:cubicBezTo>
                    <a:pt x="16" y="142"/>
                    <a:pt x="17" y="142"/>
                    <a:pt x="17" y="142"/>
                  </a:cubicBezTo>
                  <a:cubicBezTo>
                    <a:pt x="17" y="142"/>
                    <a:pt x="17" y="142"/>
                    <a:pt x="17" y="142"/>
                  </a:cubicBezTo>
                  <a:cubicBezTo>
                    <a:pt x="17" y="142"/>
                    <a:pt x="17" y="142"/>
                    <a:pt x="17" y="142"/>
                  </a:cubicBezTo>
                  <a:cubicBezTo>
                    <a:pt x="17" y="143"/>
                    <a:pt x="17" y="143"/>
                    <a:pt x="17" y="143"/>
                  </a:cubicBezTo>
                  <a:cubicBezTo>
                    <a:pt x="17" y="143"/>
                    <a:pt x="16" y="144"/>
                    <a:pt x="16" y="144"/>
                  </a:cubicBezTo>
                  <a:cubicBezTo>
                    <a:pt x="16" y="144"/>
                    <a:pt x="15" y="145"/>
                    <a:pt x="13" y="145"/>
                  </a:cubicBezTo>
                  <a:cubicBezTo>
                    <a:pt x="13" y="145"/>
                    <a:pt x="12" y="145"/>
                    <a:pt x="11" y="145"/>
                  </a:cubicBezTo>
                  <a:cubicBezTo>
                    <a:pt x="11" y="145"/>
                    <a:pt x="11" y="146"/>
                    <a:pt x="10" y="146"/>
                  </a:cubicBezTo>
                  <a:cubicBezTo>
                    <a:pt x="10" y="146"/>
                    <a:pt x="10" y="146"/>
                    <a:pt x="10" y="146"/>
                  </a:cubicBezTo>
                  <a:cubicBezTo>
                    <a:pt x="10" y="147"/>
                    <a:pt x="10" y="147"/>
                    <a:pt x="11" y="147"/>
                  </a:cubicBezTo>
                  <a:cubicBezTo>
                    <a:pt x="14" y="146"/>
                    <a:pt x="14" y="146"/>
                    <a:pt x="14" y="146"/>
                  </a:cubicBezTo>
                  <a:cubicBezTo>
                    <a:pt x="15" y="146"/>
                    <a:pt x="18" y="147"/>
                    <a:pt x="19" y="147"/>
                  </a:cubicBezTo>
                  <a:cubicBezTo>
                    <a:pt x="20" y="147"/>
                    <a:pt x="21" y="147"/>
                    <a:pt x="21" y="147"/>
                  </a:cubicBezTo>
                  <a:cubicBezTo>
                    <a:pt x="22" y="147"/>
                    <a:pt x="22" y="147"/>
                    <a:pt x="22" y="147"/>
                  </a:cubicBezTo>
                  <a:cubicBezTo>
                    <a:pt x="23" y="149"/>
                    <a:pt x="23" y="149"/>
                    <a:pt x="23" y="149"/>
                  </a:cubicBezTo>
                  <a:cubicBezTo>
                    <a:pt x="25" y="148"/>
                    <a:pt x="25" y="148"/>
                    <a:pt x="25" y="148"/>
                  </a:cubicBezTo>
                  <a:cubicBezTo>
                    <a:pt x="31" y="148"/>
                    <a:pt x="31" y="148"/>
                    <a:pt x="31" y="148"/>
                  </a:cubicBezTo>
                  <a:cubicBezTo>
                    <a:pt x="32" y="150"/>
                    <a:pt x="32" y="150"/>
                    <a:pt x="32" y="150"/>
                  </a:cubicBezTo>
                  <a:cubicBezTo>
                    <a:pt x="36" y="149"/>
                    <a:pt x="36" y="149"/>
                    <a:pt x="36" y="149"/>
                  </a:cubicBezTo>
                  <a:cubicBezTo>
                    <a:pt x="38" y="150"/>
                    <a:pt x="38" y="150"/>
                    <a:pt x="38" y="150"/>
                  </a:cubicBezTo>
                  <a:cubicBezTo>
                    <a:pt x="39" y="148"/>
                    <a:pt x="39" y="148"/>
                    <a:pt x="39" y="148"/>
                  </a:cubicBezTo>
                  <a:cubicBezTo>
                    <a:pt x="43" y="148"/>
                    <a:pt x="43" y="148"/>
                    <a:pt x="43" y="148"/>
                  </a:cubicBezTo>
                  <a:cubicBezTo>
                    <a:pt x="46" y="148"/>
                    <a:pt x="46" y="148"/>
                    <a:pt x="46" y="148"/>
                  </a:cubicBezTo>
                  <a:cubicBezTo>
                    <a:pt x="46" y="146"/>
                    <a:pt x="46" y="146"/>
                    <a:pt x="46" y="146"/>
                  </a:cubicBezTo>
                  <a:cubicBezTo>
                    <a:pt x="46" y="146"/>
                    <a:pt x="46" y="146"/>
                    <a:pt x="46" y="146"/>
                  </a:cubicBezTo>
                  <a:cubicBezTo>
                    <a:pt x="46" y="146"/>
                    <a:pt x="46" y="146"/>
                    <a:pt x="46" y="146"/>
                  </a:cubicBezTo>
                  <a:cubicBezTo>
                    <a:pt x="47" y="146"/>
                    <a:pt x="47" y="146"/>
                    <a:pt x="47" y="146"/>
                  </a:cubicBezTo>
                  <a:cubicBezTo>
                    <a:pt x="48" y="146"/>
                    <a:pt x="48" y="146"/>
                    <a:pt x="48" y="146"/>
                  </a:cubicBezTo>
                  <a:cubicBezTo>
                    <a:pt x="50" y="146"/>
                    <a:pt x="50" y="146"/>
                    <a:pt x="50" y="146"/>
                  </a:cubicBezTo>
                  <a:cubicBezTo>
                    <a:pt x="53" y="144"/>
                    <a:pt x="53" y="144"/>
                    <a:pt x="53" y="144"/>
                  </a:cubicBezTo>
                  <a:cubicBezTo>
                    <a:pt x="53" y="144"/>
                    <a:pt x="53" y="142"/>
                    <a:pt x="53" y="141"/>
                  </a:cubicBezTo>
                  <a:cubicBezTo>
                    <a:pt x="54" y="141"/>
                    <a:pt x="54" y="140"/>
                    <a:pt x="55" y="140"/>
                  </a:cubicBezTo>
                  <a:cubicBezTo>
                    <a:pt x="55" y="140"/>
                    <a:pt x="56" y="141"/>
                    <a:pt x="56" y="141"/>
                  </a:cubicBezTo>
                  <a:cubicBezTo>
                    <a:pt x="55" y="143"/>
                    <a:pt x="55" y="143"/>
                    <a:pt x="55" y="143"/>
                  </a:cubicBezTo>
                  <a:cubicBezTo>
                    <a:pt x="55" y="143"/>
                    <a:pt x="56" y="144"/>
                    <a:pt x="56" y="144"/>
                  </a:cubicBezTo>
                  <a:cubicBezTo>
                    <a:pt x="59" y="144"/>
                    <a:pt x="59" y="144"/>
                    <a:pt x="59" y="144"/>
                  </a:cubicBezTo>
                  <a:cubicBezTo>
                    <a:pt x="62" y="144"/>
                    <a:pt x="62" y="144"/>
                    <a:pt x="62" y="144"/>
                  </a:cubicBezTo>
                  <a:cubicBezTo>
                    <a:pt x="62" y="143"/>
                    <a:pt x="62" y="143"/>
                    <a:pt x="62" y="143"/>
                  </a:cubicBezTo>
                  <a:cubicBezTo>
                    <a:pt x="61" y="142"/>
                    <a:pt x="61" y="142"/>
                    <a:pt x="61" y="142"/>
                  </a:cubicBezTo>
                  <a:cubicBezTo>
                    <a:pt x="66" y="139"/>
                    <a:pt x="66" y="139"/>
                    <a:pt x="66" y="139"/>
                  </a:cubicBezTo>
                  <a:cubicBezTo>
                    <a:pt x="68" y="141"/>
                    <a:pt x="68" y="141"/>
                    <a:pt x="68" y="141"/>
                  </a:cubicBezTo>
                  <a:cubicBezTo>
                    <a:pt x="68" y="141"/>
                    <a:pt x="68" y="141"/>
                    <a:pt x="68" y="141"/>
                  </a:cubicBezTo>
                  <a:cubicBezTo>
                    <a:pt x="68" y="139"/>
                    <a:pt x="68" y="139"/>
                    <a:pt x="68" y="139"/>
                  </a:cubicBezTo>
                  <a:cubicBezTo>
                    <a:pt x="72" y="140"/>
                    <a:pt x="72" y="140"/>
                    <a:pt x="72" y="140"/>
                  </a:cubicBezTo>
                  <a:cubicBezTo>
                    <a:pt x="75" y="138"/>
                    <a:pt x="75" y="138"/>
                    <a:pt x="75" y="138"/>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 name="Freeform 91"/>
            <p:cNvSpPr>
              <a:spLocks/>
            </p:cNvSpPr>
            <p:nvPr/>
          </p:nvSpPr>
          <p:spPr bwMode="auto">
            <a:xfrm>
              <a:off x="3882512" y="3865436"/>
              <a:ext cx="2888" cy="0"/>
            </a:xfrm>
            <a:custGeom>
              <a:avLst/>
              <a:gdLst>
                <a:gd name="T0" fmla="*/ 1 w 1"/>
                <a:gd name="T1" fmla="*/ 1 w 1"/>
                <a:gd name="T2" fmla="*/ 1 w 1"/>
                <a:gd name="T3" fmla="*/ 1 w 1"/>
              </a:gdLst>
              <a:ahLst/>
              <a:cxnLst>
                <a:cxn ang="0">
                  <a:pos x="T0" y="0"/>
                </a:cxn>
                <a:cxn ang="0">
                  <a:pos x="T1" y="0"/>
                </a:cxn>
                <a:cxn ang="0">
                  <a:pos x="T2" y="0"/>
                </a:cxn>
                <a:cxn ang="0">
                  <a:pos x="T3" y="0"/>
                </a:cxn>
              </a:cxnLst>
              <a:rect l="0" t="0" r="r" b="b"/>
              <a:pathLst>
                <a:path w="1">
                  <a:moveTo>
                    <a:pt x="1" y="0"/>
                  </a:moveTo>
                  <a:cubicBezTo>
                    <a:pt x="0" y="0"/>
                    <a:pt x="0" y="0"/>
                    <a:pt x="1" y="0"/>
                  </a:cubicBezTo>
                  <a:cubicBezTo>
                    <a:pt x="1" y="0"/>
                    <a:pt x="1" y="0"/>
                    <a:pt x="1" y="0"/>
                  </a:cubicBezTo>
                  <a:cubicBezTo>
                    <a:pt x="1" y="0"/>
                    <a:pt x="1" y="0"/>
                    <a:pt x="1" y="0"/>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8" name="Freeform 92"/>
            <p:cNvSpPr>
              <a:spLocks/>
            </p:cNvSpPr>
            <p:nvPr/>
          </p:nvSpPr>
          <p:spPr bwMode="auto">
            <a:xfrm>
              <a:off x="4026927" y="3879052"/>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 name="Freeform 93"/>
            <p:cNvSpPr>
              <a:spLocks/>
            </p:cNvSpPr>
            <p:nvPr/>
          </p:nvSpPr>
          <p:spPr bwMode="auto">
            <a:xfrm>
              <a:off x="4000932" y="3892668"/>
              <a:ext cx="2888" cy="2723"/>
            </a:xfrm>
            <a:custGeom>
              <a:avLst/>
              <a:gdLst>
                <a:gd name="T0" fmla="*/ 2 w 2"/>
                <a:gd name="T1" fmla="*/ 0 h 2"/>
                <a:gd name="T2" fmla="*/ 0 w 2"/>
                <a:gd name="T3" fmla="*/ 0 h 2"/>
                <a:gd name="T4" fmla="*/ 2 w 2"/>
                <a:gd name="T5" fmla="*/ 2 h 2"/>
                <a:gd name="T6" fmla="*/ 2 w 2"/>
                <a:gd name="T7" fmla="*/ 0 h 2"/>
              </a:gdLst>
              <a:ahLst/>
              <a:cxnLst>
                <a:cxn ang="0">
                  <a:pos x="T0" y="T1"/>
                </a:cxn>
                <a:cxn ang="0">
                  <a:pos x="T2" y="T3"/>
                </a:cxn>
                <a:cxn ang="0">
                  <a:pos x="T4" y="T5"/>
                </a:cxn>
                <a:cxn ang="0">
                  <a:pos x="T6" y="T7"/>
                </a:cxn>
              </a:cxnLst>
              <a:rect l="0" t="0" r="r" b="b"/>
              <a:pathLst>
                <a:path w="2" h="2">
                  <a:moveTo>
                    <a:pt x="2" y="0"/>
                  </a:moveTo>
                  <a:lnTo>
                    <a:pt x="0" y="0"/>
                  </a:lnTo>
                  <a:lnTo>
                    <a:pt x="2" y="2"/>
                  </a:lnTo>
                  <a:lnTo>
                    <a:pt x="2" y="0"/>
                  </a:ln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 name="Freeform 94"/>
            <p:cNvSpPr>
              <a:spLocks/>
            </p:cNvSpPr>
            <p:nvPr/>
          </p:nvSpPr>
          <p:spPr bwMode="auto">
            <a:xfrm>
              <a:off x="3917171" y="385182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 name="Rectangle 95"/>
            <p:cNvSpPr>
              <a:spLocks noChangeArrowheads="1"/>
            </p:cNvSpPr>
            <p:nvPr/>
          </p:nvSpPr>
          <p:spPr bwMode="auto">
            <a:xfrm>
              <a:off x="4006708" y="3717022"/>
              <a:ext cx="1444" cy="1362"/>
            </a:xfrm>
            <a:prstGeom prst="rect">
              <a:avLst/>
            </a:pr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 name="Freeform 96"/>
            <p:cNvSpPr>
              <a:spLocks/>
            </p:cNvSpPr>
            <p:nvPr/>
          </p:nvSpPr>
          <p:spPr bwMode="auto">
            <a:xfrm>
              <a:off x="3879624" y="379599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 name="Freeform 97"/>
            <p:cNvSpPr>
              <a:spLocks/>
            </p:cNvSpPr>
            <p:nvPr/>
          </p:nvSpPr>
          <p:spPr bwMode="auto">
            <a:xfrm>
              <a:off x="3920060" y="378237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 name="Freeform 98"/>
            <p:cNvSpPr>
              <a:spLocks/>
            </p:cNvSpPr>
            <p:nvPr/>
          </p:nvSpPr>
          <p:spPr bwMode="auto">
            <a:xfrm>
              <a:off x="3905618" y="3793271"/>
              <a:ext cx="0" cy="2723"/>
            </a:xfrm>
            <a:custGeom>
              <a:avLst/>
              <a:gdLst>
                <a:gd name="T0" fmla="*/ 1 h 1"/>
                <a:gd name="T1" fmla="*/ 1 h 1"/>
                <a:gd name="T2" fmla="*/ 1 h 1"/>
              </a:gdLst>
              <a:ahLst/>
              <a:cxnLst>
                <a:cxn ang="0">
                  <a:pos x="0" y="T0"/>
                </a:cxn>
                <a:cxn ang="0">
                  <a:pos x="0" y="T1"/>
                </a:cxn>
                <a:cxn ang="0">
                  <a:pos x="0" y="T2"/>
                </a:cxn>
              </a:cxnLst>
              <a:rect l="0" t="0" r="r" b="b"/>
              <a:pathLst>
                <a:path h="1">
                  <a:moveTo>
                    <a:pt x="0" y="1"/>
                  </a:moveTo>
                  <a:cubicBezTo>
                    <a:pt x="0" y="0"/>
                    <a:pt x="0" y="0"/>
                    <a:pt x="0" y="1"/>
                  </a:cubicBezTo>
                  <a:cubicBezTo>
                    <a:pt x="0" y="1"/>
                    <a:pt x="0" y="1"/>
                    <a:pt x="0" y="1"/>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 name="Freeform 99"/>
            <p:cNvSpPr>
              <a:spLocks/>
            </p:cNvSpPr>
            <p:nvPr/>
          </p:nvSpPr>
          <p:spPr bwMode="auto">
            <a:xfrm>
              <a:off x="4026927" y="357813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 name="Freeform 100"/>
            <p:cNvSpPr>
              <a:spLocks/>
            </p:cNvSpPr>
            <p:nvPr/>
          </p:nvSpPr>
          <p:spPr bwMode="auto">
            <a:xfrm>
              <a:off x="3940278" y="3648942"/>
              <a:ext cx="0" cy="2723"/>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Freeform 101"/>
            <p:cNvSpPr>
              <a:spLocks/>
            </p:cNvSpPr>
            <p:nvPr/>
          </p:nvSpPr>
          <p:spPr bwMode="auto">
            <a:xfrm>
              <a:off x="3977826" y="356724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Freeform 102"/>
            <p:cNvSpPr>
              <a:spLocks/>
            </p:cNvSpPr>
            <p:nvPr/>
          </p:nvSpPr>
          <p:spPr bwMode="auto">
            <a:xfrm>
              <a:off x="3876735" y="379871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Rectangle 103"/>
            <p:cNvSpPr>
              <a:spLocks noChangeArrowheads="1"/>
            </p:cNvSpPr>
            <p:nvPr/>
          </p:nvSpPr>
          <p:spPr bwMode="auto">
            <a:xfrm>
              <a:off x="4084692" y="3873606"/>
              <a:ext cx="1444" cy="1362"/>
            </a:xfrm>
            <a:prstGeom prst="rect">
              <a:avLst/>
            </a:pr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Rectangle 104"/>
            <p:cNvSpPr>
              <a:spLocks noChangeArrowheads="1"/>
            </p:cNvSpPr>
            <p:nvPr/>
          </p:nvSpPr>
          <p:spPr bwMode="auto">
            <a:xfrm>
              <a:off x="4061586" y="3879052"/>
              <a:ext cx="1444" cy="1362"/>
            </a:xfrm>
            <a:prstGeom prst="rect">
              <a:avLst/>
            </a:pr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 name="Rectangle 105"/>
            <p:cNvSpPr>
              <a:spLocks noChangeArrowheads="1"/>
            </p:cNvSpPr>
            <p:nvPr/>
          </p:nvSpPr>
          <p:spPr bwMode="auto">
            <a:xfrm>
              <a:off x="4047145" y="3887222"/>
              <a:ext cx="1444" cy="1362"/>
            </a:xfrm>
            <a:prstGeom prst="rect">
              <a:avLst/>
            </a:pr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Rectangle 106"/>
            <p:cNvSpPr>
              <a:spLocks noChangeArrowheads="1"/>
            </p:cNvSpPr>
            <p:nvPr/>
          </p:nvSpPr>
          <p:spPr bwMode="auto">
            <a:xfrm>
              <a:off x="4233439" y="3665281"/>
              <a:ext cx="1444" cy="1362"/>
            </a:xfrm>
            <a:prstGeom prst="rect">
              <a:avLst/>
            </a:pr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Freeform 107"/>
            <p:cNvSpPr>
              <a:spLocks/>
            </p:cNvSpPr>
            <p:nvPr/>
          </p:nvSpPr>
          <p:spPr bwMode="auto">
            <a:xfrm>
              <a:off x="4116464" y="3561800"/>
              <a:ext cx="2888" cy="0"/>
            </a:xfrm>
            <a:custGeom>
              <a:avLst/>
              <a:gdLst>
                <a:gd name="T0" fmla="*/ 2 w 2"/>
                <a:gd name="T1" fmla="*/ 2 w 2"/>
                <a:gd name="T2" fmla="*/ 0 w 2"/>
                <a:gd name="T3" fmla="*/ 2 w 2"/>
              </a:gdLst>
              <a:ahLst/>
              <a:cxnLst>
                <a:cxn ang="0">
                  <a:pos x="T0" y="0"/>
                </a:cxn>
                <a:cxn ang="0">
                  <a:pos x="T1" y="0"/>
                </a:cxn>
                <a:cxn ang="0">
                  <a:pos x="T2" y="0"/>
                </a:cxn>
                <a:cxn ang="0">
                  <a:pos x="T3" y="0"/>
                </a:cxn>
              </a:cxnLst>
              <a:rect l="0" t="0" r="r" b="b"/>
              <a:pathLst>
                <a:path w="2">
                  <a:moveTo>
                    <a:pt x="2" y="0"/>
                  </a:moveTo>
                  <a:lnTo>
                    <a:pt x="2" y="0"/>
                  </a:lnTo>
                  <a:lnTo>
                    <a:pt x="0" y="0"/>
                  </a:lnTo>
                  <a:lnTo>
                    <a:pt x="2" y="0"/>
                  </a:ln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Freeform 108"/>
            <p:cNvSpPr>
              <a:spLocks/>
            </p:cNvSpPr>
            <p:nvPr/>
          </p:nvSpPr>
          <p:spPr bwMode="auto">
            <a:xfrm>
              <a:off x="4136682" y="350188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Freeform 109"/>
            <p:cNvSpPr>
              <a:spLocks/>
            </p:cNvSpPr>
            <p:nvPr/>
          </p:nvSpPr>
          <p:spPr bwMode="auto">
            <a:xfrm>
              <a:off x="4171341" y="3851820"/>
              <a:ext cx="2888" cy="2723"/>
            </a:xfrm>
            <a:custGeom>
              <a:avLst/>
              <a:gdLst>
                <a:gd name="T0" fmla="*/ 1 w 1"/>
                <a:gd name="T1" fmla="*/ 1 h 1"/>
                <a:gd name="T2" fmla="*/ 1 w 1"/>
                <a:gd name="T3" fmla="*/ 0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cubicBezTo>
                    <a:pt x="1" y="0"/>
                    <a:pt x="1" y="0"/>
                    <a:pt x="1" y="0"/>
                  </a:cubicBezTo>
                  <a:cubicBezTo>
                    <a:pt x="0" y="0"/>
                    <a:pt x="0" y="0"/>
                    <a:pt x="0" y="0"/>
                  </a:cubicBezTo>
                  <a:lnTo>
                    <a:pt x="1" y="1"/>
                  </a:ln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 name="Rectangle 110"/>
            <p:cNvSpPr>
              <a:spLocks noChangeArrowheads="1"/>
            </p:cNvSpPr>
            <p:nvPr/>
          </p:nvSpPr>
          <p:spPr bwMode="auto">
            <a:xfrm>
              <a:off x="4078916" y="3602648"/>
              <a:ext cx="1444" cy="2723"/>
            </a:xfrm>
            <a:prstGeom prst="rect">
              <a:avLst/>
            </a:pr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 name="Freeform 111"/>
            <p:cNvSpPr>
              <a:spLocks/>
            </p:cNvSpPr>
            <p:nvPr/>
          </p:nvSpPr>
          <p:spPr bwMode="auto">
            <a:xfrm>
              <a:off x="4201668" y="383275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 name="Rectangle 112"/>
            <p:cNvSpPr>
              <a:spLocks noChangeArrowheads="1"/>
            </p:cNvSpPr>
            <p:nvPr/>
          </p:nvSpPr>
          <p:spPr bwMode="auto">
            <a:xfrm>
              <a:off x="4133793" y="3862713"/>
              <a:ext cx="1444" cy="1362"/>
            </a:xfrm>
            <a:prstGeom prst="rect">
              <a:avLst/>
            </a:pr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 name="Freeform 113"/>
            <p:cNvSpPr>
              <a:spLocks/>
            </p:cNvSpPr>
            <p:nvPr/>
          </p:nvSpPr>
          <p:spPr bwMode="auto">
            <a:xfrm>
              <a:off x="4177118" y="352639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 name="Freeform 114"/>
            <p:cNvSpPr>
              <a:spLocks/>
            </p:cNvSpPr>
            <p:nvPr/>
          </p:nvSpPr>
          <p:spPr bwMode="auto">
            <a:xfrm>
              <a:off x="4174229" y="352639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 name="Freeform 115"/>
            <p:cNvSpPr>
              <a:spLocks/>
            </p:cNvSpPr>
            <p:nvPr/>
          </p:nvSpPr>
          <p:spPr bwMode="auto">
            <a:xfrm>
              <a:off x="4177118" y="352095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2" name="Freeform 116"/>
            <p:cNvSpPr>
              <a:spLocks/>
            </p:cNvSpPr>
            <p:nvPr/>
          </p:nvSpPr>
          <p:spPr bwMode="auto">
            <a:xfrm>
              <a:off x="4556928" y="5518417"/>
              <a:ext cx="54878" cy="35402"/>
            </a:xfrm>
            <a:custGeom>
              <a:avLst/>
              <a:gdLst>
                <a:gd name="T0" fmla="*/ 12 w 19"/>
                <a:gd name="T1" fmla="*/ 0 h 13"/>
                <a:gd name="T2" fmla="*/ 3 w 19"/>
                <a:gd name="T3" fmla="*/ 6 h 13"/>
                <a:gd name="T4" fmla="*/ 8 w 19"/>
                <a:gd name="T5" fmla="*/ 13 h 13"/>
                <a:gd name="T6" fmla="*/ 19 w 19"/>
                <a:gd name="T7" fmla="*/ 4 h 13"/>
                <a:gd name="T8" fmla="*/ 12 w 19"/>
                <a:gd name="T9" fmla="*/ 0 h 13"/>
              </a:gdLst>
              <a:ahLst/>
              <a:cxnLst>
                <a:cxn ang="0">
                  <a:pos x="T0" y="T1"/>
                </a:cxn>
                <a:cxn ang="0">
                  <a:pos x="T2" y="T3"/>
                </a:cxn>
                <a:cxn ang="0">
                  <a:pos x="T4" y="T5"/>
                </a:cxn>
                <a:cxn ang="0">
                  <a:pos x="T6" y="T7"/>
                </a:cxn>
                <a:cxn ang="0">
                  <a:pos x="T8" y="T9"/>
                </a:cxn>
              </a:cxnLst>
              <a:rect l="0" t="0" r="r" b="b"/>
              <a:pathLst>
                <a:path w="19" h="13">
                  <a:moveTo>
                    <a:pt x="12" y="0"/>
                  </a:moveTo>
                  <a:cubicBezTo>
                    <a:pt x="8" y="1"/>
                    <a:pt x="5" y="4"/>
                    <a:pt x="3" y="6"/>
                  </a:cubicBezTo>
                  <a:cubicBezTo>
                    <a:pt x="0" y="9"/>
                    <a:pt x="6" y="13"/>
                    <a:pt x="8" y="13"/>
                  </a:cubicBezTo>
                  <a:cubicBezTo>
                    <a:pt x="9" y="13"/>
                    <a:pt x="19" y="7"/>
                    <a:pt x="19" y="4"/>
                  </a:cubicBezTo>
                  <a:cubicBezTo>
                    <a:pt x="18" y="1"/>
                    <a:pt x="14" y="0"/>
                    <a:pt x="12" y="0"/>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3" name="Freeform 117"/>
            <p:cNvSpPr>
              <a:spLocks/>
            </p:cNvSpPr>
            <p:nvPr/>
          </p:nvSpPr>
          <p:spPr bwMode="auto">
            <a:xfrm>
              <a:off x="4694122" y="5420382"/>
              <a:ext cx="112643" cy="95312"/>
            </a:xfrm>
            <a:custGeom>
              <a:avLst/>
              <a:gdLst>
                <a:gd name="T0" fmla="*/ 36 w 39"/>
                <a:gd name="T1" fmla="*/ 15 h 35"/>
                <a:gd name="T2" fmla="*/ 26 w 39"/>
                <a:gd name="T3" fmla="*/ 15 h 35"/>
                <a:gd name="T4" fmla="*/ 26 w 39"/>
                <a:gd name="T5" fmla="*/ 5 h 35"/>
                <a:gd name="T6" fmla="*/ 12 w 39"/>
                <a:gd name="T7" fmla="*/ 9 h 35"/>
                <a:gd name="T8" fmla="*/ 1 w 39"/>
                <a:gd name="T9" fmla="*/ 16 h 35"/>
                <a:gd name="T10" fmla="*/ 1 w 39"/>
                <a:gd name="T11" fmla="*/ 20 h 35"/>
                <a:gd name="T12" fmla="*/ 11 w 39"/>
                <a:gd name="T13" fmla="*/ 19 h 35"/>
                <a:gd name="T14" fmla="*/ 13 w 39"/>
                <a:gd name="T15" fmla="*/ 26 h 35"/>
                <a:gd name="T16" fmla="*/ 21 w 39"/>
                <a:gd name="T17" fmla="*/ 30 h 35"/>
                <a:gd name="T18" fmla="*/ 26 w 39"/>
                <a:gd name="T19" fmla="*/ 34 h 35"/>
                <a:gd name="T20" fmla="*/ 39 w 39"/>
                <a:gd name="T21" fmla="*/ 18 h 35"/>
                <a:gd name="T22" fmla="*/ 36 w 39"/>
                <a:gd name="T23" fmla="*/ 1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35">
                  <a:moveTo>
                    <a:pt x="36" y="15"/>
                  </a:moveTo>
                  <a:cubicBezTo>
                    <a:pt x="33" y="14"/>
                    <a:pt x="29" y="17"/>
                    <a:pt x="26" y="15"/>
                  </a:cubicBezTo>
                  <a:cubicBezTo>
                    <a:pt x="24" y="14"/>
                    <a:pt x="29" y="7"/>
                    <a:pt x="26" y="5"/>
                  </a:cubicBezTo>
                  <a:cubicBezTo>
                    <a:pt x="19" y="0"/>
                    <a:pt x="17" y="6"/>
                    <a:pt x="12" y="9"/>
                  </a:cubicBezTo>
                  <a:cubicBezTo>
                    <a:pt x="9" y="12"/>
                    <a:pt x="4" y="13"/>
                    <a:pt x="1" y="16"/>
                  </a:cubicBezTo>
                  <a:cubicBezTo>
                    <a:pt x="0" y="17"/>
                    <a:pt x="0" y="19"/>
                    <a:pt x="1" y="20"/>
                  </a:cubicBezTo>
                  <a:cubicBezTo>
                    <a:pt x="5" y="20"/>
                    <a:pt x="8" y="17"/>
                    <a:pt x="11" y="19"/>
                  </a:cubicBezTo>
                  <a:cubicBezTo>
                    <a:pt x="13" y="20"/>
                    <a:pt x="12" y="24"/>
                    <a:pt x="13" y="26"/>
                  </a:cubicBezTo>
                  <a:cubicBezTo>
                    <a:pt x="8" y="31"/>
                    <a:pt x="21" y="30"/>
                    <a:pt x="21" y="30"/>
                  </a:cubicBezTo>
                  <a:cubicBezTo>
                    <a:pt x="22" y="32"/>
                    <a:pt x="24" y="35"/>
                    <a:pt x="26" y="34"/>
                  </a:cubicBezTo>
                  <a:cubicBezTo>
                    <a:pt x="39" y="18"/>
                    <a:pt x="39" y="18"/>
                    <a:pt x="39" y="18"/>
                  </a:cubicBezTo>
                  <a:cubicBezTo>
                    <a:pt x="39" y="17"/>
                    <a:pt x="38" y="15"/>
                    <a:pt x="36" y="15"/>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 name="Freeform 118"/>
            <p:cNvSpPr>
              <a:spLocks/>
            </p:cNvSpPr>
            <p:nvPr/>
          </p:nvSpPr>
          <p:spPr bwMode="auto">
            <a:xfrm>
              <a:off x="4832760" y="5420382"/>
              <a:ext cx="66431" cy="59910"/>
            </a:xfrm>
            <a:custGeom>
              <a:avLst/>
              <a:gdLst>
                <a:gd name="T0" fmla="*/ 12 w 23"/>
                <a:gd name="T1" fmla="*/ 2 h 22"/>
                <a:gd name="T2" fmla="*/ 0 w 23"/>
                <a:gd name="T3" fmla="*/ 4 h 22"/>
                <a:gd name="T4" fmla="*/ 12 w 23"/>
                <a:gd name="T5" fmla="*/ 10 h 22"/>
                <a:gd name="T6" fmla="*/ 14 w 23"/>
                <a:gd name="T7" fmla="*/ 17 h 22"/>
                <a:gd name="T8" fmla="*/ 18 w 23"/>
                <a:gd name="T9" fmla="*/ 4 h 22"/>
                <a:gd name="T10" fmla="*/ 12 w 23"/>
                <a:gd name="T11" fmla="*/ 2 h 22"/>
              </a:gdLst>
              <a:ahLst/>
              <a:cxnLst>
                <a:cxn ang="0">
                  <a:pos x="T0" y="T1"/>
                </a:cxn>
                <a:cxn ang="0">
                  <a:pos x="T2" y="T3"/>
                </a:cxn>
                <a:cxn ang="0">
                  <a:pos x="T4" y="T5"/>
                </a:cxn>
                <a:cxn ang="0">
                  <a:pos x="T6" y="T7"/>
                </a:cxn>
                <a:cxn ang="0">
                  <a:pos x="T8" y="T9"/>
                </a:cxn>
                <a:cxn ang="0">
                  <a:pos x="T10" y="T11"/>
                </a:cxn>
              </a:cxnLst>
              <a:rect l="0" t="0" r="r" b="b"/>
              <a:pathLst>
                <a:path w="23" h="22">
                  <a:moveTo>
                    <a:pt x="12" y="2"/>
                  </a:moveTo>
                  <a:cubicBezTo>
                    <a:pt x="8" y="2"/>
                    <a:pt x="0" y="0"/>
                    <a:pt x="0" y="4"/>
                  </a:cubicBezTo>
                  <a:cubicBezTo>
                    <a:pt x="0" y="9"/>
                    <a:pt x="9" y="7"/>
                    <a:pt x="12" y="10"/>
                  </a:cubicBezTo>
                  <a:cubicBezTo>
                    <a:pt x="14" y="12"/>
                    <a:pt x="13" y="16"/>
                    <a:pt x="14" y="17"/>
                  </a:cubicBezTo>
                  <a:cubicBezTo>
                    <a:pt x="20" y="22"/>
                    <a:pt x="23" y="13"/>
                    <a:pt x="18" y="4"/>
                  </a:cubicBezTo>
                  <a:cubicBezTo>
                    <a:pt x="17" y="2"/>
                    <a:pt x="14" y="2"/>
                    <a:pt x="12" y="2"/>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5" name="Freeform 119"/>
            <p:cNvSpPr>
              <a:spLocks/>
            </p:cNvSpPr>
            <p:nvPr/>
          </p:nvSpPr>
          <p:spPr bwMode="auto">
            <a:xfrm>
              <a:off x="3652893" y="4813109"/>
              <a:ext cx="1168314" cy="965374"/>
            </a:xfrm>
            <a:custGeom>
              <a:avLst/>
              <a:gdLst>
                <a:gd name="T0" fmla="*/ 375 w 403"/>
                <a:gd name="T1" fmla="*/ 125 h 353"/>
                <a:gd name="T2" fmla="*/ 355 w 403"/>
                <a:gd name="T3" fmla="*/ 117 h 353"/>
                <a:gd name="T4" fmla="*/ 342 w 403"/>
                <a:gd name="T5" fmla="*/ 112 h 353"/>
                <a:gd name="T6" fmla="*/ 341 w 403"/>
                <a:gd name="T7" fmla="*/ 110 h 353"/>
                <a:gd name="T8" fmla="*/ 320 w 403"/>
                <a:gd name="T9" fmla="*/ 95 h 353"/>
                <a:gd name="T10" fmla="*/ 256 w 403"/>
                <a:gd name="T11" fmla="*/ 76 h 353"/>
                <a:gd name="T12" fmla="*/ 226 w 403"/>
                <a:gd name="T13" fmla="*/ 58 h 353"/>
                <a:gd name="T14" fmla="*/ 105 w 403"/>
                <a:gd name="T15" fmla="*/ 21 h 353"/>
                <a:gd name="T16" fmla="*/ 29 w 403"/>
                <a:gd name="T17" fmla="*/ 14 h 353"/>
                <a:gd name="T18" fmla="*/ 6 w 403"/>
                <a:gd name="T19" fmla="*/ 33 h 353"/>
                <a:gd name="T20" fmla="*/ 6 w 403"/>
                <a:gd name="T21" fmla="*/ 62 h 353"/>
                <a:gd name="T22" fmla="*/ 11 w 403"/>
                <a:gd name="T23" fmla="*/ 69 h 353"/>
                <a:gd name="T24" fmla="*/ 24 w 403"/>
                <a:gd name="T25" fmla="*/ 68 h 353"/>
                <a:gd name="T26" fmla="*/ 28 w 403"/>
                <a:gd name="T27" fmla="*/ 75 h 353"/>
                <a:gd name="T28" fmla="*/ 28 w 403"/>
                <a:gd name="T29" fmla="*/ 82 h 353"/>
                <a:gd name="T30" fmla="*/ 36 w 403"/>
                <a:gd name="T31" fmla="*/ 82 h 353"/>
                <a:gd name="T32" fmla="*/ 44 w 403"/>
                <a:gd name="T33" fmla="*/ 87 h 353"/>
                <a:gd name="T34" fmla="*/ 51 w 403"/>
                <a:gd name="T35" fmla="*/ 87 h 353"/>
                <a:gd name="T36" fmla="*/ 61 w 403"/>
                <a:gd name="T37" fmla="*/ 83 h 353"/>
                <a:gd name="T38" fmla="*/ 70 w 403"/>
                <a:gd name="T39" fmla="*/ 86 h 353"/>
                <a:gd name="T40" fmla="*/ 78 w 403"/>
                <a:gd name="T41" fmla="*/ 91 h 353"/>
                <a:gd name="T42" fmla="*/ 76 w 403"/>
                <a:gd name="T43" fmla="*/ 98 h 353"/>
                <a:gd name="T44" fmla="*/ 85 w 403"/>
                <a:gd name="T45" fmla="*/ 105 h 353"/>
                <a:gd name="T46" fmla="*/ 78 w 403"/>
                <a:gd name="T47" fmla="*/ 115 h 353"/>
                <a:gd name="T48" fmla="*/ 67 w 403"/>
                <a:gd name="T49" fmla="*/ 120 h 353"/>
                <a:gd name="T50" fmla="*/ 57 w 403"/>
                <a:gd name="T51" fmla="*/ 126 h 353"/>
                <a:gd name="T52" fmla="*/ 57 w 403"/>
                <a:gd name="T53" fmla="*/ 136 h 353"/>
                <a:gd name="T54" fmla="*/ 56 w 403"/>
                <a:gd name="T55" fmla="*/ 146 h 353"/>
                <a:gd name="T56" fmla="*/ 53 w 403"/>
                <a:gd name="T57" fmla="*/ 157 h 353"/>
                <a:gd name="T58" fmla="*/ 45 w 403"/>
                <a:gd name="T59" fmla="*/ 161 h 353"/>
                <a:gd name="T60" fmla="*/ 47 w 403"/>
                <a:gd name="T61" fmla="*/ 172 h 353"/>
                <a:gd name="T62" fmla="*/ 42 w 403"/>
                <a:gd name="T63" fmla="*/ 179 h 353"/>
                <a:gd name="T64" fmla="*/ 36 w 403"/>
                <a:gd name="T65" fmla="*/ 183 h 353"/>
                <a:gd name="T66" fmla="*/ 27 w 403"/>
                <a:gd name="T67" fmla="*/ 181 h 353"/>
                <a:gd name="T68" fmla="*/ 24 w 403"/>
                <a:gd name="T69" fmla="*/ 185 h 353"/>
                <a:gd name="T70" fmla="*/ 27 w 403"/>
                <a:gd name="T71" fmla="*/ 193 h 353"/>
                <a:gd name="T72" fmla="*/ 28 w 403"/>
                <a:gd name="T73" fmla="*/ 202 h 353"/>
                <a:gd name="T74" fmla="*/ 33 w 403"/>
                <a:gd name="T75" fmla="*/ 207 h 353"/>
                <a:gd name="T76" fmla="*/ 31 w 403"/>
                <a:gd name="T77" fmla="*/ 216 h 353"/>
                <a:gd name="T78" fmla="*/ 23 w 403"/>
                <a:gd name="T79" fmla="*/ 221 h 353"/>
                <a:gd name="T80" fmla="*/ 18 w 403"/>
                <a:gd name="T81" fmla="*/ 231 h 353"/>
                <a:gd name="T82" fmla="*/ 19 w 403"/>
                <a:gd name="T83" fmla="*/ 239 h 353"/>
                <a:gd name="T84" fmla="*/ 26 w 403"/>
                <a:gd name="T85" fmla="*/ 247 h 353"/>
                <a:gd name="T86" fmla="*/ 22 w 403"/>
                <a:gd name="T87" fmla="*/ 254 h 353"/>
                <a:gd name="T88" fmla="*/ 12 w 403"/>
                <a:gd name="T89" fmla="*/ 258 h 353"/>
                <a:gd name="T90" fmla="*/ 2 w 403"/>
                <a:gd name="T91" fmla="*/ 268 h 353"/>
                <a:gd name="T92" fmla="*/ 1 w 403"/>
                <a:gd name="T93" fmla="*/ 280 h 353"/>
                <a:gd name="T94" fmla="*/ 33 w 403"/>
                <a:gd name="T95" fmla="*/ 309 h 353"/>
                <a:gd name="T96" fmla="*/ 63 w 403"/>
                <a:gd name="T97" fmla="*/ 348 h 353"/>
                <a:gd name="T98" fmla="*/ 140 w 403"/>
                <a:gd name="T99" fmla="*/ 339 h 353"/>
                <a:gd name="T100" fmla="*/ 196 w 403"/>
                <a:gd name="T101" fmla="*/ 332 h 353"/>
                <a:gd name="T102" fmla="*/ 246 w 403"/>
                <a:gd name="T103" fmla="*/ 296 h 353"/>
                <a:gd name="T104" fmla="*/ 281 w 403"/>
                <a:gd name="T105" fmla="*/ 216 h 353"/>
                <a:gd name="T106" fmla="*/ 348 w 403"/>
                <a:gd name="T107" fmla="*/ 167 h 353"/>
                <a:gd name="T108" fmla="*/ 398 w 403"/>
                <a:gd name="T109" fmla="*/ 121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3" h="353">
                  <a:moveTo>
                    <a:pt x="398" y="121"/>
                  </a:moveTo>
                  <a:cubicBezTo>
                    <a:pt x="397" y="122"/>
                    <a:pt x="397" y="122"/>
                    <a:pt x="397" y="122"/>
                  </a:cubicBezTo>
                  <a:cubicBezTo>
                    <a:pt x="396" y="122"/>
                    <a:pt x="396" y="122"/>
                    <a:pt x="396" y="122"/>
                  </a:cubicBezTo>
                  <a:cubicBezTo>
                    <a:pt x="394" y="122"/>
                    <a:pt x="392" y="122"/>
                    <a:pt x="390" y="122"/>
                  </a:cubicBezTo>
                  <a:cubicBezTo>
                    <a:pt x="383" y="122"/>
                    <a:pt x="383" y="122"/>
                    <a:pt x="383" y="122"/>
                  </a:cubicBezTo>
                  <a:cubicBezTo>
                    <a:pt x="376" y="125"/>
                    <a:pt x="376" y="125"/>
                    <a:pt x="376" y="125"/>
                  </a:cubicBezTo>
                  <a:cubicBezTo>
                    <a:pt x="375" y="125"/>
                    <a:pt x="375" y="125"/>
                    <a:pt x="375" y="125"/>
                  </a:cubicBezTo>
                  <a:cubicBezTo>
                    <a:pt x="374" y="125"/>
                    <a:pt x="374" y="125"/>
                    <a:pt x="374" y="125"/>
                  </a:cubicBezTo>
                  <a:cubicBezTo>
                    <a:pt x="374" y="124"/>
                    <a:pt x="374" y="124"/>
                    <a:pt x="374" y="124"/>
                  </a:cubicBezTo>
                  <a:cubicBezTo>
                    <a:pt x="367" y="119"/>
                    <a:pt x="367" y="119"/>
                    <a:pt x="367" y="119"/>
                  </a:cubicBezTo>
                  <a:cubicBezTo>
                    <a:pt x="361" y="121"/>
                    <a:pt x="361" y="121"/>
                    <a:pt x="361" y="121"/>
                  </a:cubicBezTo>
                  <a:cubicBezTo>
                    <a:pt x="360" y="121"/>
                    <a:pt x="360" y="121"/>
                    <a:pt x="360" y="121"/>
                  </a:cubicBezTo>
                  <a:cubicBezTo>
                    <a:pt x="358" y="120"/>
                    <a:pt x="357" y="119"/>
                    <a:pt x="356" y="118"/>
                  </a:cubicBezTo>
                  <a:cubicBezTo>
                    <a:pt x="356" y="118"/>
                    <a:pt x="355" y="117"/>
                    <a:pt x="355" y="117"/>
                  </a:cubicBezTo>
                  <a:cubicBezTo>
                    <a:pt x="342" y="115"/>
                    <a:pt x="342" y="115"/>
                    <a:pt x="342" y="115"/>
                  </a:cubicBezTo>
                  <a:cubicBezTo>
                    <a:pt x="343" y="113"/>
                    <a:pt x="343" y="113"/>
                    <a:pt x="343" y="113"/>
                  </a:cubicBezTo>
                  <a:cubicBezTo>
                    <a:pt x="343" y="113"/>
                    <a:pt x="343" y="113"/>
                    <a:pt x="343" y="113"/>
                  </a:cubicBezTo>
                  <a:cubicBezTo>
                    <a:pt x="343" y="113"/>
                    <a:pt x="342" y="113"/>
                    <a:pt x="342" y="113"/>
                  </a:cubicBezTo>
                  <a:cubicBezTo>
                    <a:pt x="342" y="113"/>
                    <a:pt x="342" y="113"/>
                    <a:pt x="342" y="113"/>
                  </a:cubicBezTo>
                  <a:cubicBezTo>
                    <a:pt x="342" y="113"/>
                    <a:pt x="342" y="113"/>
                    <a:pt x="342" y="113"/>
                  </a:cubicBezTo>
                  <a:cubicBezTo>
                    <a:pt x="342" y="113"/>
                    <a:pt x="342" y="113"/>
                    <a:pt x="342" y="112"/>
                  </a:cubicBezTo>
                  <a:cubicBezTo>
                    <a:pt x="342" y="112"/>
                    <a:pt x="341" y="112"/>
                    <a:pt x="341" y="112"/>
                  </a:cubicBezTo>
                  <a:cubicBezTo>
                    <a:pt x="341" y="112"/>
                    <a:pt x="341" y="112"/>
                    <a:pt x="341" y="112"/>
                  </a:cubicBezTo>
                  <a:cubicBezTo>
                    <a:pt x="341" y="111"/>
                    <a:pt x="341" y="111"/>
                    <a:pt x="341" y="111"/>
                  </a:cubicBezTo>
                  <a:cubicBezTo>
                    <a:pt x="341" y="111"/>
                    <a:pt x="341" y="111"/>
                    <a:pt x="341" y="111"/>
                  </a:cubicBezTo>
                  <a:cubicBezTo>
                    <a:pt x="341" y="111"/>
                    <a:pt x="341" y="111"/>
                    <a:pt x="341" y="111"/>
                  </a:cubicBezTo>
                  <a:cubicBezTo>
                    <a:pt x="341" y="110"/>
                    <a:pt x="341" y="110"/>
                    <a:pt x="341" y="110"/>
                  </a:cubicBezTo>
                  <a:cubicBezTo>
                    <a:pt x="341" y="110"/>
                    <a:pt x="341" y="110"/>
                    <a:pt x="341" y="110"/>
                  </a:cubicBezTo>
                  <a:cubicBezTo>
                    <a:pt x="342" y="110"/>
                    <a:pt x="342" y="110"/>
                    <a:pt x="342" y="110"/>
                  </a:cubicBezTo>
                  <a:cubicBezTo>
                    <a:pt x="342" y="109"/>
                    <a:pt x="342" y="109"/>
                    <a:pt x="342" y="109"/>
                  </a:cubicBezTo>
                  <a:cubicBezTo>
                    <a:pt x="341" y="109"/>
                    <a:pt x="341" y="109"/>
                    <a:pt x="341" y="109"/>
                  </a:cubicBezTo>
                  <a:cubicBezTo>
                    <a:pt x="341" y="110"/>
                    <a:pt x="341" y="110"/>
                    <a:pt x="341" y="110"/>
                  </a:cubicBezTo>
                  <a:cubicBezTo>
                    <a:pt x="340" y="110"/>
                    <a:pt x="339" y="109"/>
                    <a:pt x="339" y="108"/>
                  </a:cubicBezTo>
                  <a:cubicBezTo>
                    <a:pt x="339" y="106"/>
                    <a:pt x="338" y="105"/>
                    <a:pt x="338" y="104"/>
                  </a:cubicBezTo>
                  <a:cubicBezTo>
                    <a:pt x="335" y="102"/>
                    <a:pt x="325" y="98"/>
                    <a:pt x="320" y="95"/>
                  </a:cubicBezTo>
                  <a:cubicBezTo>
                    <a:pt x="316" y="100"/>
                    <a:pt x="316" y="100"/>
                    <a:pt x="316" y="100"/>
                  </a:cubicBezTo>
                  <a:cubicBezTo>
                    <a:pt x="306" y="98"/>
                    <a:pt x="306" y="98"/>
                    <a:pt x="306" y="98"/>
                  </a:cubicBezTo>
                  <a:cubicBezTo>
                    <a:pt x="294" y="98"/>
                    <a:pt x="294" y="98"/>
                    <a:pt x="294" y="98"/>
                  </a:cubicBezTo>
                  <a:cubicBezTo>
                    <a:pt x="285" y="91"/>
                    <a:pt x="285" y="91"/>
                    <a:pt x="285" y="91"/>
                  </a:cubicBezTo>
                  <a:cubicBezTo>
                    <a:pt x="283" y="90"/>
                    <a:pt x="273" y="86"/>
                    <a:pt x="272" y="85"/>
                  </a:cubicBezTo>
                  <a:cubicBezTo>
                    <a:pt x="271" y="84"/>
                    <a:pt x="267" y="80"/>
                    <a:pt x="266" y="79"/>
                  </a:cubicBezTo>
                  <a:cubicBezTo>
                    <a:pt x="256" y="76"/>
                    <a:pt x="256" y="76"/>
                    <a:pt x="256" y="76"/>
                  </a:cubicBezTo>
                  <a:cubicBezTo>
                    <a:pt x="256" y="75"/>
                    <a:pt x="256" y="75"/>
                    <a:pt x="256" y="75"/>
                  </a:cubicBezTo>
                  <a:cubicBezTo>
                    <a:pt x="255" y="75"/>
                    <a:pt x="251" y="67"/>
                    <a:pt x="250" y="64"/>
                  </a:cubicBezTo>
                  <a:cubicBezTo>
                    <a:pt x="250" y="63"/>
                    <a:pt x="249" y="62"/>
                    <a:pt x="247" y="61"/>
                  </a:cubicBezTo>
                  <a:cubicBezTo>
                    <a:pt x="243" y="60"/>
                    <a:pt x="243" y="60"/>
                    <a:pt x="243" y="60"/>
                  </a:cubicBezTo>
                  <a:cubicBezTo>
                    <a:pt x="245" y="58"/>
                    <a:pt x="245" y="58"/>
                    <a:pt x="245" y="58"/>
                  </a:cubicBezTo>
                  <a:cubicBezTo>
                    <a:pt x="244" y="58"/>
                    <a:pt x="243" y="58"/>
                    <a:pt x="243" y="58"/>
                  </a:cubicBezTo>
                  <a:cubicBezTo>
                    <a:pt x="239" y="54"/>
                    <a:pt x="230" y="59"/>
                    <a:pt x="226" y="58"/>
                  </a:cubicBezTo>
                  <a:cubicBezTo>
                    <a:pt x="223" y="57"/>
                    <a:pt x="216" y="50"/>
                    <a:pt x="210" y="50"/>
                  </a:cubicBezTo>
                  <a:cubicBezTo>
                    <a:pt x="210" y="50"/>
                    <a:pt x="200" y="52"/>
                    <a:pt x="199" y="51"/>
                  </a:cubicBezTo>
                  <a:cubicBezTo>
                    <a:pt x="199" y="51"/>
                    <a:pt x="191" y="45"/>
                    <a:pt x="188" y="43"/>
                  </a:cubicBezTo>
                  <a:cubicBezTo>
                    <a:pt x="185" y="40"/>
                    <a:pt x="179" y="40"/>
                    <a:pt x="178" y="40"/>
                  </a:cubicBezTo>
                  <a:cubicBezTo>
                    <a:pt x="178" y="40"/>
                    <a:pt x="160" y="43"/>
                    <a:pt x="159" y="43"/>
                  </a:cubicBezTo>
                  <a:cubicBezTo>
                    <a:pt x="159" y="42"/>
                    <a:pt x="130" y="28"/>
                    <a:pt x="130" y="28"/>
                  </a:cubicBezTo>
                  <a:cubicBezTo>
                    <a:pt x="121" y="25"/>
                    <a:pt x="113" y="22"/>
                    <a:pt x="105" y="21"/>
                  </a:cubicBezTo>
                  <a:cubicBezTo>
                    <a:pt x="96" y="19"/>
                    <a:pt x="86" y="17"/>
                    <a:pt x="77" y="15"/>
                  </a:cubicBezTo>
                  <a:cubicBezTo>
                    <a:pt x="66" y="12"/>
                    <a:pt x="71" y="8"/>
                    <a:pt x="62" y="3"/>
                  </a:cubicBezTo>
                  <a:cubicBezTo>
                    <a:pt x="60" y="2"/>
                    <a:pt x="58" y="1"/>
                    <a:pt x="55" y="1"/>
                  </a:cubicBezTo>
                  <a:cubicBezTo>
                    <a:pt x="51" y="0"/>
                    <a:pt x="50" y="5"/>
                    <a:pt x="48" y="4"/>
                  </a:cubicBezTo>
                  <a:cubicBezTo>
                    <a:pt x="48" y="6"/>
                    <a:pt x="39" y="3"/>
                    <a:pt x="38" y="7"/>
                  </a:cubicBezTo>
                  <a:cubicBezTo>
                    <a:pt x="38" y="10"/>
                    <a:pt x="36" y="10"/>
                    <a:pt x="35" y="12"/>
                  </a:cubicBezTo>
                  <a:cubicBezTo>
                    <a:pt x="34" y="13"/>
                    <a:pt x="30" y="13"/>
                    <a:pt x="29" y="14"/>
                  </a:cubicBezTo>
                  <a:cubicBezTo>
                    <a:pt x="21" y="13"/>
                    <a:pt x="21" y="11"/>
                    <a:pt x="18" y="12"/>
                  </a:cubicBezTo>
                  <a:cubicBezTo>
                    <a:pt x="17" y="13"/>
                    <a:pt x="14" y="12"/>
                    <a:pt x="12" y="14"/>
                  </a:cubicBezTo>
                  <a:cubicBezTo>
                    <a:pt x="10" y="16"/>
                    <a:pt x="8" y="18"/>
                    <a:pt x="5" y="19"/>
                  </a:cubicBezTo>
                  <a:cubicBezTo>
                    <a:pt x="5" y="19"/>
                    <a:pt x="3" y="19"/>
                    <a:pt x="3" y="22"/>
                  </a:cubicBezTo>
                  <a:cubicBezTo>
                    <a:pt x="3" y="24"/>
                    <a:pt x="2" y="27"/>
                    <a:pt x="2" y="27"/>
                  </a:cubicBezTo>
                  <a:cubicBezTo>
                    <a:pt x="5" y="28"/>
                    <a:pt x="5" y="28"/>
                    <a:pt x="5" y="28"/>
                  </a:cubicBezTo>
                  <a:cubicBezTo>
                    <a:pt x="6" y="33"/>
                    <a:pt x="6" y="33"/>
                    <a:pt x="6" y="33"/>
                  </a:cubicBezTo>
                  <a:cubicBezTo>
                    <a:pt x="11" y="35"/>
                    <a:pt x="11" y="35"/>
                    <a:pt x="11" y="35"/>
                  </a:cubicBezTo>
                  <a:cubicBezTo>
                    <a:pt x="6" y="39"/>
                    <a:pt x="4" y="38"/>
                    <a:pt x="5" y="43"/>
                  </a:cubicBezTo>
                  <a:cubicBezTo>
                    <a:pt x="5" y="45"/>
                    <a:pt x="14" y="38"/>
                    <a:pt x="15" y="40"/>
                  </a:cubicBezTo>
                  <a:cubicBezTo>
                    <a:pt x="16" y="43"/>
                    <a:pt x="9" y="47"/>
                    <a:pt x="9" y="50"/>
                  </a:cubicBezTo>
                  <a:cubicBezTo>
                    <a:pt x="11" y="52"/>
                    <a:pt x="11" y="52"/>
                    <a:pt x="11" y="52"/>
                  </a:cubicBezTo>
                  <a:cubicBezTo>
                    <a:pt x="9" y="59"/>
                    <a:pt x="9" y="59"/>
                    <a:pt x="9" y="59"/>
                  </a:cubicBezTo>
                  <a:cubicBezTo>
                    <a:pt x="6" y="62"/>
                    <a:pt x="6" y="62"/>
                    <a:pt x="6" y="62"/>
                  </a:cubicBezTo>
                  <a:cubicBezTo>
                    <a:pt x="3" y="69"/>
                    <a:pt x="3" y="69"/>
                    <a:pt x="3" y="69"/>
                  </a:cubicBezTo>
                  <a:cubicBezTo>
                    <a:pt x="4" y="73"/>
                    <a:pt x="4" y="73"/>
                    <a:pt x="4" y="73"/>
                  </a:cubicBezTo>
                  <a:cubicBezTo>
                    <a:pt x="5" y="73"/>
                    <a:pt x="6" y="72"/>
                    <a:pt x="6" y="72"/>
                  </a:cubicBezTo>
                  <a:cubicBezTo>
                    <a:pt x="6" y="72"/>
                    <a:pt x="7" y="71"/>
                    <a:pt x="7" y="71"/>
                  </a:cubicBezTo>
                  <a:cubicBezTo>
                    <a:pt x="8" y="71"/>
                    <a:pt x="9" y="71"/>
                    <a:pt x="9" y="71"/>
                  </a:cubicBezTo>
                  <a:cubicBezTo>
                    <a:pt x="9" y="71"/>
                    <a:pt x="11" y="70"/>
                    <a:pt x="11" y="70"/>
                  </a:cubicBezTo>
                  <a:cubicBezTo>
                    <a:pt x="11" y="69"/>
                    <a:pt x="11" y="69"/>
                    <a:pt x="11" y="69"/>
                  </a:cubicBezTo>
                  <a:cubicBezTo>
                    <a:pt x="13" y="68"/>
                    <a:pt x="13" y="68"/>
                    <a:pt x="13" y="68"/>
                  </a:cubicBezTo>
                  <a:cubicBezTo>
                    <a:pt x="14" y="69"/>
                    <a:pt x="14" y="69"/>
                    <a:pt x="14" y="69"/>
                  </a:cubicBezTo>
                  <a:cubicBezTo>
                    <a:pt x="14" y="69"/>
                    <a:pt x="15" y="68"/>
                    <a:pt x="15" y="68"/>
                  </a:cubicBezTo>
                  <a:cubicBezTo>
                    <a:pt x="15" y="68"/>
                    <a:pt x="18" y="68"/>
                    <a:pt x="18" y="68"/>
                  </a:cubicBezTo>
                  <a:cubicBezTo>
                    <a:pt x="18" y="68"/>
                    <a:pt x="19" y="68"/>
                    <a:pt x="20" y="69"/>
                  </a:cubicBezTo>
                  <a:cubicBezTo>
                    <a:pt x="20" y="69"/>
                    <a:pt x="21" y="69"/>
                    <a:pt x="22" y="69"/>
                  </a:cubicBezTo>
                  <a:cubicBezTo>
                    <a:pt x="22" y="69"/>
                    <a:pt x="24" y="68"/>
                    <a:pt x="24" y="68"/>
                  </a:cubicBezTo>
                  <a:cubicBezTo>
                    <a:pt x="27" y="67"/>
                    <a:pt x="27" y="67"/>
                    <a:pt x="27" y="67"/>
                  </a:cubicBezTo>
                  <a:cubicBezTo>
                    <a:pt x="28" y="69"/>
                    <a:pt x="28" y="69"/>
                    <a:pt x="28" y="69"/>
                  </a:cubicBezTo>
                  <a:cubicBezTo>
                    <a:pt x="28" y="69"/>
                    <a:pt x="28" y="70"/>
                    <a:pt x="28" y="70"/>
                  </a:cubicBezTo>
                  <a:cubicBezTo>
                    <a:pt x="28" y="71"/>
                    <a:pt x="28" y="71"/>
                    <a:pt x="29" y="71"/>
                  </a:cubicBezTo>
                  <a:cubicBezTo>
                    <a:pt x="29" y="71"/>
                    <a:pt x="30" y="71"/>
                    <a:pt x="30" y="71"/>
                  </a:cubicBezTo>
                  <a:cubicBezTo>
                    <a:pt x="30" y="72"/>
                    <a:pt x="30" y="74"/>
                    <a:pt x="30" y="74"/>
                  </a:cubicBezTo>
                  <a:cubicBezTo>
                    <a:pt x="28" y="75"/>
                    <a:pt x="28" y="75"/>
                    <a:pt x="28" y="75"/>
                  </a:cubicBezTo>
                  <a:cubicBezTo>
                    <a:pt x="28" y="75"/>
                    <a:pt x="26" y="75"/>
                    <a:pt x="26" y="76"/>
                  </a:cubicBezTo>
                  <a:cubicBezTo>
                    <a:pt x="26" y="76"/>
                    <a:pt x="25" y="77"/>
                    <a:pt x="25" y="77"/>
                  </a:cubicBezTo>
                  <a:cubicBezTo>
                    <a:pt x="25" y="77"/>
                    <a:pt x="24" y="78"/>
                    <a:pt x="24" y="78"/>
                  </a:cubicBezTo>
                  <a:cubicBezTo>
                    <a:pt x="25" y="79"/>
                    <a:pt x="26" y="80"/>
                    <a:pt x="26" y="80"/>
                  </a:cubicBezTo>
                  <a:cubicBezTo>
                    <a:pt x="25" y="81"/>
                    <a:pt x="25" y="81"/>
                    <a:pt x="25" y="81"/>
                  </a:cubicBezTo>
                  <a:cubicBezTo>
                    <a:pt x="25" y="81"/>
                    <a:pt x="25" y="82"/>
                    <a:pt x="26" y="82"/>
                  </a:cubicBezTo>
                  <a:cubicBezTo>
                    <a:pt x="27" y="83"/>
                    <a:pt x="27" y="83"/>
                    <a:pt x="28" y="82"/>
                  </a:cubicBezTo>
                  <a:cubicBezTo>
                    <a:pt x="30" y="82"/>
                    <a:pt x="31" y="81"/>
                    <a:pt x="31" y="81"/>
                  </a:cubicBezTo>
                  <a:cubicBezTo>
                    <a:pt x="31" y="81"/>
                    <a:pt x="32" y="82"/>
                    <a:pt x="32" y="81"/>
                  </a:cubicBezTo>
                  <a:cubicBezTo>
                    <a:pt x="33" y="81"/>
                    <a:pt x="35" y="80"/>
                    <a:pt x="35" y="80"/>
                  </a:cubicBezTo>
                  <a:cubicBezTo>
                    <a:pt x="35" y="80"/>
                    <a:pt x="35" y="79"/>
                    <a:pt x="35" y="79"/>
                  </a:cubicBezTo>
                  <a:cubicBezTo>
                    <a:pt x="35" y="79"/>
                    <a:pt x="35" y="81"/>
                    <a:pt x="35" y="81"/>
                  </a:cubicBezTo>
                  <a:cubicBezTo>
                    <a:pt x="35" y="81"/>
                    <a:pt x="34" y="82"/>
                    <a:pt x="35" y="82"/>
                  </a:cubicBezTo>
                  <a:cubicBezTo>
                    <a:pt x="35" y="83"/>
                    <a:pt x="36" y="82"/>
                    <a:pt x="36" y="82"/>
                  </a:cubicBezTo>
                  <a:cubicBezTo>
                    <a:pt x="37" y="82"/>
                    <a:pt x="37" y="82"/>
                    <a:pt x="37" y="82"/>
                  </a:cubicBezTo>
                  <a:cubicBezTo>
                    <a:pt x="39" y="82"/>
                    <a:pt x="39" y="82"/>
                    <a:pt x="39" y="82"/>
                  </a:cubicBezTo>
                  <a:cubicBezTo>
                    <a:pt x="39" y="82"/>
                    <a:pt x="41" y="81"/>
                    <a:pt x="41" y="81"/>
                  </a:cubicBezTo>
                  <a:cubicBezTo>
                    <a:pt x="41" y="82"/>
                    <a:pt x="42" y="82"/>
                    <a:pt x="42" y="82"/>
                  </a:cubicBezTo>
                  <a:cubicBezTo>
                    <a:pt x="42" y="83"/>
                    <a:pt x="45" y="84"/>
                    <a:pt x="45" y="84"/>
                  </a:cubicBezTo>
                  <a:cubicBezTo>
                    <a:pt x="44" y="85"/>
                    <a:pt x="44" y="85"/>
                    <a:pt x="44" y="85"/>
                  </a:cubicBezTo>
                  <a:cubicBezTo>
                    <a:pt x="44" y="85"/>
                    <a:pt x="43" y="87"/>
                    <a:pt x="44" y="87"/>
                  </a:cubicBezTo>
                  <a:cubicBezTo>
                    <a:pt x="44" y="87"/>
                    <a:pt x="45" y="86"/>
                    <a:pt x="45" y="86"/>
                  </a:cubicBezTo>
                  <a:cubicBezTo>
                    <a:pt x="45" y="86"/>
                    <a:pt x="46" y="85"/>
                    <a:pt x="46" y="85"/>
                  </a:cubicBezTo>
                  <a:cubicBezTo>
                    <a:pt x="46" y="85"/>
                    <a:pt x="47" y="85"/>
                    <a:pt x="47" y="85"/>
                  </a:cubicBezTo>
                  <a:cubicBezTo>
                    <a:pt x="47" y="85"/>
                    <a:pt x="48" y="86"/>
                    <a:pt x="48" y="86"/>
                  </a:cubicBezTo>
                  <a:cubicBezTo>
                    <a:pt x="48" y="86"/>
                    <a:pt x="49" y="88"/>
                    <a:pt x="49" y="88"/>
                  </a:cubicBezTo>
                  <a:cubicBezTo>
                    <a:pt x="49" y="88"/>
                    <a:pt x="50" y="87"/>
                    <a:pt x="50" y="87"/>
                  </a:cubicBezTo>
                  <a:cubicBezTo>
                    <a:pt x="50" y="87"/>
                    <a:pt x="51" y="87"/>
                    <a:pt x="51" y="87"/>
                  </a:cubicBezTo>
                  <a:cubicBezTo>
                    <a:pt x="52" y="87"/>
                    <a:pt x="52" y="87"/>
                    <a:pt x="52" y="87"/>
                  </a:cubicBezTo>
                  <a:cubicBezTo>
                    <a:pt x="53" y="87"/>
                    <a:pt x="56" y="87"/>
                    <a:pt x="56" y="87"/>
                  </a:cubicBezTo>
                  <a:cubicBezTo>
                    <a:pt x="57" y="86"/>
                    <a:pt x="57" y="86"/>
                    <a:pt x="57" y="86"/>
                  </a:cubicBezTo>
                  <a:cubicBezTo>
                    <a:pt x="58" y="84"/>
                    <a:pt x="58" y="84"/>
                    <a:pt x="58" y="84"/>
                  </a:cubicBezTo>
                  <a:cubicBezTo>
                    <a:pt x="58" y="83"/>
                    <a:pt x="58" y="83"/>
                    <a:pt x="58" y="83"/>
                  </a:cubicBezTo>
                  <a:cubicBezTo>
                    <a:pt x="58" y="83"/>
                    <a:pt x="60" y="82"/>
                    <a:pt x="60" y="82"/>
                  </a:cubicBezTo>
                  <a:cubicBezTo>
                    <a:pt x="60" y="82"/>
                    <a:pt x="61" y="82"/>
                    <a:pt x="61" y="83"/>
                  </a:cubicBezTo>
                  <a:cubicBezTo>
                    <a:pt x="61" y="83"/>
                    <a:pt x="63" y="85"/>
                    <a:pt x="63" y="85"/>
                  </a:cubicBezTo>
                  <a:cubicBezTo>
                    <a:pt x="63" y="85"/>
                    <a:pt x="64" y="84"/>
                    <a:pt x="64" y="84"/>
                  </a:cubicBezTo>
                  <a:cubicBezTo>
                    <a:pt x="65" y="85"/>
                    <a:pt x="65" y="84"/>
                    <a:pt x="66" y="85"/>
                  </a:cubicBezTo>
                  <a:cubicBezTo>
                    <a:pt x="66" y="86"/>
                    <a:pt x="66" y="86"/>
                    <a:pt x="66" y="86"/>
                  </a:cubicBezTo>
                  <a:cubicBezTo>
                    <a:pt x="67" y="86"/>
                    <a:pt x="67" y="86"/>
                    <a:pt x="68" y="87"/>
                  </a:cubicBezTo>
                  <a:cubicBezTo>
                    <a:pt x="68" y="87"/>
                    <a:pt x="70" y="87"/>
                    <a:pt x="70" y="87"/>
                  </a:cubicBezTo>
                  <a:cubicBezTo>
                    <a:pt x="70" y="86"/>
                    <a:pt x="70" y="86"/>
                    <a:pt x="70" y="86"/>
                  </a:cubicBezTo>
                  <a:cubicBezTo>
                    <a:pt x="70" y="86"/>
                    <a:pt x="70" y="85"/>
                    <a:pt x="71" y="85"/>
                  </a:cubicBezTo>
                  <a:cubicBezTo>
                    <a:pt x="72" y="86"/>
                    <a:pt x="72" y="87"/>
                    <a:pt x="72" y="87"/>
                  </a:cubicBezTo>
                  <a:cubicBezTo>
                    <a:pt x="72" y="87"/>
                    <a:pt x="73" y="88"/>
                    <a:pt x="73" y="88"/>
                  </a:cubicBezTo>
                  <a:cubicBezTo>
                    <a:pt x="73" y="88"/>
                    <a:pt x="76" y="88"/>
                    <a:pt x="76" y="88"/>
                  </a:cubicBezTo>
                  <a:cubicBezTo>
                    <a:pt x="76" y="88"/>
                    <a:pt x="77" y="88"/>
                    <a:pt x="77" y="88"/>
                  </a:cubicBezTo>
                  <a:cubicBezTo>
                    <a:pt x="78" y="88"/>
                    <a:pt x="78" y="89"/>
                    <a:pt x="78" y="89"/>
                  </a:cubicBezTo>
                  <a:cubicBezTo>
                    <a:pt x="78" y="89"/>
                    <a:pt x="78" y="90"/>
                    <a:pt x="78" y="91"/>
                  </a:cubicBezTo>
                  <a:cubicBezTo>
                    <a:pt x="77" y="91"/>
                    <a:pt x="77" y="91"/>
                    <a:pt x="77" y="91"/>
                  </a:cubicBezTo>
                  <a:cubicBezTo>
                    <a:pt x="78" y="92"/>
                    <a:pt x="79" y="93"/>
                    <a:pt x="79" y="93"/>
                  </a:cubicBezTo>
                  <a:cubicBezTo>
                    <a:pt x="79" y="93"/>
                    <a:pt x="78" y="94"/>
                    <a:pt x="78" y="94"/>
                  </a:cubicBezTo>
                  <a:cubicBezTo>
                    <a:pt x="78" y="95"/>
                    <a:pt x="77" y="96"/>
                    <a:pt x="77" y="96"/>
                  </a:cubicBezTo>
                  <a:cubicBezTo>
                    <a:pt x="77" y="97"/>
                    <a:pt x="77" y="97"/>
                    <a:pt x="77" y="97"/>
                  </a:cubicBezTo>
                  <a:cubicBezTo>
                    <a:pt x="76" y="97"/>
                    <a:pt x="76" y="97"/>
                    <a:pt x="76" y="97"/>
                  </a:cubicBezTo>
                  <a:cubicBezTo>
                    <a:pt x="76" y="98"/>
                    <a:pt x="76" y="98"/>
                    <a:pt x="76" y="98"/>
                  </a:cubicBezTo>
                  <a:cubicBezTo>
                    <a:pt x="76" y="98"/>
                    <a:pt x="76" y="99"/>
                    <a:pt x="76" y="99"/>
                  </a:cubicBezTo>
                  <a:cubicBezTo>
                    <a:pt x="76" y="99"/>
                    <a:pt x="76" y="101"/>
                    <a:pt x="76" y="101"/>
                  </a:cubicBezTo>
                  <a:cubicBezTo>
                    <a:pt x="77" y="102"/>
                    <a:pt x="77" y="102"/>
                    <a:pt x="77" y="102"/>
                  </a:cubicBezTo>
                  <a:cubicBezTo>
                    <a:pt x="77" y="102"/>
                    <a:pt x="78" y="101"/>
                    <a:pt x="79" y="101"/>
                  </a:cubicBezTo>
                  <a:cubicBezTo>
                    <a:pt x="79" y="101"/>
                    <a:pt x="81" y="101"/>
                    <a:pt x="81" y="101"/>
                  </a:cubicBezTo>
                  <a:cubicBezTo>
                    <a:pt x="81" y="101"/>
                    <a:pt x="83" y="103"/>
                    <a:pt x="83" y="103"/>
                  </a:cubicBezTo>
                  <a:cubicBezTo>
                    <a:pt x="83" y="103"/>
                    <a:pt x="85" y="105"/>
                    <a:pt x="85" y="105"/>
                  </a:cubicBezTo>
                  <a:cubicBezTo>
                    <a:pt x="87" y="107"/>
                    <a:pt x="87" y="107"/>
                    <a:pt x="87" y="107"/>
                  </a:cubicBezTo>
                  <a:cubicBezTo>
                    <a:pt x="85" y="108"/>
                    <a:pt x="85" y="108"/>
                    <a:pt x="85" y="108"/>
                  </a:cubicBezTo>
                  <a:cubicBezTo>
                    <a:pt x="83" y="111"/>
                    <a:pt x="83" y="111"/>
                    <a:pt x="83" y="111"/>
                  </a:cubicBezTo>
                  <a:cubicBezTo>
                    <a:pt x="82" y="112"/>
                    <a:pt x="82" y="112"/>
                    <a:pt x="82" y="112"/>
                  </a:cubicBezTo>
                  <a:cubicBezTo>
                    <a:pt x="82" y="112"/>
                    <a:pt x="81" y="113"/>
                    <a:pt x="81" y="113"/>
                  </a:cubicBezTo>
                  <a:cubicBezTo>
                    <a:pt x="81" y="114"/>
                    <a:pt x="79" y="115"/>
                    <a:pt x="79" y="115"/>
                  </a:cubicBezTo>
                  <a:cubicBezTo>
                    <a:pt x="78" y="115"/>
                    <a:pt x="78" y="115"/>
                    <a:pt x="78" y="115"/>
                  </a:cubicBezTo>
                  <a:cubicBezTo>
                    <a:pt x="76" y="116"/>
                    <a:pt x="76" y="116"/>
                    <a:pt x="76" y="116"/>
                  </a:cubicBezTo>
                  <a:cubicBezTo>
                    <a:pt x="75" y="117"/>
                    <a:pt x="75" y="117"/>
                    <a:pt x="75" y="117"/>
                  </a:cubicBezTo>
                  <a:cubicBezTo>
                    <a:pt x="73" y="119"/>
                    <a:pt x="73" y="119"/>
                    <a:pt x="73" y="119"/>
                  </a:cubicBezTo>
                  <a:cubicBezTo>
                    <a:pt x="72" y="119"/>
                    <a:pt x="72" y="119"/>
                    <a:pt x="72" y="119"/>
                  </a:cubicBezTo>
                  <a:cubicBezTo>
                    <a:pt x="70" y="120"/>
                    <a:pt x="70" y="120"/>
                    <a:pt x="70" y="120"/>
                  </a:cubicBezTo>
                  <a:cubicBezTo>
                    <a:pt x="69" y="119"/>
                    <a:pt x="69" y="119"/>
                    <a:pt x="69" y="119"/>
                  </a:cubicBezTo>
                  <a:cubicBezTo>
                    <a:pt x="67" y="120"/>
                    <a:pt x="67" y="120"/>
                    <a:pt x="67" y="120"/>
                  </a:cubicBezTo>
                  <a:cubicBezTo>
                    <a:pt x="66" y="121"/>
                    <a:pt x="66" y="121"/>
                    <a:pt x="66" y="121"/>
                  </a:cubicBezTo>
                  <a:cubicBezTo>
                    <a:pt x="64" y="122"/>
                    <a:pt x="64" y="122"/>
                    <a:pt x="64" y="122"/>
                  </a:cubicBezTo>
                  <a:cubicBezTo>
                    <a:pt x="63" y="125"/>
                    <a:pt x="63" y="125"/>
                    <a:pt x="63" y="125"/>
                  </a:cubicBezTo>
                  <a:cubicBezTo>
                    <a:pt x="63" y="125"/>
                    <a:pt x="61" y="125"/>
                    <a:pt x="61" y="125"/>
                  </a:cubicBezTo>
                  <a:cubicBezTo>
                    <a:pt x="60" y="126"/>
                    <a:pt x="59" y="126"/>
                    <a:pt x="59" y="126"/>
                  </a:cubicBezTo>
                  <a:cubicBezTo>
                    <a:pt x="58" y="126"/>
                    <a:pt x="58" y="126"/>
                    <a:pt x="58" y="126"/>
                  </a:cubicBezTo>
                  <a:cubicBezTo>
                    <a:pt x="57" y="126"/>
                    <a:pt x="57" y="126"/>
                    <a:pt x="57" y="126"/>
                  </a:cubicBezTo>
                  <a:cubicBezTo>
                    <a:pt x="57" y="128"/>
                    <a:pt x="57" y="128"/>
                    <a:pt x="57" y="128"/>
                  </a:cubicBezTo>
                  <a:cubicBezTo>
                    <a:pt x="58" y="128"/>
                    <a:pt x="58" y="128"/>
                    <a:pt x="58" y="128"/>
                  </a:cubicBezTo>
                  <a:cubicBezTo>
                    <a:pt x="58" y="128"/>
                    <a:pt x="58" y="129"/>
                    <a:pt x="57" y="130"/>
                  </a:cubicBezTo>
                  <a:cubicBezTo>
                    <a:pt x="57" y="130"/>
                    <a:pt x="58" y="132"/>
                    <a:pt x="58" y="132"/>
                  </a:cubicBezTo>
                  <a:cubicBezTo>
                    <a:pt x="59" y="133"/>
                    <a:pt x="59" y="133"/>
                    <a:pt x="59" y="133"/>
                  </a:cubicBezTo>
                  <a:cubicBezTo>
                    <a:pt x="59" y="133"/>
                    <a:pt x="59" y="135"/>
                    <a:pt x="59" y="135"/>
                  </a:cubicBezTo>
                  <a:cubicBezTo>
                    <a:pt x="58" y="135"/>
                    <a:pt x="57" y="136"/>
                    <a:pt x="57" y="136"/>
                  </a:cubicBezTo>
                  <a:cubicBezTo>
                    <a:pt x="57" y="137"/>
                    <a:pt x="57" y="137"/>
                    <a:pt x="57" y="137"/>
                  </a:cubicBezTo>
                  <a:cubicBezTo>
                    <a:pt x="57" y="139"/>
                    <a:pt x="57" y="139"/>
                    <a:pt x="57" y="139"/>
                  </a:cubicBezTo>
                  <a:cubicBezTo>
                    <a:pt x="57" y="139"/>
                    <a:pt x="57" y="141"/>
                    <a:pt x="57" y="141"/>
                  </a:cubicBezTo>
                  <a:cubicBezTo>
                    <a:pt x="57" y="142"/>
                    <a:pt x="56" y="143"/>
                    <a:pt x="56" y="143"/>
                  </a:cubicBezTo>
                  <a:cubicBezTo>
                    <a:pt x="55" y="144"/>
                    <a:pt x="55" y="144"/>
                    <a:pt x="55" y="144"/>
                  </a:cubicBezTo>
                  <a:cubicBezTo>
                    <a:pt x="55" y="145"/>
                    <a:pt x="55" y="145"/>
                    <a:pt x="55" y="145"/>
                  </a:cubicBezTo>
                  <a:cubicBezTo>
                    <a:pt x="56" y="146"/>
                    <a:pt x="56" y="146"/>
                    <a:pt x="56" y="146"/>
                  </a:cubicBezTo>
                  <a:cubicBezTo>
                    <a:pt x="55" y="149"/>
                    <a:pt x="55" y="149"/>
                    <a:pt x="55" y="149"/>
                  </a:cubicBezTo>
                  <a:cubicBezTo>
                    <a:pt x="53" y="150"/>
                    <a:pt x="53" y="150"/>
                    <a:pt x="53" y="150"/>
                  </a:cubicBezTo>
                  <a:cubicBezTo>
                    <a:pt x="53" y="152"/>
                    <a:pt x="53" y="152"/>
                    <a:pt x="53" y="152"/>
                  </a:cubicBezTo>
                  <a:cubicBezTo>
                    <a:pt x="54" y="153"/>
                    <a:pt x="54" y="153"/>
                    <a:pt x="54" y="153"/>
                  </a:cubicBezTo>
                  <a:cubicBezTo>
                    <a:pt x="54" y="155"/>
                    <a:pt x="54" y="155"/>
                    <a:pt x="54" y="155"/>
                  </a:cubicBezTo>
                  <a:cubicBezTo>
                    <a:pt x="54" y="156"/>
                    <a:pt x="54" y="156"/>
                    <a:pt x="54" y="156"/>
                  </a:cubicBezTo>
                  <a:cubicBezTo>
                    <a:pt x="53" y="157"/>
                    <a:pt x="53" y="157"/>
                    <a:pt x="53" y="157"/>
                  </a:cubicBezTo>
                  <a:cubicBezTo>
                    <a:pt x="52" y="157"/>
                    <a:pt x="52" y="157"/>
                    <a:pt x="52" y="157"/>
                  </a:cubicBezTo>
                  <a:cubicBezTo>
                    <a:pt x="51" y="159"/>
                    <a:pt x="51" y="159"/>
                    <a:pt x="51" y="159"/>
                  </a:cubicBezTo>
                  <a:cubicBezTo>
                    <a:pt x="49" y="159"/>
                    <a:pt x="49" y="159"/>
                    <a:pt x="49" y="159"/>
                  </a:cubicBezTo>
                  <a:cubicBezTo>
                    <a:pt x="48" y="159"/>
                    <a:pt x="48" y="159"/>
                    <a:pt x="48" y="159"/>
                  </a:cubicBezTo>
                  <a:cubicBezTo>
                    <a:pt x="47" y="160"/>
                    <a:pt x="47" y="160"/>
                    <a:pt x="47" y="160"/>
                  </a:cubicBezTo>
                  <a:cubicBezTo>
                    <a:pt x="46" y="160"/>
                    <a:pt x="46" y="160"/>
                    <a:pt x="46" y="160"/>
                  </a:cubicBezTo>
                  <a:cubicBezTo>
                    <a:pt x="45" y="161"/>
                    <a:pt x="45" y="161"/>
                    <a:pt x="45" y="161"/>
                  </a:cubicBezTo>
                  <a:cubicBezTo>
                    <a:pt x="45" y="162"/>
                    <a:pt x="45" y="162"/>
                    <a:pt x="45" y="162"/>
                  </a:cubicBezTo>
                  <a:cubicBezTo>
                    <a:pt x="45" y="162"/>
                    <a:pt x="45" y="163"/>
                    <a:pt x="45" y="164"/>
                  </a:cubicBezTo>
                  <a:cubicBezTo>
                    <a:pt x="45" y="164"/>
                    <a:pt x="46" y="164"/>
                    <a:pt x="46" y="164"/>
                  </a:cubicBezTo>
                  <a:cubicBezTo>
                    <a:pt x="47" y="165"/>
                    <a:pt x="47" y="165"/>
                    <a:pt x="47" y="165"/>
                  </a:cubicBezTo>
                  <a:cubicBezTo>
                    <a:pt x="48" y="168"/>
                    <a:pt x="48" y="168"/>
                    <a:pt x="48" y="168"/>
                  </a:cubicBezTo>
                  <a:cubicBezTo>
                    <a:pt x="48" y="170"/>
                    <a:pt x="48" y="170"/>
                    <a:pt x="48" y="170"/>
                  </a:cubicBezTo>
                  <a:cubicBezTo>
                    <a:pt x="48" y="170"/>
                    <a:pt x="48" y="171"/>
                    <a:pt x="47" y="172"/>
                  </a:cubicBezTo>
                  <a:cubicBezTo>
                    <a:pt x="47" y="172"/>
                    <a:pt x="46" y="173"/>
                    <a:pt x="46" y="173"/>
                  </a:cubicBezTo>
                  <a:cubicBezTo>
                    <a:pt x="46" y="175"/>
                    <a:pt x="46" y="175"/>
                    <a:pt x="46" y="175"/>
                  </a:cubicBezTo>
                  <a:cubicBezTo>
                    <a:pt x="45" y="176"/>
                    <a:pt x="45" y="176"/>
                    <a:pt x="45" y="176"/>
                  </a:cubicBezTo>
                  <a:cubicBezTo>
                    <a:pt x="44" y="177"/>
                    <a:pt x="44" y="177"/>
                    <a:pt x="44" y="177"/>
                  </a:cubicBezTo>
                  <a:cubicBezTo>
                    <a:pt x="42" y="177"/>
                    <a:pt x="42" y="177"/>
                    <a:pt x="42" y="177"/>
                  </a:cubicBezTo>
                  <a:cubicBezTo>
                    <a:pt x="42" y="178"/>
                    <a:pt x="42" y="178"/>
                    <a:pt x="42" y="178"/>
                  </a:cubicBezTo>
                  <a:cubicBezTo>
                    <a:pt x="42" y="179"/>
                    <a:pt x="42" y="179"/>
                    <a:pt x="42" y="179"/>
                  </a:cubicBezTo>
                  <a:cubicBezTo>
                    <a:pt x="41" y="180"/>
                    <a:pt x="41" y="180"/>
                    <a:pt x="41" y="180"/>
                  </a:cubicBezTo>
                  <a:cubicBezTo>
                    <a:pt x="41" y="180"/>
                    <a:pt x="41" y="180"/>
                    <a:pt x="41" y="180"/>
                  </a:cubicBezTo>
                  <a:cubicBezTo>
                    <a:pt x="41" y="182"/>
                    <a:pt x="41" y="182"/>
                    <a:pt x="41" y="182"/>
                  </a:cubicBezTo>
                  <a:cubicBezTo>
                    <a:pt x="40" y="183"/>
                    <a:pt x="40" y="183"/>
                    <a:pt x="40" y="183"/>
                  </a:cubicBezTo>
                  <a:cubicBezTo>
                    <a:pt x="40" y="183"/>
                    <a:pt x="39" y="183"/>
                    <a:pt x="39" y="183"/>
                  </a:cubicBezTo>
                  <a:cubicBezTo>
                    <a:pt x="38" y="183"/>
                    <a:pt x="37" y="183"/>
                    <a:pt x="37" y="183"/>
                  </a:cubicBezTo>
                  <a:cubicBezTo>
                    <a:pt x="37" y="183"/>
                    <a:pt x="36" y="183"/>
                    <a:pt x="36" y="183"/>
                  </a:cubicBezTo>
                  <a:cubicBezTo>
                    <a:pt x="36" y="183"/>
                    <a:pt x="35" y="183"/>
                    <a:pt x="35" y="183"/>
                  </a:cubicBezTo>
                  <a:cubicBezTo>
                    <a:pt x="35" y="183"/>
                    <a:pt x="34" y="182"/>
                    <a:pt x="34" y="182"/>
                  </a:cubicBezTo>
                  <a:cubicBezTo>
                    <a:pt x="33" y="182"/>
                    <a:pt x="33" y="182"/>
                    <a:pt x="33" y="182"/>
                  </a:cubicBezTo>
                  <a:cubicBezTo>
                    <a:pt x="31" y="182"/>
                    <a:pt x="31" y="182"/>
                    <a:pt x="31" y="182"/>
                  </a:cubicBezTo>
                  <a:cubicBezTo>
                    <a:pt x="29" y="182"/>
                    <a:pt x="29" y="182"/>
                    <a:pt x="29" y="182"/>
                  </a:cubicBezTo>
                  <a:cubicBezTo>
                    <a:pt x="27" y="182"/>
                    <a:pt x="27" y="182"/>
                    <a:pt x="27" y="182"/>
                  </a:cubicBezTo>
                  <a:cubicBezTo>
                    <a:pt x="27" y="181"/>
                    <a:pt x="27" y="181"/>
                    <a:pt x="27" y="181"/>
                  </a:cubicBezTo>
                  <a:cubicBezTo>
                    <a:pt x="26" y="182"/>
                    <a:pt x="26" y="182"/>
                    <a:pt x="26" y="182"/>
                  </a:cubicBezTo>
                  <a:cubicBezTo>
                    <a:pt x="26" y="181"/>
                    <a:pt x="26" y="181"/>
                    <a:pt x="26" y="181"/>
                  </a:cubicBezTo>
                  <a:cubicBezTo>
                    <a:pt x="24" y="180"/>
                    <a:pt x="24" y="180"/>
                    <a:pt x="24" y="180"/>
                  </a:cubicBezTo>
                  <a:cubicBezTo>
                    <a:pt x="22" y="180"/>
                    <a:pt x="22" y="180"/>
                    <a:pt x="22" y="180"/>
                  </a:cubicBezTo>
                  <a:cubicBezTo>
                    <a:pt x="22" y="180"/>
                    <a:pt x="23" y="181"/>
                    <a:pt x="23" y="182"/>
                  </a:cubicBezTo>
                  <a:cubicBezTo>
                    <a:pt x="23" y="182"/>
                    <a:pt x="24" y="183"/>
                    <a:pt x="24" y="183"/>
                  </a:cubicBezTo>
                  <a:cubicBezTo>
                    <a:pt x="24" y="183"/>
                    <a:pt x="24" y="185"/>
                    <a:pt x="24" y="185"/>
                  </a:cubicBezTo>
                  <a:cubicBezTo>
                    <a:pt x="24" y="185"/>
                    <a:pt x="26" y="187"/>
                    <a:pt x="26" y="187"/>
                  </a:cubicBezTo>
                  <a:cubicBezTo>
                    <a:pt x="26" y="188"/>
                    <a:pt x="26" y="188"/>
                    <a:pt x="26" y="188"/>
                  </a:cubicBezTo>
                  <a:cubicBezTo>
                    <a:pt x="26" y="188"/>
                    <a:pt x="26" y="189"/>
                    <a:pt x="26" y="189"/>
                  </a:cubicBezTo>
                  <a:cubicBezTo>
                    <a:pt x="27" y="189"/>
                    <a:pt x="28" y="190"/>
                    <a:pt x="28" y="190"/>
                  </a:cubicBezTo>
                  <a:cubicBezTo>
                    <a:pt x="28" y="191"/>
                    <a:pt x="28" y="191"/>
                    <a:pt x="28" y="191"/>
                  </a:cubicBezTo>
                  <a:cubicBezTo>
                    <a:pt x="27" y="193"/>
                    <a:pt x="27" y="193"/>
                    <a:pt x="27" y="193"/>
                  </a:cubicBezTo>
                  <a:cubicBezTo>
                    <a:pt x="27" y="193"/>
                    <a:pt x="27" y="193"/>
                    <a:pt x="27" y="193"/>
                  </a:cubicBezTo>
                  <a:cubicBezTo>
                    <a:pt x="27" y="195"/>
                    <a:pt x="27" y="195"/>
                    <a:pt x="27" y="195"/>
                  </a:cubicBezTo>
                  <a:cubicBezTo>
                    <a:pt x="27" y="196"/>
                    <a:pt x="27" y="196"/>
                    <a:pt x="27" y="196"/>
                  </a:cubicBezTo>
                  <a:cubicBezTo>
                    <a:pt x="28" y="197"/>
                    <a:pt x="28" y="197"/>
                    <a:pt x="28" y="197"/>
                  </a:cubicBezTo>
                  <a:cubicBezTo>
                    <a:pt x="28" y="198"/>
                    <a:pt x="28" y="198"/>
                    <a:pt x="28" y="198"/>
                  </a:cubicBezTo>
                  <a:cubicBezTo>
                    <a:pt x="27" y="199"/>
                    <a:pt x="27" y="199"/>
                    <a:pt x="27" y="199"/>
                  </a:cubicBezTo>
                  <a:cubicBezTo>
                    <a:pt x="27" y="201"/>
                    <a:pt x="27" y="201"/>
                    <a:pt x="27" y="201"/>
                  </a:cubicBezTo>
                  <a:cubicBezTo>
                    <a:pt x="28" y="202"/>
                    <a:pt x="28" y="202"/>
                    <a:pt x="28" y="202"/>
                  </a:cubicBezTo>
                  <a:cubicBezTo>
                    <a:pt x="29" y="203"/>
                    <a:pt x="29" y="203"/>
                    <a:pt x="29" y="203"/>
                  </a:cubicBezTo>
                  <a:cubicBezTo>
                    <a:pt x="31" y="204"/>
                    <a:pt x="31" y="204"/>
                    <a:pt x="31" y="204"/>
                  </a:cubicBezTo>
                  <a:cubicBezTo>
                    <a:pt x="31" y="205"/>
                    <a:pt x="31" y="205"/>
                    <a:pt x="31" y="205"/>
                  </a:cubicBezTo>
                  <a:cubicBezTo>
                    <a:pt x="30" y="206"/>
                    <a:pt x="30" y="206"/>
                    <a:pt x="30" y="206"/>
                  </a:cubicBezTo>
                  <a:cubicBezTo>
                    <a:pt x="30" y="206"/>
                    <a:pt x="29" y="207"/>
                    <a:pt x="30" y="207"/>
                  </a:cubicBezTo>
                  <a:cubicBezTo>
                    <a:pt x="30" y="207"/>
                    <a:pt x="31" y="207"/>
                    <a:pt x="31" y="207"/>
                  </a:cubicBezTo>
                  <a:cubicBezTo>
                    <a:pt x="33" y="207"/>
                    <a:pt x="33" y="207"/>
                    <a:pt x="33" y="207"/>
                  </a:cubicBezTo>
                  <a:cubicBezTo>
                    <a:pt x="33" y="207"/>
                    <a:pt x="34" y="207"/>
                    <a:pt x="34" y="207"/>
                  </a:cubicBezTo>
                  <a:cubicBezTo>
                    <a:pt x="34" y="207"/>
                    <a:pt x="35" y="209"/>
                    <a:pt x="35" y="209"/>
                  </a:cubicBezTo>
                  <a:cubicBezTo>
                    <a:pt x="35" y="210"/>
                    <a:pt x="35" y="210"/>
                    <a:pt x="35" y="210"/>
                  </a:cubicBezTo>
                  <a:cubicBezTo>
                    <a:pt x="35" y="212"/>
                    <a:pt x="35" y="212"/>
                    <a:pt x="35" y="212"/>
                  </a:cubicBezTo>
                  <a:cubicBezTo>
                    <a:pt x="34" y="214"/>
                    <a:pt x="34" y="214"/>
                    <a:pt x="34" y="214"/>
                  </a:cubicBezTo>
                  <a:cubicBezTo>
                    <a:pt x="32" y="215"/>
                    <a:pt x="32" y="215"/>
                    <a:pt x="32" y="215"/>
                  </a:cubicBezTo>
                  <a:cubicBezTo>
                    <a:pt x="31" y="216"/>
                    <a:pt x="31" y="216"/>
                    <a:pt x="31" y="216"/>
                  </a:cubicBezTo>
                  <a:cubicBezTo>
                    <a:pt x="31" y="217"/>
                    <a:pt x="31" y="217"/>
                    <a:pt x="31" y="217"/>
                  </a:cubicBezTo>
                  <a:cubicBezTo>
                    <a:pt x="30" y="218"/>
                    <a:pt x="30" y="218"/>
                    <a:pt x="30" y="218"/>
                  </a:cubicBezTo>
                  <a:cubicBezTo>
                    <a:pt x="29" y="219"/>
                    <a:pt x="29" y="219"/>
                    <a:pt x="29" y="219"/>
                  </a:cubicBezTo>
                  <a:cubicBezTo>
                    <a:pt x="27" y="219"/>
                    <a:pt x="27" y="219"/>
                    <a:pt x="27" y="219"/>
                  </a:cubicBezTo>
                  <a:cubicBezTo>
                    <a:pt x="27" y="220"/>
                    <a:pt x="27" y="220"/>
                    <a:pt x="27" y="220"/>
                  </a:cubicBezTo>
                  <a:cubicBezTo>
                    <a:pt x="25" y="220"/>
                    <a:pt x="25" y="220"/>
                    <a:pt x="25" y="220"/>
                  </a:cubicBezTo>
                  <a:cubicBezTo>
                    <a:pt x="23" y="221"/>
                    <a:pt x="23" y="221"/>
                    <a:pt x="23" y="221"/>
                  </a:cubicBezTo>
                  <a:cubicBezTo>
                    <a:pt x="22" y="221"/>
                    <a:pt x="22" y="221"/>
                    <a:pt x="22" y="221"/>
                  </a:cubicBezTo>
                  <a:cubicBezTo>
                    <a:pt x="21" y="224"/>
                    <a:pt x="21" y="224"/>
                    <a:pt x="21" y="224"/>
                  </a:cubicBezTo>
                  <a:cubicBezTo>
                    <a:pt x="21" y="224"/>
                    <a:pt x="20" y="226"/>
                    <a:pt x="21" y="226"/>
                  </a:cubicBezTo>
                  <a:cubicBezTo>
                    <a:pt x="21" y="226"/>
                    <a:pt x="21" y="227"/>
                    <a:pt x="21" y="227"/>
                  </a:cubicBezTo>
                  <a:cubicBezTo>
                    <a:pt x="21" y="227"/>
                    <a:pt x="20" y="229"/>
                    <a:pt x="20" y="229"/>
                  </a:cubicBezTo>
                  <a:cubicBezTo>
                    <a:pt x="20" y="229"/>
                    <a:pt x="18" y="229"/>
                    <a:pt x="18" y="229"/>
                  </a:cubicBezTo>
                  <a:cubicBezTo>
                    <a:pt x="18" y="231"/>
                    <a:pt x="18" y="231"/>
                    <a:pt x="18" y="231"/>
                  </a:cubicBezTo>
                  <a:cubicBezTo>
                    <a:pt x="18" y="231"/>
                    <a:pt x="18" y="231"/>
                    <a:pt x="18" y="231"/>
                  </a:cubicBezTo>
                  <a:cubicBezTo>
                    <a:pt x="17" y="232"/>
                    <a:pt x="17" y="232"/>
                    <a:pt x="17" y="232"/>
                  </a:cubicBezTo>
                  <a:cubicBezTo>
                    <a:pt x="18" y="233"/>
                    <a:pt x="18" y="233"/>
                    <a:pt x="18" y="233"/>
                  </a:cubicBezTo>
                  <a:cubicBezTo>
                    <a:pt x="17" y="234"/>
                    <a:pt x="17" y="234"/>
                    <a:pt x="17" y="234"/>
                  </a:cubicBezTo>
                  <a:cubicBezTo>
                    <a:pt x="17" y="235"/>
                    <a:pt x="17" y="235"/>
                    <a:pt x="17" y="235"/>
                  </a:cubicBezTo>
                  <a:cubicBezTo>
                    <a:pt x="17" y="235"/>
                    <a:pt x="18" y="237"/>
                    <a:pt x="18" y="237"/>
                  </a:cubicBezTo>
                  <a:cubicBezTo>
                    <a:pt x="18" y="238"/>
                    <a:pt x="19" y="239"/>
                    <a:pt x="19" y="239"/>
                  </a:cubicBezTo>
                  <a:cubicBezTo>
                    <a:pt x="19" y="239"/>
                    <a:pt x="20" y="240"/>
                    <a:pt x="20" y="240"/>
                  </a:cubicBezTo>
                  <a:cubicBezTo>
                    <a:pt x="20" y="240"/>
                    <a:pt x="20" y="242"/>
                    <a:pt x="20" y="242"/>
                  </a:cubicBezTo>
                  <a:cubicBezTo>
                    <a:pt x="20" y="243"/>
                    <a:pt x="21" y="245"/>
                    <a:pt x="21" y="245"/>
                  </a:cubicBezTo>
                  <a:cubicBezTo>
                    <a:pt x="21" y="246"/>
                    <a:pt x="21" y="246"/>
                    <a:pt x="21" y="246"/>
                  </a:cubicBezTo>
                  <a:cubicBezTo>
                    <a:pt x="21" y="246"/>
                    <a:pt x="21" y="247"/>
                    <a:pt x="22" y="247"/>
                  </a:cubicBezTo>
                  <a:cubicBezTo>
                    <a:pt x="22" y="247"/>
                    <a:pt x="24" y="247"/>
                    <a:pt x="24" y="247"/>
                  </a:cubicBezTo>
                  <a:cubicBezTo>
                    <a:pt x="24" y="247"/>
                    <a:pt x="25" y="247"/>
                    <a:pt x="26" y="247"/>
                  </a:cubicBezTo>
                  <a:cubicBezTo>
                    <a:pt x="26" y="247"/>
                    <a:pt x="26" y="246"/>
                    <a:pt x="27" y="247"/>
                  </a:cubicBezTo>
                  <a:cubicBezTo>
                    <a:pt x="27" y="247"/>
                    <a:pt x="27" y="248"/>
                    <a:pt x="27" y="248"/>
                  </a:cubicBezTo>
                  <a:cubicBezTo>
                    <a:pt x="27" y="248"/>
                    <a:pt x="27" y="249"/>
                    <a:pt x="27" y="249"/>
                  </a:cubicBezTo>
                  <a:cubicBezTo>
                    <a:pt x="24" y="252"/>
                    <a:pt x="24" y="252"/>
                    <a:pt x="24" y="252"/>
                  </a:cubicBezTo>
                  <a:cubicBezTo>
                    <a:pt x="24" y="254"/>
                    <a:pt x="24" y="254"/>
                    <a:pt x="24" y="254"/>
                  </a:cubicBezTo>
                  <a:cubicBezTo>
                    <a:pt x="24" y="254"/>
                    <a:pt x="23" y="254"/>
                    <a:pt x="23" y="254"/>
                  </a:cubicBezTo>
                  <a:cubicBezTo>
                    <a:pt x="23" y="254"/>
                    <a:pt x="22" y="254"/>
                    <a:pt x="22" y="254"/>
                  </a:cubicBezTo>
                  <a:cubicBezTo>
                    <a:pt x="20" y="253"/>
                    <a:pt x="20" y="253"/>
                    <a:pt x="20" y="253"/>
                  </a:cubicBezTo>
                  <a:cubicBezTo>
                    <a:pt x="18" y="253"/>
                    <a:pt x="18" y="253"/>
                    <a:pt x="18" y="253"/>
                  </a:cubicBezTo>
                  <a:cubicBezTo>
                    <a:pt x="18" y="254"/>
                    <a:pt x="18" y="254"/>
                    <a:pt x="18" y="254"/>
                  </a:cubicBezTo>
                  <a:cubicBezTo>
                    <a:pt x="18" y="254"/>
                    <a:pt x="17" y="254"/>
                    <a:pt x="17" y="254"/>
                  </a:cubicBezTo>
                  <a:cubicBezTo>
                    <a:pt x="16" y="254"/>
                    <a:pt x="14" y="254"/>
                    <a:pt x="14" y="254"/>
                  </a:cubicBezTo>
                  <a:cubicBezTo>
                    <a:pt x="14" y="255"/>
                    <a:pt x="14" y="255"/>
                    <a:pt x="14" y="255"/>
                  </a:cubicBezTo>
                  <a:cubicBezTo>
                    <a:pt x="12" y="258"/>
                    <a:pt x="12" y="258"/>
                    <a:pt x="12" y="258"/>
                  </a:cubicBezTo>
                  <a:cubicBezTo>
                    <a:pt x="11" y="260"/>
                    <a:pt x="11" y="260"/>
                    <a:pt x="11" y="260"/>
                  </a:cubicBezTo>
                  <a:cubicBezTo>
                    <a:pt x="9" y="261"/>
                    <a:pt x="9" y="261"/>
                    <a:pt x="9" y="261"/>
                  </a:cubicBezTo>
                  <a:cubicBezTo>
                    <a:pt x="8" y="262"/>
                    <a:pt x="8" y="262"/>
                    <a:pt x="8" y="262"/>
                  </a:cubicBezTo>
                  <a:cubicBezTo>
                    <a:pt x="6" y="263"/>
                    <a:pt x="6" y="263"/>
                    <a:pt x="6" y="263"/>
                  </a:cubicBezTo>
                  <a:cubicBezTo>
                    <a:pt x="6" y="263"/>
                    <a:pt x="5" y="264"/>
                    <a:pt x="5" y="264"/>
                  </a:cubicBezTo>
                  <a:cubicBezTo>
                    <a:pt x="5" y="264"/>
                    <a:pt x="4" y="267"/>
                    <a:pt x="4" y="267"/>
                  </a:cubicBezTo>
                  <a:cubicBezTo>
                    <a:pt x="4" y="267"/>
                    <a:pt x="3" y="268"/>
                    <a:pt x="2" y="268"/>
                  </a:cubicBezTo>
                  <a:cubicBezTo>
                    <a:pt x="2" y="269"/>
                    <a:pt x="1" y="269"/>
                    <a:pt x="1" y="269"/>
                  </a:cubicBezTo>
                  <a:cubicBezTo>
                    <a:pt x="1" y="269"/>
                    <a:pt x="1" y="271"/>
                    <a:pt x="1" y="271"/>
                  </a:cubicBezTo>
                  <a:cubicBezTo>
                    <a:pt x="1" y="271"/>
                    <a:pt x="1" y="273"/>
                    <a:pt x="1" y="273"/>
                  </a:cubicBezTo>
                  <a:cubicBezTo>
                    <a:pt x="2" y="275"/>
                    <a:pt x="2" y="275"/>
                    <a:pt x="2" y="275"/>
                  </a:cubicBezTo>
                  <a:cubicBezTo>
                    <a:pt x="1" y="277"/>
                    <a:pt x="1" y="277"/>
                    <a:pt x="1" y="277"/>
                  </a:cubicBezTo>
                  <a:cubicBezTo>
                    <a:pt x="2" y="278"/>
                    <a:pt x="2" y="278"/>
                    <a:pt x="2" y="278"/>
                  </a:cubicBezTo>
                  <a:cubicBezTo>
                    <a:pt x="1" y="280"/>
                    <a:pt x="1" y="280"/>
                    <a:pt x="1" y="280"/>
                  </a:cubicBezTo>
                  <a:cubicBezTo>
                    <a:pt x="1" y="282"/>
                    <a:pt x="1" y="282"/>
                    <a:pt x="1" y="282"/>
                  </a:cubicBezTo>
                  <a:cubicBezTo>
                    <a:pt x="1" y="283"/>
                    <a:pt x="1" y="283"/>
                    <a:pt x="1" y="283"/>
                  </a:cubicBezTo>
                  <a:cubicBezTo>
                    <a:pt x="0" y="285"/>
                    <a:pt x="0" y="285"/>
                    <a:pt x="0" y="285"/>
                  </a:cubicBezTo>
                  <a:cubicBezTo>
                    <a:pt x="1" y="288"/>
                    <a:pt x="1" y="288"/>
                    <a:pt x="1" y="288"/>
                  </a:cubicBezTo>
                  <a:cubicBezTo>
                    <a:pt x="12" y="290"/>
                    <a:pt x="12" y="290"/>
                    <a:pt x="12" y="290"/>
                  </a:cubicBezTo>
                  <a:cubicBezTo>
                    <a:pt x="17" y="290"/>
                    <a:pt x="21" y="294"/>
                    <a:pt x="25" y="296"/>
                  </a:cubicBezTo>
                  <a:cubicBezTo>
                    <a:pt x="27" y="297"/>
                    <a:pt x="32" y="307"/>
                    <a:pt x="33" y="309"/>
                  </a:cubicBezTo>
                  <a:cubicBezTo>
                    <a:pt x="33" y="309"/>
                    <a:pt x="33" y="315"/>
                    <a:pt x="31" y="315"/>
                  </a:cubicBezTo>
                  <a:cubicBezTo>
                    <a:pt x="30" y="318"/>
                    <a:pt x="33" y="319"/>
                    <a:pt x="34" y="321"/>
                  </a:cubicBezTo>
                  <a:cubicBezTo>
                    <a:pt x="37" y="325"/>
                    <a:pt x="34" y="328"/>
                    <a:pt x="34" y="328"/>
                  </a:cubicBezTo>
                  <a:cubicBezTo>
                    <a:pt x="34" y="331"/>
                    <a:pt x="37" y="339"/>
                    <a:pt x="40" y="342"/>
                  </a:cubicBezTo>
                  <a:cubicBezTo>
                    <a:pt x="42" y="344"/>
                    <a:pt x="44" y="342"/>
                    <a:pt x="45" y="344"/>
                  </a:cubicBezTo>
                  <a:cubicBezTo>
                    <a:pt x="47" y="351"/>
                    <a:pt x="52" y="351"/>
                    <a:pt x="56" y="353"/>
                  </a:cubicBezTo>
                  <a:cubicBezTo>
                    <a:pt x="58" y="352"/>
                    <a:pt x="61" y="349"/>
                    <a:pt x="63" y="348"/>
                  </a:cubicBezTo>
                  <a:cubicBezTo>
                    <a:pt x="67" y="346"/>
                    <a:pt x="68" y="343"/>
                    <a:pt x="71" y="341"/>
                  </a:cubicBezTo>
                  <a:cubicBezTo>
                    <a:pt x="72" y="339"/>
                    <a:pt x="76" y="340"/>
                    <a:pt x="78" y="339"/>
                  </a:cubicBezTo>
                  <a:cubicBezTo>
                    <a:pt x="85" y="336"/>
                    <a:pt x="90" y="339"/>
                    <a:pt x="93" y="338"/>
                  </a:cubicBezTo>
                  <a:cubicBezTo>
                    <a:pt x="95" y="338"/>
                    <a:pt x="98" y="335"/>
                    <a:pt x="101" y="334"/>
                  </a:cubicBezTo>
                  <a:cubicBezTo>
                    <a:pt x="103" y="333"/>
                    <a:pt x="106" y="333"/>
                    <a:pt x="108" y="331"/>
                  </a:cubicBezTo>
                  <a:cubicBezTo>
                    <a:pt x="108" y="331"/>
                    <a:pt x="118" y="333"/>
                    <a:pt x="122" y="334"/>
                  </a:cubicBezTo>
                  <a:cubicBezTo>
                    <a:pt x="129" y="335"/>
                    <a:pt x="136" y="339"/>
                    <a:pt x="140" y="339"/>
                  </a:cubicBezTo>
                  <a:cubicBezTo>
                    <a:pt x="143" y="339"/>
                    <a:pt x="143" y="336"/>
                    <a:pt x="145" y="337"/>
                  </a:cubicBezTo>
                  <a:cubicBezTo>
                    <a:pt x="145" y="337"/>
                    <a:pt x="157" y="343"/>
                    <a:pt x="163" y="344"/>
                  </a:cubicBezTo>
                  <a:cubicBezTo>
                    <a:pt x="167" y="344"/>
                    <a:pt x="167" y="338"/>
                    <a:pt x="172" y="339"/>
                  </a:cubicBezTo>
                  <a:cubicBezTo>
                    <a:pt x="175" y="339"/>
                    <a:pt x="175" y="340"/>
                    <a:pt x="178" y="340"/>
                  </a:cubicBezTo>
                  <a:cubicBezTo>
                    <a:pt x="180" y="340"/>
                    <a:pt x="182" y="346"/>
                    <a:pt x="184" y="346"/>
                  </a:cubicBezTo>
                  <a:cubicBezTo>
                    <a:pt x="185" y="345"/>
                    <a:pt x="189" y="341"/>
                    <a:pt x="190" y="340"/>
                  </a:cubicBezTo>
                  <a:cubicBezTo>
                    <a:pt x="190" y="340"/>
                    <a:pt x="196" y="334"/>
                    <a:pt x="196" y="332"/>
                  </a:cubicBezTo>
                  <a:cubicBezTo>
                    <a:pt x="196" y="330"/>
                    <a:pt x="199" y="322"/>
                    <a:pt x="199" y="322"/>
                  </a:cubicBezTo>
                  <a:cubicBezTo>
                    <a:pt x="202" y="320"/>
                    <a:pt x="207" y="322"/>
                    <a:pt x="210" y="319"/>
                  </a:cubicBezTo>
                  <a:cubicBezTo>
                    <a:pt x="218" y="312"/>
                    <a:pt x="218" y="312"/>
                    <a:pt x="218" y="312"/>
                  </a:cubicBezTo>
                  <a:cubicBezTo>
                    <a:pt x="232" y="316"/>
                    <a:pt x="232" y="316"/>
                    <a:pt x="232" y="316"/>
                  </a:cubicBezTo>
                  <a:cubicBezTo>
                    <a:pt x="240" y="315"/>
                    <a:pt x="240" y="315"/>
                    <a:pt x="240" y="315"/>
                  </a:cubicBezTo>
                  <a:cubicBezTo>
                    <a:pt x="240" y="313"/>
                    <a:pt x="239" y="308"/>
                    <a:pt x="240" y="305"/>
                  </a:cubicBezTo>
                  <a:cubicBezTo>
                    <a:pt x="244" y="300"/>
                    <a:pt x="242" y="301"/>
                    <a:pt x="246" y="296"/>
                  </a:cubicBezTo>
                  <a:cubicBezTo>
                    <a:pt x="248" y="293"/>
                    <a:pt x="249" y="290"/>
                    <a:pt x="252" y="288"/>
                  </a:cubicBezTo>
                  <a:cubicBezTo>
                    <a:pt x="258" y="281"/>
                    <a:pt x="261" y="278"/>
                    <a:pt x="266" y="277"/>
                  </a:cubicBezTo>
                  <a:cubicBezTo>
                    <a:pt x="269" y="276"/>
                    <a:pt x="279" y="270"/>
                    <a:pt x="280" y="269"/>
                  </a:cubicBezTo>
                  <a:cubicBezTo>
                    <a:pt x="282" y="268"/>
                    <a:pt x="274" y="262"/>
                    <a:pt x="270" y="257"/>
                  </a:cubicBezTo>
                  <a:cubicBezTo>
                    <a:pt x="267" y="252"/>
                    <a:pt x="267" y="247"/>
                    <a:pt x="267" y="245"/>
                  </a:cubicBezTo>
                  <a:cubicBezTo>
                    <a:pt x="264" y="232"/>
                    <a:pt x="265" y="238"/>
                    <a:pt x="270" y="228"/>
                  </a:cubicBezTo>
                  <a:cubicBezTo>
                    <a:pt x="273" y="223"/>
                    <a:pt x="278" y="219"/>
                    <a:pt x="281" y="216"/>
                  </a:cubicBezTo>
                  <a:cubicBezTo>
                    <a:pt x="282" y="215"/>
                    <a:pt x="288" y="205"/>
                    <a:pt x="295" y="200"/>
                  </a:cubicBezTo>
                  <a:cubicBezTo>
                    <a:pt x="297" y="199"/>
                    <a:pt x="299" y="193"/>
                    <a:pt x="301" y="192"/>
                  </a:cubicBezTo>
                  <a:cubicBezTo>
                    <a:pt x="306" y="188"/>
                    <a:pt x="312" y="189"/>
                    <a:pt x="313" y="187"/>
                  </a:cubicBezTo>
                  <a:cubicBezTo>
                    <a:pt x="314" y="184"/>
                    <a:pt x="309" y="186"/>
                    <a:pt x="309" y="183"/>
                  </a:cubicBezTo>
                  <a:cubicBezTo>
                    <a:pt x="308" y="176"/>
                    <a:pt x="312" y="177"/>
                    <a:pt x="315" y="176"/>
                  </a:cubicBezTo>
                  <a:cubicBezTo>
                    <a:pt x="318" y="175"/>
                    <a:pt x="322" y="173"/>
                    <a:pt x="325" y="172"/>
                  </a:cubicBezTo>
                  <a:cubicBezTo>
                    <a:pt x="345" y="166"/>
                    <a:pt x="342" y="170"/>
                    <a:pt x="348" y="167"/>
                  </a:cubicBezTo>
                  <a:cubicBezTo>
                    <a:pt x="351" y="165"/>
                    <a:pt x="357" y="167"/>
                    <a:pt x="358" y="165"/>
                  </a:cubicBezTo>
                  <a:cubicBezTo>
                    <a:pt x="359" y="163"/>
                    <a:pt x="365" y="157"/>
                    <a:pt x="367" y="158"/>
                  </a:cubicBezTo>
                  <a:cubicBezTo>
                    <a:pt x="370" y="159"/>
                    <a:pt x="374" y="154"/>
                    <a:pt x="377" y="154"/>
                  </a:cubicBezTo>
                  <a:cubicBezTo>
                    <a:pt x="386" y="152"/>
                    <a:pt x="393" y="147"/>
                    <a:pt x="396" y="142"/>
                  </a:cubicBezTo>
                  <a:cubicBezTo>
                    <a:pt x="398" y="139"/>
                    <a:pt x="392" y="131"/>
                    <a:pt x="395" y="128"/>
                  </a:cubicBezTo>
                  <a:cubicBezTo>
                    <a:pt x="396" y="126"/>
                    <a:pt x="397" y="130"/>
                    <a:pt x="399" y="128"/>
                  </a:cubicBezTo>
                  <a:cubicBezTo>
                    <a:pt x="403" y="124"/>
                    <a:pt x="401" y="122"/>
                    <a:pt x="398" y="121"/>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 name="Rectangle 120"/>
            <p:cNvSpPr>
              <a:spLocks noChangeArrowheads="1"/>
            </p:cNvSpPr>
            <p:nvPr/>
          </p:nvSpPr>
          <p:spPr bwMode="auto">
            <a:xfrm>
              <a:off x="5406086" y="4555767"/>
              <a:ext cx="2888" cy="1362"/>
            </a:xfrm>
            <a:prstGeom prst="rect">
              <a:avLst/>
            </a:prstGeom>
            <a:solidFill>
              <a:schemeClr val="bg2"/>
            </a:solidFill>
            <a:ln w="9525">
              <a:solidFill>
                <a:schemeClr val="bg1"/>
              </a:solidFill>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7" name="Freeform 121"/>
            <p:cNvSpPr>
              <a:spLocks/>
            </p:cNvSpPr>
            <p:nvPr/>
          </p:nvSpPr>
          <p:spPr bwMode="auto">
            <a:xfrm>
              <a:off x="5834997" y="412686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8" name="Freeform 122"/>
            <p:cNvSpPr>
              <a:spLocks/>
            </p:cNvSpPr>
            <p:nvPr/>
          </p:nvSpPr>
          <p:spPr bwMode="auto">
            <a:xfrm>
              <a:off x="5094151" y="4231706"/>
              <a:ext cx="60654" cy="81696"/>
            </a:xfrm>
            <a:custGeom>
              <a:avLst/>
              <a:gdLst>
                <a:gd name="T0" fmla="*/ 0 w 21"/>
                <a:gd name="T1" fmla="*/ 16 h 30"/>
                <a:gd name="T2" fmla="*/ 0 w 21"/>
                <a:gd name="T3" fmla="*/ 17 h 30"/>
                <a:gd name="T4" fmla="*/ 2 w 21"/>
                <a:gd name="T5" fmla="*/ 19 h 30"/>
                <a:gd name="T6" fmla="*/ 3 w 21"/>
                <a:gd name="T7" fmla="*/ 21 h 30"/>
                <a:gd name="T8" fmla="*/ 3 w 21"/>
                <a:gd name="T9" fmla="*/ 22 h 30"/>
                <a:gd name="T10" fmla="*/ 3 w 21"/>
                <a:gd name="T11" fmla="*/ 22 h 30"/>
                <a:gd name="T12" fmla="*/ 3 w 21"/>
                <a:gd name="T13" fmla="*/ 22 h 30"/>
                <a:gd name="T14" fmla="*/ 4 w 21"/>
                <a:gd name="T15" fmla="*/ 24 h 30"/>
                <a:gd name="T16" fmla="*/ 2 w 21"/>
                <a:gd name="T17" fmla="*/ 25 h 30"/>
                <a:gd name="T18" fmla="*/ 3 w 21"/>
                <a:gd name="T19" fmla="*/ 26 h 30"/>
                <a:gd name="T20" fmla="*/ 3 w 21"/>
                <a:gd name="T21" fmla="*/ 28 h 30"/>
                <a:gd name="T22" fmla="*/ 6 w 21"/>
                <a:gd name="T23" fmla="*/ 30 h 30"/>
                <a:gd name="T24" fmla="*/ 8 w 21"/>
                <a:gd name="T25" fmla="*/ 30 h 30"/>
                <a:gd name="T26" fmla="*/ 15 w 21"/>
                <a:gd name="T27" fmla="*/ 29 h 30"/>
                <a:gd name="T28" fmla="*/ 16 w 21"/>
                <a:gd name="T29" fmla="*/ 30 h 30"/>
                <a:gd name="T30" fmla="*/ 20 w 21"/>
                <a:gd name="T31" fmla="*/ 23 h 30"/>
                <a:gd name="T32" fmla="*/ 17 w 21"/>
                <a:gd name="T33" fmla="*/ 17 h 30"/>
                <a:gd name="T34" fmla="*/ 11 w 21"/>
                <a:gd name="T35" fmla="*/ 8 h 30"/>
                <a:gd name="T36" fmla="*/ 11 w 21"/>
                <a:gd name="T37" fmla="*/ 0 h 30"/>
                <a:gd name="T38" fmla="*/ 9 w 21"/>
                <a:gd name="T39" fmla="*/ 1 h 30"/>
                <a:gd name="T40" fmla="*/ 9 w 21"/>
                <a:gd name="T41" fmla="*/ 1 h 30"/>
                <a:gd name="T42" fmla="*/ 9 w 21"/>
                <a:gd name="T43" fmla="*/ 1 h 30"/>
                <a:gd name="T44" fmla="*/ 8 w 21"/>
                <a:gd name="T45" fmla="*/ 0 h 30"/>
                <a:gd name="T46" fmla="*/ 8 w 21"/>
                <a:gd name="T47" fmla="*/ 0 h 30"/>
                <a:gd name="T48" fmla="*/ 7 w 21"/>
                <a:gd name="T49" fmla="*/ 1 h 30"/>
                <a:gd name="T50" fmla="*/ 7 w 21"/>
                <a:gd name="T51" fmla="*/ 1 h 30"/>
                <a:gd name="T52" fmla="*/ 7 w 21"/>
                <a:gd name="T53" fmla="*/ 1 h 30"/>
                <a:gd name="T54" fmla="*/ 7 w 21"/>
                <a:gd name="T55" fmla="*/ 1 h 30"/>
                <a:gd name="T56" fmla="*/ 6 w 21"/>
                <a:gd name="T57" fmla="*/ 1 h 30"/>
                <a:gd name="T58" fmla="*/ 6 w 21"/>
                <a:gd name="T59" fmla="*/ 2 h 30"/>
                <a:gd name="T60" fmla="*/ 6 w 21"/>
                <a:gd name="T61" fmla="*/ 2 h 30"/>
                <a:gd name="T62" fmla="*/ 5 w 21"/>
                <a:gd name="T63" fmla="*/ 3 h 30"/>
                <a:gd name="T64" fmla="*/ 4 w 21"/>
                <a:gd name="T65" fmla="*/ 4 h 30"/>
                <a:gd name="T66" fmla="*/ 4 w 21"/>
                <a:gd name="T67" fmla="*/ 5 h 30"/>
                <a:gd name="T68" fmla="*/ 4 w 21"/>
                <a:gd name="T69" fmla="*/ 5 h 30"/>
                <a:gd name="T70" fmla="*/ 4 w 21"/>
                <a:gd name="T71" fmla="*/ 5 h 30"/>
                <a:gd name="T72" fmla="*/ 2 w 21"/>
                <a:gd name="T73" fmla="*/ 7 h 30"/>
                <a:gd name="T74" fmla="*/ 3 w 21"/>
                <a:gd name="T75" fmla="*/ 8 h 30"/>
                <a:gd name="T76" fmla="*/ 3 w 21"/>
                <a:gd name="T77" fmla="*/ 8 h 30"/>
                <a:gd name="T78" fmla="*/ 3 w 21"/>
                <a:gd name="T79" fmla="*/ 8 h 30"/>
                <a:gd name="T80" fmla="*/ 0 w 21"/>
                <a:gd name="T81" fmla="*/ 11 h 30"/>
                <a:gd name="T82" fmla="*/ 0 w 21"/>
                <a:gd name="T83" fmla="*/ 11 h 30"/>
                <a:gd name="T84" fmla="*/ 0 w 21"/>
                <a:gd name="T85" fmla="*/ 12 h 30"/>
                <a:gd name="T86" fmla="*/ 0 w 21"/>
                <a:gd name="T87" fmla="*/ 15 h 30"/>
                <a:gd name="T88" fmla="*/ 0 w 21"/>
                <a:gd name="T89" fmla="*/ 1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 h="30">
                  <a:moveTo>
                    <a:pt x="0" y="16"/>
                  </a:moveTo>
                  <a:cubicBezTo>
                    <a:pt x="0" y="16"/>
                    <a:pt x="0" y="16"/>
                    <a:pt x="0" y="16"/>
                  </a:cubicBezTo>
                  <a:cubicBezTo>
                    <a:pt x="0" y="16"/>
                    <a:pt x="0" y="16"/>
                    <a:pt x="0" y="16"/>
                  </a:cubicBezTo>
                  <a:cubicBezTo>
                    <a:pt x="0" y="16"/>
                    <a:pt x="0" y="16"/>
                    <a:pt x="0" y="16"/>
                  </a:cubicBezTo>
                  <a:cubicBezTo>
                    <a:pt x="0" y="16"/>
                    <a:pt x="0" y="16"/>
                    <a:pt x="0" y="16"/>
                  </a:cubicBezTo>
                  <a:cubicBezTo>
                    <a:pt x="0" y="17"/>
                    <a:pt x="0" y="17"/>
                    <a:pt x="0" y="17"/>
                  </a:cubicBezTo>
                  <a:cubicBezTo>
                    <a:pt x="1" y="17"/>
                    <a:pt x="1" y="17"/>
                    <a:pt x="1" y="17"/>
                  </a:cubicBezTo>
                  <a:cubicBezTo>
                    <a:pt x="1" y="18"/>
                    <a:pt x="1" y="18"/>
                    <a:pt x="1" y="18"/>
                  </a:cubicBezTo>
                  <a:cubicBezTo>
                    <a:pt x="2" y="19"/>
                    <a:pt x="2" y="19"/>
                    <a:pt x="2" y="19"/>
                  </a:cubicBezTo>
                  <a:cubicBezTo>
                    <a:pt x="3" y="20"/>
                    <a:pt x="3" y="20"/>
                    <a:pt x="3" y="20"/>
                  </a:cubicBezTo>
                  <a:cubicBezTo>
                    <a:pt x="3" y="20"/>
                    <a:pt x="3" y="21"/>
                    <a:pt x="3" y="21"/>
                  </a:cubicBezTo>
                  <a:cubicBezTo>
                    <a:pt x="3" y="21"/>
                    <a:pt x="3" y="21"/>
                    <a:pt x="3" y="21"/>
                  </a:cubicBezTo>
                  <a:cubicBezTo>
                    <a:pt x="3" y="22"/>
                    <a:pt x="3" y="22"/>
                    <a:pt x="3" y="22"/>
                  </a:cubicBezTo>
                  <a:cubicBezTo>
                    <a:pt x="3" y="22"/>
                    <a:pt x="3" y="22"/>
                    <a:pt x="3" y="22"/>
                  </a:cubicBezTo>
                  <a:cubicBezTo>
                    <a:pt x="3" y="22"/>
                    <a:pt x="3" y="22"/>
                    <a:pt x="3" y="22"/>
                  </a:cubicBezTo>
                  <a:cubicBezTo>
                    <a:pt x="3" y="22"/>
                    <a:pt x="3" y="22"/>
                    <a:pt x="3" y="22"/>
                  </a:cubicBezTo>
                  <a:cubicBezTo>
                    <a:pt x="3" y="22"/>
                    <a:pt x="3" y="22"/>
                    <a:pt x="3" y="22"/>
                  </a:cubicBezTo>
                  <a:cubicBezTo>
                    <a:pt x="3" y="22"/>
                    <a:pt x="3" y="22"/>
                    <a:pt x="3" y="22"/>
                  </a:cubicBezTo>
                  <a:cubicBezTo>
                    <a:pt x="3" y="22"/>
                    <a:pt x="3" y="22"/>
                    <a:pt x="3" y="22"/>
                  </a:cubicBezTo>
                  <a:cubicBezTo>
                    <a:pt x="3" y="22"/>
                    <a:pt x="3" y="22"/>
                    <a:pt x="3" y="22"/>
                  </a:cubicBezTo>
                  <a:cubicBezTo>
                    <a:pt x="3" y="22"/>
                    <a:pt x="3" y="22"/>
                    <a:pt x="3" y="22"/>
                  </a:cubicBezTo>
                  <a:cubicBezTo>
                    <a:pt x="3" y="22"/>
                    <a:pt x="3" y="22"/>
                    <a:pt x="3" y="22"/>
                  </a:cubicBezTo>
                  <a:cubicBezTo>
                    <a:pt x="3" y="22"/>
                    <a:pt x="4" y="23"/>
                    <a:pt x="4" y="23"/>
                  </a:cubicBezTo>
                  <a:cubicBezTo>
                    <a:pt x="4" y="24"/>
                    <a:pt x="4" y="24"/>
                    <a:pt x="4" y="24"/>
                  </a:cubicBezTo>
                  <a:cubicBezTo>
                    <a:pt x="4" y="24"/>
                    <a:pt x="4" y="24"/>
                    <a:pt x="4" y="24"/>
                  </a:cubicBezTo>
                  <a:cubicBezTo>
                    <a:pt x="4" y="24"/>
                    <a:pt x="4" y="24"/>
                    <a:pt x="4" y="24"/>
                  </a:cubicBezTo>
                  <a:cubicBezTo>
                    <a:pt x="2" y="25"/>
                    <a:pt x="2" y="25"/>
                    <a:pt x="2" y="25"/>
                  </a:cubicBezTo>
                  <a:cubicBezTo>
                    <a:pt x="2" y="25"/>
                    <a:pt x="2" y="25"/>
                    <a:pt x="2" y="25"/>
                  </a:cubicBezTo>
                  <a:cubicBezTo>
                    <a:pt x="3" y="25"/>
                    <a:pt x="3" y="25"/>
                    <a:pt x="3" y="25"/>
                  </a:cubicBezTo>
                  <a:cubicBezTo>
                    <a:pt x="3" y="26"/>
                    <a:pt x="3" y="26"/>
                    <a:pt x="3" y="26"/>
                  </a:cubicBezTo>
                  <a:cubicBezTo>
                    <a:pt x="4" y="27"/>
                    <a:pt x="4" y="27"/>
                    <a:pt x="4" y="27"/>
                  </a:cubicBezTo>
                  <a:cubicBezTo>
                    <a:pt x="3" y="28"/>
                    <a:pt x="3" y="28"/>
                    <a:pt x="3" y="28"/>
                  </a:cubicBezTo>
                  <a:cubicBezTo>
                    <a:pt x="3" y="28"/>
                    <a:pt x="3" y="28"/>
                    <a:pt x="3" y="28"/>
                  </a:cubicBezTo>
                  <a:cubicBezTo>
                    <a:pt x="4" y="28"/>
                    <a:pt x="4" y="28"/>
                    <a:pt x="4" y="28"/>
                  </a:cubicBezTo>
                  <a:cubicBezTo>
                    <a:pt x="5" y="29"/>
                    <a:pt x="5" y="29"/>
                    <a:pt x="5" y="29"/>
                  </a:cubicBezTo>
                  <a:cubicBezTo>
                    <a:pt x="6" y="29"/>
                    <a:pt x="6" y="29"/>
                    <a:pt x="6" y="30"/>
                  </a:cubicBezTo>
                  <a:cubicBezTo>
                    <a:pt x="6" y="30"/>
                    <a:pt x="6" y="30"/>
                    <a:pt x="6" y="30"/>
                  </a:cubicBezTo>
                  <a:cubicBezTo>
                    <a:pt x="7" y="30"/>
                    <a:pt x="7" y="30"/>
                    <a:pt x="7" y="30"/>
                  </a:cubicBezTo>
                  <a:cubicBezTo>
                    <a:pt x="7" y="30"/>
                    <a:pt x="7" y="30"/>
                    <a:pt x="8" y="30"/>
                  </a:cubicBezTo>
                  <a:cubicBezTo>
                    <a:pt x="10" y="28"/>
                    <a:pt x="10" y="28"/>
                    <a:pt x="10" y="28"/>
                  </a:cubicBezTo>
                  <a:cubicBezTo>
                    <a:pt x="13" y="28"/>
                    <a:pt x="13" y="28"/>
                    <a:pt x="13" y="28"/>
                  </a:cubicBezTo>
                  <a:cubicBezTo>
                    <a:pt x="15" y="29"/>
                    <a:pt x="15" y="29"/>
                    <a:pt x="15" y="29"/>
                  </a:cubicBezTo>
                  <a:cubicBezTo>
                    <a:pt x="16" y="30"/>
                    <a:pt x="16" y="30"/>
                    <a:pt x="16" y="30"/>
                  </a:cubicBezTo>
                  <a:cubicBezTo>
                    <a:pt x="16" y="30"/>
                    <a:pt x="16" y="30"/>
                    <a:pt x="16" y="30"/>
                  </a:cubicBezTo>
                  <a:cubicBezTo>
                    <a:pt x="16" y="30"/>
                    <a:pt x="16" y="30"/>
                    <a:pt x="16" y="30"/>
                  </a:cubicBezTo>
                  <a:cubicBezTo>
                    <a:pt x="16" y="27"/>
                    <a:pt x="16" y="27"/>
                    <a:pt x="16" y="27"/>
                  </a:cubicBezTo>
                  <a:cubicBezTo>
                    <a:pt x="18" y="25"/>
                    <a:pt x="18" y="25"/>
                    <a:pt x="18" y="25"/>
                  </a:cubicBezTo>
                  <a:cubicBezTo>
                    <a:pt x="20" y="23"/>
                    <a:pt x="20" y="23"/>
                    <a:pt x="20" y="23"/>
                  </a:cubicBezTo>
                  <a:cubicBezTo>
                    <a:pt x="21" y="20"/>
                    <a:pt x="21" y="20"/>
                    <a:pt x="21" y="20"/>
                  </a:cubicBezTo>
                  <a:cubicBezTo>
                    <a:pt x="20" y="18"/>
                    <a:pt x="20" y="18"/>
                    <a:pt x="20" y="18"/>
                  </a:cubicBezTo>
                  <a:cubicBezTo>
                    <a:pt x="20" y="18"/>
                    <a:pt x="17" y="17"/>
                    <a:pt x="17" y="17"/>
                  </a:cubicBezTo>
                  <a:cubicBezTo>
                    <a:pt x="16" y="16"/>
                    <a:pt x="13" y="15"/>
                    <a:pt x="13" y="15"/>
                  </a:cubicBezTo>
                  <a:cubicBezTo>
                    <a:pt x="12" y="11"/>
                    <a:pt x="12" y="11"/>
                    <a:pt x="12" y="11"/>
                  </a:cubicBezTo>
                  <a:cubicBezTo>
                    <a:pt x="11" y="8"/>
                    <a:pt x="11" y="8"/>
                    <a:pt x="11" y="8"/>
                  </a:cubicBezTo>
                  <a:cubicBezTo>
                    <a:pt x="10" y="5"/>
                    <a:pt x="10" y="5"/>
                    <a:pt x="10" y="5"/>
                  </a:cubicBezTo>
                  <a:cubicBezTo>
                    <a:pt x="11" y="0"/>
                    <a:pt x="11" y="0"/>
                    <a:pt x="11" y="0"/>
                  </a:cubicBezTo>
                  <a:cubicBezTo>
                    <a:pt x="11" y="0"/>
                    <a:pt x="11" y="0"/>
                    <a:pt x="11" y="0"/>
                  </a:cubicBezTo>
                  <a:cubicBezTo>
                    <a:pt x="11" y="0"/>
                    <a:pt x="10" y="0"/>
                    <a:pt x="10" y="1"/>
                  </a:cubicBezTo>
                  <a:cubicBezTo>
                    <a:pt x="10" y="1"/>
                    <a:pt x="10" y="1"/>
                    <a:pt x="10" y="1"/>
                  </a:cubicBezTo>
                  <a:cubicBezTo>
                    <a:pt x="10" y="1"/>
                    <a:pt x="9" y="1"/>
                    <a:pt x="9" y="1"/>
                  </a:cubicBezTo>
                  <a:cubicBezTo>
                    <a:pt x="9" y="1"/>
                    <a:pt x="9" y="1"/>
                    <a:pt x="9" y="1"/>
                  </a:cubicBezTo>
                  <a:cubicBezTo>
                    <a:pt x="9" y="1"/>
                    <a:pt x="9" y="1"/>
                    <a:pt x="9" y="1"/>
                  </a:cubicBezTo>
                  <a:cubicBezTo>
                    <a:pt x="9" y="1"/>
                    <a:pt x="9" y="1"/>
                    <a:pt x="9" y="1"/>
                  </a:cubicBezTo>
                  <a:cubicBezTo>
                    <a:pt x="9" y="1"/>
                    <a:pt x="9" y="1"/>
                    <a:pt x="9" y="1"/>
                  </a:cubicBezTo>
                  <a:cubicBezTo>
                    <a:pt x="9" y="1"/>
                    <a:pt x="9" y="1"/>
                    <a:pt x="9" y="1"/>
                  </a:cubicBezTo>
                  <a:cubicBezTo>
                    <a:pt x="9" y="1"/>
                    <a:pt x="9" y="1"/>
                    <a:pt x="9" y="1"/>
                  </a:cubicBezTo>
                  <a:cubicBezTo>
                    <a:pt x="8" y="1"/>
                    <a:pt x="8" y="1"/>
                    <a:pt x="8" y="1"/>
                  </a:cubicBezTo>
                  <a:cubicBezTo>
                    <a:pt x="8" y="1"/>
                    <a:pt x="8" y="0"/>
                    <a:pt x="8" y="0"/>
                  </a:cubicBezTo>
                  <a:cubicBezTo>
                    <a:pt x="8" y="0"/>
                    <a:pt x="8" y="0"/>
                    <a:pt x="8" y="0"/>
                  </a:cubicBezTo>
                  <a:cubicBezTo>
                    <a:pt x="8" y="0"/>
                    <a:pt x="8" y="0"/>
                    <a:pt x="8" y="0"/>
                  </a:cubicBezTo>
                  <a:cubicBezTo>
                    <a:pt x="8" y="0"/>
                    <a:pt x="8" y="0"/>
                    <a:pt x="8" y="0"/>
                  </a:cubicBezTo>
                  <a:cubicBezTo>
                    <a:pt x="8" y="0"/>
                    <a:pt x="8" y="0"/>
                    <a:pt x="8" y="0"/>
                  </a:cubicBezTo>
                  <a:cubicBezTo>
                    <a:pt x="8" y="0"/>
                    <a:pt x="7" y="0"/>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6" y="1"/>
                    <a:pt x="6" y="1"/>
                    <a:pt x="6" y="1"/>
                  </a:cubicBezTo>
                  <a:cubicBezTo>
                    <a:pt x="6" y="2"/>
                    <a:pt x="6" y="2"/>
                    <a:pt x="6" y="2"/>
                  </a:cubicBezTo>
                  <a:cubicBezTo>
                    <a:pt x="6" y="2"/>
                    <a:pt x="6" y="2"/>
                    <a:pt x="6" y="2"/>
                  </a:cubicBezTo>
                  <a:cubicBezTo>
                    <a:pt x="6" y="2"/>
                    <a:pt x="6" y="2"/>
                    <a:pt x="6" y="2"/>
                  </a:cubicBezTo>
                  <a:cubicBezTo>
                    <a:pt x="6" y="2"/>
                    <a:pt x="6" y="2"/>
                    <a:pt x="6" y="2"/>
                  </a:cubicBezTo>
                  <a:cubicBezTo>
                    <a:pt x="6" y="2"/>
                    <a:pt x="6" y="2"/>
                    <a:pt x="6" y="2"/>
                  </a:cubicBezTo>
                  <a:cubicBezTo>
                    <a:pt x="6" y="2"/>
                    <a:pt x="6" y="2"/>
                    <a:pt x="6" y="2"/>
                  </a:cubicBezTo>
                  <a:cubicBezTo>
                    <a:pt x="6" y="3"/>
                    <a:pt x="6" y="3"/>
                    <a:pt x="6" y="3"/>
                  </a:cubicBezTo>
                  <a:cubicBezTo>
                    <a:pt x="5" y="3"/>
                    <a:pt x="5" y="3"/>
                    <a:pt x="5" y="3"/>
                  </a:cubicBezTo>
                  <a:cubicBezTo>
                    <a:pt x="5" y="3"/>
                    <a:pt x="5" y="3"/>
                    <a:pt x="5" y="3"/>
                  </a:cubicBezTo>
                  <a:cubicBezTo>
                    <a:pt x="5" y="3"/>
                    <a:pt x="4" y="3"/>
                    <a:pt x="4" y="4"/>
                  </a:cubicBezTo>
                  <a:cubicBezTo>
                    <a:pt x="4" y="4"/>
                    <a:pt x="4" y="4"/>
                    <a:pt x="4" y="4"/>
                  </a:cubicBezTo>
                  <a:cubicBezTo>
                    <a:pt x="4" y="4"/>
                    <a:pt x="4" y="4"/>
                    <a:pt x="4" y="4"/>
                  </a:cubicBezTo>
                  <a:cubicBezTo>
                    <a:pt x="4" y="5"/>
                    <a:pt x="4" y="5"/>
                    <a:pt x="4" y="5"/>
                  </a:cubicBezTo>
                  <a:cubicBezTo>
                    <a:pt x="4" y="5"/>
                    <a:pt x="4" y="5"/>
                    <a:pt x="4" y="5"/>
                  </a:cubicBezTo>
                  <a:cubicBezTo>
                    <a:pt x="4" y="5"/>
                    <a:pt x="4" y="5"/>
                    <a:pt x="4" y="5"/>
                  </a:cubicBezTo>
                  <a:cubicBezTo>
                    <a:pt x="4" y="5"/>
                    <a:pt x="4" y="5"/>
                    <a:pt x="4" y="5"/>
                  </a:cubicBezTo>
                  <a:cubicBezTo>
                    <a:pt x="4" y="5"/>
                    <a:pt x="4" y="5"/>
                    <a:pt x="4" y="5"/>
                  </a:cubicBezTo>
                  <a:cubicBezTo>
                    <a:pt x="4" y="5"/>
                    <a:pt x="4" y="5"/>
                    <a:pt x="4" y="5"/>
                  </a:cubicBezTo>
                  <a:cubicBezTo>
                    <a:pt x="4" y="5"/>
                    <a:pt x="4" y="5"/>
                    <a:pt x="4" y="5"/>
                  </a:cubicBezTo>
                  <a:cubicBezTo>
                    <a:pt x="4" y="5"/>
                    <a:pt x="4" y="5"/>
                    <a:pt x="4" y="5"/>
                  </a:cubicBezTo>
                  <a:cubicBezTo>
                    <a:pt x="4" y="5"/>
                    <a:pt x="4" y="5"/>
                    <a:pt x="4" y="5"/>
                  </a:cubicBezTo>
                  <a:cubicBezTo>
                    <a:pt x="4" y="5"/>
                    <a:pt x="4" y="5"/>
                    <a:pt x="4" y="5"/>
                  </a:cubicBezTo>
                  <a:cubicBezTo>
                    <a:pt x="4" y="6"/>
                    <a:pt x="3" y="7"/>
                    <a:pt x="2" y="7"/>
                  </a:cubicBezTo>
                  <a:cubicBezTo>
                    <a:pt x="2" y="7"/>
                    <a:pt x="2" y="7"/>
                    <a:pt x="2" y="7"/>
                  </a:cubicBezTo>
                  <a:cubicBezTo>
                    <a:pt x="2" y="7"/>
                    <a:pt x="2" y="7"/>
                    <a:pt x="2" y="7"/>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2" y="9"/>
                    <a:pt x="2" y="10"/>
                  </a:cubicBezTo>
                  <a:cubicBezTo>
                    <a:pt x="1" y="10"/>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2"/>
                    <a:pt x="0" y="12"/>
                    <a:pt x="0" y="12"/>
                  </a:cubicBezTo>
                  <a:cubicBezTo>
                    <a:pt x="0" y="12"/>
                    <a:pt x="0" y="12"/>
                    <a:pt x="0" y="12"/>
                  </a:cubicBezTo>
                  <a:cubicBezTo>
                    <a:pt x="0" y="12"/>
                    <a:pt x="0" y="12"/>
                    <a:pt x="0" y="12"/>
                  </a:cubicBezTo>
                  <a:cubicBezTo>
                    <a:pt x="0" y="12"/>
                    <a:pt x="0" y="12"/>
                    <a:pt x="0" y="12"/>
                  </a:cubicBezTo>
                  <a:cubicBezTo>
                    <a:pt x="0" y="13"/>
                    <a:pt x="1" y="13"/>
                    <a:pt x="1" y="13"/>
                  </a:cubicBezTo>
                  <a:cubicBezTo>
                    <a:pt x="0" y="15"/>
                    <a:pt x="0" y="15"/>
                    <a:pt x="0" y="15"/>
                  </a:cubicBezTo>
                  <a:cubicBezTo>
                    <a:pt x="0" y="15"/>
                    <a:pt x="0" y="15"/>
                    <a:pt x="0" y="16"/>
                  </a:cubicBezTo>
                  <a:cubicBezTo>
                    <a:pt x="0" y="16"/>
                    <a:pt x="0" y="16"/>
                    <a:pt x="0" y="16"/>
                  </a:cubicBezTo>
                  <a:cubicBezTo>
                    <a:pt x="0" y="16"/>
                    <a:pt x="0" y="16"/>
                    <a:pt x="0" y="16"/>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 name="Freeform 123"/>
            <p:cNvSpPr>
              <a:spLocks/>
            </p:cNvSpPr>
            <p:nvPr/>
          </p:nvSpPr>
          <p:spPr bwMode="auto">
            <a:xfrm>
              <a:off x="3488260" y="5005094"/>
              <a:ext cx="408693" cy="600465"/>
            </a:xfrm>
            <a:custGeom>
              <a:avLst/>
              <a:gdLst>
                <a:gd name="T0" fmla="*/ 56 w 141"/>
                <a:gd name="T1" fmla="*/ 208 h 220"/>
                <a:gd name="T2" fmla="*/ 56 w 141"/>
                <a:gd name="T3" fmla="*/ 198 h 220"/>
                <a:gd name="T4" fmla="*/ 61 w 141"/>
                <a:gd name="T5" fmla="*/ 191 h 220"/>
                <a:gd name="T6" fmla="*/ 73 w 141"/>
                <a:gd name="T7" fmla="*/ 182 h 220"/>
                <a:gd name="T8" fmla="*/ 80 w 141"/>
                <a:gd name="T9" fmla="*/ 180 h 220"/>
                <a:gd name="T10" fmla="*/ 74 w 141"/>
                <a:gd name="T11" fmla="*/ 170 h 220"/>
                <a:gd name="T12" fmla="*/ 71 w 141"/>
                <a:gd name="T13" fmla="*/ 163 h 220"/>
                <a:gd name="T14" fmla="*/ 76 w 141"/>
                <a:gd name="T15" fmla="*/ 154 h 220"/>
                <a:gd name="T16" fmla="*/ 90 w 141"/>
                <a:gd name="T17" fmla="*/ 141 h 220"/>
                <a:gd name="T18" fmla="*/ 86 w 141"/>
                <a:gd name="T19" fmla="*/ 139 h 220"/>
                <a:gd name="T20" fmla="*/ 82 w 141"/>
                <a:gd name="T21" fmla="*/ 128 h 220"/>
                <a:gd name="T22" fmla="*/ 80 w 141"/>
                <a:gd name="T23" fmla="*/ 118 h 220"/>
                <a:gd name="T24" fmla="*/ 77 w 141"/>
                <a:gd name="T25" fmla="*/ 109 h 220"/>
                <a:gd name="T26" fmla="*/ 88 w 141"/>
                <a:gd name="T27" fmla="*/ 109 h 220"/>
                <a:gd name="T28" fmla="*/ 97 w 141"/>
                <a:gd name="T29" fmla="*/ 109 h 220"/>
                <a:gd name="T30" fmla="*/ 103 w 141"/>
                <a:gd name="T31" fmla="*/ 100 h 220"/>
                <a:gd name="T32" fmla="*/ 100 w 141"/>
                <a:gd name="T33" fmla="*/ 92 h 220"/>
                <a:gd name="T34" fmla="*/ 108 w 141"/>
                <a:gd name="T35" fmla="*/ 85 h 220"/>
                <a:gd name="T36" fmla="*/ 110 w 141"/>
                <a:gd name="T37" fmla="*/ 73 h 220"/>
                <a:gd name="T38" fmla="*/ 112 w 141"/>
                <a:gd name="T39" fmla="*/ 65 h 220"/>
                <a:gd name="T40" fmla="*/ 111 w 141"/>
                <a:gd name="T41" fmla="*/ 55 h 220"/>
                <a:gd name="T42" fmla="*/ 122 w 141"/>
                <a:gd name="T43" fmla="*/ 49 h 220"/>
                <a:gd name="T44" fmla="*/ 130 w 141"/>
                <a:gd name="T45" fmla="*/ 46 h 220"/>
                <a:gd name="T46" fmla="*/ 139 w 141"/>
                <a:gd name="T47" fmla="*/ 39 h 220"/>
                <a:gd name="T48" fmla="*/ 135 w 141"/>
                <a:gd name="T49" fmla="*/ 34 h 220"/>
                <a:gd name="T50" fmla="*/ 132 w 141"/>
                <a:gd name="T51" fmla="*/ 25 h 220"/>
                <a:gd name="T52" fmla="*/ 129 w 141"/>
                <a:gd name="T53" fmla="*/ 20 h 220"/>
                <a:gd name="T54" fmla="*/ 120 w 141"/>
                <a:gd name="T55" fmla="*/ 17 h 220"/>
                <a:gd name="T56" fmla="*/ 111 w 141"/>
                <a:gd name="T57" fmla="*/ 20 h 220"/>
                <a:gd name="T58" fmla="*/ 101 w 141"/>
                <a:gd name="T59" fmla="*/ 19 h 220"/>
                <a:gd name="T60" fmla="*/ 95 w 141"/>
                <a:gd name="T61" fmla="*/ 14 h 220"/>
                <a:gd name="T62" fmla="*/ 90 w 141"/>
                <a:gd name="T63" fmla="*/ 13 h 220"/>
                <a:gd name="T64" fmla="*/ 82 w 141"/>
                <a:gd name="T65" fmla="*/ 14 h 220"/>
                <a:gd name="T66" fmla="*/ 79 w 141"/>
                <a:gd name="T67" fmla="*/ 9 h 220"/>
                <a:gd name="T68" fmla="*/ 83 w 141"/>
                <a:gd name="T69" fmla="*/ 1 h 220"/>
                <a:gd name="T70" fmla="*/ 76 w 141"/>
                <a:gd name="T71" fmla="*/ 1 h 220"/>
                <a:gd name="T72" fmla="*/ 70 w 141"/>
                <a:gd name="T73" fmla="*/ 1 h 220"/>
                <a:gd name="T74" fmla="*/ 65 w 141"/>
                <a:gd name="T75" fmla="*/ 3 h 220"/>
                <a:gd name="T76" fmla="*/ 59 w 141"/>
                <a:gd name="T77" fmla="*/ 5 h 220"/>
                <a:gd name="T78" fmla="*/ 59 w 141"/>
                <a:gd name="T79" fmla="*/ 16 h 220"/>
                <a:gd name="T80" fmla="*/ 57 w 141"/>
                <a:gd name="T81" fmla="*/ 27 h 220"/>
                <a:gd name="T82" fmla="*/ 53 w 141"/>
                <a:gd name="T83" fmla="*/ 51 h 220"/>
                <a:gd name="T84" fmla="*/ 34 w 141"/>
                <a:gd name="T85" fmla="*/ 89 h 220"/>
                <a:gd name="T86" fmla="*/ 25 w 141"/>
                <a:gd name="T87" fmla="*/ 102 h 220"/>
                <a:gd name="T88" fmla="*/ 16 w 141"/>
                <a:gd name="T89" fmla="*/ 106 h 220"/>
                <a:gd name="T90" fmla="*/ 12 w 141"/>
                <a:gd name="T91" fmla="*/ 116 h 220"/>
                <a:gd name="T92" fmla="*/ 7 w 141"/>
                <a:gd name="T93" fmla="*/ 127 h 220"/>
                <a:gd name="T94" fmla="*/ 7 w 141"/>
                <a:gd name="T95" fmla="*/ 136 h 220"/>
                <a:gd name="T96" fmla="*/ 11 w 141"/>
                <a:gd name="T97" fmla="*/ 139 h 220"/>
                <a:gd name="T98" fmla="*/ 12 w 141"/>
                <a:gd name="T99" fmla="*/ 148 h 220"/>
                <a:gd name="T100" fmla="*/ 22 w 141"/>
                <a:gd name="T101" fmla="*/ 150 h 220"/>
                <a:gd name="T102" fmla="*/ 20 w 141"/>
                <a:gd name="T103" fmla="*/ 165 h 220"/>
                <a:gd name="T104" fmla="*/ 15 w 141"/>
                <a:gd name="T105" fmla="*/ 184 h 220"/>
                <a:gd name="T106" fmla="*/ 9 w 141"/>
                <a:gd name="T107" fmla="*/ 199 h 220"/>
                <a:gd name="T108" fmla="*/ 0 w 141"/>
                <a:gd name="T109" fmla="*/ 210 h 220"/>
                <a:gd name="T110" fmla="*/ 13 w 141"/>
                <a:gd name="T111" fmla="*/ 210 h 220"/>
                <a:gd name="T112" fmla="*/ 25 w 141"/>
                <a:gd name="T113" fmla="*/ 213 h 220"/>
                <a:gd name="T114" fmla="*/ 36 w 141"/>
                <a:gd name="T115" fmla="*/ 220 h 220"/>
                <a:gd name="T116" fmla="*/ 55 w 141"/>
                <a:gd name="T117" fmla="*/ 21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1" h="220">
                  <a:moveTo>
                    <a:pt x="55" y="215"/>
                  </a:moveTo>
                  <a:cubicBezTo>
                    <a:pt x="55" y="213"/>
                    <a:pt x="55" y="213"/>
                    <a:pt x="55" y="213"/>
                  </a:cubicBezTo>
                  <a:cubicBezTo>
                    <a:pt x="55" y="212"/>
                    <a:pt x="55" y="212"/>
                    <a:pt x="55" y="212"/>
                  </a:cubicBezTo>
                  <a:cubicBezTo>
                    <a:pt x="56" y="209"/>
                    <a:pt x="56" y="209"/>
                    <a:pt x="56" y="209"/>
                  </a:cubicBezTo>
                  <a:cubicBezTo>
                    <a:pt x="56" y="208"/>
                    <a:pt x="56" y="208"/>
                    <a:pt x="56" y="208"/>
                  </a:cubicBezTo>
                  <a:cubicBezTo>
                    <a:pt x="56" y="208"/>
                    <a:pt x="56" y="208"/>
                    <a:pt x="56" y="208"/>
                  </a:cubicBezTo>
                  <a:cubicBezTo>
                    <a:pt x="56" y="205"/>
                    <a:pt x="56" y="205"/>
                    <a:pt x="56" y="205"/>
                  </a:cubicBezTo>
                  <a:cubicBezTo>
                    <a:pt x="56" y="204"/>
                    <a:pt x="56" y="204"/>
                    <a:pt x="56" y="204"/>
                  </a:cubicBezTo>
                  <a:cubicBezTo>
                    <a:pt x="56" y="204"/>
                    <a:pt x="56" y="204"/>
                    <a:pt x="56" y="204"/>
                  </a:cubicBezTo>
                  <a:cubicBezTo>
                    <a:pt x="56" y="204"/>
                    <a:pt x="56" y="202"/>
                    <a:pt x="55" y="202"/>
                  </a:cubicBezTo>
                  <a:cubicBezTo>
                    <a:pt x="55" y="201"/>
                    <a:pt x="55" y="200"/>
                    <a:pt x="56" y="199"/>
                  </a:cubicBezTo>
                  <a:cubicBezTo>
                    <a:pt x="56" y="198"/>
                    <a:pt x="56" y="198"/>
                    <a:pt x="56" y="198"/>
                  </a:cubicBezTo>
                  <a:cubicBezTo>
                    <a:pt x="56" y="198"/>
                    <a:pt x="56" y="198"/>
                    <a:pt x="56" y="198"/>
                  </a:cubicBezTo>
                  <a:cubicBezTo>
                    <a:pt x="56" y="198"/>
                    <a:pt x="57" y="198"/>
                    <a:pt x="57" y="197"/>
                  </a:cubicBezTo>
                  <a:cubicBezTo>
                    <a:pt x="57" y="197"/>
                    <a:pt x="58" y="197"/>
                    <a:pt x="58" y="197"/>
                  </a:cubicBezTo>
                  <a:cubicBezTo>
                    <a:pt x="58" y="197"/>
                    <a:pt x="58" y="196"/>
                    <a:pt x="59" y="196"/>
                  </a:cubicBezTo>
                  <a:cubicBezTo>
                    <a:pt x="59" y="195"/>
                    <a:pt x="60" y="194"/>
                    <a:pt x="60" y="194"/>
                  </a:cubicBezTo>
                  <a:cubicBezTo>
                    <a:pt x="60" y="193"/>
                    <a:pt x="60" y="192"/>
                    <a:pt x="61" y="191"/>
                  </a:cubicBezTo>
                  <a:cubicBezTo>
                    <a:pt x="61" y="191"/>
                    <a:pt x="61" y="191"/>
                    <a:pt x="61" y="191"/>
                  </a:cubicBezTo>
                  <a:cubicBezTo>
                    <a:pt x="67" y="188"/>
                    <a:pt x="67" y="188"/>
                    <a:pt x="67" y="188"/>
                  </a:cubicBezTo>
                  <a:cubicBezTo>
                    <a:pt x="67" y="187"/>
                    <a:pt x="67" y="187"/>
                    <a:pt x="67" y="187"/>
                  </a:cubicBezTo>
                  <a:cubicBezTo>
                    <a:pt x="69" y="182"/>
                    <a:pt x="69" y="182"/>
                    <a:pt x="69" y="182"/>
                  </a:cubicBezTo>
                  <a:cubicBezTo>
                    <a:pt x="70" y="182"/>
                    <a:pt x="70" y="182"/>
                    <a:pt x="70" y="182"/>
                  </a:cubicBezTo>
                  <a:cubicBezTo>
                    <a:pt x="71" y="182"/>
                    <a:pt x="73" y="182"/>
                    <a:pt x="73" y="182"/>
                  </a:cubicBezTo>
                  <a:cubicBezTo>
                    <a:pt x="73" y="182"/>
                    <a:pt x="74" y="182"/>
                    <a:pt x="74" y="182"/>
                  </a:cubicBezTo>
                  <a:cubicBezTo>
                    <a:pt x="74" y="182"/>
                    <a:pt x="74" y="182"/>
                    <a:pt x="74" y="182"/>
                  </a:cubicBezTo>
                  <a:cubicBezTo>
                    <a:pt x="77" y="180"/>
                    <a:pt x="77" y="180"/>
                    <a:pt x="77" y="180"/>
                  </a:cubicBezTo>
                  <a:cubicBezTo>
                    <a:pt x="79" y="181"/>
                    <a:pt x="79" y="181"/>
                    <a:pt x="79" y="181"/>
                  </a:cubicBezTo>
                  <a:cubicBezTo>
                    <a:pt x="79" y="180"/>
                    <a:pt x="79" y="180"/>
                    <a:pt x="79" y="180"/>
                  </a:cubicBezTo>
                  <a:cubicBezTo>
                    <a:pt x="80" y="180"/>
                    <a:pt x="80" y="180"/>
                    <a:pt x="80" y="180"/>
                  </a:cubicBezTo>
                  <a:cubicBezTo>
                    <a:pt x="80" y="180"/>
                    <a:pt x="79" y="180"/>
                    <a:pt x="79" y="180"/>
                  </a:cubicBezTo>
                  <a:cubicBezTo>
                    <a:pt x="78" y="179"/>
                    <a:pt x="76" y="179"/>
                    <a:pt x="76" y="176"/>
                  </a:cubicBezTo>
                  <a:cubicBezTo>
                    <a:pt x="76" y="176"/>
                    <a:pt x="76" y="176"/>
                    <a:pt x="76" y="176"/>
                  </a:cubicBezTo>
                  <a:cubicBezTo>
                    <a:pt x="75" y="175"/>
                    <a:pt x="75" y="173"/>
                    <a:pt x="74" y="172"/>
                  </a:cubicBezTo>
                  <a:cubicBezTo>
                    <a:pt x="74" y="172"/>
                    <a:pt x="74" y="171"/>
                    <a:pt x="75" y="171"/>
                  </a:cubicBezTo>
                  <a:cubicBezTo>
                    <a:pt x="75" y="171"/>
                    <a:pt x="74" y="170"/>
                    <a:pt x="74" y="170"/>
                  </a:cubicBezTo>
                  <a:cubicBezTo>
                    <a:pt x="74" y="170"/>
                    <a:pt x="74" y="170"/>
                    <a:pt x="74" y="170"/>
                  </a:cubicBezTo>
                  <a:cubicBezTo>
                    <a:pt x="73" y="169"/>
                    <a:pt x="73" y="168"/>
                    <a:pt x="73" y="168"/>
                  </a:cubicBezTo>
                  <a:cubicBezTo>
                    <a:pt x="73" y="167"/>
                    <a:pt x="73" y="167"/>
                    <a:pt x="72" y="166"/>
                  </a:cubicBezTo>
                  <a:cubicBezTo>
                    <a:pt x="72" y="165"/>
                    <a:pt x="72" y="165"/>
                    <a:pt x="72" y="165"/>
                  </a:cubicBezTo>
                  <a:cubicBezTo>
                    <a:pt x="71" y="164"/>
                    <a:pt x="71" y="164"/>
                    <a:pt x="71" y="164"/>
                  </a:cubicBezTo>
                  <a:cubicBezTo>
                    <a:pt x="71" y="163"/>
                    <a:pt x="71" y="163"/>
                    <a:pt x="71" y="163"/>
                  </a:cubicBezTo>
                  <a:cubicBezTo>
                    <a:pt x="70" y="163"/>
                    <a:pt x="70" y="163"/>
                    <a:pt x="70" y="163"/>
                  </a:cubicBezTo>
                  <a:cubicBezTo>
                    <a:pt x="72" y="161"/>
                    <a:pt x="72" y="161"/>
                    <a:pt x="72" y="161"/>
                  </a:cubicBezTo>
                  <a:cubicBezTo>
                    <a:pt x="74" y="158"/>
                    <a:pt x="74" y="158"/>
                    <a:pt x="74" y="158"/>
                  </a:cubicBezTo>
                  <a:cubicBezTo>
                    <a:pt x="74" y="157"/>
                    <a:pt x="74" y="157"/>
                    <a:pt x="74" y="157"/>
                  </a:cubicBezTo>
                  <a:cubicBezTo>
                    <a:pt x="74" y="157"/>
                    <a:pt x="75" y="157"/>
                    <a:pt x="75" y="157"/>
                  </a:cubicBezTo>
                  <a:cubicBezTo>
                    <a:pt x="75" y="156"/>
                    <a:pt x="76" y="154"/>
                    <a:pt x="76" y="154"/>
                  </a:cubicBezTo>
                  <a:cubicBezTo>
                    <a:pt x="77" y="149"/>
                    <a:pt x="77" y="149"/>
                    <a:pt x="77" y="149"/>
                  </a:cubicBezTo>
                  <a:cubicBezTo>
                    <a:pt x="80" y="149"/>
                    <a:pt x="80" y="149"/>
                    <a:pt x="80" y="149"/>
                  </a:cubicBezTo>
                  <a:cubicBezTo>
                    <a:pt x="86" y="146"/>
                    <a:pt x="86" y="146"/>
                    <a:pt x="86" y="146"/>
                  </a:cubicBezTo>
                  <a:cubicBezTo>
                    <a:pt x="86" y="145"/>
                    <a:pt x="86" y="145"/>
                    <a:pt x="86" y="145"/>
                  </a:cubicBezTo>
                  <a:cubicBezTo>
                    <a:pt x="89" y="142"/>
                    <a:pt x="89" y="142"/>
                    <a:pt x="89" y="142"/>
                  </a:cubicBezTo>
                  <a:cubicBezTo>
                    <a:pt x="90" y="141"/>
                    <a:pt x="90" y="141"/>
                    <a:pt x="90" y="141"/>
                  </a:cubicBezTo>
                  <a:cubicBezTo>
                    <a:pt x="90" y="141"/>
                    <a:pt x="90" y="141"/>
                    <a:pt x="90" y="141"/>
                  </a:cubicBezTo>
                  <a:cubicBezTo>
                    <a:pt x="90" y="140"/>
                    <a:pt x="90" y="140"/>
                    <a:pt x="90" y="140"/>
                  </a:cubicBezTo>
                  <a:cubicBezTo>
                    <a:pt x="90" y="140"/>
                    <a:pt x="89" y="140"/>
                    <a:pt x="89" y="139"/>
                  </a:cubicBezTo>
                  <a:cubicBezTo>
                    <a:pt x="89" y="140"/>
                    <a:pt x="89" y="140"/>
                    <a:pt x="89" y="140"/>
                  </a:cubicBezTo>
                  <a:cubicBezTo>
                    <a:pt x="88" y="140"/>
                    <a:pt x="88" y="140"/>
                    <a:pt x="88" y="140"/>
                  </a:cubicBezTo>
                  <a:cubicBezTo>
                    <a:pt x="88" y="140"/>
                    <a:pt x="86" y="139"/>
                    <a:pt x="86" y="139"/>
                  </a:cubicBezTo>
                  <a:cubicBezTo>
                    <a:pt x="85" y="139"/>
                    <a:pt x="85" y="139"/>
                    <a:pt x="85" y="139"/>
                  </a:cubicBezTo>
                  <a:cubicBezTo>
                    <a:pt x="85" y="138"/>
                    <a:pt x="85" y="138"/>
                    <a:pt x="85" y="138"/>
                  </a:cubicBezTo>
                  <a:cubicBezTo>
                    <a:pt x="84" y="137"/>
                    <a:pt x="84" y="136"/>
                    <a:pt x="85" y="135"/>
                  </a:cubicBezTo>
                  <a:cubicBezTo>
                    <a:pt x="83" y="134"/>
                    <a:pt x="83" y="134"/>
                    <a:pt x="83" y="134"/>
                  </a:cubicBezTo>
                  <a:cubicBezTo>
                    <a:pt x="82" y="131"/>
                    <a:pt x="82" y="131"/>
                    <a:pt x="82" y="131"/>
                  </a:cubicBezTo>
                  <a:cubicBezTo>
                    <a:pt x="82" y="128"/>
                    <a:pt x="82" y="128"/>
                    <a:pt x="82" y="128"/>
                  </a:cubicBezTo>
                  <a:cubicBezTo>
                    <a:pt x="82" y="127"/>
                    <a:pt x="82" y="127"/>
                    <a:pt x="82" y="127"/>
                  </a:cubicBezTo>
                  <a:cubicBezTo>
                    <a:pt x="81" y="123"/>
                    <a:pt x="81" y="123"/>
                    <a:pt x="81" y="123"/>
                  </a:cubicBezTo>
                  <a:cubicBezTo>
                    <a:pt x="82" y="121"/>
                    <a:pt x="82" y="121"/>
                    <a:pt x="82" y="121"/>
                  </a:cubicBezTo>
                  <a:cubicBezTo>
                    <a:pt x="82" y="121"/>
                    <a:pt x="82" y="121"/>
                    <a:pt x="82" y="121"/>
                  </a:cubicBezTo>
                  <a:cubicBezTo>
                    <a:pt x="81" y="121"/>
                    <a:pt x="81" y="120"/>
                    <a:pt x="80" y="118"/>
                  </a:cubicBezTo>
                  <a:cubicBezTo>
                    <a:pt x="80" y="118"/>
                    <a:pt x="80" y="118"/>
                    <a:pt x="80" y="118"/>
                  </a:cubicBezTo>
                  <a:cubicBezTo>
                    <a:pt x="80" y="118"/>
                    <a:pt x="80" y="118"/>
                    <a:pt x="80" y="118"/>
                  </a:cubicBezTo>
                  <a:cubicBezTo>
                    <a:pt x="80" y="117"/>
                    <a:pt x="80" y="117"/>
                    <a:pt x="79" y="117"/>
                  </a:cubicBezTo>
                  <a:cubicBezTo>
                    <a:pt x="79" y="116"/>
                    <a:pt x="79" y="116"/>
                    <a:pt x="78" y="114"/>
                  </a:cubicBezTo>
                  <a:cubicBezTo>
                    <a:pt x="78" y="114"/>
                    <a:pt x="78" y="113"/>
                    <a:pt x="78" y="113"/>
                  </a:cubicBezTo>
                  <a:cubicBezTo>
                    <a:pt x="78" y="112"/>
                    <a:pt x="77" y="112"/>
                    <a:pt x="77" y="111"/>
                  </a:cubicBezTo>
                  <a:cubicBezTo>
                    <a:pt x="77" y="109"/>
                    <a:pt x="77" y="109"/>
                    <a:pt x="77" y="109"/>
                  </a:cubicBezTo>
                  <a:cubicBezTo>
                    <a:pt x="81" y="108"/>
                    <a:pt x="81" y="108"/>
                    <a:pt x="81" y="108"/>
                  </a:cubicBezTo>
                  <a:cubicBezTo>
                    <a:pt x="84" y="109"/>
                    <a:pt x="84" y="109"/>
                    <a:pt x="84" y="109"/>
                  </a:cubicBezTo>
                  <a:cubicBezTo>
                    <a:pt x="85" y="109"/>
                    <a:pt x="85" y="109"/>
                    <a:pt x="85" y="109"/>
                  </a:cubicBezTo>
                  <a:cubicBezTo>
                    <a:pt x="85" y="109"/>
                    <a:pt x="85" y="109"/>
                    <a:pt x="85" y="109"/>
                  </a:cubicBezTo>
                  <a:cubicBezTo>
                    <a:pt x="86" y="110"/>
                    <a:pt x="86" y="110"/>
                    <a:pt x="86" y="110"/>
                  </a:cubicBezTo>
                  <a:cubicBezTo>
                    <a:pt x="88" y="109"/>
                    <a:pt x="88" y="109"/>
                    <a:pt x="88" y="109"/>
                  </a:cubicBezTo>
                  <a:cubicBezTo>
                    <a:pt x="91" y="110"/>
                    <a:pt x="91" y="110"/>
                    <a:pt x="91" y="110"/>
                  </a:cubicBezTo>
                  <a:cubicBezTo>
                    <a:pt x="92" y="110"/>
                    <a:pt x="92" y="110"/>
                    <a:pt x="93" y="111"/>
                  </a:cubicBezTo>
                  <a:cubicBezTo>
                    <a:pt x="93" y="111"/>
                    <a:pt x="94" y="111"/>
                    <a:pt x="94" y="111"/>
                  </a:cubicBezTo>
                  <a:cubicBezTo>
                    <a:pt x="94" y="111"/>
                    <a:pt x="95" y="111"/>
                    <a:pt x="95" y="111"/>
                  </a:cubicBezTo>
                  <a:cubicBezTo>
                    <a:pt x="96" y="109"/>
                    <a:pt x="96" y="109"/>
                    <a:pt x="96" y="109"/>
                  </a:cubicBezTo>
                  <a:cubicBezTo>
                    <a:pt x="97" y="109"/>
                    <a:pt x="97" y="109"/>
                    <a:pt x="97" y="109"/>
                  </a:cubicBezTo>
                  <a:cubicBezTo>
                    <a:pt x="97" y="107"/>
                    <a:pt x="97" y="107"/>
                    <a:pt x="97" y="107"/>
                  </a:cubicBezTo>
                  <a:cubicBezTo>
                    <a:pt x="97" y="107"/>
                    <a:pt x="98" y="106"/>
                    <a:pt x="98" y="106"/>
                  </a:cubicBezTo>
                  <a:cubicBezTo>
                    <a:pt x="98" y="105"/>
                    <a:pt x="98" y="105"/>
                    <a:pt x="98" y="105"/>
                  </a:cubicBezTo>
                  <a:cubicBezTo>
                    <a:pt x="99" y="105"/>
                    <a:pt x="99" y="105"/>
                    <a:pt x="99" y="105"/>
                  </a:cubicBezTo>
                  <a:cubicBezTo>
                    <a:pt x="101" y="102"/>
                    <a:pt x="101" y="102"/>
                    <a:pt x="101" y="102"/>
                  </a:cubicBezTo>
                  <a:cubicBezTo>
                    <a:pt x="102" y="101"/>
                    <a:pt x="102" y="100"/>
                    <a:pt x="103" y="100"/>
                  </a:cubicBezTo>
                  <a:cubicBezTo>
                    <a:pt x="103" y="100"/>
                    <a:pt x="103" y="100"/>
                    <a:pt x="103" y="100"/>
                  </a:cubicBezTo>
                  <a:cubicBezTo>
                    <a:pt x="102" y="99"/>
                    <a:pt x="102" y="99"/>
                    <a:pt x="102" y="99"/>
                  </a:cubicBezTo>
                  <a:cubicBezTo>
                    <a:pt x="102" y="96"/>
                    <a:pt x="102" y="96"/>
                    <a:pt x="102" y="96"/>
                  </a:cubicBezTo>
                  <a:cubicBezTo>
                    <a:pt x="101" y="96"/>
                    <a:pt x="101" y="96"/>
                    <a:pt x="101" y="96"/>
                  </a:cubicBezTo>
                  <a:cubicBezTo>
                    <a:pt x="101" y="96"/>
                    <a:pt x="101" y="96"/>
                    <a:pt x="101" y="95"/>
                  </a:cubicBezTo>
                  <a:cubicBezTo>
                    <a:pt x="100" y="95"/>
                    <a:pt x="100" y="93"/>
                    <a:pt x="100" y="92"/>
                  </a:cubicBezTo>
                  <a:cubicBezTo>
                    <a:pt x="99" y="91"/>
                    <a:pt x="99" y="91"/>
                    <a:pt x="99" y="91"/>
                  </a:cubicBezTo>
                  <a:cubicBezTo>
                    <a:pt x="101" y="88"/>
                    <a:pt x="101" y="88"/>
                    <a:pt x="101" y="88"/>
                  </a:cubicBezTo>
                  <a:cubicBezTo>
                    <a:pt x="103" y="88"/>
                    <a:pt x="103" y="88"/>
                    <a:pt x="103" y="88"/>
                  </a:cubicBezTo>
                  <a:cubicBezTo>
                    <a:pt x="104" y="87"/>
                    <a:pt x="104" y="87"/>
                    <a:pt x="104" y="87"/>
                  </a:cubicBezTo>
                  <a:cubicBezTo>
                    <a:pt x="107" y="86"/>
                    <a:pt x="107" y="86"/>
                    <a:pt x="107" y="86"/>
                  </a:cubicBezTo>
                  <a:cubicBezTo>
                    <a:pt x="108" y="85"/>
                    <a:pt x="108" y="85"/>
                    <a:pt x="108" y="85"/>
                  </a:cubicBezTo>
                  <a:cubicBezTo>
                    <a:pt x="109" y="85"/>
                    <a:pt x="109" y="85"/>
                    <a:pt x="109" y="85"/>
                  </a:cubicBezTo>
                  <a:cubicBezTo>
                    <a:pt x="108" y="83"/>
                    <a:pt x="108" y="83"/>
                    <a:pt x="108" y="83"/>
                  </a:cubicBezTo>
                  <a:cubicBezTo>
                    <a:pt x="108" y="79"/>
                    <a:pt x="108" y="79"/>
                    <a:pt x="108" y="79"/>
                  </a:cubicBezTo>
                  <a:cubicBezTo>
                    <a:pt x="110" y="77"/>
                    <a:pt x="110" y="77"/>
                    <a:pt x="110" y="77"/>
                  </a:cubicBezTo>
                  <a:cubicBezTo>
                    <a:pt x="109" y="77"/>
                    <a:pt x="109" y="77"/>
                    <a:pt x="109" y="77"/>
                  </a:cubicBezTo>
                  <a:cubicBezTo>
                    <a:pt x="110" y="73"/>
                    <a:pt x="110" y="73"/>
                    <a:pt x="110" y="73"/>
                  </a:cubicBezTo>
                  <a:cubicBezTo>
                    <a:pt x="112" y="72"/>
                    <a:pt x="112" y="72"/>
                    <a:pt x="112" y="72"/>
                  </a:cubicBezTo>
                  <a:cubicBezTo>
                    <a:pt x="112" y="71"/>
                    <a:pt x="112" y="71"/>
                    <a:pt x="112" y="71"/>
                  </a:cubicBezTo>
                  <a:cubicBezTo>
                    <a:pt x="112" y="70"/>
                    <a:pt x="112" y="70"/>
                    <a:pt x="112" y="69"/>
                  </a:cubicBezTo>
                  <a:cubicBezTo>
                    <a:pt x="112" y="67"/>
                    <a:pt x="112" y="67"/>
                    <a:pt x="112" y="67"/>
                  </a:cubicBezTo>
                  <a:cubicBezTo>
                    <a:pt x="112" y="65"/>
                    <a:pt x="112" y="65"/>
                    <a:pt x="112" y="65"/>
                  </a:cubicBezTo>
                  <a:cubicBezTo>
                    <a:pt x="112" y="65"/>
                    <a:pt x="112" y="65"/>
                    <a:pt x="112" y="65"/>
                  </a:cubicBezTo>
                  <a:cubicBezTo>
                    <a:pt x="113" y="64"/>
                    <a:pt x="113" y="64"/>
                    <a:pt x="113" y="64"/>
                  </a:cubicBezTo>
                  <a:cubicBezTo>
                    <a:pt x="113" y="64"/>
                    <a:pt x="113" y="64"/>
                    <a:pt x="113" y="64"/>
                  </a:cubicBezTo>
                  <a:cubicBezTo>
                    <a:pt x="112" y="63"/>
                    <a:pt x="112" y="63"/>
                    <a:pt x="112" y="63"/>
                  </a:cubicBezTo>
                  <a:cubicBezTo>
                    <a:pt x="112" y="63"/>
                    <a:pt x="112" y="61"/>
                    <a:pt x="112" y="60"/>
                  </a:cubicBezTo>
                  <a:cubicBezTo>
                    <a:pt x="112" y="60"/>
                    <a:pt x="112" y="60"/>
                    <a:pt x="112" y="60"/>
                  </a:cubicBezTo>
                  <a:cubicBezTo>
                    <a:pt x="111" y="55"/>
                    <a:pt x="111" y="55"/>
                    <a:pt x="111" y="55"/>
                  </a:cubicBezTo>
                  <a:cubicBezTo>
                    <a:pt x="114" y="53"/>
                    <a:pt x="114" y="53"/>
                    <a:pt x="114" y="53"/>
                  </a:cubicBezTo>
                  <a:cubicBezTo>
                    <a:pt x="114" y="53"/>
                    <a:pt x="116" y="54"/>
                    <a:pt x="116" y="54"/>
                  </a:cubicBezTo>
                  <a:cubicBezTo>
                    <a:pt x="116" y="54"/>
                    <a:pt x="116" y="53"/>
                    <a:pt x="117" y="53"/>
                  </a:cubicBezTo>
                  <a:cubicBezTo>
                    <a:pt x="117" y="53"/>
                    <a:pt x="118" y="53"/>
                    <a:pt x="118" y="53"/>
                  </a:cubicBezTo>
                  <a:cubicBezTo>
                    <a:pt x="119" y="51"/>
                    <a:pt x="119" y="51"/>
                    <a:pt x="119" y="51"/>
                  </a:cubicBezTo>
                  <a:cubicBezTo>
                    <a:pt x="122" y="49"/>
                    <a:pt x="122" y="49"/>
                    <a:pt x="122" y="49"/>
                  </a:cubicBezTo>
                  <a:cubicBezTo>
                    <a:pt x="122" y="48"/>
                    <a:pt x="122" y="48"/>
                    <a:pt x="122" y="48"/>
                  </a:cubicBezTo>
                  <a:cubicBezTo>
                    <a:pt x="127" y="47"/>
                    <a:pt x="127" y="47"/>
                    <a:pt x="127" y="47"/>
                  </a:cubicBezTo>
                  <a:cubicBezTo>
                    <a:pt x="127" y="47"/>
                    <a:pt x="127" y="47"/>
                    <a:pt x="127" y="47"/>
                  </a:cubicBezTo>
                  <a:cubicBezTo>
                    <a:pt x="128" y="46"/>
                    <a:pt x="128" y="46"/>
                    <a:pt x="128" y="46"/>
                  </a:cubicBezTo>
                  <a:cubicBezTo>
                    <a:pt x="129" y="46"/>
                    <a:pt x="129" y="46"/>
                    <a:pt x="129" y="46"/>
                  </a:cubicBezTo>
                  <a:cubicBezTo>
                    <a:pt x="130" y="46"/>
                    <a:pt x="130" y="46"/>
                    <a:pt x="130" y="46"/>
                  </a:cubicBezTo>
                  <a:cubicBezTo>
                    <a:pt x="132" y="45"/>
                    <a:pt x="132" y="45"/>
                    <a:pt x="132" y="45"/>
                  </a:cubicBezTo>
                  <a:cubicBezTo>
                    <a:pt x="134" y="42"/>
                    <a:pt x="134" y="42"/>
                    <a:pt x="134" y="42"/>
                  </a:cubicBezTo>
                  <a:cubicBezTo>
                    <a:pt x="136" y="42"/>
                    <a:pt x="136" y="42"/>
                    <a:pt x="136" y="42"/>
                  </a:cubicBezTo>
                  <a:cubicBezTo>
                    <a:pt x="136" y="42"/>
                    <a:pt x="136" y="42"/>
                    <a:pt x="136" y="42"/>
                  </a:cubicBezTo>
                  <a:cubicBezTo>
                    <a:pt x="136" y="42"/>
                    <a:pt x="137" y="40"/>
                    <a:pt x="137" y="40"/>
                  </a:cubicBezTo>
                  <a:cubicBezTo>
                    <a:pt x="139" y="39"/>
                    <a:pt x="139" y="39"/>
                    <a:pt x="139" y="39"/>
                  </a:cubicBezTo>
                  <a:cubicBezTo>
                    <a:pt x="141" y="37"/>
                    <a:pt x="141" y="37"/>
                    <a:pt x="141" y="37"/>
                  </a:cubicBezTo>
                  <a:cubicBezTo>
                    <a:pt x="140" y="36"/>
                    <a:pt x="140" y="36"/>
                    <a:pt x="140" y="36"/>
                  </a:cubicBezTo>
                  <a:cubicBezTo>
                    <a:pt x="139" y="36"/>
                    <a:pt x="138" y="35"/>
                    <a:pt x="138" y="34"/>
                  </a:cubicBezTo>
                  <a:cubicBezTo>
                    <a:pt x="138" y="34"/>
                    <a:pt x="137" y="34"/>
                    <a:pt x="137" y="33"/>
                  </a:cubicBezTo>
                  <a:cubicBezTo>
                    <a:pt x="136" y="33"/>
                    <a:pt x="136" y="33"/>
                    <a:pt x="136" y="33"/>
                  </a:cubicBezTo>
                  <a:cubicBezTo>
                    <a:pt x="136" y="33"/>
                    <a:pt x="135" y="33"/>
                    <a:pt x="135" y="34"/>
                  </a:cubicBezTo>
                  <a:cubicBezTo>
                    <a:pt x="134" y="34"/>
                    <a:pt x="134" y="34"/>
                    <a:pt x="134" y="34"/>
                  </a:cubicBezTo>
                  <a:cubicBezTo>
                    <a:pt x="131" y="32"/>
                    <a:pt x="131" y="32"/>
                    <a:pt x="131" y="32"/>
                  </a:cubicBezTo>
                  <a:cubicBezTo>
                    <a:pt x="131" y="31"/>
                    <a:pt x="131" y="31"/>
                    <a:pt x="131" y="31"/>
                  </a:cubicBezTo>
                  <a:cubicBezTo>
                    <a:pt x="130" y="30"/>
                    <a:pt x="130" y="29"/>
                    <a:pt x="131" y="28"/>
                  </a:cubicBezTo>
                  <a:cubicBezTo>
                    <a:pt x="130" y="27"/>
                    <a:pt x="130" y="27"/>
                    <a:pt x="130" y="27"/>
                  </a:cubicBezTo>
                  <a:cubicBezTo>
                    <a:pt x="132" y="25"/>
                    <a:pt x="132" y="25"/>
                    <a:pt x="132" y="25"/>
                  </a:cubicBezTo>
                  <a:cubicBezTo>
                    <a:pt x="132" y="25"/>
                    <a:pt x="133" y="24"/>
                    <a:pt x="133" y="24"/>
                  </a:cubicBezTo>
                  <a:cubicBezTo>
                    <a:pt x="133" y="23"/>
                    <a:pt x="133" y="23"/>
                    <a:pt x="133" y="23"/>
                  </a:cubicBezTo>
                  <a:cubicBezTo>
                    <a:pt x="133" y="23"/>
                    <a:pt x="133" y="23"/>
                    <a:pt x="133" y="23"/>
                  </a:cubicBezTo>
                  <a:cubicBezTo>
                    <a:pt x="132" y="22"/>
                    <a:pt x="132" y="22"/>
                    <a:pt x="132" y="22"/>
                  </a:cubicBezTo>
                  <a:cubicBezTo>
                    <a:pt x="132" y="22"/>
                    <a:pt x="132" y="21"/>
                    <a:pt x="132" y="21"/>
                  </a:cubicBezTo>
                  <a:cubicBezTo>
                    <a:pt x="131" y="20"/>
                    <a:pt x="130" y="20"/>
                    <a:pt x="129" y="20"/>
                  </a:cubicBezTo>
                  <a:cubicBezTo>
                    <a:pt x="129" y="20"/>
                    <a:pt x="128" y="20"/>
                    <a:pt x="128" y="19"/>
                  </a:cubicBezTo>
                  <a:cubicBezTo>
                    <a:pt x="128" y="19"/>
                    <a:pt x="128" y="19"/>
                    <a:pt x="128" y="19"/>
                  </a:cubicBezTo>
                  <a:cubicBezTo>
                    <a:pt x="124" y="19"/>
                    <a:pt x="124" y="19"/>
                    <a:pt x="124" y="19"/>
                  </a:cubicBezTo>
                  <a:cubicBezTo>
                    <a:pt x="123" y="19"/>
                    <a:pt x="123" y="18"/>
                    <a:pt x="122" y="18"/>
                  </a:cubicBezTo>
                  <a:cubicBezTo>
                    <a:pt x="121" y="18"/>
                    <a:pt x="121" y="17"/>
                    <a:pt x="121" y="17"/>
                  </a:cubicBezTo>
                  <a:cubicBezTo>
                    <a:pt x="120" y="17"/>
                    <a:pt x="120" y="17"/>
                    <a:pt x="120" y="17"/>
                  </a:cubicBezTo>
                  <a:cubicBezTo>
                    <a:pt x="119" y="17"/>
                    <a:pt x="119" y="17"/>
                    <a:pt x="119" y="17"/>
                  </a:cubicBezTo>
                  <a:cubicBezTo>
                    <a:pt x="119" y="17"/>
                    <a:pt x="119" y="17"/>
                    <a:pt x="119" y="17"/>
                  </a:cubicBezTo>
                  <a:cubicBezTo>
                    <a:pt x="118" y="16"/>
                    <a:pt x="117" y="16"/>
                    <a:pt x="117" y="15"/>
                  </a:cubicBezTo>
                  <a:cubicBezTo>
                    <a:pt x="116" y="17"/>
                    <a:pt x="116" y="17"/>
                    <a:pt x="116" y="17"/>
                  </a:cubicBezTo>
                  <a:cubicBezTo>
                    <a:pt x="114" y="20"/>
                    <a:pt x="114" y="20"/>
                    <a:pt x="114" y="20"/>
                  </a:cubicBezTo>
                  <a:cubicBezTo>
                    <a:pt x="114" y="20"/>
                    <a:pt x="112" y="20"/>
                    <a:pt x="111" y="20"/>
                  </a:cubicBezTo>
                  <a:cubicBezTo>
                    <a:pt x="109" y="20"/>
                    <a:pt x="109" y="20"/>
                    <a:pt x="109" y="20"/>
                  </a:cubicBezTo>
                  <a:cubicBezTo>
                    <a:pt x="109" y="20"/>
                    <a:pt x="109" y="20"/>
                    <a:pt x="109" y="20"/>
                  </a:cubicBezTo>
                  <a:cubicBezTo>
                    <a:pt x="109" y="20"/>
                    <a:pt x="108" y="20"/>
                    <a:pt x="108" y="20"/>
                  </a:cubicBezTo>
                  <a:cubicBezTo>
                    <a:pt x="107" y="20"/>
                    <a:pt x="106" y="20"/>
                    <a:pt x="106" y="20"/>
                  </a:cubicBezTo>
                  <a:cubicBezTo>
                    <a:pt x="105" y="20"/>
                    <a:pt x="104" y="19"/>
                    <a:pt x="103" y="18"/>
                  </a:cubicBezTo>
                  <a:cubicBezTo>
                    <a:pt x="103" y="18"/>
                    <a:pt x="102" y="19"/>
                    <a:pt x="101" y="19"/>
                  </a:cubicBezTo>
                  <a:cubicBezTo>
                    <a:pt x="100" y="19"/>
                    <a:pt x="100" y="19"/>
                    <a:pt x="100" y="19"/>
                  </a:cubicBezTo>
                  <a:cubicBezTo>
                    <a:pt x="100" y="19"/>
                    <a:pt x="100" y="19"/>
                    <a:pt x="100" y="19"/>
                  </a:cubicBezTo>
                  <a:cubicBezTo>
                    <a:pt x="99" y="18"/>
                    <a:pt x="98" y="17"/>
                    <a:pt x="98" y="15"/>
                  </a:cubicBezTo>
                  <a:cubicBezTo>
                    <a:pt x="98" y="14"/>
                    <a:pt x="97" y="14"/>
                    <a:pt x="97" y="14"/>
                  </a:cubicBezTo>
                  <a:cubicBezTo>
                    <a:pt x="97" y="14"/>
                    <a:pt x="96" y="14"/>
                    <a:pt x="96" y="14"/>
                  </a:cubicBezTo>
                  <a:cubicBezTo>
                    <a:pt x="95" y="14"/>
                    <a:pt x="95" y="14"/>
                    <a:pt x="95" y="14"/>
                  </a:cubicBezTo>
                  <a:cubicBezTo>
                    <a:pt x="95" y="14"/>
                    <a:pt x="94" y="14"/>
                    <a:pt x="94" y="14"/>
                  </a:cubicBezTo>
                  <a:cubicBezTo>
                    <a:pt x="94" y="14"/>
                    <a:pt x="94" y="14"/>
                    <a:pt x="94" y="14"/>
                  </a:cubicBezTo>
                  <a:cubicBezTo>
                    <a:pt x="93" y="15"/>
                    <a:pt x="92" y="15"/>
                    <a:pt x="92" y="15"/>
                  </a:cubicBezTo>
                  <a:cubicBezTo>
                    <a:pt x="91" y="15"/>
                    <a:pt x="91" y="15"/>
                    <a:pt x="91" y="15"/>
                  </a:cubicBezTo>
                  <a:cubicBezTo>
                    <a:pt x="91" y="15"/>
                    <a:pt x="91" y="15"/>
                    <a:pt x="91" y="15"/>
                  </a:cubicBezTo>
                  <a:cubicBezTo>
                    <a:pt x="90" y="14"/>
                    <a:pt x="90" y="14"/>
                    <a:pt x="90" y="13"/>
                  </a:cubicBezTo>
                  <a:cubicBezTo>
                    <a:pt x="89" y="14"/>
                    <a:pt x="89" y="14"/>
                    <a:pt x="89" y="14"/>
                  </a:cubicBezTo>
                  <a:cubicBezTo>
                    <a:pt x="88" y="14"/>
                    <a:pt x="88" y="14"/>
                    <a:pt x="88" y="14"/>
                  </a:cubicBezTo>
                  <a:cubicBezTo>
                    <a:pt x="88" y="14"/>
                    <a:pt x="88" y="14"/>
                    <a:pt x="88" y="14"/>
                  </a:cubicBezTo>
                  <a:cubicBezTo>
                    <a:pt x="87" y="14"/>
                    <a:pt x="87" y="14"/>
                    <a:pt x="86" y="15"/>
                  </a:cubicBezTo>
                  <a:cubicBezTo>
                    <a:pt x="85" y="15"/>
                    <a:pt x="84" y="15"/>
                    <a:pt x="84" y="15"/>
                  </a:cubicBezTo>
                  <a:cubicBezTo>
                    <a:pt x="83" y="15"/>
                    <a:pt x="82" y="14"/>
                    <a:pt x="82" y="14"/>
                  </a:cubicBezTo>
                  <a:cubicBezTo>
                    <a:pt x="80" y="13"/>
                    <a:pt x="80" y="12"/>
                    <a:pt x="80" y="11"/>
                  </a:cubicBezTo>
                  <a:cubicBezTo>
                    <a:pt x="80" y="11"/>
                    <a:pt x="80" y="11"/>
                    <a:pt x="80" y="11"/>
                  </a:cubicBezTo>
                  <a:cubicBezTo>
                    <a:pt x="80" y="10"/>
                    <a:pt x="80" y="10"/>
                    <a:pt x="80" y="10"/>
                  </a:cubicBezTo>
                  <a:cubicBezTo>
                    <a:pt x="80" y="10"/>
                    <a:pt x="80" y="10"/>
                    <a:pt x="80" y="10"/>
                  </a:cubicBezTo>
                  <a:cubicBezTo>
                    <a:pt x="80" y="10"/>
                    <a:pt x="80" y="10"/>
                    <a:pt x="80" y="10"/>
                  </a:cubicBezTo>
                  <a:cubicBezTo>
                    <a:pt x="79" y="9"/>
                    <a:pt x="79" y="9"/>
                    <a:pt x="79" y="9"/>
                  </a:cubicBezTo>
                  <a:cubicBezTo>
                    <a:pt x="79" y="8"/>
                    <a:pt x="79" y="7"/>
                    <a:pt x="80" y="6"/>
                  </a:cubicBezTo>
                  <a:cubicBezTo>
                    <a:pt x="80" y="5"/>
                    <a:pt x="81" y="5"/>
                    <a:pt x="81" y="5"/>
                  </a:cubicBezTo>
                  <a:cubicBezTo>
                    <a:pt x="81" y="5"/>
                    <a:pt x="81" y="4"/>
                    <a:pt x="81" y="4"/>
                  </a:cubicBezTo>
                  <a:cubicBezTo>
                    <a:pt x="82" y="4"/>
                    <a:pt x="83" y="3"/>
                    <a:pt x="84" y="3"/>
                  </a:cubicBezTo>
                  <a:cubicBezTo>
                    <a:pt x="84" y="3"/>
                    <a:pt x="84" y="3"/>
                    <a:pt x="84" y="3"/>
                  </a:cubicBezTo>
                  <a:cubicBezTo>
                    <a:pt x="83" y="2"/>
                    <a:pt x="83" y="2"/>
                    <a:pt x="83" y="1"/>
                  </a:cubicBezTo>
                  <a:cubicBezTo>
                    <a:pt x="82" y="0"/>
                    <a:pt x="82" y="0"/>
                    <a:pt x="82" y="0"/>
                  </a:cubicBezTo>
                  <a:cubicBezTo>
                    <a:pt x="81" y="0"/>
                    <a:pt x="81" y="0"/>
                    <a:pt x="81" y="0"/>
                  </a:cubicBezTo>
                  <a:cubicBezTo>
                    <a:pt x="81" y="0"/>
                    <a:pt x="80" y="1"/>
                    <a:pt x="79" y="1"/>
                  </a:cubicBezTo>
                  <a:cubicBezTo>
                    <a:pt x="79" y="1"/>
                    <a:pt x="79" y="1"/>
                    <a:pt x="79" y="1"/>
                  </a:cubicBezTo>
                  <a:cubicBezTo>
                    <a:pt x="79" y="1"/>
                    <a:pt x="79" y="1"/>
                    <a:pt x="79" y="1"/>
                  </a:cubicBezTo>
                  <a:cubicBezTo>
                    <a:pt x="77" y="1"/>
                    <a:pt x="77" y="1"/>
                    <a:pt x="76" y="1"/>
                  </a:cubicBezTo>
                  <a:cubicBezTo>
                    <a:pt x="76" y="1"/>
                    <a:pt x="75" y="1"/>
                    <a:pt x="75" y="0"/>
                  </a:cubicBezTo>
                  <a:cubicBezTo>
                    <a:pt x="74" y="0"/>
                    <a:pt x="74" y="0"/>
                    <a:pt x="74" y="0"/>
                  </a:cubicBezTo>
                  <a:cubicBezTo>
                    <a:pt x="74" y="0"/>
                    <a:pt x="73" y="1"/>
                    <a:pt x="73" y="1"/>
                  </a:cubicBezTo>
                  <a:cubicBezTo>
                    <a:pt x="72" y="1"/>
                    <a:pt x="72" y="1"/>
                    <a:pt x="72" y="1"/>
                  </a:cubicBezTo>
                  <a:cubicBezTo>
                    <a:pt x="71" y="1"/>
                    <a:pt x="71" y="1"/>
                    <a:pt x="71" y="1"/>
                  </a:cubicBezTo>
                  <a:cubicBezTo>
                    <a:pt x="70" y="1"/>
                    <a:pt x="70" y="1"/>
                    <a:pt x="70" y="1"/>
                  </a:cubicBezTo>
                  <a:cubicBezTo>
                    <a:pt x="70" y="1"/>
                    <a:pt x="70" y="1"/>
                    <a:pt x="70" y="1"/>
                  </a:cubicBezTo>
                  <a:cubicBezTo>
                    <a:pt x="69" y="1"/>
                    <a:pt x="69" y="1"/>
                    <a:pt x="69" y="1"/>
                  </a:cubicBezTo>
                  <a:cubicBezTo>
                    <a:pt x="69" y="2"/>
                    <a:pt x="69" y="2"/>
                    <a:pt x="69" y="2"/>
                  </a:cubicBezTo>
                  <a:cubicBezTo>
                    <a:pt x="68" y="2"/>
                    <a:pt x="67" y="3"/>
                    <a:pt x="66" y="3"/>
                  </a:cubicBezTo>
                  <a:cubicBezTo>
                    <a:pt x="66" y="3"/>
                    <a:pt x="66" y="3"/>
                    <a:pt x="66" y="3"/>
                  </a:cubicBezTo>
                  <a:cubicBezTo>
                    <a:pt x="65" y="3"/>
                    <a:pt x="65" y="3"/>
                    <a:pt x="65" y="3"/>
                  </a:cubicBezTo>
                  <a:cubicBezTo>
                    <a:pt x="65" y="4"/>
                    <a:pt x="64" y="4"/>
                    <a:pt x="64" y="4"/>
                  </a:cubicBezTo>
                  <a:cubicBezTo>
                    <a:pt x="64" y="4"/>
                    <a:pt x="64" y="4"/>
                    <a:pt x="64" y="4"/>
                  </a:cubicBezTo>
                  <a:cubicBezTo>
                    <a:pt x="64" y="4"/>
                    <a:pt x="63" y="5"/>
                    <a:pt x="62" y="5"/>
                  </a:cubicBezTo>
                  <a:cubicBezTo>
                    <a:pt x="60" y="7"/>
                    <a:pt x="60" y="7"/>
                    <a:pt x="60" y="7"/>
                  </a:cubicBezTo>
                  <a:cubicBezTo>
                    <a:pt x="59" y="5"/>
                    <a:pt x="59" y="5"/>
                    <a:pt x="59" y="5"/>
                  </a:cubicBezTo>
                  <a:cubicBezTo>
                    <a:pt x="59" y="5"/>
                    <a:pt x="59" y="5"/>
                    <a:pt x="59" y="5"/>
                  </a:cubicBezTo>
                  <a:cubicBezTo>
                    <a:pt x="59" y="7"/>
                    <a:pt x="59" y="7"/>
                    <a:pt x="59" y="7"/>
                  </a:cubicBezTo>
                  <a:cubicBezTo>
                    <a:pt x="59" y="9"/>
                    <a:pt x="59" y="9"/>
                    <a:pt x="59" y="9"/>
                  </a:cubicBezTo>
                  <a:cubicBezTo>
                    <a:pt x="59" y="11"/>
                    <a:pt x="59" y="11"/>
                    <a:pt x="59" y="11"/>
                  </a:cubicBezTo>
                  <a:cubicBezTo>
                    <a:pt x="59" y="12"/>
                    <a:pt x="59" y="12"/>
                    <a:pt x="59" y="12"/>
                  </a:cubicBezTo>
                  <a:cubicBezTo>
                    <a:pt x="59" y="14"/>
                    <a:pt x="59" y="14"/>
                    <a:pt x="59" y="14"/>
                  </a:cubicBezTo>
                  <a:cubicBezTo>
                    <a:pt x="59" y="16"/>
                    <a:pt x="59" y="16"/>
                    <a:pt x="59" y="16"/>
                  </a:cubicBezTo>
                  <a:cubicBezTo>
                    <a:pt x="59" y="18"/>
                    <a:pt x="59" y="18"/>
                    <a:pt x="59" y="18"/>
                  </a:cubicBezTo>
                  <a:cubicBezTo>
                    <a:pt x="59" y="19"/>
                    <a:pt x="59" y="19"/>
                    <a:pt x="59" y="19"/>
                  </a:cubicBezTo>
                  <a:cubicBezTo>
                    <a:pt x="59" y="21"/>
                    <a:pt x="59" y="21"/>
                    <a:pt x="59" y="21"/>
                  </a:cubicBezTo>
                  <a:cubicBezTo>
                    <a:pt x="57" y="23"/>
                    <a:pt x="57" y="23"/>
                    <a:pt x="57" y="23"/>
                  </a:cubicBezTo>
                  <a:cubicBezTo>
                    <a:pt x="57" y="25"/>
                    <a:pt x="57" y="25"/>
                    <a:pt x="57" y="25"/>
                  </a:cubicBezTo>
                  <a:cubicBezTo>
                    <a:pt x="57" y="27"/>
                    <a:pt x="57" y="27"/>
                    <a:pt x="57" y="27"/>
                  </a:cubicBezTo>
                  <a:cubicBezTo>
                    <a:pt x="58" y="28"/>
                    <a:pt x="58" y="28"/>
                    <a:pt x="58" y="28"/>
                  </a:cubicBezTo>
                  <a:cubicBezTo>
                    <a:pt x="57" y="31"/>
                    <a:pt x="57" y="31"/>
                    <a:pt x="57" y="31"/>
                  </a:cubicBezTo>
                  <a:cubicBezTo>
                    <a:pt x="58" y="36"/>
                    <a:pt x="58" y="36"/>
                    <a:pt x="58" y="36"/>
                  </a:cubicBezTo>
                  <a:cubicBezTo>
                    <a:pt x="58" y="41"/>
                    <a:pt x="58" y="41"/>
                    <a:pt x="58" y="41"/>
                  </a:cubicBezTo>
                  <a:cubicBezTo>
                    <a:pt x="56" y="46"/>
                    <a:pt x="56" y="46"/>
                    <a:pt x="56" y="46"/>
                  </a:cubicBezTo>
                  <a:cubicBezTo>
                    <a:pt x="53" y="51"/>
                    <a:pt x="53" y="51"/>
                    <a:pt x="53" y="51"/>
                  </a:cubicBezTo>
                  <a:cubicBezTo>
                    <a:pt x="51" y="57"/>
                    <a:pt x="51" y="57"/>
                    <a:pt x="51" y="57"/>
                  </a:cubicBezTo>
                  <a:cubicBezTo>
                    <a:pt x="46" y="66"/>
                    <a:pt x="46" y="66"/>
                    <a:pt x="46" y="66"/>
                  </a:cubicBezTo>
                  <a:cubicBezTo>
                    <a:pt x="42" y="72"/>
                    <a:pt x="42" y="72"/>
                    <a:pt x="42" y="72"/>
                  </a:cubicBezTo>
                  <a:cubicBezTo>
                    <a:pt x="40" y="76"/>
                    <a:pt x="40" y="76"/>
                    <a:pt x="40" y="76"/>
                  </a:cubicBezTo>
                  <a:cubicBezTo>
                    <a:pt x="41" y="77"/>
                    <a:pt x="41" y="77"/>
                    <a:pt x="41" y="77"/>
                  </a:cubicBezTo>
                  <a:cubicBezTo>
                    <a:pt x="34" y="89"/>
                    <a:pt x="34" y="89"/>
                    <a:pt x="34" y="89"/>
                  </a:cubicBezTo>
                  <a:cubicBezTo>
                    <a:pt x="30" y="94"/>
                    <a:pt x="30" y="94"/>
                    <a:pt x="30" y="94"/>
                  </a:cubicBezTo>
                  <a:cubicBezTo>
                    <a:pt x="30" y="94"/>
                    <a:pt x="28" y="97"/>
                    <a:pt x="28" y="97"/>
                  </a:cubicBezTo>
                  <a:cubicBezTo>
                    <a:pt x="28" y="98"/>
                    <a:pt x="27" y="99"/>
                    <a:pt x="27" y="99"/>
                  </a:cubicBezTo>
                  <a:cubicBezTo>
                    <a:pt x="27" y="100"/>
                    <a:pt x="26" y="100"/>
                    <a:pt x="26" y="100"/>
                  </a:cubicBezTo>
                  <a:cubicBezTo>
                    <a:pt x="25" y="101"/>
                    <a:pt x="25" y="101"/>
                    <a:pt x="25" y="101"/>
                  </a:cubicBezTo>
                  <a:cubicBezTo>
                    <a:pt x="25" y="101"/>
                    <a:pt x="25" y="101"/>
                    <a:pt x="25" y="102"/>
                  </a:cubicBezTo>
                  <a:cubicBezTo>
                    <a:pt x="24" y="103"/>
                    <a:pt x="24" y="103"/>
                    <a:pt x="24" y="103"/>
                  </a:cubicBezTo>
                  <a:cubicBezTo>
                    <a:pt x="24" y="103"/>
                    <a:pt x="22" y="104"/>
                    <a:pt x="22" y="104"/>
                  </a:cubicBezTo>
                  <a:cubicBezTo>
                    <a:pt x="22" y="104"/>
                    <a:pt x="21" y="104"/>
                    <a:pt x="21" y="104"/>
                  </a:cubicBezTo>
                  <a:cubicBezTo>
                    <a:pt x="20" y="104"/>
                    <a:pt x="19" y="105"/>
                    <a:pt x="19" y="106"/>
                  </a:cubicBezTo>
                  <a:cubicBezTo>
                    <a:pt x="18" y="106"/>
                    <a:pt x="17" y="106"/>
                    <a:pt x="17" y="106"/>
                  </a:cubicBezTo>
                  <a:cubicBezTo>
                    <a:pt x="16" y="106"/>
                    <a:pt x="16" y="106"/>
                    <a:pt x="16" y="106"/>
                  </a:cubicBezTo>
                  <a:cubicBezTo>
                    <a:pt x="14" y="107"/>
                    <a:pt x="14" y="107"/>
                    <a:pt x="14" y="107"/>
                  </a:cubicBezTo>
                  <a:cubicBezTo>
                    <a:pt x="15" y="108"/>
                    <a:pt x="15" y="108"/>
                    <a:pt x="15" y="108"/>
                  </a:cubicBezTo>
                  <a:cubicBezTo>
                    <a:pt x="15" y="109"/>
                    <a:pt x="15" y="109"/>
                    <a:pt x="15" y="109"/>
                  </a:cubicBezTo>
                  <a:cubicBezTo>
                    <a:pt x="15" y="109"/>
                    <a:pt x="15" y="112"/>
                    <a:pt x="15" y="112"/>
                  </a:cubicBezTo>
                  <a:cubicBezTo>
                    <a:pt x="15" y="112"/>
                    <a:pt x="14" y="114"/>
                    <a:pt x="14" y="114"/>
                  </a:cubicBezTo>
                  <a:cubicBezTo>
                    <a:pt x="14" y="114"/>
                    <a:pt x="12" y="116"/>
                    <a:pt x="12" y="116"/>
                  </a:cubicBezTo>
                  <a:cubicBezTo>
                    <a:pt x="12" y="116"/>
                    <a:pt x="11" y="118"/>
                    <a:pt x="11" y="118"/>
                  </a:cubicBezTo>
                  <a:cubicBezTo>
                    <a:pt x="11" y="118"/>
                    <a:pt x="10" y="119"/>
                    <a:pt x="10" y="119"/>
                  </a:cubicBezTo>
                  <a:cubicBezTo>
                    <a:pt x="10" y="120"/>
                    <a:pt x="9" y="121"/>
                    <a:pt x="9" y="121"/>
                  </a:cubicBezTo>
                  <a:cubicBezTo>
                    <a:pt x="9" y="122"/>
                    <a:pt x="9" y="123"/>
                    <a:pt x="9" y="123"/>
                  </a:cubicBezTo>
                  <a:cubicBezTo>
                    <a:pt x="8" y="126"/>
                    <a:pt x="8" y="126"/>
                    <a:pt x="8" y="126"/>
                  </a:cubicBezTo>
                  <a:cubicBezTo>
                    <a:pt x="8" y="126"/>
                    <a:pt x="8" y="126"/>
                    <a:pt x="7" y="127"/>
                  </a:cubicBezTo>
                  <a:cubicBezTo>
                    <a:pt x="6" y="127"/>
                    <a:pt x="6" y="128"/>
                    <a:pt x="5" y="129"/>
                  </a:cubicBezTo>
                  <a:cubicBezTo>
                    <a:pt x="5" y="129"/>
                    <a:pt x="5" y="130"/>
                    <a:pt x="4" y="131"/>
                  </a:cubicBezTo>
                  <a:cubicBezTo>
                    <a:pt x="4" y="132"/>
                    <a:pt x="4" y="132"/>
                    <a:pt x="4" y="132"/>
                  </a:cubicBezTo>
                  <a:cubicBezTo>
                    <a:pt x="4" y="133"/>
                    <a:pt x="4" y="134"/>
                    <a:pt x="4" y="134"/>
                  </a:cubicBezTo>
                  <a:cubicBezTo>
                    <a:pt x="4" y="134"/>
                    <a:pt x="6" y="135"/>
                    <a:pt x="6" y="135"/>
                  </a:cubicBezTo>
                  <a:cubicBezTo>
                    <a:pt x="7" y="136"/>
                    <a:pt x="7" y="136"/>
                    <a:pt x="7" y="136"/>
                  </a:cubicBezTo>
                  <a:cubicBezTo>
                    <a:pt x="8" y="137"/>
                    <a:pt x="8" y="137"/>
                    <a:pt x="8" y="137"/>
                  </a:cubicBezTo>
                  <a:cubicBezTo>
                    <a:pt x="8" y="137"/>
                    <a:pt x="9" y="136"/>
                    <a:pt x="9" y="136"/>
                  </a:cubicBezTo>
                  <a:cubicBezTo>
                    <a:pt x="10" y="136"/>
                    <a:pt x="11" y="136"/>
                    <a:pt x="11" y="136"/>
                  </a:cubicBezTo>
                  <a:cubicBezTo>
                    <a:pt x="12" y="137"/>
                    <a:pt x="12" y="137"/>
                    <a:pt x="12" y="137"/>
                  </a:cubicBezTo>
                  <a:cubicBezTo>
                    <a:pt x="12" y="137"/>
                    <a:pt x="11" y="137"/>
                    <a:pt x="11" y="138"/>
                  </a:cubicBezTo>
                  <a:cubicBezTo>
                    <a:pt x="10" y="138"/>
                    <a:pt x="11" y="139"/>
                    <a:pt x="11" y="139"/>
                  </a:cubicBezTo>
                  <a:cubicBezTo>
                    <a:pt x="11" y="139"/>
                    <a:pt x="12" y="142"/>
                    <a:pt x="12" y="142"/>
                  </a:cubicBezTo>
                  <a:cubicBezTo>
                    <a:pt x="12" y="142"/>
                    <a:pt x="12" y="144"/>
                    <a:pt x="12" y="145"/>
                  </a:cubicBezTo>
                  <a:cubicBezTo>
                    <a:pt x="12" y="145"/>
                    <a:pt x="12" y="145"/>
                    <a:pt x="12" y="145"/>
                  </a:cubicBezTo>
                  <a:cubicBezTo>
                    <a:pt x="12" y="145"/>
                    <a:pt x="10" y="148"/>
                    <a:pt x="9" y="148"/>
                  </a:cubicBezTo>
                  <a:cubicBezTo>
                    <a:pt x="9" y="149"/>
                    <a:pt x="10" y="149"/>
                    <a:pt x="10" y="149"/>
                  </a:cubicBezTo>
                  <a:cubicBezTo>
                    <a:pt x="11" y="149"/>
                    <a:pt x="12" y="148"/>
                    <a:pt x="12" y="148"/>
                  </a:cubicBezTo>
                  <a:cubicBezTo>
                    <a:pt x="14" y="149"/>
                    <a:pt x="14" y="149"/>
                    <a:pt x="14" y="149"/>
                  </a:cubicBezTo>
                  <a:cubicBezTo>
                    <a:pt x="16" y="148"/>
                    <a:pt x="16" y="148"/>
                    <a:pt x="16" y="148"/>
                  </a:cubicBezTo>
                  <a:cubicBezTo>
                    <a:pt x="16" y="148"/>
                    <a:pt x="19" y="148"/>
                    <a:pt x="19" y="148"/>
                  </a:cubicBezTo>
                  <a:cubicBezTo>
                    <a:pt x="20" y="148"/>
                    <a:pt x="20" y="148"/>
                    <a:pt x="20" y="148"/>
                  </a:cubicBezTo>
                  <a:cubicBezTo>
                    <a:pt x="22" y="147"/>
                    <a:pt x="22" y="147"/>
                    <a:pt x="22" y="147"/>
                  </a:cubicBezTo>
                  <a:cubicBezTo>
                    <a:pt x="22" y="150"/>
                    <a:pt x="22" y="150"/>
                    <a:pt x="22" y="150"/>
                  </a:cubicBezTo>
                  <a:cubicBezTo>
                    <a:pt x="22" y="150"/>
                    <a:pt x="23" y="151"/>
                    <a:pt x="23" y="151"/>
                  </a:cubicBezTo>
                  <a:cubicBezTo>
                    <a:pt x="23" y="151"/>
                    <a:pt x="23" y="152"/>
                    <a:pt x="23" y="152"/>
                  </a:cubicBezTo>
                  <a:cubicBezTo>
                    <a:pt x="23" y="152"/>
                    <a:pt x="23" y="154"/>
                    <a:pt x="23" y="155"/>
                  </a:cubicBezTo>
                  <a:cubicBezTo>
                    <a:pt x="23" y="155"/>
                    <a:pt x="23" y="157"/>
                    <a:pt x="23" y="157"/>
                  </a:cubicBezTo>
                  <a:cubicBezTo>
                    <a:pt x="22" y="161"/>
                    <a:pt x="22" y="161"/>
                    <a:pt x="22" y="161"/>
                  </a:cubicBezTo>
                  <a:cubicBezTo>
                    <a:pt x="20" y="165"/>
                    <a:pt x="20" y="165"/>
                    <a:pt x="20" y="165"/>
                  </a:cubicBezTo>
                  <a:cubicBezTo>
                    <a:pt x="18" y="169"/>
                    <a:pt x="18" y="169"/>
                    <a:pt x="18" y="169"/>
                  </a:cubicBezTo>
                  <a:cubicBezTo>
                    <a:pt x="16" y="172"/>
                    <a:pt x="16" y="172"/>
                    <a:pt x="16" y="172"/>
                  </a:cubicBezTo>
                  <a:cubicBezTo>
                    <a:pt x="18" y="175"/>
                    <a:pt x="18" y="175"/>
                    <a:pt x="18" y="175"/>
                  </a:cubicBezTo>
                  <a:cubicBezTo>
                    <a:pt x="18" y="175"/>
                    <a:pt x="18" y="177"/>
                    <a:pt x="17" y="178"/>
                  </a:cubicBezTo>
                  <a:cubicBezTo>
                    <a:pt x="17" y="178"/>
                    <a:pt x="16" y="180"/>
                    <a:pt x="16" y="180"/>
                  </a:cubicBezTo>
                  <a:cubicBezTo>
                    <a:pt x="16" y="180"/>
                    <a:pt x="15" y="183"/>
                    <a:pt x="15" y="184"/>
                  </a:cubicBezTo>
                  <a:cubicBezTo>
                    <a:pt x="15" y="185"/>
                    <a:pt x="14" y="187"/>
                    <a:pt x="14" y="187"/>
                  </a:cubicBezTo>
                  <a:cubicBezTo>
                    <a:pt x="14" y="187"/>
                    <a:pt x="14" y="190"/>
                    <a:pt x="14" y="190"/>
                  </a:cubicBezTo>
                  <a:cubicBezTo>
                    <a:pt x="14" y="191"/>
                    <a:pt x="13" y="192"/>
                    <a:pt x="13" y="192"/>
                  </a:cubicBezTo>
                  <a:cubicBezTo>
                    <a:pt x="13" y="193"/>
                    <a:pt x="12" y="194"/>
                    <a:pt x="12" y="195"/>
                  </a:cubicBezTo>
                  <a:cubicBezTo>
                    <a:pt x="12" y="196"/>
                    <a:pt x="11" y="196"/>
                    <a:pt x="11" y="196"/>
                  </a:cubicBezTo>
                  <a:cubicBezTo>
                    <a:pt x="9" y="199"/>
                    <a:pt x="9" y="199"/>
                    <a:pt x="9" y="199"/>
                  </a:cubicBezTo>
                  <a:cubicBezTo>
                    <a:pt x="9" y="202"/>
                    <a:pt x="9" y="202"/>
                    <a:pt x="9" y="202"/>
                  </a:cubicBezTo>
                  <a:cubicBezTo>
                    <a:pt x="6" y="203"/>
                    <a:pt x="6" y="203"/>
                    <a:pt x="6" y="203"/>
                  </a:cubicBezTo>
                  <a:cubicBezTo>
                    <a:pt x="6" y="206"/>
                    <a:pt x="6" y="206"/>
                    <a:pt x="6" y="206"/>
                  </a:cubicBezTo>
                  <a:cubicBezTo>
                    <a:pt x="4" y="207"/>
                    <a:pt x="4" y="207"/>
                    <a:pt x="4" y="207"/>
                  </a:cubicBezTo>
                  <a:cubicBezTo>
                    <a:pt x="2" y="209"/>
                    <a:pt x="2" y="209"/>
                    <a:pt x="2" y="209"/>
                  </a:cubicBezTo>
                  <a:cubicBezTo>
                    <a:pt x="0" y="210"/>
                    <a:pt x="0" y="210"/>
                    <a:pt x="0" y="210"/>
                  </a:cubicBezTo>
                  <a:cubicBezTo>
                    <a:pt x="3" y="211"/>
                    <a:pt x="3" y="211"/>
                    <a:pt x="3" y="211"/>
                  </a:cubicBezTo>
                  <a:cubicBezTo>
                    <a:pt x="4" y="210"/>
                    <a:pt x="4" y="210"/>
                    <a:pt x="4" y="210"/>
                  </a:cubicBezTo>
                  <a:cubicBezTo>
                    <a:pt x="8" y="210"/>
                    <a:pt x="8" y="210"/>
                    <a:pt x="8" y="210"/>
                  </a:cubicBezTo>
                  <a:cubicBezTo>
                    <a:pt x="9" y="210"/>
                    <a:pt x="9" y="210"/>
                    <a:pt x="9" y="210"/>
                  </a:cubicBezTo>
                  <a:cubicBezTo>
                    <a:pt x="11" y="210"/>
                    <a:pt x="11" y="210"/>
                    <a:pt x="11" y="210"/>
                  </a:cubicBezTo>
                  <a:cubicBezTo>
                    <a:pt x="13" y="210"/>
                    <a:pt x="13" y="210"/>
                    <a:pt x="13" y="210"/>
                  </a:cubicBezTo>
                  <a:cubicBezTo>
                    <a:pt x="14" y="210"/>
                    <a:pt x="14" y="210"/>
                    <a:pt x="14" y="210"/>
                  </a:cubicBezTo>
                  <a:cubicBezTo>
                    <a:pt x="15" y="209"/>
                    <a:pt x="15" y="209"/>
                    <a:pt x="15" y="209"/>
                  </a:cubicBezTo>
                  <a:cubicBezTo>
                    <a:pt x="18" y="211"/>
                    <a:pt x="18" y="211"/>
                    <a:pt x="18" y="211"/>
                  </a:cubicBezTo>
                  <a:cubicBezTo>
                    <a:pt x="21" y="213"/>
                    <a:pt x="21" y="213"/>
                    <a:pt x="21" y="213"/>
                  </a:cubicBezTo>
                  <a:cubicBezTo>
                    <a:pt x="23" y="212"/>
                    <a:pt x="23" y="212"/>
                    <a:pt x="23" y="212"/>
                  </a:cubicBezTo>
                  <a:cubicBezTo>
                    <a:pt x="25" y="213"/>
                    <a:pt x="25" y="213"/>
                    <a:pt x="25" y="213"/>
                  </a:cubicBezTo>
                  <a:cubicBezTo>
                    <a:pt x="26" y="214"/>
                    <a:pt x="26" y="214"/>
                    <a:pt x="26" y="214"/>
                  </a:cubicBezTo>
                  <a:cubicBezTo>
                    <a:pt x="28" y="214"/>
                    <a:pt x="28" y="214"/>
                    <a:pt x="28" y="214"/>
                  </a:cubicBezTo>
                  <a:cubicBezTo>
                    <a:pt x="30" y="215"/>
                    <a:pt x="30" y="215"/>
                    <a:pt x="30" y="215"/>
                  </a:cubicBezTo>
                  <a:cubicBezTo>
                    <a:pt x="32" y="217"/>
                    <a:pt x="32" y="217"/>
                    <a:pt x="32" y="217"/>
                  </a:cubicBezTo>
                  <a:cubicBezTo>
                    <a:pt x="35" y="219"/>
                    <a:pt x="35" y="219"/>
                    <a:pt x="35" y="219"/>
                  </a:cubicBezTo>
                  <a:cubicBezTo>
                    <a:pt x="36" y="220"/>
                    <a:pt x="36" y="220"/>
                    <a:pt x="36" y="220"/>
                  </a:cubicBezTo>
                  <a:cubicBezTo>
                    <a:pt x="39" y="220"/>
                    <a:pt x="39" y="220"/>
                    <a:pt x="39" y="220"/>
                  </a:cubicBezTo>
                  <a:cubicBezTo>
                    <a:pt x="42" y="220"/>
                    <a:pt x="42" y="220"/>
                    <a:pt x="42" y="220"/>
                  </a:cubicBezTo>
                  <a:cubicBezTo>
                    <a:pt x="47" y="219"/>
                    <a:pt x="47" y="219"/>
                    <a:pt x="47" y="219"/>
                  </a:cubicBezTo>
                  <a:cubicBezTo>
                    <a:pt x="51" y="218"/>
                    <a:pt x="51" y="218"/>
                    <a:pt x="51" y="218"/>
                  </a:cubicBezTo>
                  <a:cubicBezTo>
                    <a:pt x="53" y="217"/>
                    <a:pt x="53" y="217"/>
                    <a:pt x="53" y="217"/>
                  </a:cubicBezTo>
                  <a:cubicBezTo>
                    <a:pt x="55" y="217"/>
                    <a:pt x="55" y="217"/>
                    <a:pt x="55" y="217"/>
                  </a:cubicBezTo>
                  <a:cubicBezTo>
                    <a:pt x="56" y="217"/>
                    <a:pt x="56" y="217"/>
                    <a:pt x="56" y="217"/>
                  </a:cubicBezTo>
                  <a:lnTo>
                    <a:pt x="55" y="215"/>
                  </a:ln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0" name="Freeform 124"/>
            <p:cNvSpPr>
              <a:spLocks/>
            </p:cNvSpPr>
            <p:nvPr/>
          </p:nvSpPr>
          <p:spPr bwMode="auto">
            <a:xfrm>
              <a:off x="5103536" y="4514918"/>
              <a:ext cx="381255" cy="227387"/>
            </a:xfrm>
            <a:custGeom>
              <a:avLst/>
              <a:gdLst>
                <a:gd name="T0" fmla="*/ 23 w 132"/>
                <a:gd name="T1" fmla="*/ 68 h 83"/>
                <a:gd name="T2" fmla="*/ 24 w 132"/>
                <a:gd name="T3" fmla="*/ 76 h 83"/>
                <a:gd name="T4" fmla="*/ 29 w 132"/>
                <a:gd name="T5" fmla="*/ 83 h 83"/>
                <a:gd name="T6" fmla="*/ 37 w 132"/>
                <a:gd name="T7" fmla="*/ 82 h 83"/>
                <a:gd name="T8" fmla="*/ 44 w 132"/>
                <a:gd name="T9" fmla="*/ 79 h 83"/>
                <a:gd name="T10" fmla="*/ 49 w 132"/>
                <a:gd name="T11" fmla="*/ 80 h 83"/>
                <a:gd name="T12" fmla="*/ 54 w 132"/>
                <a:gd name="T13" fmla="*/ 79 h 83"/>
                <a:gd name="T14" fmla="*/ 57 w 132"/>
                <a:gd name="T15" fmla="*/ 72 h 83"/>
                <a:gd name="T16" fmla="*/ 60 w 132"/>
                <a:gd name="T17" fmla="*/ 64 h 83"/>
                <a:gd name="T18" fmla="*/ 69 w 132"/>
                <a:gd name="T19" fmla="*/ 57 h 83"/>
                <a:gd name="T20" fmla="*/ 71 w 132"/>
                <a:gd name="T21" fmla="*/ 67 h 83"/>
                <a:gd name="T22" fmla="*/ 75 w 132"/>
                <a:gd name="T23" fmla="*/ 72 h 83"/>
                <a:gd name="T24" fmla="*/ 84 w 132"/>
                <a:gd name="T25" fmla="*/ 74 h 83"/>
                <a:gd name="T26" fmla="*/ 86 w 132"/>
                <a:gd name="T27" fmla="*/ 79 h 83"/>
                <a:gd name="T28" fmla="*/ 88 w 132"/>
                <a:gd name="T29" fmla="*/ 72 h 83"/>
                <a:gd name="T30" fmla="*/ 91 w 132"/>
                <a:gd name="T31" fmla="*/ 70 h 83"/>
                <a:gd name="T32" fmla="*/ 93 w 132"/>
                <a:gd name="T33" fmla="*/ 64 h 83"/>
                <a:gd name="T34" fmla="*/ 94 w 132"/>
                <a:gd name="T35" fmla="*/ 56 h 83"/>
                <a:gd name="T36" fmla="*/ 100 w 132"/>
                <a:gd name="T37" fmla="*/ 55 h 83"/>
                <a:gd name="T38" fmla="*/ 104 w 132"/>
                <a:gd name="T39" fmla="*/ 63 h 83"/>
                <a:gd name="T40" fmla="*/ 110 w 132"/>
                <a:gd name="T41" fmla="*/ 62 h 83"/>
                <a:gd name="T42" fmla="*/ 117 w 132"/>
                <a:gd name="T43" fmla="*/ 59 h 83"/>
                <a:gd name="T44" fmla="*/ 118 w 132"/>
                <a:gd name="T45" fmla="*/ 53 h 83"/>
                <a:gd name="T46" fmla="*/ 124 w 132"/>
                <a:gd name="T47" fmla="*/ 49 h 83"/>
                <a:gd name="T48" fmla="*/ 128 w 132"/>
                <a:gd name="T49" fmla="*/ 47 h 83"/>
                <a:gd name="T50" fmla="*/ 130 w 132"/>
                <a:gd name="T51" fmla="*/ 40 h 83"/>
                <a:gd name="T52" fmla="*/ 130 w 132"/>
                <a:gd name="T53" fmla="*/ 37 h 83"/>
                <a:gd name="T54" fmla="*/ 125 w 132"/>
                <a:gd name="T55" fmla="*/ 38 h 83"/>
                <a:gd name="T56" fmla="*/ 118 w 132"/>
                <a:gd name="T57" fmla="*/ 40 h 83"/>
                <a:gd name="T58" fmla="*/ 112 w 132"/>
                <a:gd name="T59" fmla="*/ 34 h 83"/>
                <a:gd name="T60" fmla="*/ 101 w 132"/>
                <a:gd name="T61" fmla="*/ 33 h 83"/>
                <a:gd name="T62" fmla="*/ 101 w 132"/>
                <a:gd name="T63" fmla="*/ 31 h 83"/>
                <a:gd name="T64" fmla="*/ 101 w 132"/>
                <a:gd name="T65" fmla="*/ 28 h 83"/>
                <a:gd name="T66" fmla="*/ 104 w 132"/>
                <a:gd name="T67" fmla="*/ 20 h 83"/>
                <a:gd name="T68" fmla="*/ 104 w 132"/>
                <a:gd name="T69" fmla="*/ 14 h 83"/>
                <a:gd name="T70" fmla="*/ 96 w 132"/>
                <a:gd name="T71" fmla="*/ 8 h 83"/>
                <a:gd name="T72" fmla="*/ 88 w 132"/>
                <a:gd name="T73" fmla="*/ 6 h 83"/>
                <a:gd name="T74" fmla="*/ 80 w 132"/>
                <a:gd name="T75" fmla="*/ 4 h 83"/>
                <a:gd name="T76" fmla="*/ 78 w 132"/>
                <a:gd name="T77" fmla="*/ 5 h 83"/>
                <a:gd name="T78" fmla="*/ 76 w 132"/>
                <a:gd name="T79" fmla="*/ 1 h 83"/>
                <a:gd name="T80" fmla="*/ 70 w 132"/>
                <a:gd name="T81" fmla="*/ 2 h 83"/>
                <a:gd name="T82" fmla="*/ 73 w 132"/>
                <a:gd name="T83" fmla="*/ 7 h 83"/>
                <a:gd name="T84" fmla="*/ 70 w 132"/>
                <a:gd name="T85" fmla="*/ 10 h 83"/>
                <a:gd name="T86" fmla="*/ 60 w 132"/>
                <a:gd name="T87" fmla="*/ 11 h 83"/>
                <a:gd name="T88" fmla="*/ 48 w 132"/>
                <a:gd name="T89" fmla="*/ 11 h 83"/>
                <a:gd name="T90" fmla="*/ 44 w 132"/>
                <a:gd name="T91" fmla="*/ 12 h 83"/>
                <a:gd name="T92" fmla="*/ 40 w 132"/>
                <a:gd name="T93" fmla="*/ 18 h 83"/>
                <a:gd name="T94" fmla="*/ 34 w 132"/>
                <a:gd name="T95" fmla="*/ 20 h 83"/>
                <a:gd name="T96" fmla="*/ 29 w 132"/>
                <a:gd name="T97" fmla="*/ 17 h 83"/>
                <a:gd name="T98" fmla="*/ 27 w 132"/>
                <a:gd name="T99" fmla="*/ 25 h 83"/>
                <a:gd name="T100" fmla="*/ 19 w 132"/>
                <a:gd name="T101" fmla="*/ 33 h 83"/>
                <a:gd name="T102" fmla="*/ 13 w 132"/>
                <a:gd name="T103" fmla="*/ 39 h 83"/>
                <a:gd name="T104" fmla="*/ 12 w 132"/>
                <a:gd name="T105" fmla="*/ 46 h 83"/>
                <a:gd name="T106" fmla="*/ 2 w 132"/>
                <a:gd name="T107" fmla="*/ 54 h 83"/>
                <a:gd name="T108" fmla="*/ 2 w 132"/>
                <a:gd name="T109" fmla="*/ 61 h 83"/>
                <a:gd name="T110" fmla="*/ 17 w 132"/>
                <a:gd name="T111" fmla="*/ 5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 h="83">
                  <a:moveTo>
                    <a:pt x="17" y="57"/>
                  </a:moveTo>
                  <a:cubicBezTo>
                    <a:pt x="22" y="60"/>
                    <a:pt x="22" y="60"/>
                    <a:pt x="22" y="60"/>
                  </a:cubicBezTo>
                  <a:cubicBezTo>
                    <a:pt x="22" y="63"/>
                    <a:pt x="22" y="63"/>
                    <a:pt x="22" y="63"/>
                  </a:cubicBezTo>
                  <a:cubicBezTo>
                    <a:pt x="22" y="63"/>
                    <a:pt x="22" y="64"/>
                    <a:pt x="22" y="64"/>
                  </a:cubicBezTo>
                  <a:cubicBezTo>
                    <a:pt x="23" y="65"/>
                    <a:pt x="23" y="67"/>
                    <a:pt x="23" y="67"/>
                  </a:cubicBezTo>
                  <a:cubicBezTo>
                    <a:pt x="23" y="68"/>
                    <a:pt x="23" y="68"/>
                    <a:pt x="23" y="68"/>
                  </a:cubicBezTo>
                  <a:cubicBezTo>
                    <a:pt x="23" y="69"/>
                    <a:pt x="23" y="70"/>
                    <a:pt x="23" y="70"/>
                  </a:cubicBezTo>
                  <a:cubicBezTo>
                    <a:pt x="23" y="70"/>
                    <a:pt x="22" y="71"/>
                    <a:pt x="22" y="72"/>
                  </a:cubicBezTo>
                  <a:cubicBezTo>
                    <a:pt x="22" y="72"/>
                    <a:pt x="23" y="72"/>
                    <a:pt x="23" y="72"/>
                  </a:cubicBezTo>
                  <a:cubicBezTo>
                    <a:pt x="24" y="72"/>
                    <a:pt x="24" y="72"/>
                    <a:pt x="24" y="72"/>
                  </a:cubicBezTo>
                  <a:cubicBezTo>
                    <a:pt x="24" y="73"/>
                    <a:pt x="24" y="75"/>
                    <a:pt x="24" y="76"/>
                  </a:cubicBezTo>
                  <a:cubicBezTo>
                    <a:pt x="24" y="76"/>
                    <a:pt x="24" y="76"/>
                    <a:pt x="24" y="76"/>
                  </a:cubicBezTo>
                  <a:cubicBezTo>
                    <a:pt x="24" y="76"/>
                    <a:pt x="25" y="77"/>
                    <a:pt x="25" y="77"/>
                  </a:cubicBezTo>
                  <a:cubicBezTo>
                    <a:pt x="26" y="78"/>
                    <a:pt x="26" y="78"/>
                    <a:pt x="27" y="79"/>
                  </a:cubicBezTo>
                  <a:cubicBezTo>
                    <a:pt x="28" y="80"/>
                    <a:pt x="29" y="81"/>
                    <a:pt x="29" y="82"/>
                  </a:cubicBezTo>
                  <a:cubicBezTo>
                    <a:pt x="29" y="82"/>
                    <a:pt x="29" y="82"/>
                    <a:pt x="29" y="82"/>
                  </a:cubicBezTo>
                  <a:cubicBezTo>
                    <a:pt x="28" y="83"/>
                    <a:pt x="28" y="83"/>
                    <a:pt x="28" y="83"/>
                  </a:cubicBezTo>
                  <a:cubicBezTo>
                    <a:pt x="29" y="83"/>
                    <a:pt x="29" y="83"/>
                    <a:pt x="29" y="83"/>
                  </a:cubicBezTo>
                  <a:cubicBezTo>
                    <a:pt x="29" y="83"/>
                    <a:pt x="29" y="83"/>
                    <a:pt x="29" y="83"/>
                  </a:cubicBezTo>
                  <a:cubicBezTo>
                    <a:pt x="30" y="83"/>
                    <a:pt x="30" y="83"/>
                    <a:pt x="31" y="82"/>
                  </a:cubicBezTo>
                  <a:cubicBezTo>
                    <a:pt x="31" y="82"/>
                    <a:pt x="32" y="81"/>
                    <a:pt x="33" y="81"/>
                  </a:cubicBezTo>
                  <a:cubicBezTo>
                    <a:pt x="34" y="81"/>
                    <a:pt x="34" y="81"/>
                    <a:pt x="35" y="82"/>
                  </a:cubicBezTo>
                  <a:cubicBezTo>
                    <a:pt x="35" y="82"/>
                    <a:pt x="35" y="82"/>
                    <a:pt x="36" y="82"/>
                  </a:cubicBezTo>
                  <a:cubicBezTo>
                    <a:pt x="36" y="82"/>
                    <a:pt x="36" y="82"/>
                    <a:pt x="37" y="82"/>
                  </a:cubicBezTo>
                  <a:cubicBezTo>
                    <a:pt x="37" y="81"/>
                    <a:pt x="38" y="80"/>
                    <a:pt x="39" y="80"/>
                  </a:cubicBezTo>
                  <a:cubicBezTo>
                    <a:pt x="39" y="80"/>
                    <a:pt x="39" y="79"/>
                    <a:pt x="39" y="79"/>
                  </a:cubicBezTo>
                  <a:cubicBezTo>
                    <a:pt x="40" y="79"/>
                    <a:pt x="40" y="79"/>
                    <a:pt x="40" y="79"/>
                  </a:cubicBezTo>
                  <a:cubicBezTo>
                    <a:pt x="41" y="79"/>
                    <a:pt x="41" y="79"/>
                    <a:pt x="41" y="79"/>
                  </a:cubicBezTo>
                  <a:cubicBezTo>
                    <a:pt x="41" y="79"/>
                    <a:pt x="41" y="79"/>
                    <a:pt x="41" y="79"/>
                  </a:cubicBezTo>
                  <a:cubicBezTo>
                    <a:pt x="42" y="79"/>
                    <a:pt x="43" y="79"/>
                    <a:pt x="44" y="79"/>
                  </a:cubicBezTo>
                  <a:cubicBezTo>
                    <a:pt x="45" y="79"/>
                    <a:pt x="45" y="79"/>
                    <a:pt x="45" y="79"/>
                  </a:cubicBezTo>
                  <a:cubicBezTo>
                    <a:pt x="46" y="79"/>
                    <a:pt x="47" y="80"/>
                    <a:pt x="47" y="80"/>
                  </a:cubicBezTo>
                  <a:cubicBezTo>
                    <a:pt x="47" y="81"/>
                    <a:pt x="48" y="81"/>
                    <a:pt x="48" y="81"/>
                  </a:cubicBezTo>
                  <a:cubicBezTo>
                    <a:pt x="48" y="81"/>
                    <a:pt x="48" y="81"/>
                    <a:pt x="48" y="81"/>
                  </a:cubicBezTo>
                  <a:cubicBezTo>
                    <a:pt x="48" y="81"/>
                    <a:pt x="48" y="81"/>
                    <a:pt x="49" y="81"/>
                  </a:cubicBezTo>
                  <a:cubicBezTo>
                    <a:pt x="49" y="81"/>
                    <a:pt x="49" y="81"/>
                    <a:pt x="49" y="80"/>
                  </a:cubicBezTo>
                  <a:cubicBezTo>
                    <a:pt x="50" y="79"/>
                    <a:pt x="51" y="79"/>
                    <a:pt x="52" y="79"/>
                  </a:cubicBezTo>
                  <a:cubicBezTo>
                    <a:pt x="52" y="79"/>
                    <a:pt x="52" y="79"/>
                    <a:pt x="52" y="79"/>
                  </a:cubicBezTo>
                  <a:cubicBezTo>
                    <a:pt x="53" y="79"/>
                    <a:pt x="53" y="79"/>
                    <a:pt x="53" y="79"/>
                  </a:cubicBezTo>
                  <a:cubicBezTo>
                    <a:pt x="53" y="79"/>
                    <a:pt x="53" y="79"/>
                    <a:pt x="53" y="79"/>
                  </a:cubicBezTo>
                  <a:cubicBezTo>
                    <a:pt x="53" y="79"/>
                    <a:pt x="53" y="79"/>
                    <a:pt x="53" y="79"/>
                  </a:cubicBezTo>
                  <a:cubicBezTo>
                    <a:pt x="54" y="79"/>
                    <a:pt x="54" y="79"/>
                    <a:pt x="54" y="79"/>
                  </a:cubicBezTo>
                  <a:cubicBezTo>
                    <a:pt x="54" y="78"/>
                    <a:pt x="54" y="78"/>
                    <a:pt x="54" y="78"/>
                  </a:cubicBezTo>
                  <a:cubicBezTo>
                    <a:pt x="54" y="78"/>
                    <a:pt x="54" y="77"/>
                    <a:pt x="54" y="77"/>
                  </a:cubicBezTo>
                  <a:cubicBezTo>
                    <a:pt x="54" y="76"/>
                    <a:pt x="54" y="76"/>
                    <a:pt x="54" y="76"/>
                  </a:cubicBezTo>
                  <a:cubicBezTo>
                    <a:pt x="56" y="74"/>
                    <a:pt x="56" y="74"/>
                    <a:pt x="56" y="74"/>
                  </a:cubicBezTo>
                  <a:cubicBezTo>
                    <a:pt x="56" y="74"/>
                    <a:pt x="57" y="73"/>
                    <a:pt x="57" y="73"/>
                  </a:cubicBezTo>
                  <a:cubicBezTo>
                    <a:pt x="57" y="73"/>
                    <a:pt x="57" y="72"/>
                    <a:pt x="57" y="72"/>
                  </a:cubicBezTo>
                  <a:cubicBezTo>
                    <a:pt x="57" y="71"/>
                    <a:pt x="57" y="71"/>
                    <a:pt x="57" y="71"/>
                  </a:cubicBezTo>
                  <a:cubicBezTo>
                    <a:pt x="57" y="70"/>
                    <a:pt x="57" y="70"/>
                    <a:pt x="57" y="70"/>
                  </a:cubicBezTo>
                  <a:cubicBezTo>
                    <a:pt x="55" y="68"/>
                    <a:pt x="55" y="68"/>
                    <a:pt x="55" y="68"/>
                  </a:cubicBezTo>
                  <a:cubicBezTo>
                    <a:pt x="58" y="65"/>
                    <a:pt x="58" y="65"/>
                    <a:pt x="58" y="65"/>
                  </a:cubicBezTo>
                  <a:cubicBezTo>
                    <a:pt x="58" y="65"/>
                    <a:pt x="58" y="65"/>
                    <a:pt x="58" y="65"/>
                  </a:cubicBezTo>
                  <a:cubicBezTo>
                    <a:pt x="58" y="65"/>
                    <a:pt x="58" y="65"/>
                    <a:pt x="60" y="64"/>
                  </a:cubicBezTo>
                  <a:cubicBezTo>
                    <a:pt x="61" y="64"/>
                    <a:pt x="62" y="63"/>
                    <a:pt x="62" y="63"/>
                  </a:cubicBezTo>
                  <a:cubicBezTo>
                    <a:pt x="62" y="62"/>
                    <a:pt x="62" y="62"/>
                    <a:pt x="62" y="62"/>
                  </a:cubicBezTo>
                  <a:cubicBezTo>
                    <a:pt x="62" y="62"/>
                    <a:pt x="62" y="62"/>
                    <a:pt x="62" y="62"/>
                  </a:cubicBezTo>
                  <a:cubicBezTo>
                    <a:pt x="62" y="61"/>
                    <a:pt x="63" y="60"/>
                    <a:pt x="64" y="59"/>
                  </a:cubicBezTo>
                  <a:cubicBezTo>
                    <a:pt x="65" y="59"/>
                    <a:pt x="68" y="58"/>
                    <a:pt x="68" y="58"/>
                  </a:cubicBezTo>
                  <a:cubicBezTo>
                    <a:pt x="69" y="57"/>
                    <a:pt x="69" y="57"/>
                    <a:pt x="69" y="57"/>
                  </a:cubicBezTo>
                  <a:cubicBezTo>
                    <a:pt x="70" y="58"/>
                    <a:pt x="70" y="58"/>
                    <a:pt x="70" y="58"/>
                  </a:cubicBezTo>
                  <a:cubicBezTo>
                    <a:pt x="71" y="59"/>
                    <a:pt x="71" y="60"/>
                    <a:pt x="71" y="62"/>
                  </a:cubicBezTo>
                  <a:cubicBezTo>
                    <a:pt x="71" y="62"/>
                    <a:pt x="71" y="62"/>
                    <a:pt x="71" y="63"/>
                  </a:cubicBezTo>
                  <a:cubicBezTo>
                    <a:pt x="71" y="63"/>
                    <a:pt x="71" y="65"/>
                    <a:pt x="71" y="65"/>
                  </a:cubicBezTo>
                  <a:cubicBezTo>
                    <a:pt x="71" y="65"/>
                    <a:pt x="71" y="65"/>
                    <a:pt x="71" y="66"/>
                  </a:cubicBezTo>
                  <a:cubicBezTo>
                    <a:pt x="71" y="66"/>
                    <a:pt x="71" y="67"/>
                    <a:pt x="71" y="67"/>
                  </a:cubicBezTo>
                  <a:cubicBezTo>
                    <a:pt x="71" y="67"/>
                    <a:pt x="71" y="67"/>
                    <a:pt x="71" y="67"/>
                  </a:cubicBezTo>
                  <a:cubicBezTo>
                    <a:pt x="72" y="68"/>
                    <a:pt x="72" y="68"/>
                    <a:pt x="72" y="69"/>
                  </a:cubicBezTo>
                  <a:cubicBezTo>
                    <a:pt x="72" y="69"/>
                    <a:pt x="73" y="69"/>
                    <a:pt x="73" y="69"/>
                  </a:cubicBezTo>
                  <a:cubicBezTo>
                    <a:pt x="73" y="69"/>
                    <a:pt x="73" y="69"/>
                    <a:pt x="73" y="69"/>
                  </a:cubicBezTo>
                  <a:cubicBezTo>
                    <a:pt x="74" y="71"/>
                    <a:pt x="75" y="71"/>
                    <a:pt x="75" y="72"/>
                  </a:cubicBezTo>
                  <a:cubicBezTo>
                    <a:pt x="75" y="72"/>
                    <a:pt x="75" y="72"/>
                    <a:pt x="75" y="72"/>
                  </a:cubicBezTo>
                  <a:cubicBezTo>
                    <a:pt x="75" y="72"/>
                    <a:pt x="76" y="72"/>
                    <a:pt x="76" y="72"/>
                  </a:cubicBezTo>
                  <a:cubicBezTo>
                    <a:pt x="77" y="72"/>
                    <a:pt x="78" y="72"/>
                    <a:pt x="79" y="73"/>
                  </a:cubicBezTo>
                  <a:cubicBezTo>
                    <a:pt x="79" y="73"/>
                    <a:pt x="79" y="73"/>
                    <a:pt x="79" y="73"/>
                  </a:cubicBezTo>
                  <a:cubicBezTo>
                    <a:pt x="79" y="73"/>
                    <a:pt x="79" y="73"/>
                    <a:pt x="80" y="73"/>
                  </a:cubicBezTo>
                  <a:cubicBezTo>
                    <a:pt x="80" y="73"/>
                    <a:pt x="80" y="73"/>
                    <a:pt x="80" y="73"/>
                  </a:cubicBezTo>
                  <a:cubicBezTo>
                    <a:pt x="84" y="74"/>
                    <a:pt x="84" y="74"/>
                    <a:pt x="84" y="74"/>
                  </a:cubicBezTo>
                  <a:cubicBezTo>
                    <a:pt x="84" y="75"/>
                    <a:pt x="84" y="75"/>
                    <a:pt x="84" y="75"/>
                  </a:cubicBezTo>
                  <a:cubicBezTo>
                    <a:pt x="85" y="76"/>
                    <a:pt x="85" y="77"/>
                    <a:pt x="85" y="78"/>
                  </a:cubicBezTo>
                  <a:cubicBezTo>
                    <a:pt x="84" y="78"/>
                    <a:pt x="84" y="78"/>
                    <a:pt x="84" y="79"/>
                  </a:cubicBezTo>
                  <a:cubicBezTo>
                    <a:pt x="84" y="80"/>
                    <a:pt x="84" y="80"/>
                    <a:pt x="84" y="80"/>
                  </a:cubicBezTo>
                  <a:cubicBezTo>
                    <a:pt x="84" y="80"/>
                    <a:pt x="85" y="80"/>
                    <a:pt x="85" y="80"/>
                  </a:cubicBezTo>
                  <a:cubicBezTo>
                    <a:pt x="85" y="80"/>
                    <a:pt x="85" y="80"/>
                    <a:pt x="86" y="79"/>
                  </a:cubicBezTo>
                  <a:cubicBezTo>
                    <a:pt x="86" y="79"/>
                    <a:pt x="86" y="79"/>
                    <a:pt x="86" y="79"/>
                  </a:cubicBezTo>
                  <a:cubicBezTo>
                    <a:pt x="86" y="79"/>
                    <a:pt x="86" y="79"/>
                    <a:pt x="86" y="78"/>
                  </a:cubicBezTo>
                  <a:cubicBezTo>
                    <a:pt x="85" y="77"/>
                    <a:pt x="85" y="77"/>
                    <a:pt x="85" y="77"/>
                  </a:cubicBezTo>
                  <a:cubicBezTo>
                    <a:pt x="87" y="76"/>
                    <a:pt x="87" y="76"/>
                    <a:pt x="87" y="76"/>
                  </a:cubicBezTo>
                  <a:cubicBezTo>
                    <a:pt x="87" y="74"/>
                    <a:pt x="87" y="73"/>
                    <a:pt x="88" y="72"/>
                  </a:cubicBezTo>
                  <a:cubicBezTo>
                    <a:pt x="88" y="72"/>
                    <a:pt x="88" y="72"/>
                    <a:pt x="88" y="72"/>
                  </a:cubicBezTo>
                  <a:cubicBezTo>
                    <a:pt x="89" y="72"/>
                    <a:pt x="89" y="72"/>
                    <a:pt x="89" y="72"/>
                  </a:cubicBezTo>
                  <a:cubicBezTo>
                    <a:pt x="89" y="72"/>
                    <a:pt x="89" y="72"/>
                    <a:pt x="89" y="72"/>
                  </a:cubicBezTo>
                  <a:cubicBezTo>
                    <a:pt x="89" y="72"/>
                    <a:pt x="89" y="72"/>
                    <a:pt x="89" y="71"/>
                  </a:cubicBezTo>
                  <a:cubicBezTo>
                    <a:pt x="90" y="70"/>
                    <a:pt x="90" y="70"/>
                    <a:pt x="90" y="70"/>
                  </a:cubicBezTo>
                  <a:cubicBezTo>
                    <a:pt x="90" y="70"/>
                    <a:pt x="91" y="70"/>
                    <a:pt x="91" y="70"/>
                  </a:cubicBezTo>
                  <a:cubicBezTo>
                    <a:pt x="91" y="70"/>
                    <a:pt x="91" y="70"/>
                    <a:pt x="91" y="70"/>
                  </a:cubicBezTo>
                  <a:cubicBezTo>
                    <a:pt x="91" y="69"/>
                    <a:pt x="92" y="69"/>
                    <a:pt x="92" y="69"/>
                  </a:cubicBezTo>
                  <a:cubicBezTo>
                    <a:pt x="92" y="68"/>
                    <a:pt x="92" y="68"/>
                    <a:pt x="92" y="68"/>
                  </a:cubicBezTo>
                  <a:cubicBezTo>
                    <a:pt x="92" y="68"/>
                    <a:pt x="92" y="67"/>
                    <a:pt x="93" y="66"/>
                  </a:cubicBezTo>
                  <a:cubicBezTo>
                    <a:pt x="93" y="65"/>
                    <a:pt x="93" y="65"/>
                    <a:pt x="93" y="65"/>
                  </a:cubicBezTo>
                  <a:cubicBezTo>
                    <a:pt x="93" y="65"/>
                    <a:pt x="93" y="65"/>
                    <a:pt x="93" y="64"/>
                  </a:cubicBezTo>
                  <a:cubicBezTo>
                    <a:pt x="93" y="64"/>
                    <a:pt x="93" y="64"/>
                    <a:pt x="93" y="64"/>
                  </a:cubicBezTo>
                  <a:cubicBezTo>
                    <a:pt x="93" y="63"/>
                    <a:pt x="93" y="63"/>
                    <a:pt x="93" y="63"/>
                  </a:cubicBezTo>
                  <a:cubicBezTo>
                    <a:pt x="93" y="63"/>
                    <a:pt x="93" y="63"/>
                    <a:pt x="93" y="63"/>
                  </a:cubicBezTo>
                  <a:cubicBezTo>
                    <a:pt x="93" y="62"/>
                    <a:pt x="93" y="62"/>
                    <a:pt x="93" y="62"/>
                  </a:cubicBezTo>
                  <a:cubicBezTo>
                    <a:pt x="92" y="61"/>
                    <a:pt x="92" y="61"/>
                    <a:pt x="92" y="61"/>
                  </a:cubicBezTo>
                  <a:cubicBezTo>
                    <a:pt x="92" y="59"/>
                    <a:pt x="92" y="59"/>
                    <a:pt x="92" y="59"/>
                  </a:cubicBezTo>
                  <a:cubicBezTo>
                    <a:pt x="94" y="56"/>
                    <a:pt x="94" y="56"/>
                    <a:pt x="94" y="56"/>
                  </a:cubicBezTo>
                  <a:cubicBezTo>
                    <a:pt x="94" y="56"/>
                    <a:pt x="94" y="56"/>
                    <a:pt x="94" y="56"/>
                  </a:cubicBezTo>
                  <a:cubicBezTo>
                    <a:pt x="95" y="55"/>
                    <a:pt x="96" y="55"/>
                    <a:pt x="97" y="55"/>
                  </a:cubicBezTo>
                  <a:cubicBezTo>
                    <a:pt x="97" y="55"/>
                    <a:pt x="98" y="55"/>
                    <a:pt x="99" y="56"/>
                  </a:cubicBezTo>
                  <a:cubicBezTo>
                    <a:pt x="99" y="56"/>
                    <a:pt x="99" y="56"/>
                    <a:pt x="99" y="56"/>
                  </a:cubicBezTo>
                  <a:cubicBezTo>
                    <a:pt x="99" y="55"/>
                    <a:pt x="99" y="55"/>
                    <a:pt x="99" y="55"/>
                  </a:cubicBezTo>
                  <a:cubicBezTo>
                    <a:pt x="100" y="55"/>
                    <a:pt x="100" y="55"/>
                    <a:pt x="100" y="55"/>
                  </a:cubicBezTo>
                  <a:cubicBezTo>
                    <a:pt x="102" y="55"/>
                    <a:pt x="103" y="56"/>
                    <a:pt x="103" y="57"/>
                  </a:cubicBezTo>
                  <a:cubicBezTo>
                    <a:pt x="104" y="58"/>
                    <a:pt x="104" y="58"/>
                    <a:pt x="104" y="58"/>
                  </a:cubicBezTo>
                  <a:cubicBezTo>
                    <a:pt x="103" y="60"/>
                    <a:pt x="103" y="60"/>
                    <a:pt x="103" y="60"/>
                  </a:cubicBezTo>
                  <a:cubicBezTo>
                    <a:pt x="103" y="60"/>
                    <a:pt x="104" y="61"/>
                    <a:pt x="104" y="61"/>
                  </a:cubicBezTo>
                  <a:cubicBezTo>
                    <a:pt x="104" y="62"/>
                    <a:pt x="104" y="62"/>
                    <a:pt x="104" y="63"/>
                  </a:cubicBezTo>
                  <a:cubicBezTo>
                    <a:pt x="104" y="63"/>
                    <a:pt x="104" y="63"/>
                    <a:pt x="104" y="63"/>
                  </a:cubicBezTo>
                  <a:cubicBezTo>
                    <a:pt x="104" y="63"/>
                    <a:pt x="104" y="63"/>
                    <a:pt x="104" y="63"/>
                  </a:cubicBezTo>
                  <a:cubicBezTo>
                    <a:pt x="104" y="64"/>
                    <a:pt x="105" y="64"/>
                    <a:pt x="105" y="64"/>
                  </a:cubicBezTo>
                  <a:cubicBezTo>
                    <a:pt x="106" y="64"/>
                    <a:pt x="106" y="64"/>
                    <a:pt x="106" y="64"/>
                  </a:cubicBezTo>
                  <a:cubicBezTo>
                    <a:pt x="106" y="64"/>
                    <a:pt x="106" y="63"/>
                    <a:pt x="107" y="63"/>
                  </a:cubicBezTo>
                  <a:cubicBezTo>
                    <a:pt x="107" y="62"/>
                    <a:pt x="107" y="62"/>
                    <a:pt x="107" y="62"/>
                  </a:cubicBezTo>
                  <a:cubicBezTo>
                    <a:pt x="110" y="62"/>
                    <a:pt x="110" y="62"/>
                    <a:pt x="110" y="62"/>
                  </a:cubicBezTo>
                  <a:cubicBezTo>
                    <a:pt x="110" y="62"/>
                    <a:pt x="110" y="62"/>
                    <a:pt x="110" y="62"/>
                  </a:cubicBezTo>
                  <a:cubicBezTo>
                    <a:pt x="110" y="62"/>
                    <a:pt x="110" y="62"/>
                    <a:pt x="110" y="62"/>
                  </a:cubicBezTo>
                  <a:cubicBezTo>
                    <a:pt x="112" y="61"/>
                    <a:pt x="112" y="61"/>
                    <a:pt x="112" y="61"/>
                  </a:cubicBezTo>
                  <a:cubicBezTo>
                    <a:pt x="113" y="60"/>
                    <a:pt x="114" y="60"/>
                    <a:pt x="114" y="60"/>
                  </a:cubicBezTo>
                  <a:cubicBezTo>
                    <a:pt x="117" y="60"/>
                    <a:pt x="117" y="60"/>
                    <a:pt x="117" y="60"/>
                  </a:cubicBezTo>
                  <a:cubicBezTo>
                    <a:pt x="117" y="60"/>
                    <a:pt x="117" y="60"/>
                    <a:pt x="117" y="59"/>
                  </a:cubicBezTo>
                  <a:cubicBezTo>
                    <a:pt x="117" y="59"/>
                    <a:pt x="117" y="59"/>
                    <a:pt x="117" y="59"/>
                  </a:cubicBezTo>
                  <a:cubicBezTo>
                    <a:pt x="116" y="58"/>
                    <a:pt x="116" y="58"/>
                    <a:pt x="116" y="58"/>
                  </a:cubicBezTo>
                  <a:cubicBezTo>
                    <a:pt x="117" y="56"/>
                    <a:pt x="117" y="56"/>
                    <a:pt x="117" y="56"/>
                  </a:cubicBezTo>
                  <a:cubicBezTo>
                    <a:pt x="117" y="55"/>
                    <a:pt x="117" y="55"/>
                    <a:pt x="117" y="55"/>
                  </a:cubicBezTo>
                  <a:cubicBezTo>
                    <a:pt x="117" y="55"/>
                    <a:pt x="117" y="55"/>
                    <a:pt x="117" y="55"/>
                  </a:cubicBezTo>
                  <a:cubicBezTo>
                    <a:pt x="117" y="55"/>
                    <a:pt x="117" y="54"/>
                    <a:pt x="118" y="53"/>
                  </a:cubicBezTo>
                  <a:cubicBezTo>
                    <a:pt x="118" y="52"/>
                    <a:pt x="118" y="52"/>
                    <a:pt x="119" y="52"/>
                  </a:cubicBezTo>
                  <a:cubicBezTo>
                    <a:pt x="119" y="51"/>
                    <a:pt x="120" y="50"/>
                    <a:pt x="121" y="50"/>
                  </a:cubicBezTo>
                  <a:cubicBezTo>
                    <a:pt x="121" y="50"/>
                    <a:pt x="121" y="50"/>
                    <a:pt x="121" y="50"/>
                  </a:cubicBezTo>
                  <a:cubicBezTo>
                    <a:pt x="121" y="50"/>
                    <a:pt x="122" y="50"/>
                    <a:pt x="122" y="50"/>
                  </a:cubicBezTo>
                  <a:cubicBezTo>
                    <a:pt x="123" y="49"/>
                    <a:pt x="123" y="49"/>
                    <a:pt x="123" y="49"/>
                  </a:cubicBezTo>
                  <a:cubicBezTo>
                    <a:pt x="123" y="49"/>
                    <a:pt x="124" y="49"/>
                    <a:pt x="124" y="49"/>
                  </a:cubicBezTo>
                  <a:cubicBezTo>
                    <a:pt x="125" y="49"/>
                    <a:pt x="126" y="50"/>
                    <a:pt x="126" y="50"/>
                  </a:cubicBezTo>
                  <a:cubicBezTo>
                    <a:pt x="127" y="50"/>
                    <a:pt x="127" y="50"/>
                    <a:pt x="127" y="50"/>
                  </a:cubicBezTo>
                  <a:cubicBezTo>
                    <a:pt x="126" y="50"/>
                    <a:pt x="126" y="49"/>
                    <a:pt x="126" y="49"/>
                  </a:cubicBezTo>
                  <a:cubicBezTo>
                    <a:pt x="126" y="48"/>
                    <a:pt x="126" y="48"/>
                    <a:pt x="126" y="48"/>
                  </a:cubicBezTo>
                  <a:cubicBezTo>
                    <a:pt x="127" y="47"/>
                    <a:pt x="127" y="47"/>
                    <a:pt x="127" y="47"/>
                  </a:cubicBezTo>
                  <a:cubicBezTo>
                    <a:pt x="127" y="47"/>
                    <a:pt x="127" y="47"/>
                    <a:pt x="128" y="47"/>
                  </a:cubicBezTo>
                  <a:cubicBezTo>
                    <a:pt x="127" y="46"/>
                    <a:pt x="127" y="46"/>
                    <a:pt x="127" y="46"/>
                  </a:cubicBezTo>
                  <a:cubicBezTo>
                    <a:pt x="128" y="44"/>
                    <a:pt x="128" y="44"/>
                    <a:pt x="128" y="44"/>
                  </a:cubicBezTo>
                  <a:cubicBezTo>
                    <a:pt x="127" y="44"/>
                    <a:pt x="127" y="44"/>
                    <a:pt x="127" y="44"/>
                  </a:cubicBezTo>
                  <a:cubicBezTo>
                    <a:pt x="128" y="43"/>
                    <a:pt x="128" y="43"/>
                    <a:pt x="128" y="43"/>
                  </a:cubicBezTo>
                  <a:cubicBezTo>
                    <a:pt x="128" y="42"/>
                    <a:pt x="128" y="42"/>
                    <a:pt x="128" y="42"/>
                  </a:cubicBezTo>
                  <a:cubicBezTo>
                    <a:pt x="129" y="41"/>
                    <a:pt x="129" y="40"/>
                    <a:pt x="130" y="40"/>
                  </a:cubicBezTo>
                  <a:cubicBezTo>
                    <a:pt x="130" y="40"/>
                    <a:pt x="130" y="40"/>
                    <a:pt x="130" y="40"/>
                  </a:cubicBezTo>
                  <a:cubicBezTo>
                    <a:pt x="131" y="40"/>
                    <a:pt x="131" y="40"/>
                    <a:pt x="131" y="40"/>
                  </a:cubicBezTo>
                  <a:cubicBezTo>
                    <a:pt x="131" y="40"/>
                    <a:pt x="131" y="40"/>
                    <a:pt x="131" y="40"/>
                  </a:cubicBezTo>
                  <a:cubicBezTo>
                    <a:pt x="131" y="40"/>
                    <a:pt x="131" y="39"/>
                    <a:pt x="131" y="39"/>
                  </a:cubicBezTo>
                  <a:cubicBezTo>
                    <a:pt x="131" y="39"/>
                    <a:pt x="131" y="38"/>
                    <a:pt x="131" y="38"/>
                  </a:cubicBezTo>
                  <a:cubicBezTo>
                    <a:pt x="132" y="38"/>
                    <a:pt x="130" y="37"/>
                    <a:pt x="130" y="37"/>
                  </a:cubicBezTo>
                  <a:cubicBezTo>
                    <a:pt x="130" y="36"/>
                    <a:pt x="130" y="36"/>
                    <a:pt x="130" y="36"/>
                  </a:cubicBezTo>
                  <a:cubicBezTo>
                    <a:pt x="130" y="36"/>
                    <a:pt x="129" y="35"/>
                    <a:pt x="129" y="35"/>
                  </a:cubicBezTo>
                  <a:cubicBezTo>
                    <a:pt x="128" y="35"/>
                    <a:pt x="127" y="35"/>
                    <a:pt x="127" y="35"/>
                  </a:cubicBezTo>
                  <a:cubicBezTo>
                    <a:pt x="127" y="35"/>
                    <a:pt x="127" y="37"/>
                    <a:pt x="127" y="37"/>
                  </a:cubicBezTo>
                  <a:cubicBezTo>
                    <a:pt x="127" y="37"/>
                    <a:pt x="126" y="38"/>
                    <a:pt x="126" y="38"/>
                  </a:cubicBezTo>
                  <a:cubicBezTo>
                    <a:pt x="125" y="38"/>
                    <a:pt x="125" y="38"/>
                    <a:pt x="125" y="38"/>
                  </a:cubicBezTo>
                  <a:cubicBezTo>
                    <a:pt x="125" y="38"/>
                    <a:pt x="125" y="38"/>
                    <a:pt x="125" y="38"/>
                  </a:cubicBezTo>
                  <a:cubicBezTo>
                    <a:pt x="124" y="39"/>
                    <a:pt x="124" y="39"/>
                    <a:pt x="124" y="39"/>
                  </a:cubicBezTo>
                  <a:cubicBezTo>
                    <a:pt x="123" y="40"/>
                    <a:pt x="123" y="40"/>
                    <a:pt x="123" y="40"/>
                  </a:cubicBezTo>
                  <a:cubicBezTo>
                    <a:pt x="123" y="40"/>
                    <a:pt x="122" y="41"/>
                    <a:pt x="121" y="41"/>
                  </a:cubicBezTo>
                  <a:cubicBezTo>
                    <a:pt x="120" y="41"/>
                    <a:pt x="119" y="41"/>
                    <a:pt x="119" y="41"/>
                  </a:cubicBezTo>
                  <a:cubicBezTo>
                    <a:pt x="118" y="40"/>
                    <a:pt x="118" y="40"/>
                    <a:pt x="118" y="40"/>
                  </a:cubicBezTo>
                  <a:cubicBezTo>
                    <a:pt x="116" y="39"/>
                    <a:pt x="116" y="39"/>
                    <a:pt x="116" y="39"/>
                  </a:cubicBezTo>
                  <a:cubicBezTo>
                    <a:pt x="116" y="39"/>
                    <a:pt x="116" y="39"/>
                    <a:pt x="116" y="39"/>
                  </a:cubicBezTo>
                  <a:cubicBezTo>
                    <a:pt x="114" y="38"/>
                    <a:pt x="114" y="38"/>
                    <a:pt x="114" y="38"/>
                  </a:cubicBezTo>
                  <a:cubicBezTo>
                    <a:pt x="113" y="38"/>
                    <a:pt x="113" y="38"/>
                    <a:pt x="113" y="38"/>
                  </a:cubicBezTo>
                  <a:cubicBezTo>
                    <a:pt x="113" y="36"/>
                    <a:pt x="113" y="36"/>
                    <a:pt x="113" y="36"/>
                  </a:cubicBezTo>
                  <a:cubicBezTo>
                    <a:pt x="112" y="34"/>
                    <a:pt x="112" y="34"/>
                    <a:pt x="112" y="34"/>
                  </a:cubicBezTo>
                  <a:cubicBezTo>
                    <a:pt x="109" y="33"/>
                    <a:pt x="109" y="33"/>
                    <a:pt x="109" y="33"/>
                  </a:cubicBezTo>
                  <a:cubicBezTo>
                    <a:pt x="106" y="32"/>
                    <a:pt x="106" y="32"/>
                    <a:pt x="106" y="32"/>
                  </a:cubicBezTo>
                  <a:cubicBezTo>
                    <a:pt x="104" y="33"/>
                    <a:pt x="104" y="33"/>
                    <a:pt x="104" y="33"/>
                  </a:cubicBezTo>
                  <a:cubicBezTo>
                    <a:pt x="104" y="33"/>
                    <a:pt x="102" y="33"/>
                    <a:pt x="101" y="33"/>
                  </a:cubicBezTo>
                  <a:cubicBezTo>
                    <a:pt x="101" y="33"/>
                    <a:pt x="101" y="33"/>
                    <a:pt x="101" y="32"/>
                  </a:cubicBezTo>
                  <a:cubicBezTo>
                    <a:pt x="101" y="33"/>
                    <a:pt x="101" y="33"/>
                    <a:pt x="101" y="33"/>
                  </a:cubicBezTo>
                  <a:cubicBezTo>
                    <a:pt x="101" y="33"/>
                    <a:pt x="101" y="33"/>
                    <a:pt x="101" y="32"/>
                  </a:cubicBezTo>
                  <a:cubicBezTo>
                    <a:pt x="101" y="32"/>
                    <a:pt x="101" y="32"/>
                    <a:pt x="101" y="32"/>
                  </a:cubicBezTo>
                  <a:cubicBezTo>
                    <a:pt x="101" y="32"/>
                    <a:pt x="101" y="32"/>
                    <a:pt x="101" y="32"/>
                  </a:cubicBezTo>
                  <a:cubicBezTo>
                    <a:pt x="101" y="32"/>
                    <a:pt x="101" y="32"/>
                    <a:pt x="101" y="32"/>
                  </a:cubicBezTo>
                  <a:cubicBezTo>
                    <a:pt x="100" y="32"/>
                    <a:pt x="100" y="32"/>
                    <a:pt x="100" y="32"/>
                  </a:cubicBezTo>
                  <a:cubicBezTo>
                    <a:pt x="101" y="31"/>
                    <a:pt x="101" y="31"/>
                    <a:pt x="101" y="31"/>
                  </a:cubicBezTo>
                  <a:cubicBezTo>
                    <a:pt x="101" y="31"/>
                    <a:pt x="101" y="31"/>
                    <a:pt x="101" y="31"/>
                  </a:cubicBezTo>
                  <a:cubicBezTo>
                    <a:pt x="101" y="31"/>
                    <a:pt x="101" y="31"/>
                    <a:pt x="101" y="30"/>
                  </a:cubicBezTo>
                  <a:cubicBezTo>
                    <a:pt x="101" y="30"/>
                    <a:pt x="101" y="30"/>
                    <a:pt x="101" y="29"/>
                  </a:cubicBezTo>
                  <a:cubicBezTo>
                    <a:pt x="101" y="29"/>
                    <a:pt x="101" y="29"/>
                    <a:pt x="101" y="29"/>
                  </a:cubicBezTo>
                  <a:cubicBezTo>
                    <a:pt x="101" y="29"/>
                    <a:pt x="101" y="28"/>
                    <a:pt x="101" y="28"/>
                  </a:cubicBezTo>
                  <a:cubicBezTo>
                    <a:pt x="101" y="28"/>
                    <a:pt x="101" y="28"/>
                    <a:pt x="101" y="28"/>
                  </a:cubicBezTo>
                  <a:cubicBezTo>
                    <a:pt x="101" y="28"/>
                    <a:pt x="101" y="28"/>
                    <a:pt x="101" y="28"/>
                  </a:cubicBezTo>
                  <a:cubicBezTo>
                    <a:pt x="101" y="27"/>
                    <a:pt x="101" y="27"/>
                    <a:pt x="101" y="27"/>
                  </a:cubicBezTo>
                  <a:cubicBezTo>
                    <a:pt x="101" y="25"/>
                    <a:pt x="101" y="25"/>
                    <a:pt x="101" y="25"/>
                  </a:cubicBezTo>
                  <a:cubicBezTo>
                    <a:pt x="103" y="23"/>
                    <a:pt x="103" y="23"/>
                    <a:pt x="103" y="23"/>
                  </a:cubicBezTo>
                  <a:cubicBezTo>
                    <a:pt x="103" y="23"/>
                    <a:pt x="103" y="22"/>
                    <a:pt x="104" y="21"/>
                  </a:cubicBezTo>
                  <a:cubicBezTo>
                    <a:pt x="104" y="21"/>
                    <a:pt x="104" y="20"/>
                    <a:pt x="104" y="20"/>
                  </a:cubicBezTo>
                  <a:cubicBezTo>
                    <a:pt x="106" y="19"/>
                    <a:pt x="106" y="19"/>
                    <a:pt x="106" y="19"/>
                  </a:cubicBezTo>
                  <a:cubicBezTo>
                    <a:pt x="106" y="19"/>
                    <a:pt x="106" y="18"/>
                    <a:pt x="106" y="18"/>
                  </a:cubicBezTo>
                  <a:cubicBezTo>
                    <a:pt x="106" y="18"/>
                    <a:pt x="105" y="17"/>
                    <a:pt x="105" y="17"/>
                  </a:cubicBezTo>
                  <a:cubicBezTo>
                    <a:pt x="105" y="16"/>
                    <a:pt x="106" y="15"/>
                    <a:pt x="106" y="15"/>
                  </a:cubicBezTo>
                  <a:cubicBezTo>
                    <a:pt x="106" y="15"/>
                    <a:pt x="105" y="14"/>
                    <a:pt x="105" y="14"/>
                  </a:cubicBezTo>
                  <a:cubicBezTo>
                    <a:pt x="105" y="14"/>
                    <a:pt x="104" y="14"/>
                    <a:pt x="104" y="14"/>
                  </a:cubicBezTo>
                  <a:cubicBezTo>
                    <a:pt x="104" y="13"/>
                    <a:pt x="103" y="12"/>
                    <a:pt x="103" y="12"/>
                  </a:cubicBezTo>
                  <a:cubicBezTo>
                    <a:pt x="103" y="12"/>
                    <a:pt x="103" y="11"/>
                    <a:pt x="103" y="11"/>
                  </a:cubicBezTo>
                  <a:cubicBezTo>
                    <a:pt x="102" y="11"/>
                    <a:pt x="102" y="11"/>
                    <a:pt x="101" y="10"/>
                  </a:cubicBezTo>
                  <a:cubicBezTo>
                    <a:pt x="100" y="10"/>
                    <a:pt x="99" y="9"/>
                    <a:pt x="99" y="9"/>
                  </a:cubicBezTo>
                  <a:cubicBezTo>
                    <a:pt x="99" y="9"/>
                    <a:pt x="97" y="8"/>
                    <a:pt x="97" y="8"/>
                  </a:cubicBezTo>
                  <a:cubicBezTo>
                    <a:pt x="97" y="8"/>
                    <a:pt x="96" y="8"/>
                    <a:pt x="96" y="8"/>
                  </a:cubicBezTo>
                  <a:cubicBezTo>
                    <a:pt x="96" y="8"/>
                    <a:pt x="95" y="7"/>
                    <a:pt x="95" y="7"/>
                  </a:cubicBezTo>
                  <a:cubicBezTo>
                    <a:pt x="94" y="7"/>
                    <a:pt x="94" y="7"/>
                    <a:pt x="94" y="7"/>
                  </a:cubicBezTo>
                  <a:cubicBezTo>
                    <a:pt x="94" y="7"/>
                    <a:pt x="94" y="7"/>
                    <a:pt x="94" y="7"/>
                  </a:cubicBezTo>
                  <a:cubicBezTo>
                    <a:pt x="94" y="7"/>
                    <a:pt x="94" y="7"/>
                    <a:pt x="93" y="6"/>
                  </a:cubicBezTo>
                  <a:cubicBezTo>
                    <a:pt x="91" y="6"/>
                    <a:pt x="92" y="6"/>
                    <a:pt x="91" y="6"/>
                  </a:cubicBezTo>
                  <a:cubicBezTo>
                    <a:pt x="89" y="6"/>
                    <a:pt x="88" y="6"/>
                    <a:pt x="88" y="6"/>
                  </a:cubicBezTo>
                  <a:cubicBezTo>
                    <a:pt x="88" y="6"/>
                    <a:pt x="88" y="6"/>
                    <a:pt x="86" y="6"/>
                  </a:cubicBezTo>
                  <a:cubicBezTo>
                    <a:pt x="85" y="6"/>
                    <a:pt x="84" y="7"/>
                    <a:pt x="83" y="7"/>
                  </a:cubicBezTo>
                  <a:cubicBezTo>
                    <a:pt x="83" y="7"/>
                    <a:pt x="82" y="6"/>
                    <a:pt x="82" y="6"/>
                  </a:cubicBezTo>
                  <a:cubicBezTo>
                    <a:pt x="82" y="6"/>
                    <a:pt x="82" y="6"/>
                    <a:pt x="82" y="5"/>
                  </a:cubicBezTo>
                  <a:cubicBezTo>
                    <a:pt x="82" y="5"/>
                    <a:pt x="81" y="4"/>
                    <a:pt x="81" y="4"/>
                  </a:cubicBezTo>
                  <a:cubicBezTo>
                    <a:pt x="81" y="4"/>
                    <a:pt x="80" y="4"/>
                    <a:pt x="80" y="4"/>
                  </a:cubicBezTo>
                  <a:cubicBezTo>
                    <a:pt x="80" y="4"/>
                    <a:pt x="79" y="4"/>
                    <a:pt x="80" y="4"/>
                  </a:cubicBezTo>
                  <a:cubicBezTo>
                    <a:pt x="80" y="5"/>
                    <a:pt x="81" y="6"/>
                    <a:pt x="80" y="5"/>
                  </a:cubicBezTo>
                  <a:cubicBezTo>
                    <a:pt x="79" y="5"/>
                    <a:pt x="78" y="5"/>
                    <a:pt x="78" y="5"/>
                  </a:cubicBezTo>
                  <a:cubicBezTo>
                    <a:pt x="76" y="6"/>
                    <a:pt x="76" y="6"/>
                    <a:pt x="76" y="6"/>
                  </a:cubicBezTo>
                  <a:cubicBezTo>
                    <a:pt x="76" y="4"/>
                    <a:pt x="76" y="4"/>
                    <a:pt x="76" y="4"/>
                  </a:cubicBezTo>
                  <a:cubicBezTo>
                    <a:pt x="76" y="4"/>
                    <a:pt x="78" y="5"/>
                    <a:pt x="78" y="5"/>
                  </a:cubicBezTo>
                  <a:cubicBezTo>
                    <a:pt x="78" y="4"/>
                    <a:pt x="78" y="4"/>
                    <a:pt x="78" y="4"/>
                  </a:cubicBezTo>
                  <a:cubicBezTo>
                    <a:pt x="78" y="4"/>
                    <a:pt x="77" y="3"/>
                    <a:pt x="78" y="3"/>
                  </a:cubicBezTo>
                  <a:cubicBezTo>
                    <a:pt x="78" y="3"/>
                    <a:pt x="79" y="3"/>
                    <a:pt x="78" y="2"/>
                  </a:cubicBezTo>
                  <a:cubicBezTo>
                    <a:pt x="78" y="2"/>
                    <a:pt x="77" y="2"/>
                    <a:pt x="77" y="2"/>
                  </a:cubicBezTo>
                  <a:cubicBezTo>
                    <a:pt x="77" y="1"/>
                    <a:pt x="77" y="1"/>
                    <a:pt x="77" y="1"/>
                  </a:cubicBezTo>
                  <a:cubicBezTo>
                    <a:pt x="77" y="1"/>
                    <a:pt x="76" y="0"/>
                    <a:pt x="76" y="1"/>
                  </a:cubicBezTo>
                  <a:cubicBezTo>
                    <a:pt x="76" y="1"/>
                    <a:pt x="76" y="2"/>
                    <a:pt x="75" y="2"/>
                  </a:cubicBezTo>
                  <a:cubicBezTo>
                    <a:pt x="75" y="2"/>
                    <a:pt x="75" y="2"/>
                    <a:pt x="75" y="1"/>
                  </a:cubicBezTo>
                  <a:cubicBezTo>
                    <a:pt x="75" y="1"/>
                    <a:pt x="75" y="1"/>
                    <a:pt x="75" y="0"/>
                  </a:cubicBezTo>
                  <a:cubicBezTo>
                    <a:pt x="74" y="0"/>
                    <a:pt x="73" y="0"/>
                    <a:pt x="73" y="0"/>
                  </a:cubicBezTo>
                  <a:cubicBezTo>
                    <a:pt x="73" y="0"/>
                    <a:pt x="74" y="2"/>
                    <a:pt x="73" y="2"/>
                  </a:cubicBezTo>
                  <a:cubicBezTo>
                    <a:pt x="72" y="2"/>
                    <a:pt x="71" y="2"/>
                    <a:pt x="70" y="2"/>
                  </a:cubicBezTo>
                  <a:cubicBezTo>
                    <a:pt x="69" y="3"/>
                    <a:pt x="69" y="4"/>
                    <a:pt x="69" y="4"/>
                  </a:cubicBezTo>
                  <a:cubicBezTo>
                    <a:pt x="69" y="4"/>
                    <a:pt x="68" y="5"/>
                    <a:pt x="68" y="5"/>
                  </a:cubicBezTo>
                  <a:cubicBezTo>
                    <a:pt x="68" y="6"/>
                    <a:pt x="68" y="6"/>
                    <a:pt x="69" y="6"/>
                  </a:cubicBezTo>
                  <a:cubicBezTo>
                    <a:pt x="70" y="6"/>
                    <a:pt x="70" y="7"/>
                    <a:pt x="71" y="7"/>
                  </a:cubicBezTo>
                  <a:cubicBezTo>
                    <a:pt x="72" y="7"/>
                    <a:pt x="72" y="6"/>
                    <a:pt x="72" y="6"/>
                  </a:cubicBezTo>
                  <a:cubicBezTo>
                    <a:pt x="72" y="6"/>
                    <a:pt x="72" y="6"/>
                    <a:pt x="73" y="7"/>
                  </a:cubicBezTo>
                  <a:cubicBezTo>
                    <a:pt x="74" y="7"/>
                    <a:pt x="74" y="6"/>
                    <a:pt x="74" y="7"/>
                  </a:cubicBezTo>
                  <a:cubicBezTo>
                    <a:pt x="74" y="8"/>
                    <a:pt x="75" y="9"/>
                    <a:pt x="74" y="9"/>
                  </a:cubicBezTo>
                  <a:cubicBezTo>
                    <a:pt x="74" y="9"/>
                    <a:pt x="73" y="9"/>
                    <a:pt x="73" y="9"/>
                  </a:cubicBezTo>
                  <a:cubicBezTo>
                    <a:pt x="73" y="9"/>
                    <a:pt x="73" y="8"/>
                    <a:pt x="72" y="8"/>
                  </a:cubicBezTo>
                  <a:cubicBezTo>
                    <a:pt x="71" y="8"/>
                    <a:pt x="71" y="8"/>
                    <a:pt x="71" y="8"/>
                  </a:cubicBezTo>
                  <a:cubicBezTo>
                    <a:pt x="70" y="10"/>
                    <a:pt x="70" y="10"/>
                    <a:pt x="70" y="10"/>
                  </a:cubicBezTo>
                  <a:cubicBezTo>
                    <a:pt x="70" y="10"/>
                    <a:pt x="70" y="10"/>
                    <a:pt x="69" y="10"/>
                  </a:cubicBezTo>
                  <a:cubicBezTo>
                    <a:pt x="68" y="10"/>
                    <a:pt x="69" y="10"/>
                    <a:pt x="68" y="10"/>
                  </a:cubicBezTo>
                  <a:cubicBezTo>
                    <a:pt x="66" y="10"/>
                    <a:pt x="66" y="9"/>
                    <a:pt x="65" y="9"/>
                  </a:cubicBezTo>
                  <a:cubicBezTo>
                    <a:pt x="65" y="9"/>
                    <a:pt x="65" y="9"/>
                    <a:pt x="65" y="9"/>
                  </a:cubicBezTo>
                  <a:cubicBezTo>
                    <a:pt x="64" y="9"/>
                    <a:pt x="63" y="8"/>
                    <a:pt x="62" y="9"/>
                  </a:cubicBezTo>
                  <a:cubicBezTo>
                    <a:pt x="61" y="10"/>
                    <a:pt x="60" y="11"/>
                    <a:pt x="60" y="11"/>
                  </a:cubicBezTo>
                  <a:cubicBezTo>
                    <a:pt x="58" y="11"/>
                    <a:pt x="58" y="11"/>
                    <a:pt x="58" y="11"/>
                  </a:cubicBezTo>
                  <a:cubicBezTo>
                    <a:pt x="58" y="11"/>
                    <a:pt x="58" y="11"/>
                    <a:pt x="57" y="11"/>
                  </a:cubicBezTo>
                  <a:cubicBezTo>
                    <a:pt x="56" y="11"/>
                    <a:pt x="55" y="11"/>
                    <a:pt x="55" y="11"/>
                  </a:cubicBezTo>
                  <a:cubicBezTo>
                    <a:pt x="54" y="12"/>
                    <a:pt x="53" y="10"/>
                    <a:pt x="53" y="10"/>
                  </a:cubicBezTo>
                  <a:cubicBezTo>
                    <a:pt x="53" y="10"/>
                    <a:pt x="54" y="8"/>
                    <a:pt x="52" y="9"/>
                  </a:cubicBezTo>
                  <a:cubicBezTo>
                    <a:pt x="49" y="11"/>
                    <a:pt x="49" y="11"/>
                    <a:pt x="48" y="11"/>
                  </a:cubicBezTo>
                  <a:cubicBezTo>
                    <a:pt x="48" y="11"/>
                    <a:pt x="48" y="11"/>
                    <a:pt x="48" y="11"/>
                  </a:cubicBezTo>
                  <a:cubicBezTo>
                    <a:pt x="48" y="11"/>
                    <a:pt x="48" y="11"/>
                    <a:pt x="48" y="11"/>
                  </a:cubicBezTo>
                  <a:cubicBezTo>
                    <a:pt x="47" y="12"/>
                    <a:pt x="47" y="12"/>
                    <a:pt x="47" y="12"/>
                  </a:cubicBezTo>
                  <a:cubicBezTo>
                    <a:pt x="47" y="12"/>
                    <a:pt x="47" y="12"/>
                    <a:pt x="46" y="12"/>
                  </a:cubicBezTo>
                  <a:cubicBezTo>
                    <a:pt x="46" y="12"/>
                    <a:pt x="46" y="12"/>
                    <a:pt x="46" y="12"/>
                  </a:cubicBezTo>
                  <a:cubicBezTo>
                    <a:pt x="44" y="12"/>
                    <a:pt x="44" y="12"/>
                    <a:pt x="44" y="12"/>
                  </a:cubicBezTo>
                  <a:cubicBezTo>
                    <a:pt x="44" y="12"/>
                    <a:pt x="44" y="12"/>
                    <a:pt x="44" y="12"/>
                  </a:cubicBezTo>
                  <a:cubicBezTo>
                    <a:pt x="44" y="13"/>
                    <a:pt x="44" y="13"/>
                    <a:pt x="44" y="13"/>
                  </a:cubicBezTo>
                  <a:cubicBezTo>
                    <a:pt x="44" y="13"/>
                    <a:pt x="43" y="15"/>
                    <a:pt x="43" y="15"/>
                  </a:cubicBezTo>
                  <a:cubicBezTo>
                    <a:pt x="42" y="15"/>
                    <a:pt x="42" y="16"/>
                    <a:pt x="42" y="16"/>
                  </a:cubicBezTo>
                  <a:cubicBezTo>
                    <a:pt x="41" y="16"/>
                    <a:pt x="41" y="16"/>
                    <a:pt x="41" y="16"/>
                  </a:cubicBezTo>
                  <a:cubicBezTo>
                    <a:pt x="41" y="17"/>
                    <a:pt x="40" y="18"/>
                    <a:pt x="40" y="18"/>
                  </a:cubicBezTo>
                  <a:cubicBezTo>
                    <a:pt x="40" y="18"/>
                    <a:pt x="38" y="19"/>
                    <a:pt x="37" y="19"/>
                  </a:cubicBezTo>
                  <a:cubicBezTo>
                    <a:pt x="37" y="19"/>
                    <a:pt x="37" y="19"/>
                    <a:pt x="37" y="19"/>
                  </a:cubicBezTo>
                  <a:cubicBezTo>
                    <a:pt x="36" y="19"/>
                    <a:pt x="36" y="19"/>
                    <a:pt x="36" y="19"/>
                  </a:cubicBezTo>
                  <a:cubicBezTo>
                    <a:pt x="35" y="19"/>
                    <a:pt x="35" y="19"/>
                    <a:pt x="35" y="19"/>
                  </a:cubicBezTo>
                  <a:cubicBezTo>
                    <a:pt x="35" y="19"/>
                    <a:pt x="35" y="19"/>
                    <a:pt x="35" y="19"/>
                  </a:cubicBezTo>
                  <a:cubicBezTo>
                    <a:pt x="34" y="20"/>
                    <a:pt x="34" y="20"/>
                    <a:pt x="34" y="20"/>
                  </a:cubicBezTo>
                  <a:cubicBezTo>
                    <a:pt x="33" y="19"/>
                    <a:pt x="33" y="19"/>
                    <a:pt x="33" y="19"/>
                  </a:cubicBezTo>
                  <a:cubicBezTo>
                    <a:pt x="31" y="19"/>
                    <a:pt x="31" y="18"/>
                    <a:pt x="30" y="18"/>
                  </a:cubicBezTo>
                  <a:cubicBezTo>
                    <a:pt x="30" y="17"/>
                    <a:pt x="30" y="17"/>
                    <a:pt x="29" y="16"/>
                  </a:cubicBezTo>
                  <a:cubicBezTo>
                    <a:pt x="29" y="16"/>
                    <a:pt x="29" y="16"/>
                    <a:pt x="29" y="16"/>
                  </a:cubicBezTo>
                  <a:cubicBezTo>
                    <a:pt x="29" y="17"/>
                    <a:pt x="29" y="17"/>
                    <a:pt x="29" y="17"/>
                  </a:cubicBezTo>
                  <a:cubicBezTo>
                    <a:pt x="29" y="17"/>
                    <a:pt x="29" y="17"/>
                    <a:pt x="29" y="17"/>
                  </a:cubicBezTo>
                  <a:cubicBezTo>
                    <a:pt x="29" y="18"/>
                    <a:pt x="29" y="18"/>
                    <a:pt x="29" y="18"/>
                  </a:cubicBezTo>
                  <a:cubicBezTo>
                    <a:pt x="30" y="20"/>
                    <a:pt x="30" y="20"/>
                    <a:pt x="30" y="20"/>
                  </a:cubicBezTo>
                  <a:cubicBezTo>
                    <a:pt x="30" y="23"/>
                    <a:pt x="30" y="23"/>
                    <a:pt x="30" y="23"/>
                  </a:cubicBezTo>
                  <a:cubicBezTo>
                    <a:pt x="29" y="23"/>
                    <a:pt x="29" y="23"/>
                    <a:pt x="29" y="23"/>
                  </a:cubicBezTo>
                  <a:cubicBezTo>
                    <a:pt x="29" y="23"/>
                    <a:pt x="28" y="24"/>
                    <a:pt x="28" y="24"/>
                  </a:cubicBezTo>
                  <a:cubicBezTo>
                    <a:pt x="28" y="24"/>
                    <a:pt x="27" y="25"/>
                    <a:pt x="27" y="25"/>
                  </a:cubicBezTo>
                  <a:cubicBezTo>
                    <a:pt x="27" y="26"/>
                    <a:pt x="26" y="27"/>
                    <a:pt x="25" y="28"/>
                  </a:cubicBezTo>
                  <a:cubicBezTo>
                    <a:pt x="25" y="29"/>
                    <a:pt x="25" y="29"/>
                    <a:pt x="25" y="29"/>
                  </a:cubicBezTo>
                  <a:cubicBezTo>
                    <a:pt x="23" y="30"/>
                    <a:pt x="23" y="30"/>
                    <a:pt x="23" y="30"/>
                  </a:cubicBezTo>
                  <a:cubicBezTo>
                    <a:pt x="21" y="32"/>
                    <a:pt x="21" y="32"/>
                    <a:pt x="21" y="32"/>
                  </a:cubicBezTo>
                  <a:cubicBezTo>
                    <a:pt x="21" y="33"/>
                    <a:pt x="21" y="33"/>
                    <a:pt x="21" y="33"/>
                  </a:cubicBezTo>
                  <a:cubicBezTo>
                    <a:pt x="19" y="33"/>
                    <a:pt x="19" y="33"/>
                    <a:pt x="19" y="33"/>
                  </a:cubicBezTo>
                  <a:cubicBezTo>
                    <a:pt x="19" y="36"/>
                    <a:pt x="19" y="36"/>
                    <a:pt x="19" y="36"/>
                  </a:cubicBezTo>
                  <a:cubicBezTo>
                    <a:pt x="17" y="36"/>
                    <a:pt x="17" y="36"/>
                    <a:pt x="17" y="36"/>
                  </a:cubicBezTo>
                  <a:cubicBezTo>
                    <a:pt x="17" y="38"/>
                    <a:pt x="17" y="38"/>
                    <a:pt x="17" y="38"/>
                  </a:cubicBezTo>
                  <a:cubicBezTo>
                    <a:pt x="15" y="39"/>
                    <a:pt x="15" y="39"/>
                    <a:pt x="15" y="39"/>
                  </a:cubicBezTo>
                  <a:cubicBezTo>
                    <a:pt x="14" y="39"/>
                    <a:pt x="14" y="39"/>
                    <a:pt x="13" y="39"/>
                  </a:cubicBezTo>
                  <a:cubicBezTo>
                    <a:pt x="13" y="39"/>
                    <a:pt x="13" y="39"/>
                    <a:pt x="13" y="39"/>
                  </a:cubicBezTo>
                  <a:cubicBezTo>
                    <a:pt x="12" y="39"/>
                    <a:pt x="12" y="39"/>
                    <a:pt x="12" y="39"/>
                  </a:cubicBezTo>
                  <a:cubicBezTo>
                    <a:pt x="12" y="40"/>
                    <a:pt x="12" y="40"/>
                    <a:pt x="12" y="40"/>
                  </a:cubicBezTo>
                  <a:cubicBezTo>
                    <a:pt x="12" y="43"/>
                    <a:pt x="12" y="43"/>
                    <a:pt x="12" y="43"/>
                  </a:cubicBezTo>
                  <a:cubicBezTo>
                    <a:pt x="12" y="43"/>
                    <a:pt x="12" y="43"/>
                    <a:pt x="12" y="43"/>
                  </a:cubicBezTo>
                  <a:cubicBezTo>
                    <a:pt x="12" y="44"/>
                    <a:pt x="11" y="44"/>
                    <a:pt x="11" y="44"/>
                  </a:cubicBezTo>
                  <a:cubicBezTo>
                    <a:pt x="12" y="45"/>
                    <a:pt x="12" y="46"/>
                    <a:pt x="12" y="46"/>
                  </a:cubicBezTo>
                  <a:cubicBezTo>
                    <a:pt x="11" y="48"/>
                    <a:pt x="11" y="48"/>
                    <a:pt x="10" y="49"/>
                  </a:cubicBezTo>
                  <a:cubicBezTo>
                    <a:pt x="9" y="50"/>
                    <a:pt x="9" y="50"/>
                    <a:pt x="9" y="50"/>
                  </a:cubicBezTo>
                  <a:cubicBezTo>
                    <a:pt x="9" y="50"/>
                    <a:pt x="8" y="50"/>
                    <a:pt x="7" y="50"/>
                  </a:cubicBezTo>
                  <a:cubicBezTo>
                    <a:pt x="7" y="50"/>
                    <a:pt x="6" y="51"/>
                    <a:pt x="6" y="51"/>
                  </a:cubicBezTo>
                  <a:cubicBezTo>
                    <a:pt x="4" y="52"/>
                    <a:pt x="4" y="52"/>
                    <a:pt x="4" y="52"/>
                  </a:cubicBezTo>
                  <a:cubicBezTo>
                    <a:pt x="2" y="54"/>
                    <a:pt x="2" y="54"/>
                    <a:pt x="2" y="54"/>
                  </a:cubicBezTo>
                  <a:cubicBezTo>
                    <a:pt x="2" y="54"/>
                    <a:pt x="2" y="54"/>
                    <a:pt x="2" y="54"/>
                  </a:cubicBezTo>
                  <a:cubicBezTo>
                    <a:pt x="2" y="54"/>
                    <a:pt x="2" y="56"/>
                    <a:pt x="1" y="57"/>
                  </a:cubicBezTo>
                  <a:cubicBezTo>
                    <a:pt x="1" y="58"/>
                    <a:pt x="1" y="59"/>
                    <a:pt x="0" y="59"/>
                  </a:cubicBezTo>
                  <a:cubicBezTo>
                    <a:pt x="1" y="60"/>
                    <a:pt x="1" y="60"/>
                    <a:pt x="1" y="60"/>
                  </a:cubicBezTo>
                  <a:cubicBezTo>
                    <a:pt x="0" y="60"/>
                    <a:pt x="0" y="60"/>
                    <a:pt x="0" y="60"/>
                  </a:cubicBezTo>
                  <a:cubicBezTo>
                    <a:pt x="2" y="61"/>
                    <a:pt x="2" y="61"/>
                    <a:pt x="2" y="61"/>
                  </a:cubicBezTo>
                  <a:cubicBezTo>
                    <a:pt x="2" y="61"/>
                    <a:pt x="2" y="61"/>
                    <a:pt x="2" y="61"/>
                  </a:cubicBezTo>
                  <a:cubicBezTo>
                    <a:pt x="3" y="60"/>
                    <a:pt x="3" y="60"/>
                    <a:pt x="3" y="60"/>
                  </a:cubicBezTo>
                  <a:cubicBezTo>
                    <a:pt x="7" y="59"/>
                    <a:pt x="7" y="59"/>
                    <a:pt x="7" y="59"/>
                  </a:cubicBezTo>
                  <a:cubicBezTo>
                    <a:pt x="10" y="58"/>
                    <a:pt x="10" y="58"/>
                    <a:pt x="10" y="58"/>
                  </a:cubicBezTo>
                  <a:cubicBezTo>
                    <a:pt x="11" y="57"/>
                    <a:pt x="13" y="57"/>
                    <a:pt x="13" y="57"/>
                  </a:cubicBezTo>
                  <a:lnTo>
                    <a:pt x="17" y="57"/>
                  </a:lnTo>
                  <a:close/>
                </a:path>
              </a:pathLst>
            </a:custGeom>
            <a:solidFill>
              <a:schemeClr val="accent6">
                <a:lumMod val="75000"/>
              </a:schemeClr>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 name="Freeform 125"/>
            <p:cNvSpPr>
              <a:spLocks/>
            </p:cNvSpPr>
            <p:nvPr/>
          </p:nvSpPr>
          <p:spPr bwMode="auto">
            <a:xfrm>
              <a:off x="5397421" y="4606146"/>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2" name="Freeform 126"/>
            <p:cNvSpPr>
              <a:spLocks/>
            </p:cNvSpPr>
            <p:nvPr/>
          </p:nvSpPr>
          <p:spPr bwMode="auto">
            <a:xfrm>
              <a:off x="5394533" y="4603423"/>
              <a:ext cx="2888" cy="2723"/>
            </a:xfrm>
            <a:custGeom>
              <a:avLst/>
              <a:gdLst>
                <a:gd name="T0" fmla="*/ 0 w 1"/>
                <a:gd name="T1" fmla="*/ 1 h 1"/>
                <a:gd name="T2" fmla="*/ 1 w 1"/>
                <a:gd name="T3" fmla="*/ 1 h 1"/>
                <a:gd name="T4" fmla="*/ 1 w 1"/>
                <a:gd name="T5" fmla="*/ 0 h 1"/>
                <a:gd name="T6" fmla="*/ 1 w 1"/>
                <a:gd name="T7" fmla="*/ 0 h 1"/>
                <a:gd name="T8" fmla="*/ 1 w 1"/>
                <a:gd name="T9" fmla="*/ 0 h 1"/>
                <a:gd name="T10" fmla="*/ 1 w 1"/>
                <a:gd name="T11" fmla="*/ 0 h 1"/>
                <a:gd name="T12" fmla="*/ 1 w 1"/>
                <a:gd name="T13" fmla="*/ 0 h 1"/>
                <a:gd name="T14" fmla="*/ 0 w 1"/>
                <a:gd name="T15" fmla="*/ 1 h 1"/>
                <a:gd name="T16" fmla="*/ 1 w 1"/>
                <a:gd name="T17" fmla="*/ 1 h 1"/>
                <a:gd name="T18" fmla="*/ 0 w 1"/>
                <a:gd name="T1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
                  <a:moveTo>
                    <a:pt x="0" y="1"/>
                  </a:moveTo>
                  <a:cubicBezTo>
                    <a:pt x="1" y="1"/>
                    <a:pt x="1" y="1"/>
                    <a:pt x="1" y="1"/>
                  </a:cubicBezTo>
                  <a:cubicBezTo>
                    <a:pt x="1" y="1"/>
                    <a:pt x="1" y="1"/>
                    <a:pt x="1" y="0"/>
                  </a:cubicBezTo>
                  <a:cubicBezTo>
                    <a:pt x="1" y="0"/>
                    <a:pt x="1" y="0"/>
                    <a:pt x="1" y="0"/>
                  </a:cubicBezTo>
                  <a:cubicBezTo>
                    <a:pt x="1" y="0"/>
                    <a:pt x="1" y="0"/>
                    <a:pt x="1" y="0"/>
                  </a:cubicBezTo>
                  <a:cubicBezTo>
                    <a:pt x="1" y="0"/>
                    <a:pt x="1" y="0"/>
                    <a:pt x="1" y="0"/>
                  </a:cubicBezTo>
                  <a:cubicBezTo>
                    <a:pt x="1" y="0"/>
                    <a:pt x="1" y="0"/>
                    <a:pt x="1" y="0"/>
                  </a:cubicBezTo>
                  <a:cubicBezTo>
                    <a:pt x="0" y="1"/>
                    <a:pt x="0" y="1"/>
                    <a:pt x="0" y="1"/>
                  </a:cubicBezTo>
                  <a:cubicBezTo>
                    <a:pt x="1" y="1"/>
                    <a:pt x="1" y="1"/>
                    <a:pt x="1" y="1"/>
                  </a:cubicBezTo>
                  <a:cubicBezTo>
                    <a:pt x="1" y="1"/>
                    <a:pt x="0" y="1"/>
                    <a:pt x="0" y="1"/>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 name="Rectangle 127"/>
            <p:cNvSpPr>
              <a:spLocks noChangeArrowheads="1"/>
            </p:cNvSpPr>
            <p:nvPr/>
          </p:nvSpPr>
          <p:spPr bwMode="auto">
            <a:xfrm>
              <a:off x="5406086" y="4555767"/>
              <a:ext cx="1444" cy="1362"/>
            </a:xfrm>
            <a:prstGeom prst="rect">
              <a:avLst/>
            </a:prstGeom>
            <a:solidFill>
              <a:schemeClr val="bg2"/>
            </a:solidFill>
            <a:ln w="9525">
              <a:solidFill>
                <a:schemeClr val="bg1"/>
              </a:solidFill>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4" name="Freeform 128"/>
            <p:cNvSpPr>
              <a:spLocks/>
            </p:cNvSpPr>
            <p:nvPr/>
          </p:nvSpPr>
          <p:spPr bwMode="auto">
            <a:xfrm>
              <a:off x="5748349" y="4603423"/>
              <a:ext cx="264279" cy="190624"/>
            </a:xfrm>
            <a:custGeom>
              <a:avLst/>
              <a:gdLst>
                <a:gd name="T0" fmla="*/ 85 w 91"/>
                <a:gd name="T1" fmla="*/ 6 h 70"/>
                <a:gd name="T2" fmla="*/ 84 w 91"/>
                <a:gd name="T3" fmla="*/ 3 h 70"/>
                <a:gd name="T4" fmla="*/ 83 w 91"/>
                <a:gd name="T5" fmla="*/ 2 h 70"/>
                <a:gd name="T6" fmla="*/ 81 w 91"/>
                <a:gd name="T7" fmla="*/ 0 h 70"/>
                <a:gd name="T8" fmla="*/ 75 w 91"/>
                <a:gd name="T9" fmla="*/ 6 h 70"/>
                <a:gd name="T10" fmla="*/ 66 w 91"/>
                <a:gd name="T11" fmla="*/ 11 h 70"/>
                <a:gd name="T12" fmla="*/ 53 w 91"/>
                <a:gd name="T13" fmla="*/ 14 h 70"/>
                <a:gd name="T14" fmla="*/ 40 w 91"/>
                <a:gd name="T15" fmla="*/ 21 h 70"/>
                <a:gd name="T16" fmla="*/ 32 w 91"/>
                <a:gd name="T17" fmla="*/ 27 h 70"/>
                <a:gd name="T18" fmla="*/ 14 w 91"/>
                <a:gd name="T19" fmla="*/ 25 h 70"/>
                <a:gd name="T20" fmla="*/ 5 w 91"/>
                <a:gd name="T21" fmla="*/ 28 h 70"/>
                <a:gd name="T22" fmla="*/ 3 w 91"/>
                <a:gd name="T23" fmla="*/ 30 h 70"/>
                <a:gd name="T24" fmla="*/ 0 w 91"/>
                <a:gd name="T25" fmla="*/ 32 h 70"/>
                <a:gd name="T26" fmla="*/ 3 w 91"/>
                <a:gd name="T27" fmla="*/ 35 h 70"/>
                <a:gd name="T28" fmla="*/ 8 w 91"/>
                <a:gd name="T29" fmla="*/ 37 h 70"/>
                <a:gd name="T30" fmla="*/ 4 w 91"/>
                <a:gd name="T31" fmla="*/ 44 h 70"/>
                <a:gd name="T32" fmla="*/ 7 w 91"/>
                <a:gd name="T33" fmla="*/ 45 h 70"/>
                <a:gd name="T34" fmla="*/ 7 w 91"/>
                <a:gd name="T35" fmla="*/ 51 h 70"/>
                <a:gd name="T36" fmla="*/ 7 w 91"/>
                <a:gd name="T37" fmla="*/ 56 h 70"/>
                <a:gd name="T38" fmla="*/ 14 w 91"/>
                <a:gd name="T39" fmla="*/ 62 h 70"/>
                <a:gd name="T40" fmla="*/ 11 w 91"/>
                <a:gd name="T41" fmla="*/ 63 h 70"/>
                <a:gd name="T42" fmla="*/ 11 w 91"/>
                <a:gd name="T43" fmla="*/ 65 h 70"/>
                <a:gd name="T44" fmla="*/ 7 w 91"/>
                <a:gd name="T45" fmla="*/ 66 h 70"/>
                <a:gd name="T46" fmla="*/ 6 w 91"/>
                <a:gd name="T47" fmla="*/ 68 h 70"/>
                <a:gd name="T48" fmla="*/ 10 w 91"/>
                <a:gd name="T49" fmla="*/ 69 h 70"/>
                <a:gd name="T50" fmla="*/ 15 w 91"/>
                <a:gd name="T51" fmla="*/ 70 h 70"/>
                <a:gd name="T52" fmla="*/ 17 w 91"/>
                <a:gd name="T53" fmla="*/ 69 h 70"/>
                <a:gd name="T54" fmla="*/ 18 w 91"/>
                <a:gd name="T55" fmla="*/ 67 h 70"/>
                <a:gd name="T56" fmla="*/ 20 w 91"/>
                <a:gd name="T57" fmla="*/ 66 h 70"/>
                <a:gd name="T58" fmla="*/ 24 w 91"/>
                <a:gd name="T59" fmla="*/ 67 h 70"/>
                <a:gd name="T60" fmla="*/ 30 w 91"/>
                <a:gd name="T61" fmla="*/ 66 h 70"/>
                <a:gd name="T62" fmla="*/ 34 w 91"/>
                <a:gd name="T63" fmla="*/ 63 h 70"/>
                <a:gd name="T64" fmla="*/ 35 w 91"/>
                <a:gd name="T65" fmla="*/ 59 h 70"/>
                <a:gd name="T66" fmla="*/ 37 w 91"/>
                <a:gd name="T67" fmla="*/ 59 h 70"/>
                <a:gd name="T68" fmla="*/ 39 w 91"/>
                <a:gd name="T69" fmla="*/ 62 h 70"/>
                <a:gd name="T70" fmla="*/ 42 w 91"/>
                <a:gd name="T71" fmla="*/ 65 h 70"/>
                <a:gd name="T72" fmla="*/ 47 w 91"/>
                <a:gd name="T73" fmla="*/ 64 h 70"/>
                <a:gd name="T74" fmla="*/ 50 w 91"/>
                <a:gd name="T75" fmla="*/ 64 h 70"/>
                <a:gd name="T76" fmla="*/ 54 w 91"/>
                <a:gd name="T77" fmla="*/ 66 h 70"/>
                <a:gd name="T78" fmla="*/ 57 w 91"/>
                <a:gd name="T79" fmla="*/ 65 h 70"/>
                <a:gd name="T80" fmla="*/ 61 w 91"/>
                <a:gd name="T81" fmla="*/ 63 h 70"/>
                <a:gd name="T82" fmla="*/ 58 w 91"/>
                <a:gd name="T83" fmla="*/ 59 h 70"/>
                <a:gd name="T84" fmla="*/ 60 w 91"/>
                <a:gd name="T85" fmla="*/ 57 h 70"/>
                <a:gd name="T86" fmla="*/ 59 w 91"/>
                <a:gd name="T87" fmla="*/ 53 h 70"/>
                <a:gd name="T88" fmla="*/ 57 w 91"/>
                <a:gd name="T89" fmla="*/ 53 h 70"/>
                <a:gd name="T90" fmla="*/ 62 w 91"/>
                <a:gd name="T91" fmla="*/ 50 h 70"/>
                <a:gd name="T92" fmla="*/ 65 w 91"/>
                <a:gd name="T93" fmla="*/ 48 h 70"/>
                <a:gd name="T94" fmla="*/ 69 w 91"/>
                <a:gd name="T95" fmla="*/ 47 h 70"/>
                <a:gd name="T96" fmla="*/ 69 w 91"/>
                <a:gd name="T97" fmla="*/ 43 h 70"/>
                <a:gd name="T98" fmla="*/ 69 w 91"/>
                <a:gd name="T99" fmla="*/ 38 h 70"/>
                <a:gd name="T100" fmla="*/ 65 w 91"/>
                <a:gd name="T101" fmla="*/ 35 h 70"/>
                <a:gd name="T102" fmla="*/ 66 w 91"/>
                <a:gd name="T103" fmla="*/ 30 h 70"/>
                <a:gd name="T104" fmla="*/ 70 w 91"/>
                <a:gd name="T105" fmla="*/ 29 h 70"/>
                <a:gd name="T106" fmla="*/ 75 w 91"/>
                <a:gd name="T107" fmla="*/ 26 h 70"/>
                <a:gd name="T108" fmla="*/ 79 w 91"/>
                <a:gd name="T109" fmla="*/ 24 h 70"/>
                <a:gd name="T110" fmla="*/ 80 w 91"/>
                <a:gd name="T111" fmla="*/ 21 h 70"/>
                <a:gd name="T112" fmla="*/ 84 w 91"/>
                <a:gd name="T113" fmla="*/ 18 h 70"/>
                <a:gd name="T114" fmla="*/ 85 w 91"/>
                <a:gd name="T115" fmla="*/ 16 h 70"/>
                <a:gd name="T116" fmla="*/ 91 w 91"/>
                <a:gd name="T117" fmla="*/ 1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1" h="70">
                  <a:moveTo>
                    <a:pt x="86" y="7"/>
                  </a:moveTo>
                  <a:cubicBezTo>
                    <a:pt x="85" y="6"/>
                    <a:pt x="85" y="6"/>
                    <a:pt x="85" y="6"/>
                  </a:cubicBezTo>
                  <a:cubicBezTo>
                    <a:pt x="85" y="6"/>
                    <a:pt x="85" y="6"/>
                    <a:pt x="85" y="6"/>
                  </a:cubicBezTo>
                  <a:cubicBezTo>
                    <a:pt x="85" y="6"/>
                    <a:pt x="85" y="5"/>
                    <a:pt x="85" y="5"/>
                  </a:cubicBezTo>
                  <a:cubicBezTo>
                    <a:pt x="84" y="4"/>
                    <a:pt x="84" y="4"/>
                    <a:pt x="84" y="4"/>
                  </a:cubicBezTo>
                  <a:cubicBezTo>
                    <a:pt x="84" y="3"/>
                    <a:pt x="84" y="3"/>
                    <a:pt x="84" y="3"/>
                  </a:cubicBezTo>
                  <a:cubicBezTo>
                    <a:pt x="84" y="3"/>
                    <a:pt x="84" y="3"/>
                    <a:pt x="84" y="3"/>
                  </a:cubicBezTo>
                  <a:cubicBezTo>
                    <a:pt x="83" y="3"/>
                    <a:pt x="83" y="2"/>
                    <a:pt x="83" y="2"/>
                  </a:cubicBezTo>
                  <a:cubicBezTo>
                    <a:pt x="83" y="2"/>
                    <a:pt x="83" y="2"/>
                    <a:pt x="83" y="2"/>
                  </a:cubicBezTo>
                  <a:cubicBezTo>
                    <a:pt x="83" y="1"/>
                    <a:pt x="83" y="1"/>
                    <a:pt x="83" y="1"/>
                  </a:cubicBezTo>
                  <a:cubicBezTo>
                    <a:pt x="81" y="0"/>
                    <a:pt x="81" y="0"/>
                    <a:pt x="81" y="0"/>
                  </a:cubicBezTo>
                  <a:cubicBezTo>
                    <a:pt x="81" y="0"/>
                    <a:pt x="81" y="0"/>
                    <a:pt x="81" y="0"/>
                  </a:cubicBezTo>
                  <a:cubicBezTo>
                    <a:pt x="80" y="2"/>
                    <a:pt x="80" y="2"/>
                    <a:pt x="80" y="2"/>
                  </a:cubicBezTo>
                  <a:cubicBezTo>
                    <a:pt x="76" y="4"/>
                    <a:pt x="76" y="4"/>
                    <a:pt x="76" y="4"/>
                  </a:cubicBezTo>
                  <a:cubicBezTo>
                    <a:pt x="75" y="6"/>
                    <a:pt x="75" y="6"/>
                    <a:pt x="75" y="6"/>
                  </a:cubicBezTo>
                  <a:cubicBezTo>
                    <a:pt x="77" y="14"/>
                    <a:pt x="77" y="14"/>
                    <a:pt x="77" y="14"/>
                  </a:cubicBezTo>
                  <a:cubicBezTo>
                    <a:pt x="69" y="10"/>
                    <a:pt x="69" y="10"/>
                    <a:pt x="69" y="10"/>
                  </a:cubicBezTo>
                  <a:cubicBezTo>
                    <a:pt x="66" y="11"/>
                    <a:pt x="66" y="11"/>
                    <a:pt x="66" y="11"/>
                  </a:cubicBezTo>
                  <a:cubicBezTo>
                    <a:pt x="63" y="12"/>
                    <a:pt x="63" y="12"/>
                    <a:pt x="63" y="12"/>
                  </a:cubicBezTo>
                  <a:cubicBezTo>
                    <a:pt x="59" y="16"/>
                    <a:pt x="59" y="16"/>
                    <a:pt x="59" y="16"/>
                  </a:cubicBezTo>
                  <a:cubicBezTo>
                    <a:pt x="53" y="14"/>
                    <a:pt x="53" y="14"/>
                    <a:pt x="53" y="14"/>
                  </a:cubicBezTo>
                  <a:cubicBezTo>
                    <a:pt x="44" y="15"/>
                    <a:pt x="44" y="15"/>
                    <a:pt x="44" y="15"/>
                  </a:cubicBezTo>
                  <a:cubicBezTo>
                    <a:pt x="42" y="16"/>
                    <a:pt x="42" y="16"/>
                    <a:pt x="42" y="16"/>
                  </a:cubicBezTo>
                  <a:cubicBezTo>
                    <a:pt x="40" y="21"/>
                    <a:pt x="40" y="21"/>
                    <a:pt x="40" y="21"/>
                  </a:cubicBezTo>
                  <a:cubicBezTo>
                    <a:pt x="37" y="22"/>
                    <a:pt x="37" y="22"/>
                    <a:pt x="37" y="22"/>
                  </a:cubicBezTo>
                  <a:cubicBezTo>
                    <a:pt x="35" y="25"/>
                    <a:pt x="35" y="25"/>
                    <a:pt x="35" y="25"/>
                  </a:cubicBezTo>
                  <a:cubicBezTo>
                    <a:pt x="32" y="27"/>
                    <a:pt x="32" y="27"/>
                    <a:pt x="32" y="27"/>
                  </a:cubicBezTo>
                  <a:cubicBezTo>
                    <a:pt x="31" y="27"/>
                    <a:pt x="31" y="27"/>
                    <a:pt x="31" y="27"/>
                  </a:cubicBezTo>
                  <a:cubicBezTo>
                    <a:pt x="22" y="26"/>
                    <a:pt x="22" y="26"/>
                    <a:pt x="22" y="26"/>
                  </a:cubicBezTo>
                  <a:cubicBezTo>
                    <a:pt x="14" y="25"/>
                    <a:pt x="14" y="25"/>
                    <a:pt x="14" y="25"/>
                  </a:cubicBezTo>
                  <a:cubicBezTo>
                    <a:pt x="8" y="24"/>
                    <a:pt x="8" y="24"/>
                    <a:pt x="8" y="24"/>
                  </a:cubicBezTo>
                  <a:cubicBezTo>
                    <a:pt x="8" y="26"/>
                    <a:pt x="7" y="27"/>
                    <a:pt x="7" y="27"/>
                  </a:cubicBezTo>
                  <a:cubicBezTo>
                    <a:pt x="7" y="28"/>
                    <a:pt x="6" y="28"/>
                    <a:pt x="5" y="28"/>
                  </a:cubicBezTo>
                  <a:cubicBezTo>
                    <a:pt x="4" y="28"/>
                    <a:pt x="4" y="28"/>
                    <a:pt x="4" y="28"/>
                  </a:cubicBezTo>
                  <a:cubicBezTo>
                    <a:pt x="4" y="28"/>
                    <a:pt x="4" y="28"/>
                    <a:pt x="4" y="28"/>
                  </a:cubicBezTo>
                  <a:cubicBezTo>
                    <a:pt x="3" y="30"/>
                    <a:pt x="3" y="30"/>
                    <a:pt x="3" y="30"/>
                  </a:cubicBezTo>
                  <a:cubicBezTo>
                    <a:pt x="3" y="30"/>
                    <a:pt x="3" y="30"/>
                    <a:pt x="3" y="30"/>
                  </a:cubicBezTo>
                  <a:cubicBezTo>
                    <a:pt x="3" y="30"/>
                    <a:pt x="2" y="31"/>
                    <a:pt x="1" y="32"/>
                  </a:cubicBezTo>
                  <a:cubicBezTo>
                    <a:pt x="0" y="32"/>
                    <a:pt x="0" y="32"/>
                    <a:pt x="0" y="32"/>
                  </a:cubicBezTo>
                  <a:cubicBezTo>
                    <a:pt x="0" y="34"/>
                    <a:pt x="0" y="34"/>
                    <a:pt x="0" y="34"/>
                  </a:cubicBezTo>
                  <a:cubicBezTo>
                    <a:pt x="1" y="34"/>
                    <a:pt x="1" y="34"/>
                    <a:pt x="1" y="34"/>
                  </a:cubicBezTo>
                  <a:cubicBezTo>
                    <a:pt x="3" y="35"/>
                    <a:pt x="3" y="35"/>
                    <a:pt x="3" y="35"/>
                  </a:cubicBezTo>
                  <a:cubicBezTo>
                    <a:pt x="4" y="35"/>
                    <a:pt x="4" y="35"/>
                    <a:pt x="4" y="35"/>
                  </a:cubicBezTo>
                  <a:cubicBezTo>
                    <a:pt x="5" y="35"/>
                    <a:pt x="5" y="35"/>
                    <a:pt x="5" y="35"/>
                  </a:cubicBezTo>
                  <a:cubicBezTo>
                    <a:pt x="8" y="37"/>
                    <a:pt x="8" y="37"/>
                    <a:pt x="8" y="37"/>
                  </a:cubicBezTo>
                  <a:cubicBezTo>
                    <a:pt x="7" y="40"/>
                    <a:pt x="7" y="40"/>
                    <a:pt x="7" y="40"/>
                  </a:cubicBezTo>
                  <a:cubicBezTo>
                    <a:pt x="7" y="41"/>
                    <a:pt x="7" y="41"/>
                    <a:pt x="7" y="41"/>
                  </a:cubicBezTo>
                  <a:cubicBezTo>
                    <a:pt x="7" y="41"/>
                    <a:pt x="4" y="43"/>
                    <a:pt x="4" y="44"/>
                  </a:cubicBezTo>
                  <a:cubicBezTo>
                    <a:pt x="4" y="44"/>
                    <a:pt x="4" y="44"/>
                    <a:pt x="4" y="44"/>
                  </a:cubicBezTo>
                  <a:cubicBezTo>
                    <a:pt x="4" y="44"/>
                    <a:pt x="4" y="44"/>
                    <a:pt x="5" y="44"/>
                  </a:cubicBezTo>
                  <a:cubicBezTo>
                    <a:pt x="5" y="44"/>
                    <a:pt x="6" y="44"/>
                    <a:pt x="7" y="45"/>
                  </a:cubicBezTo>
                  <a:cubicBezTo>
                    <a:pt x="7" y="45"/>
                    <a:pt x="8" y="46"/>
                    <a:pt x="8" y="46"/>
                  </a:cubicBezTo>
                  <a:cubicBezTo>
                    <a:pt x="8" y="47"/>
                    <a:pt x="8" y="48"/>
                    <a:pt x="8" y="49"/>
                  </a:cubicBezTo>
                  <a:cubicBezTo>
                    <a:pt x="8" y="50"/>
                    <a:pt x="8" y="50"/>
                    <a:pt x="7" y="51"/>
                  </a:cubicBezTo>
                  <a:cubicBezTo>
                    <a:pt x="7" y="52"/>
                    <a:pt x="7" y="52"/>
                    <a:pt x="7" y="52"/>
                  </a:cubicBezTo>
                  <a:cubicBezTo>
                    <a:pt x="7" y="52"/>
                    <a:pt x="10" y="54"/>
                    <a:pt x="10" y="54"/>
                  </a:cubicBezTo>
                  <a:cubicBezTo>
                    <a:pt x="7" y="56"/>
                    <a:pt x="7" y="56"/>
                    <a:pt x="7" y="56"/>
                  </a:cubicBezTo>
                  <a:cubicBezTo>
                    <a:pt x="7" y="56"/>
                    <a:pt x="7" y="56"/>
                    <a:pt x="7" y="56"/>
                  </a:cubicBezTo>
                  <a:cubicBezTo>
                    <a:pt x="7" y="59"/>
                    <a:pt x="9" y="59"/>
                    <a:pt x="11" y="61"/>
                  </a:cubicBezTo>
                  <a:cubicBezTo>
                    <a:pt x="12" y="62"/>
                    <a:pt x="15" y="62"/>
                    <a:pt x="14" y="62"/>
                  </a:cubicBezTo>
                  <a:cubicBezTo>
                    <a:pt x="14" y="63"/>
                    <a:pt x="14" y="63"/>
                    <a:pt x="13" y="63"/>
                  </a:cubicBezTo>
                  <a:cubicBezTo>
                    <a:pt x="13" y="63"/>
                    <a:pt x="13" y="63"/>
                    <a:pt x="12" y="63"/>
                  </a:cubicBezTo>
                  <a:cubicBezTo>
                    <a:pt x="12" y="63"/>
                    <a:pt x="11" y="63"/>
                    <a:pt x="11" y="63"/>
                  </a:cubicBezTo>
                  <a:cubicBezTo>
                    <a:pt x="10" y="63"/>
                    <a:pt x="10" y="64"/>
                    <a:pt x="10" y="64"/>
                  </a:cubicBezTo>
                  <a:cubicBezTo>
                    <a:pt x="10" y="64"/>
                    <a:pt x="10" y="64"/>
                    <a:pt x="10" y="64"/>
                  </a:cubicBezTo>
                  <a:cubicBezTo>
                    <a:pt x="11" y="64"/>
                    <a:pt x="10" y="64"/>
                    <a:pt x="11" y="65"/>
                  </a:cubicBezTo>
                  <a:cubicBezTo>
                    <a:pt x="11" y="66"/>
                    <a:pt x="10" y="65"/>
                    <a:pt x="10" y="65"/>
                  </a:cubicBezTo>
                  <a:cubicBezTo>
                    <a:pt x="9" y="65"/>
                    <a:pt x="9" y="65"/>
                    <a:pt x="9" y="66"/>
                  </a:cubicBezTo>
                  <a:cubicBezTo>
                    <a:pt x="9" y="66"/>
                    <a:pt x="8" y="66"/>
                    <a:pt x="7" y="66"/>
                  </a:cubicBezTo>
                  <a:cubicBezTo>
                    <a:pt x="7" y="66"/>
                    <a:pt x="6" y="66"/>
                    <a:pt x="5" y="66"/>
                  </a:cubicBezTo>
                  <a:cubicBezTo>
                    <a:pt x="5" y="66"/>
                    <a:pt x="6" y="67"/>
                    <a:pt x="6" y="67"/>
                  </a:cubicBezTo>
                  <a:cubicBezTo>
                    <a:pt x="6" y="67"/>
                    <a:pt x="6" y="68"/>
                    <a:pt x="6" y="68"/>
                  </a:cubicBezTo>
                  <a:cubicBezTo>
                    <a:pt x="6" y="69"/>
                    <a:pt x="7" y="69"/>
                    <a:pt x="7" y="69"/>
                  </a:cubicBezTo>
                  <a:cubicBezTo>
                    <a:pt x="7" y="69"/>
                    <a:pt x="8" y="69"/>
                    <a:pt x="9" y="69"/>
                  </a:cubicBezTo>
                  <a:cubicBezTo>
                    <a:pt x="9" y="69"/>
                    <a:pt x="10" y="69"/>
                    <a:pt x="10" y="69"/>
                  </a:cubicBezTo>
                  <a:cubicBezTo>
                    <a:pt x="10" y="69"/>
                    <a:pt x="12" y="69"/>
                    <a:pt x="12" y="69"/>
                  </a:cubicBezTo>
                  <a:cubicBezTo>
                    <a:pt x="13" y="69"/>
                    <a:pt x="14" y="70"/>
                    <a:pt x="14" y="70"/>
                  </a:cubicBezTo>
                  <a:cubicBezTo>
                    <a:pt x="14" y="70"/>
                    <a:pt x="15" y="70"/>
                    <a:pt x="15" y="70"/>
                  </a:cubicBezTo>
                  <a:cubicBezTo>
                    <a:pt x="16" y="70"/>
                    <a:pt x="16" y="70"/>
                    <a:pt x="16" y="70"/>
                  </a:cubicBezTo>
                  <a:cubicBezTo>
                    <a:pt x="16" y="70"/>
                    <a:pt x="16" y="69"/>
                    <a:pt x="16" y="69"/>
                  </a:cubicBezTo>
                  <a:cubicBezTo>
                    <a:pt x="16" y="69"/>
                    <a:pt x="17" y="69"/>
                    <a:pt x="17" y="69"/>
                  </a:cubicBezTo>
                  <a:cubicBezTo>
                    <a:pt x="18" y="69"/>
                    <a:pt x="18" y="68"/>
                    <a:pt x="18" y="68"/>
                  </a:cubicBezTo>
                  <a:cubicBezTo>
                    <a:pt x="19" y="68"/>
                    <a:pt x="19" y="68"/>
                    <a:pt x="19" y="67"/>
                  </a:cubicBezTo>
                  <a:cubicBezTo>
                    <a:pt x="19" y="67"/>
                    <a:pt x="18" y="67"/>
                    <a:pt x="18" y="67"/>
                  </a:cubicBezTo>
                  <a:cubicBezTo>
                    <a:pt x="18" y="66"/>
                    <a:pt x="18" y="66"/>
                    <a:pt x="18" y="66"/>
                  </a:cubicBezTo>
                  <a:cubicBezTo>
                    <a:pt x="18" y="66"/>
                    <a:pt x="19" y="66"/>
                    <a:pt x="19" y="66"/>
                  </a:cubicBezTo>
                  <a:cubicBezTo>
                    <a:pt x="19" y="66"/>
                    <a:pt x="20" y="66"/>
                    <a:pt x="20" y="66"/>
                  </a:cubicBezTo>
                  <a:cubicBezTo>
                    <a:pt x="21" y="66"/>
                    <a:pt x="21" y="67"/>
                    <a:pt x="22" y="67"/>
                  </a:cubicBezTo>
                  <a:cubicBezTo>
                    <a:pt x="22" y="67"/>
                    <a:pt x="23" y="67"/>
                    <a:pt x="23" y="67"/>
                  </a:cubicBezTo>
                  <a:cubicBezTo>
                    <a:pt x="23" y="67"/>
                    <a:pt x="24" y="67"/>
                    <a:pt x="24" y="67"/>
                  </a:cubicBezTo>
                  <a:cubicBezTo>
                    <a:pt x="26" y="66"/>
                    <a:pt x="26" y="66"/>
                    <a:pt x="26" y="66"/>
                  </a:cubicBezTo>
                  <a:cubicBezTo>
                    <a:pt x="28" y="66"/>
                    <a:pt x="28" y="66"/>
                    <a:pt x="28" y="66"/>
                  </a:cubicBezTo>
                  <a:cubicBezTo>
                    <a:pt x="30" y="66"/>
                    <a:pt x="30" y="66"/>
                    <a:pt x="30" y="66"/>
                  </a:cubicBezTo>
                  <a:cubicBezTo>
                    <a:pt x="30" y="66"/>
                    <a:pt x="31" y="65"/>
                    <a:pt x="32" y="65"/>
                  </a:cubicBezTo>
                  <a:cubicBezTo>
                    <a:pt x="32" y="64"/>
                    <a:pt x="32" y="64"/>
                    <a:pt x="33" y="64"/>
                  </a:cubicBezTo>
                  <a:cubicBezTo>
                    <a:pt x="33" y="64"/>
                    <a:pt x="34" y="63"/>
                    <a:pt x="34" y="63"/>
                  </a:cubicBezTo>
                  <a:cubicBezTo>
                    <a:pt x="34" y="62"/>
                    <a:pt x="34" y="62"/>
                    <a:pt x="33" y="62"/>
                  </a:cubicBezTo>
                  <a:cubicBezTo>
                    <a:pt x="33" y="61"/>
                    <a:pt x="34" y="61"/>
                    <a:pt x="34" y="60"/>
                  </a:cubicBezTo>
                  <a:cubicBezTo>
                    <a:pt x="34" y="60"/>
                    <a:pt x="35" y="59"/>
                    <a:pt x="35" y="59"/>
                  </a:cubicBezTo>
                  <a:cubicBezTo>
                    <a:pt x="35" y="59"/>
                    <a:pt x="35" y="58"/>
                    <a:pt x="36" y="58"/>
                  </a:cubicBezTo>
                  <a:cubicBezTo>
                    <a:pt x="36" y="57"/>
                    <a:pt x="36" y="57"/>
                    <a:pt x="36" y="57"/>
                  </a:cubicBezTo>
                  <a:cubicBezTo>
                    <a:pt x="37" y="59"/>
                    <a:pt x="37" y="59"/>
                    <a:pt x="37" y="59"/>
                  </a:cubicBezTo>
                  <a:cubicBezTo>
                    <a:pt x="37" y="59"/>
                    <a:pt x="38" y="60"/>
                    <a:pt x="38" y="60"/>
                  </a:cubicBezTo>
                  <a:cubicBezTo>
                    <a:pt x="38" y="61"/>
                    <a:pt x="39" y="61"/>
                    <a:pt x="39" y="61"/>
                  </a:cubicBezTo>
                  <a:cubicBezTo>
                    <a:pt x="40" y="61"/>
                    <a:pt x="39" y="61"/>
                    <a:pt x="39" y="62"/>
                  </a:cubicBezTo>
                  <a:cubicBezTo>
                    <a:pt x="39" y="63"/>
                    <a:pt x="39" y="63"/>
                    <a:pt x="40" y="63"/>
                  </a:cubicBezTo>
                  <a:cubicBezTo>
                    <a:pt x="40" y="63"/>
                    <a:pt x="40" y="63"/>
                    <a:pt x="41" y="63"/>
                  </a:cubicBezTo>
                  <a:cubicBezTo>
                    <a:pt x="41" y="63"/>
                    <a:pt x="42" y="64"/>
                    <a:pt x="42" y="65"/>
                  </a:cubicBezTo>
                  <a:cubicBezTo>
                    <a:pt x="43" y="65"/>
                    <a:pt x="44" y="66"/>
                    <a:pt x="45" y="66"/>
                  </a:cubicBezTo>
                  <a:cubicBezTo>
                    <a:pt x="46" y="66"/>
                    <a:pt x="45" y="66"/>
                    <a:pt x="46" y="65"/>
                  </a:cubicBezTo>
                  <a:cubicBezTo>
                    <a:pt x="47" y="65"/>
                    <a:pt x="47" y="64"/>
                    <a:pt x="47" y="64"/>
                  </a:cubicBezTo>
                  <a:cubicBezTo>
                    <a:pt x="47" y="63"/>
                    <a:pt x="47" y="63"/>
                    <a:pt x="47" y="63"/>
                  </a:cubicBezTo>
                  <a:cubicBezTo>
                    <a:pt x="48" y="64"/>
                    <a:pt x="48" y="64"/>
                    <a:pt x="48" y="64"/>
                  </a:cubicBezTo>
                  <a:cubicBezTo>
                    <a:pt x="50" y="64"/>
                    <a:pt x="50" y="64"/>
                    <a:pt x="50" y="64"/>
                  </a:cubicBezTo>
                  <a:cubicBezTo>
                    <a:pt x="50" y="64"/>
                    <a:pt x="51" y="64"/>
                    <a:pt x="51" y="64"/>
                  </a:cubicBezTo>
                  <a:cubicBezTo>
                    <a:pt x="51" y="64"/>
                    <a:pt x="52" y="65"/>
                    <a:pt x="52" y="65"/>
                  </a:cubicBezTo>
                  <a:cubicBezTo>
                    <a:pt x="52" y="65"/>
                    <a:pt x="53" y="65"/>
                    <a:pt x="54" y="66"/>
                  </a:cubicBezTo>
                  <a:cubicBezTo>
                    <a:pt x="56" y="66"/>
                    <a:pt x="55" y="66"/>
                    <a:pt x="55" y="66"/>
                  </a:cubicBezTo>
                  <a:cubicBezTo>
                    <a:pt x="55" y="66"/>
                    <a:pt x="56" y="66"/>
                    <a:pt x="56" y="66"/>
                  </a:cubicBezTo>
                  <a:cubicBezTo>
                    <a:pt x="56" y="66"/>
                    <a:pt x="57" y="65"/>
                    <a:pt x="57" y="65"/>
                  </a:cubicBezTo>
                  <a:cubicBezTo>
                    <a:pt x="57" y="64"/>
                    <a:pt x="59" y="65"/>
                    <a:pt x="59" y="65"/>
                  </a:cubicBezTo>
                  <a:cubicBezTo>
                    <a:pt x="59" y="65"/>
                    <a:pt x="61" y="64"/>
                    <a:pt x="61" y="64"/>
                  </a:cubicBezTo>
                  <a:cubicBezTo>
                    <a:pt x="61" y="64"/>
                    <a:pt x="61" y="63"/>
                    <a:pt x="61" y="63"/>
                  </a:cubicBezTo>
                  <a:cubicBezTo>
                    <a:pt x="60" y="62"/>
                    <a:pt x="60" y="62"/>
                    <a:pt x="60" y="62"/>
                  </a:cubicBezTo>
                  <a:cubicBezTo>
                    <a:pt x="60" y="62"/>
                    <a:pt x="58" y="61"/>
                    <a:pt x="58" y="61"/>
                  </a:cubicBezTo>
                  <a:cubicBezTo>
                    <a:pt x="58" y="60"/>
                    <a:pt x="58" y="59"/>
                    <a:pt x="58" y="59"/>
                  </a:cubicBezTo>
                  <a:cubicBezTo>
                    <a:pt x="58" y="59"/>
                    <a:pt x="58" y="58"/>
                    <a:pt x="58" y="58"/>
                  </a:cubicBezTo>
                  <a:cubicBezTo>
                    <a:pt x="58" y="58"/>
                    <a:pt x="58" y="58"/>
                    <a:pt x="59" y="57"/>
                  </a:cubicBezTo>
                  <a:cubicBezTo>
                    <a:pt x="59" y="57"/>
                    <a:pt x="59" y="57"/>
                    <a:pt x="60" y="57"/>
                  </a:cubicBezTo>
                  <a:cubicBezTo>
                    <a:pt x="60" y="56"/>
                    <a:pt x="61" y="56"/>
                    <a:pt x="61" y="56"/>
                  </a:cubicBezTo>
                  <a:cubicBezTo>
                    <a:pt x="60" y="54"/>
                    <a:pt x="60" y="54"/>
                    <a:pt x="60" y="54"/>
                  </a:cubicBezTo>
                  <a:cubicBezTo>
                    <a:pt x="60" y="54"/>
                    <a:pt x="59" y="54"/>
                    <a:pt x="59" y="53"/>
                  </a:cubicBezTo>
                  <a:cubicBezTo>
                    <a:pt x="59" y="53"/>
                    <a:pt x="59" y="54"/>
                    <a:pt x="59" y="54"/>
                  </a:cubicBezTo>
                  <a:cubicBezTo>
                    <a:pt x="59" y="54"/>
                    <a:pt x="58" y="54"/>
                    <a:pt x="58" y="54"/>
                  </a:cubicBezTo>
                  <a:cubicBezTo>
                    <a:pt x="57" y="53"/>
                    <a:pt x="57" y="53"/>
                    <a:pt x="57" y="53"/>
                  </a:cubicBezTo>
                  <a:cubicBezTo>
                    <a:pt x="58" y="52"/>
                    <a:pt x="58" y="52"/>
                    <a:pt x="58" y="52"/>
                  </a:cubicBezTo>
                  <a:cubicBezTo>
                    <a:pt x="60" y="51"/>
                    <a:pt x="60" y="51"/>
                    <a:pt x="60" y="51"/>
                  </a:cubicBezTo>
                  <a:cubicBezTo>
                    <a:pt x="62" y="50"/>
                    <a:pt x="62" y="50"/>
                    <a:pt x="62" y="50"/>
                  </a:cubicBezTo>
                  <a:cubicBezTo>
                    <a:pt x="62" y="48"/>
                    <a:pt x="62" y="48"/>
                    <a:pt x="62" y="48"/>
                  </a:cubicBezTo>
                  <a:cubicBezTo>
                    <a:pt x="63" y="49"/>
                    <a:pt x="63" y="49"/>
                    <a:pt x="63" y="49"/>
                  </a:cubicBezTo>
                  <a:cubicBezTo>
                    <a:pt x="65" y="48"/>
                    <a:pt x="65" y="48"/>
                    <a:pt x="65" y="48"/>
                  </a:cubicBezTo>
                  <a:cubicBezTo>
                    <a:pt x="65" y="48"/>
                    <a:pt x="66" y="48"/>
                    <a:pt x="66" y="48"/>
                  </a:cubicBezTo>
                  <a:cubicBezTo>
                    <a:pt x="66" y="48"/>
                    <a:pt x="67" y="48"/>
                    <a:pt x="68" y="48"/>
                  </a:cubicBezTo>
                  <a:cubicBezTo>
                    <a:pt x="68" y="48"/>
                    <a:pt x="69" y="47"/>
                    <a:pt x="69" y="47"/>
                  </a:cubicBezTo>
                  <a:cubicBezTo>
                    <a:pt x="70" y="46"/>
                    <a:pt x="69" y="46"/>
                    <a:pt x="69" y="46"/>
                  </a:cubicBezTo>
                  <a:cubicBezTo>
                    <a:pt x="68" y="44"/>
                    <a:pt x="68" y="44"/>
                    <a:pt x="68" y="44"/>
                  </a:cubicBezTo>
                  <a:cubicBezTo>
                    <a:pt x="69" y="43"/>
                    <a:pt x="69" y="43"/>
                    <a:pt x="69" y="43"/>
                  </a:cubicBezTo>
                  <a:cubicBezTo>
                    <a:pt x="68" y="41"/>
                    <a:pt x="68" y="41"/>
                    <a:pt x="68" y="41"/>
                  </a:cubicBezTo>
                  <a:cubicBezTo>
                    <a:pt x="68" y="41"/>
                    <a:pt x="69" y="39"/>
                    <a:pt x="69" y="39"/>
                  </a:cubicBezTo>
                  <a:cubicBezTo>
                    <a:pt x="69" y="39"/>
                    <a:pt x="69" y="38"/>
                    <a:pt x="69" y="38"/>
                  </a:cubicBezTo>
                  <a:cubicBezTo>
                    <a:pt x="68" y="37"/>
                    <a:pt x="68" y="37"/>
                    <a:pt x="68" y="37"/>
                  </a:cubicBezTo>
                  <a:cubicBezTo>
                    <a:pt x="68" y="37"/>
                    <a:pt x="67" y="37"/>
                    <a:pt x="67" y="36"/>
                  </a:cubicBezTo>
                  <a:cubicBezTo>
                    <a:pt x="67" y="36"/>
                    <a:pt x="65" y="35"/>
                    <a:pt x="65" y="35"/>
                  </a:cubicBezTo>
                  <a:cubicBezTo>
                    <a:pt x="65" y="35"/>
                    <a:pt x="65" y="33"/>
                    <a:pt x="65" y="33"/>
                  </a:cubicBezTo>
                  <a:cubicBezTo>
                    <a:pt x="65" y="33"/>
                    <a:pt x="66" y="32"/>
                    <a:pt x="66" y="32"/>
                  </a:cubicBezTo>
                  <a:cubicBezTo>
                    <a:pt x="66" y="30"/>
                    <a:pt x="66" y="30"/>
                    <a:pt x="66" y="30"/>
                  </a:cubicBezTo>
                  <a:cubicBezTo>
                    <a:pt x="66" y="30"/>
                    <a:pt x="68" y="30"/>
                    <a:pt x="68" y="30"/>
                  </a:cubicBezTo>
                  <a:cubicBezTo>
                    <a:pt x="68" y="30"/>
                    <a:pt x="70" y="30"/>
                    <a:pt x="70" y="30"/>
                  </a:cubicBezTo>
                  <a:cubicBezTo>
                    <a:pt x="70" y="29"/>
                    <a:pt x="70" y="29"/>
                    <a:pt x="70" y="29"/>
                  </a:cubicBezTo>
                  <a:cubicBezTo>
                    <a:pt x="72" y="27"/>
                    <a:pt x="72" y="27"/>
                    <a:pt x="72" y="27"/>
                  </a:cubicBezTo>
                  <a:cubicBezTo>
                    <a:pt x="74" y="27"/>
                    <a:pt x="74" y="27"/>
                    <a:pt x="74" y="27"/>
                  </a:cubicBezTo>
                  <a:cubicBezTo>
                    <a:pt x="75" y="26"/>
                    <a:pt x="75" y="26"/>
                    <a:pt x="75" y="26"/>
                  </a:cubicBezTo>
                  <a:cubicBezTo>
                    <a:pt x="76" y="26"/>
                    <a:pt x="76" y="26"/>
                    <a:pt x="76" y="26"/>
                  </a:cubicBezTo>
                  <a:cubicBezTo>
                    <a:pt x="78" y="25"/>
                    <a:pt x="78" y="25"/>
                    <a:pt x="78" y="25"/>
                  </a:cubicBezTo>
                  <a:cubicBezTo>
                    <a:pt x="79" y="24"/>
                    <a:pt x="79" y="24"/>
                    <a:pt x="79" y="24"/>
                  </a:cubicBezTo>
                  <a:cubicBezTo>
                    <a:pt x="79" y="24"/>
                    <a:pt x="79" y="22"/>
                    <a:pt x="79" y="22"/>
                  </a:cubicBezTo>
                  <a:cubicBezTo>
                    <a:pt x="79" y="22"/>
                    <a:pt x="79" y="22"/>
                    <a:pt x="79" y="22"/>
                  </a:cubicBezTo>
                  <a:cubicBezTo>
                    <a:pt x="80" y="21"/>
                    <a:pt x="80" y="21"/>
                    <a:pt x="80" y="21"/>
                  </a:cubicBezTo>
                  <a:cubicBezTo>
                    <a:pt x="81" y="20"/>
                    <a:pt x="81" y="20"/>
                    <a:pt x="81" y="20"/>
                  </a:cubicBezTo>
                  <a:cubicBezTo>
                    <a:pt x="82" y="21"/>
                    <a:pt x="82" y="21"/>
                    <a:pt x="82" y="21"/>
                  </a:cubicBezTo>
                  <a:cubicBezTo>
                    <a:pt x="86" y="22"/>
                    <a:pt x="86" y="22"/>
                    <a:pt x="84" y="18"/>
                  </a:cubicBezTo>
                  <a:cubicBezTo>
                    <a:pt x="84" y="17"/>
                    <a:pt x="84" y="17"/>
                    <a:pt x="84" y="17"/>
                  </a:cubicBezTo>
                  <a:cubicBezTo>
                    <a:pt x="85" y="17"/>
                    <a:pt x="85" y="17"/>
                    <a:pt x="85" y="17"/>
                  </a:cubicBezTo>
                  <a:cubicBezTo>
                    <a:pt x="85" y="17"/>
                    <a:pt x="85" y="16"/>
                    <a:pt x="85" y="16"/>
                  </a:cubicBezTo>
                  <a:cubicBezTo>
                    <a:pt x="86" y="15"/>
                    <a:pt x="87" y="15"/>
                    <a:pt x="87" y="15"/>
                  </a:cubicBezTo>
                  <a:cubicBezTo>
                    <a:pt x="87" y="15"/>
                    <a:pt x="89" y="15"/>
                    <a:pt x="89" y="15"/>
                  </a:cubicBezTo>
                  <a:cubicBezTo>
                    <a:pt x="89" y="15"/>
                    <a:pt x="90" y="15"/>
                    <a:pt x="91" y="15"/>
                  </a:cubicBezTo>
                  <a:cubicBezTo>
                    <a:pt x="86" y="9"/>
                    <a:pt x="86" y="9"/>
                    <a:pt x="86" y="9"/>
                  </a:cubicBezTo>
                  <a:lnTo>
                    <a:pt x="86" y="7"/>
                  </a:ln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5" name="Freeform 129"/>
            <p:cNvSpPr>
              <a:spLocks/>
            </p:cNvSpPr>
            <p:nvPr/>
          </p:nvSpPr>
          <p:spPr bwMode="auto">
            <a:xfrm>
              <a:off x="5397004" y="4352222"/>
              <a:ext cx="641201" cy="311806"/>
            </a:xfrm>
            <a:custGeom>
              <a:avLst/>
              <a:gdLst>
                <a:gd name="T0" fmla="*/ 219 w 221"/>
                <a:gd name="T1" fmla="*/ 34 h 114"/>
                <a:gd name="T2" fmla="*/ 214 w 221"/>
                <a:gd name="T3" fmla="*/ 29 h 114"/>
                <a:gd name="T4" fmla="*/ 211 w 221"/>
                <a:gd name="T5" fmla="*/ 22 h 114"/>
                <a:gd name="T6" fmla="*/ 213 w 221"/>
                <a:gd name="T7" fmla="*/ 14 h 114"/>
                <a:gd name="T8" fmla="*/ 201 w 221"/>
                <a:gd name="T9" fmla="*/ 6 h 114"/>
                <a:gd name="T10" fmla="*/ 178 w 221"/>
                <a:gd name="T11" fmla="*/ 5 h 114"/>
                <a:gd name="T12" fmla="*/ 162 w 221"/>
                <a:gd name="T13" fmla="*/ 3 h 114"/>
                <a:gd name="T14" fmla="*/ 153 w 221"/>
                <a:gd name="T15" fmla="*/ 11 h 114"/>
                <a:gd name="T16" fmla="*/ 140 w 221"/>
                <a:gd name="T17" fmla="*/ 18 h 114"/>
                <a:gd name="T18" fmla="*/ 125 w 221"/>
                <a:gd name="T19" fmla="*/ 16 h 114"/>
                <a:gd name="T20" fmla="*/ 123 w 221"/>
                <a:gd name="T21" fmla="*/ 23 h 114"/>
                <a:gd name="T22" fmla="*/ 115 w 221"/>
                <a:gd name="T23" fmla="*/ 25 h 114"/>
                <a:gd name="T24" fmla="*/ 108 w 221"/>
                <a:gd name="T25" fmla="*/ 36 h 114"/>
                <a:gd name="T26" fmla="*/ 102 w 221"/>
                <a:gd name="T27" fmla="*/ 39 h 114"/>
                <a:gd name="T28" fmla="*/ 94 w 221"/>
                <a:gd name="T29" fmla="*/ 44 h 114"/>
                <a:gd name="T30" fmla="*/ 99 w 221"/>
                <a:gd name="T31" fmla="*/ 59 h 114"/>
                <a:gd name="T32" fmla="*/ 105 w 221"/>
                <a:gd name="T33" fmla="*/ 61 h 114"/>
                <a:gd name="T34" fmla="*/ 102 w 221"/>
                <a:gd name="T35" fmla="*/ 74 h 114"/>
                <a:gd name="T36" fmla="*/ 93 w 221"/>
                <a:gd name="T37" fmla="*/ 65 h 114"/>
                <a:gd name="T38" fmla="*/ 87 w 221"/>
                <a:gd name="T39" fmla="*/ 67 h 114"/>
                <a:gd name="T40" fmla="*/ 79 w 221"/>
                <a:gd name="T41" fmla="*/ 64 h 114"/>
                <a:gd name="T42" fmla="*/ 76 w 221"/>
                <a:gd name="T43" fmla="*/ 69 h 114"/>
                <a:gd name="T44" fmla="*/ 65 w 221"/>
                <a:gd name="T45" fmla="*/ 71 h 114"/>
                <a:gd name="T46" fmla="*/ 55 w 221"/>
                <a:gd name="T47" fmla="*/ 74 h 114"/>
                <a:gd name="T48" fmla="*/ 47 w 221"/>
                <a:gd name="T49" fmla="*/ 77 h 114"/>
                <a:gd name="T50" fmla="*/ 41 w 221"/>
                <a:gd name="T51" fmla="*/ 79 h 114"/>
                <a:gd name="T52" fmla="*/ 34 w 221"/>
                <a:gd name="T53" fmla="*/ 73 h 114"/>
                <a:gd name="T54" fmla="*/ 27 w 221"/>
                <a:gd name="T55" fmla="*/ 73 h 114"/>
                <a:gd name="T56" fmla="*/ 27 w 221"/>
                <a:gd name="T57" fmla="*/ 77 h 114"/>
                <a:gd name="T58" fmla="*/ 24 w 221"/>
                <a:gd name="T59" fmla="*/ 83 h 114"/>
                <a:gd name="T60" fmla="*/ 15 w 221"/>
                <a:gd name="T61" fmla="*/ 81 h 114"/>
                <a:gd name="T62" fmla="*/ 9 w 221"/>
                <a:gd name="T63" fmla="*/ 73 h 114"/>
                <a:gd name="T64" fmla="*/ 5 w 221"/>
                <a:gd name="T65" fmla="*/ 75 h 114"/>
                <a:gd name="T66" fmla="*/ 2 w 221"/>
                <a:gd name="T67" fmla="*/ 82 h 114"/>
                <a:gd name="T68" fmla="*/ 0 w 221"/>
                <a:gd name="T69" fmla="*/ 87 h 114"/>
                <a:gd name="T70" fmla="*/ 1 w 221"/>
                <a:gd name="T71" fmla="*/ 90 h 114"/>
                <a:gd name="T72" fmla="*/ 12 w 221"/>
                <a:gd name="T73" fmla="*/ 96 h 114"/>
                <a:gd name="T74" fmla="*/ 17 w 221"/>
                <a:gd name="T75" fmla="*/ 98 h 114"/>
                <a:gd name="T76" fmla="*/ 22 w 221"/>
                <a:gd name="T77" fmla="*/ 95 h 114"/>
                <a:gd name="T78" fmla="*/ 23 w 221"/>
                <a:gd name="T79" fmla="*/ 93 h 114"/>
                <a:gd name="T80" fmla="*/ 29 w 221"/>
                <a:gd name="T81" fmla="*/ 94 h 114"/>
                <a:gd name="T82" fmla="*/ 32 w 221"/>
                <a:gd name="T83" fmla="*/ 100 h 114"/>
                <a:gd name="T84" fmla="*/ 43 w 221"/>
                <a:gd name="T85" fmla="*/ 96 h 114"/>
                <a:gd name="T86" fmla="*/ 65 w 221"/>
                <a:gd name="T87" fmla="*/ 90 h 114"/>
                <a:gd name="T88" fmla="*/ 80 w 221"/>
                <a:gd name="T89" fmla="*/ 93 h 114"/>
                <a:gd name="T90" fmla="*/ 86 w 221"/>
                <a:gd name="T91" fmla="*/ 104 h 114"/>
                <a:gd name="T92" fmla="*/ 121 w 221"/>
                <a:gd name="T93" fmla="*/ 109 h 114"/>
                <a:gd name="T94" fmla="*/ 149 w 221"/>
                <a:gd name="T95" fmla="*/ 114 h 114"/>
                <a:gd name="T96" fmla="*/ 158 w 221"/>
                <a:gd name="T97" fmla="*/ 108 h 114"/>
                <a:gd name="T98" fmla="*/ 177 w 221"/>
                <a:gd name="T99" fmla="*/ 103 h 114"/>
                <a:gd name="T100" fmla="*/ 192 w 221"/>
                <a:gd name="T101" fmla="*/ 96 h 114"/>
                <a:gd name="T102" fmla="*/ 204 w 221"/>
                <a:gd name="T103" fmla="*/ 80 h 114"/>
                <a:gd name="T104" fmla="*/ 206 w 221"/>
                <a:gd name="T105" fmla="*/ 66 h 114"/>
                <a:gd name="T106" fmla="*/ 204 w 221"/>
                <a:gd name="T107" fmla="*/ 53 h 114"/>
                <a:gd name="T108" fmla="*/ 219 w 221"/>
                <a:gd name="T109" fmla="*/ 5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1" h="114">
                  <a:moveTo>
                    <a:pt x="219" y="49"/>
                  </a:moveTo>
                  <a:cubicBezTo>
                    <a:pt x="219" y="47"/>
                    <a:pt x="219" y="45"/>
                    <a:pt x="219" y="45"/>
                  </a:cubicBezTo>
                  <a:cubicBezTo>
                    <a:pt x="219" y="41"/>
                    <a:pt x="219" y="41"/>
                    <a:pt x="219" y="41"/>
                  </a:cubicBezTo>
                  <a:cubicBezTo>
                    <a:pt x="219" y="41"/>
                    <a:pt x="219" y="35"/>
                    <a:pt x="219" y="35"/>
                  </a:cubicBezTo>
                  <a:cubicBezTo>
                    <a:pt x="219" y="35"/>
                    <a:pt x="219" y="35"/>
                    <a:pt x="219" y="34"/>
                  </a:cubicBezTo>
                  <a:cubicBezTo>
                    <a:pt x="218" y="34"/>
                    <a:pt x="217" y="34"/>
                    <a:pt x="217" y="34"/>
                  </a:cubicBezTo>
                  <a:cubicBezTo>
                    <a:pt x="217" y="34"/>
                    <a:pt x="215" y="33"/>
                    <a:pt x="215" y="33"/>
                  </a:cubicBezTo>
                  <a:cubicBezTo>
                    <a:pt x="215" y="33"/>
                    <a:pt x="215" y="32"/>
                    <a:pt x="215" y="31"/>
                  </a:cubicBezTo>
                  <a:cubicBezTo>
                    <a:pt x="214" y="30"/>
                    <a:pt x="214" y="29"/>
                    <a:pt x="214" y="29"/>
                  </a:cubicBezTo>
                  <a:cubicBezTo>
                    <a:pt x="214" y="29"/>
                    <a:pt x="214" y="29"/>
                    <a:pt x="214" y="29"/>
                  </a:cubicBezTo>
                  <a:cubicBezTo>
                    <a:pt x="213" y="29"/>
                    <a:pt x="212" y="28"/>
                    <a:pt x="212" y="28"/>
                  </a:cubicBezTo>
                  <a:cubicBezTo>
                    <a:pt x="212" y="28"/>
                    <a:pt x="213" y="26"/>
                    <a:pt x="212" y="26"/>
                  </a:cubicBezTo>
                  <a:cubicBezTo>
                    <a:pt x="212" y="26"/>
                    <a:pt x="211" y="26"/>
                    <a:pt x="211" y="26"/>
                  </a:cubicBezTo>
                  <a:cubicBezTo>
                    <a:pt x="211" y="26"/>
                    <a:pt x="211" y="23"/>
                    <a:pt x="211" y="23"/>
                  </a:cubicBezTo>
                  <a:cubicBezTo>
                    <a:pt x="211" y="22"/>
                    <a:pt x="211" y="22"/>
                    <a:pt x="211" y="22"/>
                  </a:cubicBezTo>
                  <a:cubicBezTo>
                    <a:pt x="212" y="20"/>
                    <a:pt x="212" y="20"/>
                    <a:pt x="212" y="20"/>
                  </a:cubicBezTo>
                  <a:cubicBezTo>
                    <a:pt x="212" y="20"/>
                    <a:pt x="212" y="19"/>
                    <a:pt x="212" y="19"/>
                  </a:cubicBezTo>
                  <a:cubicBezTo>
                    <a:pt x="212" y="18"/>
                    <a:pt x="213" y="17"/>
                    <a:pt x="213" y="17"/>
                  </a:cubicBezTo>
                  <a:cubicBezTo>
                    <a:pt x="212" y="16"/>
                    <a:pt x="212" y="16"/>
                    <a:pt x="212" y="16"/>
                  </a:cubicBezTo>
                  <a:cubicBezTo>
                    <a:pt x="213" y="14"/>
                    <a:pt x="213" y="14"/>
                    <a:pt x="213" y="14"/>
                  </a:cubicBezTo>
                  <a:cubicBezTo>
                    <a:pt x="213" y="14"/>
                    <a:pt x="213" y="14"/>
                    <a:pt x="213" y="14"/>
                  </a:cubicBezTo>
                  <a:cubicBezTo>
                    <a:pt x="212" y="13"/>
                    <a:pt x="212" y="13"/>
                    <a:pt x="212" y="13"/>
                  </a:cubicBezTo>
                  <a:cubicBezTo>
                    <a:pt x="210" y="8"/>
                    <a:pt x="210" y="8"/>
                    <a:pt x="210" y="8"/>
                  </a:cubicBezTo>
                  <a:cubicBezTo>
                    <a:pt x="210" y="8"/>
                    <a:pt x="207" y="9"/>
                    <a:pt x="205" y="9"/>
                  </a:cubicBezTo>
                  <a:cubicBezTo>
                    <a:pt x="203" y="8"/>
                    <a:pt x="201" y="6"/>
                    <a:pt x="201" y="6"/>
                  </a:cubicBezTo>
                  <a:cubicBezTo>
                    <a:pt x="200" y="6"/>
                    <a:pt x="197" y="6"/>
                    <a:pt x="197" y="6"/>
                  </a:cubicBezTo>
                  <a:cubicBezTo>
                    <a:pt x="196" y="9"/>
                    <a:pt x="196" y="9"/>
                    <a:pt x="196" y="9"/>
                  </a:cubicBezTo>
                  <a:cubicBezTo>
                    <a:pt x="187" y="9"/>
                    <a:pt x="187" y="9"/>
                    <a:pt x="187" y="9"/>
                  </a:cubicBezTo>
                  <a:cubicBezTo>
                    <a:pt x="184" y="7"/>
                    <a:pt x="184" y="7"/>
                    <a:pt x="184" y="7"/>
                  </a:cubicBezTo>
                  <a:cubicBezTo>
                    <a:pt x="178" y="5"/>
                    <a:pt x="178" y="5"/>
                    <a:pt x="178" y="5"/>
                  </a:cubicBezTo>
                  <a:cubicBezTo>
                    <a:pt x="177" y="4"/>
                    <a:pt x="177" y="4"/>
                    <a:pt x="177" y="4"/>
                  </a:cubicBezTo>
                  <a:cubicBezTo>
                    <a:pt x="177" y="4"/>
                    <a:pt x="174" y="4"/>
                    <a:pt x="173" y="4"/>
                  </a:cubicBezTo>
                  <a:cubicBezTo>
                    <a:pt x="172" y="4"/>
                    <a:pt x="169" y="4"/>
                    <a:pt x="169" y="4"/>
                  </a:cubicBezTo>
                  <a:cubicBezTo>
                    <a:pt x="169" y="4"/>
                    <a:pt x="166" y="2"/>
                    <a:pt x="165" y="2"/>
                  </a:cubicBezTo>
                  <a:cubicBezTo>
                    <a:pt x="164" y="2"/>
                    <a:pt x="162" y="3"/>
                    <a:pt x="162" y="3"/>
                  </a:cubicBezTo>
                  <a:cubicBezTo>
                    <a:pt x="159" y="2"/>
                    <a:pt x="159" y="2"/>
                    <a:pt x="159" y="2"/>
                  </a:cubicBezTo>
                  <a:cubicBezTo>
                    <a:pt x="159" y="2"/>
                    <a:pt x="156" y="0"/>
                    <a:pt x="155" y="1"/>
                  </a:cubicBezTo>
                  <a:cubicBezTo>
                    <a:pt x="153" y="1"/>
                    <a:pt x="154" y="3"/>
                    <a:pt x="154" y="3"/>
                  </a:cubicBezTo>
                  <a:cubicBezTo>
                    <a:pt x="154" y="3"/>
                    <a:pt x="154" y="7"/>
                    <a:pt x="154" y="8"/>
                  </a:cubicBezTo>
                  <a:cubicBezTo>
                    <a:pt x="154" y="9"/>
                    <a:pt x="153" y="11"/>
                    <a:pt x="153" y="11"/>
                  </a:cubicBezTo>
                  <a:cubicBezTo>
                    <a:pt x="150" y="12"/>
                    <a:pt x="150" y="12"/>
                    <a:pt x="150" y="12"/>
                  </a:cubicBezTo>
                  <a:cubicBezTo>
                    <a:pt x="150" y="12"/>
                    <a:pt x="149" y="15"/>
                    <a:pt x="148" y="15"/>
                  </a:cubicBezTo>
                  <a:cubicBezTo>
                    <a:pt x="147" y="15"/>
                    <a:pt x="147" y="19"/>
                    <a:pt x="147" y="19"/>
                  </a:cubicBezTo>
                  <a:cubicBezTo>
                    <a:pt x="144" y="20"/>
                    <a:pt x="144" y="20"/>
                    <a:pt x="144" y="20"/>
                  </a:cubicBezTo>
                  <a:cubicBezTo>
                    <a:pt x="140" y="18"/>
                    <a:pt x="140" y="18"/>
                    <a:pt x="140" y="18"/>
                  </a:cubicBezTo>
                  <a:cubicBezTo>
                    <a:pt x="138" y="19"/>
                    <a:pt x="138" y="19"/>
                    <a:pt x="138" y="19"/>
                  </a:cubicBezTo>
                  <a:cubicBezTo>
                    <a:pt x="138" y="21"/>
                    <a:pt x="138" y="21"/>
                    <a:pt x="138" y="21"/>
                  </a:cubicBezTo>
                  <a:cubicBezTo>
                    <a:pt x="138" y="21"/>
                    <a:pt x="133" y="21"/>
                    <a:pt x="133" y="21"/>
                  </a:cubicBezTo>
                  <a:cubicBezTo>
                    <a:pt x="133" y="21"/>
                    <a:pt x="129" y="19"/>
                    <a:pt x="129" y="19"/>
                  </a:cubicBezTo>
                  <a:cubicBezTo>
                    <a:pt x="129" y="19"/>
                    <a:pt x="126" y="17"/>
                    <a:pt x="125" y="16"/>
                  </a:cubicBezTo>
                  <a:cubicBezTo>
                    <a:pt x="125" y="16"/>
                    <a:pt x="123" y="15"/>
                    <a:pt x="122" y="14"/>
                  </a:cubicBezTo>
                  <a:cubicBezTo>
                    <a:pt x="122" y="15"/>
                    <a:pt x="122" y="15"/>
                    <a:pt x="122" y="15"/>
                  </a:cubicBezTo>
                  <a:cubicBezTo>
                    <a:pt x="123" y="19"/>
                    <a:pt x="123" y="19"/>
                    <a:pt x="123" y="19"/>
                  </a:cubicBezTo>
                  <a:cubicBezTo>
                    <a:pt x="123" y="22"/>
                    <a:pt x="123" y="22"/>
                    <a:pt x="123" y="22"/>
                  </a:cubicBezTo>
                  <a:cubicBezTo>
                    <a:pt x="123" y="23"/>
                    <a:pt x="123" y="23"/>
                    <a:pt x="123" y="23"/>
                  </a:cubicBezTo>
                  <a:cubicBezTo>
                    <a:pt x="122" y="24"/>
                    <a:pt x="121" y="25"/>
                    <a:pt x="121" y="25"/>
                  </a:cubicBezTo>
                  <a:cubicBezTo>
                    <a:pt x="120" y="25"/>
                    <a:pt x="119" y="26"/>
                    <a:pt x="118" y="26"/>
                  </a:cubicBezTo>
                  <a:cubicBezTo>
                    <a:pt x="117" y="27"/>
                    <a:pt x="117" y="27"/>
                    <a:pt x="117" y="27"/>
                  </a:cubicBezTo>
                  <a:cubicBezTo>
                    <a:pt x="116" y="26"/>
                    <a:pt x="116" y="26"/>
                    <a:pt x="116" y="26"/>
                  </a:cubicBezTo>
                  <a:cubicBezTo>
                    <a:pt x="116" y="26"/>
                    <a:pt x="115" y="25"/>
                    <a:pt x="115" y="25"/>
                  </a:cubicBezTo>
                  <a:cubicBezTo>
                    <a:pt x="113" y="25"/>
                    <a:pt x="113" y="25"/>
                    <a:pt x="113" y="25"/>
                  </a:cubicBezTo>
                  <a:cubicBezTo>
                    <a:pt x="113" y="25"/>
                    <a:pt x="113" y="26"/>
                    <a:pt x="113" y="26"/>
                  </a:cubicBezTo>
                  <a:cubicBezTo>
                    <a:pt x="112" y="27"/>
                    <a:pt x="112" y="27"/>
                    <a:pt x="112" y="27"/>
                  </a:cubicBezTo>
                  <a:cubicBezTo>
                    <a:pt x="113" y="32"/>
                    <a:pt x="113" y="32"/>
                    <a:pt x="113" y="32"/>
                  </a:cubicBezTo>
                  <a:cubicBezTo>
                    <a:pt x="108" y="36"/>
                    <a:pt x="108" y="36"/>
                    <a:pt x="108" y="36"/>
                  </a:cubicBezTo>
                  <a:cubicBezTo>
                    <a:pt x="108" y="36"/>
                    <a:pt x="108" y="37"/>
                    <a:pt x="107" y="37"/>
                  </a:cubicBezTo>
                  <a:cubicBezTo>
                    <a:pt x="107" y="37"/>
                    <a:pt x="107" y="37"/>
                    <a:pt x="107" y="37"/>
                  </a:cubicBezTo>
                  <a:cubicBezTo>
                    <a:pt x="106" y="37"/>
                    <a:pt x="106" y="37"/>
                    <a:pt x="106" y="37"/>
                  </a:cubicBezTo>
                  <a:cubicBezTo>
                    <a:pt x="106" y="37"/>
                    <a:pt x="105" y="37"/>
                    <a:pt x="105" y="37"/>
                  </a:cubicBezTo>
                  <a:cubicBezTo>
                    <a:pt x="105" y="37"/>
                    <a:pt x="103" y="38"/>
                    <a:pt x="102" y="39"/>
                  </a:cubicBezTo>
                  <a:cubicBezTo>
                    <a:pt x="100" y="41"/>
                    <a:pt x="100" y="41"/>
                    <a:pt x="100" y="41"/>
                  </a:cubicBezTo>
                  <a:cubicBezTo>
                    <a:pt x="99" y="41"/>
                    <a:pt x="99" y="41"/>
                    <a:pt x="99" y="41"/>
                  </a:cubicBezTo>
                  <a:cubicBezTo>
                    <a:pt x="99" y="41"/>
                    <a:pt x="99" y="41"/>
                    <a:pt x="99" y="41"/>
                  </a:cubicBezTo>
                  <a:cubicBezTo>
                    <a:pt x="99" y="41"/>
                    <a:pt x="98" y="42"/>
                    <a:pt x="95" y="44"/>
                  </a:cubicBezTo>
                  <a:cubicBezTo>
                    <a:pt x="94" y="44"/>
                    <a:pt x="94" y="44"/>
                    <a:pt x="94" y="44"/>
                  </a:cubicBezTo>
                  <a:cubicBezTo>
                    <a:pt x="95" y="46"/>
                    <a:pt x="95" y="46"/>
                    <a:pt x="95" y="46"/>
                  </a:cubicBezTo>
                  <a:cubicBezTo>
                    <a:pt x="98" y="49"/>
                    <a:pt x="98" y="49"/>
                    <a:pt x="98" y="49"/>
                  </a:cubicBezTo>
                  <a:cubicBezTo>
                    <a:pt x="100" y="53"/>
                    <a:pt x="100" y="53"/>
                    <a:pt x="100" y="53"/>
                  </a:cubicBezTo>
                  <a:cubicBezTo>
                    <a:pt x="101" y="57"/>
                    <a:pt x="101" y="57"/>
                    <a:pt x="101" y="57"/>
                  </a:cubicBezTo>
                  <a:cubicBezTo>
                    <a:pt x="101" y="57"/>
                    <a:pt x="99" y="58"/>
                    <a:pt x="99" y="59"/>
                  </a:cubicBezTo>
                  <a:cubicBezTo>
                    <a:pt x="100" y="59"/>
                    <a:pt x="100" y="59"/>
                    <a:pt x="101" y="59"/>
                  </a:cubicBezTo>
                  <a:cubicBezTo>
                    <a:pt x="102" y="59"/>
                    <a:pt x="102" y="59"/>
                    <a:pt x="102" y="59"/>
                  </a:cubicBezTo>
                  <a:cubicBezTo>
                    <a:pt x="102" y="59"/>
                    <a:pt x="102" y="59"/>
                    <a:pt x="102" y="59"/>
                  </a:cubicBezTo>
                  <a:cubicBezTo>
                    <a:pt x="104" y="60"/>
                    <a:pt x="104" y="61"/>
                    <a:pt x="104" y="61"/>
                  </a:cubicBezTo>
                  <a:cubicBezTo>
                    <a:pt x="105" y="61"/>
                    <a:pt x="105" y="61"/>
                    <a:pt x="105" y="61"/>
                  </a:cubicBezTo>
                  <a:cubicBezTo>
                    <a:pt x="104" y="65"/>
                    <a:pt x="104" y="65"/>
                    <a:pt x="104" y="65"/>
                  </a:cubicBezTo>
                  <a:cubicBezTo>
                    <a:pt x="104" y="65"/>
                    <a:pt x="104" y="67"/>
                    <a:pt x="104" y="69"/>
                  </a:cubicBezTo>
                  <a:cubicBezTo>
                    <a:pt x="105" y="71"/>
                    <a:pt x="104" y="72"/>
                    <a:pt x="104" y="73"/>
                  </a:cubicBezTo>
                  <a:cubicBezTo>
                    <a:pt x="103" y="74"/>
                    <a:pt x="103" y="74"/>
                    <a:pt x="103" y="74"/>
                  </a:cubicBezTo>
                  <a:cubicBezTo>
                    <a:pt x="102" y="74"/>
                    <a:pt x="102" y="74"/>
                    <a:pt x="102" y="74"/>
                  </a:cubicBezTo>
                  <a:cubicBezTo>
                    <a:pt x="101" y="74"/>
                    <a:pt x="101" y="74"/>
                    <a:pt x="100" y="73"/>
                  </a:cubicBezTo>
                  <a:cubicBezTo>
                    <a:pt x="96" y="72"/>
                    <a:pt x="96" y="72"/>
                    <a:pt x="96" y="72"/>
                  </a:cubicBezTo>
                  <a:cubicBezTo>
                    <a:pt x="95" y="71"/>
                    <a:pt x="94" y="70"/>
                    <a:pt x="94" y="70"/>
                  </a:cubicBezTo>
                  <a:cubicBezTo>
                    <a:pt x="93" y="69"/>
                    <a:pt x="92" y="67"/>
                    <a:pt x="93" y="65"/>
                  </a:cubicBezTo>
                  <a:cubicBezTo>
                    <a:pt x="93" y="65"/>
                    <a:pt x="93" y="65"/>
                    <a:pt x="93" y="65"/>
                  </a:cubicBezTo>
                  <a:cubicBezTo>
                    <a:pt x="93" y="65"/>
                    <a:pt x="92" y="65"/>
                    <a:pt x="92" y="65"/>
                  </a:cubicBezTo>
                  <a:cubicBezTo>
                    <a:pt x="92" y="65"/>
                    <a:pt x="92" y="65"/>
                    <a:pt x="92" y="65"/>
                  </a:cubicBezTo>
                  <a:cubicBezTo>
                    <a:pt x="91" y="65"/>
                    <a:pt x="91" y="65"/>
                    <a:pt x="90" y="65"/>
                  </a:cubicBezTo>
                  <a:cubicBezTo>
                    <a:pt x="90" y="65"/>
                    <a:pt x="89" y="66"/>
                    <a:pt x="89" y="66"/>
                  </a:cubicBezTo>
                  <a:cubicBezTo>
                    <a:pt x="89" y="67"/>
                    <a:pt x="88" y="67"/>
                    <a:pt x="87" y="67"/>
                  </a:cubicBezTo>
                  <a:cubicBezTo>
                    <a:pt x="86" y="67"/>
                    <a:pt x="86" y="67"/>
                    <a:pt x="85" y="67"/>
                  </a:cubicBezTo>
                  <a:cubicBezTo>
                    <a:pt x="84" y="66"/>
                    <a:pt x="83" y="66"/>
                    <a:pt x="83" y="65"/>
                  </a:cubicBezTo>
                  <a:cubicBezTo>
                    <a:pt x="83" y="65"/>
                    <a:pt x="82" y="65"/>
                    <a:pt x="82" y="65"/>
                  </a:cubicBezTo>
                  <a:cubicBezTo>
                    <a:pt x="81" y="64"/>
                    <a:pt x="80" y="64"/>
                    <a:pt x="80" y="64"/>
                  </a:cubicBezTo>
                  <a:cubicBezTo>
                    <a:pt x="80" y="64"/>
                    <a:pt x="79" y="64"/>
                    <a:pt x="79" y="64"/>
                  </a:cubicBezTo>
                  <a:cubicBezTo>
                    <a:pt x="79" y="64"/>
                    <a:pt x="79" y="65"/>
                    <a:pt x="79" y="65"/>
                  </a:cubicBezTo>
                  <a:cubicBezTo>
                    <a:pt x="79" y="65"/>
                    <a:pt x="80" y="67"/>
                    <a:pt x="79" y="68"/>
                  </a:cubicBezTo>
                  <a:cubicBezTo>
                    <a:pt x="78" y="68"/>
                    <a:pt x="78" y="68"/>
                    <a:pt x="78" y="68"/>
                  </a:cubicBezTo>
                  <a:cubicBezTo>
                    <a:pt x="78" y="69"/>
                    <a:pt x="78" y="69"/>
                    <a:pt x="78" y="69"/>
                  </a:cubicBezTo>
                  <a:cubicBezTo>
                    <a:pt x="77" y="69"/>
                    <a:pt x="77" y="69"/>
                    <a:pt x="76" y="69"/>
                  </a:cubicBezTo>
                  <a:cubicBezTo>
                    <a:pt x="76" y="69"/>
                    <a:pt x="76" y="69"/>
                    <a:pt x="76" y="69"/>
                  </a:cubicBezTo>
                  <a:cubicBezTo>
                    <a:pt x="75" y="69"/>
                    <a:pt x="75" y="69"/>
                    <a:pt x="75" y="69"/>
                  </a:cubicBezTo>
                  <a:cubicBezTo>
                    <a:pt x="72" y="69"/>
                    <a:pt x="72" y="69"/>
                    <a:pt x="72" y="69"/>
                  </a:cubicBezTo>
                  <a:cubicBezTo>
                    <a:pt x="72" y="69"/>
                    <a:pt x="70" y="69"/>
                    <a:pt x="70" y="69"/>
                  </a:cubicBezTo>
                  <a:cubicBezTo>
                    <a:pt x="69" y="71"/>
                    <a:pt x="67" y="71"/>
                    <a:pt x="65" y="71"/>
                  </a:cubicBezTo>
                  <a:cubicBezTo>
                    <a:pt x="62" y="71"/>
                    <a:pt x="62" y="71"/>
                    <a:pt x="62" y="71"/>
                  </a:cubicBezTo>
                  <a:cubicBezTo>
                    <a:pt x="62" y="71"/>
                    <a:pt x="61" y="72"/>
                    <a:pt x="61" y="72"/>
                  </a:cubicBezTo>
                  <a:cubicBezTo>
                    <a:pt x="60" y="73"/>
                    <a:pt x="58" y="73"/>
                    <a:pt x="56" y="73"/>
                  </a:cubicBezTo>
                  <a:cubicBezTo>
                    <a:pt x="56" y="73"/>
                    <a:pt x="56" y="73"/>
                    <a:pt x="56" y="73"/>
                  </a:cubicBezTo>
                  <a:cubicBezTo>
                    <a:pt x="55" y="74"/>
                    <a:pt x="55" y="74"/>
                    <a:pt x="55" y="74"/>
                  </a:cubicBezTo>
                  <a:cubicBezTo>
                    <a:pt x="54" y="75"/>
                    <a:pt x="54" y="75"/>
                    <a:pt x="53" y="76"/>
                  </a:cubicBezTo>
                  <a:cubicBezTo>
                    <a:pt x="52" y="77"/>
                    <a:pt x="51" y="78"/>
                    <a:pt x="50" y="78"/>
                  </a:cubicBezTo>
                  <a:cubicBezTo>
                    <a:pt x="50" y="78"/>
                    <a:pt x="49" y="78"/>
                    <a:pt x="49" y="78"/>
                  </a:cubicBezTo>
                  <a:cubicBezTo>
                    <a:pt x="49" y="78"/>
                    <a:pt x="48" y="78"/>
                    <a:pt x="47" y="78"/>
                  </a:cubicBezTo>
                  <a:cubicBezTo>
                    <a:pt x="47" y="78"/>
                    <a:pt x="47" y="77"/>
                    <a:pt x="47" y="77"/>
                  </a:cubicBezTo>
                  <a:cubicBezTo>
                    <a:pt x="47" y="78"/>
                    <a:pt x="47" y="78"/>
                    <a:pt x="47" y="78"/>
                  </a:cubicBezTo>
                  <a:cubicBezTo>
                    <a:pt x="46" y="78"/>
                    <a:pt x="46" y="78"/>
                    <a:pt x="46" y="78"/>
                  </a:cubicBezTo>
                  <a:cubicBezTo>
                    <a:pt x="45" y="79"/>
                    <a:pt x="44" y="80"/>
                    <a:pt x="43" y="80"/>
                  </a:cubicBezTo>
                  <a:cubicBezTo>
                    <a:pt x="43" y="80"/>
                    <a:pt x="42" y="79"/>
                    <a:pt x="42" y="79"/>
                  </a:cubicBezTo>
                  <a:cubicBezTo>
                    <a:pt x="41" y="79"/>
                    <a:pt x="41" y="79"/>
                    <a:pt x="41" y="79"/>
                  </a:cubicBezTo>
                  <a:cubicBezTo>
                    <a:pt x="41" y="79"/>
                    <a:pt x="41" y="79"/>
                    <a:pt x="41" y="79"/>
                  </a:cubicBezTo>
                  <a:cubicBezTo>
                    <a:pt x="39" y="79"/>
                    <a:pt x="38" y="77"/>
                    <a:pt x="38" y="75"/>
                  </a:cubicBezTo>
                  <a:cubicBezTo>
                    <a:pt x="38" y="74"/>
                    <a:pt x="38" y="74"/>
                    <a:pt x="38" y="74"/>
                  </a:cubicBezTo>
                  <a:cubicBezTo>
                    <a:pt x="38" y="74"/>
                    <a:pt x="38" y="74"/>
                    <a:pt x="38" y="74"/>
                  </a:cubicBezTo>
                  <a:cubicBezTo>
                    <a:pt x="36" y="74"/>
                    <a:pt x="35" y="73"/>
                    <a:pt x="34" y="73"/>
                  </a:cubicBezTo>
                  <a:cubicBezTo>
                    <a:pt x="34" y="73"/>
                    <a:pt x="33" y="73"/>
                    <a:pt x="33" y="73"/>
                  </a:cubicBezTo>
                  <a:cubicBezTo>
                    <a:pt x="30" y="73"/>
                    <a:pt x="30" y="73"/>
                    <a:pt x="30" y="73"/>
                  </a:cubicBezTo>
                  <a:cubicBezTo>
                    <a:pt x="29" y="73"/>
                    <a:pt x="29" y="73"/>
                    <a:pt x="28" y="73"/>
                  </a:cubicBezTo>
                  <a:cubicBezTo>
                    <a:pt x="28" y="73"/>
                    <a:pt x="27" y="73"/>
                    <a:pt x="27" y="73"/>
                  </a:cubicBezTo>
                  <a:cubicBezTo>
                    <a:pt x="27" y="73"/>
                    <a:pt x="27" y="73"/>
                    <a:pt x="27" y="73"/>
                  </a:cubicBezTo>
                  <a:cubicBezTo>
                    <a:pt x="27" y="73"/>
                    <a:pt x="27" y="73"/>
                    <a:pt x="27" y="73"/>
                  </a:cubicBezTo>
                  <a:cubicBezTo>
                    <a:pt x="27" y="74"/>
                    <a:pt x="27" y="74"/>
                    <a:pt x="28" y="75"/>
                  </a:cubicBezTo>
                  <a:cubicBezTo>
                    <a:pt x="28" y="75"/>
                    <a:pt x="28" y="75"/>
                    <a:pt x="28" y="75"/>
                  </a:cubicBezTo>
                  <a:cubicBezTo>
                    <a:pt x="28" y="75"/>
                    <a:pt x="28" y="75"/>
                    <a:pt x="28" y="75"/>
                  </a:cubicBezTo>
                  <a:cubicBezTo>
                    <a:pt x="28" y="76"/>
                    <a:pt x="27" y="76"/>
                    <a:pt x="27" y="77"/>
                  </a:cubicBezTo>
                  <a:cubicBezTo>
                    <a:pt x="27" y="77"/>
                    <a:pt x="27" y="77"/>
                    <a:pt x="27" y="77"/>
                  </a:cubicBezTo>
                  <a:cubicBezTo>
                    <a:pt x="27" y="78"/>
                    <a:pt x="27" y="79"/>
                    <a:pt x="26" y="80"/>
                  </a:cubicBezTo>
                  <a:cubicBezTo>
                    <a:pt x="26" y="80"/>
                    <a:pt x="26" y="80"/>
                    <a:pt x="26" y="80"/>
                  </a:cubicBezTo>
                  <a:cubicBezTo>
                    <a:pt x="25" y="81"/>
                    <a:pt x="25" y="81"/>
                    <a:pt x="25" y="82"/>
                  </a:cubicBezTo>
                  <a:cubicBezTo>
                    <a:pt x="24" y="83"/>
                    <a:pt x="24" y="83"/>
                    <a:pt x="24" y="83"/>
                  </a:cubicBezTo>
                  <a:cubicBezTo>
                    <a:pt x="24" y="84"/>
                    <a:pt x="23" y="86"/>
                    <a:pt x="21" y="86"/>
                  </a:cubicBezTo>
                  <a:cubicBezTo>
                    <a:pt x="20" y="86"/>
                    <a:pt x="19" y="85"/>
                    <a:pt x="19" y="85"/>
                  </a:cubicBezTo>
                  <a:cubicBezTo>
                    <a:pt x="18" y="85"/>
                    <a:pt x="18" y="85"/>
                    <a:pt x="18" y="85"/>
                  </a:cubicBezTo>
                  <a:cubicBezTo>
                    <a:pt x="17" y="84"/>
                    <a:pt x="16" y="84"/>
                    <a:pt x="15" y="83"/>
                  </a:cubicBezTo>
                  <a:cubicBezTo>
                    <a:pt x="15" y="82"/>
                    <a:pt x="15" y="82"/>
                    <a:pt x="15" y="81"/>
                  </a:cubicBezTo>
                  <a:cubicBezTo>
                    <a:pt x="15" y="81"/>
                    <a:pt x="14" y="81"/>
                    <a:pt x="13" y="80"/>
                  </a:cubicBezTo>
                  <a:cubicBezTo>
                    <a:pt x="12" y="79"/>
                    <a:pt x="12" y="77"/>
                    <a:pt x="13" y="76"/>
                  </a:cubicBezTo>
                  <a:cubicBezTo>
                    <a:pt x="13" y="75"/>
                    <a:pt x="12" y="75"/>
                    <a:pt x="12" y="75"/>
                  </a:cubicBezTo>
                  <a:cubicBezTo>
                    <a:pt x="11" y="75"/>
                    <a:pt x="10" y="74"/>
                    <a:pt x="10" y="74"/>
                  </a:cubicBezTo>
                  <a:cubicBezTo>
                    <a:pt x="9" y="74"/>
                    <a:pt x="9" y="73"/>
                    <a:pt x="9" y="73"/>
                  </a:cubicBezTo>
                  <a:cubicBezTo>
                    <a:pt x="8" y="72"/>
                    <a:pt x="7" y="72"/>
                    <a:pt x="7" y="71"/>
                  </a:cubicBezTo>
                  <a:cubicBezTo>
                    <a:pt x="6" y="72"/>
                    <a:pt x="6" y="72"/>
                    <a:pt x="6" y="72"/>
                  </a:cubicBezTo>
                  <a:cubicBezTo>
                    <a:pt x="6" y="72"/>
                    <a:pt x="6" y="72"/>
                    <a:pt x="5" y="73"/>
                  </a:cubicBezTo>
                  <a:cubicBezTo>
                    <a:pt x="5" y="73"/>
                    <a:pt x="5" y="73"/>
                    <a:pt x="5" y="73"/>
                  </a:cubicBezTo>
                  <a:cubicBezTo>
                    <a:pt x="5" y="74"/>
                    <a:pt x="5" y="75"/>
                    <a:pt x="5" y="75"/>
                  </a:cubicBezTo>
                  <a:cubicBezTo>
                    <a:pt x="5" y="76"/>
                    <a:pt x="5" y="76"/>
                    <a:pt x="5" y="76"/>
                  </a:cubicBezTo>
                  <a:cubicBezTo>
                    <a:pt x="5" y="77"/>
                    <a:pt x="5" y="78"/>
                    <a:pt x="4" y="79"/>
                  </a:cubicBezTo>
                  <a:cubicBezTo>
                    <a:pt x="4" y="80"/>
                    <a:pt x="4" y="80"/>
                    <a:pt x="4" y="80"/>
                  </a:cubicBezTo>
                  <a:cubicBezTo>
                    <a:pt x="3" y="80"/>
                    <a:pt x="3" y="80"/>
                    <a:pt x="3" y="80"/>
                  </a:cubicBezTo>
                  <a:cubicBezTo>
                    <a:pt x="3" y="81"/>
                    <a:pt x="3" y="81"/>
                    <a:pt x="2" y="82"/>
                  </a:cubicBezTo>
                  <a:cubicBezTo>
                    <a:pt x="2" y="82"/>
                    <a:pt x="2" y="83"/>
                    <a:pt x="2" y="83"/>
                  </a:cubicBezTo>
                  <a:cubicBezTo>
                    <a:pt x="2" y="83"/>
                    <a:pt x="2" y="83"/>
                    <a:pt x="2" y="83"/>
                  </a:cubicBezTo>
                  <a:cubicBezTo>
                    <a:pt x="0" y="85"/>
                    <a:pt x="0" y="85"/>
                    <a:pt x="0" y="85"/>
                  </a:cubicBezTo>
                  <a:cubicBezTo>
                    <a:pt x="0" y="86"/>
                    <a:pt x="0" y="86"/>
                    <a:pt x="0" y="86"/>
                  </a:cubicBezTo>
                  <a:cubicBezTo>
                    <a:pt x="0" y="87"/>
                    <a:pt x="0" y="87"/>
                    <a:pt x="0" y="87"/>
                  </a:cubicBezTo>
                  <a:cubicBezTo>
                    <a:pt x="0" y="88"/>
                    <a:pt x="0" y="88"/>
                    <a:pt x="0" y="88"/>
                  </a:cubicBezTo>
                  <a:cubicBezTo>
                    <a:pt x="0" y="88"/>
                    <a:pt x="0" y="88"/>
                    <a:pt x="0" y="88"/>
                  </a:cubicBezTo>
                  <a:cubicBezTo>
                    <a:pt x="0" y="88"/>
                    <a:pt x="0" y="89"/>
                    <a:pt x="0" y="89"/>
                  </a:cubicBezTo>
                  <a:cubicBezTo>
                    <a:pt x="1" y="90"/>
                    <a:pt x="1" y="90"/>
                    <a:pt x="1" y="90"/>
                  </a:cubicBezTo>
                  <a:cubicBezTo>
                    <a:pt x="1" y="90"/>
                    <a:pt x="1" y="90"/>
                    <a:pt x="1" y="90"/>
                  </a:cubicBezTo>
                  <a:cubicBezTo>
                    <a:pt x="3" y="89"/>
                    <a:pt x="3" y="89"/>
                    <a:pt x="3" y="89"/>
                  </a:cubicBezTo>
                  <a:cubicBezTo>
                    <a:pt x="7" y="90"/>
                    <a:pt x="7" y="90"/>
                    <a:pt x="7" y="90"/>
                  </a:cubicBezTo>
                  <a:cubicBezTo>
                    <a:pt x="10" y="91"/>
                    <a:pt x="10" y="91"/>
                    <a:pt x="10" y="91"/>
                  </a:cubicBezTo>
                  <a:cubicBezTo>
                    <a:pt x="12" y="94"/>
                    <a:pt x="12" y="94"/>
                    <a:pt x="12" y="94"/>
                  </a:cubicBezTo>
                  <a:cubicBezTo>
                    <a:pt x="12" y="96"/>
                    <a:pt x="12" y="96"/>
                    <a:pt x="12" y="96"/>
                  </a:cubicBezTo>
                  <a:cubicBezTo>
                    <a:pt x="13" y="96"/>
                    <a:pt x="13" y="96"/>
                    <a:pt x="13" y="96"/>
                  </a:cubicBezTo>
                  <a:cubicBezTo>
                    <a:pt x="14" y="96"/>
                    <a:pt x="14" y="96"/>
                    <a:pt x="14" y="96"/>
                  </a:cubicBezTo>
                  <a:cubicBezTo>
                    <a:pt x="16" y="97"/>
                    <a:pt x="16" y="97"/>
                    <a:pt x="16" y="97"/>
                  </a:cubicBezTo>
                  <a:cubicBezTo>
                    <a:pt x="17" y="98"/>
                    <a:pt x="17" y="98"/>
                    <a:pt x="17" y="98"/>
                  </a:cubicBezTo>
                  <a:cubicBezTo>
                    <a:pt x="17" y="98"/>
                    <a:pt x="17" y="98"/>
                    <a:pt x="17" y="98"/>
                  </a:cubicBezTo>
                  <a:cubicBezTo>
                    <a:pt x="18" y="98"/>
                    <a:pt x="18" y="98"/>
                    <a:pt x="18" y="98"/>
                  </a:cubicBezTo>
                  <a:cubicBezTo>
                    <a:pt x="18" y="98"/>
                    <a:pt x="19" y="98"/>
                    <a:pt x="19" y="98"/>
                  </a:cubicBezTo>
                  <a:cubicBezTo>
                    <a:pt x="19" y="97"/>
                    <a:pt x="19" y="97"/>
                    <a:pt x="19" y="97"/>
                  </a:cubicBezTo>
                  <a:cubicBezTo>
                    <a:pt x="20" y="95"/>
                    <a:pt x="20" y="95"/>
                    <a:pt x="20" y="95"/>
                  </a:cubicBezTo>
                  <a:cubicBezTo>
                    <a:pt x="22" y="95"/>
                    <a:pt x="22" y="95"/>
                    <a:pt x="22" y="95"/>
                  </a:cubicBezTo>
                  <a:cubicBezTo>
                    <a:pt x="22" y="95"/>
                    <a:pt x="22" y="95"/>
                    <a:pt x="22" y="95"/>
                  </a:cubicBezTo>
                  <a:cubicBezTo>
                    <a:pt x="22" y="95"/>
                    <a:pt x="22" y="95"/>
                    <a:pt x="22" y="95"/>
                  </a:cubicBezTo>
                  <a:cubicBezTo>
                    <a:pt x="22" y="95"/>
                    <a:pt x="22" y="94"/>
                    <a:pt x="22" y="94"/>
                  </a:cubicBezTo>
                  <a:cubicBezTo>
                    <a:pt x="23" y="94"/>
                    <a:pt x="23" y="94"/>
                    <a:pt x="23" y="94"/>
                  </a:cubicBezTo>
                  <a:cubicBezTo>
                    <a:pt x="23" y="93"/>
                    <a:pt x="23" y="93"/>
                    <a:pt x="23" y="93"/>
                  </a:cubicBezTo>
                  <a:cubicBezTo>
                    <a:pt x="24" y="92"/>
                    <a:pt x="25" y="92"/>
                    <a:pt x="25" y="92"/>
                  </a:cubicBezTo>
                  <a:cubicBezTo>
                    <a:pt x="25" y="92"/>
                    <a:pt x="25" y="92"/>
                    <a:pt x="25" y="92"/>
                  </a:cubicBezTo>
                  <a:cubicBezTo>
                    <a:pt x="26" y="92"/>
                    <a:pt x="26" y="92"/>
                    <a:pt x="26" y="92"/>
                  </a:cubicBezTo>
                  <a:cubicBezTo>
                    <a:pt x="26" y="92"/>
                    <a:pt x="27" y="92"/>
                    <a:pt x="28" y="93"/>
                  </a:cubicBezTo>
                  <a:cubicBezTo>
                    <a:pt x="29" y="94"/>
                    <a:pt x="29" y="94"/>
                    <a:pt x="29" y="94"/>
                  </a:cubicBezTo>
                  <a:cubicBezTo>
                    <a:pt x="30" y="95"/>
                    <a:pt x="31" y="96"/>
                    <a:pt x="30" y="98"/>
                  </a:cubicBezTo>
                  <a:cubicBezTo>
                    <a:pt x="30" y="98"/>
                    <a:pt x="30" y="98"/>
                    <a:pt x="30" y="98"/>
                  </a:cubicBezTo>
                  <a:cubicBezTo>
                    <a:pt x="30" y="98"/>
                    <a:pt x="30" y="99"/>
                    <a:pt x="30" y="99"/>
                  </a:cubicBezTo>
                  <a:cubicBezTo>
                    <a:pt x="30" y="99"/>
                    <a:pt x="30" y="99"/>
                    <a:pt x="30" y="99"/>
                  </a:cubicBezTo>
                  <a:cubicBezTo>
                    <a:pt x="32" y="100"/>
                    <a:pt x="32" y="100"/>
                    <a:pt x="32" y="100"/>
                  </a:cubicBezTo>
                  <a:cubicBezTo>
                    <a:pt x="34" y="98"/>
                    <a:pt x="34" y="98"/>
                    <a:pt x="34" y="98"/>
                  </a:cubicBezTo>
                  <a:cubicBezTo>
                    <a:pt x="39" y="101"/>
                    <a:pt x="39" y="101"/>
                    <a:pt x="39" y="101"/>
                  </a:cubicBezTo>
                  <a:cubicBezTo>
                    <a:pt x="42" y="102"/>
                    <a:pt x="42" y="102"/>
                    <a:pt x="42" y="102"/>
                  </a:cubicBezTo>
                  <a:cubicBezTo>
                    <a:pt x="43" y="100"/>
                    <a:pt x="43" y="100"/>
                    <a:pt x="43" y="100"/>
                  </a:cubicBezTo>
                  <a:cubicBezTo>
                    <a:pt x="43" y="96"/>
                    <a:pt x="43" y="96"/>
                    <a:pt x="43" y="96"/>
                  </a:cubicBezTo>
                  <a:cubicBezTo>
                    <a:pt x="49" y="93"/>
                    <a:pt x="49" y="93"/>
                    <a:pt x="49" y="93"/>
                  </a:cubicBezTo>
                  <a:cubicBezTo>
                    <a:pt x="51" y="91"/>
                    <a:pt x="51" y="91"/>
                    <a:pt x="51" y="91"/>
                  </a:cubicBezTo>
                  <a:cubicBezTo>
                    <a:pt x="65" y="90"/>
                    <a:pt x="65" y="90"/>
                    <a:pt x="65" y="90"/>
                  </a:cubicBezTo>
                  <a:cubicBezTo>
                    <a:pt x="65" y="90"/>
                    <a:pt x="65" y="90"/>
                    <a:pt x="65" y="90"/>
                  </a:cubicBezTo>
                  <a:cubicBezTo>
                    <a:pt x="65" y="90"/>
                    <a:pt x="65" y="90"/>
                    <a:pt x="65" y="90"/>
                  </a:cubicBezTo>
                  <a:cubicBezTo>
                    <a:pt x="66" y="89"/>
                    <a:pt x="72" y="88"/>
                    <a:pt x="72" y="88"/>
                  </a:cubicBezTo>
                  <a:cubicBezTo>
                    <a:pt x="73" y="88"/>
                    <a:pt x="75" y="87"/>
                    <a:pt x="77" y="87"/>
                  </a:cubicBezTo>
                  <a:cubicBezTo>
                    <a:pt x="78" y="86"/>
                    <a:pt x="78" y="86"/>
                    <a:pt x="78" y="86"/>
                  </a:cubicBezTo>
                  <a:cubicBezTo>
                    <a:pt x="81" y="90"/>
                    <a:pt x="81" y="90"/>
                    <a:pt x="81" y="90"/>
                  </a:cubicBezTo>
                  <a:cubicBezTo>
                    <a:pt x="80" y="93"/>
                    <a:pt x="80" y="93"/>
                    <a:pt x="80" y="93"/>
                  </a:cubicBezTo>
                  <a:cubicBezTo>
                    <a:pt x="81" y="95"/>
                    <a:pt x="81" y="95"/>
                    <a:pt x="81" y="95"/>
                  </a:cubicBezTo>
                  <a:cubicBezTo>
                    <a:pt x="83" y="99"/>
                    <a:pt x="83" y="99"/>
                    <a:pt x="83" y="99"/>
                  </a:cubicBezTo>
                  <a:cubicBezTo>
                    <a:pt x="83" y="100"/>
                    <a:pt x="83" y="100"/>
                    <a:pt x="83" y="100"/>
                  </a:cubicBezTo>
                  <a:cubicBezTo>
                    <a:pt x="84" y="101"/>
                    <a:pt x="85" y="102"/>
                    <a:pt x="85" y="102"/>
                  </a:cubicBezTo>
                  <a:cubicBezTo>
                    <a:pt x="85" y="103"/>
                    <a:pt x="86" y="103"/>
                    <a:pt x="86" y="104"/>
                  </a:cubicBezTo>
                  <a:cubicBezTo>
                    <a:pt x="97" y="105"/>
                    <a:pt x="97" y="105"/>
                    <a:pt x="97" y="105"/>
                  </a:cubicBezTo>
                  <a:cubicBezTo>
                    <a:pt x="105" y="107"/>
                    <a:pt x="105" y="107"/>
                    <a:pt x="105" y="107"/>
                  </a:cubicBezTo>
                  <a:cubicBezTo>
                    <a:pt x="106" y="108"/>
                    <a:pt x="111" y="109"/>
                    <a:pt x="113" y="109"/>
                  </a:cubicBezTo>
                  <a:cubicBezTo>
                    <a:pt x="113" y="109"/>
                    <a:pt x="115" y="109"/>
                    <a:pt x="115" y="109"/>
                  </a:cubicBezTo>
                  <a:cubicBezTo>
                    <a:pt x="117" y="109"/>
                    <a:pt x="120" y="109"/>
                    <a:pt x="121" y="109"/>
                  </a:cubicBezTo>
                  <a:cubicBezTo>
                    <a:pt x="127" y="109"/>
                    <a:pt x="127" y="109"/>
                    <a:pt x="127" y="109"/>
                  </a:cubicBezTo>
                  <a:cubicBezTo>
                    <a:pt x="127" y="111"/>
                    <a:pt x="127" y="111"/>
                    <a:pt x="127" y="111"/>
                  </a:cubicBezTo>
                  <a:cubicBezTo>
                    <a:pt x="134" y="113"/>
                    <a:pt x="134" y="113"/>
                    <a:pt x="134" y="113"/>
                  </a:cubicBezTo>
                  <a:cubicBezTo>
                    <a:pt x="142" y="114"/>
                    <a:pt x="142" y="114"/>
                    <a:pt x="142" y="114"/>
                  </a:cubicBezTo>
                  <a:cubicBezTo>
                    <a:pt x="149" y="114"/>
                    <a:pt x="149" y="114"/>
                    <a:pt x="149" y="114"/>
                  </a:cubicBezTo>
                  <a:cubicBezTo>
                    <a:pt x="150" y="114"/>
                    <a:pt x="150" y="114"/>
                    <a:pt x="150" y="114"/>
                  </a:cubicBezTo>
                  <a:cubicBezTo>
                    <a:pt x="153" y="113"/>
                    <a:pt x="153" y="113"/>
                    <a:pt x="153" y="113"/>
                  </a:cubicBezTo>
                  <a:cubicBezTo>
                    <a:pt x="155" y="110"/>
                    <a:pt x="155" y="110"/>
                    <a:pt x="155" y="110"/>
                  </a:cubicBezTo>
                  <a:cubicBezTo>
                    <a:pt x="157" y="110"/>
                    <a:pt x="157" y="110"/>
                    <a:pt x="157" y="110"/>
                  </a:cubicBezTo>
                  <a:cubicBezTo>
                    <a:pt x="158" y="108"/>
                    <a:pt x="158" y="108"/>
                    <a:pt x="158" y="108"/>
                  </a:cubicBezTo>
                  <a:cubicBezTo>
                    <a:pt x="160" y="105"/>
                    <a:pt x="160" y="105"/>
                    <a:pt x="160" y="105"/>
                  </a:cubicBezTo>
                  <a:cubicBezTo>
                    <a:pt x="163" y="103"/>
                    <a:pt x="163" y="103"/>
                    <a:pt x="163" y="103"/>
                  </a:cubicBezTo>
                  <a:cubicBezTo>
                    <a:pt x="167" y="103"/>
                    <a:pt x="167" y="103"/>
                    <a:pt x="167" y="103"/>
                  </a:cubicBezTo>
                  <a:cubicBezTo>
                    <a:pt x="173" y="102"/>
                    <a:pt x="173" y="102"/>
                    <a:pt x="173" y="102"/>
                  </a:cubicBezTo>
                  <a:cubicBezTo>
                    <a:pt x="177" y="103"/>
                    <a:pt x="177" y="103"/>
                    <a:pt x="177" y="103"/>
                  </a:cubicBezTo>
                  <a:cubicBezTo>
                    <a:pt x="181" y="99"/>
                    <a:pt x="181" y="99"/>
                    <a:pt x="181" y="99"/>
                  </a:cubicBezTo>
                  <a:cubicBezTo>
                    <a:pt x="184" y="99"/>
                    <a:pt x="184" y="99"/>
                    <a:pt x="184" y="99"/>
                  </a:cubicBezTo>
                  <a:cubicBezTo>
                    <a:pt x="188" y="98"/>
                    <a:pt x="188" y="98"/>
                    <a:pt x="188" y="98"/>
                  </a:cubicBezTo>
                  <a:cubicBezTo>
                    <a:pt x="193" y="101"/>
                    <a:pt x="193" y="101"/>
                    <a:pt x="193" y="101"/>
                  </a:cubicBezTo>
                  <a:cubicBezTo>
                    <a:pt x="192" y="96"/>
                    <a:pt x="192" y="96"/>
                    <a:pt x="192" y="96"/>
                  </a:cubicBezTo>
                  <a:cubicBezTo>
                    <a:pt x="193" y="92"/>
                    <a:pt x="193" y="92"/>
                    <a:pt x="193" y="92"/>
                  </a:cubicBezTo>
                  <a:cubicBezTo>
                    <a:pt x="197" y="90"/>
                    <a:pt x="197" y="90"/>
                    <a:pt x="197" y="90"/>
                  </a:cubicBezTo>
                  <a:cubicBezTo>
                    <a:pt x="199" y="84"/>
                    <a:pt x="199" y="84"/>
                    <a:pt x="199" y="84"/>
                  </a:cubicBezTo>
                  <a:cubicBezTo>
                    <a:pt x="202" y="84"/>
                    <a:pt x="202" y="84"/>
                    <a:pt x="202" y="84"/>
                  </a:cubicBezTo>
                  <a:cubicBezTo>
                    <a:pt x="204" y="80"/>
                    <a:pt x="204" y="80"/>
                    <a:pt x="204" y="80"/>
                  </a:cubicBezTo>
                  <a:cubicBezTo>
                    <a:pt x="204" y="75"/>
                    <a:pt x="204" y="75"/>
                    <a:pt x="204" y="75"/>
                  </a:cubicBezTo>
                  <a:cubicBezTo>
                    <a:pt x="203" y="73"/>
                    <a:pt x="203" y="73"/>
                    <a:pt x="203" y="73"/>
                  </a:cubicBezTo>
                  <a:cubicBezTo>
                    <a:pt x="201" y="69"/>
                    <a:pt x="201" y="69"/>
                    <a:pt x="201" y="69"/>
                  </a:cubicBezTo>
                  <a:cubicBezTo>
                    <a:pt x="201" y="69"/>
                    <a:pt x="202" y="68"/>
                    <a:pt x="203" y="68"/>
                  </a:cubicBezTo>
                  <a:cubicBezTo>
                    <a:pt x="204" y="68"/>
                    <a:pt x="206" y="66"/>
                    <a:pt x="206" y="66"/>
                  </a:cubicBezTo>
                  <a:cubicBezTo>
                    <a:pt x="211" y="63"/>
                    <a:pt x="211" y="63"/>
                    <a:pt x="211" y="63"/>
                  </a:cubicBezTo>
                  <a:cubicBezTo>
                    <a:pt x="207" y="56"/>
                    <a:pt x="207" y="56"/>
                    <a:pt x="207" y="56"/>
                  </a:cubicBezTo>
                  <a:cubicBezTo>
                    <a:pt x="205" y="57"/>
                    <a:pt x="205" y="57"/>
                    <a:pt x="205" y="57"/>
                  </a:cubicBezTo>
                  <a:cubicBezTo>
                    <a:pt x="200" y="55"/>
                    <a:pt x="200" y="55"/>
                    <a:pt x="200" y="55"/>
                  </a:cubicBezTo>
                  <a:cubicBezTo>
                    <a:pt x="204" y="53"/>
                    <a:pt x="204" y="53"/>
                    <a:pt x="204" y="53"/>
                  </a:cubicBezTo>
                  <a:cubicBezTo>
                    <a:pt x="205" y="50"/>
                    <a:pt x="205" y="50"/>
                    <a:pt x="205" y="50"/>
                  </a:cubicBezTo>
                  <a:cubicBezTo>
                    <a:pt x="211" y="53"/>
                    <a:pt x="211" y="53"/>
                    <a:pt x="211" y="53"/>
                  </a:cubicBezTo>
                  <a:cubicBezTo>
                    <a:pt x="211" y="53"/>
                    <a:pt x="214" y="54"/>
                    <a:pt x="213" y="53"/>
                  </a:cubicBezTo>
                  <a:cubicBezTo>
                    <a:pt x="213" y="51"/>
                    <a:pt x="214" y="52"/>
                    <a:pt x="214" y="53"/>
                  </a:cubicBezTo>
                  <a:cubicBezTo>
                    <a:pt x="215" y="54"/>
                    <a:pt x="217" y="52"/>
                    <a:pt x="219" y="52"/>
                  </a:cubicBezTo>
                  <a:cubicBezTo>
                    <a:pt x="221" y="52"/>
                    <a:pt x="219" y="50"/>
                    <a:pt x="219" y="49"/>
                  </a:cubicBezTo>
                  <a:close/>
                </a:path>
              </a:pathLst>
            </a:custGeom>
            <a:solidFill>
              <a:schemeClr val="accent1">
                <a:lumMod val="60000"/>
                <a:lumOff val="40000"/>
              </a:schemeClr>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6" name="Freeform 130"/>
            <p:cNvSpPr>
              <a:spLocks/>
            </p:cNvSpPr>
            <p:nvPr/>
          </p:nvSpPr>
          <p:spPr bwMode="auto">
            <a:xfrm>
              <a:off x="5123033" y="3678897"/>
              <a:ext cx="714852" cy="908186"/>
            </a:xfrm>
            <a:custGeom>
              <a:avLst/>
              <a:gdLst>
                <a:gd name="T0" fmla="*/ 233 w 247"/>
                <a:gd name="T1" fmla="*/ 133 h 332"/>
                <a:gd name="T2" fmla="*/ 230 w 247"/>
                <a:gd name="T3" fmla="*/ 100 h 332"/>
                <a:gd name="T4" fmla="*/ 219 w 247"/>
                <a:gd name="T5" fmla="*/ 59 h 332"/>
                <a:gd name="T6" fmla="*/ 211 w 247"/>
                <a:gd name="T7" fmla="*/ 41 h 332"/>
                <a:gd name="T8" fmla="*/ 190 w 247"/>
                <a:gd name="T9" fmla="*/ 29 h 332"/>
                <a:gd name="T10" fmla="*/ 195 w 247"/>
                <a:gd name="T11" fmla="*/ 17 h 332"/>
                <a:gd name="T12" fmla="*/ 189 w 247"/>
                <a:gd name="T13" fmla="*/ 13 h 332"/>
                <a:gd name="T14" fmla="*/ 184 w 247"/>
                <a:gd name="T15" fmla="*/ 15 h 332"/>
                <a:gd name="T16" fmla="*/ 170 w 247"/>
                <a:gd name="T17" fmla="*/ 23 h 332"/>
                <a:gd name="T18" fmla="*/ 166 w 247"/>
                <a:gd name="T19" fmla="*/ 24 h 332"/>
                <a:gd name="T20" fmla="*/ 143 w 247"/>
                <a:gd name="T21" fmla="*/ 40 h 332"/>
                <a:gd name="T22" fmla="*/ 126 w 247"/>
                <a:gd name="T23" fmla="*/ 40 h 332"/>
                <a:gd name="T24" fmla="*/ 134 w 247"/>
                <a:gd name="T25" fmla="*/ 25 h 332"/>
                <a:gd name="T26" fmla="*/ 133 w 247"/>
                <a:gd name="T27" fmla="*/ 24 h 332"/>
                <a:gd name="T28" fmla="*/ 114 w 247"/>
                <a:gd name="T29" fmla="*/ 23 h 332"/>
                <a:gd name="T30" fmla="*/ 106 w 247"/>
                <a:gd name="T31" fmla="*/ 8 h 332"/>
                <a:gd name="T32" fmla="*/ 86 w 247"/>
                <a:gd name="T33" fmla="*/ 4 h 332"/>
                <a:gd name="T34" fmla="*/ 75 w 247"/>
                <a:gd name="T35" fmla="*/ 12 h 332"/>
                <a:gd name="T36" fmla="*/ 81 w 247"/>
                <a:gd name="T37" fmla="*/ 19 h 332"/>
                <a:gd name="T38" fmla="*/ 78 w 247"/>
                <a:gd name="T39" fmla="*/ 33 h 332"/>
                <a:gd name="T40" fmla="*/ 85 w 247"/>
                <a:gd name="T41" fmla="*/ 44 h 332"/>
                <a:gd name="T42" fmla="*/ 69 w 247"/>
                <a:gd name="T43" fmla="*/ 52 h 332"/>
                <a:gd name="T44" fmla="*/ 62 w 247"/>
                <a:gd name="T45" fmla="*/ 63 h 332"/>
                <a:gd name="T46" fmla="*/ 52 w 247"/>
                <a:gd name="T47" fmla="*/ 49 h 332"/>
                <a:gd name="T48" fmla="*/ 33 w 247"/>
                <a:gd name="T49" fmla="*/ 54 h 332"/>
                <a:gd name="T50" fmla="*/ 33 w 247"/>
                <a:gd name="T51" fmla="*/ 70 h 332"/>
                <a:gd name="T52" fmla="*/ 36 w 247"/>
                <a:gd name="T53" fmla="*/ 86 h 332"/>
                <a:gd name="T54" fmla="*/ 23 w 247"/>
                <a:gd name="T55" fmla="*/ 104 h 332"/>
                <a:gd name="T56" fmla="*/ 31 w 247"/>
                <a:gd name="T57" fmla="*/ 119 h 332"/>
                <a:gd name="T58" fmla="*/ 25 w 247"/>
                <a:gd name="T59" fmla="*/ 126 h 332"/>
                <a:gd name="T60" fmla="*/ 6 w 247"/>
                <a:gd name="T61" fmla="*/ 133 h 332"/>
                <a:gd name="T62" fmla="*/ 7 w 247"/>
                <a:gd name="T63" fmla="*/ 143 h 332"/>
                <a:gd name="T64" fmla="*/ 4 w 247"/>
                <a:gd name="T65" fmla="*/ 158 h 332"/>
                <a:gd name="T66" fmla="*/ 2 w 247"/>
                <a:gd name="T67" fmla="*/ 169 h 332"/>
                <a:gd name="T68" fmla="*/ 3 w 247"/>
                <a:gd name="T69" fmla="*/ 178 h 332"/>
                <a:gd name="T70" fmla="*/ 10 w 247"/>
                <a:gd name="T71" fmla="*/ 189 h 332"/>
                <a:gd name="T72" fmla="*/ 4 w 247"/>
                <a:gd name="T73" fmla="*/ 201 h 332"/>
                <a:gd name="T74" fmla="*/ 11 w 247"/>
                <a:gd name="T75" fmla="*/ 217 h 332"/>
                <a:gd name="T76" fmla="*/ 15 w 247"/>
                <a:gd name="T77" fmla="*/ 241 h 332"/>
                <a:gd name="T78" fmla="*/ 43 w 247"/>
                <a:gd name="T79" fmla="*/ 252 h 332"/>
                <a:gd name="T80" fmla="*/ 45 w 247"/>
                <a:gd name="T81" fmla="*/ 277 h 332"/>
                <a:gd name="T82" fmla="*/ 38 w 247"/>
                <a:gd name="T83" fmla="*/ 311 h 332"/>
                <a:gd name="T84" fmla="*/ 51 w 247"/>
                <a:gd name="T85" fmla="*/ 316 h 332"/>
                <a:gd name="T86" fmla="*/ 60 w 247"/>
                <a:gd name="T87" fmla="*/ 313 h 332"/>
                <a:gd name="T88" fmla="*/ 74 w 247"/>
                <a:gd name="T89" fmla="*/ 307 h 332"/>
                <a:gd name="T90" fmla="*/ 87 w 247"/>
                <a:gd name="T91" fmla="*/ 311 h 332"/>
                <a:gd name="T92" fmla="*/ 99 w 247"/>
                <a:gd name="T93" fmla="*/ 318 h 332"/>
                <a:gd name="T94" fmla="*/ 113 w 247"/>
                <a:gd name="T95" fmla="*/ 327 h 332"/>
                <a:gd name="T96" fmla="*/ 122 w 247"/>
                <a:gd name="T97" fmla="*/ 321 h 332"/>
                <a:gd name="T98" fmla="*/ 141 w 247"/>
                <a:gd name="T99" fmla="*/ 325 h 332"/>
                <a:gd name="T100" fmla="*/ 165 w 247"/>
                <a:gd name="T101" fmla="*/ 316 h 332"/>
                <a:gd name="T102" fmla="*/ 185 w 247"/>
                <a:gd name="T103" fmla="*/ 313 h 332"/>
                <a:gd name="T104" fmla="*/ 199 w 247"/>
                <a:gd name="T105" fmla="*/ 313 h 332"/>
                <a:gd name="T106" fmla="*/ 190 w 247"/>
                <a:gd name="T107" fmla="*/ 296 h 332"/>
                <a:gd name="T108" fmla="*/ 203 w 247"/>
                <a:gd name="T109" fmla="*/ 283 h 332"/>
                <a:gd name="T110" fmla="*/ 218 w 247"/>
                <a:gd name="T111" fmla="*/ 270 h 332"/>
                <a:gd name="T112" fmla="*/ 206 w 247"/>
                <a:gd name="T113" fmla="*/ 254 h 332"/>
                <a:gd name="T114" fmla="*/ 183 w 247"/>
                <a:gd name="T115" fmla="*/ 234 h 332"/>
                <a:gd name="T116" fmla="*/ 167 w 247"/>
                <a:gd name="T117" fmla="*/ 200 h 332"/>
                <a:gd name="T118" fmla="*/ 190 w 247"/>
                <a:gd name="T119" fmla="*/ 193 h 332"/>
                <a:gd name="T120" fmla="*/ 216 w 247"/>
                <a:gd name="T121" fmla="*/ 172 h 332"/>
                <a:gd name="T122" fmla="*/ 236 w 247"/>
                <a:gd name="T123" fmla="*/ 171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32">
                  <a:moveTo>
                    <a:pt x="247" y="154"/>
                  </a:moveTo>
                  <a:cubicBezTo>
                    <a:pt x="247" y="154"/>
                    <a:pt x="245" y="151"/>
                    <a:pt x="244" y="151"/>
                  </a:cubicBezTo>
                  <a:cubicBezTo>
                    <a:pt x="244" y="151"/>
                    <a:pt x="242" y="148"/>
                    <a:pt x="242" y="147"/>
                  </a:cubicBezTo>
                  <a:cubicBezTo>
                    <a:pt x="242" y="147"/>
                    <a:pt x="242" y="145"/>
                    <a:pt x="242" y="145"/>
                  </a:cubicBezTo>
                  <a:cubicBezTo>
                    <a:pt x="242" y="145"/>
                    <a:pt x="240" y="144"/>
                    <a:pt x="239" y="144"/>
                  </a:cubicBezTo>
                  <a:cubicBezTo>
                    <a:pt x="239" y="143"/>
                    <a:pt x="236" y="143"/>
                    <a:pt x="236" y="143"/>
                  </a:cubicBezTo>
                  <a:cubicBezTo>
                    <a:pt x="236" y="140"/>
                    <a:pt x="236" y="140"/>
                    <a:pt x="236" y="140"/>
                  </a:cubicBezTo>
                  <a:cubicBezTo>
                    <a:pt x="237" y="136"/>
                    <a:pt x="237" y="136"/>
                    <a:pt x="237" y="136"/>
                  </a:cubicBezTo>
                  <a:cubicBezTo>
                    <a:pt x="233" y="133"/>
                    <a:pt x="233" y="133"/>
                    <a:pt x="233" y="133"/>
                  </a:cubicBezTo>
                  <a:cubicBezTo>
                    <a:pt x="232" y="130"/>
                    <a:pt x="232" y="130"/>
                    <a:pt x="232" y="130"/>
                  </a:cubicBezTo>
                  <a:cubicBezTo>
                    <a:pt x="232" y="130"/>
                    <a:pt x="233" y="128"/>
                    <a:pt x="233" y="127"/>
                  </a:cubicBezTo>
                  <a:cubicBezTo>
                    <a:pt x="234" y="126"/>
                    <a:pt x="235" y="123"/>
                    <a:pt x="235" y="123"/>
                  </a:cubicBezTo>
                  <a:cubicBezTo>
                    <a:pt x="233" y="120"/>
                    <a:pt x="233" y="120"/>
                    <a:pt x="233" y="120"/>
                  </a:cubicBezTo>
                  <a:cubicBezTo>
                    <a:pt x="233" y="120"/>
                    <a:pt x="232" y="119"/>
                    <a:pt x="233" y="118"/>
                  </a:cubicBezTo>
                  <a:cubicBezTo>
                    <a:pt x="233" y="118"/>
                    <a:pt x="232" y="113"/>
                    <a:pt x="232" y="113"/>
                  </a:cubicBezTo>
                  <a:cubicBezTo>
                    <a:pt x="232" y="113"/>
                    <a:pt x="232" y="109"/>
                    <a:pt x="230" y="109"/>
                  </a:cubicBezTo>
                  <a:cubicBezTo>
                    <a:pt x="229" y="109"/>
                    <a:pt x="228" y="106"/>
                    <a:pt x="228" y="106"/>
                  </a:cubicBezTo>
                  <a:cubicBezTo>
                    <a:pt x="230" y="100"/>
                    <a:pt x="230" y="100"/>
                    <a:pt x="230" y="100"/>
                  </a:cubicBezTo>
                  <a:cubicBezTo>
                    <a:pt x="230" y="100"/>
                    <a:pt x="231" y="96"/>
                    <a:pt x="228" y="95"/>
                  </a:cubicBezTo>
                  <a:cubicBezTo>
                    <a:pt x="225" y="94"/>
                    <a:pt x="221" y="92"/>
                    <a:pt x="220" y="91"/>
                  </a:cubicBezTo>
                  <a:cubicBezTo>
                    <a:pt x="220" y="90"/>
                    <a:pt x="218" y="88"/>
                    <a:pt x="217" y="87"/>
                  </a:cubicBezTo>
                  <a:cubicBezTo>
                    <a:pt x="216" y="87"/>
                    <a:pt x="216" y="87"/>
                    <a:pt x="216" y="87"/>
                  </a:cubicBezTo>
                  <a:cubicBezTo>
                    <a:pt x="217" y="80"/>
                    <a:pt x="217" y="80"/>
                    <a:pt x="217" y="80"/>
                  </a:cubicBezTo>
                  <a:cubicBezTo>
                    <a:pt x="221" y="77"/>
                    <a:pt x="221" y="77"/>
                    <a:pt x="221" y="77"/>
                  </a:cubicBezTo>
                  <a:cubicBezTo>
                    <a:pt x="221" y="70"/>
                    <a:pt x="221" y="70"/>
                    <a:pt x="221" y="70"/>
                  </a:cubicBezTo>
                  <a:cubicBezTo>
                    <a:pt x="221" y="63"/>
                    <a:pt x="221" y="63"/>
                    <a:pt x="221" y="63"/>
                  </a:cubicBezTo>
                  <a:cubicBezTo>
                    <a:pt x="221" y="63"/>
                    <a:pt x="222" y="61"/>
                    <a:pt x="219" y="59"/>
                  </a:cubicBezTo>
                  <a:cubicBezTo>
                    <a:pt x="217" y="56"/>
                    <a:pt x="217" y="53"/>
                    <a:pt x="217" y="52"/>
                  </a:cubicBezTo>
                  <a:cubicBezTo>
                    <a:pt x="217" y="52"/>
                    <a:pt x="216" y="49"/>
                    <a:pt x="216" y="48"/>
                  </a:cubicBezTo>
                  <a:cubicBezTo>
                    <a:pt x="216" y="47"/>
                    <a:pt x="215" y="47"/>
                    <a:pt x="215" y="46"/>
                  </a:cubicBezTo>
                  <a:cubicBezTo>
                    <a:pt x="212" y="46"/>
                    <a:pt x="208" y="47"/>
                    <a:pt x="208" y="47"/>
                  </a:cubicBezTo>
                  <a:cubicBezTo>
                    <a:pt x="208" y="47"/>
                    <a:pt x="207" y="46"/>
                    <a:pt x="206" y="46"/>
                  </a:cubicBezTo>
                  <a:cubicBezTo>
                    <a:pt x="206" y="46"/>
                    <a:pt x="204" y="44"/>
                    <a:pt x="204" y="44"/>
                  </a:cubicBezTo>
                  <a:cubicBezTo>
                    <a:pt x="206" y="44"/>
                    <a:pt x="206" y="44"/>
                    <a:pt x="206" y="44"/>
                  </a:cubicBezTo>
                  <a:cubicBezTo>
                    <a:pt x="209" y="43"/>
                    <a:pt x="209" y="43"/>
                    <a:pt x="209" y="43"/>
                  </a:cubicBezTo>
                  <a:cubicBezTo>
                    <a:pt x="211" y="41"/>
                    <a:pt x="211" y="41"/>
                    <a:pt x="211" y="41"/>
                  </a:cubicBezTo>
                  <a:cubicBezTo>
                    <a:pt x="212" y="40"/>
                    <a:pt x="212" y="40"/>
                    <a:pt x="212" y="40"/>
                  </a:cubicBezTo>
                  <a:cubicBezTo>
                    <a:pt x="211" y="36"/>
                    <a:pt x="211" y="36"/>
                    <a:pt x="211" y="36"/>
                  </a:cubicBezTo>
                  <a:cubicBezTo>
                    <a:pt x="210" y="36"/>
                    <a:pt x="210" y="36"/>
                    <a:pt x="210" y="36"/>
                  </a:cubicBezTo>
                  <a:cubicBezTo>
                    <a:pt x="210" y="36"/>
                    <a:pt x="206" y="34"/>
                    <a:pt x="206" y="33"/>
                  </a:cubicBezTo>
                  <a:cubicBezTo>
                    <a:pt x="206" y="33"/>
                    <a:pt x="205" y="31"/>
                    <a:pt x="205" y="31"/>
                  </a:cubicBezTo>
                  <a:cubicBezTo>
                    <a:pt x="203" y="31"/>
                    <a:pt x="203" y="31"/>
                    <a:pt x="203" y="31"/>
                  </a:cubicBezTo>
                  <a:cubicBezTo>
                    <a:pt x="203" y="31"/>
                    <a:pt x="197" y="31"/>
                    <a:pt x="197" y="31"/>
                  </a:cubicBezTo>
                  <a:cubicBezTo>
                    <a:pt x="197" y="32"/>
                    <a:pt x="193" y="31"/>
                    <a:pt x="193" y="31"/>
                  </a:cubicBezTo>
                  <a:cubicBezTo>
                    <a:pt x="193" y="31"/>
                    <a:pt x="191" y="30"/>
                    <a:pt x="190" y="29"/>
                  </a:cubicBezTo>
                  <a:cubicBezTo>
                    <a:pt x="190" y="28"/>
                    <a:pt x="190" y="27"/>
                    <a:pt x="190" y="26"/>
                  </a:cubicBezTo>
                  <a:cubicBezTo>
                    <a:pt x="190" y="25"/>
                    <a:pt x="190" y="26"/>
                    <a:pt x="192" y="25"/>
                  </a:cubicBezTo>
                  <a:cubicBezTo>
                    <a:pt x="193" y="24"/>
                    <a:pt x="194" y="24"/>
                    <a:pt x="195" y="24"/>
                  </a:cubicBezTo>
                  <a:cubicBezTo>
                    <a:pt x="195" y="23"/>
                    <a:pt x="195" y="23"/>
                    <a:pt x="195" y="23"/>
                  </a:cubicBezTo>
                  <a:cubicBezTo>
                    <a:pt x="195" y="23"/>
                    <a:pt x="199" y="23"/>
                    <a:pt x="199" y="23"/>
                  </a:cubicBezTo>
                  <a:cubicBezTo>
                    <a:pt x="199" y="23"/>
                    <a:pt x="199" y="21"/>
                    <a:pt x="199" y="21"/>
                  </a:cubicBezTo>
                  <a:cubicBezTo>
                    <a:pt x="197" y="20"/>
                    <a:pt x="197" y="20"/>
                    <a:pt x="197" y="20"/>
                  </a:cubicBezTo>
                  <a:cubicBezTo>
                    <a:pt x="197" y="20"/>
                    <a:pt x="195" y="18"/>
                    <a:pt x="195" y="18"/>
                  </a:cubicBezTo>
                  <a:cubicBezTo>
                    <a:pt x="195" y="17"/>
                    <a:pt x="195" y="17"/>
                    <a:pt x="195" y="17"/>
                  </a:cubicBezTo>
                  <a:cubicBezTo>
                    <a:pt x="195" y="17"/>
                    <a:pt x="197" y="15"/>
                    <a:pt x="197" y="15"/>
                  </a:cubicBezTo>
                  <a:cubicBezTo>
                    <a:pt x="198" y="14"/>
                    <a:pt x="197" y="13"/>
                    <a:pt x="197" y="13"/>
                  </a:cubicBezTo>
                  <a:cubicBezTo>
                    <a:pt x="197" y="13"/>
                    <a:pt x="196" y="12"/>
                    <a:pt x="195" y="12"/>
                  </a:cubicBezTo>
                  <a:cubicBezTo>
                    <a:pt x="195" y="12"/>
                    <a:pt x="194" y="14"/>
                    <a:pt x="194" y="14"/>
                  </a:cubicBezTo>
                  <a:cubicBezTo>
                    <a:pt x="193" y="14"/>
                    <a:pt x="193" y="16"/>
                    <a:pt x="193" y="16"/>
                  </a:cubicBezTo>
                  <a:cubicBezTo>
                    <a:pt x="193" y="16"/>
                    <a:pt x="191" y="17"/>
                    <a:pt x="191" y="17"/>
                  </a:cubicBezTo>
                  <a:cubicBezTo>
                    <a:pt x="190" y="16"/>
                    <a:pt x="191" y="16"/>
                    <a:pt x="191" y="15"/>
                  </a:cubicBezTo>
                  <a:cubicBezTo>
                    <a:pt x="191" y="15"/>
                    <a:pt x="190" y="14"/>
                    <a:pt x="190" y="14"/>
                  </a:cubicBezTo>
                  <a:cubicBezTo>
                    <a:pt x="190" y="14"/>
                    <a:pt x="189" y="13"/>
                    <a:pt x="189" y="13"/>
                  </a:cubicBezTo>
                  <a:cubicBezTo>
                    <a:pt x="189" y="12"/>
                    <a:pt x="190" y="12"/>
                    <a:pt x="191" y="12"/>
                  </a:cubicBezTo>
                  <a:cubicBezTo>
                    <a:pt x="191" y="11"/>
                    <a:pt x="191" y="10"/>
                    <a:pt x="191" y="10"/>
                  </a:cubicBezTo>
                  <a:cubicBezTo>
                    <a:pt x="191" y="10"/>
                    <a:pt x="191" y="9"/>
                    <a:pt x="190" y="9"/>
                  </a:cubicBezTo>
                  <a:cubicBezTo>
                    <a:pt x="190" y="8"/>
                    <a:pt x="189" y="9"/>
                    <a:pt x="189" y="9"/>
                  </a:cubicBezTo>
                  <a:cubicBezTo>
                    <a:pt x="189" y="9"/>
                    <a:pt x="187" y="11"/>
                    <a:pt x="187" y="11"/>
                  </a:cubicBezTo>
                  <a:cubicBezTo>
                    <a:pt x="187" y="11"/>
                    <a:pt x="186" y="12"/>
                    <a:pt x="186" y="12"/>
                  </a:cubicBezTo>
                  <a:cubicBezTo>
                    <a:pt x="186" y="12"/>
                    <a:pt x="186" y="14"/>
                    <a:pt x="186" y="14"/>
                  </a:cubicBezTo>
                  <a:cubicBezTo>
                    <a:pt x="186" y="14"/>
                    <a:pt x="184" y="15"/>
                    <a:pt x="184" y="15"/>
                  </a:cubicBezTo>
                  <a:cubicBezTo>
                    <a:pt x="184" y="15"/>
                    <a:pt x="184" y="15"/>
                    <a:pt x="184" y="15"/>
                  </a:cubicBezTo>
                  <a:cubicBezTo>
                    <a:pt x="184" y="15"/>
                    <a:pt x="183" y="17"/>
                    <a:pt x="183" y="17"/>
                  </a:cubicBezTo>
                  <a:cubicBezTo>
                    <a:pt x="183" y="17"/>
                    <a:pt x="183" y="19"/>
                    <a:pt x="183" y="19"/>
                  </a:cubicBezTo>
                  <a:cubicBezTo>
                    <a:pt x="183" y="19"/>
                    <a:pt x="182" y="20"/>
                    <a:pt x="181" y="21"/>
                  </a:cubicBezTo>
                  <a:cubicBezTo>
                    <a:pt x="180" y="21"/>
                    <a:pt x="180" y="22"/>
                    <a:pt x="180" y="22"/>
                  </a:cubicBezTo>
                  <a:cubicBezTo>
                    <a:pt x="180" y="23"/>
                    <a:pt x="180" y="23"/>
                    <a:pt x="180" y="23"/>
                  </a:cubicBezTo>
                  <a:cubicBezTo>
                    <a:pt x="177" y="24"/>
                    <a:pt x="177" y="24"/>
                    <a:pt x="177" y="24"/>
                  </a:cubicBezTo>
                  <a:cubicBezTo>
                    <a:pt x="177" y="24"/>
                    <a:pt x="175" y="23"/>
                    <a:pt x="175" y="23"/>
                  </a:cubicBezTo>
                  <a:cubicBezTo>
                    <a:pt x="175" y="23"/>
                    <a:pt x="173" y="23"/>
                    <a:pt x="173" y="23"/>
                  </a:cubicBezTo>
                  <a:cubicBezTo>
                    <a:pt x="173" y="23"/>
                    <a:pt x="170" y="23"/>
                    <a:pt x="170" y="23"/>
                  </a:cubicBezTo>
                  <a:cubicBezTo>
                    <a:pt x="170" y="23"/>
                    <a:pt x="169" y="24"/>
                    <a:pt x="169" y="24"/>
                  </a:cubicBezTo>
                  <a:cubicBezTo>
                    <a:pt x="168" y="26"/>
                    <a:pt x="168" y="26"/>
                    <a:pt x="168" y="26"/>
                  </a:cubicBezTo>
                  <a:cubicBezTo>
                    <a:pt x="168" y="26"/>
                    <a:pt x="168" y="24"/>
                    <a:pt x="168" y="24"/>
                  </a:cubicBezTo>
                  <a:cubicBezTo>
                    <a:pt x="169" y="23"/>
                    <a:pt x="170" y="22"/>
                    <a:pt x="170" y="22"/>
                  </a:cubicBezTo>
                  <a:cubicBezTo>
                    <a:pt x="171" y="22"/>
                    <a:pt x="171" y="21"/>
                    <a:pt x="171" y="20"/>
                  </a:cubicBezTo>
                  <a:cubicBezTo>
                    <a:pt x="171" y="20"/>
                    <a:pt x="170" y="19"/>
                    <a:pt x="170" y="19"/>
                  </a:cubicBezTo>
                  <a:cubicBezTo>
                    <a:pt x="168" y="20"/>
                    <a:pt x="168" y="20"/>
                    <a:pt x="168" y="20"/>
                  </a:cubicBezTo>
                  <a:cubicBezTo>
                    <a:pt x="168" y="20"/>
                    <a:pt x="167" y="22"/>
                    <a:pt x="167" y="23"/>
                  </a:cubicBezTo>
                  <a:cubicBezTo>
                    <a:pt x="167" y="24"/>
                    <a:pt x="166" y="24"/>
                    <a:pt x="166" y="24"/>
                  </a:cubicBezTo>
                  <a:cubicBezTo>
                    <a:pt x="164" y="26"/>
                    <a:pt x="164" y="26"/>
                    <a:pt x="164" y="26"/>
                  </a:cubicBezTo>
                  <a:cubicBezTo>
                    <a:pt x="163" y="28"/>
                    <a:pt x="163" y="28"/>
                    <a:pt x="163" y="28"/>
                  </a:cubicBezTo>
                  <a:cubicBezTo>
                    <a:pt x="163" y="28"/>
                    <a:pt x="160" y="31"/>
                    <a:pt x="159" y="31"/>
                  </a:cubicBezTo>
                  <a:cubicBezTo>
                    <a:pt x="159" y="32"/>
                    <a:pt x="156" y="33"/>
                    <a:pt x="156" y="33"/>
                  </a:cubicBezTo>
                  <a:cubicBezTo>
                    <a:pt x="156" y="33"/>
                    <a:pt x="151" y="33"/>
                    <a:pt x="150" y="33"/>
                  </a:cubicBezTo>
                  <a:cubicBezTo>
                    <a:pt x="149" y="33"/>
                    <a:pt x="148" y="35"/>
                    <a:pt x="148" y="35"/>
                  </a:cubicBezTo>
                  <a:cubicBezTo>
                    <a:pt x="148" y="35"/>
                    <a:pt x="147" y="36"/>
                    <a:pt x="147" y="37"/>
                  </a:cubicBezTo>
                  <a:cubicBezTo>
                    <a:pt x="146" y="37"/>
                    <a:pt x="145" y="38"/>
                    <a:pt x="145" y="38"/>
                  </a:cubicBezTo>
                  <a:cubicBezTo>
                    <a:pt x="144" y="39"/>
                    <a:pt x="143" y="40"/>
                    <a:pt x="143" y="40"/>
                  </a:cubicBezTo>
                  <a:cubicBezTo>
                    <a:pt x="143" y="40"/>
                    <a:pt x="142" y="42"/>
                    <a:pt x="142" y="42"/>
                  </a:cubicBezTo>
                  <a:cubicBezTo>
                    <a:pt x="142" y="43"/>
                    <a:pt x="139" y="42"/>
                    <a:pt x="139" y="42"/>
                  </a:cubicBezTo>
                  <a:cubicBezTo>
                    <a:pt x="138" y="41"/>
                    <a:pt x="138" y="41"/>
                    <a:pt x="138" y="41"/>
                  </a:cubicBezTo>
                  <a:cubicBezTo>
                    <a:pt x="135" y="40"/>
                    <a:pt x="135" y="40"/>
                    <a:pt x="135" y="40"/>
                  </a:cubicBezTo>
                  <a:cubicBezTo>
                    <a:pt x="132" y="40"/>
                    <a:pt x="132" y="40"/>
                    <a:pt x="132" y="40"/>
                  </a:cubicBezTo>
                  <a:cubicBezTo>
                    <a:pt x="131" y="41"/>
                    <a:pt x="131" y="41"/>
                    <a:pt x="131" y="41"/>
                  </a:cubicBezTo>
                  <a:cubicBezTo>
                    <a:pt x="130" y="42"/>
                    <a:pt x="130" y="42"/>
                    <a:pt x="130" y="42"/>
                  </a:cubicBezTo>
                  <a:cubicBezTo>
                    <a:pt x="128" y="42"/>
                    <a:pt x="128" y="42"/>
                    <a:pt x="128" y="42"/>
                  </a:cubicBezTo>
                  <a:cubicBezTo>
                    <a:pt x="126" y="40"/>
                    <a:pt x="126" y="40"/>
                    <a:pt x="126" y="40"/>
                  </a:cubicBezTo>
                  <a:cubicBezTo>
                    <a:pt x="125" y="38"/>
                    <a:pt x="125" y="38"/>
                    <a:pt x="125" y="38"/>
                  </a:cubicBezTo>
                  <a:cubicBezTo>
                    <a:pt x="126" y="37"/>
                    <a:pt x="126" y="37"/>
                    <a:pt x="126" y="37"/>
                  </a:cubicBezTo>
                  <a:cubicBezTo>
                    <a:pt x="129" y="37"/>
                    <a:pt x="129" y="37"/>
                    <a:pt x="129" y="37"/>
                  </a:cubicBezTo>
                  <a:cubicBezTo>
                    <a:pt x="131" y="35"/>
                    <a:pt x="131" y="35"/>
                    <a:pt x="131" y="35"/>
                  </a:cubicBezTo>
                  <a:cubicBezTo>
                    <a:pt x="131" y="34"/>
                    <a:pt x="131" y="34"/>
                    <a:pt x="131" y="34"/>
                  </a:cubicBezTo>
                  <a:cubicBezTo>
                    <a:pt x="131" y="34"/>
                    <a:pt x="133" y="33"/>
                    <a:pt x="133" y="33"/>
                  </a:cubicBezTo>
                  <a:cubicBezTo>
                    <a:pt x="134" y="33"/>
                    <a:pt x="134" y="31"/>
                    <a:pt x="134" y="31"/>
                  </a:cubicBezTo>
                  <a:cubicBezTo>
                    <a:pt x="134" y="28"/>
                    <a:pt x="134" y="28"/>
                    <a:pt x="134" y="28"/>
                  </a:cubicBezTo>
                  <a:cubicBezTo>
                    <a:pt x="134" y="25"/>
                    <a:pt x="134" y="25"/>
                    <a:pt x="134" y="25"/>
                  </a:cubicBezTo>
                  <a:cubicBezTo>
                    <a:pt x="135" y="23"/>
                    <a:pt x="135" y="23"/>
                    <a:pt x="135" y="23"/>
                  </a:cubicBezTo>
                  <a:cubicBezTo>
                    <a:pt x="138" y="22"/>
                    <a:pt x="138" y="22"/>
                    <a:pt x="138" y="22"/>
                  </a:cubicBezTo>
                  <a:cubicBezTo>
                    <a:pt x="138" y="20"/>
                    <a:pt x="138" y="20"/>
                    <a:pt x="138" y="20"/>
                  </a:cubicBezTo>
                  <a:cubicBezTo>
                    <a:pt x="137" y="17"/>
                    <a:pt x="137" y="17"/>
                    <a:pt x="137" y="17"/>
                  </a:cubicBezTo>
                  <a:cubicBezTo>
                    <a:pt x="137" y="17"/>
                    <a:pt x="133" y="17"/>
                    <a:pt x="133" y="17"/>
                  </a:cubicBezTo>
                  <a:cubicBezTo>
                    <a:pt x="132" y="17"/>
                    <a:pt x="131" y="18"/>
                    <a:pt x="131" y="18"/>
                  </a:cubicBezTo>
                  <a:cubicBezTo>
                    <a:pt x="131" y="21"/>
                    <a:pt x="131" y="21"/>
                    <a:pt x="131" y="21"/>
                  </a:cubicBezTo>
                  <a:cubicBezTo>
                    <a:pt x="133" y="23"/>
                    <a:pt x="133" y="23"/>
                    <a:pt x="133" y="23"/>
                  </a:cubicBezTo>
                  <a:cubicBezTo>
                    <a:pt x="133" y="24"/>
                    <a:pt x="133" y="24"/>
                    <a:pt x="133" y="24"/>
                  </a:cubicBezTo>
                  <a:cubicBezTo>
                    <a:pt x="131" y="25"/>
                    <a:pt x="131" y="25"/>
                    <a:pt x="131" y="25"/>
                  </a:cubicBezTo>
                  <a:cubicBezTo>
                    <a:pt x="129" y="24"/>
                    <a:pt x="129" y="24"/>
                    <a:pt x="129" y="24"/>
                  </a:cubicBezTo>
                  <a:cubicBezTo>
                    <a:pt x="128" y="26"/>
                    <a:pt x="128" y="26"/>
                    <a:pt x="128" y="26"/>
                  </a:cubicBezTo>
                  <a:cubicBezTo>
                    <a:pt x="127" y="28"/>
                    <a:pt x="127" y="28"/>
                    <a:pt x="127" y="28"/>
                  </a:cubicBezTo>
                  <a:cubicBezTo>
                    <a:pt x="123" y="27"/>
                    <a:pt x="123" y="27"/>
                    <a:pt x="123" y="27"/>
                  </a:cubicBezTo>
                  <a:cubicBezTo>
                    <a:pt x="120" y="25"/>
                    <a:pt x="120" y="25"/>
                    <a:pt x="120" y="25"/>
                  </a:cubicBezTo>
                  <a:cubicBezTo>
                    <a:pt x="118" y="23"/>
                    <a:pt x="118" y="23"/>
                    <a:pt x="118" y="23"/>
                  </a:cubicBezTo>
                  <a:cubicBezTo>
                    <a:pt x="115" y="23"/>
                    <a:pt x="115" y="23"/>
                    <a:pt x="115" y="23"/>
                  </a:cubicBezTo>
                  <a:cubicBezTo>
                    <a:pt x="114" y="23"/>
                    <a:pt x="114" y="23"/>
                    <a:pt x="114" y="23"/>
                  </a:cubicBezTo>
                  <a:cubicBezTo>
                    <a:pt x="111" y="23"/>
                    <a:pt x="111" y="23"/>
                    <a:pt x="111" y="23"/>
                  </a:cubicBezTo>
                  <a:cubicBezTo>
                    <a:pt x="110" y="22"/>
                    <a:pt x="110" y="22"/>
                    <a:pt x="110" y="22"/>
                  </a:cubicBezTo>
                  <a:cubicBezTo>
                    <a:pt x="109" y="21"/>
                    <a:pt x="109" y="21"/>
                    <a:pt x="109" y="21"/>
                  </a:cubicBezTo>
                  <a:cubicBezTo>
                    <a:pt x="107" y="21"/>
                    <a:pt x="107" y="21"/>
                    <a:pt x="107" y="21"/>
                  </a:cubicBezTo>
                  <a:cubicBezTo>
                    <a:pt x="105" y="20"/>
                    <a:pt x="105" y="20"/>
                    <a:pt x="105" y="20"/>
                  </a:cubicBezTo>
                  <a:cubicBezTo>
                    <a:pt x="105" y="18"/>
                    <a:pt x="105" y="18"/>
                    <a:pt x="105" y="18"/>
                  </a:cubicBezTo>
                  <a:cubicBezTo>
                    <a:pt x="105" y="18"/>
                    <a:pt x="106" y="15"/>
                    <a:pt x="106" y="14"/>
                  </a:cubicBezTo>
                  <a:cubicBezTo>
                    <a:pt x="107" y="14"/>
                    <a:pt x="107" y="12"/>
                    <a:pt x="107" y="12"/>
                  </a:cubicBezTo>
                  <a:cubicBezTo>
                    <a:pt x="106" y="8"/>
                    <a:pt x="106" y="8"/>
                    <a:pt x="106" y="8"/>
                  </a:cubicBezTo>
                  <a:cubicBezTo>
                    <a:pt x="99" y="1"/>
                    <a:pt x="99" y="1"/>
                    <a:pt x="99" y="1"/>
                  </a:cubicBezTo>
                  <a:cubicBezTo>
                    <a:pt x="99" y="3"/>
                    <a:pt x="99" y="3"/>
                    <a:pt x="99" y="3"/>
                  </a:cubicBezTo>
                  <a:cubicBezTo>
                    <a:pt x="97" y="4"/>
                    <a:pt x="97" y="4"/>
                    <a:pt x="97" y="4"/>
                  </a:cubicBezTo>
                  <a:cubicBezTo>
                    <a:pt x="96" y="2"/>
                    <a:pt x="96" y="2"/>
                    <a:pt x="96" y="2"/>
                  </a:cubicBezTo>
                  <a:cubicBezTo>
                    <a:pt x="96" y="2"/>
                    <a:pt x="95" y="1"/>
                    <a:pt x="95" y="2"/>
                  </a:cubicBezTo>
                  <a:cubicBezTo>
                    <a:pt x="94" y="2"/>
                    <a:pt x="91" y="4"/>
                    <a:pt x="91" y="4"/>
                  </a:cubicBezTo>
                  <a:cubicBezTo>
                    <a:pt x="91" y="4"/>
                    <a:pt x="90" y="4"/>
                    <a:pt x="89" y="4"/>
                  </a:cubicBezTo>
                  <a:cubicBezTo>
                    <a:pt x="89" y="4"/>
                    <a:pt x="88" y="5"/>
                    <a:pt x="88" y="5"/>
                  </a:cubicBezTo>
                  <a:cubicBezTo>
                    <a:pt x="86" y="4"/>
                    <a:pt x="86" y="4"/>
                    <a:pt x="86" y="4"/>
                  </a:cubicBezTo>
                  <a:cubicBezTo>
                    <a:pt x="83" y="2"/>
                    <a:pt x="83" y="2"/>
                    <a:pt x="83" y="2"/>
                  </a:cubicBezTo>
                  <a:cubicBezTo>
                    <a:pt x="83" y="2"/>
                    <a:pt x="81" y="2"/>
                    <a:pt x="80" y="2"/>
                  </a:cubicBezTo>
                  <a:cubicBezTo>
                    <a:pt x="79" y="2"/>
                    <a:pt x="76" y="0"/>
                    <a:pt x="76" y="0"/>
                  </a:cubicBezTo>
                  <a:cubicBezTo>
                    <a:pt x="74" y="0"/>
                    <a:pt x="74" y="0"/>
                    <a:pt x="74" y="0"/>
                  </a:cubicBezTo>
                  <a:cubicBezTo>
                    <a:pt x="71" y="1"/>
                    <a:pt x="71" y="1"/>
                    <a:pt x="71" y="1"/>
                  </a:cubicBezTo>
                  <a:cubicBezTo>
                    <a:pt x="72" y="7"/>
                    <a:pt x="72" y="7"/>
                    <a:pt x="72" y="7"/>
                  </a:cubicBezTo>
                  <a:cubicBezTo>
                    <a:pt x="73" y="9"/>
                    <a:pt x="73" y="9"/>
                    <a:pt x="73" y="9"/>
                  </a:cubicBezTo>
                  <a:cubicBezTo>
                    <a:pt x="74" y="11"/>
                    <a:pt x="74" y="11"/>
                    <a:pt x="74" y="11"/>
                  </a:cubicBezTo>
                  <a:cubicBezTo>
                    <a:pt x="75" y="12"/>
                    <a:pt x="75" y="12"/>
                    <a:pt x="75" y="12"/>
                  </a:cubicBezTo>
                  <a:cubicBezTo>
                    <a:pt x="77" y="14"/>
                    <a:pt x="77" y="14"/>
                    <a:pt x="77" y="14"/>
                  </a:cubicBezTo>
                  <a:cubicBezTo>
                    <a:pt x="79" y="17"/>
                    <a:pt x="79" y="17"/>
                    <a:pt x="79" y="17"/>
                  </a:cubicBezTo>
                  <a:cubicBezTo>
                    <a:pt x="80" y="19"/>
                    <a:pt x="80" y="19"/>
                    <a:pt x="80" y="19"/>
                  </a:cubicBezTo>
                  <a:cubicBezTo>
                    <a:pt x="79" y="19"/>
                    <a:pt x="79" y="19"/>
                    <a:pt x="79" y="19"/>
                  </a:cubicBezTo>
                  <a:cubicBezTo>
                    <a:pt x="77" y="19"/>
                    <a:pt x="77" y="19"/>
                    <a:pt x="77" y="19"/>
                  </a:cubicBezTo>
                  <a:cubicBezTo>
                    <a:pt x="77" y="21"/>
                    <a:pt x="77" y="21"/>
                    <a:pt x="77" y="21"/>
                  </a:cubicBezTo>
                  <a:cubicBezTo>
                    <a:pt x="77" y="21"/>
                    <a:pt x="78" y="21"/>
                    <a:pt x="78" y="21"/>
                  </a:cubicBezTo>
                  <a:cubicBezTo>
                    <a:pt x="79" y="21"/>
                    <a:pt x="80" y="20"/>
                    <a:pt x="80" y="20"/>
                  </a:cubicBezTo>
                  <a:cubicBezTo>
                    <a:pt x="81" y="19"/>
                    <a:pt x="81" y="19"/>
                    <a:pt x="81" y="19"/>
                  </a:cubicBezTo>
                  <a:cubicBezTo>
                    <a:pt x="82" y="21"/>
                    <a:pt x="82" y="21"/>
                    <a:pt x="82" y="21"/>
                  </a:cubicBezTo>
                  <a:cubicBezTo>
                    <a:pt x="76" y="23"/>
                    <a:pt x="76" y="23"/>
                    <a:pt x="76" y="23"/>
                  </a:cubicBezTo>
                  <a:cubicBezTo>
                    <a:pt x="72" y="24"/>
                    <a:pt x="72" y="24"/>
                    <a:pt x="72" y="24"/>
                  </a:cubicBezTo>
                  <a:cubicBezTo>
                    <a:pt x="71" y="27"/>
                    <a:pt x="71" y="27"/>
                    <a:pt x="71" y="27"/>
                  </a:cubicBezTo>
                  <a:cubicBezTo>
                    <a:pt x="73" y="29"/>
                    <a:pt x="73" y="29"/>
                    <a:pt x="73" y="29"/>
                  </a:cubicBezTo>
                  <a:cubicBezTo>
                    <a:pt x="75" y="29"/>
                    <a:pt x="75" y="29"/>
                    <a:pt x="75" y="29"/>
                  </a:cubicBezTo>
                  <a:cubicBezTo>
                    <a:pt x="78" y="29"/>
                    <a:pt x="78" y="29"/>
                    <a:pt x="78" y="29"/>
                  </a:cubicBezTo>
                  <a:cubicBezTo>
                    <a:pt x="78" y="29"/>
                    <a:pt x="78" y="30"/>
                    <a:pt x="77" y="31"/>
                  </a:cubicBezTo>
                  <a:cubicBezTo>
                    <a:pt x="77" y="33"/>
                    <a:pt x="78" y="33"/>
                    <a:pt x="78" y="33"/>
                  </a:cubicBezTo>
                  <a:cubicBezTo>
                    <a:pt x="80" y="33"/>
                    <a:pt x="80" y="33"/>
                    <a:pt x="80" y="33"/>
                  </a:cubicBezTo>
                  <a:cubicBezTo>
                    <a:pt x="80" y="33"/>
                    <a:pt x="80" y="34"/>
                    <a:pt x="79" y="35"/>
                  </a:cubicBezTo>
                  <a:cubicBezTo>
                    <a:pt x="78" y="35"/>
                    <a:pt x="78" y="38"/>
                    <a:pt x="78" y="38"/>
                  </a:cubicBezTo>
                  <a:cubicBezTo>
                    <a:pt x="81" y="40"/>
                    <a:pt x="81" y="40"/>
                    <a:pt x="81" y="40"/>
                  </a:cubicBezTo>
                  <a:cubicBezTo>
                    <a:pt x="80" y="41"/>
                    <a:pt x="80" y="41"/>
                    <a:pt x="80" y="41"/>
                  </a:cubicBezTo>
                  <a:cubicBezTo>
                    <a:pt x="79" y="43"/>
                    <a:pt x="79" y="43"/>
                    <a:pt x="79" y="43"/>
                  </a:cubicBezTo>
                  <a:cubicBezTo>
                    <a:pt x="79" y="43"/>
                    <a:pt x="81" y="45"/>
                    <a:pt x="81" y="46"/>
                  </a:cubicBezTo>
                  <a:cubicBezTo>
                    <a:pt x="81" y="46"/>
                    <a:pt x="84" y="46"/>
                    <a:pt x="84" y="46"/>
                  </a:cubicBezTo>
                  <a:cubicBezTo>
                    <a:pt x="84" y="46"/>
                    <a:pt x="85" y="44"/>
                    <a:pt x="85" y="44"/>
                  </a:cubicBezTo>
                  <a:cubicBezTo>
                    <a:pt x="85" y="44"/>
                    <a:pt x="87" y="45"/>
                    <a:pt x="87" y="45"/>
                  </a:cubicBezTo>
                  <a:cubicBezTo>
                    <a:pt x="88" y="45"/>
                    <a:pt x="89" y="47"/>
                    <a:pt x="89" y="47"/>
                  </a:cubicBezTo>
                  <a:cubicBezTo>
                    <a:pt x="86" y="47"/>
                    <a:pt x="86" y="47"/>
                    <a:pt x="86" y="47"/>
                  </a:cubicBezTo>
                  <a:cubicBezTo>
                    <a:pt x="84" y="48"/>
                    <a:pt x="84" y="48"/>
                    <a:pt x="84" y="48"/>
                  </a:cubicBezTo>
                  <a:cubicBezTo>
                    <a:pt x="79" y="48"/>
                    <a:pt x="79" y="48"/>
                    <a:pt x="79" y="48"/>
                  </a:cubicBezTo>
                  <a:cubicBezTo>
                    <a:pt x="75" y="48"/>
                    <a:pt x="75" y="48"/>
                    <a:pt x="75" y="48"/>
                  </a:cubicBezTo>
                  <a:cubicBezTo>
                    <a:pt x="73" y="47"/>
                    <a:pt x="73" y="47"/>
                    <a:pt x="73" y="47"/>
                  </a:cubicBezTo>
                  <a:cubicBezTo>
                    <a:pt x="70" y="49"/>
                    <a:pt x="70" y="49"/>
                    <a:pt x="70" y="49"/>
                  </a:cubicBezTo>
                  <a:cubicBezTo>
                    <a:pt x="69" y="52"/>
                    <a:pt x="69" y="52"/>
                    <a:pt x="69" y="52"/>
                  </a:cubicBezTo>
                  <a:cubicBezTo>
                    <a:pt x="68" y="56"/>
                    <a:pt x="68" y="56"/>
                    <a:pt x="68" y="56"/>
                  </a:cubicBezTo>
                  <a:cubicBezTo>
                    <a:pt x="68" y="56"/>
                    <a:pt x="70" y="60"/>
                    <a:pt x="71" y="60"/>
                  </a:cubicBezTo>
                  <a:cubicBezTo>
                    <a:pt x="71" y="60"/>
                    <a:pt x="68" y="61"/>
                    <a:pt x="68" y="61"/>
                  </a:cubicBezTo>
                  <a:cubicBezTo>
                    <a:pt x="66" y="60"/>
                    <a:pt x="66" y="60"/>
                    <a:pt x="66" y="60"/>
                  </a:cubicBezTo>
                  <a:cubicBezTo>
                    <a:pt x="66" y="60"/>
                    <a:pt x="64" y="58"/>
                    <a:pt x="63" y="58"/>
                  </a:cubicBezTo>
                  <a:cubicBezTo>
                    <a:pt x="62" y="57"/>
                    <a:pt x="61" y="58"/>
                    <a:pt x="61" y="58"/>
                  </a:cubicBezTo>
                  <a:cubicBezTo>
                    <a:pt x="60" y="61"/>
                    <a:pt x="60" y="61"/>
                    <a:pt x="60" y="61"/>
                  </a:cubicBezTo>
                  <a:cubicBezTo>
                    <a:pt x="61" y="61"/>
                    <a:pt x="61" y="61"/>
                    <a:pt x="61" y="61"/>
                  </a:cubicBezTo>
                  <a:cubicBezTo>
                    <a:pt x="62" y="63"/>
                    <a:pt x="62" y="63"/>
                    <a:pt x="62" y="63"/>
                  </a:cubicBezTo>
                  <a:cubicBezTo>
                    <a:pt x="62" y="65"/>
                    <a:pt x="62" y="65"/>
                    <a:pt x="62" y="65"/>
                  </a:cubicBezTo>
                  <a:cubicBezTo>
                    <a:pt x="60" y="66"/>
                    <a:pt x="60" y="66"/>
                    <a:pt x="60" y="66"/>
                  </a:cubicBezTo>
                  <a:cubicBezTo>
                    <a:pt x="60" y="66"/>
                    <a:pt x="59" y="65"/>
                    <a:pt x="59" y="64"/>
                  </a:cubicBezTo>
                  <a:cubicBezTo>
                    <a:pt x="59" y="64"/>
                    <a:pt x="58" y="61"/>
                    <a:pt x="58" y="61"/>
                  </a:cubicBezTo>
                  <a:cubicBezTo>
                    <a:pt x="58" y="60"/>
                    <a:pt x="58" y="58"/>
                    <a:pt x="58" y="58"/>
                  </a:cubicBezTo>
                  <a:cubicBezTo>
                    <a:pt x="58" y="58"/>
                    <a:pt x="57" y="56"/>
                    <a:pt x="57" y="56"/>
                  </a:cubicBezTo>
                  <a:cubicBezTo>
                    <a:pt x="58" y="55"/>
                    <a:pt x="56" y="54"/>
                    <a:pt x="56" y="53"/>
                  </a:cubicBezTo>
                  <a:cubicBezTo>
                    <a:pt x="56" y="53"/>
                    <a:pt x="54" y="51"/>
                    <a:pt x="54" y="51"/>
                  </a:cubicBezTo>
                  <a:cubicBezTo>
                    <a:pt x="52" y="49"/>
                    <a:pt x="52" y="49"/>
                    <a:pt x="52" y="49"/>
                  </a:cubicBezTo>
                  <a:cubicBezTo>
                    <a:pt x="49" y="51"/>
                    <a:pt x="49" y="51"/>
                    <a:pt x="49" y="51"/>
                  </a:cubicBezTo>
                  <a:cubicBezTo>
                    <a:pt x="44" y="50"/>
                    <a:pt x="44" y="50"/>
                    <a:pt x="44" y="50"/>
                  </a:cubicBezTo>
                  <a:cubicBezTo>
                    <a:pt x="41" y="52"/>
                    <a:pt x="41" y="52"/>
                    <a:pt x="41" y="52"/>
                  </a:cubicBezTo>
                  <a:cubicBezTo>
                    <a:pt x="41" y="53"/>
                    <a:pt x="41" y="53"/>
                    <a:pt x="41" y="53"/>
                  </a:cubicBezTo>
                  <a:cubicBezTo>
                    <a:pt x="37" y="54"/>
                    <a:pt x="37" y="54"/>
                    <a:pt x="37" y="54"/>
                  </a:cubicBezTo>
                  <a:cubicBezTo>
                    <a:pt x="37" y="54"/>
                    <a:pt x="36" y="54"/>
                    <a:pt x="36" y="54"/>
                  </a:cubicBezTo>
                  <a:cubicBezTo>
                    <a:pt x="35" y="54"/>
                    <a:pt x="35" y="54"/>
                    <a:pt x="34" y="54"/>
                  </a:cubicBezTo>
                  <a:cubicBezTo>
                    <a:pt x="33" y="54"/>
                    <a:pt x="33" y="54"/>
                    <a:pt x="33" y="54"/>
                  </a:cubicBezTo>
                  <a:cubicBezTo>
                    <a:pt x="33" y="54"/>
                    <a:pt x="33" y="54"/>
                    <a:pt x="33" y="54"/>
                  </a:cubicBezTo>
                  <a:cubicBezTo>
                    <a:pt x="32" y="54"/>
                    <a:pt x="32" y="54"/>
                    <a:pt x="32" y="54"/>
                  </a:cubicBezTo>
                  <a:cubicBezTo>
                    <a:pt x="32" y="54"/>
                    <a:pt x="32" y="54"/>
                    <a:pt x="32" y="54"/>
                  </a:cubicBezTo>
                  <a:cubicBezTo>
                    <a:pt x="30" y="56"/>
                    <a:pt x="30" y="56"/>
                    <a:pt x="30" y="56"/>
                  </a:cubicBezTo>
                  <a:cubicBezTo>
                    <a:pt x="32" y="59"/>
                    <a:pt x="32" y="59"/>
                    <a:pt x="32" y="59"/>
                  </a:cubicBezTo>
                  <a:cubicBezTo>
                    <a:pt x="32" y="62"/>
                    <a:pt x="32" y="62"/>
                    <a:pt x="32" y="62"/>
                  </a:cubicBezTo>
                  <a:cubicBezTo>
                    <a:pt x="32" y="62"/>
                    <a:pt x="30" y="64"/>
                    <a:pt x="29" y="64"/>
                  </a:cubicBezTo>
                  <a:cubicBezTo>
                    <a:pt x="29" y="64"/>
                    <a:pt x="29" y="65"/>
                    <a:pt x="28" y="67"/>
                  </a:cubicBezTo>
                  <a:cubicBezTo>
                    <a:pt x="29" y="68"/>
                    <a:pt x="29" y="68"/>
                    <a:pt x="29" y="68"/>
                  </a:cubicBezTo>
                  <a:cubicBezTo>
                    <a:pt x="33" y="70"/>
                    <a:pt x="33" y="70"/>
                    <a:pt x="33" y="70"/>
                  </a:cubicBezTo>
                  <a:cubicBezTo>
                    <a:pt x="33" y="70"/>
                    <a:pt x="33" y="72"/>
                    <a:pt x="33" y="72"/>
                  </a:cubicBezTo>
                  <a:cubicBezTo>
                    <a:pt x="34" y="72"/>
                    <a:pt x="36" y="73"/>
                    <a:pt x="36" y="73"/>
                  </a:cubicBezTo>
                  <a:cubicBezTo>
                    <a:pt x="36" y="75"/>
                    <a:pt x="36" y="75"/>
                    <a:pt x="36" y="75"/>
                  </a:cubicBezTo>
                  <a:cubicBezTo>
                    <a:pt x="36" y="76"/>
                    <a:pt x="36" y="76"/>
                    <a:pt x="36" y="76"/>
                  </a:cubicBezTo>
                  <a:cubicBezTo>
                    <a:pt x="36" y="76"/>
                    <a:pt x="36" y="76"/>
                    <a:pt x="36" y="77"/>
                  </a:cubicBezTo>
                  <a:cubicBezTo>
                    <a:pt x="36" y="77"/>
                    <a:pt x="36" y="79"/>
                    <a:pt x="36" y="79"/>
                  </a:cubicBezTo>
                  <a:cubicBezTo>
                    <a:pt x="36" y="80"/>
                    <a:pt x="36" y="85"/>
                    <a:pt x="36" y="85"/>
                  </a:cubicBezTo>
                  <a:cubicBezTo>
                    <a:pt x="36" y="86"/>
                    <a:pt x="36" y="86"/>
                    <a:pt x="36" y="86"/>
                  </a:cubicBezTo>
                  <a:cubicBezTo>
                    <a:pt x="36" y="86"/>
                    <a:pt x="36" y="86"/>
                    <a:pt x="36" y="86"/>
                  </a:cubicBezTo>
                  <a:cubicBezTo>
                    <a:pt x="36" y="86"/>
                    <a:pt x="34" y="89"/>
                    <a:pt x="33" y="91"/>
                  </a:cubicBezTo>
                  <a:cubicBezTo>
                    <a:pt x="33" y="92"/>
                    <a:pt x="33" y="92"/>
                    <a:pt x="33" y="93"/>
                  </a:cubicBezTo>
                  <a:cubicBezTo>
                    <a:pt x="33" y="93"/>
                    <a:pt x="33" y="93"/>
                    <a:pt x="33" y="93"/>
                  </a:cubicBezTo>
                  <a:cubicBezTo>
                    <a:pt x="32" y="98"/>
                    <a:pt x="32" y="98"/>
                    <a:pt x="32" y="98"/>
                  </a:cubicBezTo>
                  <a:cubicBezTo>
                    <a:pt x="32" y="99"/>
                    <a:pt x="31" y="103"/>
                    <a:pt x="29" y="103"/>
                  </a:cubicBezTo>
                  <a:cubicBezTo>
                    <a:pt x="28" y="103"/>
                    <a:pt x="28" y="103"/>
                    <a:pt x="28" y="103"/>
                  </a:cubicBezTo>
                  <a:cubicBezTo>
                    <a:pt x="28" y="103"/>
                    <a:pt x="28" y="103"/>
                    <a:pt x="28" y="103"/>
                  </a:cubicBezTo>
                  <a:cubicBezTo>
                    <a:pt x="28" y="103"/>
                    <a:pt x="27" y="103"/>
                    <a:pt x="27" y="102"/>
                  </a:cubicBezTo>
                  <a:cubicBezTo>
                    <a:pt x="23" y="104"/>
                    <a:pt x="23" y="104"/>
                    <a:pt x="23" y="104"/>
                  </a:cubicBezTo>
                  <a:cubicBezTo>
                    <a:pt x="23" y="105"/>
                    <a:pt x="23" y="105"/>
                    <a:pt x="23" y="105"/>
                  </a:cubicBezTo>
                  <a:cubicBezTo>
                    <a:pt x="23" y="105"/>
                    <a:pt x="24" y="105"/>
                    <a:pt x="24" y="105"/>
                  </a:cubicBezTo>
                  <a:cubicBezTo>
                    <a:pt x="25" y="105"/>
                    <a:pt x="25" y="105"/>
                    <a:pt x="25" y="105"/>
                  </a:cubicBezTo>
                  <a:cubicBezTo>
                    <a:pt x="27" y="106"/>
                    <a:pt x="27" y="106"/>
                    <a:pt x="27" y="106"/>
                  </a:cubicBezTo>
                  <a:cubicBezTo>
                    <a:pt x="28" y="106"/>
                    <a:pt x="28" y="106"/>
                    <a:pt x="28" y="106"/>
                  </a:cubicBezTo>
                  <a:cubicBezTo>
                    <a:pt x="32" y="111"/>
                    <a:pt x="32" y="111"/>
                    <a:pt x="32" y="111"/>
                  </a:cubicBezTo>
                  <a:cubicBezTo>
                    <a:pt x="31" y="114"/>
                    <a:pt x="31" y="114"/>
                    <a:pt x="31" y="114"/>
                  </a:cubicBezTo>
                  <a:cubicBezTo>
                    <a:pt x="31" y="114"/>
                    <a:pt x="31" y="115"/>
                    <a:pt x="31" y="116"/>
                  </a:cubicBezTo>
                  <a:cubicBezTo>
                    <a:pt x="32" y="117"/>
                    <a:pt x="32" y="118"/>
                    <a:pt x="31" y="119"/>
                  </a:cubicBezTo>
                  <a:cubicBezTo>
                    <a:pt x="31" y="119"/>
                    <a:pt x="31" y="119"/>
                    <a:pt x="31" y="119"/>
                  </a:cubicBezTo>
                  <a:cubicBezTo>
                    <a:pt x="30" y="119"/>
                    <a:pt x="30" y="119"/>
                    <a:pt x="30" y="119"/>
                  </a:cubicBezTo>
                  <a:cubicBezTo>
                    <a:pt x="29" y="119"/>
                    <a:pt x="29" y="120"/>
                    <a:pt x="29" y="120"/>
                  </a:cubicBezTo>
                  <a:cubicBezTo>
                    <a:pt x="29" y="120"/>
                    <a:pt x="29" y="120"/>
                    <a:pt x="29" y="120"/>
                  </a:cubicBezTo>
                  <a:cubicBezTo>
                    <a:pt x="28" y="121"/>
                    <a:pt x="28" y="121"/>
                    <a:pt x="28" y="121"/>
                  </a:cubicBezTo>
                  <a:cubicBezTo>
                    <a:pt x="28" y="121"/>
                    <a:pt x="27" y="122"/>
                    <a:pt x="25" y="123"/>
                  </a:cubicBezTo>
                  <a:cubicBezTo>
                    <a:pt x="25" y="123"/>
                    <a:pt x="24" y="124"/>
                    <a:pt x="22" y="124"/>
                  </a:cubicBezTo>
                  <a:cubicBezTo>
                    <a:pt x="22" y="124"/>
                    <a:pt x="22" y="124"/>
                    <a:pt x="22" y="124"/>
                  </a:cubicBezTo>
                  <a:cubicBezTo>
                    <a:pt x="25" y="126"/>
                    <a:pt x="25" y="126"/>
                    <a:pt x="25" y="126"/>
                  </a:cubicBezTo>
                  <a:cubicBezTo>
                    <a:pt x="24" y="130"/>
                    <a:pt x="24" y="130"/>
                    <a:pt x="24" y="130"/>
                  </a:cubicBezTo>
                  <a:cubicBezTo>
                    <a:pt x="21" y="131"/>
                    <a:pt x="21" y="131"/>
                    <a:pt x="21" y="131"/>
                  </a:cubicBezTo>
                  <a:cubicBezTo>
                    <a:pt x="20" y="133"/>
                    <a:pt x="20" y="133"/>
                    <a:pt x="20" y="133"/>
                  </a:cubicBezTo>
                  <a:cubicBezTo>
                    <a:pt x="17" y="133"/>
                    <a:pt x="17" y="133"/>
                    <a:pt x="17" y="133"/>
                  </a:cubicBezTo>
                  <a:cubicBezTo>
                    <a:pt x="14" y="134"/>
                    <a:pt x="14" y="134"/>
                    <a:pt x="14" y="134"/>
                  </a:cubicBezTo>
                  <a:cubicBezTo>
                    <a:pt x="13" y="134"/>
                    <a:pt x="13" y="134"/>
                    <a:pt x="13" y="134"/>
                  </a:cubicBezTo>
                  <a:cubicBezTo>
                    <a:pt x="12" y="137"/>
                    <a:pt x="12" y="137"/>
                    <a:pt x="12" y="137"/>
                  </a:cubicBezTo>
                  <a:cubicBezTo>
                    <a:pt x="8" y="134"/>
                    <a:pt x="8" y="134"/>
                    <a:pt x="8" y="134"/>
                  </a:cubicBezTo>
                  <a:cubicBezTo>
                    <a:pt x="6" y="133"/>
                    <a:pt x="6" y="133"/>
                    <a:pt x="6" y="133"/>
                  </a:cubicBezTo>
                  <a:cubicBezTo>
                    <a:pt x="4" y="134"/>
                    <a:pt x="4" y="134"/>
                    <a:pt x="4" y="134"/>
                  </a:cubicBezTo>
                  <a:cubicBezTo>
                    <a:pt x="3" y="134"/>
                    <a:pt x="3" y="134"/>
                    <a:pt x="3" y="134"/>
                  </a:cubicBezTo>
                  <a:cubicBezTo>
                    <a:pt x="3" y="134"/>
                    <a:pt x="3" y="134"/>
                    <a:pt x="3" y="134"/>
                  </a:cubicBezTo>
                  <a:cubicBezTo>
                    <a:pt x="3" y="135"/>
                    <a:pt x="4" y="135"/>
                    <a:pt x="4" y="135"/>
                  </a:cubicBezTo>
                  <a:cubicBezTo>
                    <a:pt x="5" y="136"/>
                    <a:pt x="5" y="136"/>
                    <a:pt x="5" y="136"/>
                  </a:cubicBezTo>
                  <a:cubicBezTo>
                    <a:pt x="4" y="138"/>
                    <a:pt x="4" y="138"/>
                    <a:pt x="4" y="138"/>
                  </a:cubicBezTo>
                  <a:cubicBezTo>
                    <a:pt x="6" y="140"/>
                    <a:pt x="6" y="140"/>
                    <a:pt x="6" y="140"/>
                  </a:cubicBezTo>
                  <a:cubicBezTo>
                    <a:pt x="6" y="141"/>
                    <a:pt x="6" y="141"/>
                    <a:pt x="6" y="141"/>
                  </a:cubicBezTo>
                  <a:cubicBezTo>
                    <a:pt x="7" y="143"/>
                    <a:pt x="7" y="143"/>
                    <a:pt x="7" y="143"/>
                  </a:cubicBezTo>
                  <a:cubicBezTo>
                    <a:pt x="7" y="145"/>
                    <a:pt x="7" y="145"/>
                    <a:pt x="7" y="145"/>
                  </a:cubicBezTo>
                  <a:cubicBezTo>
                    <a:pt x="9" y="148"/>
                    <a:pt x="9" y="148"/>
                    <a:pt x="9" y="148"/>
                  </a:cubicBezTo>
                  <a:cubicBezTo>
                    <a:pt x="8" y="151"/>
                    <a:pt x="8" y="151"/>
                    <a:pt x="8" y="151"/>
                  </a:cubicBezTo>
                  <a:cubicBezTo>
                    <a:pt x="8" y="152"/>
                    <a:pt x="8" y="153"/>
                    <a:pt x="8" y="154"/>
                  </a:cubicBezTo>
                  <a:cubicBezTo>
                    <a:pt x="8" y="154"/>
                    <a:pt x="8" y="154"/>
                    <a:pt x="8" y="154"/>
                  </a:cubicBezTo>
                  <a:cubicBezTo>
                    <a:pt x="7" y="154"/>
                    <a:pt x="7" y="154"/>
                    <a:pt x="7" y="154"/>
                  </a:cubicBezTo>
                  <a:cubicBezTo>
                    <a:pt x="7" y="155"/>
                    <a:pt x="6" y="156"/>
                    <a:pt x="6" y="156"/>
                  </a:cubicBezTo>
                  <a:cubicBezTo>
                    <a:pt x="4" y="158"/>
                    <a:pt x="4" y="158"/>
                    <a:pt x="4" y="158"/>
                  </a:cubicBezTo>
                  <a:cubicBezTo>
                    <a:pt x="4" y="158"/>
                    <a:pt x="4" y="158"/>
                    <a:pt x="4" y="158"/>
                  </a:cubicBezTo>
                  <a:cubicBezTo>
                    <a:pt x="6" y="159"/>
                    <a:pt x="8" y="160"/>
                    <a:pt x="7" y="162"/>
                  </a:cubicBezTo>
                  <a:cubicBezTo>
                    <a:pt x="7" y="163"/>
                    <a:pt x="7" y="163"/>
                    <a:pt x="7" y="163"/>
                  </a:cubicBezTo>
                  <a:cubicBezTo>
                    <a:pt x="7" y="163"/>
                    <a:pt x="7" y="163"/>
                    <a:pt x="7" y="163"/>
                  </a:cubicBezTo>
                  <a:cubicBezTo>
                    <a:pt x="5" y="164"/>
                    <a:pt x="4" y="164"/>
                    <a:pt x="2" y="164"/>
                  </a:cubicBezTo>
                  <a:cubicBezTo>
                    <a:pt x="1" y="164"/>
                    <a:pt x="1" y="164"/>
                    <a:pt x="1" y="164"/>
                  </a:cubicBezTo>
                  <a:cubicBezTo>
                    <a:pt x="1" y="165"/>
                    <a:pt x="1" y="165"/>
                    <a:pt x="1" y="165"/>
                  </a:cubicBezTo>
                  <a:cubicBezTo>
                    <a:pt x="0" y="166"/>
                    <a:pt x="0" y="166"/>
                    <a:pt x="0" y="166"/>
                  </a:cubicBezTo>
                  <a:cubicBezTo>
                    <a:pt x="0" y="166"/>
                    <a:pt x="2" y="167"/>
                    <a:pt x="2" y="167"/>
                  </a:cubicBezTo>
                  <a:cubicBezTo>
                    <a:pt x="2" y="167"/>
                    <a:pt x="2" y="169"/>
                    <a:pt x="2" y="169"/>
                  </a:cubicBezTo>
                  <a:cubicBezTo>
                    <a:pt x="3" y="169"/>
                    <a:pt x="3" y="170"/>
                    <a:pt x="3" y="170"/>
                  </a:cubicBezTo>
                  <a:cubicBezTo>
                    <a:pt x="4" y="170"/>
                    <a:pt x="4" y="170"/>
                    <a:pt x="4" y="170"/>
                  </a:cubicBezTo>
                  <a:cubicBezTo>
                    <a:pt x="4" y="171"/>
                    <a:pt x="4" y="171"/>
                    <a:pt x="4" y="171"/>
                  </a:cubicBezTo>
                  <a:cubicBezTo>
                    <a:pt x="4" y="171"/>
                    <a:pt x="4" y="173"/>
                    <a:pt x="3" y="174"/>
                  </a:cubicBezTo>
                  <a:cubicBezTo>
                    <a:pt x="3" y="175"/>
                    <a:pt x="3" y="176"/>
                    <a:pt x="1" y="177"/>
                  </a:cubicBezTo>
                  <a:cubicBezTo>
                    <a:pt x="1" y="177"/>
                    <a:pt x="1" y="177"/>
                    <a:pt x="1" y="177"/>
                  </a:cubicBezTo>
                  <a:cubicBezTo>
                    <a:pt x="1" y="177"/>
                    <a:pt x="1" y="177"/>
                    <a:pt x="1" y="177"/>
                  </a:cubicBezTo>
                  <a:cubicBezTo>
                    <a:pt x="2" y="177"/>
                    <a:pt x="2" y="178"/>
                    <a:pt x="3" y="178"/>
                  </a:cubicBezTo>
                  <a:cubicBezTo>
                    <a:pt x="3" y="178"/>
                    <a:pt x="3" y="178"/>
                    <a:pt x="3" y="178"/>
                  </a:cubicBezTo>
                  <a:cubicBezTo>
                    <a:pt x="4" y="180"/>
                    <a:pt x="4" y="180"/>
                    <a:pt x="4" y="180"/>
                  </a:cubicBezTo>
                  <a:cubicBezTo>
                    <a:pt x="4" y="180"/>
                    <a:pt x="4" y="180"/>
                    <a:pt x="4" y="180"/>
                  </a:cubicBezTo>
                  <a:cubicBezTo>
                    <a:pt x="4" y="180"/>
                    <a:pt x="6" y="181"/>
                    <a:pt x="6" y="181"/>
                  </a:cubicBezTo>
                  <a:cubicBezTo>
                    <a:pt x="7" y="182"/>
                    <a:pt x="7" y="182"/>
                    <a:pt x="7" y="182"/>
                  </a:cubicBezTo>
                  <a:cubicBezTo>
                    <a:pt x="7" y="183"/>
                    <a:pt x="7" y="183"/>
                    <a:pt x="7" y="183"/>
                  </a:cubicBezTo>
                  <a:cubicBezTo>
                    <a:pt x="7" y="183"/>
                    <a:pt x="7" y="185"/>
                    <a:pt x="6" y="186"/>
                  </a:cubicBezTo>
                  <a:cubicBezTo>
                    <a:pt x="7" y="187"/>
                    <a:pt x="7" y="187"/>
                    <a:pt x="7" y="187"/>
                  </a:cubicBezTo>
                  <a:cubicBezTo>
                    <a:pt x="7" y="187"/>
                    <a:pt x="8" y="187"/>
                    <a:pt x="10" y="188"/>
                  </a:cubicBezTo>
                  <a:cubicBezTo>
                    <a:pt x="10" y="189"/>
                    <a:pt x="10" y="189"/>
                    <a:pt x="10" y="189"/>
                  </a:cubicBezTo>
                  <a:cubicBezTo>
                    <a:pt x="10" y="189"/>
                    <a:pt x="10" y="189"/>
                    <a:pt x="10" y="189"/>
                  </a:cubicBezTo>
                  <a:cubicBezTo>
                    <a:pt x="10" y="189"/>
                    <a:pt x="11" y="191"/>
                    <a:pt x="11" y="192"/>
                  </a:cubicBezTo>
                  <a:cubicBezTo>
                    <a:pt x="11" y="193"/>
                    <a:pt x="10" y="194"/>
                    <a:pt x="10" y="195"/>
                  </a:cubicBezTo>
                  <a:cubicBezTo>
                    <a:pt x="10" y="196"/>
                    <a:pt x="10" y="196"/>
                    <a:pt x="10" y="196"/>
                  </a:cubicBezTo>
                  <a:cubicBezTo>
                    <a:pt x="10" y="197"/>
                    <a:pt x="10" y="198"/>
                    <a:pt x="8" y="199"/>
                  </a:cubicBezTo>
                  <a:cubicBezTo>
                    <a:pt x="8" y="199"/>
                    <a:pt x="7" y="200"/>
                    <a:pt x="7" y="200"/>
                  </a:cubicBezTo>
                  <a:cubicBezTo>
                    <a:pt x="7" y="201"/>
                    <a:pt x="6" y="201"/>
                    <a:pt x="5" y="201"/>
                  </a:cubicBezTo>
                  <a:cubicBezTo>
                    <a:pt x="5" y="201"/>
                    <a:pt x="5" y="201"/>
                    <a:pt x="5" y="201"/>
                  </a:cubicBezTo>
                  <a:cubicBezTo>
                    <a:pt x="5" y="201"/>
                    <a:pt x="5" y="201"/>
                    <a:pt x="4" y="201"/>
                  </a:cubicBezTo>
                  <a:cubicBezTo>
                    <a:pt x="4" y="203"/>
                    <a:pt x="4" y="203"/>
                    <a:pt x="4" y="203"/>
                  </a:cubicBezTo>
                  <a:cubicBezTo>
                    <a:pt x="3" y="204"/>
                    <a:pt x="3" y="204"/>
                    <a:pt x="3" y="204"/>
                  </a:cubicBezTo>
                  <a:cubicBezTo>
                    <a:pt x="3" y="204"/>
                    <a:pt x="3" y="204"/>
                    <a:pt x="3" y="204"/>
                  </a:cubicBezTo>
                  <a:cubicBezTo>
                    <a:pt x="2" y="207"/>
                    <a:pt x="2" y="207"/>
                    <a:pt x="2" y="207"/>
                  </a:cubicBezTo>
                  <a:cubicBezTo>
                    <a:pt x="3" y="210"/>
                    <a:pt x="3" y="210"/>
                    <a:pt x="3" y="210"/>
                  </a:cubicBezTo>
                  <a:cubicBezTo>
                    <a:pt x="5" y="215"/>
                    <a:pt x="5" y="215"/>
                    <a:pt x="5" y="215"/>
                  </a:cubicBezTo>
                  <a:cubicBezTo>
                    <a:pt x="5" y="215"/>
                    <a:pt x="6" y="215"/>
                    <a:pt x="6" y="216"/>
                  </a:cubicBezTo>
                  <a:cubicBezTo>
                    <a:pt x="7" y="216"/>
                    <a:pt x="7" y="216"/>
                    <a:pt x="8" y="217"/>
                  </a:cubicBezTo>
                  <a:cubicBezTo>
                    <a:pt x="8" y="217"/>
                    <a:pt x="9" y="217"/>
                    <a:pt x="11" y="217"/>
                  </a:cubicBezTo>
                  <a:cubicBezTo>
                    <a:pt x="12" y="218"/>
                    <a:pt x="12" y="218"/>
                    <a:pt x="12" y="218"/>
                  </a:cubicBezTo>
                  <a:cubicBezTo>
                    <a:pt x="13" y="222"/>
                    <a:pt x="13" y="222"/>
                    <a:pt x="13" y="222"/>
                  </a:cubicBezTo>
                  <a:cubicBezTo>
                    <a:pt x="12" y="226"/>
                    <a:pt x="12" y="226"/>
                    <a:pt x="12" y="226"/>
                  </a:cubicBezTo>
                  <a:cubicBezTo>
                    <a:pt x="10" y="228"/>
                    <a:pt x="10" y="228"/>
                    <a:pt x="10" y="228"/>
                  </a:cubicBezTo>
                  <a:cubicBezTo>
                    <a:pt x="8" y="230"/>
                    <a:pt x="8" y="230"/>
                    <a:pt x="8" y="230"/>
                  </a:cubicBezTo>
                  <a:cubicBezTo>
                    <a:pt x="9" y="232"/>
                    <a:pt x="9" y="232"/>
                    <a:pt x="9" y="232"/>
                  </a:cubicBezTo>
                  <a:cubicBezTo>
                    <a:pt x="9" y="232"/>
                    <a:pt x="9" y="232"/>
                    <a:pt x="9" y="232"/>
                  </a:cubicBezTo>
                  <a:cubicBezTo>
                    <a:pt x="14" y="237"/>
                    <a:pt x="14" y="237"/>
                    <a:pt x="14" y="237"/>
                  </a:cubicBezTo>
                  <a:cubicBezTo>
                    <a:pt x="15" y="241"/>
                    <a:pt x="15" y="241"/>
                    <a:pt x="15" y="241"/>
                  </a:cubicBezTo>
                  <a:cubicBezTo>
                    <a:pt x="17" y="244"/>
                    <a:pt x="17" y="244"/>
                    <a:pt x="17" y="244"/>
                  </a:cubicBezTo>
                  <a:cubicBezTo>
                    <a:pt x="18" y="245"/>
                    <a:pt x="18" y="245"/>
                    <a:pt x="18" y="245"/>
                  </a:cubicBezTo>
                  <a:cubicBezTo>
                    <a:pt x="21" y="243"/>
                    <a:pt x="21" y="243"/>
                    <a:pt x="21" y="243"/>
                  </a:cubicBezTo>
                  <a:cubicBezTo>
                    <a:pt x="27" y="247"/>
                    <a:pt x="27" y="247"/>
                    <a:pt x="27" y="247"/>
                  </a:cubicBezTo>
                  <a:cubicBezTo>
                    <a:pt x="30" y="248"/>
                    <a:pt x="30" y="248"/>
                    <a:pt x="30" y="248"/>
                  </a:cubicBezTo>
                  <a:cubicBezTo>
                    <a:pt x="32" y="247"/>
                    <a:pt x="32" y="247"/>
                    <a:pt x="32" y="247"/>
                  </a:cubicBezTo>
                  <a:cubicBezTo>
                    <a:pt x="37" y="245"/>
                    <a:pt x="37" y="245"/>
                    <a:pt x="37" y="245"/>
                  </a:cubicBezTo>
                  <a:cubicBezTo>
                    <a:pt x="40" y="250"/>
                    <a:pt x="40" y="250"/>
                    <a:pt x="40" y="250"/>
                  </a:cubicBezTo>
                  <a:cubicBezTo>
                    <a:pt x="43" y="252"/>
                    <a:pt x="43" y="252"/>
                    <a:pt x="43" y="252"/>
                  </a:cubicBezTo>
                  <a:cubicBezTo>
                    <a:pt x="49" y="252"/>
                    <a:pt x="49" y="252"/>
                    <a:pt x="49" y="252"/>
                  </a:cubicBezTo>
                  <a:cubicBezTo>
                    <a:pt x="62" y="256"/>
                    <a:pt x="62" y="256"/>
                    <a:pt x="62" y="256"/>
                  </a:cubicBezTo>
                  <a:cubicBezTo>
                    <a:pt x="54" y="265"/>
                    <a:pt x="54" y="265"/>
                    <a:pt x="54" y="265"/>
                  </a:cubicBezTo>
                  <a:cubicBezTo>
                    <a:pt x="54" y="265"/>
                    <a:pt x="48" y="273"/>
                    <a:pt x="45" y="275"/>
                  </a:cubicBezTo>
                  <a:cubicBezTo>
                    <a:pt x="44" y="275"/>
                    <a:pt x="44" y="275"/>
                    <a:pt x="44" y="275"/>
                  </a:cubicBezTo>
                  <a:cubicBezTo>
                    <a:pt x="44" y="275"/>
                    <a:pt x="44" y="275"/>
                    <a:pt x="44" y="275"/>
                  </a:cubicBezTo>
                  <a:cubicBezTo>
                    <a:pt x="44" y="275"/>
                    <a:pt x="44" y="275"/>
                    <a:pt x="44" y="276"/>
                  </a:cubicBezTo>
                  <a:cubicBezTo>
                    <a:pt x="45" y="276"/>
                    <a:pt x="45" y="276"/>
                    <a:pt x="45" y="276"/>
                  </a:cubicBezTo>
                  <a:cubicBezTo>
                    <a:pt x="45" y="277"/>
                    <a:pt x="45" y="277"/>
                    <a:pt x="45" y="277"/>
                  </a:cubicBezTo>
                  <a:cubicBezTo>
                    <a:pt x="45" y="286"/>
                    <a:pt x="45" y="286"/>
                    <a:pt x="45" y="286"/>
                  </a:cubicBezTo>
                  <a:cubicBezTo>
                    <a:pt x="44" y="286"/>
                    <a:pt x="44" y="286"/>
                    <a:pt x="44" y="286"/>
                  </a:cubicBezTo>
                  <a:cubicBezTo>
                    <a:pt x="44" y="286"/>
                    <a:pt x="42" y="291"/>
                    <a:pt x="40" y="294"/>
                  </a:cubicBezTo>
                  <a:cubicBezTo>
                    <a:pt x="40" y="294"/>
                    <a:pt x="40" y="294"/>
                    <a:pt x="39" y="294"/>
                  </a:cubicBezTo>
                  <a:cubicBezTo>
                    <a:pt x="40" y="294"/>
                    <a:pt x="40" y="294"/>
                    <a:pt x="40" y="294"/>
                  </a:cubicBezTo>
                  <a:cubicBezTo>
                    <a:pt x="41" y="295"/>
                    <a:pt x="41" y="301"/>
                    <a:pt x="41" y="301"/>
                  </a:cubicBezTo>
                  <a:cubicBezTo>
                    <a:pt x="41" y="303"/>
                    <a:pt x="40" y="308"/>
                    <a:pt x="40" y="309"/>
                  </a:cubicBezTo>
                  <a:cubicBezTo>
                    <a:pt x="40" y="309"/>
                    <a:pt x="40" y="309"/>
                    <a:pt x="40" y="309"/>
                  </a:cubicBezTo>
                  <a:cubicBezTo>
                    <a:pt x="38" y="311"/>
                    <a:pt x="38" y="311"/>
                    <a:pt x="38" y="311"/>
                  </a:cubicBezTo>
                  <a:cubicBezTo>
                    <a:pt x="39" y="312"/>
                    <a:pt x="41" y="313"/>
                    <a:pt x="42" y="315"/>
                  </a:cubicBezTo>
                  <a:cubicBezTo>
                    <a:pt x="42" y="315"/>
                    <a:pt x="42" y="315"/>
                    <a:pt x="42" y="315"/>
                  </a:cubicBezTo>
                  <a:cubicBezTo>
                    <a:pt x="42" y="316"/>
                    <a:pt x="42" y="316"/>
                    <a:pt x="42" y="316"/>
                  </a:cubicBezTo>
                  <a:cubicBezTo>
                    <a:pt x="43" y="315"/>
                    <a:pt x="43" y="315"/>
                    <a:pt x="44" y="315"/>
                  </a:cubicBezTo>
                  <a:cubicBezTo>
                    <a:pt x="45" y="314"/>
                    <a:pt x="46" y="313"/>
                    <a:pt x="47" y="313"/>
                  </a:cubicBezTo>
                  <a:cubicBezTo>
                    <a:pt x="48" y="313"/>
                    <a:pt x="48" y="313"/>
                    <a:pt x="48" y="313"/>
                  </a:cubicBezTo>
                  <a:cubicBezTo>
                    <a:pt x="48" y="314"/>
                    <a:pt x="48" y="314"/>
                    <a:pt x="48" y="314"/>
                  </a:cubicBezTo>
                  <a:cubicBezTo>
                    <a:pt x="49" y="314"/>
                    <a:pt x="49" y="315"/>
                    <a:pt x="50" y="316"/>
                  </a:cubicBezTo>
                  <a:cubicBezTo>
                    <a:pt x="51" y="316"/>
                    <a:pt x="51" y="316"/>
                    <a:pt x="51" y="316"/>
                  </a:cubicBezTo>
                  <a:cubicBezTo>
                    <a:pt x="52" y="316"/>
                    <a:pt x="52" y="316"/>
                    <a:pt x="52" y="316"/>
                  </a:cubicBezTo>
                  <a:cubicBezTo>
                    <a:pt x="53" y="316"/>
                    <a:pt x="53" y="316"/>
                    <a:pt x="53" y="316"/>
                  </a:cubicBezTo>
                  <a:cubicBezTo>
                    <a:pt x="54" y="315"/>
                    <a:pt x="54" y="315"/>
                    <a:pt x="55" y="314"/>
                  </a:cubicBezTo>
                  <a:cubicBezTo>
                    <a:pt x="55" y="314"/>
                    <a:pt x="56" y="313"/>
                    <a:pt x="57" y="313"/>
                  </a:cubicBezTo>
                  <a:cubicBezTo>
                    <a:pt x="58" y="313"/>
                    <a:pt x="59" y="314"/>
                    <a:pt x="59" y="314"/>
                  </a:cubicBezTo>
                  <a:cubicBezTo>
                    <a:pt x="60" y="314"/>
                    <a:pt x="60" y="314"/>
                    <a:pt x="60" y="314"/>
                  </a:cubicBezTo>
                  <a:cubicBezTo>
                    <a:pt x="60" y="314"/>
                    <a:pt x="60" y="314"/>
                    <a:pt x="60" y="314"/>
                  </a:cubicBezTo>
                  <a:cubicBezTo>
                    <a:pt x="61" y="315"/>
                    <a:pt x="61" y="315"/>
                    <a:pt x="61" y="315"/>
                  </a:cubicBezTo>
                  <a:cubicBezTo>
                    <a:pt x="61" y="314"/>
                    <a:pt x="60" y="314"/>
                    <a:pt x="60" y="313"/>
                  </a:cubicBezTo>
                  <a:cubicBezTo>
                    <a:pt x="60" y="312"/>
                    <a:pt x="59" y="311"/>
                    <a:pt x="61" y="310"/>
                  </a:cubicBezTo>
                  <a:cubicBezTo>
                    <a:pt x="61" y="310"/>
                    <a:pt x="61" y="310"/>
                    <a:pt x="61" y="310"/>
                  </a:cubicBezTo>
                  <a:cubicBezTo>
                    <a:pt x="61" y="309"/>
                    <a:pt x="62" y="308"/>
                    <a:pt x="63" y="307"/>
                  </a:cubicBezTo>
                  <a:cubicBezTo>
                    <a:pt x="63" y="307"/>
                    <a:pt x="64" y="307"/>
                    <a:pt x="64" y="307"/>
                  </a:cubicBezTo>
                  <a:cubicBezTo>
                    <a:pt x="64" y="306"/>
                    <a:pt x="64" y="306"/>
                    <a:pt x="64" y="306"/>
                  </a:cubicBezTo>
                  <a:cubicBezTo>
                    <a:pt x="70" y="305"/>
                    <a:pt x="70" y="305"/>
                    <a:pt x="70" y="305"/>
                  </a:cubicBezTo>
                  <a:cubicBezTo>
                    <a:pt x="70" y="306"/>
                    <a:pt x="70" y="306"/>
                    <a:pt x="70" y="306"/>
                  </a:cubicBezTo>
                  <a:cubicBezTo>
                    <a:pt x="71" y="306"/>
                    <a:pt x="72" y="306"/>
                    <a:pt x="73" y="307"/>
                  </a:cubicBezTo>
                  <a:cubicBezTo>
                    <a:pt x="73" y="307"/>
                    <a:pt x="74" y="307"/>
                    <a:pt x="74" y="307"/>
                  </a:cubicBezTo>
                  <a:cubicBezTo>
                    <a:pt x="74" y="307"/>
                    <a:pt x="74" y="308"/>
                    <a:pt x="74" y="308"/>
                  </a:cubicBezTo>
                  <a:cubicBezTo>
                    <a:pt x="74" y="308"/>
                    <a:pt x="74" y="308"/>
                    <a:pt x="74" y="308"/>
                  </a:cubicBezTo>
                  <a:cubicBezTo>
                    <a:pt x="75" y="308"/>
                    <a:pt x="75" y="309"/>
                    <a:pt x="76" y="309"/>
                  </a:cubicBezTo>
                  <a:cubicBezTo>
                    <a:pt x="76" y="309"/>
                    <a:pt x="77" y="310"/>
                    <a:pt x="78" y="311"/>
                  </a:cubicBezTo>
                  <a:cubicBezTo>
                    <a:pt x="79" y="311"/>
                    <a:pt x="79" y="311"/>
                    <a:pt x="80" y="310"/>
                  </a:cubicBezTo>
                  <a:cubicBezTo>
                    <a:pt x="81" y="310"/>
                    <a:pt x="81" y="310"/>
                    <a:pt x="81" y="310"/>
                  </a:cubicBezTo>
                  <a:cubicBezTo>
                    <a:pt x="82" y="310"/>
                    <a:pt x="83" y="310"/>
                    <a:pt x="83" y="311"/>
                  </a:cubicBezTo>
                  <a:cubicBezTo>
                    <a:pt x="84" y="311"/>
                    <a:pt x="84" y="311"/>
                    <a:pt x="85" y="311"/>
                  </a:cubicBezTo>
                  <a:cubicBezTo>
                    <a:pt x="87" y="311"/>
                    <a:pt x="87" y="311"/>
                    <a:pt x="87" y="311"/>
                  </a:cubicBezTo>
                  <a:cubicBezTo>
                    <a:pt x="87" y="311"/>
                    <a:pt x="88" y="311"/>
                    <a:pt x="88" y="311"/>
                  </a:cubicBezTo>
                  <a:cubicBezTo>
                    <a:pt x="89" y="311"/>
                    <a:pt x="89" y="312"/>
                    <a:pt x="90" y="312"/>
                  </a:cubicBezTo>
                  <a:cubicBezTo>
                    <a:pt x="91" y="313"/>
                    <a:pt x="91" y="313"/>
                    <a:pt x="91" y="313"/>
                  </a:cubicBezTo>
                  <a:cubicBezTo>
                    <a:pt x="91" y="313"/>
                    <a:pt x="92" y="313"/>
                    <a:pt x="92" y="313"/>
                  </a:cubicBezTo>
                  <a:cubicBezTo>
                    <a:pt x="93" y="314"/>
                    <a:pt x="93" y="314"/>
                    <a:pt x="94" y="314"/>
                  </a:cubicBezTo>
                  <a:cubicBezTo>
                    <a:pt x="94" y="314"/>
                    <a:pt x="94" y="314"/>
                    <a:pt x="95" y="315"/>
                  </a:cubicBezTo>
                  <a:cubicBezTo>
                    <a:pt x="96" y="315"/>
                    <a:pt x="96" y="315"/>
                    <a:pt x="96" y="315"/>
                  </a:cubicBezTo>
                  <a:cubicBezTo>
                    <a:pt x="97" y="316"/>
                    <a:pt x="97" y="316"/>
                    <a:pt x="98" y="316"/>
                  </a:cubicBezTo>
                  <a:cubicBezTo>
                    <a:pt x="99" y="317"/>
                    <a:pt x="99" y="318"/>
                    <a:pt x="99" y="318"/>
                  </a:cubicBezTo>
                  <a:cubicBezTo>
                    <a:pt x="99" y="319"/>
                    <a:pt x="100" y="319"/>
                    <a:pt x="100" y="319"/>
                  </a:cubicBezTo>
                  <a:cubicBezTo>
                    <a:pt x="100" y="319"/>
                    <a:pt x="100" y="319"/>
                    <a:pt x="100" y="319"/>
                  </a:cubicBezTo>
                  <a:cubicBezTo>
                    <a:pt x="101" y="318"/>
                    <a:pt x="102" y="318"/>
                    <a:pt x="102" y="318"/>
                  </a:cubicBezTo>
                  <a:cubicBezTo>
                    <a:pt x="102" y="318"/>
                    <a:pt x="104" y="316"/>
                    <a:pt x="105" y="317"/>
                  </a:cubicBezTo>
                  <a:cubicBezTo>
                    <a:pt x="106" y="318"/>
                    <a:pt x="108" y="320"/>
                    <a:pt x="108" y="320"/>
                  </a:cubicBezTo>
                  <a:cubicBezTo>
                    <a:pt x="108" y="320"/>
                    <a:pt x="109" y="321"/>
                    <a:pt x="110" y="321"/>
                  </a:cubicBezTo>
                  <a:cubicBezTo>
                    <a:pt x="110" y="321"/>
                    <a:pt x="111" y="322"/>
                    <a:pt x="112" y="322"/>
                  </a:cubicBezTo>
                  <a:cubicBezTo>
                    <a:pt x="112" y="323"/>
                    <a:pt x="112" y="322"/>
                    <a:pt x="112" y="324"/>
                  </a:cubicBezTo>
                  <a:cubicBezTo>
                    <a:pt x="112" y="325"/>
                    <a:pt x="111" y="327"/>
                    <a:pt x="113" y="327"/>
                  </a:cubicBezTo>
                  <a:cubicBezTo>
                    <a:pt x="114" y="326"/>
                    <a:pt x="114" y="326"/>
                    <a:pt x="115" y="326"/>
                  </a:cubicBezTo>
                  <a:cubicBezTo>
                    <a:pt x="115" y="327"/>
                    <a:pt x="116" y="326"/>
                    <a:pt x="115" y="328"/>
                  </a:cubicBezTo>
                  <a:cubicBezTo>
                    <a:pt x="115" y="330"/>
                    <a:pt x="114" y="330"/>
                    <a:pt x="115" y="330"/>
                  </a:cubicBezTo>
                  <a:cubicBezTo>
                    <a:pt x="117" y="331"/>
                    <a:pt x="118" y="332"/>
                    <a:pt x="119" y="331"/>
                  </a:cubicBezTo>
                  <a:cubicBezTo>
                    <a:pt x="119" y="329"/>
                    <a:pt x="119" y="331"/>
                    <a:pt x="120" y="329"/>
                  </a:cubicBezTo>
                  <a:cubicBezTo>
                    <a:pt x="121" y="327"/>
                    <a:pt x="120" y="327"/>
                    <a:pt x="121" y="327"/>
                  </a:cubicBezTo>
                  <a:cubicBezTo>
                    <a:pt x="122" y="326"/>
                    <a:pt x="121" y="326"/>
                    <a:pt x="122" y="325"/>
                  </a:cubicBezTo>
                  <a:cubicBezTo>
                    <a:pt x="122" y="323"/>
                    <a:pt x="123" y="324"/>
                    <a:pt x="122" y="323"/>
                  </a:cubicBezTo>
                  <a:cubicBezTo>
                    <a:pt x="122" y="323"/>
                    <a:pt x="122" y="322"/>
                    <a:pt x="122" y="321"/>
                  </a:cubicBezTo>
                  <a:cubicBezTo>
                    <a:pt x="121" y="320"/>
                    <a:pt x="120" y="320"/>
                    <a:pt x="122" y="320"/>
                  </a:cubicBezTo>
                  <a:cubicBezTo>
                    <a:pt x="124" y="319"/>
                    <a:pt x="124" y="319"/>
                    <a:pt x="124" y="319"/>
                  </a:cubicBezTo>
                  <a:cubicBezTo>
                    <a:pt x="125" y="318"/>
                    <a:pt x="127" y="318"/>
                    <a:pt x="127" y="318"/>
                  </a:cubicBezTo>
                  <a:cubicBezTo>
                    <a:pt x="127" y="318"/>
                    <a:pt x="129" y="318"/>
                    <a:pt x="130" y="318"/>
                  </a:cubicBezTo>
                  <a:cubicBezTo>
                    <a:pt x="130" y="318"/>
                    <a:pt x="133" y="318"/>
                    <a:pt x="133" y="319"/>
                  </a:cubicBezTo>
                  <a:cubicBezTo>
                    <a:pt x="133" y="320"/>
                    <a:pt x="135" y="320"/>
                    <a:pt x="135" y="320"/>
                  </a:cubicBezTo>
                  <a:cubicBezTo>
                    <a:pt x="135" y="320"/>
                    <a:pt x="137" y="320"/>
                    <a:pt x="137" y="322"/>
                  </a:cubicBezTo>
                  <a:cubicBezTo>
                    <a:pt x="138" y="323"/>
                    <a:pt x="138" y="325"/>
                    <a:pt x="138" y="325"/>
                  </a:cubicBezTo>
                  <a:cubicBezTo>
                    <a:pt x="139" y="325"/>
                    <a:pt x="140" y="326"/>
                    <a:pt x="141" y="325"/>
                  </a:cubicBezTo>
                  <a:cubicBezTo>
                    <a:pt x="142" y="324"/>
                    <a:pt x="142" y="324"/>
                    <a:pt x="143" y="324"/>
                  </a:cubicBezTo>
                  <a:cubicBezTo>
                    <a:pt x="144" y="323"/>
                    <a:pt x="142" y="323"/>
                    <a:pt x="145" y="323"/>
                  </a:cubicBezTo>
                  <a:cubicBezTo>
                    <a:pt x="148" y="324"/>
                    <a:pt x="147" y="324"/>
                    <a:pt x="148" y="323"/>
                  </a:cubicBezTo>
                  <a:cubicBezTo>
                    <a:pt x="150" y="321"/>
                    <a:pt x="150" y="321"/>
                    <a:pt x="151" y="320"/>
                  </a:cubicBezTo>
                  <a:cubicBezTo>
                    <a:pt x="152" y="320"/>
                    <a:pt x="152" y="319"/>
                    <a:pt x="152" y="319"/>
                  </a:cubicBezTo>
                  <a:cubicBezTo>
                    <a:pt x="153" y="319"/>
                    <a:pt x="155" y="319"/>
                    <a:pt x="156" y="319"/>
                  </a:cubicBezTo>
                  <a:cubicBezTo>
                    <a:pt x="157" y="318"/>
                    <a:pt x="157" y="316"/>
                    <a:pt x="158" y="316"/>
                  </a:cubicBezTo>
                  <a:cubicBezTo>
                    <a:pt x="158" y="316"/>
                    <a:pt x="161" y="316"/>
                    <a:pt x="162" y="316"/>
                  </a:cubicBezTo>
                  <a:cubicBezTo>
                    <a:pt x="163" y="316"/>
                    <a:pt x="165" y="316"/>
                    <a:pt x="165" y="316"/>
                  </a:cubicBezTo>
                  <a:cubicBezTo>
                    <a:pt x="165" y="315"/>
                    <a:pt x="165" y="314"/>
                    <a:pt x="167" y="314"/>
                  </a:cubicBezTo>
                  <a:cubicBezTo>
                    <a:pt x="168" y="314"/>
                    <a:pt x="169" y="314"/>
                    <a:pt x="170" y="314"/>
                  </a:cubicBezTo>
                  <a:cubicBezTo>
                    <a:pt x="172" y="314"/>
                    <a:pt x="172" y="314"/>
                    <a:pt x="172" y="314"/>
                  </a:cubicBezTo>
                  <a:cubicBezTo>
                    <a:pt x="173" y="314"/>
                    <a:pt x="174" y="316"/>
                    <a:pt x="174" y="313"/>
                  </a:cubicBezTo>
                  <a:cubicBezTo>
                    <a:pt x="173" y="311"/>
                    <a:pt x="173" y="311"/>
                    <a:pt x="174" y="310"/>
                  </a:cubicBezTo>
                  <a:cubicBezTo>
                    <a:pt x="175" y="310"/>
                    <a:pt x="177" y="310"/>
                    <a:pt x="177" y="310"/>
                  </a:cubicBezTo>
                  <a:cubicBezTo>
                    <a:pt x="177" y="310"/>
                    <a:pt x="181" y="311"/>
                    <a:pt x="181" y="311"/>
                  </a:cubicBezTo>
                  <a:cubicBezTo>
                    <a:pt x="181" y="311"/>
                    <a:pt x="182" y="312"/>
                    <a:pt x="183" y="312"/>
                  </a:cubicBezTo>
                  <a:cubicBezTo>
                    <a:pt x="183" y="312"/>
                    <a:pt x="184" y="313"/>
                    <a:pt x="185" y="313"/>
                  </a:cubicBezTo>
                  <a:cubicBezTo>
                    <a:pt x="185" y="312"/>
                    <a:pt x="186" y="311"/>
                    <a:pt x="186" y="311"/>
                  </a:cubicBezTo>
                  <a:cubicBezTo>
                    <a:pt x="187" y="311"/>
                    <a:pt x="190" y="310"/>
                    <a:pt x="190" y="311"/>
                  </a:cubicBezTo>
                  <a:cubicBezTo>
                    <a:pt x="190" y="311"/>
                    <a:pt x="193" y="312"/>
                    <a:pt x="193" y="312"/>
                  </a:cubicBezTo>
                  <a:cubicBezTo>
                    <a:pt x="192" y="312"/>
                    <a:pt x="192" y="313"/>
                    <a:pt x="192" y="314"/>
                  </a:cubicBezTo>
                  <a:cubicBezTo>
                    <a:pt x="192" y="315"/>
                    <a:pt x="192" y="316"/>
                    <a:pt x="192" y="316"/>
                  </a:cubicBezTo>
                  <a:cubicBezTo>
                    <a:pt x="193" y="317"/>
                    <a:pt x="194" y="318"/>
                    <a:pt x="194" y="318"/>
                  </a:cubicBezTo>
                  <a:cubicBezTo>
                    <a:pt x="195" y="318"/>
                    <a:pt x="198" y="319"/>
                    <a:pt x="198" y="319"/>
                  </a:cubicBezTo>
                  <a:cubicBezTo>
                    <a:pt x="198" y="319"/>
                    <a:pt x="199" y="321"/>
                    <a:pt x="199" y="317"/>
                  </a:cubicBezTo>
                  <a:cubicBezTo>
                    <a:pt x="199" y="314"/>
                    <a:pt x="199" y="313"/>
                    <a:pt x="199" y="313"/>
                  </a:cubicBezTo>
                  <a:cubicBezTo>
                    <a:pt x="199" y="310"/>
                    <a:pt x="199" y="310"/>
                    <a:pt x="199" y="310"/>
                  </a:cubicBezTo>
                  <a:cubicBezTo>
                    <a:pt x="199" y="310"/>
                    <a:pt x="199" y="309"/>
                    <a:pt x="199" y="309"/>
                  </a:cubicBezTo>
                  <a:cubicBezTo>
                    <a:pt x="198" y="309"/>
                    <a:pt x="198" y="309"/>
                    <a:pt x="198" y="309"/>
                  </a:cubicBezTo>
                  <a:cubicBezTo>
                    <a:pt x="197" y="309"/>
                    <a:pt x="194" y="309"/>
                    <a:pt x="194" y="308"/>
                  </a:cubicBezTo>
                  <a:cubicBezTo>
                    <a:pt x="193" y="308"/>
                    <a:pt x="193" y="307"/>
                    <a:pt x="193" y="306"/>
                  </a:cubicBezTo>
                  <a:cubicBezTo>
                    <a:pt x="193" y="306"/>
                    <a:pt x="195" y="304"/>
                    <a:pt x="195" y="304"/>
                  </a:cubicBezTo>
                  <a:cubicBezTo>
                    <a:pt x="195" y="302"/>
                    <a:pt x="195" y="302"/>
                    <a:pt x="195" y="302"/>
                  </a:cubicBezTo>
                  <a:cubicBezTo>
                    <a:pt x="193" y="298"/>
                    <a:pt x="193" y="298"/>
                    <a:pt x="193" y="298"/>
                  </a:cubicBezTo>
                  <a:cubicBezTo>
                    <a:pt x="190" y="296"/>
                    <a:pt x="190" y="296"/>
                    <a:pt x="190" y="296"/>
                  </a:cubicBezTo>
                  <a:cubicBezTo>
                    <a:pt x="189" y="292"/>
                    <a:pt x="189" y="292"/>
                    <a:pt x="189" y="292"/>
                  </a:cubicBezTo>
                  <a:cubicBezTo>
                    <a:pt x="189" y="292"/>
                    <a:pt x="189" y="292"/>
                    <a:pt x="189" y="292"/>
                  </a:cubicBezTo>
                  <a:cubicBezTo>
                    <a:pt x="189" y="291"/>
                    <a:pt x="189" y="291"/>
                    <a:pt x="189" y="291"/>
                  </a:cubicBezTo>
                  <a:cubicBezTo>
                    <a:pt x="191" y="290"/>
                    <a:pt x="191" y="290"/>
                    <a:pt x="191" y="290"/>
                  </a:cubicBezTo>
                  <a:cubicBezTo>
                    <a:pt x="193" y="289"/>
                    <a:pt x="195" y="287"/>
                    <a:pt x="195" y="287"/>
                  </a:cubicBezTo>
                  <a:cubicBezTo>
                    <a:pt x="195" y="287"/>
                    <a:pt x="195" y="287"/>
                    <a:pt x="196" y="286"/>
                  </a:cubicBezTo>
                  <a:cubicBezTo>
                    <a:pt x="197" y="285"/>
                    <a:pt x="197" y="285"/>
                    <a:pt x="197" y="285"/>
                  </a:cubicBezTo>
                  <a:cubicBezTo>
                    <a:pt x="197" y="285"/>
                    <a:pt x="201" y="283"/>
                    <a:pt x="202" y="283"/>
                  </a:cubicBezTo>
                  <a:cubicBezTo>
                    <a:pt x="202" y="283"/>
                    <a:pt x="202" y="283"/>
                    <a:pt x="203" y="283"/>
                  </a:cubicBezTo>
                  <a:cubicBezTo>
                    <a:pt x="203" y="283"/>
                    <a:pt x="203" y="283"/>
                    <a:pt x="203" y="283"/>
                  </a:cubicBezTo>
                  <a:cubicBezTo>
                    <a:pt x="207" y="279"/>
                    <a:pt x="207" y="279"/>
                    <a:pt x="207" y="279"/>
                  </a:cubicBezTo>
                  <a:cubicBezTo>
                    <a:pt x="207" y="275"/>
                    <a:pt x="207" y="275"/>
                    <a:pt x="207" y="275"/>
                  </a:cubicBezTo>
                  <a:cubicBezTo>
                    <a:pt x="208" y="273"/>
                    <a:pt x="208" y="273"/>
                    <a:pt x="208" y="273"/>
                  </a:cubicBezTo>
                  <a:cubicBezTo>
                    <a:pt x="208" y="272"/>
                    <a:pt x="208" y="271"/>
                    <a:pt x="208" y="271"/>
                  </a:cubicBezTo>
                  <a:cubicBezTo>
                    <a:pt x="213" y="270"/>
                    <a:pt x="213" y="270"/>
                    <a:pt x="213" y="270"/>
                  </a:cubicBezTo>
                  <a:cubicBezTo>
                    <a:pt x="213" y="270"/>
                    <a:pt x="213" y="271"/>
                    <a:pt x="214" y="272"/>
                  </a:cubicBezTo>
                  <a:cubicBezTo>
                    <a:pt x="215" y="272"/>
                    <a:pt x="216" y="271"/>
                    <a:pt x="216" y="271"/>
                  </a:cubicBezTo>
                  <a:cubicBezTo>
                    <a:pt x="217" y="271"/>
                    <a:pt x="218" y="270"/>
                    <a:pt x="218" y="270"/>
                  </a:cubicBezTo>
                  <a:cubicBezTo>
                    <a:pt x="218" y="267"/>
                    <a:pt x="218" y="267"/>
                    <a:pt x="218" y="267"/>
                  </a:cubicBezTo>
                  <a:cubicBezTo>
                    <a:pt x="217" y="263"/>
                    <a:pt x="217" y="263"/>
                    <a:pt x="217" y="263"/>
                  </a:cubicBezTo>
                  <a:cubicBezTo>
                    <a:pt x="217" y="261"/>
                    <a:pt x="217" y="261"/>
                    <a:pt x="217" y="261"/>
                  </a:cubicBezTo>
                  <a:cubicBezTo>
                    <a:pt x="217" y="261"/>
                    <a:pt x="217" y="261"/>
                    <a:pt x="217" y="261"/>
                  </a:cubicBezTo>
                  <a:cubicBezTo>
                    <a:pt x="217" y="261"/>
                    <a:pt x="217" y="260"/>
                    <a:pt x="217" y="260"/>
                  </a:cubicBezTo>
                  <a:cubicBezTo>
                    <a:pt x="215" y="258"/>
                    <a:pt x="216" y="259"/>
                    <a:pt x="215" y="258"/>
                  </a:cubicBezTo>
                  <a:cubicBezTo>
                    <a:pt x="213" y="257"/>
                    <a:pt x="212" y="257"/>
                    <a:pt x="211" y="256"/>
                  </a:cubicBezTo>
                  <a:cubicBezTo>
                    <a:pt x="211" y="255"/>
                    <a:pt x="212" y="254"/>
                    <a:pt x="210" y="254"/>
                  </a:cubicBezTo>
                  <a:cubicBezTo>
                    <a:pt x="208" y="254"/>
                    <a:pt x="207" y="255"/>
                    <a:pt x="206" y="254"/>
                  </a:cubicBezTo>
                  <a:cubicBezTo>
                    <a:pt x="205" y="253"/>
                    <a:pt x="205" y="253"/>
                    <a:pt x="204" y="252"/>
                  </a:cubicBezTo>
                  <a:cubicBezTo>
                    <a:pt x="204" y="250"/>
                    <a:pt x="204" y="248"/>
                    <a:pt x="203" y="248"/>
                  </a:cubicBezTo>
                  <a:cubicBezTo>
                    <a:pt x="201" y="248"/>
                    <a:pt x="200" y="248"/>
                    <a:pt x="200" y="248"/>
                  </a:cubicBezTo>
                  <a:cubicBezTo>
                    <a:pt x="200" y="248"/>
                    <a:pt x="199" y="248"/>
                    <a:pt x="199" y="246"/>
                  </a:cubicBezTo>
                  <a:cubicBezTo>
                    <a:pt x="198" y="244"/>
                    <a:pt x="200" y="245"/>
                    <a:pt x="197" y="243"/>
                  </a:cubicBezTo>
                  <a:cubicBezTo>
                    <a:pt x="195" y="240"/>
                    <a:pt x="196" y="241"/>
                    <a:pt x="194" y="239"/>
                  </a:cubicBezTo>
                  <a:cubicBezTo>
                    <a:pt x="192" y="238"/>
                    <a:pt x="187" y="239"/>
                    <a:pt x="187" y="239"/>
                  </a:cubicBezTo>
                  <a:cubicBezTo>
                    <a:pt x="187" y="239"/>
                    <a:pt x="187" y="238"/>
                    <a:pt x="186" y="237"/>
                  </a:cubicBezTo>
                  <a:cubicBezTo>
                    <a:pt x="184" y="235"/>
                    <a:pt x="185" y="236"/>
                    <a:pt x="183" y="234"/>
                  </a:cubicBezTo>
                  <a:cubicBezTo>
                    <a:pt x="181" y="232"/>
                    <a:pt x="182" y="233"/>
                    <a:pt x="181" y="231"/>
                  </a:cubicBezTo>
                  <a:cubicBezTo>
                    <a:pt x="181" y="228"/>
                    <a:pt x="181" y="227"/>
                    <a:pt x="180" y="226"/>
                  </a:cubicBezTo>
                  <a:cubicBezTo>
                    <a:pt x="178" y="224"/>
                    <a:pt x="177" y="223"/>
                    <a:pt x="177" y="223"/>
                  </a:cubicBezTo>
                  <a:cubicBezTo>
                    <a:pt x="177" y="223"/>
                    <a:pt x="176" y="220"/>
                    <a:pt x="177" y="219"/>
                  </a:cubicBezTo>
                  <a:cubicBezTo>
                    <a:pt x="179" y="217"/>
                    <a:pt x="179" y="216"/>
                    <a:pt x="179" y="216"/>
                  </a:cubicBezTo>
                  <a:cubicBezTo>
                    <a:pt x="179" y="215"/>
                    <a:pt x="180" y="213"/>
                    <a:pt x="178" y="211"/>
                  </a:cubicBezTo>
                  <a:cubicBezTo>
                    <a:pt x="175" y="210"/>
                    <a:pt x="175" y="209"/>
                    <a:pt x="173" y="208"/>
                  </a:cubicBezTo>
                  <a:cubicBezTo>
                    <a:pt x="171" y="207"/>
                    <a:pt x="170" y="207"/>
                    <a:pt x="169" y="206"/>
                  </a:cubicBezTo>
                  <a:cubicBezTo>
                    <a:pt x="169" y="205"/>
                    <a:pt x="167" y="200"/>
                    <a:pt x="167" y="200"/>
                  </a:cubicBezTo>
                  <a:cubicBezTo>
                    <a:pt x="166" y="198"/>
                    <a:pt x="166" y="198"/>
                    <a:pt x="166" y="198"/>
                  </a:cubicBezTo>
                  <a:cubicBezTo>
                    <a:pt x="170" y="198"/>
                    <a:pt x="170" y="198"/>
                    <a:pt x="170" y="198"/>
                  </a:cubicBezTo>
                  <a:cubicBezTo>
                    <a:pt x="171" y="200"/>
                    <a:pt x="171" y="200"/>
                    <a:pt x="171" y="200"/>
                  </a:cubicBezTo>
                  <a:cubicBezTo>
                    <a:pt x="172" y="203"/>
                    <a:pt x="172" y="203"/>
                    <a:pt x="172" y="203"/>
                  </a:cubicBezTo>
                  <a:cubicBezTo>
                    <a:pt x="174" y="198"/>
                    <a:pt x="174" y="198"/>
                    <a:pt x="174" y="198"/>
                  </a:cubicBezTo>
                  <a:cubicBezTo>
                    <a:pt x="178" y="195"/>
                    <a:pt x="178" y="195"/>
                    <a:pt x="178" y="195"/>
                  </a:cubicBezTo>
                  <a:cubicBezTo>
                    <a:pt x="178" y="195"/>
                    <a:pt x="177" y="195"/>
                    <a:pt x="180" y="194"/>
                  </a:cubicBezTo>
                  <a:cubicBezTo>
                    <a:pt x="182" y="194"/>
                    <a:pt x="184" y="193"/>
                    <a:pt x="185" y="193"/>
                  </a:cubicBezTo>
                  <a:cubicBezTo>
                    <a:pt x="186" y="193"/>
                    <a:pt x="188" y="194"/>
                    <a:pt x="190" y="193"/>
                  </a:cubicBezTo>
                  <a:cubicBezTo>
                    <a:pt x="191" y="193"/>
                    <a:pt x="192" y="193"/>
                    <a:pt x="192" y="191"/>
                  </a:cubicBezTo>
                  <a:cubicBezTo>
                    <a:pt x="192" y="190"/>
                    <a:pt x="191" y="189"/>
                    <a:pt x="194" y="188"/>
                  </a:cubicBezTo>
                  <a:cubicBezTo>
                    <a:pt x="197" y="187"/>
                    <a:pt x="197" y="186"/>
                    <a:pt x="197" y="186"/>
                  </a:cubicBezTo>
                  <a:cubicBezTo>
                    <a:pt x="200" y="184"/>
                    <a:pt x="200" y="184"/>
                    <a:pt x="200" y="184"/>
                  </a:cubicBezTo>
                  <a:cubicBezTo>
                    <a:pt x="202" y="184"/>
                    <a:pt x="206" y="180"/>
                    <a:pt x="206" y="180"/>
                  </a:cubicBezTo>
                  <a:cubicBezTo>
                    <a:pt x="211" y="178"/>
                    <a:pt x="211" y="178"/>
                    <a:pt x="211" y="178"/>
                  </a:cubicBezTo>
                  <a:cubicBezTo>
                    <a:pt x="213" y="177"/>
                    <a:pt x="213" y="177"/>
                    <a:pt x="213" y="177"/>
                  </a:cubicBezTo>
                  <a:cubicBezTo>
                    <a:pt x="214" y="173"/>
                    <a:pt x="214" y="173"/>
                    <a:pt x="214" y="173"/>
                  </a:cubicBezTo>
                  <a:cubicBezTo>
                    <a:pt x="214" y="173"/>
                    <a:pt x="213" y="172"/>
                    <a:pt x="216" y="172"/>
                  </a:cubicBezTo>
                  <a:cubicBezTo>
                    <a:pt x="218" y="172"/>
                    <a:pt x="226" y="170"/>
                    <a:pt x="226" y="170"/>
                  </a:cubicBezTo>
                  <a:cubicBezTo>
                    <a:pt x="227" y="168"/>
                    <a:pt x="227" y="168"/>
                    <a:pt x="227" y="168"/>
                  </a:cubicBezTo>
                  <a:cubicBezTo>
                    <a:pt x="224" y="166"/>
                    <a:pt x="224" y="166"/>
                    <a:pt x="224" y="166"/>
                  </a:cubicBezTo>
                  <a:cubicBezTo>
                    <a:pt x="224" y="166"/>
                    <a:pt x="225" y="163"/>
                    <a:pt x="225" y="163"/>
                  </a:cubicBezTo>
                  <a:cubicBezTo>
                    <a:pt x="226" y="163"/>
                    <a:pt x="229" y="162"/>
                    <a:pt x="230" y="162"/>
                  </a:cubicBezTo>
                  <a:cubicBezTo>
                    <a:pt x="232" y="163"/>
                    <a:pt x="234" y="164"/>
                    <a:pt x="234" y="165"/>
                  </a:cubicBezTo>
                  <a:cubicBezTo>
                    <a:pt x="234" y="166"/>
                    <a:pt x="235" y="165"/>
                    <a:pt x="235" y="166"/>
                  </a:cubicBezTo>
                  <a:cubicBezTo>
                    <a:pt x="234" y="168"/>
                    <a:pt x="235" y="169"/>
                    <a:pt x="235" y="169"/>
                  </a:cubicBezTo>
                  <a:cubicBezTo>
                    <a:pt x="235" y="169"/>
                    <a:pt x="235" y="170"/>
                    <a:pt x="236" y="171"/>
                  </a:cubicBezTo>
                  <a:cubicBezTo>
                    <a:pt x="237" y="171"/>
                    <a:pt x="238" y="171"/>
                    <a:pt x="238" y="171"/>
                  </a:cubicBezTo>
                  <a:cubicBezTo>
                    <a:pt x="238" y="171"/>
                    <a:pt x="239" y="171"/>
                    <a:pt x="239" y="171"/>
                  </a:cubicBezTo>
                  <a:cubicBezTo>
                    <a:pt x="241" y="168"/>
                    <a:pt x="241" y="168"/>
                    <a:pt x="241" y="168"/>
                  </a:cubicBezTo>
                  <a:cubicBezTo>
                    <a:pt x="242" y="167"/>
                    <a:pt x="243" y="165"/>
                    <a:pt x="243" y="165"/>
                  </a:cubicBezTo>
                  <a:cubicBezTo>
                    <a:pt x="243" y="165"/>
                    <a:pt x="244" y="164"/>
                    <a:pt x="244" y="164"/>
                  </a:cubicBezTo>
                  <a:cubicBezTo>
                    <a:pt x="244" y="164"/>
                    <a:pt x="244" y="162"/>
                    <a:pt x="244" y="161"/>
                  </a:cubicBezTo>
                  <a:cubicBezTo>
                    <a:pt x="244" y="161"/>
                    <a:pt x="242" y="160"/>
                    <a:pt x="244" y="158"/>
                  </a:cubicBezTo>
                  <a:cubicBezTo>
                    <a:pt x="247" y="156"/>
                    <a:pt x="247" y="154"/>
                    <a:pt x="247" y="154"/>
                  </a:cubicBezTo>
                  <a:close/>
                </a:path>
              </a:pathLst>
            </a:custGeom>
            <a:solidFill>
              <a:srgbClr val="E7E6E6"/>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7" name="Freeform 131"/>
            <p:cNvSpPr>
              <a:spLocks/>
            </p:cNvSpPr>
            <p:nvPr/>
          </p:nvSpPr>
          <p:spPr bwMode="auto">
            <a:xfrm>
              <a:off x="4852978" y="4069676"/>
              <a:ext cx="293162" cy="232833"/>
            </a:xfrm>
            <a:custGeom>
              <a:avLst/>
              <a:gdLst>
                <a:gd name="T0" fmla="*/ 84 w 101"/>
                <a:gd name="T1" fmla="*/ 82 h 85"/>
                <a:gd name="T2" fmla="*/ 83 w 101"/>
                <a:gd name="T3" fmla="*/ 80 h 85"/>
                <a:gd name="T4" fmla="*/ 80 w 101"/>
                <a:gd name="T5" fmla="*/ 75 h 85"/>
                <a:gd name="T6" fmla="*/ 83 w 101"/>
                <a:gd name="T7" fmla="*/ 67 h 85"/>
                <a:gd name="T8" fmla="*/ 85 w 101"/>
                <a:gd name="T9" fmla="*/ 63 h 85"/>
                <a:gd name="T10" fmla="*/ 87 w 101"/>
                <a:gd name="T11" fmla="*/ 60 h 85"/>
                <a:gd name="T12" fmla="*/ 89 w 101"/>
                <a:gd name="T13" fmla="*/ 58 h 85"/>
                <a:gd name="T14" fmla="*/ 91 w 101"/>
                <a:gd name="T15" fmla="*/ 57 h 85"/>
                <a:gd name="T16" fmla="*/ 95 w 101"/>
                <a:gd name="T17" fmla="*/ 58 h 85"/>
                <a:gd name="T18" fmla="*/ 98 w 101"/>
                <a:gd name="T19" fmla="*/ 56 h 85"/>
                <a:gd name="T20" fmla="*/ 101 w 101"/>
                <a:gd name="T21" fmla="*/ 52 h 85"/>
                <a:gd name="T22" fmla="*/ 97 w 101"/>
                <a:gd name="T23" fmla="*/ 46 h 85"/>
                <a:gd name="T24" fmla="*/ 96 w 101"/>
                <a:gd name="T25" fmla="*/ 39 h 85"/>
                <a:gd name="T26" fmla="*/ 91 w 101"/>
                <a:gd name="T27" fmla="*/ 35 h 85"/>
                <a:gd name="T28" fmla="*/ 83 w 101"/>
                <a:gd name="T29" fmla="*/ 34 h 85"/>
                <a:gd name="T30" fmla="*/ 83 w 101"/>
                <a:gd name="T31" fmla="*/ 28 h 85"/>
                <a:gd name="T32" fmla="*/ 88 w 101"/>
                <a:gd name="T33" fmla="*/ 20 h 85"/>
                <a:gd name="T34" fmla="*/ 80 w 101"/>
                <a:gd name="T35" fmla="*/ 14 h 85"/>
                <a:gd name="T36" fmla="*/ 75 w 101"/>
                <a:gd name="T37" fmla="*/ 11 h 85"/>
                <a:gd name="T38" fmla="*/ 69 w 101"/>
                <a:gd name="T39" fmla="*/ 8 h 85"/>
                <a:gd name="T40" fmla="*/ 67 w 101"/>
                <a:gd name="T41" fmla="*/ 2 h 85"/>
                <a:gd name="T42" fmla="*/ 61 w 101"/>
                <a:gd name="T43" fmla="*/ 3 h 85"/>
                <a:gd name="T44" fmla="*/ 57 w 101"/>
                <a:gd name="T45" fmla="*/ 3 h 85"/>
                <a:gd name="T46" fmla="*/ 51 w 101"/>
                <a:gd name="T47" fmla="*/ 1 h 85"/>
                <a:gd name="T48" fmla="*/ 47 w 101"/>
                <a:gd name="T49" fmla="*/ 5 h 85"/>
                <a:gd name="T50" fmla="*/ 31 w 101"/>
                <a:gd name="T51" fmla="*/ 8 h 85"/>
                <a:gd name="T52" fmla="*/ 24 w 101"/>
                <a:gd name="T53" fmla="*/ 6 h 85"/>
                <a:gd name="T54" fmla="*/ 15 w 101"/>
                <a:gd name="T55" fmla="*/ 5 h 85"/>
                <a:gd name="T56" fmla="*/ 0 w 101"/>
                <a:gd name="T57" fmla="*/ 17 h 85"/>
                <a:gd name="T58" fmla="*/ 2 w 101"/>
                <a:gd name="T59" fmla="*/ 24 h 85"/>
                <a:gd name="T60" fmla="*/ 9 w 101"/>
                <a:gd name="T61" fmla="*/ 27 h 85"/>
                <a:gd name="T62" fmla="*/ 17 w 101"/>
                <a:gd name="T63" fmla="*/ 30 h 85"/>
                <a:gd name="T64" fmla="*/ 19 w 101"/>
                <a:gd name="T65" fmla="*/ 39 h 85"/>
                <a:gd name="T66" fmla="*/ 23 w 101"/>
                <a:gd name="T67" fmla="*/ 38 h 85"/>
                <a:gd name="T68" fmla="*/ 27 w 101"/>
                <a:gd name="T69" fmla="*/ 43 h 85"/>
                <a:gd name="T70" fmla="*/ 30 w 101"/>
                <a:gd name="T71" fmla="*/ 47 h 85"/>
                <a:gd name="T72" fmla="*/ 38 w 101"/>
                <a:gd name="T73" fmla="*/ 47 h 85"/>
                <a:gd name="T74" fmla="*/ 43 w 101"/>
                <a:gd name="T75" fmla="*/ 51 h 85"/>
                <a:gd name="T76" fmla="*/ 42 w 101"/>
                <a:gd name="T77" fmla="*/ 57 h 85"/>
                <a:gd name="T78" fmla="*/ 41 w 101"/>
                <a:gd name="T79" fmla="*/ 64 h 85"/>
                <a:gd name="T80" fmla="*/ 48 w 101"/>
                <a:gd name="T81" fmla="*/ 64 h 85"/>
                <a:gd name="T82" fmla="*/ 53 w 101"/>
                <a:gd name="T83" fmla="*/ 59 h 85"/>
                <a:gd name="T84" fmla="*/ 57 w 101"/>
                <a:gd name="T85" fmla="*/ 56 h 85"/>
                <a:gd name="T86" fmla="*/ 61 w 101"/>
                <a:gd name="T87" fmla="*/ 62 h 85"/>
                <a:gd name="T88" fmla="*/ 59 w 101"/>
                <a:gd name="T89" fmla="*/ 67 h 85"/>
                <a:gd name="T90" fmla="*/ 60 w 101"/>
                <a:gd name="T91" fmla="*/ 72 h 85"/>
                <a:gd name="T92" fmla="*/ 67 w 101"/>
                <a:gd name="T93" fmla="*/ 74 h 85"/>
                <a:gd name="T94" fmla="*/ 72 w 101"/>
                <a:gd name="T95" fmla="*/ 80 h 85"/>
                <a:gd name="T96" fmla="*/ 76 w 101"/>
                <a:gd name="T97" fmla="*/ 82 h 85"/>
                <a:gd name="T98" fmla="*/ 79 w 101"/>
                <a:gd name="T99" fmla="*/ 8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85">
                  <a:moveTo>
                    <a:pt x="80" y="84"/>
                  </a:moveTo>
                  <a:cubicBezTo>
                    <a:pt x="80" y="84"/>
                    <a:pt x="82" y="84"/>
                    <a:pt x="83" y="83"/>
                  </a:cubicBezTo>
                  <a:cubicBezTo>
                    <a:pt x="83" y="83"/>
                    <a:pt x="83" y="83"/>
                    <a:pt x="83" y="83"/>
                  </a:cubicBezTo>
                  <a:cubicBezTo>
                    <a:pt x="84" y="82"/>
                    <a:pt x="84" y="82"/>
                    <a:pt x="84" y="82"/>
                  </a:cubicBezTo>
                  <a:cubicBezTo>
                    <a:pt x="84" y="82"/>
                    <a:pt x="84" y="81"/>
                    <a:pt x="84" y="81"/>
                  </a:cubicBezTo>
                  <a:cubicBezTo>
                    <a:pt x="84" y="81"/>
                    <a:pt x="84" y="81"/>
                    <a:pt x="84" y="81"/>
                  </a:cubicBezTo>
                  <a:cubicBezTo>
                    <a:pt x="84" y="81"/>
                    <a:pt x="84" y="81"/>
                    <a:pt x="84" y="81"/>
                  </a:cubicBezTo>
                  <a:cubicBezTo>
                    <a:pt x="83" y="80"/>
                    <a:pt x="83" y="80"/>
                    <a:pt x="83" y="80"/>
                  </a:cubicBezTo>
                  <a:cubicBezTo>
                    <a:pt x="82" y="77"/>
                    <a:pt x="82" y="77"/>
                    <a:pt x="82" y="77"/>
                  </a:cubicBezTo>
                  <a:cubicBezTo>
                    <a:pt x="80" y="77"/>
                    <a:pt x="80" y="77"/>
                    <a:pt x="80" y="77"/>
                  </a:cubicBezTo>
                  <a:cubicBezTo>
                    <a:pt x="80" y="76"/>
                    <a:pt x="80" y="76"/>
                    <a:pt x="80" y="76"/>
                  </a:cubicBezTo>
                  <a:cubicBezTo>
                    <a:pt x="80" y="75"/>
                    <a:pt x="80" y="75"/>
                    <a:pt x="80" y="75"/>
                  </a:cubicBezTo>
                  <a:cubicBezTo>
                    <a:pt x="80" y="74"/>
                    <a:pt x="81" y="73"/>
                    <a:pt x="81" y="73"/>
                  </a:cubicBezTo>
                  <a:cubicBezTo>
                    <a:pt x="81" y="72"/>
                    <a:pt x="81" y="72"/>
                    <a:pt x="81" y="72"/>
                  </a:cubicBezTo>
                  <a:cubicBezTo>
                    <a:pt x="81" y="72"/>
                    <a:pt x="80" y="71"/>
                    <a:pt x="80" y="70"/>
                  </a:cubicBezTo>
                  <a:cubicBezTo>
                    <a:pt x="81" y="69"/>
                    <a:pt x="83" y="67"/>
                    <a:pt x="83" y="67"/>
                  </a:cubicBezTo>
                  <a:cubicBezTo>
                    <a:pt x="83" y="66"/>
                    <a:pt x="83" y="66"/>
                    <a:pt x="83" y="66"/>
                  </a:cubicBezTo>
                  <a:cubicBezTo>
                    <a:pt x="83" y="65"/>
                    <a:pt x="83" y="65"/>
                    <a:pt x="83" y="65"/>
                  </a:cubicBezTo>
                  <a:cubicBezTo>
                    <a:pt x="84" y="65"/>
                    <a:pt x="84" y="64"/>
                    <a:pt x="85" y="63"/>
                  </a:cubicBezTo>
                  <a:cubicBezTo>
                    <a:pt x="85" y="63"/>
                    <a:pt x="85" y="63"/>
                    <a:pt x="85" y="63"/>
                  </a:cubicBezTo>
                  <a:cubicBezTo>
                    <a:pt x="85" y="63"/>
                    <a:pt x="85" y="63"/>
                    <a:pt x="85" y="63"/>
                  </a:cubicBezTo>
                  <a:cubicBezTo>
                    <a:pt x="85" y="62"/>
                    <a:pt x="85" y="62"/>
                    <a:pt x="85" y="62"/>
                  </a:cubicBezTo>
                  <a:cubicBezTo>
                    <a:pt x="85" y="61"/>
                    <a:pt x="86" y="60"/>
                    <a:pt x="87" y="60"/>
                  </a:cubicBezTo>
                  <a:cubicBezTo>
                    <a:pt x="87" y="60"/>
                    <a:pt x="87" y="60"/>
                    <a:pt x="87" y="60"/>
                  </a:cubicBezTo>
                  <a:cubicBezTo>
                    <a:pt x="87" y="59"/>
                    <a:pt x="87" y="59"/>
                    <a:pt x="87" y="59"/>
                  </a:cubicBezTo>
                  <a:cubicBezTo>
                    <a:pt x="88" y="59"/>
                    <a:pt x="88" y="58"/>
                    <a:pt x="88" y="58"/>
                  </a:cubicBezTo>
                  <a:cubicBezTo>
                    <a:pt x="88" y="58"/>
                    <a:pt x="88" y="58"/>
                    <a:pt x="88" y="58"/>
                  </a:cubicBezTo>
                  <a:cubicBezTo>
                    <a:pt x="89" y="58"/>
                    <a:pt x="89" y="58"/>
                    <a:pt x="89" y="58"/>
                  </a:cubicBezTo>
                  <a:cubicBezTo>
                    <a:pt x="89" y="58"/>
                    <a:pt x="89" y="57"/>
                    <a:pt x="89" y="57"/>
                  </a:cubicBezTo>
                  <a:cubicBezTo>
                    <a:pt x="90" y="57"/>
                    <a:pt x="91" y="57"/>
                    <a:pt x="91" y="57"/>
                  </a:cubicBezTo>
                  <a:cubicBezTo>
                    <a:pt x="91" y="57"/>
                    <a:pt x="91" y="57"/>
                    <a:pt x="91" y="57"/>
                  </a:cubicBezTo>
                  <a:cubicBezTo>
                    <a:pt x="91" y="57"/>
                    <a:pt x="91" y="57"/>
                    <a:pt x="91" y="57"/>
                  </a:cubicBezTo>
                  <a:cubicBezTo>
                    <a:pt x="92" y="57"/>
                    <a:pt x="92" y="57"/>
                    <a:pt x="92" y="58"/>
                  </a:cubicBezTo>
                  <a:cubicBezTo>
                    <a:pt x="93" y="57"/>
                    <a:pt x="93" y="57"/>
                    <a:pt x="93" y="57"/>
                  </a:cubicBezTo>
                  <a:cubicBezTo>
                    <a:pt x="94" y="57"/>
                    <a:pt x="94" y="57"/>
                    <a:pt x="94" y="57"/>
                  </a:cubicBezTo>
                  <a:cubicBezTo>
                    <a:pt x="95" y="58"/>
                    <a:pt x="95" y="58"/>
                    <a:pt x="95" y="58"/>
                  </a:cubicBezTo>
                  <a:cubicBezTo>
                    <a:pt x="95" y="58"/>
                    <a:pt x="95" y="58"/>
                    <a:pt x="95" y="58"/>
                  </a:cubicBezTo>
                  <a:cubicBezTo>
                    <a:pt x="96" y="57"/>
                    <a:pt x="96" y="57"/>
                    <a:pt x="96" y="57"/>
                  </a:cubicBezTo>
                  <a:cubicBezTo>
                    <a:pt x="96" y="57"/>
                    <a:pt x="96" y="56"/>
                    <a:pt x="97" y="56"/>
                  </a:cubicBezTo>
                  <a:cubicBezTo>
                    <a:pt x="97" y="56"/>
                    <a:pt x="97" y="56"/>
                    <a:pt x="98" y="56"/>
                  </a:cubicBezTo>
                  <a:cubicBezTo>
                    <a:pt x="99" y="56"/>
                    <a:pt x="99" y="54"/>
                    <a:pt x="99" y="54"/>
                  </a:cubicBezTo>
                  <a:cubicBezTo>
                    <a:pt x="100" y="54"/>
                    <a:pt x="100" y="54"/>
                    <a:pt x="100" y="54"/>
                  </a:cubicBezTo>
                  <a:cubicBezTo>
                    <a:pt x="100" y="54"/>
                    <a:pt x="101" y="53"/>
                    <a:pt x="101" y="53"/>
                  </a:cubicBezTo>
                  <a:cubicBezTo>
                    <a:pt x="101" y="52"/>
                    <a:pt x="101" y="52"/>
                    <a:pt x="101" y="52"/>
                  </a:cubicBezTo>
                  <a:cubicBezTo>
                    <a:pt x="101" y="52"/>
                    <a:pt x="101" y="50"/>
                    <a:pt x="101" y="49"/>
                  </a:cubicBezTo>
                  <a:cubicBezTo>
                    <a:pt x="101" y="48"/>
                    <a:pt x="101" y="47"/>
                    <a:pt x="101" y="47"/>
                  </a:cubicBezTo>
                  <a:cubicBezTo>
                    <a:pt x="101" y="47"/>
                    <a:pt x="100" y="46"/>
                    <a:pt x="100" y="46"/>
                  </a:cubicBezTo>
                  <a:cubicBezTo>
                    <a:pt x="99" y="46"/>
                    <a:pt x="98" y="46"/>
                    <a:pt x="97" y="46"/>
                  </a:cubicBezTo>
                  <a:cubicBezTo>
                    <a:pt x="97" y="46"/>
                    <a:pt x="96" y="44"/>
                    <a:pt x="96" y="44"/>
                  </a:cubicBezTo>
                  <a:cubicBezTo>
                    <a:pt x="96" y="44"/>
                    <a:pt x="97" y="43"/>
                    <a:pt x="97" y="43"/>
                  </a:cubicBezTo>
                  <a:cubicBezTo>
                    <a:pt x="98" y="42"/>
                    <a:pt x="98" y="40"/>
                    <a:pt x="98" y="40"/>
                  </a:cubicBezTo>
                  <a:cubicBezTo>
                    <a:pt x="98" y="40"/>
                    <a:pt x="96" y="40"/>
                    <a:pt x="96" y="39"/>
                  </a:cubicBezTo>
                  <a:cubicBezTo>
                    <a:pt x="96" y="39"/>
                    <a:pt x="95" y="39"/>
                    <a:pt x="95" y="39"/>
                  </a:cubicBezTo>
                  <a:cubicBezTo>
                    <a:pt x="94" y="37"/>
                    <a:pt x="94" y="37"/>
                    <a:pt x="94" y="37"/>
                  </a:cubicBezTo>
                  <a:cubicBezTo>
                    <a:pt x="94" y="37"/>
                    <a:pt x="93" y="36"/>
                    <a:pt x="92" y="36"/>
                  </a:cubicBezTo>
                  <a:cubicBezTo>
                    <a:pt x="92" y="36"/>
                    <a:pt x="91" y="35"/>
                    <a:pt x="91" y="35"/>
                  </a:cubicBezTo>
                  <a:cubicBezTo>
                    <a:pt x="91" y="35"/>
                    <a:pt x="90" y="34"/>
                    <a:pt x="89" y="34"/>
                  </a:cubicBezTo>
                  <a:cubicBezTo>
                    <a:pt x="89" y="34"/>
                    <a:pt x="88" y="34"/>
                    <a:pt x="87" y="34"/>
                  </a:cubicBezTo>
                  <a:cubicBezTo>
                    <a:pt x="86" y="34"/>
                    <a:pt x="85" y="34"/>
                    <a:pt x="85" y="34"/>
                  </a:cubicBezTo>
                  <a:cubicBezTo>
                    <a:pt x="83" y="34"/>
                    <a:pt x="83" y="34"/>
                    <a:pt x="83" y="34"/>
                  </a:cubicBezTo>
                  <a:cubicBezTo>
                    <a:pt x="83" y="33"/>
                    <a:pt x="83" y="33"/>
                    <a:pt x="83" y="33"/>
                  </a:cubicBezTo>
                  <a:cubicBezTo>
                    <a:pt x="81" y="31"/>
                    <a:pt x="81" y="31"/>
                    <a:pt x="81" y="31"/>
                  </a:cubicBezTo>
                  <a:cubicBezTo>
                    <a:pt x="81" y="31"/>
                    <a:pt x="81" y="29"/>
                    <a:pt x="81" y="29"/>
                  </a:cubicBezTo>
                  <a:cubicBezTo>
                    <a:pt x="81" y="28"/>
                    <a:pt x="82" y="28"/>
                    <a:pt x="83" y="28"/>
                  </a:cubicBezTo>
                  <a:cubicBezTo>
                    <a:pt x="83" y="28"/>
                    <a:pt x="84" y="26"/>
                    <a:pt x="84" y="26"/>
                  </a:cubicBezTo>
                  <a:cubicBezTo>
                    <a:pt x="84" y="26"/>
                    <a:pt x="85" y="25"/>
                    <a:pt x="86" y="24"/>
                  </a:cubicBezTo>
                  <a:cubicBezTo>
                    <a:pt x="86" y="24"/>
                    <a:pt x="87" y="22"/>
                    <a:pt x="87" y="21"/>
                  </a:cubicBezTo>
                  <a:cubicBezTo>
                    <a:pt x="87" y="21"/>
                    <a:pt x="88" y="20"/>
                    <a:pt x="88" y="20"/>
                  </a:cubicBezTo>
                  <a:cubicBezTo>
                    <a:pt x="88" y="20"/>
                    <a:pt x="89" y="18"/>
                    <a:pt x="89" y="18"/>
                  </a:cubicBezTo>
                  <a:cubicBezTo>
                    <a:pt x="89" y="17"/>
                    <a:pt x="88" y="17"/>
                    <a:pt x="87" y="17"/>
                  </a:cubicBezTo>
                  <a:cubicBezTo>
                    <a:pt x="87" y="17"/>
                    <a:pt x="84" y="16"/>
                    <a:pt x="84" y="15"/>
                  </a:cubicBezTo>
                  <a:cubicBezTo>
                    <a:pt x="84" y="15"/>
                    <a:pt x="82" y="15"/>
                    <a:pt x="80" y="14"/>
                  </a:cubicBezTo>
                  <a:cubicBezTo>
                    <a:pt x="78" y="14"/>
                    <a:pt x="80" y="13"/>
                    <a:pt x="80" y="12"/>
                  </a:cubicBezTo>
                  <a:cubicBezTo>
                    <a:pt x="80" y="11"/>
                    <a:pt x="78" y="11"/>
                    <a:pt x="78" y="11"/>
                  </a:cubicBezTo>
                  <a:cubicBezTo>
                    <a:pt x="78" y="10"/>
                    <a:pt x="78" y="11"/>
                    <a:pt x="77" y="12"/>
                  </a:cubicBezTo>
                  <a:cubicBezTo>
                    <a:pt x="76" y="12"/>
                    <a:pt x="75" y="11"/>
                    <a:pt x="75" y="11"/>
                  </a:cubicBezTo>
                  <a:cubicBezTo>
                    <a:pt x="74" y="11"/>
                    <a:pt x="72" y="11"/>
                    <a:pt x="72" y="11"/>
                  </a:cubicBezTo>
                  <a:cubicBezTo>
                    <a:pt x="72" y="11"/>
                    <a:pt x="72" y="10"/>
                    <a:pt x="72" y="9"/>
                  </a:cubicBezTo>
                  <a:cubicBezTo>
                    <a:pt x="72" y="8"/>
                    <a:pt x="71" y="9"/>
                    <a:pt x="71" y="9"/>
                  </a:cubicBezTo>
                  <a:cubicBezTo>
                    <a:pt x="71" y="9"/>
                    <a:pt x="70" y="8"/>
                    <a:pt x="69" y="8"/>
                  </a:cubicBezTo>
                  <a:cubicBezTo>
                    <a:pt x="69" y="8"/>
                    <a:pt x="70" y="8"/>
                    <a:pt x="70" y="7"/>
                  </a:cubicBezTo>
                  <a:cubicBezTo>
                    <a:pt x="70" y="7"/>
                    <a:pt x="69" y="7"/>
                    <a:pt x="69" y="7"/>
                  </a:cubicBezTo>
                  <a:cubicBezTo>
                    <a:pt x="68" y="7"/>
                    <a:pt x="68" y="5"/>
                    <a:pt x="68" y="5"/>
                  </a:cubicBezTo>
                  <a:cubicBezTo>
                    <a:pt x="68" y="5"/>
                    <a:pt x="67" y="3"/>
                    <a:pt x="67" y="2"/>
                  </a:cubicBezTo>
                  <a:cubicBezTo>
                    <a:pt x="67" y="1"/>
                    <a:pt x="66" y="2"/>
                    <a:pt x="66" y="2"/>
                  </a:cubicBezTo>
                  <a:cubicBezTo>
                    <a:pt x="65" y="5"/>
                    <a:pt x="65" y="5"/>
                    <a:pt x="65" y="5"/>
                  </a:cubicBezTo>
                  <a:cubicBezTo>
                    <a:pt x="65" y="5"/>
                    <a:pt x="64" y="5"/>
                    <a:pt x="62" y="4"/>
                  </a:cubicBezTo>
                  <a:cubicBezTo>
                    <a:pt x="60" y="3"/>
                    <a:pt x="61" y="3"/>
                    <a:pt x="61" y="3"/>
                  </a:cubicBezTo>
                  <a:cubicBezTo>
                    <a:pt x="62" y="1"/>
                    <a:pt x="62" y="1"/>
                    <a:pt x="62" y="1"/>
                  </a:cubicBezTo>
                  <a:cubicBezTo>
                    <a:pt x="62" y="1"/>
                    <a:pt x="61" y="1"/>
                    <a:pt x="60" y="0"/>
                  </a:cubicBezTo>
                  <a:cubicBezTo>
                    <a:pt x="59" y="0"/>
                    <a:pt x="59" y="0"/>
                    <a:pt x="58" y="1"/>
                  </a:cubicBezTo>
                  <a:cubicBezTo>
                    <a:pt x="58" y="2"/>
                    <a:pt x="57" y="3"/>
                    <a:pt x="57" y="3"/>
                  </a:cubicBezTo>
                  <a:cubicBezTo>
                    <a:pt x="56" y="4"/>
                    <a:pt x="56" y="3"/>
                    <a:pt x="55" y="3"/>
                  </a:cubicBezTo>
                  <a:cubicBezTo>
                    <a:pt x="53" y="3"/>
                    <a:pt x="53" y="3"/>
                    <a:pt x="53" y="3"/>
                  </a:cubicBezTo>
                  <a:cubicBezTo>
                    <a:pt x="53" y="2"/>
                    <a:pt x="52" y="2"/>
                    <a:pt x="52" y="1"/>
                  </a:cubicBezTo>
                  <a:cubicBezTo>
                    <a:pt x="52" y="0"/>
                    <a:pt x="51" y="1"/>
                    <a:pt x="51" y="1"/>
                  </a:cubicBezTo>
                  <a:cubicBezTo>
                    <a:pt x="51" y="1"/>
                    <a:pt x="50" y="1"/>
                    <a:pt x="49" y="2"/>
                  </a:cubicBezTo>
                  <a:cubicBezTo>
                    <a:pt x="49" y="2"/>
                    <a:pt x="49" y="3"/>
                    <a:pt x="50" y="4"/>
                  </a:cubicBezTo>
                  <a:cubicBezTo>
                    <a:pt x="50" y="4"/>
                    <a:pt x="50" y="6"/>
                    <a:pt x="50" y="6"/>
                  </a:cubicBezTo>
                  <a:cubicBezTo>
                    <a:pt x="50" y="6"/>
                    <a:pt x="48" y="5"/>
                    <a:pt x="47" y="5"/>
                  </a:cubicBezTo>
                  <a:cubicBezTo>
                    <a:pt x="47" y="5"/>
                    <a:pt x="46" y="5"/>
                    <a:pt x="45" y="5"/>
                  </a:cubicBezTo>
                  <a:cubicBezTo>
                    <a:pt x="43" y="4"/>
                    <a:pt x="44" y="6"/>
                    <a:pt x="44" y="6"/>
                  </a:cubicBezTo>
                  <a:cubicBezTo>
                    <a:pt x="44" y="6"/>
                    <a:pt x="42" y="8"/>
                    <a:pt x="42" y="8"/>
                  </a:cubicBezTo>
                  <a:cubicBezTo>
                    <a:pt x="34" y="10"/>
                    <a:pt x="37" y="9"/>
                    <a:pt x="31" y="8"/>
                  </a:cubicBezTo>
                  <a:cubicBezTo>
                    <a:pt x="31" y="8"/>
                    <a:pt x="31" y="4"/>
                    <a:pt x="30" y="4"/>
                  </a:cubicBezTo>
                  <a:cubicBezTo>
                    <a:pt x="29" y="3"/>
                    <a:pt x="28" y="4"/>
                    <a:pt x="27" y="4"/>
                  </a:cubicBezTo>
                  <a:cubicBezTo>
                    <a:pt x="27" y="5"/>
                    <a:pt x="27" y="6"/>
                    <a:pt x="26" y="6"/>
                  </a:cubicBezTo>
                  <a:cubicBezTo>
                    <a:pt x="26" y="7"/>
                    <a:pt x="25" y="6"/>
                    <a:pt x="24" y="6"/>
                  </a:cubicBezTo>
                  <a:cubicBezTo>
                    <a:pt x="24" y="5"/>
                    <a:pt x="23" y="3"/>
                    <a:pt x="23" y="3"/>
                  </a:cubicBezTo>
                  <a:cubicBezTo>
                    <a:pt x="22" y="4"/>
                    <a:pt x="22" y="4"/>
                    <a:pt x="22" y="4"/>
                  </a:cubicBezTo>
                  <a:cubicBezTo>
                    <a:pt x="19" y="4"/>
                    <a:pt x="19" y="4"/>
                    <a:pt x="19" y="4"/>
                  </a:cubicBezTo>
                  <a:cubicBezTo>
                    <a:pt x="15" y="5"/>
                    <a:pt x="15" y="5"/>
                    <a:pt x="15" y="5"/>
                  </a:cubicBezTo>
                  <a:cubicBezTo>
                    <a:pt x="15" y="5"/>
                    <a:pt x="9" y="9"/>
                    <a:pt x="4" y="11"/>
                  </a:cubicBezTo>
                  <a:cubicBezTo>
                    <a:pt x="1" y="14"/>
                    <a:pt x="1" y="14"/>
                    <a:pt x="1" y="14"/>
                  </a:cubicBezTo>
                  <a:cubicBezTo>
                    <a:pt x="1" y="15"/>
                    <a:pt x="1" y="15"/>
                    <a:pt x="0" y="15"/>
                  </a:cubicBezTo>
                  <a:cubicBezTo>
                    <a:pt x="0" y="17"/>
                    <a:pt x="0" y="17"/>
                    <a:pt x="0" y="17"/>
                  </a:cubicBezTo>
                  <a:cubicBezTo>
                    <a:pt x="0" y="17"/>
                    <a:pt x="0" y="17"/>
                    <a:pt x="1" y="17"/>
                  </a:cubicBezTo>
                  <a:cubicBezTo>
                    <a:pt x="2" y="18"/>
                    <a:pt x="2" y="19"/>
                    <a:pt x="2" y="21"/>
                  </a:cubicBezTo>
                  <a:cubicBezTo>
                    <a:pt x="2" y="23"/>
                    <a:pt x="2" y="23"/>
                    <a:pt x="2" y="23"/>
                  </a:cubicBezTo>
                  <a:cubicBezTo>
                    <a:pt x="2" y="23"/>
                    <a:pt x="2" y="24"/>
                    <a:pt x="2" y="24"/>
                  </a:cubicBezTo>
                  <a:cubicBezTo>
                    <a:pt x="3" y="25"/>
                    <a:pt x="4" y="26"/>
                    <a:pt x="5" y="27"/>
                  </a:cubicBezTo>
                  <a:cubicBezTo>
                    <a:pt x="5" y="28"/>
                    <a:pt x="5" y="28"/>
                    <a:pt x="5" y="29"/>
                  </a:cubicBezTo>
                  <a:cubicBezTo>
                    <a:pt x="6" y="28"/>
                    <a:pt x="6" y="27"/>
                    <a:pt x="8" y="27"/>
                  </a:cubicBezTo>
                  <a:cubicBezTo>
                    <a:pt x="8" y="27"/>
                    <a:pt x="9" y="27"/>
                    <a:pt x="9" y="27"/>
                  </a:cubicBezTo>
                  <a:cubicBezTo>
                    <a:pt x="9" y="27"/>
                    <a:pt x="10" y="27"/>
                    <a:pt x="11" y="26"/>
                  </a:cubicBezTo>
                  <a:cubicBezTo>
                    <a:pt x="12" y="25"/>
                    <a:pt x="12" y="25"/>
                    <a:pt x="12" y="25"/>
                  </a:cubicBezTo>
                  <a:cubicBezTo>
                    <a:pt x="15" y="28"/>
                    <a:pt x="15" y="28"/>
                    <a:pt x="15" y="28"/>
                  </a:cubicBezTo>
                  <a:cubicBezTo>
                    <a:pt x="16" y="29"/>
                    <a:pt x="16" y="29"/>
                    <a:pt x="17" y="30"/>
                  </a:cubicBezTo>
                  <a:cubicBezTo>
                    <a:pt x="18" y="31"/>
                    <a:pt x="18" y="33"/>
                    <a:pt x="17" y="34"/>
                  </a:cubicBezTo>
                  <a:cubicBezTo>
                    <a:pt x="18" y="34"/>
                    <a:pt x="18" y="35"/>
                    <a:pt x="18" y="35"/>
                  </a:cubicBezTo>
                  <a:cubicBezTo>
                    <a:pt x="18" y="35"/>
                    <a:pt x="18" y="36"/>
                    <a:pt x="18" y="36"/>
                  </a:cubicBezTo>
                  <a:cubicBezTo>
                    <a:pt x="19" y="36"/>
                    <a:pt x="19" y="37"/>
                    <a:pt x="19" y="39"/>
                  </a:cubicBezTo>
                  <a:cubicBezTo>
                    <a:pt x="19" y="39"/>
                    <a:pt x="19" y="39"/>
                    <a:pt x="19" y="39"/>
                  </a:cubicBezTo>
                  <a:cubicBezTo>
                    <a:pt x="20" y="39"/>
                    <a:pt x="20" y="39"/>
                    <a:pt x="20" y="39"/>
                  </a:cubicBezTo>
                  <a:cubicBezTo>
                    <a:pt x="20" y="39"/>
                    <a:pt x="21" y="38"/>
                    <a:pt x="21" y="38"/>
                  </a:cubicBezTo>
                  <a:cubicBezTo>
                    <a:pt x="23" y="38"/>
                    <a:pt x="23" y="38"/>
                    <a:pt x="23" y="38"/>
                  </a:cubicBezTo>
                  <a:cubicBezTo>
                    <a:pt x="24" y="40"/>
                    <a:pt x="24" y="40"/>
                    <a:pt x="24" y="40"/>
                  </a:cubicBezTo>
                  <a:cubicBezTo>
                    <a:pt x="25" y="39"/>
                    <a:pt x="25" y="39"/>
                    <a:pt x="25" y="39"/>
                  </a:cubicBezTo>
                  <a:cubicBezTo>
                    <a:pt x="26" y="40"/>
                    <a:pt x="26" y="40"/>
                    <a:pt x="26" y="40"/>
                  </a:cubicBezTo>
                  <a:cubicBezTo>
                    <a:pt x="26" y="40"/>
                    <a:pt x="27" y="42"/>
                    <a:pt x="27" y="43"/>
                  </a:cubicBezTo>
                  <a:cubicBezTo>
                    <a:pt x="28" y="43"/>
                    <a:pt x="28" y="44"/>
                    <a:pt x="28" y="44"/>
                  </a:cubicBezTo>
                  <a:cubicBezTo>
                    <a:pt x="29" y="45"/>
                    <a:pt x="29" y="45"/>
                    <a:pt x="29" y="45"/>
                  </a:cubicBezTo>
                  <a:cubicBezTo>
                    <a:pt x="29" y="47"/>
                    <a:pt x="29" y="47"/>
                    <a:pt x="29" y="47"/>
                  </a:cubicBezTo>
                  <a:cubicBezTo>
                    <a:pt x="29" y="47"/>
                    <a:pt x="29" y="47"/>
                    <a:pt x="30" y="47"/>
                  </a:cubicBezTo>
                  <a:cubicBezTo>
                    <a:pt x="31" y="47"/>
                    <a:pt x="32" y="47"/>
                    <a:pt x="32" y="47"/>
                  </a:cubicBezTo>
                  <a:cubicBezTo>
                    <a:pt x="33" y="47"/>
                    <a:pt x="33" y="47"/>
                    <a:pt x="34" y="47"/>
                  </a:cubicBezTo>
                  <a:cubicBezTo>
                    <a:pt x="34" y="47"/>
                    <a:pt x="35" y="47"/>
                    <a:pt x="35" y="47"/>
                  </a:cubicBezTo>
                  <a:cubicBezTo>
                    <a:pt x="36" y="47"/>
                    <a:pt x="38" y="47"/>
                    <a:pt x="38" y="47"/>
                  </a:cubicBezTo>
                  <a:cubicBezTo>
                    <a:pt x="38" y="47"/>
                    <a:pt x="38" y="47"/>
                    <a:pt x="38" y="47"/>
                  </a:cubicBezTo>
                  <a:cubicBezTo>
                    <a:pt x="39" y="48"/>
                    <a:pt x="39" y="48"/>
                    <a:pt x="39" y="48"/>
                  </a:cubicBezTo>
                  <a:cubicBezTo>
                    <a:pt x="39" y="48"/>
                    <a:pt x="40" y="49"/>
                    <a:pt x="40" y="50"/>
                  </a:cubicBezTo>
                  <a:cubicBezTo>
                    <a:pt x="40" y="51"/>
                    <a:pt x="43" y="51"/>
                    <a:pt x="43" y="51"/>
                  </a:cubicBezTo>
                  <a:cubicBezTo>
                    <a:pt x="43" y="52"/>
                    <a:pt x="43" y="52"/>
                    <a:pt x="43" y="52"/>
                  </a:cubicBezTo>
                  <a:cubicBezTo>
                    <a:pt x="43" y="54"/>
                    <a:pt x="43" y="56"/>
                    <a:pt x="42" y="56"/>
                  </a:cubicBezTo>
                  <a:cubicBezTo>
                    <a:pt x="42" y="57"/>
                    <a:pt x="42" y="57"/>
                    <a:pt x="42" y="57"/>
                  </a:cubicBezTo>
                  <a:cubicBezTo>
                    <a:pt x="42" y="57"/>
                    <a:pt x="42" y="57"/>
                    <a:pt x="42" y="57"/>
                  </a:cubicBezTo>
                  <a:cubicBezTo>
                    <a:pt x="43" y="61"/>
                    <a:pt x="43" y="61"/>
                    <a:pt x="43" y="61"/>
                  </a:cubicBezTo>
                  <a:cubicBezTo>
                    <a:pt x="43" y="62"/>
                    <a:pt x="43" y="62"/>
                    <a:pt x="43" y="62"/>
                  </a:cubicBezTo>
                  <a:cubicBezTo>
                    <a:pt x="43" y="62"/>
                    <a:pt x="42" y="63"/>
                    <a:pt x="41" y="63"/>
                  </a:cubicBezTo>
                  <a:cubicBezTo>
                    <a:pt x="41" y="64"/>
                    <a:pt x="41" y="64"/>
                    <a:pt x="41" y="64"/>
                  </a:cubicBezTo>
                  <a:cubicBezTo>
                    <a:pt x="42" y="64"/>
                    <a:pt x="42" y="64"/>
                    <a:pt x="42" y="64"/>
                  </a:cubicBezTo>
                  <a:cubicBezTo>
                    <a:pt x="45" y="65"/>
                    <a:pt x="45" y="65"/>
                    <a:pt x="45" y="65"/>
                  </a:cubicBezTo>
                  <a:cubicBezTo>
                    <a:pt x="45" y="65"/>
                    <a:pt x="47" y="65"/>
                    <a:pt x="47" y="65"/>
                  </a:cubicBezTo>
                  <a:cubicBezTo>
                    <a:pt x="47" y="64"/>
                    <a:pt x="48" y="64"/>
                    <a:pt x="48" y="64"/>
                  </a:cubicBezTo>
                  <a:cubicBezTo>
                    <a:pt x="48" y="64"/>
                    <a:pt x="50" y="63"/>
                    <a:pt x="51" y="63"/>
                  </a:cubicBezTo>
                  <a:cubicBezTo>
                    <a:pt x="51" y="63"/>
                    <a:pt x="51" y="63"/>
                    <a:pt x="51" y="63"/>
                  </a:cubicBezTo>
                  <a:cubicBezTo>
                    <a:pt x="52" y="62"/>
                    <a:pt x="52" y="62"/>
                    <a:pt x="52" y="62"/>
                  </a:cubicBezTo>
                  <a:cubicBezTo>
                    <a:pt x="53" y="59"/>
                    <a:pt x="53" y="59"/>
                    <a:pt x="53" y="59"/>
                  </a:cubicBezTo>
                  <a:cubicBezTo>
                    <a:pt x="53" y="59"/>
                    <a:pt x="53" y="59"/>
                    <a:pt x="53" y="59"/>
                  </a:cubicBezTo>
                  <a:cubicBezTo>
                    <a:pt x="54" y="58"/>
                    <a:pt x="54" y="58"/>
                    <a:pt x="54" y="58"/>
                  </a:cubicBezTo>
                  <a:cubicBezTo>
                    <a:pt x="54" y="58"/>
                    <a:pt x="54" y="58"/>
                    <a:pt x="54" y="58"/>
                  </a:cubicBezTo>
                  <a:cubicBezTo>
                    <a:pt x="55" y="57"/>
                    <a:pt x="56" y="56"/>
                    <a:pt x="57" y="56"/>
                  </a:cubicBezTo>
                  <a:cubicBezTo>
                    <a:pt x="58" y="56"/>
                    <a:pt x="58" y="56"/>
                    <a:pt x="58" y="56"/>
                  </a:cubicBezTo>
                  <a:cubicBezTo>
                    <a:pt x="61" y="58"/>
                    <a:pt x="61" y="58"/>
                    <a:pt x="61" y="58"/>
                  </a:cubicBezTo>
                  <a:cubicBezTo>
                    <a:pt x="61" y="59"/>
                    <a:pt x="61" y="59"/>
                    <a:pt x="61" y="59"/>
                  </a:cubicBezTo>
                  <a:cubicBezTo>
                    <a:pt x="62" y="59"/>
                    <a:pt x="61" y="60"/>
                    <a:pt x="61" y="62"/>
                  </a:cubicBezTo>
                  <a:cubicBezTo>
                    <a:pt x="60" y="63"/>
                    <a:pt x="60" y="63"/>
                    <a:pt x="60" y="63"/>
                  </a:cubicBezTo>
                  <a:cubicBezTo>
                    <a:pt x="60" y="64"/>
                    <a:pt x="60" y="64"/>
                    <a:pt x="60" y="64"/>
                  </a:cubicBezTo>
                  <a:cubicBezTo>
                    <a:pt x="60" y="65"/>
                    <a:pt x="60" y="65"/>
                    <a:pt x="60" y="66"/>
                  </a:cubicBezTo>
                  <a:cubicBezTo>
                    <a:pt x="59" y="66"/>
                    <a:pt x="59" y="67"/>
                    <a:pt x="59" y="67"/>
                  </a:cubicBezTo>
                  <a:cubicBezTo>
                    <a:pt x="60" y="68"/>
                    <a:pt x="60" y="68"/>
                    <a:pt x="60" y="68"/>
                  </a:cubicBezTo>
                  <a:cubicBezTo>
                    <a:pt x="60" y="71"/>
                    <a:pt x="60" y="71"/>
                    <a:pt x="60" y="71"/>
                  </a:cubicBezTo>
                  <a:cubicBezTo>
                    <a:pt x="60" y="71"/>
                    <a:pt x="60" y="72"/>
                    <a:pt x="60" y="72"/>
                  </a:cubicBezTo>
                  <a:cubicBezTo>
                    <a:pt x="60" y="72"/>
                    <a:pt x="60" y="72"/>
                    <a:pt x="60" y="72"/>
                  </a:cubicBezTo>
                  <a:cubicBezTo>
                    <a:pt x="61" y="72"/>
                    <a:pt x="62" y="72"/>
                    <a:pt x="62" y="73"/>
                  </a:cubicBezTo>
                  <a:cubicBezTo>
                    <a:pt x="63" y="73"/>
                    <a:pt x="63" y="73"/>
                    <a:pt x="64" y="73"/>
                  </a:cubicBezTo>
                  <a:cubicBezTo>
                    <a:pt x="64" y="73"/>
                    <a:pt x="64" y="73"/>
                    <a:pt x="64" y="73"/>
                  </a:cubicBezTo>
                  <a:cubicBezTo>
                    <a:pt x="65" y="73"/>
                    <a:pt x="66" y="74"/>
                    <a:pt x="67" y="74"/>
                  </a:cubicBezTo>
                  <a:cubicBezTo>
                    <a:pt x="67" y="75"/>
                    <a:pt x="68" y="76"/>
                    <a:pt x="68" y="76"/>
                  </a:cubicBezTo>
                  <a:cubicBezTo>
                    <a:pt x="69" y="77"/>
                    <a:pt x="69" y="77"/>
                    <a:pt x="69" y="77"/>
                  </a:cubicBezTo>
                  <a:cubicBezTo>
                    <a:pt x="69" y="77"/>
                    <a:pt x="69" y="77"/>
                    <a:pt x="69" y="77"/>
                  </a:cubicBezTo>
                  <a:cubicBezTo>
                    <a:pt x="71" y="77"/>
                    <a:pt x="72" y="79"/>
                    <a:pt x="72" y="80"/>
                  </a:cubicBezTo>
                  <a:cubicBezTo>
                    <a:pt x="73" y="80"/>
                    <a:pt x="73" y="80"/>
                    <a:pt x="73" y="80"/>
                  </a:cubicBezTo>
                  <a:cubicBezTo>
                    <a:pt x="73" y="81"/>
                    <a:pt x="73" y="81"/>
                    <a:pt x="73" y="81"/>
                  </a:cubicBezTo>
                  <a:cubicBezTo>
                    <a:pt x="73" y="81"/>
                    <a:pt x="73" y="81"/>
                    <a:pt x="73" y="81"/>
                  </a:cubicBezTo>
                  <a:cubicBezTo>
                    <a:pt x="76" y="82"/>
                    <a:pt x="76" y="82"/>
                    <a:pt x="76" y="82"/>
                  </a:cubicBezTo>
                  <a:cubicBezTo>
                    <a:pt x="76" y="85"/>
                    <a:pt x="76" y="85"/>
                    <a:pt x="76" y="85"/>
                  </a:cubicBezTo>
                  <a:cubicBezTo>
                    <a:pt x="76" y="85"/>
                    <a:pt x="76" y="85"/>
                    <a:pt x="76" y="85"/>
                  </a:cubicBezTo>
                  <a:cubicBezTo>
                    <a:pt x="77" y="85"/>
                    <a:pt x="77" y="85"/>
                    <a:pt x="77" y="85"/>
                  </a:cubicBezTo>
                  <a:cubicBezTo>
                    <a:pt x="79" y="84"/>
                    <a:pt x="79" y="84"/>
                    <a:pt x="79" y="84"/>
                  </a:cubicBezTo>
                  <a:cubicBezTo>
                    <a:pt x="80" y="84"/>
                    <a:pt x="80" y="84"/>
                    <a:pt x="80" y="84"/>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8" name="Freeform 132"/>
            <p:cNvSpPr>
              <a:spLocks/>
            </p:cNvSpPr>
            <p:nvPr/>
          </p:nvSpPr>
          <p:spPr bwMode="auto">
            <a:xfrm>
              <a:off x="6136824" y="3569969"/>
              <a:ext cx="219510" cy="108928"/>
            </a:xfrm>
            <a:custGeom>
              <a:avLst/>
              <a:gdLst>
                <a:gd name="T0" fmla="*/ 7 w 76"/>
                <a:gd name="T1" fmla="*/ 30 h 40"/>
                <a:gd name="T2" fmla="*/ 11 w 76"/>
                <a:gd name="T3" fmla="*/ 32 h 40"/>
                <a:gd name="T4" fmla="*/ 4 w 76"/>
                <a:gd name="T5" fmla="*/ 39 h 40"/>
                <a:gd name="T6" fmla="*/ 3 w 76"/>
                <a:gd name="T7" fmla="*/ 40 h 40"/>
                <a:gd name="T8" fmla="*/ 13 w 76"/>
                <a:gd name="T9" fmla="*/ 39 h 40"/>
                <a:gd name="T10" fmla="*/ 14 w 76"/>
                <a:gd name="T11" fmla="*/ 39 h 40"/>
                <a:gd name="T12" fmla="*/ 19 w 76"/>
                <a:gd name="T13" fmla="*/ 39 h 40"/>
                <a:gd name="T14" fmla="*/ 29 w 76"/>
                <a:gd name="T15" fmla="*/ 38 h 40"/>
                <a:gd name="T16" fmla="*/ 37 w 76"/>
                <a:gd name="T17" fmla="*/ 37 h 40"/>
                <a:gd name="T18" fmla="*/ 49 w 76"/>
                <a:gd name="T19" fmla="*/ 36 h 40"/>
                <a:gd name="T20" fmla="*/ 65 w 76"/>
                <a:gd name="T21" fmla="*/ 34 h 40"/>
                <a:gd name="T22" fmla="*/ 66 w 76"/>
                <a:gd name="T23" fmla="*/ 34 h 40"/>
                <a:gd name="T24" fmla="*/ 71 w 76"/>
                <a:gd name="T25" fmla="*/ 30 h 40"/>
                <a:gd name="T26" fmla="*/ 76 w 76"/>
                <a:gd name="T27" fmla="*/ 30 h 40"/>
                <a:gd name="T28" fmla="*/ 74 w 76"/>
                <a:gd name="T29" fmla="*/ 28 h 40"/>
                <a:gd name="T30" fmla="*/ 74 w 76"/>
                <a:gd name="T31" fmla="*/ 20 h 40"/>
                <a:gd name="T32" fmla="*/ 74 w 76"/>
                <a:gd name="T33" fmla="*/ 17 h 40"/>
                <a:gd name="T34" fmla="*/ 76 w 76"/>
                <a:gd name="T35" fmla="*/ 12 h 40"/>
                <a:gd name="T36" fmla="*/ 73 w 76"/>
                <a:gd name="T37" fmla="*/ 9 h 40"/>
                <a:gd name="T38" fmla="*/ 70 w 76"/>
                <a:gd name="T39" fmla="*/ 6 h 40"/>
                <a:gd name="T40" fmla="*/ 68 w 76"/>
                <a:gd name="T41" fmla="*/ 6 h 40"/>
                <a:gd name="T42" fmla="*/ 66 w 76"/>
                <a:gd name="T43" fmla="*/ 3 h 40"/>
                <a:gd name="T44" fmla="*/ 61 w 76"/>
                <a:gd name="T45" fmla="*/ 4 h 40"/>
                <a:gd name="T46" fmla="*/ 57 w 76"/>
                <a:gd name="T47" fmla="*/ 5 h 40"/>
                <a:gd name="T48" fmla="*/ 55 w 76"/>
                <a:gd name="T49" fmla="*/ 7 h 40"/>
                <a:gd name="T50" fmla="*/ 46 w 76"/>
                <a:gd name="T51" fmla="*/ 6 h 40"/>
                <a:gd name="T52" fmla="*/ 42 w 76"/>
                <a:gd name="T53" fmla="*/ 3 h 40"/>
                <a:gd name="T54" fmla="*/ 39 w 76"/>
                <a:gd name="T55" fmla="*/ 3 h 40"/>
                <a:gd name="T56" fmla="*/ 36 w 76"/>
                <a:gd name="T57" fmla="*/ 0 h 40"/>
                <a:gd name="T58" fmla="*/ 32 w 76"/>
                <a:gd name="T59" fmla="*/ 1 h 40"/>
                <a:gd name="T60" fmla="*/ 31 w 76"/>
                <a:gd name="T61" fmla="*/ 6 h 40"/>
                <a:gd name="T62" fmla="*/ 21 w 76"/>
                <a:gd name="T63" fmla="*/ 19 h 40"/>
                <a:gd name="T64" fmla="*/ 8 w 76"/>
                <a:gd name="T65" fmla="*/ 17 h 40"/>
                <a:gd name="T66" fmla="*/ 3 w 76"/>
                <a:gd name="T67" fmla="*/ 28 h 40"/>
                <a:gd name="T68" fmla="*/ 7 w 76"/>
                <a:gd name="T69"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6" h="40">
                  <a:moveTo>
                    <a:pt x="7" y="30"/>
                  </a:moveTo>
                  <a:cubicBezTo>
                    <a:pt x="11" y="32"/>
                    <a:pt x="11" y="32"/>
                    <a:pt x="11" y="32"/>
                  </a:cubicBezTo>
                  <a:cubicBezTo>
                    <a:pt x="14" y="31"/>
                    <a:pt x="4" y="39"/>
                    <a:pt x="4" y="39"/>
                  </a:cubicBezTo>
                  <a:cubicBezTo>
                    <a:pt x="4" y="39"/>
                    <a:pt x="4" y="40"/>
                    <a:pt x="3" y="40"/>
                  </a:cubicBezTo>
                  <a:cubicBezTo>
                    <a:pt x="4" y="40"/>
                    <a:pt x="7" y="40"/>
                    <a:pt x="13" y="39"/>
                  </a:cubicBezTo>
                  <a:cubicBezTo>
                    <a:pt x="14" y="39"/>
                    <a:pt x="14" y="39"/>
                    <a:pt x="14" y="39"/>
                  </a:cubicBezTo>
                  <a:cubicBezTo>
                    <a:pt x="15" y="39"/>
                    <a:pt x="18" y="39"/>
                    <a:pt x="19" y="39"/>
                  </a:cubicBezTo>
                  <a:cubicBezTo>
                    <a:pt x="21" y="39"/>
                    <a:pt x="28" y="38"/>
                    <a:pt x="29" y="38"/>
                  </a:cubicBezTo>
                  <a:cubicBezTo>
                    <a:pt x="37" y="37"/>
                    <a:pt x="37" y="37"/>
                    <a:pt x="37" y="37"/>
                  </a:cubicBezTo>
                  <a:cubicBezTo>
                    <a:pt x="38" y="37"/>
                    <a:pt x="48" y="36"/>
                    <a:pt x="49" y="36"/>
                  </a:cubicBezTo>
                  <a:cubicBezTo>
                    <a:pt x="50" y="36"/>
                    <a:pt x="53" y="36"/>
                    <a:pt x="65" y="34"/>
                  </a:cubicBezTo>
                  <a:cubicBezTo>
                    <a:pt x="66" y="34"/>
                    <a:pt x="66" y="34"/>
                    <a:pt x="66" y="34"/>
                  </a:cubicBezTo>
                  <a:cubicBezTo>
                    <a:pt x="71" y="30"/>
                    <a:pt x="71" y="30"/>
                    <a:pt x="71" y="30"/>
                  </a:cubicBezTo>
                  <a:cubicBezTo>
                    <a:pt x="76" y="30"/>
                    <a:pt x="76" y="30"/>
                    <a:pt x="76" y="30"/>
                  </a:cubicBezTo>
                  <a:cubicBezTo>
                    <a:pt x="74" y="28"/>
                    <a:pt x="74" y="28"/>
                    <a:pt x="74" y="28"/>
                  </a:cubicBezTo>
                  <a:cubicBezTo>
                    <a:pt x="74" y="20"/>
                    <a:pt x="74" y="20"/>
                    <a:pt x="74" y="20"/>
                  </a:cubicBezTo>
                  <a:cubicBezTo>
                    <a:pt x="74" y="17"/>
                    <a:pt x="74" y="17"/>
                    <a:pt x="74" y="17"/>
                  </a:cubicBezTo>
                  <a:cubicBezTo>
                    <a:pt x="76" y="12"/>
                    <a:pt x="76" y="12"/>
                    <a:pt x="76" y="12"/>
                  </a:cubicBezTo>
                  <a:cubicBezTo>
                    <a:pt x="76" y="12"/>
                    <a:pt x="74" y="11"/>
                    <a:pt x="73" y="9"/>
                  </a:cubicBezTo>
                  <a:cubicBezTo>
                    <a:pt x="72" y="8"/>
                    <a:pt x="70" y="6"/>
                    <a:pt x="70" y="6"/>
                  </a:cubicBezTo>
                  <a:cubicBezTo>
                    <a:pt x="68" y="6"/>
                    <a:pt x="68" y="6"/>
                    <a:pt x="68" y="6"/>
                  </a:cubicBezTo>
                  <a:cubicBezTo>
                    <a:pt x="66" y="3"/>
                    <a:pt x="66" y="3"/>
                    <a:pt x="66" y="3"/>
                  </a:cubicBezTo>
                  <a:cubicBezTo>
                    <a:pt x="61" y="4"/>
                    <a:pt x="61" y="4"/>
                    <a:pt x="61" y="4"/>
                  </a:cubicBezTo>
                  <a:cubicBezTo>
                    <a:pt x="57" y="5"/>
                    <a:pt x="57" y="5"/>
                    <a:pt x="57" y="5"/>
                  </a:cubicBezTo>
                  <a:cubicBezTo>
                    <a:pt x="55" y="7"/>
                    <a:pt x="55" y="7"/>
                    <a:pt x="55" y="7"/>
                  </a:cubicBezTo>
                  <a:cubicBezTo>
                    <a:pt x="46" y="6"/>
                    <a:pt x="46" y="6"/>
                    <a:pt x="46" y="6"/>
                  </a:cubicBezTo>
                  <a:cubicBezTo>
                    <a:pt x="42" y="3"/>
                    <a:pt x="42" y="3"/>
                    <a:pt x="42" y="3"/>
                  </a:cubicBezTo>
                  <a:cubicBezTo>
                    <a:pt x="39" y="3"/>
                    <a:pt x="39" y="3"/>
                    <a:pt x="39" y="3"/>
                  </a:cubicBezTo>
                  <a:cubicBezTo>
                    <a:pt x="36" y="0"/>
                    <a:pt x="36" y="0"/>
                    <a:pt x="36" y="0"/>
                  </a:cubicBezTo>
                  <a:cubicBezTo>
                    <a:pt x="35" y="2"/>
                    <a:pt x="33" y="0"/>
                    <a:pt x="32" y="1"/>
                  </a:cubicBezTo>
                  <a:cubicBezTo>
                    <a:pt x="31" y="1"/>
                    <a:pt x="31" y="4"/>
                    <a:pt x="31" y="6"/>
                  </a:cubicBezTo>
                  <a:cubicBezTo>
                    <a:pt x="32" y="15"/>
                    <a:pt x="34" y="20"/>
                    <a:pt x="21" y="19"/>
                  </a:cubicBezTo>
                  <a:cubicBezTo>
                    <a:pt x="16" y="19"/>
                    <a:pt x="10" y="18"/>
                    <a:pt x="8" y="17"/>
                  </a:cubicBezTo>
                  <a:cubicBezTo>
                    <a:pt x="4" y="17"/>
                    <a:pt x="0" y="21"/>
                    <a:pt x="3" y="28"/>
                  </a:cubicBezTo>
                  <a:lnTo>
                    <a:pt x="7" y="30"/>
                  </a:ln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9" name="Freeform 133"/>
            <p:cNvSpPr>
              <a:spLocks/>
            </p:cNvSpPr>
            <p:nvPr/>
          </p:nvSpPr>
          <p:spPr bwMode="auto">
            <a:xfrm>
              <a:off x="6021292" y="4250769"/>
              <a:ext cx="446241" cy="231472"/>
            </a:xfrm>
            <a:custGeom>
              <a:avLst/>
              <a:gdLst>
                <a:gd name="T0" fmla="*/ 152 w 154"/>
                <a:gd name="T1" fmla="*/ 9 h 85"/>
                <a:gd name="T2" fmla="*/ 147 w 154"/>
                <a:gd name="T3" fmla="*/ 9 h 85"/>
                <a:gd name="T4" fmla="*/ 137 w 154"/>
                <a:gd name="T5" fmla="*/ 6 h 85"/>
                <a:gd name="T6" fmla="*/ 136 w 154"/>
                <a:gd name="T7" fmla="*/ 3 h 85"/>
                <a:gd name="T8" fmla="*/ 135 w 154"/>
                <a:gd name="T9" fmla="*/ 3 h 85"/>
                <a:gd name="T10" fmla="*/ 133 w 154"/>
                <a:gd name="T11" fmla="*/ 1 h 85"/>
                <a:gd name="T12" fmla="*/ 127 w 154"/>
                <a:gd name="T13" fmla="*/ 0 h 85"/>
                <a:gd name="T14" fmla="*/ 123 w 154"/>
                <a:gd name="T15" fmla="*/ 0 h 85"/>
                <a:gd name="T16" fmla="*/ 118 w 154"/>
                <a:gd name="T17" fmla="*/ 1 h 85"/>
                <a:gd name="T18" fmla="*/ 116 w 154"/>
                <a:gd name="T19" fmla="*/ 3 h 85"/>
                <a:gd name="T20" fmla="*/ 110 w 154"/>
                <a:gd name="T21" fmla="*/ 7 h 85"/>
                <a:gd name="T22" fmla="*/ 107 w 154"/>
                <a:gd name="T23" fmla="*/ 9 h 85"/>
                <a:gd name="T24" fmla="*/ 103 w 154"/>
                <a:gd name="T25" fmla="*/ 8 h 85"/>
                <a:gd name="T26" fmla="*/ 99 w 154"/>
                <a:gd name="T27" fmla="*/ 6 h 85"/>
                <a:gd name="T28" fmla="*/ 97 w 154"/>
                <a:gd name="T29" fmla="*/ 7 h 85"/>
                <a:gd name="T30" fmla="*/ 92 w 154"/>
                <a:gd name="T31" fmla="*/ 8 h 85"/>
                <a:gd name="T32" fmla="*/ 89 w 154"/>
                <a:gd name="T33" fmla="*/ 11 h 85"/>
                <a:gd name="T34" fmla="*/ 85 w 154"/>
                <a:gd name="T35" fmla="*/ 18 h 85"/>
                <a:gd name="T36" fmla="*/ 83 w 154"/>
                <a:gd name="T37" fmla="*/ 18 h 85"/>
                <a:gd name="T38" fmla="*/ 76 w 154"/>
                <a:gd name="T39" fmla="*/ 19 h 85"/>
                <a:gd name="T40" fmla="*/ 74 w 154"/>
                <a:gd name="T41" fmla="*/ 14 h 85"/>
                <a:gd name="T42" fmla="*/ 72 w 154"/>
                <a:gd name="T43" fmla="*/ 11 h 85"/>
                <a:gd name="T44" fmla="*/ 62 w 154"/>
                <a:gd name="T45" fmla="*/ 6 h 85"/>
                <a:gd name="T46" fmla="*/ 61 w 154"/>
                <a:gd name="T47" fmla="*/ 11 h 85"/>
                <a:gd name="T48" fmla="*/ 56 w 154"/>
                <a:gd name="T49" fmla="*/ 13 h 85"/>
                <a:gd name="T50" fmla="*/ 49 w 154"/>
                <a:gd name="T51" fmla="*/ 10 h 85"/>
                <a:gd name="T52" fmla="*/ 43 w 154"/>
                <a:gd name="T53" fmla="*/ 11 h 85"/>
                <a:gd name="T54" fmla="*/ 38 w 154"/>
                <a:gd name="T55" fmla="*/ 16 h 85"/>
                <a:gd name="T56" fmla="*/ 32 w 154"/>
                <a:gd name="T57" fmla="*/ 25 h 85"/>
                <a:gd name="T58" fmla="*/ 26 w 154"/>
                <a:gd name="T59" fmla="*/ 38 h 85"/>
                <a:gd name="T60" fmla="*/ 20 w 154"/>
                <a:gd name="T61" fmla="*/ 43 h 85"/>
                <a:gd name="T62" fmla="*/ 16 w 154"/>
                <a:gd name="T63" fmla="*/ 45 h 85"/>
                <a:gd name="T64" fmla="*/ 13 w 154"/>
                <a:gd name="T65" fmla="*/ 44 h 85"/>
                <a:gd name="T66" fmla="*/ 11 w 154"/>
                <a:gd name="T67" fmla="*/ 45 h 85"/>
                <a:gd name="T68" fmla="*/ 6 w 154"/>
                <a:gd name="T69" fmla="*/ 44 h 85"/>
                <a:gd name="T70" fmla="*/ 5 w 154"/>
                <a:gd name="T71" fmla="*/ 45 h 85"/>
                <a:gd name="T72" fmla="*/ 2 w 154"/>
                <a:gd name="T73" fmla="*/ 52 h 85"/>
                <a:gd name="T74" fmla="*/ 2 w 154"/>
                <a:gd name="T75" fmla="*/ 58 h 85"/>
                <a:gd name="T76" fmla="*/ 0 w 154"/>
                <a:gd name="T77" fmla="*/ 62 h 85"/>
                <a:gd name="T78" fmla="*/ 2 w 154"/>
                <a:gd name="T79" fmla="*/ 67 h 85"/>
                <a:gd name="T80" fmla="*/ 5 w 154"/>
                <a:gd name="T81" fmla="*/ 71 h 85"/>
                <a:gd name="T82" fmla="*/ 8 w 154"/>
                <a:gd name="T83" fmla="*/ 80 h 85"/>
                <a:gd name="T84" fmla="*/ 15 w 154"/>
                <a:gd name="T85" fmla="*/ 76 h 85"/>
                <a:gd name="T86" fmla="*/ 28 w 154"/>
                <a:gd name="T87" fmla="*/ 85 h 85"/>
                <a:gd name="T88" fmla="*/ 61 w 154"/>
                <a:gd name="T89" fmla="*/ 78 h 85"/>
                <a:gd name="T90" fmla="*/ 67 w 154"/>
                <a:gd name="T91" fmla="*/ 66 h 85"/>
                <a:gd name="T92" fmla="*/ 83 w 154"/>
                <a:gd name="T93" fmla="*/ 59 h 85"/>
                <a:gd name="T94" fmla="*/ 95 w 154"/>
                <a:gd name="T95" fmla="*/ 55 h 85"/>
                <a:gd name="T96" fmla="*/ 104 w 154"/>
                <a:gd name="T97" fmla="*/ 41 h 85"/>
                <a:gd name="T98" fmla="*/ 129 w 154"/>
                <a:gd name="T99" fmla="*/ 36 h 85"/>
                <a:gd name="T100" fmla="*/ 148 w 154"/>
                <a:gd name="T101" fmla="*/ 42 h 85"/>
                <a:gd name="T102" fmla="*/ 149 w 154"/>
                <a:gd name="T103" fmla="*/ 36 h 85"/>
                <a:gd name="T104" fmla="*/ 148 w 154"/>
                <a:gd name="T105" fmla="*/ 30 h 85"/>
                <a:gd name="T106" fmla="*/ 151 w 154"/>
                <a:gd name="T107" fmla="*/ 25 h 85"/>
                <a:gd name="T108" fmla="*/ 152 w 154"/>
                <a:gd name="T109" fmla="*/ 20 h 85"/>
                <a:gd name="T110" fmla="*/ 153 w 154"/>
                <a:gd name="T111" fmla="*/ 1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4" h="85">
                  <a:moveTo>
                    <a:pt x="154" y="11"/>
                  </a:moveTo>
                  <a:cubicBezTo>
                    <a:pt x="153" y="11"/>
                    <a:pt x="153" y="11"/>
                    <a:pt x="153" y="11"/>
                  </a:cubicBezTo>
                  <a:cubicBezTo>
                    <a:pt x="152" y="9"/>
                    <a:pt x="152" y="9"/>
                    <a:pt x="152" y="9"/>
                  </a:cubicBezTo>
                  <a:cubicBezTo>
                    <a:pt x="152" y="9"/>
                    <a:pt x="152" y="9"/>
                    <a:pt x="152" y="9"/>
                  </a:cubicBezTo>
                  <a:cubicBezTo>
                    <a:pt x="152" y="9"/>
                    <a:pt x="151" y="9"/>
                    <a:pt x="151" y="10"/>
                  </a:cubicBezTo>
                  <a:cubicBezTo>
                    <a:pt x="151" y="10"/>
                    <a:pt x="151" y="10"/>
                    <a:pt x="151" y="10"/>
                  </a:cubicBezTo>
                  <a:cubicBezTo>
                    <a:pt x="150" y="10"/>
                    <a:pt x="149" y="9"/>
                    <a:pt x="148" y="8"/>
                  </a:cubicBezTo>
                  <a:cubicBezTo>
                    <a:pt x="147" y="9"/>
                    <a:pt x="147" y="9"/>
                    <a:pt x="147" y="9"/>
                  </a:cubicBezTo>
                  <a:cubicBezTo>
                    <a:pt x="144" y="8"/>
                    <a:pt x="144" y="8"/>
                    <a:pt x="144" y="8"/>
                  </a:cubicBezTo>
                  <a:cubicBezTo>
                    <a:pt x="144" y="8"/>
                    <a:pt x="143" y="8"/>
                    <a:pt x="143" y="8"/>
                  </a:cubicBezTo>
                  <a:cubicBezTo>
                    <a:pt x="143" y="7"/>
                    <a:pt x="142" y="7"/>
                    <a:pt x="141" y="7"/>
                  </a:cubicBezTo>
                  <a:cubicBezTo>
                    <a:pt x="138" y="7"/>
                    <a:pt x="138" y="7"/>
                    <a:pt x="137" y="6"/>
                  </a:cubicBezTo>
                  <a:cubicBezTo>
                    <a:pt x="137" y="6"/>
                    <a:pt x="136" y="5"/>
                    <a:pt x="136" y="4"/>
                  </a:cubicBezTo>
                  <a:cubicBezTo>
                    <a:pt x="136" y="3"/>
                    <a:pt x="136" y="3"/>
                    <a:pt x="136" y="3"/>
                  </a:cubicBezTo>
                  <a:cubicBezTo>
                    <a:pt x="136" y="3"/>
                    <a:pt x="136" y="3"/>
                    <a:pt x="136" y="3"/>
                  </a:cubicBezTo>
                  <a:cubicBezTo>
                    <a:pt x="136" y="3"/>
                    <a:pt x="136" y="3"/>
                    <a:pt x="136" y="3"/>
                  </a:cubicBezTo>
                  <a:cubicBezTo>
                    <a:pt x="136" y="3"/>
                    <a:pt x="136" y="3"/>
                    <a:pt x="136" y="3"/>
                  </a:cubicBezTo>
                  <a:cubicBezTo>
                    <a:pt x="136" y="3"/>
                    <a:pt x="136" y="3"/>
                    <a:pt x="136" y="3"/>
                  </a:cubicBezTo>
                  <a:cubicBezTo>
                    <a:pt x="137" y="2"/>
                    <a:pt x="137" y="2"/>
                    <a:pt x="137" y="2"/>
                  </a:cubicBezTo>
                  <a:cubicBezTo>
                    <a:pt x="135" y="3"/>
                    <a:pt x="135" y="3"/>
                    <a:pt x="135" y="3"/>
                  </a:cubicBezTo>
                  <a:cubicBezTo>
                    <a:pt x="135" y="2"/>
                    <a:pt x="135" y="2"/>
                    <a:pt x="135" y="2"/>
                  </a:cubicBezTo>
                  <a:cubicBezTo>
                    <a:pt x="135" y="2"/>
                    <a:pt x="135" y="2"/>
                    <a:pt x="135" y="2"/>
                  </a:cubicBezTo>
                  <a:cubicBezTo>
                    <a:pt x="134" y="2"/>
                    <a:pt x="133" y="2"/>
                    <a:pt x="133" y="1"/>
                  </a:cubicBezTo>
                  <a:cubicBezTo>
                    <a:pt x="133" y="1"/>
                    <a:pt x="133" y="1"/>
                    <a:pt x="133" y="1"/>
                  </a:cubicBezTo>
                  <a:cubicBezTo>
                    <a:pt x="132" y="1"/>
                    <a:pt x="132" y="1"/>
                    <a:pt x="132" y="1"/>
                  </a:cubicBezTo>
                  <a:cubicBezTo>
                    <a:pt x="132" y="2"/>
                    <a:pt x="131" y="2"/>
                    <a:pt x="130" y="2"/>
                  </a:cubicBezTo>
                  <a:cubicBezTo>
                    <a:pt x="130" y="2"/>
                    <a:pt x="129" y="2"/>
                    <a:pt x="128" y="1"/>
                  </a:cubicBezTo>
                  <a:cubicBezTo>
                    <a:pt x="128" y="1"/>
                    <a:pt x="127" y="0"/>
                    <a:pt x="127" y="0"/>
                  </a:cubicBezTo>
                  <a:cubicBezTo>
                    <a:pt x="127" y="0"/>
                    <a:pt x="127" y="0"/>
                    <a:pt x="127" y="0"/>
                  </a:cubicBezTo>
                  <a:cubicBezTo>
                    <a:pt x="127" y="0"/>
                    <a:pt x="127" y="0"/>
                    <a:pt x="127" y="0"/>
                  </a:cubicBezTo>
                  <a:cubicBezTo>
                    <a:pt x="126" y="0"/>
                    <a:pt x="126" y="0"/>
                    <a:pt x="125" y="0"/>
                  </a:cubicBezTo>
                  <a:cubicBezTo>
                    <a:pt x="125" y="0"/>
                    <a:pt x="124" y="0"/>
                    <a:pt x="123" y="0"/>
                  </a:cubicBezTo>
                  <a:cubicBezTo>
                    <a:pt x="123" y="1"/>
                    <a:pt x="122" y="2"/>
                    <a:pt x="121" y="2"/>
                  </a:cubicBezTo>
                  <a:cubicBezTo>
                    <a:pt x="121" y="2"/>
                    <a:pt x="120" y="1"/>
                    <a:pt x="120" y="1"/>
                  </a:cubicBezTo>
                  <a:cubicBezTo>
                    <a:pt x="119" y="1"/>
                    <a:pt x="119" y="1"/>
                    <a:pt x="119" y="1"/>
                  </a:cubicBezTo>
                  <a:cubicBezTo>
                    <a:pt x="118" y="1"/>
                    <a:pt x="118" y="1"/>
                    <a:pt x="118" y="1"/>
                  </a:cubicBezTo>
                  <a:cubicBezTo>
                    <a:pt x="118" y="1"/>
                    <a:pt x="118" y="1"/>
                    <a:pt x="118" y="1"/>
                  </a:cubicBezTo>
                  <a:cubicBezTo>
                    <a:pt x="118" y="1"/>
                    <a:pt x="118" y="1"/>
                    <a:pt x="118" y="1"/>
                  </a:cubicBezTo>
                  <a:cubicBezTo>
                    <a:pt x="117" y="1"/>
                    <a:pt x="117" y="1"/>
                    <a:pt x="117" y="1"/>
                  </a:cubicBezTo>
                  <a:cubicBezTo>
                    <a:pt x="116" y="3"/>
                    <a:pt x="116" y="3"/>
                    <a:pt x="116" y="3"/>
                  </a:cubicBezTo>
                  <a:cubicBezTo>
                    <a:pt x="114" y="3"/>
                    <a:pt x="114" y="3"/>
                    <a:pt x="114" y="3"/>
                  </a:cubicBezTo>
                  <a:cubicBezTo>
                    <a:pt x="114" y="3"/>
                    <a:pt x="114" y="3"/>
                    <a:pt x="114" y="3"/>
                  </a:cubicBezTo>
                  <a:cubicBezTo>
                    <a:pt x="113" y="5"/>
                    <a:pt x="112" y="5"/>
                    <a:pt x="111" y="6"/>
                  </a:cubicBezTo>
                  <a:cubicBezTo>
                    <a:pt x="111" y="6"/>
                    <a:pt x="110" y="6"/>
                    <a:pt x="110" y="7"/>
                  </a:cubicBezTo>
                  <a:cubicBezTo>
                    <a:pt x="110" y="7"/>
                    <a:pt x="110" y="8"/>
                    <a:pt x="110" y="8"/>
                  </a:cubicBezTo>
                  <a:cubicBezTo>
                    <a:pt x="109" y="9"/>
                    <a:pt x="109" y="9"/>
                    <a:pt x="109" y="9"/>
                  </a:cubicBezTo>
                  <a:cubicBezTo>
                    <a:pt x="109" y="9"/>
                    <a:pt x="109" y="9"/>
                    <a:pt x="109" y="9"/>
                  </a:cubicBezTo>
                  <a:cubicBezTo>
                    <a:pt x="108" y="9"/>
                    <a:pt x="108" y="9"/>
                    <a:pt x="107" y="9"/>
                  </a:cubicBezTo>
                  <a:cubicBezTo>
                    <a:pt x="107" y="9"/>
                    <a:pt x="106" y="9"/>
                    <a:pt x="106" y="9"/>
                  </a:cubicBezTo>
                  <a:cubicBezTo>
                    <a:pt x="106" y="9"/>
                    <a:pt x="106" y="9"/>
                    <a:pt x="106" y="9"/>
                  </a:cubicBezTo>
                  <a:cubicBezTo>
                    <a:pt x="106" y="9"/>
                    <a:pt x="105" y="9"/>
                    <a:pt x="104" y="8"/>
                  </a:cubicBezTo>
                  <a:cubicBezTo>
                    <a:pt x="103" y="8"/>
                    <a:pt x="103" y="8"/>
                    <a:pt x="103" y="8"/>
                  </a:cubicBezTo>
                  <a:cubicBezTo>
                    <a:pt x="102" y="8"/>
                    <a:pt x="102" y="8"/>
                    <a:pt x="102" y="8"/>
                  </a:cubicBezTo>
                  <a:cubicBezTo>
                    <a:pt x="102" y="7"/>
                    <a:pt x="102" y="7"/>
                    <a:pt x="101" y="6"/>
                  </a:cubicBezTo>
                  <a:cubicBezTo>
                    <a:pt x="101" y="6"/>
                    <a:pt x="100" y="6"/>
                    <a:pt x="100" y="6"/>
                  </a:cubicBezTo>
                  <a:cubicBezTo>
                    <a:pt x="100" y="6"/>
                    <a:pt x="99" y="6"/>
                    <a:pt x="99" y="6"/>
                  </a:cubicBezTo>
                  <a:cubicBezTo>
                    <a:pt x="99" y="6"/>
                    <a:pt x="99" y="6"/>
                    <a:pt x="99" y="6"/>
                  </a:cubicBezTo>
                  <a:cubicBezTo>
                    <a:pt x="98" y="6"/>
                    <a:pt x="98" y="6"/>
                    <a:pt x="98" y="7"/>
                  </a:cubicBezTo>
                  <a:cubicBezTo>
                    <a:pt x="97" y="7"/>
                    <a:pt x="97" y="7"/>
                    <a:pt x="97" y="7"/>
                  </a:cubicBezTo>
                  <a:cubicBezTo>
                    <a:pt x="97" y="7"/>
                    <a:pt x="97" y="7"/>
                    <a:pt x="97" y="7"/>
                  </a:cubicBezTo>
                  <a:cubicBezTo>
                    <a:pt x="97" y="7"/>
                    <a:pt x="97" y="7"/>
                    <a:pt x="97" y="7"/>
                  </a:cubicBezTo>
                  <a:cubicBezTo>
                    <a:pt x="96" y="7"/>
                    <a:pt x="96" y="7"/>
                    <a:pt x="96" y="7"/>
                  </a:cubicBezTo>
                  <a:cubicBezTo>
                    <a:pt x="95" y="7"/>
                    <a:pt x="95" y="7"/>
                    <a:pt x="94" y="7"/>
                  </a:cubicBezTo>
                  <a:cubicBezTo>
                    <a:pt x="94" y="8"/>
                    <a:pt x="93" y="8"/>
                    <a:pt x="92" y="8"/>
                  </a:cubicBezTo>
                  <a:cubicBezTo>
                    <a:pt x="92" y="8"/>
                    <a:pt x="92" y="8"/>
                    <a:pt x="92" y="8"/>
                  </a:cubicBezTo>
                  <a:cubicBezTo>
                    <a:pt x="91" y="9"/>
                    <a:pt x="91" y="9"/>
                    <a:pt x="90" y="10"/>
                  </a:cubicBezTo>
                  <a:cubicBezTo>
                    <a:pt x="90" y="10"/>
                    <a:pt x="89" y="10"/>
                    <a:pt x="89" y="10"/>
                  </a:cubicBezTo>
                  <a:cubicBezTo>
                    <a:pt x="89" y="10"/>
                    <a:pt x="89" y="11"/>
                    <a:pt x="89" y="11"/>
                  </a:cubicBezTo>
                  <a:cubicBezTo>
                    <a:pt x="88" y="11"/>
                    <a:pt x="88" y="11"/>
                    <a:pt x="87" y="12"/>
                  </a:cubicBezTo>
                  <a:cubicBezTo>
                    <a:pt x="87" y="12"/>
                    <a:pt x="87" y="13"/>
                    <a:pt x="87" y="13"/>
                  </a:cubicBezTo>
                  <a:cubicBezTo>
                    <a:pt x="87" y="14"/>
                    <a:pt x="87" y="14"/>
                    <a:pt x="87" y="14"/>
                  </a:cubicBezTo>
                  <a:cubicBezTo>
                    <a:pt x="87" y="16"/>
                    <a:pt x="86" y="17"/>
                    <a:pt x="85" y="18"/>
                  </a:cubicBezTo>
                  <a:cubicBezTo>
                    <a:pt x="85" y="18"/>
                    <a:pt x="85" y="18"/>
                    <a:pt x="85" y="18"/>
                  </a:cubicBezTo>
                  <a:cubicBezTo>
                    <a:pt x="85" y="18"/>
                    <a:pt x="85" y="18"/>
                    <a:pt x="85" y="18"/>
                  </a:cubicBezTo>
                  <a:cubicBezTo>
                    <a:pt x="84" y="18"/>
                    <a:pt x="84" y="18"/>
                    <a:pt x="84" y="18"/>
                  </a:cubicBezTo>
                  <a:cubicBezTo>
                    <a:pt x="83" y="18"/>
                    <a:pt x="83" y="18"/>
                    <a:pt x="83" y="18"/>
                  </a:cubicBezTo>
                  <a:cubicBezTo>
                    <a:pt x="82" y="17"/>
                    <a:pt x="82" y="17"/>
                    <a:pt x="81" y="17"/>
                  </a:cubicBezTo>
                  <a:cubicBezTo>
                    <a:pt x="81" y="18"/>
                    <a:pt x="80" y="18"/>
                    <a:pt x="78" y="19"/>
                  </a:cubicBezTo>
                  <a:cubicBezTo>
                    <a:pt x="77" y="19"/>
                    <a:pt x="77" y="19"/>
                    <a:pt x="77" y="19"/>
                  </a:cubicBezTo>
                  <a:cubicBezTo>
                    <a:pt x="76" y="19"/>
                    <a:pt x="76" y="19"/>
                    <a:pt x="76" y="19"/>
                  </a:cubicBezTo>
                  <a:cubicBezTo>
                    <a:pt x="76" y="19"/>
                    <a:pt x="76" y="19"/>
                    <a:pt x="76" y="19"/>
                  </a:cubicBezTo>
                  <a:cubicBezTo>
                    <a:pt x="76" y="19"/>
                    <a:pt x="76" y="19"/>
                    <a:pt x="76" y="19"/>
                  </a:cubicBezTo>
                  <a:cubicBezTo>
                    <a:pt x="73" y="18"/>
                    <a:pt x="73" y="18"/>
                    <a:pt x="73" y="18"/>
                  </a:cubicBezTo>
                  <a:cubicBezTo>
                    <a:pt x="74" y="14"/>
                    <a:pt x="74" y="14"/>
                    <a:pt x="74" y="14"/>
                  </a:cubicBezTo>
                  <a:cubicBezTo>
                    <a:pt x="74" y="13"/>
                    <a:pt x="74" y="13"/>
                    <a:pt x="74" y="13"/>
                  </a:cubicBezTo>
                  <a:cubicBezTo>
                    <a:pt x="74" y="12"/>
                    <a:pt x="74" y="12"/>
                    <a:pt x="74" y="12"/>
                  </a:cubicBezTo>
                  <a:cubicBezTo>
                    <a:pt x="73" y="11"/>
                    <a:pt x="73" y="11"/>
                    <a:pt x="73" y="11"/>
                  </a:cubicBezTo>
                  <a:cubicBezTo>
                    <a:pt x="72" y="11"/>
                    <a:pt x="72" y="11"/>
                    <a:pt x="72" y="11"/>
                  </a:cubicBezTo>
                  <a:cubicBezTo>
                    <a:pt x="66" y="7"/>
                    <a:pt x="66" y="7"/>
                    <a:pt x="66" y="7"/>
                  </a:cubicBezTo>
                  <a:cubicBezTo>
                    <a:pt x="64" y="3"/>
                    <a:pt x="64" y="3"/>
                    <a:pt x="64" y="3"/>
                  </a:cubicBezTo>
                  <a:cubicBezTo>
                    <a:pt x="64" y="4"/>
                    <a:pt x="64" y="4"/>
                    <a:pt x="64" y="4"/>
                  </a:cubicBezTo>
                  <a:cubicBezTo>
                    <a:pt x="64" y="5"/>
                    <a:pt x="63" y="6"/>
                    <a:pt x="62" y="6"/>
                  </a:cubicBezTo>
                  <a:cubicBezTo>
                    <a:pt x="61" y="7"/>
                    <a:pt x="61" y="7"/>
                    <a:pt x="61" y="7"/>
                  </a:cubicBezTo>
                  <a:cubicBezTo>
                    <a:pt x="61" y="7"/>
                    <a:pt x="61" y="8"/>
                    <a:pt x="61" y="8"/>
                  </a:cubicBezTo>
                  <a:cubicBezTo>
                    <a:pt x="61" y="9"/>
                    <a:pt x="61" y="10"/>
                    <a:pt x="61" y="10"/>
                  </a:cubicBezTo>
                  <a:cubicBezTo>
                    <a:pt x="61" y="11"/>
                    <a:pt x="61" y="11"/>
                    <a:pt x="61" y="11"/>
                  </a:cubicBezTo>
                  <a:cubicBezTo>
                    <a:pt x="61" y="12"/>
                    <a:pt x="61" y="12"/>
                    <a:pt x="61" y="12"/>
                  </a:cubicBezTo>
                  <a:cubicBezTo>
                    <a:pt x="60" y="12"/>
                    <a:pt x="60" y="13"/>
                    <a:pt x="59" y="13"/>
                  </a:cubicBezTo>
                  <a:cubicBezTo>
                    <a:pt x="58" y="13"/>
                    <a:pt x="58" y="13"/>
                    <a:pt x="57" y="12"/>
                  </a:cubicBezTo>
                  <a:cubicBezTo>
                    <a:pt x="57" y="12"/>
                    <a:pt x="57" y="12"/>
                    <a:pt x="56" y="13"/>
                  </a:cubicBezTo>
                  <a:cubicBezTo>
                    <a:pt x="55" y="14"/>
                    <a:pt x="53" y="14"/>
                    <a:pt x="52" y="14"/>
                  </a:cubicBezTo>
                  <a:cubicBezTo>
                    <a:pt x="51" y="14"/>
                    <a:pt x="51" y="14"/>
                    <a:pt x="51" y="14"/>
                  </a:cubicBezTo>
                  <a:cubicBezTo>
                    <a:pt x="51" y="14"/>
                    <a:pt x="51" y="14"/>
                    <a:pt x="51" y="14"/>
                  </a:cubicBezTo>
                  <a:cubicBezTo>
                    <a:pt x="50" y="13"/>
                    <a:pt x="49" y="11"/>
                    <a:pt x="49" y="10"/>
                  </a:cubicBezTo>
                  <a:cubicBezTo>
                    <a:pt x="49" y="10"/>
                    <a:pt x="49" y="10"/>
                    <a:pt x="49" y="10"/>
                  </a:cubicBezTo>
                  <a:cubicBezTo>
                    <a:pt x="48" y="10"/>
                    <a:pt x="47" y="10"/>
                    <a:pt x="47" y="10"/>
                  </a:cubicBezTo>
                  <a:cubicBezTo>
                    <a:pt x="46" y="10"/>
                    <a:pt x="45" y="11"/>
                    <a:pt x="44" y="11"/>
                  </a:cubicBezTo>
                  <a:cubicBezTo>
                    <a:pt x="44" y="11"/>
                    <a:pt x="43" y="11"/>
                    <a:pt x="43" y="11"/>
                  </a:cubicBezTo>
                  <a:cubicBezTo>
                    <a:pt x="41" y="11"/>
                    <a:pt x="41" y="11"/>
                    <a:pt x="41" y="11"/>
                  </a:cubicBezTo>
                  <a:cubicBezTo>
                    <a:pt x="41" y="13"/>
                    <a:pt x="41" y="13"/>
                    <a:pt x="41" y="13"/>
                  </a:cubicBezTo>
                  <a:cubicBezTo>
                    <a:pt x="39" y="14"/>
                    <a:pt x="39" y="14"/>
                    <a:pt x="39" y="14"/>
                  </a:cubicBezTo>
                  <a:cubicBezTo>
                    <a:pt x="38" y="16"/>
                    <a:pt x="38" y="16"/>
                    <a:pt x="38" y="16"/>
                  </a:cubicBezTo>
                  <a:cubicBezTo>
                    <a:pt x="37" y="19"/>
                    <a:pt x="37" y="19"/>
                    <a:pt x="37" y="19"/>
                  </a:cubicBezTo>
                  <a:cubicBezTo>
                    <a:pt x="34" y="21"/>
                    <a:pt x="34" y="21"/>
                    <a:pt x="34" y="21"/>
                  </a:cubicBezTo>
                  <a:cubicBezTo>
                    <a:pt x="33" y="22"/>
                    <a:pt x="32" y="23"/>
                    <a:pt x="32" y="23"/>
                  </a:cubicBezTo>
                  <a:cubicBezTo>
                    <a:pt x="32" y="24"/>
                    <a:pt x="32" y="24"/>
                    <a:pt x="32" y="25"/>
                  </a:cubicBezTo>
                  <a:cubicBezTo>
                    <a:pt x="32" y="27"/>
                    <a:pt x="32" y="27"/>
                    <a:pt x="32" y="27"/>
                  </a:cubicBezTo>
                  <a:cubicBezTo>
                    <a:pt x="31" y="32"/>
                    <a:pt x="31" y="32"/>
                    <a:pt x="31" y="32"/>
                  </a:cubicBezTo>
                  <a:cubicBezTo>
                    <a:pt x="27" y="34"/>
                    <a:pt x="27" y="34"/>
                    <a:pt x="27" y="34"/>
                  </a:cubicBezTo>
                  <a:cubicBezTo>
                    <a:pt x="26" y="38"/>
                    <a:pt x="26" y="38"/>
                    <a:pt x="26" y="38"/>
                  </a:cubicBezTo>
                  <a:cubicBezTo>
                    <a:pt x="25" y="39"/>
                    <a:pt x="25" y="39"/>
                    <a:pt x="25" y="39"/>
                  </a:cubicBezTo>
                  <a:cubicBezTo>
                    <a:pt x="25" y="39"/>
                    <a:pt x="24" y="39"/>
                    <a:pt x="24" y="39"/>
                  </a:cubicBezTo>
                  <a:cubicBezTo>
                    <a:pt x="24" y="40"/>
                    <a:pt x="24" y="40"/>
                    <a:pt x="24" y="40"/>
                  </a:cubicBezTo>
                  <a:cubicBezTo>
                    <a:pt x="20" y="43"/>
                    <a:pt x="20" y="43"/>
                    <a:pt x="20" y="43"/>
                  </a:cubicBezTo>
                  <a:cubicBezTo>
                    <a:pt x="19" y="43"/>
                    <a:pt x="19" y="43"/>
                    <a:pt x="19" y="43"/>
                  </a:cubicBezTo>
                  <a:cubicBezTo>
                    <a:pt x="19" y="43"/>
                    <a:pt x="19" y="43"/>
                    <a:pt x="18" y="43"/>
                  </a:cubicBezTo>
                  <a:cubicBezTo>
                    <a:pt x="18" y="43"/>
                    <a:pt x="18" y="43"/>
                    <a:pt x="18" y="43"/>
                  </a:cubicBezTo>
                  <a:cubicBezTo>
                    <a:pt x="18" y="44"/>
                    <a:pt x="17" y="45"/>
                    <a:pt x="16" y="45"/>
                  </a:cubicBezTo>
                  <a:cubicBezTo>
                    <a:pt x="16" y="45"/>
                    <a:pt x="16" y="45"/>
                    <a:pt x="16" y="45"/>
                  </a:cubicBezTo>
                  <a:cubicBezTo>
                    <a:pt x="16" y="45"/>
                    <a:pt x="16" y="45"/>
                    <a:pt x="16" y="45"/>
                  </a:cubicBezTo>
                  <a:cubicBezTo>
                    <a:pt x="15" y="45"/>
                    <a:pt x="15" y="45"/>
                    <a:pt x="15" y="45"/>
                  </a:cubicBezTo>
                  <a:cubicBezTo>
                    <a:pt x="14" y="45"/>
                    <a:pt x="14" y="45"/>
                    <a:pt x="13" y="44"/>
                  </a:cubicBezTo>
                  <a:cubicBezTo>
                    <a:pt x="13" y="44"/>
                    <a:pt x="13" y="44"/>
                    <a:pt x="13" y="44"/>
                  </a:cubicBezTo>
                  <a:cubicBezTo>
                    <a:pt x="13" y="44"/>
                    <a:pt x="13" y="44"/>
                    <a:pt x="13" y="44"/>
                  </a:cubicBezTo>
                  <a:cubicBezTo>
                    <a:pt x="13" y="44"/>
                    <a:pt x="11" y="45"/>
                    <a:pt x="11" y="45"/>
                  </a:cubicBezTo>
                  <a:cubicBezTo>
                    <a:pt x="11" y="45"/>
                    <a:pt x="11" y="45"/>
                    <a:pt x="11" y="45"/>
                  </a:cubicBezTo>
                  <a:cubicBezTo>
                    <a:pt x="11" y="45"/>
                    <a:pt x="11" y="45"/>
                    <a:pt x="11" y="45"/>
                  </a:cubicBezTo>
                  <a:cubicBezTo>
                    <a:pt x="10" y="45"/>
                    <a:pt x="9" y="45"/>
                    <a:pt x="9" y="44"/>
                  </a:cubicBezTo>
                  <a:cubicBezTo>
                    <a:pt x="7" y="44"/>
                    <a:pt x="7" y="44"/>
                    <a:pt x="7" y="44"/>
                  </a:cubicBezTo>
                  <a:cubicBezTo>
                    <a:pt x="7" y="44"/>
                    <a:pt x="6" y="44"/>
                    <a:pt x="6" y="44"/>
                  </a:cubicBezTo>
                  <a:cubicBezTo>
                    <a:pt x="6" y="44"/>
                    <a:pt x="6" y="44"/>
                    <a:pt x="6" y="44"/>
                  </a:cubicBezTo>
                  <a:cubicBezTo>
                    <a:pt x="6" y="44"/>
                    <a:pt x="6" y="44"/>
                    <a:pt x="6" y="44"/>
                  </a:cubicBezTo>
                  <a:cubicBezTo>
                    <a:pt x="5" y="44"/>
                    <a:pt x="5" y="44"/>
                    <a:pt x="5" y="44"/>
                  </a:cubicBezTo>
                  <a:cubicBezTo>
                    <a:pt x="5" y="45"/>
                    <a:pt x="5" y="45"/>
                    <a:pt x="5" y="45"/>
                  </a:cubicBezTo>
                  <a:cubicBezTo>
                    <a:pt x="5" y="46"/>
                    <a:pt x="4" y="47"/>
                    <a:pt x="4" y="47"/>
                  </a:cubicBezTo>
                  <a:cubicBezTo>
                    <a:pt x="3" y="47"/>
                    <a:pt x="3" y="48"/>
                    <a:pt x="3" y="48"/>
                  </a:cubicBezTo>
                  <a:cubicBezTo>
                    <a:pt x="3" y="50"/>
                    <a:pt x="3" y="50"/>
                    <a:pt x="2" y="51"/>
                  </a:cubicBezTo>
                  <a:cubicBezTo>
                    <a:pt x="2" y="52"/>
                    <a:pt x="2" y="52"/>
                    <a:pt x="2" y="52"/>
                  </a:cubicBezTo>
                  <a:cubicBezTo>
                    <a:pt x="2" y="54"/>
                    <a:pt x="2" y="54"/>
                    <a:pt x="2" y="54"/>
                  </a:cubicBezTo>
                  <a:cubicBezTo>
                    <a:pt x="2" y="55"/>
                    <a:pt x="2" y="55"/>
                    <a:pt x="2" y="55"/>
                  </a:cubicBezTo>
                  <a:cubicBezTo>
                    <a:pt x="2" y="56"/>
                    <a:pt x="2" y="56"/>
                    <a:pt x="2" y="56"/>
                  </a:cubicBezTo>
                  <a:cubicBezTo>
                    <a:pt x="2" y="58"/>
                    <a:pt x="2" y="58"/>
                    <a:pt x="2" y="58"/>
                  </a:cubicBezTo>
                  <a:cubicBezTo>
                    <a:pt x="2" y="58"/>
                    <a:pt x="2" y="58"/>
                    <a:pt x="2" y="58"/>
                  </a:cubicBezTo>
                  <a:cubicBezTo>
                    <a:pt x="2" y="58"/>
                    <a:pt x="1" y="59"/>
                    <a:pt x="1" y="60"/>
                  </a:cubicBezTo>
                  <a:cubicBezTo>
                    <a:pt x="0" y="61"/>
                    <a:pt x="0" y="61"/>
                    <a:pt x="0" y="61"/>
                  </a:cubicBezTo>
                  <a:cubicBezTo>
                    <a:pt x="0" y="62"/>
                    <a:pt x="0" y="62"/>
                    <a:pt x="0" y="62"/>
                  </a:cubicBezTo>
                  <a:cubicBezTo>
                    <a:pt x="0" y="62"/>
                    <a:pt x="0" y="62"/>
                    <a:pt x="0" y="62"/>
                  </a:cubicBezTo>
                  <a:cubicBezTo>
                    <a:pt x="0" y="62"/>
                    <a:pt x="0" y="63"/>
                    <a:pt x="0" y="63"/>
                  </a:cubicBezTo>
                  <a:cubicBezTo>
                    <a:pt x="1" y="64"/>
                    <a:pt x="2" y="64"/>
                    <a:pt x="2" y="66"/>
                  </a:cubicBezTo>
                  <a:cubicBezTo>
                    <a:pt x="2" y="66"/>
                    <a:pt x="2" y="66"/>
                    <a:pt x="2" y="67"/>
                  </a:cubicBezTo>
                  <a:cubicBezTo>
                    <a:pt x="2" y="67"/>
                    <a:pt x="3" y="67"/>
                    <a:pt x="3" y="67"/>
                  </a:cubicBezTo>
                  <a:cubicBezTo>
                    <a:pt x="3" y="68"/>
                    <a:pt x="4" y="69"/>
                    <a:pt x="4" y="70"/>
                  </a:cubicBezTo>
                  <a:cubicBezTo>
                    <a:pt x="4" y="70"/>
                    <a:pt x="4" y="70"/>
                    <a:pt x="4" y="71"/>
                  </a:cubicBezTo>
                  <a:cubicBezTo>
                    <a:pt x="4" y="71"/>
                    <a:pt x="4" y="71"/>
                    <a:pt x="5" y="71"/>
                  </a:cubicBezTo>
                  <a:cubicBezTo>
                    <a:pt x="6" y="71"/>
                    <a:pt x="6" y="71"/>
                    <a:pt x="6" y="71"/>
                  </a:cubicBezTo>
                  <a:cubicBezTo>
                    <a:pt x="7" y="71"/>
                    <a:pt x="8" y="73"/>
                    <a:pt x="8" y="74"/>
                  </a:cubicBezTo>
                  <a:cubicBezTo>
                    <a:pt x="8" y="74"/>
                    <a:pt x="8" y="78"/>
                    <a:pt x="8" y="80"/>
                  </a:cubicBezTo>
                  <a:cubicBezTo>
                    <a:pt x="8" y="80"/>
                    <a:pt x="8" y="80"/>
                    <a:pt x="8" y="80"/>
                  </a:cubicBezTo>
                  <a:cubicBezTo>
                    <a:pt x="9" y="79"/>
                    <a:pt x="9" y="79"/>
                    <a:pt x="9" y="79"/>
                  </a:cubicBezTo>
                  <a:cubicBezTo>
                    <a:pt x="9" y="76"/>
                    <a:pt x="9" y="76"/>
                    <a:pt x="9" y="76"/>
                  </a:cubicBezTo>
                  <a:cubicBezTo>
                    <a:pt x="9" y="76"/>
                    <a:pt x="9" y="76"/>
                    <a:pt x="9" y="76"/>
                  </a:cubicBezTo>
                  <a:cubicBezTo>
                    <a:pt x="15" y="76"/>
                    <a:pt x="15" y="76"/>
                    <a:pt x="15" y="76"/>
                  </a:cubicBezTo>
                  <a:cubicBezTo>
                    <a:pt x="15" y="76"/>
                    <a:pt x="15" y="76"/>
                    <a:pt x="15" y="76"/>
                  </a:cubicBezTo>
                  <a:cubicBezTo>
                    <a:pt x="20" y="80"/>
                    <a:pt x="20" y="80"/>
                    <a:pt x="20" y="80"/>
                  </a:cubicBezTo>
                  <a:cubicBezTo>
                    <a:pt x="25" y="83"/>
                    <a:pt x="25" y="83"/>
                    <a:pt x="25" y="83"/>
                  </a:cubicBezTo>
                  <a:cubicBezTo>
                    <a:pt x="28" y="85"/>
                    <a:pt x="28" y="85"/>
                    <a:pt x="28" y="85"/>
                  </a:cubicBezTo>
                  <a:cubicBezTo>
                    <a:pt x="36" y="84"/>
                    <a:pt x="36" y="84"/>
                    <a:pt x="36" y="84"/>
                  </a:cubicBezTo>
                  <a:cubicBezTo>
                    <a:pt x="49" y="83"/>
                    <a:pt x="49" y="83"/>
                    <a:pt x="49" y="83"/>
                  </a:cubicBezTo>
                  <a:cubicBezTo>
                    <a:pt x="49" y="83"/>
                    <a:pt x="56" y="82"/>
                    <a:pt x="57" y="81"/>
                  </a:cubicBezTo>
                  <a:cubicBezTo>
                    <a:pt x="58" y="80"/>
                    <a:pt x="63" y="79"/>
                    <a:pt x="61" y="78"/>
                  </a:cubicBezTo>
                  <a:cubicBezTo>
                    <a:pt x="60" y="77"/>
                    <a:pt x="56" y="75"/>
                    <a:pt x="56" y="75"/>
                  </a:cubicBezTo>
                  <a:cubicBezTo>
                    <a:pt x="56" y="73"/>
                    <a:pt x="56" y="73"/>
                    <a:pt x="56" y="73"/>
                  </a:cubicBezTo>
                  <a:cubicBezTo>
                    <a:pt x="60" y="69"/>
                    <a:pt x="60" y="69"/>
                    <a:pt x="60" y="69"/>
                  </a:cubicBezTo>
                  <a:cubicBezTo>
                    <a:pt x="67" y="66"/>
                    <a:pt x="67" y="66"/>
                    <a:pt x="67" y="66"/>
                  </a:cubicBezTo>
                  <a:cubicBezTo>
                    <a:pt x="73" y="66"/>
                    <a:pt x="73" y="66"/>
                    <a:pt x="73" y="66"/>
                  </a:cubicBezTo>
                  <a:cubicBezTo>
                    <a:pt x="76" y="65"/>
                    <a:pt x="76" y="65"/>
                    <a:pt x="76" y="65"/>
                  </a:cubicBezTo>
                  <a:cubicBezTo>
                    <a:pt x="78" y="60"/>
                    <a:pt x="78" y="60"/>
                    <a:pt x="78" y="60"/>
                  </a:cubicBezTo>
                  <a:cubicBezTo>
                    <a:pt x="83" y="59"/>
                    <a:pt x="83" y="59"/>
                    <a:pt x="83" y="59"/>
                  </a:cubicBezTo>
                  <a:cubicBezTo>
                    <a:pt x="86" y="60"/>
                    <a:pt x="86" y="60"/>
                    <a:pt x="86" y="60"/>
                  </a:cubicBezTo>
                  <a:cubicBezTo>
                    <a:pt x="90" y="60"/>
                    <a:pt x="90" y="60"/>
                    <a:pt x="90" y="60"/>
                  </a:cubicBezTo>
                  <a:cubicBezTo>
                    <a:pt x="93" y="57"/>
                    <a:pt x="93" y="57"/>
                    <a:pt x="93" y="57"/>
                  </a:cubicBezTo>
                  <a:cubicBezTo>
                    <a:pt x="95" y="55"/>
                    <a:pt x="95" y="55"/>
                    <a:pt x="95" y="55"/>
                  </a:cubicBezTo>
                  <a:cubicBezTo>
                    <a:pt x="99" y="54"/>
                    <a:pt x="99" y="54"/>
                    <a:pt x="99" y="54"/>
                  </a:cubicBezTo>
                  <a:cubicBezTo>
                    <a:pt x="101" y="49"/>
                    <a:pt x="101" y="49"/>
                    <a:pt x="101" y="49"/>
                  </a:cubicBezTo>
                  <a:cubicBezTo>
                    <a:pt x="103" y="43"/>
                    <a:pt x="103" y="43"/>
                    <a:pt x="103" y="43"/>
                  </a:cubicBezTo>
                  <a:cubicBezTo>
                    <a:pt x="104" y="41"/>
                    <a:pt x="104" y="41"/>
                    <a:pt x="104" y="41"/>
                  </a:cubicBezTo>
                  <a:cubicBezTo>
                    <a:pt x="115" y="37"/>
                    <a:pt x="115" y="37"/>
                    <a:pt x="115" y="37"/>
                  </a:cubicBezTo>
                  <a:cubicBezTo>
                    <a:pt x="119" y="40"/>
                    <a:pt x="119" y="40"/>
                    <a:pt x="119" y="40"/>
                  </a:cubicBezTo>
                  <a:cubicBezTo>
                    <a:pt x="124" y="39"/>
                    <a:pt x="124" y="39"/>
                    <a:pt x="124" y="39"/>
                  </a:cubicBezTo>
                  <a:cubicBezTo>
                    <a:pt x="129" y="36"/>
                    <a:pt x="129" y="36"/>
                    <a:pt x="129" y="36"/>
                  </a:cubicBezTo>
                  <a:cubicBezTo>
                    <a:pt x="134" y="37"/>
                    <a:pt x="134" y="37"/>
                    <a:pt x="134" y="37"/>
                  </a:cubicBezTo>
                  <a:cubicBezTo>
                    <a:pt x="140" y="43"/>
                    <a:pt x="140" y="43"/>
                    <a:pt x="140" y="43"/>
                  </a:cubicBezTo>
                  <a:cubicBezTo>
                    <a:pt x="146" y="43"/>
                    <a:pt x="146" y="43"/>
                    <a:pt x="146" y="43"/>
                  </a:cubicBezTo>
                  <a:cubicBezTo>
                    <a:pt x="148" y="42"/>
                    <a:pt x="148" y="42"/>
                    <a:pt x="148" y="42"/>
                  </a:cubicBezTo>
                  <a:cubicBezTo>
                    <a:pt x="147" y="39"/>
                    <a:pt x="147" y="39"/>
                    <a:pt x="147" y="39"/>
                  </a:cubicBezTo>
                  <a:cubicBezTo>
                    <a:pt x="148" y="39"/>
                    <a:pt x="148" y="39"/>
                    <a:pt x="148" y="39"/>
                  </a:cubicBezTo>
                  <a:cubicBezTo>
                    <a:pt x="149" y="38"/>
                    <a:pt x="149" y="38"/>
                    <a:pt x="149" y="38"/>
                  </a:cubicBezTo>
                  <a:cubicBezTo>
                    <a:pt x="149" y="38"/>
                    <a:pt x="149" y="37"/>
                    <a:pt x="149" y="36"/>
                  </a:cubicBezTo>
                  <a:cubicBezTo>
                    <a:pt x="149" y="36"/>
                    <a:pt x="148" y="35"/>
                    <a:pt x="148" y="35"/>
                  </a:cubicBezTo>
                  <a:cubicBezTo>
                    <a:pt x="148" y="35"/>
                    <a:pt x="149" y="34"/>
                    <a:pt x="149" y="34"/>
                  </a:cubicBezTo>
                  <a:cubicBezTo>
                    <a:pt x="149" y="34"/>
                    <a:pt x="148" y="33"/>
                    <a:pt x="148" y="33"/>
                  </a:cubicBezTo>
                  <a:cubicBezTo>
                    <a:pt x="148" y="32"/>
                    <a:pt x="148" y="31"/>
                    <a:pt x="148" y="30"/>
                  </a:cubicBezTo>
                  <a:cubicBezTo>
                    <a:pt x="148" y="30"/>
                    <a:pt x="149" y="29"/>
                    <a:pt x="149" y="29"/>
                  </a:cubicBezTo>
                  <a:cubicBezTo>
                    <a:pt x="149" y="28"/>
                    <a:pt x="149" y="28"/>
                    <a:pt x="149" y="28"/>
                  </a:cubicBezTo>
                  <a:cubicBezTo>
                    <a:pt x="149" y="28"/>
                    <a:pt x="150" y="26"/>
                    <a:pt x="150" y="26"/>
                  </a:cubicBezTo>
                  <a:cubicBezTo>
                    <a:pt x="150" y="26"/>
                    <a:pt x="151" y="26"/>
                    <a:pt x="151" y="25"/>
                  </a:cubicBezTo>
                  <a:cubicBezTo>
                    <a:pt x="152" y="25"/>
                    <a:pt x="151" y="24"/>
                    <a:pt x="151" y="24"/>
                  </a:cubicBezTo>
                  <a:cubicBezTo>
                    <a:pt x="151" y="22"/>
                    <a:pt x="151" y="22"/>
                    <a:pt x="151" y="22"/>
                  </a:cubicBezTo>
                  <a:cubicBezTo>
                    <a:pt x="152" y="21"/>
                    <a:pt x="152" y="21"/>
                    <a:pt x="152" y="21"/>
                  </a:cubicBezTo>
                  <a:cubicBezTo>
                    <a:pt x="152" y="20"/>
                    <a:pt x="152" y="20"/>
                    <a:pt x="152" y="20"/>
                  </a:cubicBezTo>
                  <a:cubicBezTo>
                    <a:pt x="152" y="20"/>
                    <a:pt x="152" y="19"/>
                    <a:pt x="152" y="19"/>
                  </a:cubicBezTo>
                  <a:cubicBezTo>
                    <a:pt x="151" y="18"/>
                    <a:pt x="152" y="17"/>
                    <a:pt x="152" y="17"/>
                  </a:cubicBezTo>
                  <a:cubicBezTo>
                    <a:pt x="152" y="16"/>
                    <a:pt x="152" y="16"/>
                    <a:pt x="152" y="16"/>
                  </a:cubicBezTo>
                  <a:cubicBezTo>
                    <a:pt x="152" y="16"/>
                    <a:pt x="152" y="14"/>
                    <a:pt x="153" y="14"/>
                  </a:cubicBezTo>
                  <a:cubicBezTo>
                    <a:pt x="153" y="14"/>
                    <a:pt x="153" y="14"/>
                    <a:pt x="153" y="14"/>
                  </a:cubicBezTo>
                  <a:cubicBezTo>
                    <a:pt x="153" y="14"/>
                    <a:pt x="153" y="12"/>
                    <a:pt x="153" y="11"/>
                  </a:cubicBezTo>
                  <a:cubicBezTo>
                    <a:pt x="153" y="11"/>
                    <a:pt x="154" y="11"/>
                    <a:pt x="154" y="11"/>
                  </a:cubicBezTo>
                  <a:close/>
                </a:path>
              </a:pathLst>
            </a:custGeom>
            <a:solidFill>
              <a:schemeClr val="accent6">
                <a:lumMod val="75000"/>
              </a:schemeClr>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0" name="Freeform 134"/>
            <p:cNvSpPr>
              <a:spLocks/>
            </p:cNvSpPr>
            <p:nvPr/>
          </p:nvSpPr>
          <p:spPr bwMode="auto">
            <a:xfrm>
              <a:off x="5986633" y="4356973"/>
              <a:ext cx="547331" cy="363547"/>
            </a:xfrm>
            <a:custGeom>
              <a:avLst/>
              <a:gdLst>
                <a:gd name="T0" fmla="*/ 184 w 189"/>
                <a:gd name="T1" fmla="*/ 10 h 133"/>
                <a:gd name="T2" fmla="*/ 175 w 189"/>
                <a:gd name="T3" fmla="*/ 5 h 133"/>
                <a:gd name="T4" fmla="*/ 166 w 189"/>
                <a:gd name="T5" fmla="*/ 0 h 133"/>
                <a:gd name="T6" fmla="*/ 163 w 189"/>
                <a:gd name="T7" fmla="*/ 4 h 133"/>
                <a:gd name="T8" fmla="*/ 145 w 189"/>
                <a:gd name="T9" fmla="*/ 0 h 133"/>
                <a:gd name="T10" fmla="*/ 131 w 189"/>
                <a:gd name="T11" fmla="*/ 3 h 133"/>
                <a:gd name="T12" fmla="*/ 117 w 189"/>
                <a:gd name="T13" fmla="*/ 5 h 133"/>
                <a:gd name="T14" fmla="*/ 108 w 189"/>
                <a:gd name="T15" fmla="*/ 18 h 133"/>
                <a:gd name="T16" fmla="*/ 95 w 189"/>
                <a:gd name="T17" fmla="*/ 22 h 133"/>
                <a:gd name="T18" fmla="*/ 86 w 189"/>
                <a:gd name="T19" fmla="*/ 29 h 133"/>
                <a:gd name="T20" fmla="*/ 71 w 189"/>
                <a:gd name="T21" fmla="*/ 35 h 133"/>
                <a:gd name="T22" fmla="*/ 76 w 189"/>
                <a:gd name="T23" fmla="*/ 40 h 133"/>
                <a:gd name="T24" fmla="*/ 61 w 189"/>
                <a:gd name="T25" fmla="*/ 46 h 133"/>
                <a:gd name="T26" fmla="*/ 40 w 189"/>
                <a:gd name="T27" fmla="*/ 48 h 133"/>
                <a:gd name="T28" fmla="*/ 30 w 189"/>
                <a:gd name="T29" fmla="*/ 43 h 133"/>
                <a:gd name="T30" fmla="*/ 23 w 189"/>
                <a:gd name="T31" fmla="*/ 41 h 133"/>
                <a:gd name="T32" fmla="*/ 21 w 189"/>
                <a:gd name="T33" fmla="*/ 45 h 133"/>
                <a:gd name="T34" fmla="*/ 21 w 189"/>
                <a:gd name="T35" fmla="*/ 49 h 133"/>
                <a:gd name="T36" fmla="*/ 17 w 189"/>
                <a:gd name="T37" fmla="*/ 55 h 133"/>
                <a:gd name="T38" fmla="*/ 12 w 189"/>
                <a:gd name="T39" fmla="*/ 56 h 133"/>
                <a:gd name="T40" fmla="*/ 13 w 189"/>
                <a:gd name="T41" fmla="*/ 64 h 133"/>
                <a:gd name="T42" fmla="*/ 5 w 189"/>
                <a:gd name="T43" fmla="*/ 73 h 133"/>
                <a:gd name="T44" fmla="*/ 3 w 189"/>
                <a:gd name="T45" fmla="*/ 86 h 133"/>
                <a:gd name="T46" fmla="*/ 3 w 189"/>
                <a:gd name="T47" fmla="*/ 89 h 133"/>
                <a:gd name="T48" fmla="*/ 4 w 189"/>
                <a:gd name="T49" fmla="*/ 93 h 133"/>
                <a:gd name="T50" fmla="*/ 12 w 189"/>
                <a:gd name="T51" fmla="*/ 105 h 133"/>
                <a:gd name="T52" fmla="*/ 14 w 189"/>
                <a:gd name="T53" fmla="*/ 109 h 133"/>
                <a:gd name="T54" fmla="*/ 22 w 189"/>
                <a:gd name="T55" fmla="*/ 117 h 133"/>
                <a:gd name="T56" fmla="*/ 37 w 189"/>
                <a:gd name="T57" fmla="*/ 127 h 133"/>
                <a:gd name="T58" fmla="*/ 45 w 189"/>
                <a:gd name="T59" fmla="*/ 130 h 133"/>
                <a:gd name="T60" fmla="*/ 55 w 189"/>
                <a:gd name="T61" fmla="*/ 133 h 133"/>
                <a:gd name="T62" fmla="*/ 68 w 189"/>
                <a:gd name="T63" fmla="*/ 131 h 133"/>
                <a:gd name="T64" fmla="*/ 78 w 189"/>
                <a:gd name="T65" fmla="*/ 128 h 133"/>
                <a:gd name="T66" fmla="*/ 85 w 189"/>
                <a:gd name="T67" fmla="*/ 123 h 133"/>
                <a:gd name="T68" fmla="*/ 92 w 189"/>
                <a:gd name="T69" fmla="*/ 119 h 133"/>
                <a:gd name="T70" fmla="*/ 97 w 189"/>
                <a:gd name="T71" fmla="*/ 115 h 133"/>
                <a:gd name="T72" fmla="*/ 106 w 189"/>
                <a:gd name="T73" fmla="*/ 109 h 133"/>
                <a:gd name="T74" fmla="*/ 116 w 189"/>
                <a:gd name="T75" fmla="*/ 108 h 133"/>
                <a:gd name="T76" fmla="*/ 125 w 189"/>
                <a:gd name="T77" fmla="*/ 108 h 133"/>
                <a:gd name="T78" fmla="*/ 138 w 189"/>
                <a:gd name="T79" fmla="*/ 107 h 133"/>
                <a:gd name="T80" fmla="*/ 144 w 189"/>
                <a:gd name="T81" fmla="*/ 104 h 133"/>
                <a:gd name="T82" fmla="*/ 152 w 189"/>
                <a:gd name="T83" fmla="*/ 92 h 133"/>
                <a:gd name="T84" fmla="*/ 155 w 189"/>
                <a:gd name="T85" fmla="*/ 85 h 133"/>
                <a:gd name="T86" fmla="*/ 158 w 189"/>
                <a:gd name="T87" fmla="*/ 75 h 133"/>
                <a:gd name="T88" fmla="*/ 161 w 189"/>
                <a:gd name="T89" fmla="*/ 63 h 133"/>
                <a:gd name="T90" fmla="*/ 165 w 189"/>
                <a:gd name="T91" fmla="*/ 47 h 133"/>
                <a:gd name="T92" fmla="*/ 168 w 189"/>
                <a:gd name="T93" fmla="*/ 38 h 133"/>
                <a:gd name="T94" fmla="*/ 173 w 189"/>
                <a:gd name="T95" fmla="*/ 29 h 133"/>
                <a:gd name="T96" fmla="*/ 182 w 189"/>
                <a:gd name="T97" fmla="*/ 25 h 133"/>
                <a:gd name="T98" fmla="*/ 189 w 189"/>
                <a:gd name="T99" fmla="*/ 1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9" h="133">
                  <a:moveTo>
                    <a:pt x="187" y="15"/>
                  </a:moveTo>
                  <a:cubicBezTo>
                    <a:pt x="188" y="13"/>
                    <a:pt x="188" y="13"/>
                    <a:pt x="188" y="13"/>
                  </a:cubicBezTo>
                  <a:cubicBezTo>
                    <a:pt x="184" y="10"/>
                    <a:pt x="184" y="10"/>
                    <a:pt x="184" y="10"/>
                  </a:cubicBezTo>
                  <a:cubicBezTo>
                    <a:pt x="180" y="11"/>
                    <a:pt x="180" y="11"/>
                    <a:pt x="180" y="11"/>
                  </a:cubicBezTo>
                  <a:cubicBezTo>
                    <a:pt x="178" y="8"/>
                    <a:pt x="178" y="8"/>
                    <a:pt x="178" y="8"/>
                  </a:cubicBezTo>
                  <a:cubicBezTo>
                    <a:pt x="175" y="5"/>
                    <a:pt x="175" y="5"/>
                    <a:pt x="175" y="5"/>
                  </a:cubicBezTo>
                  <a:cubicBezTo>
                    <a:pt x="171" y="5"/>
                    <a:pt x="171" y="5"/>
                    <a:pt x="171" y="5"/>
                  </a:cubicBezTo>
                  <a:cubicBezTo>
                    <a:pt x="169" y="3"/>
                    <a:pt x="169" y="3"/>
                    <a:pt x="169" y="3"/>
                  </a:cubicBezTo>
                  <a:cubicBezTo>
                    <a:pt x="166" y="0"/>
                    <a:pt x="166" y="0"/>
                    <a:pt x="166" y="0"/>
                  </a:cubicBezTo>
                  <a:cubicBezTo>
                    <a:pt x="162" y="2"/>
                    <a:pt x="162" y="2"/>
                    <a:pt x="162" y="2"/>
                  </a:cubicBezTo>
                  <a:cubicBezTo>
                    <a:pt x="162" y="2"/>
                    <a:pt x="162" y="2"/>
                    <a:pt x="162" y="2"/>
                  </a:cubicBezTo>
                  <a:cubicBezTo>
                    <a:pt x="163" y="4"/>
                    <a:pt x="163" y="4"/>
                    <a:pt x="163" y="4"/>
                  </a:cubicBezTo>
                  <a:cubicBezTo>
                    <a:pt x="159" y="6"/>
                    <a:pt x="159" y="6"/>
                    <a:pt x="159" y="6"/>
                  </a:cubicBezTo>
                  <a:cubicBezTo>
                    <a:pt x="152" y="7"/>
                    <a:pt x="152" y="7"/>
                    <a:pt x="152" y="7"/>
                  </a:cubicBezTo>
                  <a:cubicBezTo>
                    <a:pt x="145" y="0"/>
                    <a:pt x="145" y="0"/>
                    <a:pt x="145" y="0"/>
                  </a:cubicBezTo>
                  <a:cubicBezTo>
                    <a:pt x="141" y="0"/>
                    <a:pt x="141" y="0"/>
                    <a:pt x="141" y="0"/>
                  </a:cubicBezTo>
                  <a:cubicBezTo>
                    <a:pt x="137" y="2"/>
                    <a:pt x="137" y="2"/>
                    <a:pt x="137" y="2"/>
                  </a:cubicBezTo>
                  <a:cubicBezTo>
                    <a:pt x="131" y="3"/>
                    <a:pt x="131" y="3"/>
                    <a:pt x="131" y="3"/>
                  </a:cubicBezTo>
                  <a:cubicBezTo>
                    <a:pt x="126" y="1"/>
                    <a:pt x="126" y="1"/>
                    <a:pt x="126" y="1"/>
                  </a:cubicBezTo>
                  <a:cubicBezTo>
                    <a:pt x="118" y="4"/>
                    <a:pt x="118" y="4"/>
                    <a:pt x="118" y="4"/>
                  </a:cubicBezTo>
                  <a:cubicBezTo>
                    <a:pt x="117" y="5"/>
                    <a:pt x="117" y="5"/>
                    <a:pt x="117" y="5"/>
                  </a:cubicBezTo>
                  <a:cubicBezTo>
                    <a:pt x="115" y="11"/>
                    <a:pt x="115" y="11"/>
                    <a:pt x="115" y="11"/>
                  </a:cubicBezTo>
                  <a:cubicBezTo>
                    <a:pt x="112" y="16"/>
                    <a:pt x="112" y="16"/>
                    <a:pt x="112" y="16"/>
                  </a:cubicBezTo>
                  <a:cubicBezTo>
                    <a:pt x="108" y="18"/>
                    <a:pt x="108" y="18"/>
                    <a:pt x="108" y="18"/>
                  </a:cubicBezTo>
                  <a:cubicBezTo>
                    <a:pt x="107" y="19"/>
                    <a:pt x="107" y="19"/>
                    <a:pt x="107" y="19"/>
                  </a:cubicBezTo>
                  <a:cubicBezTo>
                    <a:pt x="104" y="23"/>
                    <a:pt x="104" y="23"/>
                    <a:pt x="104" y="23"/>
                  </a:cubicBezTo>
                  <a:cubicBezTo>
                    <a:pt x="95" y="22"/>
                    <a:pt x="95" y="22"/>
                    <a:pt x="95" y="22"/>
                  </a:cubicBezTo>
                  <a:cubicBezTo>
                    <a:pt x="92" y="23"/>
                    <a:pt x="92" y="23"/>
                    <a:pt x="92" y="23"/>
                  </a:cubicBezTo>
                  <a:cubicBezTo>
                    <a:pt x="90" y="27"/>
                    <a:pt x="90" y="27"/>
                    <a:pt x="90" y="27"/>
                  </a:cubicBezTo>
                  <a:cubicBezTo>
                    <a:pt x="86" y="29"/>
                    <a:pt x="86" y="29"/>
                    <a:pt x="86" y="29"/>
                  </a:cubicBezTo>
                  <a:cubicBezTo>
                    <a:pt x="80" y="30"/>
                    <a:pt x="80" y="30"/>
                    <a:pt x="80" y="30"/>
                  </a:cubicBezTo>
                  <a:cubicBezTo>
                    <a:pt x="74" y="32"/>
                    <a:pt x="74" y="32"/>
                    <a:pt x="74" y="32"/>
                  </a:cubicBezTo>
                  <a:cubicBezTo>
                    <a:pt x="71" y="35"/>
                    <a:pt x="71" y="35"/>
                    <a:pt x="71" y="35"/>
                  </a:cubicBezTo>
                  <a:cubicBezTo>
                    <a:pt x="72" y="35"/>
                    <a:pt x="73" y="36"/>
                    <a:pt x="74" y="37"/>
                  </a:cubicBezTo>
                  <a:cubicBezTo>
                    <a:pt x="75" y="37"/>
                    <a:pt x="75" y="37"/>
                    <a:pt x="75" y="37"/>
                  </a:cubicBezTo>
                  <a:cubicBezTo>
                    <a:pt x="75" y="37"/>
                    <a:pt x="76" y="39"/>
                    <a:pt x="76" y="40"/>
                  </a:cubicBezTo>
                  <a:cubicBezTo>
                    <a:pt x="76" y="42"/>
                    <a:pt x="74" y="43"/>
                    <a:pt x="72" y="43"/>
                  </a:cubicBezTo>
                  <a:cubicBezTo>
                    <a:pt x="71" y="43"/>
                    <a:pt x="71" y="44"/>
                    <a:pt x="71" y="44"/>
                  </a:cubicBezTo>
                  <a:cubicBezTo>
                    <a:pt x="70" y="44"/>
                    <a:pt x="69" y="45"/>
                    <a:pt x="61" y="46"/>
                  </a:cubicBezTo>
                  <a:cubicBezTo>
                    <a:pt x="48" y="47"/>
                    <a:pt x="48" y="47"/>
                    <a:pt x="48" y="47"/>
                  </a:cubicBezTo>
                  <a:cubicBezTo>
                    <a:pt x="40" y="48"/>
                    <a:pt x="40" y="48"/>
                    <a:pt x="40" y="48"/>
                  </a:cubicBezTo>
                  <a:cubicBezTo>
                    <a:pt x="40" y="48"/>
                    <a:pt x="40" y="48"/>
                    <a:pt x="40" y="48"/>
                  </a:cubicBezTo>
                  <a:cubicBezTo>
                    <a:pt x="40" y="48"/>
                    <a:pt x="40" y="48"/>
                    <a:pt x="40" y="48"/>
                  </a:cubicBezTo>
                  <a:cubicBezTo>
                    <a:pt x="36" y="46"/>
                    <a:pt x="36" y="46"/>
                    <a:pt x="36" y="46"/>
                  </a:cubicBezTo>
                  <a:cubicBezTo>
                    <a:pt x="30" y="43"/>
                    <a:pt x="30" y="43"/>
                    <a:pt x="30" y="43"/>
                  </a:cubicBezTo>
                  <a:cubicBezTo>
                    <a:pt x="26" y="39"/>
                    <a:pt x="26" y="39"/>
                    <a:pt x="26" y="39"/>
                  </a:cubicBezTo>
                  <a:cubicBezTo>
                    <a:pt x="23" y="39"/>
                    <a:pt x="23" y="39"/>
                    <a:pt x="23" y="39"/>
                  </a:cubicBezTo>
                  <a:cubicBezTo>
                    <a:pt x="23" y="41"/>
                    <a:pt x="23" y="41"/>
                    <a:pt x="23" y="41"/>
                  </a:cubicBezTo>
                  <a:cubicBezTo>
                    <a:pt x="21" y="44"/>
                    <a:pt x="21" y="44"/>
                    <a:pt x="21" y="44"/>
                  </a:cubicBezTo>
                  <a:cubicBezTo>
                    <a:pt x="21" y="45"/>
                    <a:pt x="21" y="45"/>
                    <a:pt x="21" y="45"/>
                  </a:cubicBezTo>
                  <a:cubicBezTo>
                    <a:pt x="21" y="45"/>
                    <a:pt x="21" y="45"/>
                    <a:pt x="21" y="45"/>
                  </a:cubicBezTo>
                  <a:cubicBezTo>
                    <a:pt x="21" y="46"/>
                    <a:pt x="21" y="46"/>
                    <a:pt x="21" y="46"/>
                  </a:cubicBezTo>
                  <a:cubicBezTo>
                    <a:pt x="20" y="47"/>
                    <a:pt x="20" y="48"/>
                    <a:pt x="20" y="48"/>
                  </a:cubicBezTo>
                  <a:cubicBezTo>
                    <a:pt x="20" y="48"/>
                    <a:pt x="20" y="49"/>
                    <a:pt x="21" y="49"/>
                  </a:cubicBezTo>
                  <a:cubicBezTo>
                    <a:pt x="21" y="50"/>
                    <a:pt x="21" y="51"/>
                    <a:pt x="21" y="53"/>
                  </a:cubicBezTo>
                  <a:cubicBezTo>
                    <a:pt x="20" y="53"/>
                    <a:pt x="20" y="54"/>
                    <a:pt x="18" y="54"/>
                  </a:cubicBezTo>
                  <a:cubicBezTo>
                    <a:pt x="18" y="54"/>
                    <a:pt x="18" y="55"/>
                    <a:pt x="17" y="55"/>
                  </a:cubicBezTo>
                  <a:cubicBezTo>
                    <a:pt x="16" y="55"/>
                    <a:pt x="15" y="56"/>
                    <a:pt x="14" y="56"/>
                  </a:cubicBezTo>
                  <a:cubicBezTo>
                    <a:pt x="14" y="56"/>
                    <a:pt x="14" y="55"/>
                    <a:pt x="13" y="55"/>
                  </a:cubicBezTo>
                  <a:cubicBezTo>
                    <a:pt x="13" y="56"/>
                    <a:pt x="12" y="56"/>
                    <a:pt x="12" y="56"/>
                  </a:cubicBezTo>
                  <a:cubicBezTo>
                    <a:pt x="11" y="56"/>
                    <a:pt x="9" y="55"/>
                    <a:pt x="9" y="55"/>
                  </a:cubicBezTo>
                  <a:cubicBezTo>
                    <a:pt x="7" y="54"/>
                    <a:pt x="7" y="54"/>
                    <a:pt x="7" y="54"/>
                  </a:cubicBezTo>
                  <a:cubicBezTo>
                    <a:pt x="13" y="64"/>
                    <a:pt x="13" y="64"/>
                    <a:pt x="13" y="64"/>
                  </a:cubicBezTo>
                  <a:cubicBezTo>
                    <a:pt x="6" y="68"/>
                    <a:pt x="6" y="68"/>
                    <a:pt x="6" y="68"/>
                  </a:cubicBezTo>
                  <a:cubicBezTo>
                    <a:pt x="5" y="68"/>
                    <a:pt x="4" y="69"/>
                    <a:pt x="3" y="70"/>
                  </a:cubicBezTo>
                  <a:cubicBezTo>
                    <a:pt x="5" y="73"/>
                    <a:pt x="5" y="73"/>
                    <a:pt x="5" y="73"/>
                  </a:cubicBezTo>
                  <a:cubicBezTo>
                    <a:pt x="5" y="75"/>
                    <a:pt x="5" y="75"/>
                    <a:pt x="5" y="75"/>
                  </a:cubicBezTo>
                  <a:cubicBezTo>
                    <a:pt x="6" y="80"/>
                    <a:pt x="6" y="80"/>
                    <a:pt x="6" y="80"/>
                  </a:cubicBezTo>
                  <a:cubicBezTo>
                    <a:pt x="3" y="86"/>
                    <a:pt x="3" y="86"/>
                    <a:pt x="3" y="86"/>
                  </a:cubicBezTo>
                  <a:cubicBezTo>
                    <a:pt x="0" y="86"/>
                    <a:pt x="0" y="86"/>
                    <a:pt x="0" y="86"/>
                  </a:cubicBezTo>
                  <a:cubicBezTo>
                    <a:pt x="0" y="87"/>
                    <a:pt x="0" y="87"/>
                    <a:pt x="0" y="87"/>
                  </a:cubicBezTo>
                  <a:cubicBezTo>
                    <a:pt x="3" y="89"/>
                    <a:pt x="3" y="89"/>
                    <a:pt x="3" y="89"/>
                  </a:cubicBezTo>
                  <a:cubicBezTo>
                    <a:pt x="4" y="92"/>
                    <a:pt x="4" y="92"/>
                    <a:pt x="4" y="92"/>
                  </a:cubicBezTo>
                  <a:cubicBezTo>
                    <a:pt x="4" y="92"/>
                    <a:pt x="4" y="92"/>
                    <a:pt x="4" y="92"/>
                  </a:cubicBezTo>
                  <a:cubicBezTo>
                    <a:pt x="4" y="93"/>
                    <a:pt x="4" y="93"/>
                    <a:pt x="4" y="93"/>
                  </a:cubicBezTo>
                  <a:cubicBezTo>
                    <a:pt x="7" y="96"/>
                    <a:pt x="7" y="96"/>
                    <a:pt x="7" y="96"/>
                  </a:cubicBezTo>
                  <a:cubicBezTo>
                    <a:pt x="6" y="98"/>
                    <a:pt x="6" y="98"/>
                    <a:pt x="6" y="98"/>
                  </a:cubicBezTo>
                  <a:cubicBezTo>
                    <a:pt x="12" y="105"/>
                    <a:pt x="12" y="105"/>
                    <a:pt x="12" y="105"/>
                  </a:cubicBezTo>
                  <a:cubicBezTo>
                    <a:pt x="10" y="106"/>
                    <a:pt x="10" y="106"/>
                    <a:pt x="10" y="106"/>
                  </a:cubicBezTo>
                  <a:cubicBezTo>
                    <a:pt x="11" y="107"/>
                    <a:pt x="11" y="107"/>
                    <a:pt x="11" y="107"/>
                  </a:cubicBezTo>
                  <a:cubicBezTo>
                    <a:pt x="14" y="109"/>
                    <a:pt x="14" y="109"/>
                    <a:pt x="14" y="109"/>
                  </a:cubicBezTo>
                  <a:cubicBezTo>
                    <a:pt x="17" y="112"/>
                    <a:pt x="17" y="112"/>
                    <a:pt x="17" y="112"/>
                  </a:cubicBezTo>
                  <a:cubicBezTo>
                    <a:pt x="19" y="114"/>
                    <a:pt x="19" y="114"/>
                    <a:pt x="19" y="114"/>
                  </a:cubicBezTo>
                  <a:cubicBezTo>
                    <a:pt x="22" y="117"/>
                    <a:pt x="22" y="117"/>
                    <a:pt x="22" y="117"/>
                  </a:cubicBezTo>
                  <a:cubicBezTo>
                    <a:pt x="29" y="119"/>
                    <a:pt x="29" y="119"/>
                    <a:pt x="29" y="119"/>
                  </a:cubicBezTo>
                  <a:cubicBezTo>
                    <a:pt x="33" y="124"/>
                    <a:pt x="33" y="124"/>
                    <a:pt x="33" y="124"/>
                  </a:cubicBezTo>
                  <a:cubicBezTo>
                    <a:pt x="37" y="127"/>
                    <a:pt x="37" y="127"/>
                    <a:pt x="37" y="127"/>
                  </a:cubicBezTo>
                  <a:cubicBezTo>
                    <a:pt x="40" y="127"/>
                    <a:pt x="40" y="127"/>
                    <a:pt x="40" y="127"/>
                  </a:cubicBezTo>
                  <a:cubicBezTo>
                    <a:pt x="41" y="129"/>
                    <a:pt x="41" y="129"/>
                    <a:pt x="41" y="129"/>
                  </a:cubicBezTo>
                  <a:cubicBezTo>
                    <a:pt x="45" y="130"/>
                    <a:pt x="45" y="130"/>
                    <a:pt x="45" y="130"/>
                  </a:cubicBezTo>
                  <a:cubicBezTo>
                    <a:pt x="48" y="132"/>
                    <a:pt x="48" y="132"/>
                    <a:pt x="48" y="132"/>
                  </a:cubicBezTo>
                  <a:cubicBezTo>
                    <a:pt x="53" y="133"/>
                    <a:pt x="53" y="133"/>
                    <a:pt x="53" y="133"/>
                  </a:cubicBezTo>
                  <a:cubicBezTo>
                    <a:pt x="55" y="133"/>
                    <a:pt x="55" y="133"/>
                    <a:pt x="55" y="133"/>
                  </a:cubicBezTo>
                  <a:cubicBezTo>
                    <a:pt x="55" y="133"/>
                    <a:pt x="59" y="133"/>
                    <a:pt x="60" y="133"/>
                  </a:cubicBezTo>
                  <a:cubicBezTo>
                    <a:pt x="61" y="133"/>
                    <a:pt x="62" y="132"/>
                    <a:pt x="62" y="132"/>
                  </a:cubicBezTo>
                  <a:cubicBezTo>
                    <a:pt x="68" y="131"/>
                    <a:pt x="68" y="131"/>
                    <a:pt x="68" y="131"/>
                  </a:cubicBezTo>
                  <a:cubicBezTo>
                    <a:pt x="72" y="131"/>
                    <a:pt x="72" y="131"/>
                    <a:pt x="72" y="131"/>
                  </a:cubicBezTo>
                  <a:cubicBezTo>
                    <a:pt x="72" y="131"/>
                    <a:pt x="76" y="131"/>
                    <a:pt x="76" y="130"/>
                  </a:cubicBezTo>
                  <a:cubicBezTo>
                    <a:pt x="76" y="130"/>
                    <a:pt x="78" y="128"/>
                    <a:pt x="78" y="128"/>
                  </a:cubicBezTo>
                  <a:cubicBezTo>
                    <a:pt x="80" y="125"/>
                    <a:pt x="80" y="125"/>
                    <a:pt x="80" y="125"/>
                  </a:cubicBezTo>
                  <a:cubicBezTo>
                    <a:pt x="82" y="125"/>
                    <a:pt x="82" y="125"/>
                    <a:pt x="82" y="125"/>
                  </a:cubicBezTo>
                  <a:cubicBezTo>
                    <a:pt x="85" y="123"/>
                    <a:pt x="85" y="123"/>
                    <a:pt x="85" y="123"/>
                  </a:cubicBezTo>
                  <a:cubicBezTo>
                    <a:pt x="88" y="119"/>
                    <a:pt x="88" y="119"/>
                    <a:pt x="88" y="119"/>
                  </a:cubicBezTo>
                  <a:cubicBezTo>
                    <a:pt x="89" y="120"/>
                    <a:pt x="89" y="120"/>
                    <a:pt x="89" y="120"/>
                  </a:cubicBezTo>
                  <a:cubicBezTo>
                    <a:pt x="89" y="120"/>
                    <a:pt x="91" y="119"/>
                    <a:pt x="92" y="119"/>
                  </a:cubicBezTo>
                  <a:cubicBezTo>
                    <a:pt x="94" y="119"/>
                    <a:pt x="94" y="119"/>
                    <a:pt x="94" y="119"/>
                  </a:cubicBezTo>
                  <a:cubicBezTo>
                    <a:pt x="96" y="117"/>
                    <a:pt x="96" y="117"/>
                    <a:pt x="96" y="117"/>
                  </a:cubicBezTo>
                  <a:cubicBezTo>
                    <a:pt x="97" y="115"/>
                    <a:pt x="97" y="115"/>
                    <a:pt x="97" y="115"/>
                  </a:cubicBezTo>
                  <a:cubicBezTo>
                    <a:pt x="97" y="115"/>
                    <a:pt x="99" y="113"/>
                    <a:pt x="101" y="113"/>
                  </a:cubicBezTo>
                  <a:cubicBezTo>
                    <a:pt x="102" y="112"/>
                    <a:pt x="101" y="111"/>
                    <a:pt x="101" y="111"/>
                  </a:cubicBezTo>
                  <a:cubicBezTo>
                    <a:pt x="101" y="111"/>
                    <a:pt x="105" y="109"/>
                    <a:pt x="106" y="109"/>
                  </a:cubicBezTo>
                  <a:cubicBezTo>
                    <a:pt x="107" y="109"/>
                    <a:pt x="107" y="110"/>
                    <a:pt x="107" y="110"/>
                  </a:cubicBezTo>
                  <a:cubicBezTo>
                    <a:pt x="111" y="109"/>
                    <a:pt x="111" y="109"/>
                    <a:pt x="111" y="109"/>
                  </a:cubicBezTo>
                  <a:cubicBezTo>
                    <a:pt x="111" y="109"/>
                    <a:pt x="116" y="108"/>
                    <a:pt x="116" y="108"/>
                  </a:cubicBezTo>
                  <a:cubicBezTo>
                    <a:pt x="117" y="108"/>
                    <a:pt x="119" y="108"/>
                    <a:pt x="119" y="108"/>
                  </a:cubicBezTo>
                  <a:cubicBezTo>
                    <a:pt x="119" y="108"/>
                    <a:pt x="123" y="108"/>
                    <a:pt x="124" y="108"/>
                  </a:cubicBezTo>
                  <a:cubicBezTo>
                    <a:pt x="125" y="108"/>
                    <a:pt x="125" y="108"/>
                    <a:pt x="125" y="108"/>
                  </a:cubicBezTo>
                  <a:cubicBezTo>
                    <a:pt x="131" y="109"/>
                    <a:pt x="131" y="109"/>
                    <a:pt x="131" y="109"/>
                  </a:cubicBezTo>
                  <a:cubicBezTo>
                    <a:pt x="132" y="109"/>
                    <a:pt x="132" y="109"/>
                    <a:pt x="132" y="109"/>
                  </a:cubicBezTo>
                  <a:cubicBezTo>
                    <a:pt x="132" y="109"/>
                    <a:pt x="136" y="108"/>
                    <a:pt x="138" y="107"/>
                  </a:cubicBezTo>
                  <a:cubicBezTo>
                    <a:pt x="139" y="106"/>
                    <a:pt x="138" y="105"/>
                    <a:pt x="138" y="105"/>
                  </a:cubicBezTo>
                  <a:cubicBezTo>
                    <a:pt x="140" y="103"/>
                    <a:pt x="140" y="103"/>
                    <a:pt x="140" y="103"/>
                  </a:cubicBezTo>
                  <a:cubicBezTo>
                    <a:pt x="144" y="104"/>
                    <a:pt x="144" y="104"/>
                    <a:pt x="144" y="104"/>
                  </a:cubicBezTo>
                  <a:cubicBezTo>
                    <a:pt x="150" y="98"/>
                    <a:pt x="150" y="98"/>
                    <a:pt x="150" y="98"/>
                  </a:cubicBezTo>
                  <a:cubicBezTo>
                    <a:pt x="152" y="94"/>
                    <a:pt x="152" y="94"/>
                    <a:pt x="152" y="94"/>
                  </a:cubicBezTo>
                  <a:cubicBezTo>
                    <a:pt x="152" y="92"/>
                    <a:pt x="152" y="92"/>
                    <a:pt x="152" y="92"/>
                  </a:cubicBezTo>
                  <a:cubicBezTo>
                    <a:pt x="153" y="91"/>
                    <a:pt x="153" y="91"/>
                    <a:pt x="153" y="91"/>
                  </a:cubicBezTo>
                  <a:cubicBezTo>
                    <a:pt x="155" y="88"/>
                    <a:pt x="155" y="88"/>
                    <a:pt x="155" y="88"/>
                  </a:cubicBezTo>
                  <a:cubicBezTo>
                    <a:pt x="155" y="85"/>
                    <a:pt x="155" y="85"/>
                    <a:pt x="155" y="85"/>
                  </a:cubicBezTo>
                  <a:cubicBezTo>
                    <a:pt x="156" y="82"/>
                    <a:pt x="156" y="82"/>
                    <a:pt x="156" y="82"/>
                  </a:cubicBezTo>
                  <a:cubicBezTo>
                    <a:pt x="155" y="79"/>
                    <a:pt x="155" y="79"/>
                    <a:pt x="155" y="79"/>
                  </a:cubicBezTo>
                  <a:cubicBezTo>
                    <a:pt x="158" y="75"/>
                    <a:pt x="158" y="75"/>
                    <a:pt x="158" y="75"/>
                  </a:cubicBezTo>
                  <a:cubicBezTo>
                    <a:pt x="157" y="69"/>
                    <a:pt x="157" y="69"/>
                    <a:pt x="157" y="69"/>
                  </a:cubicBezTo>
                  <a:cubicBezTo>
                    <a:pt x="157" y="69"/>
                    <a:pt x="159" y="67"/>
                    <a:pt x="160" y="67"/>
                  </a:cubicBezTo>
                  <a:cubicBezTo>
                    <a:pt x="162" y="67"/>
                    <a:pt x="161" y="63"/>
                    <a:pt x="161" y="63"/>
                  </a:cubicBezTo>
                  <a:cubicBezTo>
                    <a:pt x="161" y="57"/>
                    <a:pt x="161" y="57"/>
                    <a:pt x="161" y="57"/>
                  </a:cubicBezTo>
                  <a:cubicBezTo>
                    <a:pt x="164" y="54"/>
                    <a:pt x="164" y="54"/>
                    <a:pt x="164" y="54"/>
                  </a:cubicBezTo>
                  <a:cubicBezTo>
                    <a:pt x="165" y="47"/>
                    <a:pt x="165" y="47"/>
                    <a:pt x="165" y="47"/>
                  </a:cubicBezTo>
                  <a:cubicBezTo>
                    <a:pt x="165" y="47"/>
                    <a:pt x="166" y="47"/>
                    <a:pt x="167" y="46"/>
                  </a:cubicBezTo>
                  <a:cubicBezTo>
                    <a:pt x="169" y="46"/>
                    <a:pt x="167" y="42"/>
                    <a:pt x="167" y="42"/>
                  </a:cubicBezTo>
                  <a:cubicBezTo>
                    <a:pt x="168" y="38"/>
                    <a:pt x="168" y="38"/>
                    <a:pt x="168" y="38"/>
                  </a:cubicBezTo>
                  <a:cubicBezTo>
                    <a:pt x="171" y="36"/>
                    <a:pt x="171" y="36"/>
                    <a:pt x="171" y="36"/>
                  </a:cubicBezTo>
                  <a:cubicBezTo>
                    <a:pt x="172" y="31"/>
                    <a:pt x="172" y="31"/>
                    <a:pt x="172" y="31"/>
                  </a:cubicBezTo>
                  <a:cubicBezTo>
                    <a:pt x="173" y="29"/>
                    <a:pt x="173" y="29"/>
                    <a:pt x="173" y="29"/>
                  </a:cubicBezTo>
                  <a:cubicBezTo>
                    <a:pt x="176" y="29"/>
                    <a:pt x="176" y="29"/>
                    <a:pt x="176" y="29"/>
                  </a:cubicBezTo>
                  <a:cubicBezTo>
                    <a:pt x="179" y="28"/>
                    <a:pt x="179" y="28"/>
                    <a:pt x="179" y="28"/>
                  </a:cubicBezTo>
                  <a:cubicBezTo>
                    <a:pt x="182" y="25"/>
                    <a:pt x="182" y="25"/>
                    <a:pt x="182" y="25"/>
                  </a:cubicBezTo>
                  <a:cubicBezTo>
                    <a:pt x="182" y="25"/>
                    <a:pt x="183" y="24"/>
                    <a:pt x="184" y="24"/>
                  </a:cubicBezTo>
                  <a:cubicBezTo>
                    <a:pt x="185" y="24"/>
                    <a:pt x="186" y="22"/>
                    <a:pt x="186" y="22"/>
                  </a:cubicBezTo>
                  <a:cubicBezTo>
                    <a:pt x="189" y="19"/>
                    <a:pt x="189" y="19"/>
                    <a:pt x="189" y="19"/>
                  </a:cubicBezTo>
                  <a:lnTo>
                    <a:pt x="187" y="15"/>
                  </a:ln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1" name="Freeform 135"/>
            <p:cNvSpPr>
              <a:spLocks/>
            </p:cNvSpPr>
            <p:nvPr/>
          </p:nvSpPr>
          <p:spPr bwMode="auto">
            <a:xfrm>
              <a:off x="6481975" y="4772261"/>
              <a:ext cx="2888" cy="2723"/>
            </a:xfrm>
            <a:custGeom>
              <a:avLst/>
              <a:gdLst>
                <a:gd name="T0" fmla="*/ 1 w 1"/>
                <a:gd name="T1" fmla="*/ 1 h 1"/>
                <a:gd name="T2" fmla="*/ 1 w 1"/>
                <a:gd name="T3" fmla="*/ 1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cubicBezTo>
                    <a:pt x="1" y="1"/>
                    <a:pt x="1" y="1"/>
                    <a:pt x="1" y="1"/>
                  </a:cubicBezTo>
                  <a:cubicBezTo>
                    <a:pt x="0" y="0"/>
                    <a:pt x="0" y="0"/>
                    <a:pt x="0" y="0"/>
                  </a:cubicBezTo>
                  <a:lnTo>
                    <a:pt x="1" y="1"/>
                  </a:ln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2" name="Freeform 136"/>
            <p:cNvSpPr>
              <a:spLocks/>
            </p:cNvSpPr>
            <p:nvPr/>
          </p:nvSpPr>
          <p:spPr bwMode="auto">
            <a:xfrm>
              <a:off x="6887780" y="433791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3" name="Rectangle 137"/>
            <p:cNvSpPr>
              <a:spLocks noChangeArrowheads="1"/>
            </p:cNvSpPr>
            <p:nvPr/>
          </p:nvSpPr>
          <p:spPr bwMode="auto">
            <a:xfrm>
              <a:off x="6910886" y="4365143"/>
              <a:ext cx="1444" cy="1362"/>
            </a:xfrm>
            <a:prstGeom prst="rect">
              <a:avLst/>
            </a:prstGeom>
            <a:solidFill>
              <a:schemeClr val="bg2"/>
            </a:solidFill>
            <a:ln w="9525">
              <a:solidFill>
                <a:schemeClr val="bg1"/>
              </a:solidFill>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4" name="Freeform 138"/>
            <p:cNvSpPr>
              <a:spLocks/>
            </p:cNvSpPr>
            <p:nvPr/>
          </p:nvSpPr>
          <p:spPr bwMode="auto">
            <a:xfrm>
              <a:off x="6594618" y="4826725"/>
              <a:ext cx="2888" cy="2723"/>
            </a:xfrm>
            <a:custGeom>
              <a:avLst/>
              <a:gdLst>
                <a:gd name="T0" fmla="*/ 0 w 2"/>
                <a:gd name="T1" fmla="*/ 0 h 2"/>
                <a:gd name="T2" fmla="*/ 2 w 2"/>
                <a:gd name="T3" fmla="*/ 0 h 2"/>
                <a:gd name="T4" fmla="*/ 0 w 2"/>
                <a:gd name="T5" fmla="*/ 2 h 2"/>
                <a:gd name="T6" fmla="*/ 0 w 2"/>
                <a:gd name="T7" fmla="*/ 0 h 2"/>
              </a:gdLst>
              <a:ahLst/>
              <a:cxnLst>
                <a:cxn ang="0">
                  <a:pos x="T0" y="T1"/>
                </a:cxn>
                <a:cxn ang="0">
                  <a:pos x="T2" y="T3"/>
                </a:cxn>
                <a:cxn ang="0">
                  <a:pos x="T4" y="T5"/>
                </a:cxn>
                <a:cxn ang="0">
                  <a:pos x="T6" y="T7"/>
                </a:cxn>
              </a:cxnLst>
              <a:rect l="0" t="0" r="r" b="b"/>
              <a:pathLst>
                <a:path w="2" h="2">
                  <a:moveTo>
                    <a:pt x="0" y="0"/>
                  </a:moveTo>
                  <a:lnTo>
                    <a:pt x="2" y="0"/>
                  </a:lnTo>
                  <a:lnTo>
                    <a:pt x="0" y="2"/>
                  </a:lnTo>
                  <a:lnTo>
                    <a:pt x="0" y="0"/>
                  </a:ln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5" name="Freeform 139"/>
            <p:cNvSpPr>
              <a:spLocks/>
            </p:cNvSpPr>
            <p:nvPr/>
          </p:nvSpPr>
          <p:spPr bwMode="auto">
            <a:xfrm>
              <a:off x="6856009" y="430795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6" name="Freeform 140"/>
            <p:cNvSpPr>
              <a:spLocks/>
            </p:cNvSpPr>
            <p:nvPr/>
          </p:nvSpPr>
          <p:spPr bwMode="auto">
            <a:xfrm>
              <a:off x="6879115" y="432701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7" name="Rectangle 141"/>
            <p:cNvSpPr>
              <a:spLocks noChangeArrowheads="1"/>
            </p:cNvSpPr>
            <p:nvPr/>
          </p:nvSpPr>
          <p:spPr bwMode="auto">
            <a:xfrm>
              <a:off x="6882003" y="4329741"/>
              <a:ext cx="1444" cy="1362"/>
            </a:xfrm>
            <a:prstGeom prst="rect">
              <a:avLst/>
            </a:prstGeom>
            <a:solidFill>
              <a:schemeClr val="bg2"/>
            </a:solidFill>
            <a:ln w="9525">
              <a:solidFill>
                <a:schemeClr val="bg1"/>
              </a:solidFill>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8" name="Rectangle 142"/>
            <p:cNvSpPr>
              <a:spLocks noChangeArrowheads="1"/>
            </p:cNvSpPr>
            <p:nvPr/>
          </p:nvSpPr>
          <p:spPr bwMode="auto">
            <a:xfrm>
              <a:off x="7014865" y="4474071"/>
              <a:ext cx="1444" cy="2723"/>
            </a:xfrm>
            <a:prstGeom prst="rect">
              <a:avLst/>
            </a:prstGeom>
            <a:solidFill>
              <a:schemeClr val="bg2"/>
            </a:solidFill>
            <a:ln w="9525">
              <a:solidFill>
                <a:schemeClr val="bg1"/>
              </a:solidFill>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 name="Freeform 143"/>
            <p:cNvSpPr>
              <a:spLocks/>
            </p:cNvSpPr>
            <p:nvPr/>
          </p:nvSpPr>
          <p:spPr bwMode="auto">
            <a:xfrm>
              <a:off x="6261021" y="477770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0" name="Rectangle 144"/>
            <p:cNvSpPr>
              <a:spLocks noChangeArrowheads="1"/>
            </p:cNvSpPr>
            <p:nvPr/>
          </p:nvSpPr>
          <p:spPr bwMode="auto">
            <a:xfrm>
              <a:off x="6571512" y="4810386"/>
              <a:ext cx="1444" cy="1362"/>
            </a:xfrm>
            <a:prstGeom prst="rect">
              <a:avLst/>
            </a:prstGeom>
            <a:solidFill>
              <a:schemeClr val="bg2"/>
            </a:solidFill>
            <a:ln w="9525">
              <a:solidFill>
                <a:schemeClr val="bg1"/>
              </a:solidFill>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 name="Freeform 145"/>
            <p:cNvSpPr>
              <a:spLocks/>
            </p:cNvSpPr>
            <p:nvPr/>
          </p:nvSpPr>
          <p:spPr bwMode="auto">
            <a:xfrm>
              <a:off x="6597507" y="4826725"/>
              <a:ext cx="0" cy="2723"/>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 name="Freeform 146"/>
            <p:cNvSpPr>
              <a:spLocks/>
            </p:cNvSpPr>
            <p:nvPr/>
          </p:nvSpPr>
          <p:spPr bwMode="auto">
            <a:xfrm>
              <a:off x="6347669" y="500781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 name="Freeform 147"/>
            <p:cNvSpPr>
              <a:spLocks/>
            </p:cNvSpPr>
            <p:nvPr/>
          </p:nvSpPr>
          <p:spPr bwMode="auto">
            <a:xfrm>
              <a:off x="6295680" y="496969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 name="Freeform 148"/>
            <p:cNvSpPr>
              <a:spLocks/>
            </p:cNvSpPr>
            <p:nvPr/>
          </p:nvSpPr>
          <p:spPr bwMode="auto">
            <a:xfrm>
              <a:off x="6266797" y="480766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5" name="Freeform 149"/>
            <p:cNvSpPr>
              <a:spLocks/>
            </p:cNvSpPr>
            <p:nvPr/>
          </p:nvSpPr>
          <p:spPr bwMode="auto">
            <a:xfrm>
              <a:off x="6275462" y="485395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6" name="Freeform 150"/>
            <p:cNvSpPr>
              <a:spLocks/>
            </p:cNvSpPr>
            <p:nvPr/>
          </p:nvSpPr>
          <p:spPr bwMode="auto">
            <a:xfrm>
              <a:off x="6295680" y="4969693"/>
              <a:ext cx="2888" cy="0"/>
            </a:xfrm>
            <a:custGeom>
              <a:avLst/>
              <a:gdLst>
                <a:gd name="T0" fmla="*/ 2 w 2"/>
                <a:gd name="T1" fmla="*/ 2 w 2"/>
                <a:gd name="T2" fmla="*/ 0 w 2"/>
                <a:gd name="T3" fmla="*/ 2 w 2"/>
              </a:gdLst>
              <a:ahLst/>
              <a:cxnLst>
                <a:cxn ang="0">
                  <a:pos x="T0" y="0"/>
                </a:cxn>
                <a:cxn ang="0">
                  <a:pos x="T1" y="0"/>
                </a:cxn>
                <a:cxn ang="0">
                  <a:pos x="T2" y="0"/>
                </a:cxn>
                <a:cxn ang="0">
                  <a:pos x="T3" y="0"/>
                </a:cxn>
              </a:cxnLst>
              <a:rect l="0" t="0" r="r" b="b"/>
              <a:pathLst>
                <a:path w="2">
                  <a:moveTo>
                    <a:pt x="2" y="0"/>
                  </a:moveTo>
                  <a:lnTo>
                    <a:pt x="2" y="0"/>
                  </a:lnTo>
                  <a:lnTo>
                    <a:pt x="0" y="0"/>
                  </a:lnTo>
                  <a:lnTo>
                    <a:pt x="2" y="0"/>
                  </a:ln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7" name="Freeform 151"/>
            <p:cNvSpPr>
              <a:spLocks/>
            </p:cNvSpPr>
            <p:nvPr/>
          </p:nvSpPr>
          <p:spPr bwMode="auto">
            <a:xfrm>
              <a:off x="5966415" y="4796770"/>
              <a:ext cx="358148" cy="298190"/>
            </a:xfrm>
            <a:custGeom>
              <a:avLst/>
              <a:gdLst>
                <a:gd name="T0" fmla="*/ 122 w 124"/>
                <a:gd name="T1" fmla="*/ 43 h 109"/>
                <a:gd name="T2" fmla="*/ 120 w 124"/>
                <a:gd name="T3" fmla="*/ 38 h 109"/>
                <a:gd name="T4" fmla="*/ 114 w 124"/>
                <a:gd name="T5" fmla="*/ 33 h 109"/>
                <a:gd name="T6" fmla="*/ 107 w 124"/>
                <a:gd name="T7" fmla="*/ 29 h 109"/>
                <a:gd name="T8" fmla="*/ 107 w 124"/>
                <a:gd name="T9" fmla="*/ 19 h 109"/>
                <a:gd name="T10" fmla="*/ 111 w 124"/>
                <a:gd name="T11" fmla="*/ 8 h 109"/>
                <a:gd name="T12" fmla="*/ 106 w 124"/>
                <a:gd name="T13" fmla="*/ 6 h 109"/>
                <a:gd name="T14" fmla="*/ 103 w 124"/>
                <a:gd name="T15" fmla="*/ 9 h 109"/>
                <a:gd name="T16" fmla="*/ 92 w 124"/>
                <a:gd name="T17" fmla="*/ 9 h 109"/>
                <a:gd name="T18" fmla="*/ 90 w 124"/>
                <a:gd name="T19" fmla="*/ 4 h 109"/>
                <a:gd name="T20" fmla="*/ 83 w 124"/>
                <a:gd name="T21" fmla="*/ 2 h 109"/>
                <a:gd name="T22" fmla="*/ 79 w 124"/>
                <a:gd name="T23" fmla="*/ 2 h 109"/>
                <a:gd name="T24" fmla="*/ 75 w 124"/>
                <a:gd name="T25" fmla="*/ 1 h 109"/>
                <a:gd name="T26" fmla="*/ 72 w 124"/>
                <a:gd name="T27" fmla="*/ 1 h 109"/>
                <a:gd name="T28" fmla="*/ 70 w 124"/>
                <a:gd name="T29" fmla="*/ 2 h 109"/>
                <a:gd name="T30" fmla="*/ 65 w 124"/>
                <a:gd name="T31" fmla="*/ 3 h 109"/>
                <a:gd name="T32" fmla="*/ 63 w 124"/>
                <a:gd name="T33" fmla="*/ 4 h 109"/>
                <a:gd name="T34" fmla="*/ 60 w 124"/>
                <a:gd name="T35" fmla="*/ 4 h 109"/>
                <a:gd name="T36" fmla="*/ 46 w 124"/>
                <a:gd name="T37" fmla="*/ 2 h 109"/>
                <a:gd name="T38" fmla="*/ 37 w 124"/>
                <a:gd name="T39" fmla="*/ 2 h 109"/>
                <a:gd name="T40" fmla="*/ 32 w 124"/>
                <a:gd name="T41" fmla="*/ 0 h 109"/>
                <a:gd name="T42" fmla="*/ 25 w 124"/>
                <a:gd name="T43" fmla="*/ 2 h 109"/>
                <a:gd name="T44" fmla="*/ 21 w 124"/>
                <a:gd name="T45" fmla="*/ 5 h 109"/>
                <a:gd name="T46" fmla="*/ 18 w 124"/>
                <a:gd name="T47" fmla="*/ 11 h 109"/>
                <a:gd name="T48" fmla="*/ 10 w 124"/>
                <a:gd name="T49" fmla="*/ 11 h 109"/>
                <a:gd name="T50" fmla="*/ 1 w 124"/>
                <a:gd name="T51" fmla="*/ 6 h 109"/>
                <a:gd name="T52" fmla="*/ 1 w 124"/>
                <a:gd name="T53" fmla="*/ 13 h 109"/>
                <a:gd name="T54" fmla="*/ 1 w 124"/>
                <a:gd name="T55" fmla="*/ 21 h 109"/>
                <a:gd name="T56" fmla="*/ 5 w 124"/>
                <a:gd name="T57" fmla="*/ 22 h 109"/>
                <a:gd name="T58" fmla="*/ 10 w 124"/>
                <a:gd name="T59" fmla="*/ 27 h 109"/>
                <a:gd name="T60" fmla="*/ 14 w 124"/>
                <a:gd name="T61" fmla="*/ 34 h 109"/>
                <a:gd name="T62" fmla="*/ 17 w 124"/>
                <a:gd name="T63" fmla="*/ 38 h 109"/>
                <a:gd name="T64" fmla="*/ 21 w 124"/>
                <a:gd name="T65" fmla="*/ 46 h 109"/>
                <a:gd name="T66" fmla="*/ 27 w 124"/>
                <a:gd name="T67" fmla="*/ 52 h 109"/>
                <a:gd name="T68" fmla="*/ 34 w 124"/>
                <a:gd name="T69" fmla="*/ 58 h 109"/>
                <a:gd name="T70" fmla="*/ 41 w 124"/>
                <a:gd name="T71" fmla="*/ 63 h 109"/>
                <a:gd name="T72" fmla="*/ 47 w 124"/>
                <a:gd name="T73" fmla="*/ 69 h 109"/>
                <a:gd name="T74" fmla="*/ 53 w 124"/>
                <a:gd name="T75" fmla="*/ 73 h 109"/>
                <a:gd name="T76" fmla="*/ 63 w 124"/>
                <a:gd name="T77" fmla="*/ 84 h 109"/>
                <a:gd name="T78" fmla="*/ 67 w 124"/>
                <a:gd name="T79" fmla="*/ 90 h 109"/>
                <a:gd name="T80" fmla="*/ 71 w 124"/>
                <a:gd name="T81" fmla="*/ 92 h 109"/>
                <a:gd name="T82" fmla="*/ 79 w 124"/>
                <a:gd name="T83" fmla="*/ 99 h 109"/>
                <a:gd name="T84" fmla="*/ 92 w 124"/>
                <a:gd name="T85" fmla="*/ 106 h 109"/>
                <a:gd name="T86" fmla="*/ 97 w 124"/>
                <a:gd name="T87" fmla="*/ 109 h 109"/>
                <a:gd name="T88" fmla="*/ 100 w 124"/>
                <a:gd name="T89" fmla="*/ 105 h 109"/>
                <a:gd name="T90" fmla="*/ 99 w 124"/>
                <a:gd name="T91" fmla="*/ 101 h 109"/>
                <a:gd name="T92" fmla="*/ 97 w 124"/>
                <a:gd name="T93" fmla="*/ 95 h 109"/>
                <a:gd name="T94" fmla="*/ 97 w 124"/>
                <a:gd name="T95" fmla="*/ 88 h 109"/>
                <a:gd name="T96" fmla="*/ 100 w 124"/>
                <a:gd name="T97" fmla="*/ 81 h 109"/>
                <a:gd name="T98" fmla="*/ 104 w 124"/>
                <a:gd name="T99" fmla="*/ 73 h 109"/>
                <a:gd name="T100" fmla="*/ 109 w 124"/>
                <a:gd name="T101" fmla="*/ 75 h 109"/>
                <a:gd name="T102" fmla="*/ 111 w 124"/>
                <a:gd name="T103" fmla="*/ 72 h 109"/>
                <a:gd name="T104" fmla="*/ 108 w 124"/>
                <a:gd name="T105" fmla="*/ 68 h 109"/>
                <a:gd name="T106" fmla="*/ 106 w 124"/>
                <a:gd name="T107" fmla="*/ 66 h 109"/>
                <a:gd name="T108" fmla="*/ 110 w 124"/>
                <a:gd name="T109" fmla="*/ 65 h 109"/>
                <a:gd name="T110" fmla="*/ 114 w 124"/>
                <a:gd name="T111" fmla="*/ 63 h 109"/>
                <a:gd name="T112" fmla="*/ 122 w 124"/>
                <a:gd name="T113" fmla="*/ 61 h 109"/>
                <a:gd name="T114" fmla="*/ 119 w 124"/>
                <a:gd name="T115" fmla="*/ 51 h 109"/>
                <a:gd name="T116" fmla="*/ 113 w 124"/>
                <a:gd name="T117" fmla="*/ 4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4" h="109">
                  <a:moveTo>
                    <a:pt x="114" y="44"/>
                  </a:moveTo>
                  <a:cubicBezTo>
                    <a:pt x="115" y="44"/>
                    <a:pt x="116" y="44"/>
                    <a:pt x="117" y="44"/>
                  </a:cubicBezTo>
                  <a:cubicBezTo>
                    <a:pt x="118" y="44"/>
                    <a:pt x="119" y="44"/>
                    <a:pt x="119" y="44"/>
                  </a:cubicBezTo>
                  <a:cubicBezTo>
                    <a:pt x="120" y="44"/>
                    <a:pt x="122" y="43"/>
                    <a:pt x="122" y="43"/>
                  </a:cubicBezTo>
                  <a:cubicBezTo>
                    <a:pt x="122" y="43"/>
                    <a:pt x="123" y="42"/>
                    <a:pt x="123" y="42"/>
                  </a:cubicBezTo>
                  <a:cubicBezTo>
                    <a:pt x="123" y="42"/>
                    <a:pt x="124" y="41"/>
                    <a:pt x="124" y="40"/>
                  </a:cubicBezTo>
                  <a:cubicBezTo>
                    <a:pt x="123" y="40"/>
                    <a:pt x="122" y="39"/>
                    <a:pt x="122" y="39"/>
                  </a:cubicBezTo>
                  <a:cubicBezTo>
                    <a:pt x="121" y="39"/>
                    <a:pt x="120" y="38"/>
                    <a:pt x="120" y="38"/>
                  </a:cubicBezTo>
                  <a:cubicBezTo>
                    <a:pt x="120" y="37"/>
                    <a:pt x="119" y="36"/>
                    <a:pt x="118" y="36"/>
                  </a:cubicBezTo>
                  <a:cubicBezTo>
                    <a:pt x="118" y="36"/>
                    <a:pt x="118" y="37"/>
                    <a:pt x="117" y="36"/>
                  </a:cubicBezTo>
                  <a:cubicBezTo>
                    <a:pt x="116" y="36"/>
                    <a:pt x="115" y="35"/>
                    <a:pt x="115" y="35"/>
                  </a:cubicBezTo>
                  <a:cubicBezTo>
                    <a:pt x="115" y="34"/>
                    <a:pt x="115" y="34"/>
                    <a:pt x="114" y="33"/>
                  </a:cubicBezTo>
                  <a:cubicBezTo>
                    <a:pt x="113" y="33"/>
                    <a:pt x="112" y="32"/>
                    <a:pt x="111" y="32"/>
                  </a:cubicBezTo>
                  <a:cubicBezTo>
                    <a:pt x="110" y="32"/>
                    <a:pt x="111" y="32"/>
                    <a:pt x="109" y="32"/>
                  </a:cubicBezTo>
                  <a:cubicBezTo>
                    <a:pt x="107" y="32"/>
                    <a:pt x="106" y="31"/>
                    <a:pt x="106" y="30"/>
                  </a:cubicBezTo>
                  <a:cubicBezTo>
                    <a:pt x="106" y="29"/>
                    <a:pt x="106" y="30"/>
                    <a:pt x="107" y="29"/>
                  </a:cubicBezTo>
                  <a:cubicBezTo>
                    <a:pt x="107" y="28"/>
                    <a:pt x="107" y="26"/>
                    <a:pt x="107" y="25"/>
                  </a:cubicBezTo>
                  <a:cubicBezTo>
                    <a:pt x="106" y="25"/>
                    <a:pt x="106" y="25"/>
                    <a:pt x="105" y="23"/>
                  </a:cubicBezTo>
                  <a:cubicBezTo>
                    <a:pt x="105" y="21"/>
                    <a:pt x="107" y="22"/>
                    <a:pt x="107" y="22"/>
                  </a:cubicBezTo>
                  <a:cubicBezTo>
                    <a:pt x="107" y="22"/>
                    <a:pt x="107" y="20"/>
                    <a:pt x="107" y="19"/>
                  </a:cubicBezTo>
                  <a:cubicBezTo>
                    <a:pt x="107" y="19"/>
                    <a:pt x="108" y="17"/>
                    <a:pt x="108" y="17"/>
                  </a:cubicBezTo>
                  <a:cubicBezTo>
                    <a:pt x="110" y="14"/>
                    <a:pt x="110" y="14"/>
                    <a:pt x="110" y="14"/>
                  </a:cubicBezTo>
                  <a:cubicBezTo>
                    <a:pt x="111" y="11"/>
                    <a:pt x="111" y="11"/>
                    <a:pt x="111" y="11"/>
                  </a:cubicBezTo>
                  <a:cubicBezTo>
                    <a:pt x="111" y="8"/>
                    <a:pt x="111" y="8"/>
                    <a:pt x="111" y="8"/>
                  </a:cubicBezTo>
                  <a:cubicBezTo>
                    <a:pt x="111" y="5"/>
                    <a:pt x="111" y="5"/>
                    <a:pt x="111" y="5"/>
                  </a:cubicBezTo>
                  <a:cubicBezTo>
                    <a:pt x="108" y="5"/>
                    <a:pt x="108" y="5"/>
                    <a:pt x="108" y="5"/>
                  </a:cubicBezTo>
                  <a:cubicBezTo>
                    <a:pt x="106" y="4"/>
                    <a:pt x="106" y="4"/>
                    <a:pt x="106" y="4"/>
                  </a:cubicBezTo>
                  <a:cubicBezTo>
                    <a:pt x="106" y="5"/>
                    <a:pt x="106" y="5"/>
                    <a:pt x="106" y="6"/>
                  </a:cubicBezTo>
                  <a:cubicBezTo>
                    <a:pt x="106" y="6"/>
                    <a:pt x="106" y="8"/>
                    <a:pt x="105" y="8"/>
                  </a:cubicBezTo>
                  <a:cubicBezTo>
                    <a:pt x="105" y="9"/>
                    <a:pt x="105" y="9"/>
                    <a:pt x="105" y="9"/>
                  </a:cubicBezTo>
                  <a:cubicBezTo>
                    <a:pt x="104" y="9"/>
                    <a:pt x="104" y="9"/>
                    <a:pt x="104" y="9"/>
                  </a:cubicBezTo>
                  <a:cubicBezTo>
                    <a:pt x="104" y="9"/>
                    <a:pt x="104" y="9"/>
                    <a:pt x="103" y="9"/>
                  </a:cubicBezTo>
                  <a:cubicBezTo>
                    <a:pt x="103" y="10"/>
                    <a:pt x="103" y="10"/>
                    <a:pt x="103" y="10"/>
                  </a:cubicBezTo>
                  <a:cubicBezTo>
                    <a:pt x="101" y="12"/>
                    <a:pt x="101" y="12"/>
                    <a:pt x="101" y="12"/>
                  </a:cubicBezTo>
                  <a:cubicBezTo>
                    <a:pt x="100" y="12"/>
                    <a:pt x="100" y="12"/>
                    <a:pt x="100" y="12"/>
                  </a:cubicBezTo>
                  <a:cubicBezTo>
                    <a:pt x="99" y="12"/>
                    <a:pt x="97" y="11"/>
                    <a:pt x="92" y="9"/>
                  </a:cubicBezTo>
                  <a:cubicBezTo>
                    <a:pt x="92" y="9"/>
                    <a:pt x="92" y="9"/>
                    <a:pt x="92" y="9"/>
                  </a:cubicBezTo>
                  <a:cubicBezTo>
                    <a:pt x="92" y="9"/>
                    <a:pt x="92" y="9"/>
                    <a:pt x="92" y="9"/>
                  </a:cubicBezTo>
                  <a:cubicBezTo>
                    <a:pt x="92" y="9"/>
                    <a:pt x="90" y="8"/>
                    <a:pt x="90" y="6"/>
                  </a:cubicBezTo>
                  <a:cubicBezTo>
                    <a:pt x="90" y="6"/>
                    <a:pt x="90" y="5"/>
                    <a:pt x="90" y="4"/>
                  </a:cubicBezTo>
                  <a:cubicBezTo>
                    <a:pt x="87" y="2"/>
                    <a:pt x="87" y="2"/>
                    <a:pt x="87" y="2"/>
                  </a:cubicBezTo>
                  <a:cubicBezTo>
                    <a:pt x="87" y="2"/>
                    <a:pt x="87" y="2"/>
                    <a:pt x="87" y="2"/>
                  </a:cubicBezTo>
                  <a:cubicBezTo>
                    <a:pt x="87" y="2"/>
                    <a:pt x="87" y="1"/>
                    <a:pt x="86" y="1"/>
                  </a:cubicBezTo>
                  <a:cubicBezTo>
                    <a:pt x="83" y="2"/>
                    <a:pt x="83" y="2"/>
                    <a:pt x="83" y="2"/>
                  </a:cubicBezTo>
                  <a:cubicBezTo>
                    <a:pt x="83" y="2"/>
                    <a:pt x="83" y="2"/>
                    <a:pt x="83" y="2"/>
                  </a:cubicBezTo>
                  <a:cubicBezTo>
                    <a:pt x="83" y="2"/>
                    <a:pt x="83" y="2"/>
                    <a:pt x="83" y="2"/>
                  </a:cubicBezTo>
                  <a:cubicBezTo>
                    <a:pt x="80" y="2"/>
                    <a:pt x="80" y="2"/>
                    <a:pt x="80" y="2"/>
                  </a:cubicBezTo>
                  <a:cubicBezTo>
                    <a:pt x="79" y="2"/>
                    <a:pt x="79" y="2"/>
                    <a:pt x="79" y="2"/>
                  </a:cubicBezTo>
                  <a:cubicBezTo>
                    <a:pt x="78" y="1"/>
                    <a:pt x="77" y="1"/>
                    <a:pt x="77" y="0"/>
                  </a:cubicBezTo>
                  <a:cubicBezTo>
                    <a:pt x="76" y="0"/>
                    <a:pt x="76" y="0"/>
                    <a:pt x="76" y="0"/>
                  </a:cubicBezTo>
                  <a:cubicBezTo>
                    <a:pt x="76" y="0"/>
                    <a:pt x="76" y="0"/>
                    <a:pt x="75" y="1"/>
                  </a:cubicBezTo>
                  <a:cubicBezTo>
                    <a:pt x="75" y="1"/>
                    <a:pt x="75" y="1"/>
                    <a:pt x="75" y="1"/>
                  </a:cubicBezTo>
                  <a:cubicBezTo>
                    <a:pt x="74" y="1"/>
                    <a:pt x="74" y="1"/>
                    <a:pt x="74" y="1"/>
                  </a:cubicBezTo>
                  <a:cubicBezTo>
                    <a:pt x="73" y="1"/>
                    <a:pt x="73" y="1"/>
                    <a:pt x="73" y="1"/>
                  </a:cubicBezTo>
                  <a:cubicBezTo>
                    <a:pt x="73" y="1"/>
                    <a:pt x="73" y="1"/>
                    <a:pt x="73" y="1"/>
                  </a:cubicBezTo>
                  <a:cubicBezTo>
                    <a:pt x="73" y="1"/>
                    <a:pt x="73" y="1"/>
                    <a:pt x="72" y="1"/>
                  </a:cubicBezTo>
                  <a:cubicBezTo>
                    <a:pt x="71" y="1"/>
                    <a:pt x="71" y="1"/>
                    <a:pt x="71" y="1"/>
                  </a:cubicBezTo>
                  <a:cubicBezTo>
                    <a:pt x="70" y="2"/>
                    <a:pt x="70" y="2"/>
                    <a:pt x="70" y="2"/>
                  </a:cubicBezTo>
                  <a:cubicBezTo>
                    <a:pt x="70" y="2"/>
                    <a:pt x="70" y="2"/>
                    <a:pt x="70" y="2"/>
                  </a:cubicBezTo>
                  <a:cubicBezTo>
                    <a:pt x="70" y="2"/>
                    <a:pt x="70" y="2"/>
                    <a:pt x="70" y="2"/>
                  </a:cubicBezTo>
                  <a:cubicBezTo>
                    <a:pt x="69" y="3"/>
                    <a:pt x="69" y="3"/>
                    <a:pt x="69" y="3"/>
                  </a:cubicBezTo>
                  <a:cubicBezTo>
                    <a:pt x="68" y="3"/>
                    <a:pt x="68" y="3"/>
                    <a:pt x="68" y="3"/>
                  </a:cubicBezTo>
                  <a:cubicBezTo>
                    <a:pt x="67" y="3"/>
                    <a:pt x="67" y="3"/>
                    <a:pt x="67" y="3"/>
                  </a:cubicBezTo>
                  <a:cubicBezTo>
                    <a:pt x="65" y="3"/>
                    <a:pt x="65" y="3"/>
                    <a:pt x="65" y="3"/>
                  </a:cubicBezTo>
                  <a:cubicBezTo>
                    <a:pt x="65" y="3"/>
                    <a:pt x="65" y="3"/>
                    <a:pt x="65" y="3"/>
                  </a:cubicBezTo>
                  <a:cubicBezTo>
                    <a:pt x="64" y="3"/>
                    <a:pt x="64" y="3"/>
                    <a:pt x="64" y="3"/>
                  </a:cubicBezTo>
                  <a:cubicBezTo>
                    <a:pt x="64" y="3"/>
                    <a:pt x="63" y="3"/>
                    <a:pt x="63" y="3"/>
                  </a:cubicBezTo>
                  <a:cubicBezTo>
                    <a:pt x="63" y="4"/>
                    <a:pt x="63" y="4"/>
                    <a:pt x="63" y="4"/>
                  </a:cubicBezTo>
                  <a:cubicBezTo>
                    <a:pt x="62" y="5"/>
                    <a:pt x="62" y="5"/>
                    <a:pt x="62" y="5"/>
                  </a:cubicBezTo>
                  <a:cubicBezTo>
                    <a:pt x="61" y="5"/>
                    <a:pt x="61" y="5"/>
                    <a:pt x="61" y="5"/>
                  </a:cubicBezTo>
                  <a:cubicBezTo>
                    <a:pt x="60" y="5"/>
                    <a:pt x="60" y="5"/>
                    <a:pt x="60" y="5"/>
                  </a:cubicBezTo>
                  <a:cubicBezTo>
                    <a:pt x="60" y="4"/>
                    <a:pt x="60" y="4"/>
                    <a:pt x="60" y="4"/>
                  </a:cubicBezTo>
                  <a:cubicBezTo>
                    <a:pt x="58" y="4"/>
                    <a:pt x="58" y="4"/>
                    <a:pt x="58" y="4"/>
                  </a:cubicBezTo>
                  <a:cubicBezTo>
                    <a:pt x="53" y="3"/>
                    <a:pt x="53" y="3"/>
                    <a:pt x="53" y="3"/>
                  </a:cubicBezTo>
                  <a:cubicBezTo>
                    <a:pt x="50" y="3"/>
                    <a:pt x="50" y="3"/>
                    <a:pt x="50" y="3"/>
                  </a:cubicBezTo>
                  <a:cubicBezTo>
                    <a:pt x="46" y="2"/>
                    <a:pt x="46" y="2"/>
                    <a:pt x="46" y="2"/>
                  </a:cubicBezTo>
                  <a:cubicBezTo>
                    <a:pt x="44" y="2"/>
                    <a:pt x="44" y="2"/>
                    <a:pt x="44" y="2"/>
                  </a:cubicBezTo>
                  <a:cubicBezTo>
                    <a:pt x="44" y="2"/>
                    <a:pt x="44" y="2"/>
                    <a:pt x="44" y="2"/>
                  </a:cubicBezTo>
                  <a:cubicBezTo>
                    <a:pt x="41" y="3"/>
                    <a:pt x="41" y="3"/>
                    <a:pt x="41" y="3"/>
                  </a:cubicBezTo>
                  <a:cubicBezTo>
                    <a:pt x="37" y="2"/>
                    <a:pt x="37" y="2"/>
                    <a:pt x="37" y="2"/>
                  </a:cubicBezTo>
                  <a:cubicBezTo>
                    <a:pt x="35" y="0"/>
                    <a:pt x="35" y="0"/>
                    <a:pt x="35" y="0"/>
                  </a:cubicBezTo>
                  <a:cubicBezTo>
                    <a:pt x="33" y="0"/>
                    <a:pt x="33" y="0"/>
                    <a:pt x="33" y="0"/>
                  </a:cubicBezTo>
                  <a:cubicBezTo>
                    <a:pt x="33" y="0"/>
                    <a:pt x="33" y="0"/>
                    <a:pt x="33" y="0"/>
                  </a:cubicBezTo>
                  <a:cubicBezTo>
                    <a:pt x="32" y="0"/>
                    <a:pt x="32" y="0"/>
                    <a:pt x="32" y="0"/>
                  </a:cubicBezTo>
                  <a:cubicBezTo>
                    <a:pt x="31" y="2"/>
                    <a:pt x="31" y="2"/>
                    <a:pt x="31" y="2"/>
                  </a:cubicBezTo>
                  <a:cubicBezTo>
                    <a:pt x="31" y="2"/>
                    <a:pt x="31" y="2"/>
                    <a:pt x="31" y="2"/>
                  </a:cubicBezTo>
                  <a:cubicBezTo>
                    <a:pt x="30" y="3"/>
                    <a:pt x="30" y="3"/>
                    <a:pt x="29" y="3"/>
                  </a:cubicBezTo>
                  <a:cubicBezTo>
                    <a:pt x="28" y="3"/>
                    <a:pt x="26" y="2"/>
                    <a:pt x="25" y="2"/>
                  </a:cubicBezTo>
                  <a:cubicBezTo>
                    <a:pt x="23" y="3"/>
                    <a:pt x="23" y="3"/>
                    <a:pt x="23" y="3"/>
                  </a:cubicBezTo>
                  <a:cubicBezTo>
                    <a:pt x="21" y="3"/>
                    <a:pt x="21" y="3"/>
                    <a:pt x="21" y="3"/>
                  </a:cubicBezTo>
                  <a:cubicBezTo>
                    <a:pt x="21" y="4"/>
                    <a:pt x="21" y="4"/>
                    <a:pt x="21" y="4"/>
                  </a:cubicBezTo>
                  <a:cubicBezTo>
                    <a:pt x="21" y="5"/>
                    <a:pt x="21" y="5"/>
                    <a:pt x="21" y="5"/>
                  </a:cubicBezTo>
                  <a:cubicBezTo>
                    <a:pt x="19" y="7"/>
                    <a:pt x="19" y="7"/>
                    <a:pt x="19" y="7"/>
                  </a:cubicBezTo>
                  <a:cubicBezTo>
                    <a:pt x="18" y="8"/>
                    <a:pt x="18" y="8"/>
                    <a:pt x="18" y="8"/>
                  </a:cubicBezTo>
                  <a:cubicBezTo>
                    <a:pt x="18" y="8"/>
                    <a:pt x="18" y="9"/>
                    <a:pt x="18" y="10"/>
                  </a:cubicBezTo>
                  <a:cubicBezTo>
                    <a:pt x="18" y="11"/>
                    <a:pt x="18" y="11"/>
                    <a:pt x="18" y="11"/>
                  </a:cubicBezTo>
                  <a:cubicBezTo>
                    <a:pt x="15" y="12"/>
                    <a:pt x="15" y="12"/>
                    <a:pt x="15" y="12"/>
                  </a:cubicBezTo>
                  <a:cubicBezTo>
                    <a:pt x="15" y="13"/>
                    <a:pt x="15" y="13"/>
                    <a:pt x="15" y="13"/>
                  </a:cubicBezTo>
                  <a:cubicBezTo>
                    <a:pt x="14" y="13"/>
                    <a:pt x="14" y="13"/>
                    <a:pt x="14" y="13"/>
                  </a:cubicBezTo>
                  <a:cubicBezTo>
                    <a:pt x="10" y="11"/>
                    <a:pt x="10" y="11"/>
                    <a:pt x="10" y="11"/>
                  </a:cubicBezTo>
                  <a:cubicBezTo>
                    <a:pt x="5" y="4"/>
                    <a:pt x="5" y="4"/>
                    <a:pt x="5" y="4"/>
                  </a:cubicBezTo>
                  <a:cubicBezTo>
                    <a:pt x="4" y="4"/>
                    <a:pt x="4" y="4"/>
                    <a:pt x="4" y="4"/>
                  </a:cubicBezTo>
                  <a:cubicBezTo>
                    <a:pt x="3" y="5"/>
                    <a:pt x="1" y="5"/>
                    <a:pt x="1" y="6"/>
                  </a:cubicBezTo>
                  <a:cubicBezTo>
                    <a:pt x="1" y="6"/>
                    <a:pt x="1" y="6"/>
                    <a:pt x="1" y="6"/>
                  </a:cubicBezTo>
                  <a:cubicBezTo>
                    <a:pt x="1" y="6"/>
                    <a:pt x="1" y="7"/>
                    <a:pt x="1" y="9"/>
                  </a:cubicBezTo>
                  <a:cubicBezTo>
                    <a:pt x="1" y="9"/>
                    <a:pt x="1" y="9"/>
                    <a:pt x="1" y="9"/>
                  </a:cubicBezTo>
                  <a:cubicBezTo>
                    <a:pt x="0" y="11"/>
                    <a:pt x="0" y="11"/>
                    <a:pt x="0" y="11"/>
                  </a:cubicBezTo>
                  <a:cubicBezTo>
                    <a:pt x="1" y="13"/>
                    <a:pt x="1" y="13"/>
                    <a:pt x="1" y="13"/>
                  </a:cubicBezTo>
                  <a:cubicBezTo>
                    <a:pt x="1" y="15"/>
                    <a:pt x="1" y="15"/>
                    <a:pt x="1" y="15"/>
                  </a:cubicBezTo>
                  <a:cubicBezTo>
                    <a:pt x="1" y="16"/>
                    <a:pt x="1" y="16"/>
                    <a:pt x="1" y="16"/>
                  </a:cubicBezTo>
                  <a:cubicBezTo>
                    <a:pt x="1" y="16"/>
                    <a:pt x="2" y="17"/>
                    <a:pt x="2" y="18"/>
                  </a:cubicBezTo>
                  <a:cubicBezTo>
                    <a:pt x="2" y="18"/>
                    <a:pt x="2" y="20"/>
                    <a:pt x="1" y="21"/>
                  </a:cubicBezTo>
                  <a:cubicBezTo>
                    <a:pt x="1" y="21"/>
                    <a:pt x="1" y="22"/>
                    <a:pt x="1" y="22"/>
                  </a:cubicBezTo>
                  <a:cubicBezTo>
                    <a:pt x="1" y="22"/>
                    <a:pt x="1" y="22"/>
                    <a:pt x="1" y="22"/>
                  </a:cubicBezTo>
                  <a:cubicBezTo>
                    <a:pt x="1" y="22"/>
                    <a:pt x="1" y="22"/>
                    <a:pt x="1" y="22"/>
                  </a:cubicBezTo>
                  <a:cubicBezTo>
                    <a:pt x="5" y="22"/>
                    <a:pt x="5" y="22"/>
                    <a:pt x="5" y="22"/>
                  </a:cubicBezTo>
                  <a:cubicBezTo>
                    <a:pt x="5" y="22"/>
                    <a:pt x="5" y="22"/>
                    <a:pt x="5" y="22"/>
                  </a:cubicBezTo>
                  <a:cubicBezTo>
                    <a:pt x="6" y="23"/>
                    <a:pt x="7" y="24"/>
                    <a:pt x="8" y="25"/>
                  </a:cubicBezTo>
                  <a:cubicBezTo>
                    <a:pt x="10" y="26"/>
                    <a:pt x="10" y="26"/>
                    <a:pt x="10" y="26"/>
                  </a:cubicBezTo>
                  <a:cubicBezTo>
                    <a:pt x="10" y="27"/>
                    <a:pt x="10" y="27"/>
                    <a:pt x="10" y="27"/>
                  </a:cubicBezTo>
                  <a:cubicBezTo>
                    <a:pt x="10" y="28"/>
                    <a:pt x="10" y="29"/>
                    <a:pt x="10" y="29"/>
                  </a:cubicBezTo>
                  <a:cubicBezTo>
                    <a:pt x="12" y="29"/>
                    <a:pt x="12" y="29"/>
                    <a:pt x="12" y="29"/>
                  </a:cubicBezTo>
                  <a:cubicBezTo>
                    <a:pt x="13" y="30"/>
                    <a:pt x="13" y="30"/>
                    <a:pt x="13" y="30"/>
                  </a:cubicBezTo>
                  <a:cubicBezTo>
                    <a:pt x="14" y="31"/>
                    <a:pt x="15" y="33"/>
                    <a:pt x="14" y="34"/>
                  </a:cubicBezTo>
                  <a:cubicBezTo>
                    <a:pt x="14" y="34"/>
                    <a:pt x="15" y="34"/>
                    <a:pt x="15" y="35"/>
                  </a:cubicBezTo>
                  <a:cubicBezTo>
                    <a:pt x="15" y="35"/>
                    <a:pt x="15" y="36"/>
                    <a:pt x="15" y="36"/>
                  </a:cubicBezTo>
                  <a:cubicBezTo>
                    <a:pt x="15" y="37"/>
                    <a:pt x="15" y="37"/>
                    <a:pt x="15" y="37"/>
                  </a:cubicBezTo>
                  <a:cubicBezTo>
                    <a:pt x="16" y="37"/>
                    <a:pt x="16" y="38"/>
                    <a:pt x="17" y="38"/>
                  </a:cubicBezTo>
                  <a:cubicBezTo>
                    <a:pt x="18" y="39"/>
                    <a:pt x="18" y="39"/>
                    <a:pt x="18" y="39"/>
                  </a:cubicBezTo>
                  <a:cubicBezTo>
                    <a:pt x="17" y="42"/>
                    <a:pt x="17" y="42"/>
                    <a:pt x="17" y="42"/>
                  </a:cubicBezTo>
                  <a:cubicBezTo>
                    <a:pt x="18" y="43"/>
                    <a:pt x="18" y="43"/>
                    <a:pt x="18" y="43"/>
                  </a:cubicBezTo>
                  <a:cubicBezTo>
                    <a:pt x="21" y="46"/>
                    <a:pt x="21" y="46"/>
                    <a:pt x="21" y="46"/>
                  </a:cubicBezTo>
                  <a:cubicBezTo>
                    <a:pt x="23" y="49"/>
                    <a:pt x="23" y="49"/>
                    <a:pt x="23" y="49"/>
                  </a:cubicBezTo>
                  <a:cubicBezTo>
                    <a:pt x="24" y="49"/>
                    <a:pt x="24" y="49"/>
                    <a:pt x="24" y="49"/>
                  </a:cubicBezTo>
                  <a:cubicBezTo>
                    <a:pt x="25" y="51"/>
                    <a:pt x="25" y="51"/>
                    <a:pt x="25" y="51"/>
                  </a:cubicBezTo>
                  <a:cubicBezTo>
                    <a:pt x="27" y="52"/>
                    <a:pt x="27" y="52"/>
                    <a:pt x="27" y="52"/>
                  </a:cubicBezTo>
                  <a:cubicBezTo>
                    <a:pt x="29" y="55"/>
                    <a:pt x="29" y="55"/>
                    <a:pt x="29" y="55"/>
                  </a:cubicBezTo>
                  <a:cubicBezTo>
                    <a:pt x="31" y="56"/>
                    <a:pt x="31" y="56"/>
                    <a:pt x="31" y="56"/>
                  </a:cubicBezTo>
                  <a:cubicBezTo>
                    <a:pt x="31" y="58"/>
                    <a:pt x="31" y="58"/>
                    <a:pt x="31" y="58"/>
                  </a:cubicBezTo>
                  <a:cubicBezTo>
                    <a:pt x="34" y="58"/>
                    <a:pt x="34" y="58"/>
                    <a:pt x="34" y="58"/>
                  </a:cubicBezTo>
                  <a:cubicBezTo>
                    <a:pt x="34" y="60"/>
                    <a:pt x="34" y="60"/>
                    <a:pt x="34" y="60"/>
                  </a:cubicBezTo>
                  <a:cubicBezTo>
                    <a:pt x="35" y="60"/>
                    <a:pt x="35" y="60"/>
                    <a:pt x="35" y="60"/>
                  </a:cubicBezTo>
                  <a:cubicBezTo>
                    <a:pt x="37" y="62"/>
                    <a:pt x="37" y="62"/>
                    <a:pt x="37" y="62"/>
                  </a:cubicBezTo>
                  <a:cubicBezTo>
                    <a:pt x="41" y="63"/>
                    <a:pt x="41" y="63"/>
                    <a:pt x="41" y="63"/>
                  </a:cubicBezTo>
                  <a:cubicBezTo>
                    <a:pt x="42" y="64"/>
                    <a:pt x="42" y="64"/>
                    <a:pt x="42" y="64"/>
                  </a:cubicBezTo>
                  <a:cubicBezTo>
                    <a:pt x="44" y="67"/>
                    <a:pt x="44" y="67"/>
                    <a:pt x="44" y="67"/>
                  </a:cubicBezTo>
                  <a:cubicBezTo>
                    <a:pt x="45" y="67"/>
                    <a:pt x="45" y="67"/>
                    <a:pt x="45" y="67"/>
                  </a:cubicBezTo>
                  <a:cubicBezTo>
                    <a:pt x="47" y="69"/>
                    <a:pt x="47" y="69"/>
                    <a:pt x="47" y="69"/>
                  </a:cubicBezTo>
                  <a:cubicBezTo>
                    <a:pt x="47" y="69"/>
                    <a:pt x="47" y="70"/>
                    <a:pt x="48" y="70"/>
                  </a:cubicBezTo>
                  <a:cubicBezTo>
                    <a:pt x="48" y="71"/>
                    <a:pt x="50" y="71"/>
                    <a:pt x="52" y="72"/>
                  </a:cubicBezTo>
                  <a:cubicBezTo>
                    <a:pt x="53" y="72"/>
                    <a:pt x="53" y="72"/>
                    <a:pt x="53" y="72"/>
                  </a:cubicBezTo>
                  <a:cubicBezTo>
                    <a:pt x="53" y="73"/>
                    <a:pt x="53" y="73"/>
                    <a:pt x="53" y="73"/>
                  </a:cubicBezTo>
                  <a:cubicBezTo>
                    <a:pt x="54" y="76"/>
                    <a:pt x="54" y="76"/>
                    <a:pt x="54" y="76"/>
                  </a:cubicBezTo>
                  <a:cubicBezTo>
                    <a:pt x="55" y="78"/>
                    <a:pt x="55" y="78"/>
                    <a:pt x="55" y="78"/>
                  </a:cubicBezTo>
                  <a:cubicBezTo>
                    <a:pt x="55" y="78"/>
                    <a:pt x="55" y="78"/>
                    <a:pt x="55" y="78"/>
                  </a:cubicBezTo>
                  <a:cubicBezTo>
                    <a:pt x="63" y="84"/>
                    <a:pt x="63" y="84"/>
                    <a:pt x="63" y="84"/>
                  </a:cubicBezTo>
                  <a:cubicBezTo>
                    <a:pt x="64" y="86"/>
                    <a:pt x="64" y="86"/>
                    <a:pt x="64" y="86"/>
                  </a:cubicBezTo>
                  <a:cubicBezTo>
                    <a:pt x="68" y="87"/>
                    <a:pt x="68" y="87"/>
                    <a:pt x="68" y="87"/>
                  </a:cubicBezTo>
                  <a:cubicBezTo>
                    <a:pt x="67" y="89"/>
                    <a:pt x="67" y="89"/>
                    <a:pt x="67" y="89"/>
                  </a:cubicBezTo>
                  <a:cubicBezTo>
                    <a:pt x="67" y="89"/>
                    <a:pt x="67" y="89"/>
                    <a:pt x="67" y="90"/>
                  </a:cubicBezTo>
                  <a:cubicBezTo>
                    <a:pt x="67" y="90"/>
                    <a:pt x="67" y="90"/>
                    <a:pt x="67" y="90"/>
                  </a:cubicBezTo>
                  <a:cubicBezTo>
                    <a:pt x="68" y="90"/>
                    <a:pt x="68" y="90"/>
                    <a:pt x="68" y="90"/>
                  </a:cubicBezTo>
                  <a:cubicBezTo>
                    <a:pt x="71" y="90"/>
                    <a:pt x="71" y="90"/>
                    <a:pt x="71" y="90"/>
                  </a:cubicBezTo>
                  <a:cubicBezTo>
                    <a:pt x="71" y="92"/>
                    <a:pt x="71" y="92"/>
                    <a:pt x="71" y="92"/>
                  </a:cubicBezTo>
                  <a:cubicBezTo>
                    <a:pt x="71" y="92"/>
                    <a:pt x="71" y="93"/>
                    <a:pt x="71" y="94"/>
                  </a:cubicBezTo>
                  <a:cubicBezTo>
                    <a:pt x="73" y="94"/>
                    <a:pt x="73" y="94"/>
                    <a:pt x="73" y="94"/>
                  </a:cubicBezTo>
                  <a:cubicBezTo>
                    <a:pt x="78" y="97"/>
                    <a:pt x="78" y="97"/>
                    <a:pt x="78" y="97"/>
                  </a:cubicBezTo>
                  <a:cubicBezTo>
                    <a:pt x="79" y="99"/>
                    <a:pt x="79" y="99"/>
                    <a:pt x="79" y="99"/>
                  </a:cubicBezTo>
                  <a:cubicBezTo>
                    <a:pt x="80" y="100"/>
                    <a:pt x="80" y="100"/>
                    <a:pt x="80" y="100"/>
                  </a:cubicBezTo>
                  <a:cubicBezTo>
                    <a:pt x="84" y="102"/>
                    <a:pt x="84" y="102"/>
                    <a:pt x="84" y="102"/>
                  </a:cubicBezTo>
                  <a:cubicBezTo>
                    <a:pt x="89" y="104"/>
                    <a:pt x="89" y="104"/>
                    <a:pt x="89" y="104"/>
                  </a:cubicBezTo>
                  <a:cubicBezTo>
                    <a:pt x="90" y="105"/>
                    <a:pt x="92" y="106"/>
                    <a:pt x="92" y="106"/>
                  </a:cubicBezTo>
                  <a:cubicBezTo>
                    <a:pt x="93" y="106"/>
                    <a:pt x="93" y="107"/>
                    <a:pt x="94" y="108"/>
                  </a:cubicBezTo>
                  <a:cubicBezTo>
                    <a:pt x="94" y="108"/>
                    <a:pt x="94" y="108"/>
                    <a:pt x="94" y="108"/>
                  </a:cubicBezTo>
                  <a:cubicBezTo>
                    <a:pt x="97" y="108"/>
                    <a:pt x="97" y="108"/>
                    <a:pt x="97" y="108"/>
                  </a:cubicBezTo>
                  <a:cubicBezTo>
                    <a:pt x="97" y="109"/>
                    <a:pt x="97" y="109"/>
                    <a:pt x="97" y="109"/>
                  </a:cubicBezTo>
                  <a:cubicBezTo>
                    <a:pt x="98" y="107"/>
                    <a:pt x="98" y="107"/>
                    <a:pt x="98" y="107"/>
                  </a:cubicBezTo>
                  <a:cubicBezTo>
                    <a:pt x="99" y="108"/>
                    <a:pt x="99" y="108"/>
                    <a:pt x="99" y="108"/>
                  </a:cubicBezTo>
                  <a:cubicBezTo>
                    <a:pt x="99" y="106"/>
                    <a:pt x="99" y="106"/>
                    <a:pt x="99" y="106"/>
                  </a:cubicBezTo>
                  <a:cubicBezTo>
                    <a:pt x="100" y="105"/>
                    <a:pt x="100" y="105"/>
                    <a:pt x="100" y="105"/>
                  </a:cubicBezTo>
                  <a:cubicBezTo>
                    <a:pt x="100" y="103"/>
                    <a:pt x="100" y="103"/>
                    <a:pt x="100" y="103"/>
                  </a:cubicBezTo>
                  <a:cubicBezTo>
                    <a:pt x="100" y="102"/>
                    <a:pt x="100" y="102"/>
                    <a:pt x="100" y="102"/>
                  </a:cubicBezTo>
                  <a:cubicBezTo>
                    <a:pt x="100" y="101"/>
                    <a:pt x="100" y="101"/>
                    <a:pt x="100" y="101"/>
                  </a:cubicBezTo>
                  <a:cubicBezTo>
                    <a:pt x="99" y="101"/>
                    <a:pt x="99" y="101"/>
                    <a:pt x="99" y="101"/>
                  </a:cubicBezTo>
                  <a:cubicBezTo>
                    <a:pt x="98" y="101"/>
                    <a:pt x="98" y="101"/>
                    <a:pt x="98" y="101"/>
                  </a:cubicBezTo>
                  <a:cubicBezTo>
                    <a:pt x="96" y="97"/>
                    <a:pt x="96" y="97"/>
                    <a:pt x="96" y="97"/>
                  </a:cubicBezTo>
                  <a:cubicBezTo>
                    <a:pt x="96" y="96"/>
                    <a:pt x="96" y="96"/>
                    <a:pt x="96" y="96"/>
                  </a:cubicBezTo>
                  <a:cubicBezTo>
                    <a:pt x="97" y="95"/>
                    <a:pt x="97" y="95"/>
                    <a:pt x="97" y="95"/>
                  </a:cubicBezTo>
                  <a:cubicBezTo>
                    <a:pt x="95" y="93"/>
                    <a:pt x="95" y="93"/>
                    <a:pt x="95" y="93"/>
                  </a:cubicBezTo>
                  <a:cubicBezTo>
                    <a:pt x="94" y="92"/>
                    <a:pt x="94" y="92"/>
                    <a:pt x="94" y="92"/>
                  </a:cubicBezTo>
                  <a:cubicBezTo>
                    <a:pt x="94" y="89"/>
                    <a:pt x="94" y="89"/>
                    <a:pt x="94" y="89"/>
                  </a:cubicBezTo>
                  <a:cubicBezTo>
                    <a:pt x="97" y="88"/>
                    <a:pt x="97" y="88"/>
                    <a:pt x="97" y="88"/>
                  </a:cubicBezTo>
                  <a:cubicBezTo>
                    <a:pt x="101" y="88"/>
                    <a:pt x="101" y="88"/>
                    <a:pt x="101" y="88"/>
                  </a:cubicBezTo>
                  <a:cubicBezTo>
                    <a:pt x="100" y="85"/>
                    <a:pt x="100" y="85"/>
                    <a:pt x="100" y="85"/>
                  </a:cubicBezTo>
                  <a:cubicBezTo>
                    <a:pt x="99" y="84"/>
                    <a:pt x="99" y="84"/>
                    <a:pt x="99" y="84"/>
                  </a:cubicBezTo>
                  <a:cubicBezTo>
                    <a:pt x="100" y="81"/>
                    <a:pt x="100" y="81"/>
                    <a:pt x="100" y="81"/>
                  </a:cubicBezTo>
                  <a:cubicBezTo>
                    <a:pt x="101" y="79"/>
                    <a:pt x="101" y="79"/>
                    <a:pt x="101" y="79"/>
                  </a:cubicBezTo>
                  <a:cubicBezTo>
                    <a:pt x="100" y="78"/>
                    <a:pt x="100" y="78"/>
                    <a:pt x="100" y="78"/>
                  </a:cubicBezTo>
                  <a:cubicBezTo>
                    <a:pt x="104" y="74"/>
                    <a:pt x="104" y="74"/>
                    <a:pt x="104" y="74"/>
                  </a:cubicBezTo>
                  <a:cubicBezTo>
                    <a:pt x="104" y="73"/>
                    <a:pt x="104" y="73"/>
                    <a:pt x="104" y="73"/>
                  </a:cubicBezTo>
                  <a:cubicBezTo>
                    <a:pt x="106" y="72"/>
                    <a:pt x="106" y="72"/>
                    <a:pt x="106" y="72"/>
                  </a:cubicBezTo>
                  <a:cubicBezTo>
                    <a:pt x="107" y="73"/>
                    <a:pt x="107" y="73"/>
                    <a:pt x="107" y="73"/>
                  </a:cubicBezTo>
                  <a:cubicBezTo>
                    <a:pt x="108" y="74"/>
                    <a:pt x="108" y="74"/>
                    <a:pt x="108" y="74"/>
                  </a:cubicBezTo>
                  <a:cubicBezTo>
                    <a:pt x="109" y="75"/>
                    <a:pt x="109" y="75"/>
                    <a:pt x="109" y="75"/>
                  </a:cubicBezTo>
                  <a:cubicBezTo>
                    <a:pt x="110" y="76"/>
                    <a:pt x="110" y="76"/>
                    <a:pt x="110" y="76"/>
                  </a:cubicBezTo>
                  <a:cubicBezTo>
                    <a:pt x="111" y="74"/>
                    <a:pt x="111" y="74"/>
                    <a:pt x="111" y="74"/>
                  </a:cubicBezTo>
                  <a:cubicBezTo>
                    <a:pt x="112" y="73"/>
                    <a:pt x="112" y="73"/>
                    <a:pt x="112" y="73"/>
                  </a:cubicBezTo>
                  <a:cubicBezTo>
                    <a:pt x="111" y="72"/>
                    <a:pt x="111" y="72"/>
                    <a:pt x="111" y="72"/>
                  </a:cubicBezTo>
                  <a:cubicBezTo>
                    <a:pt x="110" y="71"/>
                    <a:pt x="110" y="71"/>
                    <a:pt x="110" y="71"/>
                  </a:cubicBezTo>
                  <a:cubicBezTo>
                    <a:pt x="110" y="70"/>
                    <a:pt x="110" y="70"/>
                    <a:pt x="110" y="70"/>
                  </a:cubicBezTo>
                  <a:cubicBezTo>
                    <a:pt x="109" y="69"/>
                    <a:pt x="109" y="69"/>
                    <a:pt x="109" y="69"/>
                  </a:cubicBezTo>
                  <a:cubicBezTo>
                    <a:pt x="109" y="69"/>
                    <a:pt x="108" y="68"/>
                    <a:pt x="108" y="68"/>
                  </a:cubicBezTo>
                  <a:cubicBezTo>
                    <a:pt x="108" y="68"/>
                    <a:pt x="107" y="68"/>
                    <a:pt x="107" y="68"/>
                  </a:cubicBezTo>
                  <a:cubicBezTo>
                    <a:pt x="107" y="67"/>
                    <a:pt x="107" y="67"/>
                    <a:pt x="107" y="67"/>
                  </a:cubicBezTo>
                  <a:cubicBezTo>
                    <a:pt x="107" y="67"/>
                    <a:pt x="106" y="67"/>
                    <a:pt x="106" y="67"/>
                  </a:cubicBezTo>
                  <a:cubicBezTo>
                    <a:pt x="106" y="67"/>
                    <a:pt x="106" y="66"/>
                    <a:pt x="106" y="66"/>
                  </a:cubicBezTo>
                  <a:cubicBezTo>
                    <a:pt x="107" y="65"/>
                    <a:pt x="107" y="65"/>
                    <a:pt x="107" y="65"/>
                  </a:cubicBezTo>
                  <a:cubicBezTo>
                    <a:pt x="108" y="64"/>
                    <a:pt x="108" y="64"/>
                    <a:pt x="108" y="64"/>
                  </a:cubicBezTo>
                  <a:cubicBezTo>
                    <a:pt x="109" y="64"/>
                    <a:pt x="109" y="64"/>
                    <a:pt x="109" y="64"/>
                  </a:cubicBezTo>
                  <a:cubicBezTo>
                    <a:pt x="110" y="65"/>
                    <a:pt x="110" y="65"/>
                    <a:pt x="110" y="65"/>
                  </a:cubicBezTo>
                  <a:cubicBezTo>
                    <a:pt x="110" y="65"/>
                    <a:pt x="110" y="65"/>
                    <a:pt x="110" y="65"/>
                  </a:cubicBezTo>
                  <a:cubicBezTo>
                    <a:pt x="110" y="65"/>
                    <a:pt x="111" y="64"/>
                    <a:pt x="111" y="64"/>
                  </a:cubicBezTo>
                  <a:cubicBezTo>
                    <a:pt x="111" y="64"/>
                    <a:pt x="113" y="63"/>
                    <a:pt x="113" y="63"/>
                  </a:cubicBezTo>
                  <a:cubicBezTo>
                    <a:pt x="114" y="63"/>
                    <a:pt x="114" y="63"/>
                    <a:pt x="114" y="63"/>
                  </a:cubicBezTo>
                  <a:cubicBezTo>
                    <a:pt x="115" y="63"/>
                    <a:pt x="116" y="62"/>
                    <a:pt x="116" y="62"/>
                  </a:cubicBezTo>
                  <a:cubicBezTo>
                    <a:pt x="118" y="60"/>
                    <a:pt x="118" y="60"/>
                    <a:pt x="118" y="60"/>
                  </a:cubicBezTo>
                  <a:cubicBezTo>
                    <a:pt x="118" y="60"/>
                    <a:pt x="118" y="60"/>
                    <a:pt x="119" y="60"/>
                  </a:cubicBezTo>
                  <a:cubicBezTo>
                    <a:pt x="120" y="61"/>
                    <a:pt x="121" y="61"/>
                    <a:pt x="122" y="61"/>
                  </a:cubicBezTo>
                  <a:cubicBezTo>
                    <a:pt x="123" y="61"/>
                    <a:pt x="123" y="62"/>
                    <a:pt x="123" y="60"/>
                  </a:cubicBezTo>
                  <a:cubicBezTo>
                    <a:pt x="124" y="57"/>
                    <a:pt x="123" y="56"/>
                    <a:pt x="123" y="56"/>
                  </a:cubicBezTo>
                  <a:cubicBezTo>
                    <a:pt x="120" y="53"/>
                    <a:pt x="120" y="53"/>
                    <a:pt x="120" y="53"/>
                  </a:cubicBezTo>
                  <a:cubicBezTo>
                    <a:pt x="120" y="53"/>
                    <a:pt x="120" y="52"/>
                    <a:pt x="119" y="51"/>
                  </a:cubicBezTo>
                  <a:cubicBezTo>
                    <a:pt x="118" y="50"/>
                    <a:pt x="117" y="49"/>
                    <a:pt x="117" y="49"/>
                  </a:cubicBezTo>
                  <a:cubicBezTo>
                    <a:pt x="117" y="49"/>
                    <a:pt x="114" y="47"/>
                    <a:pt x="114" y="47"/>
                  </a:cubicBezTo>
                  <a:cubicBezTo>
                    <a:pt x="114" y="47"/>
                    <a:pt x="113" y="46"/>
                    <a:pt x="113" y="46"/>
                  </a:cubicBezTo>
                  <a:cubicBezTo>
                    <a:pt x="113" y="45"/>
                    <a:pt x="113" y="44"/>
                    <a:pt x="113" y="44"/>
                  </a:cubicBezTo>
                  <a:cubicBezTo>
                    <a:pt x="114" y="44"/>
                    <a:pt x="114" y="43"/>
                    <a:pt x="114" y="44"/>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8" name="Freeform 152"/>
            <p:cNvSpPr>
              <a:spLocks/>
            </p:cNvSpPr>
            <p:nvPr/>
          </p:nvSpPr>
          <p:spPr bwMode="auto">
            <a:xfrm>
              <a:off x="6246579" y="4977862"/>
              <a:ext cx="177630" cy="187901"/>
            </a:xfrm>
            <a:custGeom>
              <a:avLst/>
              <a:gdLst>
                <a:gd name="T0" fmla="*/ 52 w 61"/>
                <a:gd name="T1" fmla="*/ 16 h 69"/>
                <a:gd name="T2" fmla="*/ 44 w 61"/>
                <a:gd name="T3" fmla="*/ 13 h 69"/>
                <a:gd name="T4" fmla="*/ 42 w 61"/>
                <a:gd name="T5" fmla="*/ 12 h 69"/>
                <a:gd name="T6" fmla="*/ 36 w 61"/>
                <a:gd name="T7" fmla="*/ 10 h 69"/>
                <a:gd name="T8" fmla="*/ 32 w 61"/>
                <a:gd name="T9" fmla="*/ 10 h 69"/>
                <a:gd name="T10" fmla="*/ 29 w 61"/>
                <a:gd name="T11" fmla="*/ 8 h 69"/>
                <a:gd name="T12" fmla="*/ 25 w 61"/>
                <a:gd name="T13" fmla="*/ 5 h 69"/>
                <a:gd name="T14" fmla="*/ 22 w 61"/>
                <a:gd name="T15" fmla="*/ 3 h 69"/>
                <a:gd name="T16" fmla="*/ 17 w 61"/>
                <a:gd name="T17" fmla="*/ 0 h 69"/>
                <a:gd name="T18" fmla="*/ 17 w 61"/>
                <a:gd name="T19" fmla="*/ 0 h 69"/>
                <a:gd name="T20" fmla="*/ 15 w 61"/>
                <a:gd name="T21" fmla="*/ 1 h 69"/>
                <a:gd name="T22" fmla="*/ 15 w 61"/>
                <a:gd name="T23" fmla="*/ 4 h 69"/>
                <a:gd name="T24" fmla="*/ 14 w 61"/>
                <a:gd name="T25" fmla="*/ 12 h 69"/>
                <a:gd name="T26" fmla="*/ 6 w 61"/>
                <a:gd name="T27" fmla="*/ 12 h 69"/>
                <a:gd name="T28" fmla="*/ 5 w 61"/>
                <a:gd name="T29" fmla="*/ 17 h 69"/>
                <a:gd name="T30" fmla="*/ 0 w 61"/>
                <a:gd name="T31" fmla="*/ 25 h 69"/>
                <a:gd name="T32" fmla="*/ 1 w 61"/>
                <a:gd name="T33" fmla="*/ 31 h 69"/>
                <a:gd name="T34" fmla="*/ 5 w 61"/>
                <a:gd name="T35" fmla="*/ 36 h 69"/>
                <a:gd name="T36" fmla="*/ 4 w 61"/>
                <a:gd name="T37" fmla="*/ 41 h 69"/>
                <a:gd name="T38" fmla="*/ 2 w 61"/>
                <a:gd name="T39" fmla="*/ 44 h 69"/>
                <a:gd name="T40" fmla="*/ 0 w 61"/>
                <a:gd name="T41" fmla="*/ 45 h 69"/>
                <a:gd name="T42" fmla="*/ 7 w 61"/>
                <a:gd name="T43" fmla="*/ 47 h 69"/>
                <a:gd name="T44" fmla="*/ 7 w 61"/>
                <a:gd name="T45" fmla="*/ 44 h 69"/>
                <a:gd name="T46" fmla="*/ 11 w 61"/>
                <a:gd name="T47" fmla="*/ 44 h 69"/>
                <a:gd name="T48" fmla="*/ 9 w 61"/>
                <a:gd name="T49" fmla="*/ 46 h 69"/>
                <a:gd name="T50" fmla="*/ 8 w 61"/>
                <a:gd name="T51" fmla="*/ 49 h 69"/>
                <a:gd name="T52" fmla="*/ 4 w 61"/>
                <a:gd name="T53" fmla="*/ 48 h 69"/>
                <a:gd name="T54" fmla="*/ 7 w 61"/>
                <a:gd name="T55" fmla="*/ 49 h 69"/>
                <a:gd name="T56" fmla="*/ 10 w 61"/>
                <a:gd name="T57" fmla="*/ 51 h 69"/>
                <a:gd name="T58" fmla="*/ 15 w 61"/>
                <a:gd name="T59" fmla="*/ 52 h 69"/>
                <a:gd name="T60" fmla="*/ 20 w 61"/>
                <a:gd name="T61" fmla="*/ 57 h 69"/>
                <a:gd name="T62" fmla="*/ 23 w 61"/>
                <a:gd name="T63" fmla="*/ 59 h 69"/>
                <a:gd name="T64" fmla="*/ 25 w 61"/>
                <a:gd name="T65" fmla="*/ 61 h 69"/>
                <a:gd name="T66" fmla="*/ 26 w 61"/>
                <a:gd name="T67" fmla="*/ 64 h 69"/>
                <a:gd name="T68" fmla="*/ 29 w 61"/>
                <a:gd name="T69" fmla="*/ 66 h 69"/>
                <a:gd name="T70" fmla="*/ 31 w 61"/>
                <a:gd name="T71" fmla="*/ 67 h 69"/>
                <a:gd name="T72" fmla="*/ 34 w 61"/>
                <a:gd name="T73" fmla="*/ 68 h 69"/>
                <a:gd name="T74" fmla="*/ 32 w 61"/>
                <a:gd name="T75" fmla="*/ 65 h 69"/>
                <a:gd name="T76" fmla="*/ 33 w 61"/>
                <a:gd name="T77" fmla="*/ 62 h 69"/>
                <a:gd name="T78" fmla="*/ 33 w 61"/>
                <a:gd name="T79" fmla="*/ 58 h 69"/>
                <a:gd name="T80" fmla="*/ 30 w 61"/>
                <a:gd name="T81" fmla="*/ 55 h 69"/>
                <a:gd name="T82" fmla="*/ 31 w 61"/>
                <a:gd name="T83" fmla="*/ 51 h 69"/>
                <a:gd name="T84" fmla="*/ 32 w 61"/>
                <a:gd name="T85" fmla="*/ 47 h 69"/>
                <a:gd name="T86" fmla="*/ 33 w 61"/>
                <a:gd name="T87" fmla="*/ 44 h 69"/>
                <a:gd name="T88" fmla="*/ 36 w 61"/>
                <a:gd name="T89" fmla="*/ 40 h 69"/>
                <a:gd name="T90" fmla="*/ 37 w 61"/>
                <a:gd name="T91" fmla="*/ 36 h 69"/>
                <a:gd name="T92" fmla="*/ 42 w 61"/>
                <a:gd name="T93" fmla="*/ 33 h 69"/>
                <a:gd name="T94" fmla="*/ 43 w 61"/>
                <a:gd name="T95" fmla="*/ 36 h 69"/>
                <a:gd name="T96" fmla="*/ 44 w 61"/>
                <a:gd name="T97" fmla="*/ 39 h 69"/>
                <a:gd name="T98" fmla="*/ 47 w 61"/>
                <a:gd name="T99" fmla="*/ 40 h 69"/>
                <a:gd name="T100" fmla="*/ 52 w 61"/>
                <a:gd name="T101" fmla="*/ 36 h 69"/>
                <a:gd name="T102" fmla="*/ 52 w 61"/>
                <a:gd name="T103" fmla="*/ 31 h 69"/>
                <a:gd name="T104" fmla="*/ 51 w 61"/>
                <a:gd name="T105" fmla="*/ 30 h 69"/>
                <a:gd name="T106" fmla="*/ 55 w 61"/>
                <a:gd name="T107" fmla="*/ 24 h 69"/>
                <a:gd name="T108" fmla="*/ 61 w 61"/>
                <a:gd name="T109" fmla="*/ 2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 h="69">
                  <a:moveTo>
                    <a:pt x="56" y="18"/>
                  </a:moveTo>
                  <a:cubicBezTo>
                    <a:pt x="56" y="18"/>
                    <a:pt x="56" y="18"/>
                    <a:pt x="55" y="17"/>
                  </a:cubicBezTo>
                  <a:cubicBezTo>
                    <a:pt x="54" y="17"/>
                    <a:pt x="52" y="16"/>
                    <a:pt x="52" y="16"/>
                  </a:cubicBezTo>
                  <a:cubicBezTo>
                    <a:pt x="50" y="16"/>
                    <a:pt x="50" y="16"/>
                    <a:pt x="50" y="16"/>
                  </a:cubicBezTo>
                  <a:cubicBezTo>
                    <a:pt x="50" y="16"/>
                    <a:pt x="47" y="14"/>
                    <a:pt x="47" y="14"/>
                  </a:cubicBezTo>
                  <a:cubicBezTo>
                    <a:pt x="47" y="14"/>
                    <a:pt x="44" y="13"/>
                    <a:pt x="44" y="13"/>
                  </a:cubicBezTo>
                  <a:cubicBezTo>
                    <a:pt x="44" y="11"/>
                    <a:pt x="44" y="11"/>
                    <a:pt x="44" y="11"/>
                  </a:cubicBezTo>
                  <a:cubicBezTo>
                    <a:pt x="44" y="11"/>
                    <a:pt x="43" y="11"/>
                    <a:pt x="43" y="11"/>
                  </a:cubicBezTo>
                  <a:cubicBezTo>
                    <a:pt x="43" y="11"/>
                    <a:pt x="42" y="12"/>
                    <a:pt x="42" y="12"/>
                  </a:cubicBezTo>
                  <a:cubicBezTo>
                    <a:pt x="39" y="13"/>
                    <a:pt x="39" y="13"/>
                    <a:pt x="39" y="13"/>
                  </a:cubicBezTo>
                  <a:cubicBezTo>
                    <a:pt x="39" y="13"/>
                    <a:pt x="38" y="13"/>
                    <a:pt x="38" y="12"/>
                  </a:cubicBezTo>
                  <a:cubicBezTo>
                    <a:pt x="37" y="12"/>
                    <a:pt x="36" y="10"/>
                    <a:pt x="36" y="10"/>
                  </a:cubicBezTo>
                  <a:cubicBezTo>
                    <a:pt x="36" y="10"/>
                    <a:pt x="36" y="10"/>
                    <a:pt x="35" y="10"/>
                  </a:cubicBezTo>
                  <a:cubicBezTo>
                    <a:pt x="35" y="11"/>
                    <a:pt x="36" y="11"/>
                    <a:pt x="34" y="11"/>
                  </a:cubicBezTo>
                  <a:cubicBezTo>
                    <a:pt x="32" y="10"/>
                    <a:pt x="32" y="10"/>
                    <a:pt x="32" y="10"/>
                  </a:cubicBezTo>
                  <a:cubicBezTo>
                    <a:pt x="30" y="9"/>
                    <a:pt x="30" y="9"/>
                    <a:pt x="30" y="9"/>
                  </a:cubicBezTo>
                  <a:cubicBezTo>
                    <a:pt x="30" y="8"/>
                    <a:pt x="30" y="8"/>
                    <a:pt x="30" y="8"/>
                  </a:cubicBezTo>
                  <a:cubicBezTo>
                    <a:pt x="29" y="8"/>
                    <a:pt x="29" y="8"/>
                    <a:pt x="29" y="8"/>
                  </a:cubicBezTo>
                  <a:cubicBezTo>
                    <a:pt x="29" y="8"/>
                    <a:pt x="28" y="7"/>
                    <a:pt x="28" y="7"/>
                  </a:cubicBezTo>
                  <a:cubicBezTo>
                    <a:pt x="28" y="7"/>
                    <a:pt x="28" y="5"/>
                    <a:pt x="28" y="5"/>
                  </a:cubicBezTo>
                  <a:cubicBezTo>
                    <a:pt x="28" y="5"/>
                    <a:pt x="25" y="5"/>
                    <a:pt x="25" y="5"/>
                  </a:cubicBezTo>
                  <a:cubicBezTo>
                    <a:pt x="24" y="3"/>
                    <a:pt x="24" y="3"/>
                    <a:pt x="24" y="3"/>
                  </a:cubicBezTo>
                  <a:cubicBezTo>
                    <a:pt x="24" y="3"/>
                    <a:pt x="24" y="3"/>
                    <a:pt x="24" y="3"/>
                  </a:cubicBezTo>
                  <a:cubicBezTo>
                    <a:pt x="23" y="3"/>
                    <a:pt x="22" y="3"/>
                    <a:pt x="22" y="3"/>
                  </a:cubicBezTo>
                  <a:cubicBezTo>
                    <a:pt x="21" y="1"/>
                    <a:pt x="21" y="1"/>
                    <a:pt x="21" y="1"/>
                  </a:cubicBezTo>
                  <a:cubicBezTo>
                    <a:pt x="19" y="1"/>
                    <a:pt x="19" y="1"/>
                    <a:pt x="19" y="1"/>
                  </a:cubicBezTo>
                  <a:cubicBezTo>
                    <a:pt x="17" y="0"/>
                    <a:pt x="17" y="0"/>
                    <a:pt x="17" y="0"/>
                  </a:cubicBezTo>
                  <a:cubicBezTo>
                    <a:pt x="17" y="0"/>
                    <a:pt x="17" y="0"/>
                    <a:pt x="17" y="0"/>
                  </a:cubicBezTo>
                  <a:cubicBezTo>
                    <a:pt x="17" y="0"/>
                    <a:pt x="17" y="0"/>
                    <a:pt x="17" y="0"/>
                  </a:cubicBezTo>
                  <a:cubicBezTo>
                    <a:pt x="17" y="0"/>
                    <a:pt x="17" y="0"/>
                    <a:pt x="17" y="0"/>
                  </a:cubicBezTo>
                  <a:cubicBezTo>
                    <a:pt x="16" y="0"/>
                    <a:pt x="16" y="0"/>
                    <a:pt x="16" y="0"/>
                  </a:cubicBezTo>
                  <a:cubicBezTo>
                    <a:pt x="16" y="0"/>
                    <a:pt x="16" y="0"/>
                    <a:pt x="16" y="0"/>
                  </a:cubicBezTo>
                  <a:cubicBezTo>
                    <a:pt x="16" y="0"/>
                    <a:pt x="15" y="0"/>
                    <a:pt x="15" y="1"/>
                  </a:cubicBezTo>
                  <a:cubicBezTo>
                    <a:pt x="14" y="1"/>
                    <a:pt x="14" y="1"/>
                    <a:pt x="14" y="1"/>
                  </a:cubicBezTo>
                  <a:cubicBezTo>
                    <a:pt x="15" y="3"/>
                    <a:pt x="15" y="3"/>
                    <a:pt x="15" y="3"/>
                  </a:cubicBezTo>
                  <a:cubicBezTo>
                    <a:pt x="15" y="4"/>
                    <a:pt x="15" y="4"/>
                    <a:pt x="15" y="4"/>
                  </a:cubicBezTo>
                  <a:cubicBezTo>
                    <a:pt x="16" y="4"/>
                    <a:pt x="16" y="4"/>
                    <a:pt x="16" y="4"/>
                  </a:cubicBezTo>
                  <a:cubicBezTo>
                    <a:pt x="17" y="8"/>
                    <a:pt x="17" y="8"/>
                    <a:pt x="17" y="8"/>
                  </a:cubicBezTo>
                  <a:cubicBezTo>
                    <a:pt x="14" y="12"/>
                    <a:pt x="14" y="12"/>
                    <a:pt x="14" y="12"/>
                  </a:cubicBezTo>
                  <a:cubicBezTo>
                    <a:pt x="10" y="12"/>
                    <a:pt x="10" y="12"/>
                    <a:pt x="10" y="12"/>
                  </a:cubicBezTo>
                  <a:cubicBezTo>
                    <a:pt x="9" y="10"/>
                    <a:pt x="9" y="10"/>
                    <a:pt x="9" y="10"/>
                  </a:cubicBezTo>
                  <a:cubicBezTo>
                    <a:pt x="6" y="12"/>
                    <a:pt x="6" y="12"/>
                    <a:pt x="6" y="12"/>
                  </a:cubicBezTo>
                  <a:cubicBezTo>
                    <a:pt x="7" y="13"/>
                    <a:pt x="7" y="13"/>
                    <a:pt x="7" y="13"/>
                  </a:cubicBezTo>
                  <a:cubicBezTo>
                    <a:pt x="5" y="16"/>
                    <a:pt x="5" y="16"/>
                    <a:pt x="5" y="16"/>
                  </a:cubicBezTo>
                  <a:cubicBezTo>
                    <a:pt x="5" y="17"/>
                    <a:pt x="5" y="17"/>
                    <a:pt x="5" y="17"/>
                  </a:cubicBezTo>
                  <a:cubicBezTo>
                    <a:pt x="5" y="19"/>
                    <a:pt x="5" y="19"/>
                    <a:pt x="5" y="19"/>
                  </a:cubicBezTo>
                  <a:cubicBezTo>
                    <a:pt x="6" y="23"/>
                    <a:pt x="6" y="23"/>
                    <a:pt x="6" y="23"/>
                  </a:cubicBezTo>
                  <a:cubicBezTo>
                    <a:pt x="0" y="25"/>
                    <a:pt x="0" y="25"/>
                    <a:pt x="0" y="25"/>
                  </a:cubicBezTo>
                  <a:cubicBezTo>
                    <a:pt x="0" y="25"/>
                    <a:pt x="0" y="25"/>
                    <a:pt x="0" y="25"/>
                  </a:cubicBezTo>
                  <a:cubicBezTo>
                    <a:pt x="2" y="29"/>
                    <a:pt x="2" y="29"/>
                    <a:pt x="2" y="29"/>
                  </a:cubicBezTo>
                  <a:cubicBezTo>
                    <a:pt x="1" y="31"/>
                    <a:pt x="1" y="31"/>
                    <a:pt x="1" y="31"/>
                  </a:cubicBezTo>
                  <a:cubicBezTo>
                    <a:pt x="3" y="33"/>
                    <a:pt x="3" y="33"/>
                    <a:pt x="3" y="33"/>
                  </a:cubicBezTo>
                  <a:cubicBezTo>
                    <a:pt x="5" y="33"/>
                    <a:pt x="5" y="33"/>
                    <a:pt x="5" y="33"/>
                  </a:cubicBezTo>
                  <a:cubicBezTo>
                    <a:pt x="5" y="36"/>
                    <a:pt x="5" y="36"/>
                    <a:pt x="5" y="36"/>
                  </a:cubicBezTo>
                  <a:cubicBezTo>
                    <a:pt x="6" y="37"/>
                    <a:pt x="6" y="37"/>
                    <a:pt x="6" y="37"/>
                  </a:cubicBezTo>
                  <a:cubicBezTo>
                    <a:pt x="5" y="40"/>
                    <a:pt x="5" y="40"/>
                    <a:pt x="5" y="40"/>
                  </a:cubicBezTo>
                  <a:cubicBezTo>
                    <a:pt x="4" y="41"/>
                    <a:pt x="4" y="41"/>
                    <a:pt x="4" y="41"/>
                  </a:cubicBezTo>
                  <a:cubicBezTo>
                    <a:pt x="5" y="44"/>
                    <a:pt x="5" y="44"/>
                    <a:pt x="5" y="44"/>
                  </a:cubicBezTo>
                  <a:cubicBezTo>
                    <a:pt x="2" y="44"/>
                    <a:pt x="2" y="44"/>
                    <a:pt x="2" y="44"/>
                  </a:cubicBezTo>
                  <a:cubicBezTo>
                    <a:pt x="2" y="44"/>
                    <a:pt x="2" y="44"/>
                    <a:pt x="2" y="44"/>
                  </a:cubicBezTo>
                  <a:cubicBezTo>
                    <a:pt x="1" y="45"/>
                    <a:pt x="1" y="45"/>
                    <a:pt x="1" y="45"/>
                  </a:cubicBezTo>
                  <a:cubicBezTo>
                    <a:pt x="1" y="45"/>
                    <a:pt x="1" y="45"/>
                    <a:pt x="1" y="45"/>
                  </a:cubicBezTo>
                  <a:cubicBezTo>
                    <a:pt x="0" y="45"/>
                    <a:pt x="0" y="45"/>
                    <a:pt x="0" y="45"/>
                  </a:cubicBezTo>
                  <a:cubicBezTo>
                    <a:pt x="1" y="46"/>
                    <a:pt x="1" y="46"/>
                    <a:pt x="1" y="46"/>
                  </a:cubicBezTo>
                  <a:cubicBezTo>
                    <a:pt x="5" y="47"/>
                    <a:pt x="5" y="47"/>
                    <a:pt x="5" y="47"/>
                  </a:cubicBezTo>
                  <a:cubicBezTo>
                    <a:pt x="7" y="47"/>
                    <a:pt x="7" y="47"/>
                    <a:pt x="7" y="47"/>
                  </a:cubicBezTo>
                  <a:cubicBezTo>
                    <a:pt x="7" y="46"/>
                    <a:pt x="7" y="46"/>
                    <a:pt x="7" y="46"/>
                  </a:cubicBezTo>
                  <a:cubicBezTo>
                    <a:pt x="7" y="45"/>
                    <a:pt x="7" y="45"/>
                    <a:pt x="7" y="45"/>
                  </a:cubicBezTo>
                  <a:cubicBezTo>
                    <a:pt x="7" y="45"/>
                    <a:pt x="7" y="44"/>
                    <a:pt x="7" y="44"/>
                  </a:cubicBezTo>
                  <a:cubicBezTo>
                    <a:pt x="7" y="43"/>
                    <a:pt x="8" y="43"/>
                    <a:pt x="8" y="43"/>
                  </a:cubicBezTo>
                  <a:cubicBezTo>
                    <a:pt x="8" y="44"/>
                    <a:pt x="8" y="44"/>
                    <a:pt x="8" y="44"/>
                  </a:cubicBezTo>
                  <a:cubicBezTo>
                    <a:pt x="11" y="44"/>
                    <a:pt x="11" y="44"/>
                    <a:pt x="11" y="44"/>
                  </a:cubicBezTo>
                  <a:cubicBezTo>
                    <a:pt x="10" y="46"/>
                    <a:pt x="10" y="46"/>
                    <a:pt x="10" y="46"/>
                  </a:cubicBezTo>
                  <a:cubicBezTo>
                    <a:pt x="10" y="46"/>
                    <a:pt x="10" y="46"/>
                    <a:pt x="10" y="46"/>
                  </a:cubicBezTo>
                  <a:cubicBezTo>
                    <a:pt x="9" y="46"/>
                    <a:pt x="9" y="46"/>
                    <a:pt x="9" y="46"/>
                  </a:cubicBezTo>
                  <a:cubicBezTo>
                    <a:pt x="9" y="46"/>
                    <a:pt x="9" y="46"/>
                    <a:pt x="9" y="46"/>
                  </a:cubicBezTo>
                  <a:cubicBezTo>
                    <a:pt x="9" y="47"/>
                    <a:pt x="9" y="49"/>
                    <a:pt x="9" y="49"/>
                  </a:cubicBezTo>
                  <a:cubicBezTo>
                    <a:pt x="9" y="49"/>
                    <a:pt x="9" y="49"/>
                    <a:pt x="8" y="49"/>
                  </a:cubicBezTo>
                  <a:cubicBezTo>
                    <a:pt x="8" y="48"/>
                    <a:pt x="7" y="48"/>
                    <a:pt x="7" y="48"/>
                  </a:cubicBezTo>
                  <a:cubicBezTo>
                    <a:pt x="5" y="47"/>
                    <a:pt x="5" y="47"/>
                    <a:pt x="5" y="47"/>
                  </a:cubicBezTo>
                  <a:cubicBezTo>
                    <a:pt x="4" y="48"/>
                    <a:pt x="4" y="48"/>
                    <a:pt x="4" y="48"/>
                  </a:cubicBezTo>
                  <a:cubicBezTo>
                    <a:pt x="4" y="48"/>
                    <a:pt x="4" y="49"/>
                    <a:pt x="4" y="49"/>
                  </a:cubicBezTo>
                  <a:cubicBezTo>
                    <a:pt x="5" y="49"/>
                    <a:pt x="5" y="50"/>
                    <a:pt x="6" y="50"/>
                  </a:cubicBezTo>
                  <a:cubicBezTo>
                    <a:pt x="6" y="50"/>
                    <a:pt x="7" y="49"/>
                    <a:pt x="7" y="49"/>
                  </a:cubicBezTo>
                  <a:cubicBezTo>
                    <a:pt x="7" y="49"/>
                    <a:pt x="8" y="49"/>
                    <a:pt x="8" y="50"/>
                  </a:cubicBezTo>
                  <a:cubicBezTo>
                    <a:pt x="8" y="50"/>
                    <a:pt x="9" y="50"/>
                    <a:pt x="9" y="50"/>
                  </a:cubicBezTo>
                  <a:cubicBezTo>
                    <a:pt x="10" y="51"/>
                    <a:pt x="10" y="51"/>
                    <a:pt x="10" y="51"/>
                  </a:cubicBezTo>
                  <a:cubicBezTo>
                    <a:pt x="11" y="52"/>
                    <a:pt x="11" y="52"/>
                    <a:pt x="11" y="52"/>
                  </a:cubicBezTo>
                  <a:cubicBezTo>
                    <a:pt x="14" y="52"/>
                    <a:pt x="14" y="52"/>
                    <a:pt x="14" y="52"/>
                  </a:cubicBezTo>
                  <a:cubicBezTo>
                    <a:pt x="15" y="52"/>
                    <a:pt x="15" y="52"/>
                    <a:pt x="15" y="52"/>
                  </a:cubicBezTo>
                  <a:cubicBezTo>
                    <a:pt x="17" y="55"/>
                    <a:pt x="17" y="55"/>
                    <a:pt x="17" y="55"/>
                  </a:cubicBezTo>
                  <a:cubicBezTo>
                    <a:pt x="17" y="55"/>
                    <a:pt x="19" y="56"/>
                    <a:pt x="19" y="56"/>
                  </a:cubicBezTo>
                  <a:cubicBezTo>
                    <a:pt x="19" y="56"/>
                    <a:pt x="20" y="57"/>
                    <a:pt x="20" y="57"/>
                  </a:cubicBezTo>
                  <a:cubicBezTo>
                    <a:pt x="21" y="57"/>
                    <a:pt x="21" y="57"/>
                    <a:pt x="21" y="57"/>
                  </a:cubicBezTo>
                  <a:cubicBezTo>
                    <a:pt x="22" y="58"/>
                    <a:pt x="22" y="58"/>
                    <a:pt x="22" y="58"/>
                  </a:cubicBezTo>
                  <a:cubicBezTo>
                    <a:pt x="22" y="58"/>
                    <a:pt x="23" y="58"/>
                    <a:pt x="23" y="59"/>
                  </a:cubicBezTo>
                  <a:cubicBezTo>
                    <a:pt x="23" y="59"/>
                    <a:pt x="22" y="59"/>
                    <a:pt x="22" y="59"/>
                  </a:cubicBezTo>
                  <a:cubicBezTo>
                    <a:pt x="23" y="61"/>
                    <a:pt x="23" y="61"/>
                    <a:pt x="23" y="61"/>
                  </a:cubicBezTo>
                  <a:cubicBezTo>
                    <a:pt x="25" y="61"/>
                    <a:pt x="25" y="61"/>
                    <a:pt x="25" y="61"/>
                  </a:cubicBezTo>
                  <a:cubicBezTo>
                    <a:pt x="25" y="61"/>
                    <a:pt x="25" y="61"/>
                    <a:pt x="25" y="61"/>
                  </a:cubicBezTo>
                  <a:cubicBezTo>
                    <a:pt x="25" y="62"/>
                    <a:pt x="25" y="63"/>
                    <a:pt x="25" y="63"/>
                  </a:cubicBezTo>
                  <a:cubicBezTo>
                    <a:pt x="26" y="64"/>
                    <a:pt x="26" y="64"/>
                    <a:pt x="26" y="64"/>
                  </a:cubicBezTo>
                  <a:cubicBezTo>
                    <a:pt x="26" y="64"/>
                    <a:pt x="26" y="64"/>
                    <a:pt x="27" y="65"/>
                  </a:cubicBezTo>
                  <a:cubicBezTo>
                    <a:pt x="27" y="65"/>
                    <a:pt x="26" y="65"/>
                    <a:pt x="27" y="65"/>
                  </a:cubicBezTo>
                  <a:cubicBezTo>
                    <a:pt x="27" y="66"/>
                    <a:pt x="29" y="66"/>
                    <a:pt x="29" y="66"/>
                  </a:cubicBezTo>
                  <a:cubicBezTo>
                    <a:pt x="30" y="66"/>
                    <a:pt x="30" y="66"/>
                    <a:pt x="30" y="66"/>
                  </a:cubicBezTo>
                  <a:cubicBezTo>
                    <a:pt x="31" y="67"/>
                    <a:pt x="31" y="67"/>
                    <a:pt x="31" y="67"/>
                  </a:cubicBezTo>
                  <a:cubicBezTo>
                    <a:pt x="31" y="67"/>
                    <a:pt x="31" y="67"/>
                    <a:pt x="31" y="67"/>
                  </a:cubicBezTo>
                  <a:cubicBezTo>
                    <a:pt x="31" y="67"/>
                    <a:pt x="35" y="69"/>
                    <a:pt x="35" y="69"/>
                  </a:cubicBezTo>
                  <a:cubicBezTo>
                    <a:pt x="35" y="69"/>
                    <a:pt x="35" y="68"/>
                    <a:pt x="34" y="68"/>
                  </a:cubicBezTo>
                  <a:cubicBezTo>
                    <a:pt x="34" y="68"/>
                    <a:pt x="34" y="68"/>
                    <a:pt x="34" y="68"/>
                  </a:cubicBezTo>
                  <a:cubicBezTo>
                    <a:pt x="34" y="68"/>
                    <a:pt x="33" y="68"/>
                    <a:pt x="33" y="67"/>
                  </a:cubicBezTo>
                  <a:cubicBezTo>
                    <a:pt x="33" y="67"/>
                    <a:pt x="33" y="66"/>
                    <a:pt x="33" y="66"/>
                  </a:cubicBezTo>
                  <a:cubicBezTo>
                    <a:pt x="33" y="66"/>
                    <a:pt x="32" y="65"/>
                    <a:pt x="32" y="65"/>
                  </a:cubicBezTo>
                  <a:cubicBezTo>
                    <a:pt x="33" y="64"/>
                    <a:pt x="33" y="64"/>
                    <a:pt x="33" y="64"/>
                  </a:cubicBezTo>
                  <a:cubicBezTo>
                    <a:pt x="33" y="64"/>
                    <a:pt x="33" y="63"/>
                    <a:pt x="33" y="63"/>
                  </a:cubicBezTo>
                  <a:cubicBezTo>
                    <a:pt x="33" y="62"/>
                    <a:pt x="33" y="62"/>
                    <a:pt x="33" y="62"/>
                  </a:cubicBezTo>
                  <a:cubicBezTo>
                    <a:pt x="33" y="62"/>
                    <a:pt x="32" y="60"/>
                    <a:pt x="32" y="60"/>
                  </a:cubicBezTo>
                  <a:cubicBezTo>
                    <a:pt x="33" y="59"/>
                    <a:pt x="33" y="59"/>
                    <a:pt x="33" y="59"/>
                  </a:cubicBezTo>
                  <a:cubicBezTo>
                    <a:pt x="33" y="59"/>
                    <a:pt x="33" y="58"/>
                    <a:pt x="33" y="58"/>
                  </a:cubicBezTo>
                  <a:cubicBezTo>
                    <a:pt x="33" y="58"/>
                    <a:pt x="33" y="57"/>
                    <a:pt x="33" y="57"/>
                  </a:cubicBezTo>
                  <a:cubicBezTo>
                    <a:pt x="32" y="56"/>
                    <a:pt x="32" y="56"/>
                    <a:pt x="32" y="56"/>
                  </a:cubicBezTo>
                  <a:cubicBezTo>
                    <a:pt x="30" y="55"/>
                    <a:pt x="30" y="55"/>
                    <a:pt x="30" y="55"/>
                  </a:cubicBezTo>
                  <a:cubicBezTo>
                    <a:pt x="29" y="54"/>
                    <a:pt x="29" y="54"/>
                    <a:pt x="29" y="54"/>
                  </a:cubicBezTo>
                  <a:cubicBezTo>
                    <a:pt x="29" y="53"/>
                    <a:pt x="29" y="53"/>
                    <a:pt x="29" y="53"/>
                  </a:cubicBezTo>
                  <a:cubicBezTo>
                    <a:pt x="31" y="51"/>
                    <a:pt x="31" y="51"/>
                    <a:pt x="31" y="51"/>
                  </a:cubicBezTo>
                  <a:cubicBezTo>
                    <a:pt x="31" y="49"/>
                    <a:pt x="31" y="49"/>
                    <a:pt x="31" y="49"/>
                  </a:cubicBezTo>
                  <a:cubicBezTo>
                    <a:pt x="31" y="49"/>
                    <a:pt x="32" y="49"/>
                    <a:pt x="32" y="48"/>
                  </a:cubicBezTo>
                  <a:cubicBezTo>
                    <a:pt x="32" y="48"/>
                    <a:pt x="32" y="47"/>
                    <a:pt x="32" y="47"/>
                  </a:cubicBezTo>
                  <a:cubicBezTo>
                    <a:pt x="32" y="45"/>
                    <a:pt x="32" y="45"/>
                    <a:pt x="32" y="45"/>
                  </a:cubicBezTo>
                  <a:cubicBezTo>
                    <a:pt x="33" y="45"/>
                    <a:pt x="33" y="45"/>
                    <a:pt x="33" y="45"/>
                  </a:cubicBezTo>
                  <a:cubicBezTo>
                    <a:pt x="33" y="44"/>
                    <a:pt x="33" y="44"/>
                    <a:pt x="33" y="44"/>
                  </a:cubicBezTo>
                  <a:cubicBezTo>
                    <a:pt x="33" y="44"/>
                    <a:pt x="34" y="43"/>
                    <a:pt x="34" y="43"/>
                  </a:cubicBezTo>
                  <a:cubicBezTo>
                    <a:pt x="35" y="43"/>
                    <a:pt x="35" y="42"/>
                    <a:pt x="35" y="42"/>
                  </a:cubicBezTo>
                  <a:cubicBezTo>
                    <a:pt x="36" y="40"/>
                    <a:pt x="36" y="40"/>
                    <a:pt x="36" y="40"/>
                  </a:cubicBezTo>
                  <a:cubicBezTo>
                    <a:pt x="37" y="38"/>
                    <a:pt x="37" y="38"/>
                    <a:pt x="37" y="38"/>
                  </a:cubicBezTo>
                  <a:cubicBezTo>
                    <a:pt x="38" y="37"/>
                    <a:pt x="38" y="37"/>
                    <a:pt x="38" y="37"/>
                  </a:cubicBezTo>
                  <a:cubicBezTo>
                    <a:pt x="37" y="36"/>
                    <a:pt x="37" y="36"/>
                    <a:pt x="37" y="36"/>
                  </a:cubicBezTo>
                  <a:cubicBezTo>
                    <a:pt x="37" y="36"/>
                    <a:pt x="40" y="33"/>
                    <a:pt x="40" y="33"/>
                  </a:cubicBezTo>
                  <a:cubicBezTo>
                    <a:pt x="40" y="33"/>
                    <a:pt x="41" y="33"/>
                    <a:pt x="41" y="33"/>
                  </a:cubicBezTo>
                  <a:cubicBezTo>
                    <a:pt x="42" y="33"/>
                    <a:pt x="42" y="33"/>
                    <a:pt x="42" y="33"/>
                  </a:cubicBezTo>
                  <a:cubicBezTo>
                    <a:pt x="43" y="35"/>
                    <a:pt x="43" y="35"/>
                    <a:pt x="43" y="35"/>
                  </a:cubicBezTo>
                  <a:cubicBezTo>
                    <a:pt x="43" y="35"/>
                    <a:pt x="43" y="35"/>
                    <a:pt x="43" y="35"/>
                  </a:cubicBezTo>
                  <a:cubicBezTo>
                    <a:pt x="43" y="35"/>
                    <a:pt x="43" y="36"/>
                    <a:pt x="43" y="36"/>
                  </a:cubicBezTo>
                  <a:cubicBezTo>
                    <a:pt x="43" y="37"/>
                    <a:pt x="43" y="37"/>
                    <a:pt x="43" y="37"/>
                  </a:cubicBezTo>
                  <a:cubicBezTo>
                    <a:pt x="43" y="37"/>
                    <a:pt x="43" y="38"/>
                    <a:pt x="43" y="39"/>
                  </a:cubicBezTo>
                  <a:cubicBezTo>
                    <a:pt x="44" y="39"/>
                    <a:pt x="44" y="39"/>
                    <a:pt x="44" y="39"/>
                  </a:cubicBezTo>
                  <a:cubicBezTo>
                    <a:pt x="44" y="39"/>
                    <a:pt x="44" y="40"/>
                    <a:pt x="45" y="40"/>
                  </a:cubicBezTo>
                  <a:cubicBezTo>
                    <a:pt x="45" y="40"/>
                    <a:pt x="45" y="40"/>
                    <a:pt x="45" y="40"/>
                  </a:cubicBezTo>
                  <a:cubicBezTo>
                    <a:pt x="47" y="40"/>
                    <a:pt x="47" y="40"/>
                    <a:pt x="47" y="40"/>
                  </a:cubicBezTo>
                  <a:cubicBezTo>
                    <a:pt x="48" y="38"/>
                    <a:pt x="48" y="38"/>
                    <a:pt x="48" y="38"/>
                  </a:cubicBezTo>
                  <a:cubicBezTo>
                    <a:pt x="48" y="38"/>
                    <a:pt x="50" y="38"/>
                    <a:pt x="51" y="38"/>
                  </a:cubicBezTo>
                  <a:cubicBezTo>
                    <a:pt x="51" y="37"/>
                    <a:pt x="52" y="36"/>
                    <a:pt x="52" y="36"/>
                  </a:cubicBezTo>
                  <a:cubicBezTo>
                    <a:pt x="52" y="36"/>
                    <a:pt x="52" y="36"/>
                    <a:pt x="52" y="36"/>
                  </a:cubicBezTo>
                  <a:cubicBezTo>
                    <a:pt x="53" y="36"/>
                    <a:pt x="53" y="36"/>
                    <a:pt x="53" y="36"/>
                  </a:cubicBezTo>
                  <a:cubicBezTo>
                    <a:pt x="51" y="34"/>
                    <a:pt x="53" y="33"/>
                    <a:pt x="52" y="31"/>
                  </a:cubicBezTo>
                  <a:cubicBezTo>
                    <a:pt x="52" y="31"/>
                    <a:pt x="52" y="31"/>
                    <a:pt x="51" y="30"/>
                  </a:cubicBezTo>
                  <a:cubicBezTo>
                    <a:pt x="51" y="30"/>
                    <a:pt x="51" y="30"/>
                    <a:pt x="51" y="30"/>
                  </a:cubicBezTo>
                  <a:cubicBezTo>
                    <a:pt x="51" y="30"/>
                    <a:pt x="51" y="30"/>
                    <a:pt x="51" y="30"/>
                  </a:cubicBezTo>
                  <a:cubicBezTo>
                    <a:pt x="50" y="29"/>
                    <a:pt x="48" y="28"/>
                    <a:pt x="48" y="28"/>
                  </a:cubicBezTo>
                  <a:cubicBezTo>
                    <a:pt x="49" y="26"/>
                    <a:pt x="52" y="27"/>
                    <a:pt x="54" y="26"/>
                  </a:cubicBezTo>
                  <a:cubicBezTo>
                    <a:pt x="55" y="26"/>
                    <a:pt x="55" y="25"/>
                    <a:pt x="55" y="24"/>
                  </a:cubicBezTo>
                  <a:cubicBezTo>
                    <a:pt x="56" y="24"/>
                    <a:pt x="58" y="24"/>
                    <a:pt x="58" y="23"/>
                  </a:cubicBezTo>
                  <a:cubicBezTo>
                    <a:pt x="58" y="22"/>
                    <a:pt x="59" y="21"/>
                    <a:pt x="61" y="22"/>
                  </a:cubicBezTo>
                  <a:cubicBezTo>
                    <a:pt x="61" y="22"/>
                    <a:pt x="61" y="22"/>
                    <a:pt x="61" y="22"/>
                  </a:cubicBezTo>
                  <a:cubicBezTo>
                    <a:pt x="59" y="21"/>
                    <a:pt x="57" y="19"/>
                    <a:pt x="56" y="18"/>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9" name="Freeform 153"/>
            <p:cNvSpPr>
              <a:spLocks/>
            </p:cNvSpPr>
            <p:nvPr/>
          </p:nvSpPr>
          <p:spPr bwMode="auto">
            <a:xfrm>
              <a:off x="6399659" y="4986032"/>
              <a:ext cx="151635" cy="163392"/>
            </a:xfrm>
            <a:custGeom>
              <a:avLst/>
              <a:gdLst>
                <a:gd name="T0" fmla="*/ 47 w 52"/>
                <a:gd name="T1" fmla="*/ 35 h 60"/>
                <a:gd name="T2" fmla="*/ 48 w 52"/>
                <a:gd name="T3" fmla="*/ 32 h 60"/>
                <a:gd name="T4" fmla="*/ 50 w 52"/>
                <a:gd name="T5" fmla="*/ 30 h 60"/>
                <a:gd name="T6" fmla="*/ 50 w 52"/>
                <a:gd name="T7" fmla="*/ 25 h 60"/>
                <a:gd name="T8" fmla="*/ 51 w 52"/>
                <a:gd name="T9" fmla="*/ 25 h 60"/>
                <a:gd name="T10" fmla="*/ 52 w 52"/>
                <a:gd name="T11" fmla="*/ 23 h 60"/>
                <a:gd name="T12" fmla="*/ 51 w 52"/>
                <a:gd name="T13" fmla="*/ 20 h 60"/>
                <a:gd name="T14" fmla="*/ 47 w 52"/>
                <a:gd name="T15" fmla="*/ 21 h 60"/>
                <a:gd name="T16" fmla="*/ 46 w 52"/>
                <a:gd name="T17" fmla="*/ 18 h 60"/>
                <a:gd name="T18" fmla="*/ 41 w 52"/>
                <a:gd name="T19" fmla="*/ 20 h 60"/>
                <a:gd name="T20" fmla="*/ 33 w 52"/>
                <a:gd name="T21" fmla="*/ 12 h 60"/>
                <a:gd name="T22" fmla="*/ 32 w 52"/>
                <a:gd name="T23" fmla="*/ 8 h 60"/>
                <a:gd name="T24" fmla="*/ 31 w 52"/>
                <a:gd name="T25" fmla="*/ 8 h 60"/>
                <a:gd name="T26" fmla="*/ 25 w 52"/>
                <a:gd name="T27" fmla="*/ 5 h 60"/>
                <a:gd name="T28" fmla="*/ 19 w 52"/>
                <a:gd name="T29" fmla="*/ 0 h 60"/>
                <a:gd name="T30" fmla="*/ 15 w 52"/>
                <a:gd name="T31" fmla="*/ 2 h 60"/>
                <a:gd name="T32" fmla="*/ 15 w 52"/>
                <a:gd name="T33" fmla="*/ 3 h 60"/>
                <a:gd name="T34" fmla="*/ 17 w 52"/>
                <a:gd name="T35" fmla="*/ 4 h 60"/>
                <a:gd name="T36" fmla="*/ 12 w 52"/>
                <a:gd name="T37" fmla="*/ 15 h 60"/>
                <a:gd name="T38" fmla="*/ 13 w 52"/>
                <a:gd name="T39" fmla="*/ 17 h 60"/>
                <a:gd name="T40" fmla="*/ 12 w 52"/>
                <a:gd name="T41" fmla="*/ 20 h 60"/>
                <a:gd name="T42" fmla="*/ 7 w 52"/>
                <a:gd name="T43" fmla="*/ 21 h 60"/>
                <a:gd name="T44" fmla="*/ 4 w 52"/>
                <a:gd name="T45" fmla="*/ 23 h 60"/>
                <a:gd name="T46" fmla="*/ 0 w 52"/>
                <a:gd name="T47" fmla="*/ 26 h 60"/>
                <a:gd name="T48" fmla="*/ 1 w 52"/>
                <a:gd name="T49" fmla="*/ 31 h 60"/>
                <a:gd name="T50" fmla="*/ 2 w 52"/>
                <a:gd name="T51" fmla="*/ 33 h 60"/>
                <a:gd name="T52" fmla="*/ 1 w 52"/>
                <a:gd name="T53" fmla="*/ 34 h 60"/>
                <a:gd name="T54" fmla="*/ 5 w 52"/>
                <a:gd name="T55" fmla="*/ 37 h 60"/>
                <a:gd name="T56" fmla="*/ 7 w 52"/>
                <a:gd name="T57" fmla="*/ 42 h 60"/>
                <a:gd name="T58" fmla="*/ 10 w 52"/>
                <a:gd name="T59" fmla="*/ 43 h 60"/>
                <a:gd name="T60" fmla="*/ 11 w 52"/>
                <a:gd name="T61" fmla="*/ 43 h 60"/>
                <a:gd name="T62" fmla="*/ 15 w 52"/>
                <a:gd name="T63" fmla="*/ 46 h 60"/>
                <a:gd name="T64" fmla="*/ 18 w 52"/>
                <a:gd name="T65" fmla="*/ 51 h 60"/>
                <a:gd name="T66" fmla="*/ 19 w 52"/>
                <a:gd name="T67" fmla="*/ 54 h 60"/>
                <a:gd name="T68" fmla="*/ 20 w 52"/>
                <a:gd name="T69" fmla="*/ 58 h 60"/>
                <a:gd name="T70" fmla="*/ 25 w 52"/>
                <a:gd name="T71" fmla="*/ 59 h 60"/>
                <a:gd name="T72" fmla="*/ 27 w 52"/>
                <a:gd name="T73" fmla="*/ 50 h 60"/>
                <a:gd name="T74" fmla="*/ 36 w 52"/>
                <a:gd name="T75" fmla="*/ 42 h 60"/>
                <a:gd name="T76" fmla="*/ 49 w 52"/>
                <a:gd name="T77" fmla="*/ 3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2" h="60">
                  <a:moveTo>
                    <a:pt x="48" y="36"/>
                  </a:moveTo>
                  <a:cubicBezTo>
                    <a:pt x="47" y="35"/>
                    <a:pt x="47" y="35"/>
                    <a:pt x="47" y="35"/>
                  </a:cubicBezTo>
                  <a:cubicBezTo>
                    <a:pt x="45" y="34"/>
                    <a:pt x="45" y="34"/>
                    <a:pt x="45" y="34"/>
                  </a:cubicBezTo>
                  <a:cubicBezTo>
                    <a:pt x="48" y="32"/>
                    <a:pt x="48" y="32"/>
                    <a:pt x="48" y="32"/>
                  </a:cubicBezTo>
                  <a:cubicBezTo>
                    <a:pt x="48" y="32"/>
                    <a:pt x="48" y="32"/>
                    <a:pt x="49" y="31"/>
                  </a:cubicBezTo>
                  <a:cubicBezTo>
                    <a:pt x="49" y="31"/>
                    <a:pt x="50" y="31"/>
                    <a:pt x="50" y="30"/>
                  </a:cubicBezTo>
                  <a:cubicBezTo>
                    <a:pt x="49" y="30"/>
                    <a:pt x="49" y="30"/>
                    <a:pt x="49" y="30"/>
                  </a:cubicBezTo>
                  <a:cubicBezTo>
                    <a:pt x="48" y="27"/>
                    <a:pt x="50" y="26"/>
                    <a:pt x="50" y="25"/>
                  </a:cubicBezTo>
                  <a:cubicBezTo>
                    <a:pt x="51" y="25"/>
                    <a:pt x="51" y="25"/>
                    <a:pt x="51" y="25"/>
                  </a:cubicBezTo>
                  <a:cubicBezTo>
                    <a:pt x="51" y="25"/>
                    <a:pt x="51" y="25"/>
                    <a:pt x="51" y="25"/>
                  </a:cubicBezTo>
                  <a:cubicBezTo>
                    <a:pt x="51" y="25"/>
                    <a:pt x="51" y="25"/>
                    <a:pt x="52" y="25"/>
                  </a:cubicBezTo>
                  <a:cubicBezTo>
                    <a:pt x="52" y="25"/>
                    <a:pt x="52" y="24"/>
                    <a:pt x="52" y="23"/>
                  </a:cubicBezTo>
                  <a:cubicBezTo>
                    <a:pt x="51" y="22"/>
                    <a:pt x="51" y="21"/>
                    <a:pt x="52" y="20"/>
                  </a:cubicBezTo>
                  <a:cubicBezTo>
                    <a:pt x="51" y="20"/>
                    <a:pt x="51" y="20"/>
                    <a:pt x="51" y="20"/>
                  </a:cubicBezTo>
                  <a:cubicBezTo>
                    <a:pt x="50" y="20"/>
                    <a:pt x="50" y="20"/>
                    <a:pt x="50" y="20"/>
                  </a:cubicBezTo>
                  <a:cubicBezTo>
                    <a:pt x="47" y="21"/>
                    <a:pt x="47" y="21"/>
                    <a:pt x="47" y="21"/>
                  </a:cubicBezTo>
                  <a:cubicBezTo>
                    <a:pt x="47" y="19"/>
                    <a:pt x="47" y="19"/>
                    <a:pt x="47" y="19"/>
                  </a:cubicBezTo>
                  <a:cubicBezTo>
                    <a:pt x="47" y="19"/>
                    <a:pt x="46" y="19"/>
                    <a:pt x="46" y="18"/>
                  </a:cubicBezTo>
                  <a:cubicBezTo>
                    <a:pt x="45" y="18"/>
                    <a:pt x="44" y="18"/>
                    <a:pt x="43" y="18"/>
                  </a:cubicBezTo>
                  <a:cubicBezTo>
                    <a:pt x="41" y="20"/>
                    <a:pt x="41" y="20"/>
                    <a:pt x="41" y="20"/>
                  </a:cubicBezTo>
                  <a:cubicBezTo>
                    <a:pt x="40" y="14"/>
                    <a:pt x="40" y="14"/>
                    <a:pt x="40" y="14"/>
                  </a:cubicBezTo>
                  <a:cubicBezTo>
                    <a:pt x="33" y="12"/>
                    <a:pt x="33" y="12"/>
                    <a:pt x="33" y="12"/>
                  </a:cubicBezTo>
                  <a:cubicBezTo>
                    <a:pt x="33" y="11"/>
                    <a:pt x="33" y="11"/>
                    <a:pt x="33" y="11"/>
                  </a:cubicBezTo>
                  <a:cubicBezTo>
                    <a:pt x="33" y="10"/>
                    <a:pt x="32" y="9"/>
                    <a:pt x="32" y="8"/>
                  </a:cubicBezTo>
                  <a:cubicBezTo>
                    <a:pt x="32" y="8"/>
                    <a:pt x="32" y="8"/>
                    <a:pt x="32" y="8"/>
                  </a:cubicBezTo>
                  <a:cubicBezTo>
                    <a:pt x="31" y="8"/>
                    <a:pt x="31" y="8"/>
                    <a:pt x="31" y="8"/>
                  </a:cubicBezTo>
                  <a:cubicBezTo>
                    <a:pt x="27" y="5"/>
                    <a:pt x="27" y="5"/>
                    <a:pt x="27" y="5"/>
                  </a:cubicBezTo>
                  <a:cubicBezTo>
                    <a:pt x="27" y="5"/>
                    <a:pt x="25" y="5"/>
                    <a:pt x="25" y="5"/>
                  </a:cubicBezTo>
                  <a:cubicBezTo>
                    <a:pt x="25" y="5"/>
                    <a:pt x="24" y="5"/>
                    <a:pt x="22" y="4"/>
                  </a:cubicBezTo>
                  <a:cubicBezTo>
                    <a:pt x="20" y="3"/>
                    <a:pt x="19" y="1"/>
                    <a:pt x="19" y="0"/>
                  </a:cubicBezTo>
                  <a:cubicBezTo>
                    <a:pt x="18" y="1"/>
                    <a:pt x="17" y="1"/>
                    <a:pt x="17" y="2"/>
                  </a:cubicBezTo>
                  <a:cubicBezTo>
                    <a:pt x="16" y="2"/>
                    <a:pt x="16" y="2"/>
                    <a:pt x="15" y="2"/>
                  </a:cubicBezTo>
                  <a:cubicBezTo>
                    <a:pt x="15" y="3"/>
                    <a:pt x="15" y="3"/>
                    <a:pt x="15" y="3"/>
                  </a:cubicBezTo>
                  <a:cubicBezTo>
                    <a:pt x="15" y="3"/>
                    <a:pt x="15" y="3"/>
                    <a:pt x="15" y="3"/>
                  </a:cubicBezTo>
                  <a:cubicBezTo>
                    <a:pt x="15" y="3"/>
                    <a:pt x="16" y="4"/>
                    <a:pt x="16" y="4"/>
                  </a:cubicBezTo>
                  <a:cubicBezTo>
                    <a:pt x="17" y="4"/>
                    <a:pt x="17" y="4"/>
                    <a:pt x="17" y="4"/>
                  </a:cubicBezTo>
                  <a:cubicBezTo>
                    <a:pt x="16" y="11"/>
                    <a:pt x="16" y="11"/>
                    <a:pt x="16" y="11"/>
                  </a:cubicBezTo>
                  <a:cubicBezTo>
                    <a:pt x="12" y="15"/>
                    <a:pt x="12" y="15"/>
                    <a:pt x="12" y="15"/>
                  </a:cubicBezTo>
                  <a:cubicBezTo>
                    <a:pt x="13" y="16"/>
                    <a:pt x="13" y="16"/>
                    <a:pt x="13" y="16"/>
                  </a:cubicBezTo>
                  <a:cubicBezTo>
                    <a:pt x="13" y="17"/>
                    <a:pt x="13" y="17"/>
                    <a:pt x="13" y="17"/>
                  </a:cubicBezTo>
                  <a:cubicBezTo>
                    <a:pt x="13" y="18"/>
                    <a:pt x="12" y="19"/>
                    <a:pt x="11" y="19"/>
                  </a:cubicBezTo>
                  <a:cubicBezTo>
                    <a:pt x="12" y="20"/>
                    <a:pt x="12" y="20"/>
                    <a:pt x="12" y="20"/>
                  </a:cubicBezTo>
                  <a:cubicBezTo>
                    <a:pt x="8" y="21"/>
                    <a:pt x="8" y="21"/>
                    <a:pt x="8" y="21"/>
                  </a:cubicBezTo>
                  <a:cubicBezTo>
                    <a:pt x="8" y="21"/>
                    <a:pt x="7" y="21"/>
                    <a:pt x="7" y="21"/>
                  </a:cubicBezTo>
                  <a:cubicBezTo>
                    <a:pt x="7" y="21"/>
                    <a:pt x="7" y="21"/>
                    <a:pt x="7" y="21"/>
                  </a:cubicBezTo>
                  <a:cubicBezTo>
                    <a:pt x="6" y="22"/>
                    <a:pt x="6" y="23"/>
                    <a:pt x="4" y="23"/>
                  </a:cubicBezTo>
                  <a:cubicBezTo>
                    <a:pt x="3" y="24"/>
                    <a:pt x="3" y="25"/>
                    <a:pt x="1" y="26"/>
                  </a:cubicBezTo>
                  <a:cubicBezTo>
                    <a:pt x="1" y="26"/>
                    <a:pt x="1" y="26"/>
                    <a:pt x="0" y="26"/>
                  </a:cubicBezTo>
                  <a:cubicBezTo>
                    <a:pt x="1" y="26"/>
                    <a:pt x="1" y="27"/>
                    <a:pt x="1" y="27"/>
                  </a:cubicBezTo>
                  <a:cubicBezTo>
                    <a:pt x="2" y="29"/>
                    <a:pt x="2" y="30"/>
                    <a:pt x="1" y="31"/>
                  </a:cubicBezTo>
                  <a:cubicBezTo>
                    <a:pt x="1" y="31"/>
                    <a:pt x="1" y="31"/>
                    <a:pt x="2" y="32"/>
                  </a:cubicBezTo>
                  <a:cubicBezTo>
                    <a:pt x="2" y="33"/>
                    <a:pt x="2" y="33"/>
                    <a:pt x="2" y="33"/>
                  </a:cubicBezTo>
                  <a:cubicBezTo>
                    <a:pt x="1" y="34"/>
                    <a:pt x="1" y="34"/>
                    <a:pt x="1" y="34"/>
                  </a:cubicBezTo>
                  <a:cubicBezTo>
                    <a:pt x="1" y="34"/>
                    <a:pt x="1" y="34"/>
                    <a:pt x="1" y="34"/>
                  </a:cubicBezTo>
                  <a:cubicBezTo>
                    <a:pt x="3" y="35"/>
                    <a:pt x="3" y="35"/>
                    <a:pt x="3" y="35"/>
                  </a:cubicBezTo>
                  <a:cubicBezTo>
                    <a:pt x="5" y="37"/>
                    <a:pt x="5" y="37"/>
                    <a:pt x="5" y="37"/>
                  </a:cubicBezTo>
                  <a:cubicBezTo>
                    <a:pt x="5" y="39"/>
                    <a:pt x="5" y="39"/>
                    <a:pt x="5" y="39"/>
                  </a:cubicBezTo>
                  <a:cubicBezTo>
                    <a:pt x="7" y="42"/>
                    <a:pt x="7" y="42"/>
                    <a:pt x="7" y="42"/>
                  </a:cubicBezTo>
                  <a:cubicBezTo>
                    <a:pt x="8" y="42"/>
                    <a:pt x="8" y="42"/>
                    <a:pt x="8" y="42"/>
                  </a:cubicBezTo>
                  <a:cubicBezTo>
                    <a:pt x="10" y="43"/>
                    <a:pt x="10" y="43"/>
                    <a:pt x="10" y="43"/>
                  </a:cubicBezTo>
                  <a:cubicBezTo>
                    <a:pt x="10" y="43"/>
                    <a:pt x="10" y="43"/>
                    <a:pt x="10" y="43"/>
                  </a:cubicBezTo>
                  <a:cubicBezTo>
                    <a:pt x="11" y="43"/>
                    <a:pt x="11" y="43"/>
                    <a:pt x="11" y="43"/>
                  </a:cubicBezTo>
                  <a:cubicBezTo>
                    <a:pt x="11" y="43"/>
                    <a:pt x="13" y="44"/>
                    <a:pt x="14" y="44"/>
                  </a:cubicBezTo>
                  <a:cubicBezTo>
                    <a:pt x="15" y="45"/>
                    <a:pt x="15" y="46"/>
                    <a:pt x="15" y="46"/>
                  </a:cubicBezTo>
                  <a:cubicBezTo>
                    <a:pt x="16" y="46"/>
                    <a:pt x="17" y="48"/>
                    <a:pt x="17" y="48"/>
                  </a:cubicBezTo>
                  <a:cubicBezTo>
                    <a:pt x="18" y="51"/>
                    <a:pt x="18" y="51"/>
                    <a:pt x="18" y="51"/>
                  </a:cubicBezTo>
                  <a:cubicBezTo>
                    <a:pt x="18" y="51"/>
                    <a:pt x="19" y="52"/>
                    <a:pt x="19" y="53"/>
                  </a:cubicBezTo>
                  <a:cubicBezTo>
                    <a:pt x="19" y="53"/>
                    <a:pt x="19" y="54"/>
                    <a:pt x="19" y="54"/>
                  </a:cubicBezTo>
                  <a:cubicBezTo>
                    <a:pt x="21" y="56"/>
                    <a:pt x="21" y="56"/>
                    <a:pt x="21" y="56"/>
                  </a:cubicBezTo>
                  <a:cubicBezTo>
                    <a:pt x="20" y="58"/>
                    <a:pt x="20" y="58"/>
                    <a:pt x="20" y="58"/>
                  </a:cubicBezTo>
                  <a:cubicBezTo>
                    <a:pt x="20" y="59"/>
                    <a:pt x="20" y="59"/>
                    <a:pt x="20" y="59"/>
                  </a:cubicBezTo>
                  <a:cubicBezTo>
                    <a:pt x="22" y="60"/>
                    <a:pt x="24" y="60"/>
                    <a:pt x="25" y="59"/>
                  </a:cubicBezTo>
                  <a:cubicBezTo>
                    <a:pt x="26" y="59"/>
                    <a:pt x="26" y="57"/>
                    <a:pt x="26" y="55"/>
                  </a:cubicBezTo>
                  <a:cubicBezTo>
                    <a:pt x="26" y="53"/>
                    <a:pt x="26" y="52"/>
                    <a:pt x="27" y="50"/>
                  </a:cubicBezTo>
                  <a:cubicBezTo>
                    <a:pt x="27" y="48"/>
                    <a:pt x="30" y="47"/>
                    <a:pt x="32" y="45"/>
                  </a:cubicBezTo>
                  <a:cubicBezTo>
                    <a:pt x="34" y="44"/>
                    <a:pt x="33" y="42"/>
                    <a:pt x="36" y="42"/>
                  </a:cubicBezTo>
                  <a:cubicBezTo>
                    <a:pt x="39" y="43"/>
                    <a:pt x="42" y="52"/>
                    <a:pt x="43" y="43"/>
                  </a:cubicBezTo>
                  <a:cubicBezTo>
                    <a:pt x="43" y="38"/>
                    <a:pt x="47" y="38"/>
                    <a:pt x="49" y="37"/>
                  </a:cubicBezTo>
                  <a:lnTo>
                    <a:pt x="48" y="36"/>
                  </a:ln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0" name="Rectangle 154"/>
            <p:cNvSpPr>
              <a:spLocks noChangeArrowheads="1"/>
            </p:cNvSpPr>
            <p:nvPr/>
          </p:nvSpPr>
          <p:spPr bwMode="auto">
            <a:xfrm>
              <a:off x="6678379" y="5173933"/>
              <a:ext cx="1444" cy="1362"/>
            </a:xfrm>
            <a:prstGeom prst="rect">
              <a:avLst/>
            </a:prstGeom>
            <a:solidFill>
              <a:schemeClr val="bg2"/>
            </a:solidFill>
            <a:ln w="9525">
              <a:solidFill>
                <a:schemeClr val="bg1"/>
              </a:solidFill>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1" name="Freeform 155"/>
            <p:cNvSpPr>
              <a:spLocks/>
            </p:cNvSpPr>
            <p:nvPr/>
          </p:nvSpPr>
          <p:spPr bwMode="auto">
            <a:xfrm>
              <a:off x="6620613" y="4867573"/>
              <a:ext cx="2888"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cubicBezTo>
                    <a:pt x="0" y="0"/>
                    <a:pt x="0" y="0"/>
                    <a:pt x="0" y="0"/>
                  </a:cubicBezTo>
                  <a:cubicBezTo>
                    <a:pt x="0" y="0"/>
                    <a:pt x="1" y="0"/>
                    <a:pt x="1" y="0"/>
                  </a:cubicBezTo>
                  <a:cubicBezTo>
                    <a:pt x="1" y="0"/>
                    <a:pt x="1" y="0"/>
                    <a:pt x="0" y="0"/>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2" name="Freeform 156"/>
            <p:cNvSpPr>
              <a:spLocks/>
            </p:cNvSpPr>
            <p:nvPr/>
          </p:nvSpPr>
          <p:spPr bwMode="auto">
            <a:xfrm>
              <a:off x="6632166" y="507045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3" name="Freeform 157"/>
            <p:cNvSpPr>
              <a:spLocks/>
            </p:cNvSpPr>
            <p:nvPr/>
          </p:nvSpPr>
          <p:spPr bwMode="auto">
            <a:xfrm>
              <a:off x="6339004" y="5075897"/>
              <a:ext cx="189183" cy="341761"/>
            </a:xfrm>
            <a:custGeom>
              <a:avLst/>
              <a:gdLst>
                <a:gd name="T0" fmla="*/ 61 w 65"/>
                <a:gd name="T1" fmla="*/ 70 h 125"/>
                <a:gd name="T2" fmla="*/ 56 w 65"/>
                <a:gd name="T3" fmla="*/ 68 h 125"/>
                <a:gd name="T4" fmla="*/ 51 w 65"/>
                <a:gd name="T5" fmla="*/ 69 h 125"/>
                <a:gd name="T6" fmla="*/ 51 w 65"/>
                <a:gd name="T7" fmla="*/ 69 h 125"/>
                <a:gd name="T8" fmla="*/ 51 w 65"/>
                <a:gd name="T9" fmla="*/ 69 h 125"/>
                <a:gd name="T10" fmla="*/ 49 w 65"/>
                <a:gd name="T11" fmla="*/ 62 h 125"/>
                <a:gd name="T12" fmla="*/ 45 w 65"/>
                <a:gd name="T13" fmla="*/ 58 h 125"/>
                <a:gd name="T14" fmla="*/ 41 w 65"/>
                <a:gd name="T15" fmla="*/ 51 h 125"/>
                <a:gd name="T16" fmla="*/ 39 w 65"/>
                <a:gd name="T17" fmla="*/ 44 h 125"/>
                <a:gd name="T18" fmla="*/ 42 w 65"/>
                <a:gd name="T19" fmla="*/ 39 h 125"/>
                <a:gd name="T20" fmla="*/ 40 w 65"/>
                <a:gd name="T21" fmla="*/ 31 h 125"/>
                <a:gd name="T22" fmla="*/ 40 w 65"/>
                <a:gd name="T23" fmla="*/ 28 h 125"/>
                <a:gd name="T24" fmla="*/ 38 w 65"/>
                <a:gd name="T25" fmla="*/ 22 h 125"/>
                <a:gd name="T26" fmla="*/ 35 w 65"/>
                <a:gd name="T27" fmla="*/ 15 h 125"/>
                <a:gd name="T28" fmla="*/ 29 w 65"/>
                <a:gd name="T29" fmla="*/ 11 h 125"/>
                <a:gd name="T30" fmla="*/ 21 w 65"/>
                <a:gd name="T31" fmla="*/ 3 h 125"/>
                <a:gd name="T32" fmla="*/ 14 w 65"/>
                <a:gd name="T33" fmla="*/ 7 h 125"/>
                <a:gd name="T34" fmla="*/ 9 w 65"/>
                <a:gd name="T35" fmla="*/ 4 h 125"/>
                <a:gd name="T36" fmla="*/ 8 w 65"/>
                <a:gd name="T37" fmla="*/ 1 h 125"/>
                <a:gd name="T38" fmla="*/ 6 w 65"/>
                <a:gd name="T39" fmla="*/ 5 h 125"/>
                <a:gd name="T40" fmla="*/ 3 w 65"/>
                <a:gd name="T41" fmla="*/ 10 h 125"/>
                <a:gd name="T42" fmla="*/ 2 w 65"/>
                <a:gd name="T43" fmla="*/ 13 h 125"/>
                <a:gd name="T44" fmla="*/ 3 w 65"/>
                <a:gd name="T45" fmla="*/ 19 h 125"/>
                <a:gd name="T46" fmla="*/ 3 w 65"/>
                <a:gd name="T47" fmla="*/ 24 h 125"/>
                <a:gd name="T48" fmla="*/ 3 w 65"/>
                <a:gd name="T49" fmla="*/ 29 h 125"/>
                <a:gd name="T50" fmla="*/ 5 w 65"/>
                <a:gd name="T51" fmla="*/ 32 h 125"/>
                <a:gd name="T52" fmla="*/ 9 w 65"/>
                <a:gd name="T53" fmla="*/ 34 h 125"/>
                <a:gd name="T54" fmla="*/ 9 w 65"/>
                <a:gd name="T55" fmla="*/ 41 h 125"/>
                <a:gd name="T56" fmla="*/ 6 w 65"/>
                <a:gd name="T57" fmla="*/ 44 h 125"/>
                <a:gd name="T58" fmla="*/ 8 w 65"/>
                <a:gd name="T59" fmla="*/ 48 h 125"/>
                <a:gd name="T60" fmla="*/ 5 w 65"/>
                <a:gd name="T61" fmla="*/ 51 h 125"/>
                <a:gd name="T62" fmla="*/ 7 w 65"/>
                <a:gd name="T63" fmla="*/ 54 h 125"/>
                <a:gd name="T64" fmla="*/ 8 w 65"/>
                <a:gd name="T65" fmla="*/ 62 h 125"/>
                <a:gd name="T66" fmla="*/ 7 w 65"/>
                <a:gd name="T67" fmla="*/ 68 h 125"/>
                <a:gd name="T68" fmla="*/ 7 w 65"/>
                <a:gd name="T69" fmla="*/ 72 h 125"/>
                <a:gd name="T70" fmla="*/ 7 w 65"/>
                <a:gd name="T71" fmla="*/ 75 h 125"/>
                <a:gd name="T72" fmla="*/ 7 w 65"/>
                <a:gd name="T73" fmla="*/ 80 h 125"/>
                <a:gd name="T74" fmla="*/ 8 w 65"/>
                <a:gd name="T75" fmla="*/ 88 h 125"/>
                <a:gd name="T76" fmla="*/ 11 w 65"/>
                <a:gd name="T77" fmla="*/ 95 h 125"/>
                <a:gd name="T78" fmla="*/ 11 w 65"/>
                <a:gd name="T79" fmla="*/ 97 h 125"/>
                <a:gd name="T80" fmla="*/ 6 w 65"/>
                <a:gd name="T81" fmla="*/ 93 h 125"/>
                <a:gd name="T82" fmla="*/ 9 w 65"/>
                <a:gd name="T83" fmla="*/ 97 h 125"/>
                <a:gd name="T84" fmla="*/ 19 w 65"/>
                <a:gd name="T85" fmla="*/ 105 h 125"/>
                <a:gd name="T86" fmla="*/ 24 w 65"/>
                <a:gd name="T87" fmla="*/ 108 h 125"/>
                <a:gd name="T88" fmla="*/ 30 w 65"/>
                <a:gd name="T89" fmla="*/ 113 h 125"/>
                <a:gd name="T90" fmla="*/ 33 w 65"/>
                <a:gd name="T91" fmla="*/ 119 h 125"/>
                <a:gd name="T92" fmla="*/ 34 w 65"/>
                <a:gd name="T93" fmla="*/ 123 h 125"/>
                <a:gd name="T94" fmla="*/ 41 w 65"/>
                <a:gd name="T95" fmla="*/ 125 h 125"/>
                <a:gd name="T96" fmla="*/ 44 w 65"/>
                <a:gd name="T97" fmla="*/ 120 h 125"/>
                <a:gd name="T98" fmla="*/ 48 w 65"/>
                <a:gd name="T99" fmla="*/ 117 h 125"/>
                <a:gd name="T100" fmla="*/ 43 w 65"/>
                <a:gd name="T101" fmla="*/ 112 h 125"/>
                <a:gd name="T102" fmla="*/ 45 w 65"/>
                <a:gd name="T103" fmla="*/ 109 h 125"/>
                <a:gd name="T104" fmla="*/ 53 w 65"/>
                <a:gd name="T105" fmla="*/ 103 h 125"/>
                <a:gd name="T106" fmla="*/ 65 w 65"/>
                <a:gd name="T107" fmla="*/ 8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 h="125">
                  <a:moveTo>
                    <a:pt x="62" y="72"/>
                  </a:moveTo>
                  <a:cubicBezTo>
                    <a:pt x="62" y="70"/>
                    <a:pt x="62" y="70"/>
                    <a:pt x="62" y="70"/>
                  </a:cubicBezTo>
                  <a:cubicBezTo>
                    <a:pt x="62" y="70"/>
                    <a:pt x="62" y="70"/>
                    <a:pt x="61" y="70"/>
                  </a:cubicBezTo>
                  <a:cubicBezTo>
                    <a:pt x="61" y="70"/>
                    <a:pt x="61" y="70"/>
                    <a:pt x="61" y="70"/>
                  </a:cubicBezTo>
                  <a:cubicBezTo>
                    <a:pt x="60" y="69"/>
                    <a:pt x="60" y="69"/>
                    <a:pt x="60" y="69"/>
                  </a:cubicBezTo>
                  <a:cubicBezTo>
                    <a:pt x="58" y="68"/>
                    <a:pt x="58" y="68"/>
                    <a:pt x="58" y="68"/>
                  </a:cubicBezTo>
                  <a:cubicBezTo>
                    <a:pt x="58" y="68"/>
                    <a:pt x="58" y="68"/>
                    <a:pt x="57" y="68"/>
                  </a:cubicBezTo>
                  <a:cubicBezTo>
                    <a:pt x="57" y="68"/>
                    <a:pt x="56" y="67"/>
                    <a:pt x="56" y="68"/>
                  </a:cubicBezTo>
                  <a:cubicBezTo>
                    <a:pt x="56" y="68"/>
                    <a:pt x="56" y="68"/>
                    <a:pt x="56" y="68"/>
                  </a:cubicBezTo>
                  <a:cubicBezTo>
                    <a:pt x="55" y="67"/>
                    <a:pt x="54" y="67"/>
                    <a:pt x="54" y="68"/>
                  </a:cubicBezTo>
                  <a:cubicBezTo>
                    <a:pt x="53" y="68"/>
                    <a:pt x="52" y="69"/>
                    <a:pt x="52" y="69"/>
                  </a:cubicBezTo>
                  <a:cubicBezTo>
                    <a:pt x="52" y="69"/>
                    <a:pt x="52" y="69"/>
                    <a:pt x="51" y="69"/>
                  </a:cubicBezTo>
                  <a:cubicBezTo>
                    <a:pt x="51" y="69"/>
                    <a:pt x="51" y="69"/>
                    <a:pt x="51" y="69"/>
                  </a:cubicBezTo>
                  <a:cubicBezTo>
                    <a:pt x="51" y="69"/>
                    <a:pt x="51" y="69"/>
                    <a:pt x="51" y="69"/>
                  </a:cubicBezTo>
                  <a:cubicBezTo>
                    <a:pt x="51" y="69"/>
                    <a:pt x="51" y="69"/>
                    <a:pt x="51" y="69"/>
                  </a:cubicBezTo>
                  <a:cubicBezTo>
                    <a:pt x="51" y="69"/>
                    <a:pt x="51" y="69"/>
                    <a:pt x="51" y="69"/>
                  </a:cubicBezTo>
                  <a:cubicBezTo>
                    <a:pt x="51" y="69"/>
                    <a:pt x="51" y="69"/>
                    <a:pt x="51" y="69"/>
                  </a:cubicBezTo>
                  <a:cubicBezTo>
                    <a:pt x="51" y="69"/>
                    <a:pt x="51" y="69"/>
                    <a:pt x="51" y="69"/>
                  </a:cubicBezTo>
                  <a:cubicBezTo>
                    <a:pt x="51" y="69"/>
                    <a:pt x="51" y="69"/>
                    <a:pt x="51" y="69"/>
                  </a:cubicBezTo>
                  <a:cubicBezTo>
                    <a:pt x="51" y="69"/>
                    <a:pt x="51" y="69"/>
                    <a:pt x="51" y="69"/>
                  </a:cubicBezTo>
                  <a:cubicBezTo>
                    <a:pt x="51" y="69"/>
                    <a:pt x="51" y="69"/>
                    <a:pt x="51" y="69"/>
                  </a:cubicBezTo>
                  <a:cubicBezTo>
                    <a:pt x="51" y="68"/>
                    <a:pt x="51" y="67"/>
                    <a:pt x="51" y="66"/>
                  </a:cubicBezTo>
                  <a:cubicBezTo>
                    <a:pt x="51" y="66"/>
                    <a:pt x="50" y="64"/>
                    <a:pt x="50" y="63"/>
                  </a:cubicBezTo>
                  <a:cubicBezTo>
                    <a:pt x="49" y="63"/>
                    <a:pt x="49" y="62"/>
                    <a:pt x="49" y="62"/>
                  </a:cubicBezTo>
                  <a:cubicBezTo>
                    <a:pt x="49" y="62"/>
                    <a:pt x="48" y="62"/>
                    <a:pt x="47" y="62"/>
                  </a:cubicBezTo>
                  <a:cubicBezTo>
                    <a:pt x="47" y="62"/>
                    <a:pt x="46" y="62"/>
                    <a:pt x="46" y="62"/>
                  </a:cubicBezTo>
                  <a:cubicBezTo>
                    <a:pt x="46" y="62"/>
                    <a:pt x="45" y="60"/>
                    <a:pt x="46" y="60"/>
                  </a:cubicBezTo>
                  <a:cubicBezTo>
                    <a:pt x="46" y="60"/>
                    <a:pt x="45" y="58"/>
                    <a:pt x="45" y="58"/>
                  </a:cubicBezTo>
                  <a:cubicBezTo>
                    <a:pt x="44" y="58"/>
                    <a:pt x="43" y="55"/>
                    <a:pt x="43" y="55"/>
                  </a:cubicBezTo>
                  <a:cubicBezTo>
                    <a:pt x="43" y="55"/>
                    <a:pt x="42" y="56"/>
                    <a:pt x="42" y="55"/>
                  </a:cubicBezTo>
                  <a:cubicBezTo>
                    <a:pt x="42" y="54"/>
                    <a:pt x="42" y="53"/>
                    <a:pt x="42" y="53"/>
                  </a:cubicBezTo>
                  <a:cubicBezTo>
                    <a:pt x="41" y="51"/>
                    <a:pt x="41" y="51"/>
                    <a:pt x="41" y="51"/>
                  </a:cubicBezTo>
                  <a:cubicBezTo>
                    <a:pt x="41" y="51"/>
                    <a:pt x="42" y="50"/>
                    <a:pt x="42" y="50"/>
                  </a:cubicBezTo>
                  <a:cubicBezTo>
                    <a:pt x="42" y="50"/>
                    <a:pt x="43" y="49"/>
                    <a:pt x="43" y="48"/>
                  </a:cubicBezTo>
                  <a:cubicBezTo>
                    <a:pt x="43" y="48"/>
                    <a:pt x="41" y="46"/>
                    <a:pt x="41" y="46"/>
                  </a:cubicBezTo>
                  <a:cubicBezTo>
                    <a:pt x="41" y="46"/>
                    <a:pt x="39" y="45"/>
                    <a:pt x="39" y="44"/>
                  </a:cubicBezTo>
                  <a:cubicBezTo>
                    <a:pt x="38" y="43"/>
                    <a:pt x="38" y="42"/>
                    <a:pt x="38" y="42"/>
                  </a:cubicBezTo>
                  <a:cubicBezTo>
                    <a:pt x="38" y="42"/>
                    <a:pt x="39" y="42"/>
                    <a:pt x="40" y="42"/>
                  </a:cubicBezTo>
                  <a:cubicBezTo>
                    <a:pt x="40" y="41"/>
                    <a:pt x="41" y="41"/>
                    <a:pt x="41" y="40"/>
                  </a:cubicBezTo>
                  <a:cubicBezTo>
                    <a:pt x="41" y="40"/>
                    <a:pt x="42" y="40"/>
                    <a:pt x="42" y="39"/>
                  </a:cubicBezTo>
                  <a:cubicBezTo>
                    <a:pt x="41" y="39"/>
                    <a:pt x="40" y="38"/>
                    <a:pt x="40" y="38"/>
                  </a:cubicBezTo>
                  <a:cubicBezTo>
                    <a:pt x="41" y="35"/>
                    <a:pt x="41" y="35"/>
                    <a:pt x="41" y="35"/>
                  </a:cubicBezTo>
                  <a:cubicBezTo>
                    <a:pt x="41" y="34"/>
                    <a:pt x="41" y="34"/>
                    <a:pt x="41" y="34"/>
                  </a:cubicBezTo>
                  <a:cubicBezTo>
                    <a:pt x="40" y="31"/>
                    <a:pt x="40" y="31"/>
                    <a:pt x="40" y="31"/>
                  </a:cubicBezTo>
                  <a:cubicBezTo>
                    <a:pt x="41" y="30"/>
                    <a:pt x="41" y="30"/>
                    <a:pt x="41" y="30"/>
                  </a:cubicBezTo>
                  <a:cubicBezTo>
                    <a:pt x="41" y="30"/>
                    <a:pt x="41" y="29"/>
                    <a:pt x="41" y="29"/>
                  </a:cubicBezTo>
                  <a:cubicBezTo>
                    <a:pt x="41" y="29"/>
                    <a:pt x="41" y="29"/>
                    <a:pt x="41" y="28"/>
                  </a:cubicBezTo>
                  <a:cubicBezTo>
                    <a:pt x="41" y="28"/>
                    <a:pt x="40" y="28"/>
                    <a:pt x="40" y="28"/>
                  </a:cubicBezTo>
                  <a:cubicBezTo>
                    <a:pt x="39" y="28"/>
                    <a:pt x="39" y="28"/>
                    <a:pt x="39" y="28"/>
                  </a:cubicBezTo>
                  <a:cubicBezTo>
                    <a:pt x="39" y="25"/>
                    <a:pt x="39" y="25"/>
                    <a:pt x="39" y="25"/>
                  </a:cubicBezTo>
                  <a:cubicBezTo>
                    <a:pt x="40" y="23"/>
                    <a:pt x="40" y="23"/>
                    <a:pt x="40" y="23"/>
                  </a:cubicBezTo>
                  <a:cubicBezTo>
                    <a:pt x="38" y="22"/>
                    <a:pt x="38" y="22"/>
                    <a:pt x="38" y="22"/>
                  </a:cubicBezTo>
                  <a:cubicBezTo>
                    <a:pt x="38" y="21"/>
                    <a:pt x="38" y="21"/>
                    <a:pt x="38" y="21"/>
                  </a:cubicBezTo>
                  <a:cubicBezTo>
                    <a:pt x="37" y="20"/>
                    <a:pt x="37" y="19"/>
                    <a:pt x="37" y="18"/>
                  </a:cubicBezTo>
                  <a:cubicBezTo>
                    <a:pt x="36" y="17"/>
                    <a:pt x="36" y="17"/>
                    <a:pt x="36" y="17"/>
                  </a:cubicBezTo>
                  <a:cubicBezTo>
                    <a:pt x="36" y="16"/>
                    <a:pt x="35" y="15"/>
                    <a:pt x="35" y="15"/>
                  </a:cubicBezTo>
                  <a:cubicBezTo>
                    <a:pt x="34" y="14"/>
                    <a:pt x="34" y="14"/>
                    <a:pt x="34" y="13"/>
                  </a:cubicBezTo>
                  <a:cubicBezTo>
                    <a:pt x="33" y="13"/>
                    <a:pt x="32" y="13"/>
                    <a:pt x="32" y="12"/>
                  </a:cubicBezTo>
                  <a:cubicBezTo>
                    <a:pt x="30" y="12"/>
                    <a:pt x="30" y="12"/>
                    <a:pt x="30" y="12"/>
                  </a:cubicBezTo>
                  <a:cubicBezTo>
                    <a:pt x="29" y="11"/>
                    <a:pt x="29" y="11"/>
                    <a:pt x="29" y="11"/>
                  </a:cubicBezTo>
                  <a:cubicBezTo>
                    <a:pt x="27" y="12"/>
                    <a:pt x="27" y="12"/>
                    <a:pt x="27" y="12"/>
                  </a:cubicBezTo>
                  <a:cubicBezTo>
                    <a:pt x="24" y="7"/>
                    <a:pt x="24" y="7"/>
                    <a:pt x="24" y="7"/>
                  </a:cubicBezTo>
                  <a:cubicBezTo>
                    <a:pt x="24" y="5"/>
                    <a:pt x="24" y="5"/>
                    <a:pt x="24" y="5"/>
                  </a:cubicBezTo>
                  <a:cubicBezTo>
                    <a:pt x="21" y="3"/>
                    <a:pt x="21" y="3"/>
                    <a:pt x="21" y="3"/>
                  </a:cubicBezTo>
                  <a:cubicBezTo>
                    <a:pt x="20" y="3"/>
                    <a:pt x="20" y="3"/>
                    <a:pt x="20" y="4"/>
                  </a:cubicBezTo>
                  <a:cubicBezTo>
                    <a:pt x="19" y="4"/>
                    <a:pt x="19" y="4"/>
                    <a:pt x="17" y="4"/>
                  </a:cubicBezTo>
                  <a:cubicBezTo>
                    <a:pt x="16" y="6"/>
                    <a:pt x="16" y="6"/>
                    <a:pt x="16" y="6"/>
                  </a:cubicBezTo>
                  <a:cubicBezTo>
                    <a:pt x="14" y="7"/>
                    <a:pt x="14" y="7"/>
                    <a:pt x="14" y="7"/>
                  </a:cubicBezTo>
                  <a:cubicBezTo>
                    <a:pt x="13" y="7"/>
                    <a:pt x="13" y="7"/>
                    <a:pt x="13" y="7"/>
                  </a:cubicBezTo>
                  <a:cubicBezTo>
                    <a:pt x="13" y="7"/>
                    <a:pt x="12" y="7"/>
                    <a:pt x="11" y="6"/>
                  </a:cubicBezTo>
                  <a:cubicBezTo>
                    <a:pt x="11" y="6"/>
                    <a:pt x="11" y="6"/>
                    <a:pt x="10" y="5"/>
                  </a:cubicBezTo>
                  <a:cubicBezTo>
                    <a:pt x="9" y="4"/>
                    <a:pt x="9" y="4"/>
                    <a:pt x="9" y="4"/>
                  </a:cubicBezTo>
                  <a:cubicBezTo>
                    <a:pt x="9" y="4"/>
                    <a:pt x="9" y="3"/>
                    <a:pt x="9" y="3"/>
                  </a:cubicBezTo>
                  <a:cubicBezTo>
                    <a:pt x="8" y="3"/>
                    <a:pt x="8" y="3"/>
                    <a:pt x="8" y="3"/>
                  </a:cubicBezTo>
                  <a:cubicBezTo>
                    <a:pt x="8" y="2"/>
                    <a:pt x="8" y="2"/>
                    <a:pt x="8" y="2"/>
                  </a:cubicBezTo>
                  <a:cubicBezTo>
                    <a:pt x="8" y="1"/>
                    <a:pt x="8" y="1"/>
                    <a:pt x="8" y="1"/>
                  </a:cubicBezTo>
                  <a:cubicBezTo>
                    <a:pt x="8" y="1"/>
                    <a:pt x="8" y="0"/>
                    <a:pt x="8" y="0"/>
                  </a:cubicBezTo>
                  <a:cubicBezTo>
                    <a:pt x="8" y="0"/>
                    <a:pt x="8" y="0"/>
                    <a:pt x="8" y="0"/>
                  </a:cubicBezTo>
                  <a:cubicBezTo>
                    <a:pt x="8" y="1"/>
                    <a:pt x="8" y="1"/>
                    <a:pt x="8" y="1"/>
                  </a:cubicBezTo>
                  <a:cubicBezTo>
                    <a:pt x="6" y="5"/>
                    <a:pt x="6" y="5"/>
                    <a:pt x="6" y="5"/>
                  </a:cubicBezTo>
                  <a:cubicBezTo>
                    <a:pt x="5" y="7"/>
                    <a:pt x="5" y="7"/>
                    <a:pt x="5" y="7"/>
                  </a:cubicBezTo>
                  <a:cubicBezTo>
                    <a:pt x="5" y="8"/>
                    <a:pt x="4" y="8"/>
                    <a:pt x="4" y="8"/>
                  </a:cubicBezTo>
                  <a:cubicBezTo>
                    <a:pt x="4" y="9"/>
                    <a:pt x="3" y="10"/>
                    <a:pt x="3" y="10"/>
                  </a:cubicBezTo>
                  <a:cubicBezTo>
                    <a:pt x="3" y="10"/>
                    <a:pt x="3" y="10"/>
                    <a:pt x="3" y="10"/>
                  </a:cubicBezTo>
                  <a:cubicBezTo>
                    <a:pt x="2" y="10"/>
                    <a:pt x="2" y="10"/>
                    <a:pt x="2" y="10"/>
                  </a:cubicBezTo>
                  <a:cubicBezTo>
                    <a:pt x="3" y="11"/>
                    <a:pt x="3" y="11"/>
                    <a:pt x="3" y="11"/>
                  </a:cubicBezTo>
                  <a:cubicBezTo>
                    <a:pt x="3" y="12"/>
                    <a:pt x="3" y="12"/>
                    <a:pt x="3" y="12"/>
                  </a:cubicBezTo>
                  <a:cubicBezTo>
                    <a:pt x="3" y="12"/>
                    <a:pt x="2" y="13"/>
                    <a:pt x="2" y="13"/>
                  </a:cubicBezTo>
                  <a:cubicBezTo>
                    <a:pt x="2" y="13"/>
                    <a:pt x="2" y="13"/>
                    <a:pt x="1" y="14"/>
                  </a:cubicBezTo>
                  <a:cubicBezTo>
                    <a:pt x="1" y="16"/>
                    <a:pt x="1" y="16"/>
                    <a:pt x="1" y="16"/>
                  </a:cubicBezTo>
                  <a:cubicBezTo>
                    <a:pt x="0" y="18"/>
                    <a:pt x="0" y="18"/>
                    <a:pt x="0" y="18"/>
                  </a:cubicBezTo>
                  <a:cubicBezTo>
                    <a:pt x="3" y="19"/>
                    <a:pt x="3" y="19"/>
                    <a:pt x="3" y="19"/>
                  </a:cubicBezTo>
                  <a:cubicBezTo>
                    <a:pt x="3" y="19"/>
                    <a:pt x="3" y="19"/>
                    <a:pt x="3" y="19"/>
                  </a:cubicBezTo>
                  <a:cubicBezTo>
                    <a:pt x="4" y="20"/>
                    <a:pt x="4" y="22"/>
                    <a:pt x="4" y="22"/>
                  </a:cubicBezTo>
                  <a:cubicBezTo>
                    <a:pt x="4" y="23"/>
                    <a:pt x="3" y="23"/>
                    <a:pt x="3" y="24"/>
                  </a:cubicBezTo>
                  <a:cubicBezTo>
                    <a:pt x="3" y="24"/>
                    <a:pt x="3" y="24"/>
                    <a:pt x="3" y="24"/>
                  </a:cubicBezTo>
                  <a:cubicBezTo>
                    <a:pt x="3" y="25"/>
                    <a:pt x="3" y="25"/>
                    <a:pt x="3" y="25"/>
                  </a:cubicBezTo>
                  <a:cubicBezTo>
                    <a:pt x="3" y="25"/>
                    <a:pt x="4" y="26"/>
                    <a:pt x="3" y="27"/>
                  </a:cubicBezTo>
                  <a:cubicBezTo>
                    <a:pt x="3" y="27"/>
                    <a:pt x="3" y="29"/>
                    <a:pt x="3" y="29"/>
                  </a:cubicBezTo>
                  <a:cubicBezTo>
                    <a:pt x="3" y="29"/>
                    <a:pt x="3" y="29"/>
                    <a:pt x="3" y="29"/>
                  </a:cubicBezTo>
                  <a:cubicBezTo>
                    <a:pt x="3" y="29"/>
                    <a:pt x="3" y="29"/>
                    <a:pt x="3" y="30"/>
                  </a:cubicBezTo>
                  <a:cubicBezTo>
                    <a:pt x="3" y="30"/>
                    <a:pt x="3" y="30"/>
                    <a:pt x="3" y="30"/>
                  </a:cubicBezTo>
                  <a:cubicBezTo>
                    <a:pt x="4" y="31"/>
                    <a:pt x="4" y="31"/>
                    <a:pt x="4" y="31"/>
                  </a:cubicBezTo>
                  <a:cubicBezTo>
                    <a:pt x="5" y="32"/>
                    <a:pt x="5" y="32"/>
                    <a:pt x="5" y="32"/>
                  </a:cubicBezTo>
                  <a:cubicBezTo>
                    <a:pt x="5" y="32"/>
                    <a:pt x="5" y="32"/>
                    <a:pt x="5" y="32"/>
                  </a:cubicBezTo>
                  <a:cubicBezTo>
                    <a:pt x="7" y="32"/>
                    <a:pt x="7" y="32"/>
                    <a:pt x="7" y="32"/>
                  </a:cubicBezTo>
                  <a:cubicBezTo>
                    <a:pt x="8" y="33"/>
                    <a:pt x="8" y="33"/>
                    <a:pt x="8" y="33"/>
                  </a:cubicBezTo>
                  <a:cubicBezTo>
                    <a:pt x="9" y="34"/>
                    <a:pt x="9" y="34"/>
                    <a:pt x="9" y="34"/>
                  </a:cubicBezTo>
                  <a:cubicBezTo>
                    <a:pt x="9" y="36"/>
                    <a:pt x="9" y="36"/>
                    <a:pt x="9" y="36"/>
                  </a:cubicBezTo>
                  <a:cubicBezTo>
                    <a:pt x="9" y="38"/>
                    <a:pt x="9" y="38"/>
                    <a:pt x="9" y="38"/>
                  </a:cubicBezTo>
                  <a:cubicBezTo>
                    <a:pt x="8" y="40"/>
                    <a:pt x="8" y="40"/>
                    <a:pt x="8" y="40"/>
                  </a:cubicBezTo>
                  <a:cubicBezTo>
                    <a:pt x="9" y="41"/>
                    <a:pt x="9" y="41"/>
                    <a:pt x="9" y="41"/>
                  </a:cubicBezTo>
                  <a:cubicBezTo>
                    <a:pt x="10" y="41"/>
                    <a:pt x="10" y="41"/>
                    <a:pt x="10" y="41"/>
                  </a:cubicBezTo>
                  <a:cubicBezTo>
                    <a:pt x="10" y="41"/>
                    <a:pt x="10" y="43"/>
                    <a:pt x="9" y="43"/>
                  </a:cubicBezTo>
                  <a:cubicBezTo>
                    <a:pt x="9" y="43"/>
                    <a:pt x="8" y="43"/>
                    <a:pt x="7" y="44"/>
                  </a:cubicBezTo>
                  <a:cubicBezTo>
                    <a:pt x="6" y="44"/>
                    <a:pt x="6" y="44"/>
                    <a:pt x="6" y="44"/>
                  </a:cubicBezTo>
                  <a:cubicBezTo>
                    <a:pt x="6" y="45"/>
                    <a:pt x="6" y="45"/>
                    <a:pt x="6" y="45"/>
                  </a:cubicBezTo>
                  <a:cubicBezTo>
                    <a:pt x="7" y="46"/>
                    <a:pt x="7" y="46"/>
                    <a:pt x="7" y="46"/>
                  </a:cubicBezTo>
                  <a:cubicBezTo>
                    <a:pt x="7" y="46"/>
                    <a:pt x="8" y="45"/>
                    <a:pt x="8" y="46"/>
                  </a:cubicBezTo>
                  <a:cubicBezTo>
                    <a:pt x="8" y="46"/>
                    <a:pt x="8" y="48"/>
                    <a:pt x="8" y="48"/>
                  </a:cubicBezTo>
                  <a:cubicBezTo>
                    <a:pt x="8" y="48"/>
                    <a:pt x="8" y="49"/>
                    <a:pt x="8" y="49"/>
                  </a:cubicBezTo>
                  <a:cubicBezTo>
                    <a:pt x="7" y="49"/>
                    <a:pt x="6" y="50"/>
                    <a:pt x="6" y="50"/>
                  </a:cubicBezTo>
                  <a:cubicBezTo>
                    <a:pt x="6" y="51"/>
                    <a:pt x="6" y="51"/>
                    <a:pt x="6" y="51"/>
                  </a:cubicBezTo>
                  <a:cubicBezTo>
                    <a:pt x="5" y="51"/>
                    <a:pt x="5" y="51"/>
                    <a:pt x="5" y="51"/>
                  </a:cubicBezTo>
                  <a:cubicBezTo>
                    <a:pt x="4" y="52"/>
                    <a:pt x="4" y="52"/>
                    <a:pt x="4" y="52"/>
                  </a:cubicBezTo>
                  <a:cubicBezTo>
                    <a:pt x="5" y="54"/>
                    <a:pt x="5" y="54"/>
                    <a:pt x="5" y="54"/>
                  </a:cubicBezTo>
                  <a:cubicBezTo>
                    <a:pt x="6" y="54"/>
                    <a:pt x="6" y="54"/>
                    <a:pt x="6" y="54"/>
                  </a:cubicBezTo>
                  <a:cubicBezTo>
                    <a:pt x="6" y="54"/>
                    <a:pt x="6" y="54"/>
                    <a:pt x="7" y="54"/>
                  </a:cubicBezTo>
                  <a:cubicBezTo>
                    <a:pt x="7" y="54"/>
                    <a:pt x="9" y="56"/>
                    <a:pt x="9" y="56"/>
                  </a:cubicBezTo>
                  <a:cubicBezTo>
                    <a:pt x="9" y="57"/>
                    <a:pt x="9" y="57"/>
                    <a:pt x="9" y="57"/>
                  </a:cubicBezTo>
                  <a:cubicBezTo>
                    <a:pt x="9" y="57"/>
                    <a:pt x="8" y="58"/>
                    <a:pt x="8" y="58"/>
                  </a:cubicBezTo>
                  <a:cubicBezTo>
                    <a:pt x="8" y="59"/>
                    <a:pt x="8" y="62"/>
                    <a:pt x="8" y="62"/>
                  </a:cubicBezTo>
                  <a:cubicBezTo>
                    <a:pt x="7" y="63"/>
                    <a:pt x="7" y="63"/>
                    <a:pt x="7" y="63"/>
                  </a:cubicBezTo>
                  <a:cubicBezTo>
                    <a:pt x="7" y="63"/>
                    <a:pt x="8" y="66"/>
                    <a:pt x="8" y="66"/>
                  </a:cubicBezTo>
                  <a:cubicBezTo>
                    <a:pt x="8" y="67"/>
                    <a:pt x="8" y="67"/>
                    <a:pt x="8" y="67"/>
                  </a:cubicBezTo>
                  <a:cubicBezTo>
                    <a:pt x="7" y="68"/>
                    <a:pt x="7" y="68"/>
                    <a:pt x="7" y="68"/>
                  </a:cubicBezTo>
                  <a:cubicBezTo>
                    <a:pt x="10" y="69"/>
                    <a:pt x="10" y="69"/>
                    <a:pt x="10" y="69"/>
                  </a:cubicBezTo>
                  <a:cubicBezTo>
                    <a:pt x="10" y="70"/>
                    <a:pt x="10" y="70"/>
                    <a:pt x="10" y="70"/>
                  </a:cubicBezTo>
                  <a:cubicBezTo>
                    <a:pt x="8" y="71"/>
                    <a:pt x="8" y="71"/>
                    <a:pt x="8" y="71"/>
                  </a:cubicBezTo>
                  <a:cubicBezTo>
                    <a:pt x="8" y="71"/>
                    <a:pt x="7" y="71"/>
                    <a:pt x="7" y="72"/>
                  </a:cubicBezTo>
                  <a:cubicBezTo>
                    <a:pt x="7" y="72"/>
                    <a:pt x="7" y="73"/>
                    <a:pt x="7" y="73"/>
                  </a:cubicBezTo>
                  <a:cubicBezTo>
                    <a:pt x="9" y="73"/>
                    <a:pt x="9" y="73"/>
                    <a:pt x="9" y="73"/>
                  </a:cubicBezTo>
                  <a:cubicBezTo>
                    <a:pt x="8" y="74"/>
                    <a:pt x="8" y="74"/>
                    <a:pt x="8" y="74"/>
                  </a:cubicBezTo>
                  <a:cubicBezTo>
                    <a:pt x="7" y="75"/>
                    <a:pt x="7" y="75"/>
                    <a:pt x="7" y="75"/>
                  </a:cubicBezTo>
                  <a:cubicBezTo>
                    <a:pt x="7" y="75"/>
                    <a:pt x="7" y="76"/>
                    <a:pt x="7" y="76"/>
                  </a:cubicBezTo>
                  <a:cubicBezTo>
                    <a:pt x="7" y="76"/>
                    <a:pt x="7" y="77"/>
                    <a:pt x="7" y="77"/>
                  </a:cubicBezTo>
                  <a:cubicBezTo>
                    <a:pt x="7" y="77"/>
                    <a:pt x="6" y="78"/>
                    <a:pt x="6" y="78"/>
                  </a:cubicBezTo>
                  <a:cubicBezTo>
                    <a:pt x="7" y="80"/>
                    <a:pt x="7" y="80"/>
                    <a:pt x="7" y="80"/>
                  </a:cubicBezTo>
                  <a:cubicBezTo>
                    <a:pt x="6" y="83"/>
                    <a:pt x="6" y="83"/>
                    <a:pt x="6" y="83"/>
                  </a:cubicBezTo>
                  <a:cubicBezTo>
                    <a:pt x="5" y="84"/>
                    <a:pt x="5" y="84"/>
                    <a:pt x="5" y="84"/>
                  </a:cubicBezTo>
                  <a:cubicBezTo>
                    <a:pt x="7" y="86"/>
                    <a:pt x="7" y="86"/>
                    <a:pt x="7" y="86"/>
                  </a:cubicBezTo>
                  <a:cubicBezTo>
                    <a:pt x="8" y="88"/>
                    <a:pt x="8" y="88"/>
                    <a:pt x="8" y="88"/>
                  </a:cubicBezTo>
                  <a:cubicBezTo>
                    <a:pt x="10" y="90"/>
                    <a:pt x="10" y="90"/>
                    <a:pt x="10" y="90"/>
                  </a:cubicBezTo>
                  <a:cubicBezTo>
                    <a:pt x="11" y="91"/>
                    <a:pt x="11" y="91"/>
                    <a:pt x="11" y="91"/>
                  </a:cubicBezTo>
                  <a:cubicBezTo>
                    <a:pt x="12" y="92"/>
                    <a:pt x="12" y="92"/>
                    <a:pt x="12" y="92"/>
                  </a:cubicBezTo>
                  <a:cubicBezTo>
                    <a:pt x="11" y="95"/>
                    <a:pt x="11" y="95"/>
                    <a:pt x="11" y="95"/>
                  </a:cubicBezTo>
                  <a:cubicBezTo>
                    <a:pt x="12" y="96"/>
                    <a:pt x="12" y="96"/>
                    <a:pt x="12" y="96"/>
                  </a:cubicBezTo>
                  <a:cubicBezTo>
                    <a:pt x="12" y="97"/>
                    <a:pt x="12" y="97"/>
                    <a:pt x="12" y="97"/>
                  </a:cubicBezTo>
                  <a:cubicBezTo>
                    <a:pt x="12" y="97"/>
                    <a:pt x="12" y="97"/>
                    <a:pt x="12" y="98"/>
                  </a:cubicBezTo>
                  <a:cubicBezTo>
                    <a:pt x="11" y="98"/>
                    <a:pt x="11" y="98"/>
                    <a:pt x="11" y="97"/>
                  </a:cubicBezTo>
                  <a:cubicBezTo>
                    <a:pt x="10" y="97"/>
                    <a:pt x="9" y="96"/>
                    <a:pt x="9" y="95"/>
                  </a:cubicBezTo>
                  <a:cubicBezTo>
                    <a:pt x="9" y="95"/>
                    <a:pt x="8" y="94"/>
                    <a:pt x="8" y="94"/>
                  </a:cubicBezTo>
                  <a:cubicBezTo>
                    <a:pt x="8" y="94"/>
                    <a:pt x="7" y="93"/>
                    <a:pt x="7" y="93"/>
                  </a:cubicBezTo>
                  <a:cubicBezTo>
                    <a:pt x="6" y="93"/>
                    <a:pt x="6" y="93"/>
                    <a:pt x="6" y="93"/>
                  </a:cubicBezTo>
                  <a:cubicBezTo>
                    <a:pt x="6" y="93"/>
                    <a:pt x="6" y="94"/>
                    <a:pt x="6" y="94"/>
                  </a:cubicBezTo>
                  <a:cubicBezTo>
                    <a:pt x="6" y="94"/>
                    <a:pt x="6" y="95"/>
                    <a:pt x="7" y="95"/>
                  </a:cubicBezTo>
                  <a:cubicBezTo>
                    <a:pt x="7" y="96"/>
                    <a:pt x="8" y="96"/>
                    <a:pt x="8" y="96"/>
                  </a:cubicBezTo>
                  <a:cubicBezTo>
                    <a:pt x="8" y="97"/>
                    <a:pt x="9" y="97"/>
                    <a:pt x="9" y="97"/>
                  </a:cubicBezTo>
                  <a:cubicBezTo>
                    <a:pt x="9" y="98"/>
                    <a:pt x="9" y="100"/>
                    <a:pt x="9" y="100"/>
                  </a:cubicBezTo>
                  <a:cubicBezTo>
                    <a:pt x="11" y="101"/>
                    <a:pt x="11" y="101"/>
                    <a:pt x="11" y="101"/>
                  </a:cubicBezTo>
                  <a:cubicBezTo>
                    <a:pt x="12" y="102"/>
                    <a:pt x="12" y="102"/>
                    <a:pt x="12" y="102"/>
                  </a:cubicBezTo>
                  <a:cubicBezTo>
                    <a:pt x="19" y="105"/>
                    <a:pt x="19" y="105"/>
                    <a:pt x="19" y="105"/>
                  </a:cubicBezTo>
                  <a:cubicBezTo>
                    <a:pt x="21" y="106"/>
                    <a:pt x="21" y="106"/>
                    <a:pt x="21" y="106"/>
                  </a:cubicBezTo>
                  <a:cubicBezTo>
                    <a:pt x="22" y="106"/>
                    <a:pt x="22" y="106"/>
                    <a:pt x="22" y="106"/>
                  </a:cubicBezTo>
                  <a:cubicBezTo>
                    <a:pt x="23" y="108"/>
                    <a:pt x="23" y="108"/>
                    <a:pt x="23" y="108"/>
                  </a:cubicBezTo>
                  <a:cubicBezTo>
                    <a:pt x="24" y="108"/>
                    <a:pt x="24" y="108"/>
                    <a:pt x="24" y="108"/>
                  </a:cubicBezTo>
                  <a:cubicBezTo>
                    <a:pt x="24" y="108"/>
                    <a:pt x="24" y="108"/>
                    <a:pt x="25" y="108"/>
                  </a:cubicBezTo>
                  <a:cubicBezTo>
                    <a:pt x="25" y="108"/>
                    <a:pt x="27" y="108"/>
                    <a:pt x="27" y="108"/>
                  </a:cubicBezTo>
                  <a:cubicBezTo>
                    <a:pt x="27" y="108"/>
                    <a:pt x="27" y="108"/>
                    <a:pt x="27" y="109"/>
                  </a:cubicBezTo>
                  <a:cubicBezTo>
                    <a:pt x="27" y="110"/>
                    <a:pt x="30" y="113"/>
                    <a:pt x="30" y="113"/>
                  </a:cubicBezTo>
                  <a:cubicBezTo>
                    <a:pt x="30" y="113"/>
                    <a:pt x="30" y="114"/>
                    <a:pt x="31" y="115"/>
                  </a:cubicBezTo>
                  <a:cubicBezTo>
                    <a:pt x="31" y="115"/>
                    <a:pt x="33" y="116"/>
                    <a:pt x="33" y="116"/>
                  </a:cubicBezTo>
                  <a:cubicBezTo>
                    <a:pt x="33" y="116"/>
                    <a:pt x="33" y="117"/>
                    <a:pt x="33" y="118"/>
                  </a:cubicBezTo>
                  <a:cubicBezTo>
                    <a:pt x="33" y="118"/>
                    <a:pt x="32" y="119"/>
                    <a:pt x="33" y="119"/>
                  </a:cubicBezTo>
                  <a:cubicBezTo>
                    <a:pt x="33" y="120"/>
                    <a:pt x="33" y="120"/>
                    <a:pt x="33" y="120"/>
                  </a:cubicBezTo>
                  <a:cubicBezTo>
                    <a:pt x="33" y="120"/>
                    <a:pt x="33" y="120"/>
                    <a:pt x="33" y="120"/>
                  </a:cubicBezTo>
                  <a:cubicBezTo>
                    <a:pt x="34" y="121"/>
                    <a:pt x="34" y="121"/>
                    <a:pt x="34" y="121"/>
                  </a:cubicBezTo>
                  <a:cubicBezTo>
                    <a:pt x="34" y="123"/>
                    <a:pt x="34" y="123"/>
                    <a:pt x="34" y="123"/>
                  </a:cubicBezTo>
                  <a:cubicBezTo>
                    <a:pt x="35" y="124"/>
                    <a:pt x="35" y="124"/>
                    <a:pt x="35" y="124"/>
                  </a:cubicBezTo>
                  <a:cubicBezTo>
                    <a:pt x="37" y="124"/>
                    <a:pt x="37" y="124"/>
                    <a:pt x="37" y="124"/>
                  </a:cubicBezTo>
                  <a:cubicBezTo>
                    <a:pt x="39" y="125"/>
                    <a:pt x="39" y="125"/>
                    <a:pt x="39" y="125"/>
                  </a:cubicBezTo>
                  <a:cubicBezTo>
                    <a:pt x="41" y="125"/>
                    <a:pt x="41" y="125"/>
                    <a:pt x="41" y="125"/>
                  </a:cubicBezTo>
                  <a:cubicBezTo>
                    <a:pt x="43" y="123"/>
                    <a:pt x="43" y="123"/>
                    <a:pt x="43" y="123"/>
                  </a:cubicBezTo>
                  <a:cubicBezTo>
                    <a:pt x="43" y="123"/>
                    <a:pt x="44" y="122"/>
                    <a:pt x="44" y="122"/>
                  </a:cubicBezTo>
                  <a:cubicBezTo>
                    <a:pt x="44" y="122"/>
                    <a:pt x="44" y="121"/>
                    <a:pt x="44" y="121"/>
                  </a:cubicBezTo>
                  <a:cubicBezTo>
                    <a:pt x="44" y="120"/>
                    <a:pt x="44" y="120"/>
                    <a:pt x="44" y="120"/>
                  </a:cubicBezTo>
                  <a:cubicBezTo>
                    <a:pt x="44" y="120"/>
                    <a:pt x="43" y="118"/>
                    <a:pt x="44" y="118"/>
                  </a:cubicBezTo>
                  <a:cubicBezTo>
                    <a:pt x="45" y="118"/>
                    <a:pt x="45" y="118"/>
                    <a:pt x="45" y="118"/>
                  </a:cubicBezTo>
                  <a:cubicBezTo>
                    <a:pt x="46" y="118"/>
                    <a:pt x="45" y="118"/>
                    <a:pt x="46" y="118"/>
                  </a:cubicBezTo>
                  <a:cubicBezTo>
                    <a:pt x="47" y="118"/>
                    <a:pt x="47" y="117"/>
                    <a:pt x="48" y="117"/>
                  </a:cubicBezTo>
                  <a:cubicBezTo>
                    <a:pt x="48" y="116"/>
                    <a:pt x="48" y="116"/>
                    <a:pt x="48" y="116"/>
                  </a:cubicBezTo>
                  <a:cubicBezTo>
                    <a:pt x="48" y="116"/>
                    <a:pt x="48" y="116"/>
                    <a:pt x="48" y="116"/>
                  </a:cubicBezTo>
                  <a:cubicBezTo>
                    <a:pt x="47" y="115"/>
                    <a:pt x="44" y="114"/>
                    <a:pt x="44" y="114"/>
                  </a:cubicBezTo>
                  <a:cubicBezTo>
                    <a:pt x="44" y="113"/>
                    <a:pt x="43" y="113"/>
                    <a:pt x="43" y="112"/>
                  </a:cubicBezTo>
                  <a:cubicBezTo>
                    <a:pt x="43" y="112"/>
                    <a:pt x="43" y="111"/>
                    <a:pt x="43" y="111"/>
                  </a:cubicBezTo>
                  <a:cubicBezTo>
                    <a:pt x="43" y="110"/>
                    <a:pt x="43" y="110"/>
                    <a:pt x="43" y="110"/>
                  </a:cubicBezTo>
                  <a:cubicBezTo>
                    <a:pt x="43" y="110"/>
                    <a:pt x="44" y="110"/>
                    <a:pt x="44" y="109"/>
                  </a:cubicBezTo>
                  <a:cubicBezTo>
                    <a:pt x="44" y="109"/>
                    <a:pt x="45" y="109"/>
                    <a:pt x="45" y="109"/>
                  </a:cubicBezTo>
                  <a:cubicBezTo>
                    <a:pt x="46" y="107"/>
                    <a:pt x="46" y="107"/>
                    <a:pt x="46" y="107"/>
                  </a:cubicBezTo>
                  <a:cubicBezTo>
                    <a:pt x="46" y="107"/>
                    <a:pt x="46" y="106"/>
                    <a:pt x="47" y="106"/>
                  </a:cubicBezTo>
                  <a:cubicBezTo>
                    <a:pt x="47" y="106"/>
                    <a:pt x="47" y="106"/>
                    <a:pt x="48" y="106"/>
                  </a:cubicBezTo>
                  <a:cubicBezTo>
                    <a:pt x="53" y="103"/>
                    <a:pt x="53" y="103"/>
                    <a:pt x="53" y="103"/>
                  </a:cubicBezTo>
                  <a:cubicBezTo>
                    <a:pt x="57" y="96"/>
                    <a:pt x="57" y="96"/>
                    <a:pt x="57" y="96"/>
                  </a:cubicBezTo>
                  <a:cubicBezTo>
                    <a:pt x="58" y="89"/>
                    <a:pt x="58" y="89"/>
                    <a:pt x="58" y="89"/>
                  </a:cubicBezTo>
                  <a:cubicBezTo>
                    <a:pt x="61" y="82"/>
                    <a:pt x="61" y="82"/>
                    <a:pt x="61" y="82"/>
                  </a:cubicBezTo>
                  <a:cubicBezTo>
                    <a:pt x="61" y="82"/>
                    <a:pt x="64" y="79"/>
                    <a:pt x="65" y="80"/>
                  </a:cubicBezTo>
                  <a:cubicBezTo>
                    <a:pt x="65" y="81"/>
                    <a:pt x="64" y="74"/>
                    <a:pt x="64" y="74"/>
                  </a:cubicBezTo>
                  <a:lnTo>
                    <a:pt x="62" y="72"/>
                  </a:ln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 name="Freeform 158"/>
            <p:cNvSpPr>
              <a:spLocks/>
            </p:cNvSpPr>
            <p:nvPr/>
          </p:nvSpPr>
          <p:spPr bwMode="auto">
            <a:xfrm>
              <a:off x="6458869" y="5067728"/>
              <a:ext cx="239728" cy="190624"/>
            </a:xfrm>
            <a:custGeom>
              <a:avLst/>
              <a:gdLst>
                <a:gd name="T0" fmla="*/ 83 w 83"/>
                <a:gd name="T1" fmla="*/ 37 h 70"/>
                <a:gd name="T2" fmla="*/ 81 w 83"/>
                <a:gd name="T3" fmla="*/ 25 h 70"/>
                <a:gd name="T4" fmla="*/ 79 w 83"/>
                <a:gd name="T5" fmla="*/ 19 h 70"/>
                <a:gd name="T6" fmla="*/ 74 w 83"/>
                <a:gd name="T7" fmla="*/ 12 h 70"/>
                <a:gd name="T8" fmla="*/ 67 w 83"/>
                <a:gd name="T9" fmla="*/ 8 h 70"/>
                <a:gd name="T10" fmla="*/ 59 w 83"/>
                <a:gd name="T11" fmla="*/ 2 h 70"/>
                <a:gd name="T12" fmla="*/ 57 w 83"/>
                <a:gd name="T13" fmla="*/ 0 h 70"/>
                <a:gd name="T14" fmla="*/ 54 w 83"/>
                <a:gd name="T15" fmla="*/ 0 h 70"/>
                <a:gd name="T16" fmla="*/ 52 w 83"/>
                <a:gd name="T17" fmla="*/ 0 h 70"/>
                <a:gd name="T18" fmla="*/ 49 w 83"/>
                <a:gd name="T19" fmla="*/ 1 h 70"/>
                <a:gd name="T20" fmla="*/ 47 w 83"/>
                <a:gd name="T21" fmla="*/ 3 h 70"/>
                <a:gd name="T22" fmla="*/ 43 w 83"/>
                <a:gd name="T23" fmla="*/ 3 h 70"/>
                <a:gd name="T24" fmla="*/ 40 w 83"/>
                <a:gd name="T25" fmla="*/ 5 h 70"/>
                <a:gd name="T26" fmla="*/ 36 w 83"/>
                <a:gd name="T27" fmla="*/ 7 h 70"/>
                <a:gd name="T28" fmla="*/ 36 w 83"/>
                <a:gd name="T29" fmla="*/ 8 h 70"/>
                <a:gd name="T30" fmla="*/ 34 w 83"/>
                <a:gd name="T31" fmla="*/ 7 h 70"/>
                <a:gd name="T32" fmla="*/ 34 w 83"/>
                <a:gd name="T33" fmla="*/ 7 h 70"/>
                <a:gd name="T34" fmla="*/ 34 w 83"/>
                <a:gd name="T35" fmla="*/ 8 h 70"/>
                <a:gd name="T36" fmla="*/ 33 w 83"/>
                <a:gd name="T37" fmla="*/ 8 h 70"/>
                <a:gd name="T38" fmla="*/ 31 w 83"/>
                <a:gd name="T39" fmla="*/ 9 h 70"/>
                <a:gd name="T40" fmla="*/ 25 w 83"/>
                <a:gd name="T41" fmla="*/ 13 h 70"/>
                <a:gd name="T42" fmla="*/ 18 w 83"/>
                <a:gd name="T43" fmla="*/ 16 h 70"/>
                <a:gd name="T44" fmla="*/ 15 w 83"/>
                <a:gd name="T45" fmla="*/ 15 h 70"/>
                <a:gd name="T46" fmla="*/ 15 w 83"/>
                <a:gd name="T47" fmla="*/ 15 h 70"/>
                <a:gd name="T48" fmla="*/ 11 w 83"/>
                <a:gd name="T49" fmla="*/ 19 h 70"/>
                <a:gd name="T50" fmla="*/ 8 w 83"/>
                <a:gd name="T51" fmla="*/ 24 h 70"/>
                <a:gd name="T52" fmla="*/ 3 w 83"/>
                <a:gd name="T53" fmla="*/ 32 h 70"/>
                <a:gd name="T54" fmla="*/ 2 w 83"/>
                <a:gd name="T55" fmla="*/ 34 h 70"/>
                <a:gd name="T56" fmla="*/ 2 w 83"/>
                <a:gd name="T57" fmla="*/ 38 h 70"/>
                <a:gd name="T58" fmla="*/ 2 w 83"/>
                <a:gd name="T59" fmla="*/ 41 h 70"/>
                <a:gd name="T60" fmla="*/ 1 w 83"/>
                <a:gd name="T61" fmla="*/ 46 h 70"/>
                <a:gd name="T62" fmla="*/ 1 w 83"/>
                <a:gd name="T63" fmla="*/ 47 h 70"/>
                <a:gd name="T64" fmla="*/ 4 w 83"/>
                <a:gd name="T65" fmla="*/ 53 h 70"/>
                <a:gd name="T66" fmla="*/ 3 w 83"/>
                <a:gd name="T67" fmla="*/ 55 h 70"/>
                <a:gd name="T68" fmla="*/ 4 w 83"/>
                <a:gd name="T69" fmla="*/ 57 h 70"/>
                <a:gd name="T70" fmla="*/ 7 w 83"/>
                <a:gd name="T71" fmla="*/ 62 h 70"/>
                <a:gd name="T72" fmla="*/ 9 w 83"/>
                <a:gd name="T73" fmla="*/ 63 h 70"/>
                <a:gd name="T74" fmla="*/ 11 w 83"/>
                <a:gd name="T75" fmla="*/ 65 h 70"/>
                <a:gd name="T76" fmla="*/ 14 w 83"/>
                <a:gd name="T77" fmla="*/ 68 h 70"/>
                <a:gd name="T78" fmla="*/ 16 w 83"/>
                <a:gd name="T79" fmla="*/ 68 h 70"/>
                <a:gd name="T80" fmla="*/ 17 w 83"/>
                <a:gd name="T81" fmla="*/ 68 h 70"/>
                <a:gd name="T82" fmla="*/ 21 w 83"/>
                <a:gd name="T83" fmla="*/ 70 h 70"/>
                <a:gd name="T84" fmla="*/ 26 w 83"/>
                <a:gd name="T85" fmla="*/ 69 h 70"/>
                <a:gd name="T86" fmla="*/ 30 w 83"/>
                <a:gd name="T87" fmla="*/ 68 h 70"/>
                <a:gd name="T88" fmla="*/ 35 w 83"/>
                <a:gd name="T89" fmla="*/ 66 h 70"/>
                <a:gd name="T90" fmla="*/ 45 w 83"/>
                <a:gd name="T91" fmla="*/ 63 h 70"/>
                <a:gd name="T92" fmla="*/ 50 w 83"/>
                <a:gd name="T93" fmla="*/ 54 h 70"/>
                <a:gd name="T94" fmla="*/ 56 w 83"/>
                <a:gd name="T95" fmla="*/ 52 h 70"/>
                <a:gd name="T96" fmla="*/ 62 w 83"/>
                <a:gd name="T97" fmla="*/ 51 h 70"/>
                <a:gd name="T98" fmla="*/ 77 w 83"/>
                <a:gd name="T99" fmla="*/ 46 h 70"/>
                <a:gd name="T100" fmla="*/ 83 w 83"/>
                <a:gd name="T101" fmla="*/ 3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 h="70">
                  <a:moveTo>
                    <a:pt x="83" y="37"/>
                  </a:moveTo>
                  <a:cubicBezTo>
                    <a:pt x="83" y="37"/>
                    <a:pt x="83" y="37"/>
                    <a:pt x="83" y="37"/>
                  </a:cubicBezTo>
                  <a:cubicBezTo>
                    <a:pt x="82" y="36"/>
                    <a:pt x="80" y="31"/>
                    <a:pt x="80" y="28"/>
                  </a:cubicBezTo>
                  <a:cubicBezTo>
                    <a:pt x="80" y="26"/>
                    <a:pt x="81" y="26"/>
                    <a:pt x="81" y="25"/>
                  </a:cubicBezTo>
                  <a:cubicBezTo>
                    <a:pt x="81" y="24"/>
                    <a:pt x="82" y="23"/>
                    <a:pt x="82" y="22"/>
                  </a:cubicBezTo>
                  <a:cubicBezTo>
                    <a:pt x="81" y="21"/>
                    <a:pt x="80" y="20"/>
                    <a:pt x="79" y="19"/>
                  </a:cubicBezTo>
                  <a:cubicBezTo>
                    <a:pt x="78" y="18"/>
                    <a:pt x="77" y="18"/>
                    <a:pt x="77" y="16"/>
                  </a:cubicBezTo>
                  <a:cubicBezTo>
                    <a:pt x="76" y="14"/>
                    <a:pt x="75" y="13"/>
                    <a:pt x="74" y="12"/>
                  </a:cubicBezTo>
                  <a:cubicBezTo>
                    <a:pt x="73" y="11"/>
                    <a:pt x="73" y="10"/>
                    <a:pt x="73" y="10"/>
                  </a:cubicBezTo>
                  <a:cubicBezTo>
                    <a:pt x="71" y="9"/>
                    <a:pt x="69" y="8"/>
                    <a:pt x="67" y="8"/>
                  </a:cubicBezTo>
                  <a:cubicBezTo>
                    <a:pt x="65" y="7"/>
                    <a:pt x="63" y="7"/>
                    <a:pt x="61" y="5"/>
                  </a:cubicBezTo>
                  <a:cubicBezTo>
                    <a:pt x="60" y="4"/>
                    <a:pt x="59" y="3"/>
                    <a:pt x="59" y="2"/>
                  </a:cubicBezTo>
                  <a:cubicBezTo>
                    <a:pt x="58" y="1"/>
                    <a:pt x="58" y="0"/>
                    <a:pt x="58" y="0"/>
                  </a:cubicBezTo>
                  <a:cubicBezTo>
                    <a:pt x="57" y="0"/>
                    <a:pt x="57" y="0"/>
                    <a:pt x="57" y="0"/>
                  </a:cubicBezTo>
                  <a:cubicBezTo>
                    <a:pt x="56" y="0"/>
                    <a:pt x="56" y="0"/>
                    <a:pt x="55" y="0"/>
                  </a:cubicBezTo>
                  <a:cubicBezTo>
                    <a:pt x="55" y="0"/>
                    <a:pt x="54" y="0"/>
                    <a:pt x="54" y="0"/>
                  </a:cubicBezTo>
                  <a:cubicBezTo>
                    <a:pt x="53" y="2"/>
                    <a:pt x="53" y="2"/>
                    <a:pt x="53" y="2"/>
                  </a:cubicBezTo>
                  <a:cubicBezTo>
                    <a:pt x="52" y="0"/>
                    <a:pt x="52" y="0"/>
                    <a:pt x="52" y="0"/>
                  </a:cubicBezTo>
                  <a:cubicBezTo>
                    <a:pt x="51" y="0"/>
                    <a:pt x="51" y="0"/>
                    <a:pt x="51" y="0"/>
                  </a:cubicBezTo>
                  <a:cubicBezTo>
                    <a:pt x="50" y="0"/>
                    <a:pt x="49" y="1"/>
                    <a:pt x="49" y="1"/>
                  </a:cubicBezTo>
                  <a:cubicBezTo>
                    <a:pt x="49" y="1"/>
                    <a:pt x="49" y="1"/>
                    <a:pt x="49" y="1"/>
                  </a:cubicBezTo>
                  <a:cubicBezTo>
                    <a:pt x="48" y="2"/>
                    <a:pt x="47" y="3"/>
                    <a:pt x="47" y="3"/>
                  </a:cubicBezTo>
                  <a:cubicBezTo>
                    <a:pt x="45" y="3"/>
                    <a:pt x="44" y="3"/>
                    <a:pt x="43" y="3"/>
                  </a:cubicBezTo>
                  <a:cubicBezTo>
                    <a:pt x="43" y="3"/>
                    <a:pt x="43" y="3"/>
                    <a:pt x="43" y="3"/>
                  </a:cubicBezTo>
                  <a:cubicBezTo>
                    <a:pt x="43" y="3"/>
                    <a:pt x="42" y="3"/>
                    <a:pt x="42" y="3"/>
                  </a:cubicBezTo>
                  <a:cubicBezTo>
                    <a:pt x="40" y="5"/>
                    <a:pt x="40" y="5"/>
                    <a:pt x="40" y="5"/>
                  </a:cubicBezTo>
                  <a:cubicBezTo>
                    <a:pt x="38" y="5"/>
                    <a:pt x="38" y="5"/>
                    <a:pt x="38" y="5"/>
                  </a:cubicBezTo>
                  <a:cubicBezTo>
                    <a:pt x="38" y="5"/>
                    <a:pt x="37" y="6"/>
                    <a:pt x="36" y="7"/>
                  </a:cubicBezTo>
                  <a:cubicBezTo>
                    <a:pt x="36" y="8"/>
                    <a:pt x="36" y="8"/>
                    <a:pt x="36" y="8"/>
                  </a:cubicBezTo>
                  <a:cubicBezTo>
                    <a:pt x="36" y="8"/>
                    <a:pt x="36" y="8"/>
                    <a:pt x="36" y="8"/>
                  </a:cubicBezTo>
                  <a:cubicBezTo>
                    <a:pt x="35" y="8"/>
                    <a:pt x="35" y="8"/>
                    <a:pt x="34" y="8"/>
                  </a:cubicBezTo>
                  <a:cubicBezTo>
                    <a:pt x="34" y="7"/>
                    <a:pt x="34" y="7"/>
                    <a:pt x="34" y="7"/>
                  </a:cubicBezTo>
                  <a:cubicBezTo>
                    <a:pt x="34" y="7"/>
                    <a:pt x="34" y="7"/>
                    <a:pt x="34" y="7"/>
                  </a:cubicBezTo>
                  <a:cubicBezTo>
                    <a:pt x="34" y="7"/>
                    <a:pt x="34" y="7"/>
                    <a:pt x="34" y="7"/>
                  </a:cubicBezTo>
                  <a:cubicBezTo>
                    <a:pt x="34" y="7"/>
                    <a:pt x="34" y="7"/>
                    <a:pt x="34" y="7"/>
                  </a:cubicBezTo>
                  <a:cubicBezTo>
                    <a:pt x="34" y="8"/>
                    <a:pt x="34" y="8"/>
                    <a:pt x="34" y="8"/>
                  </a:cubicBezTo>
                  <a:cubicBezTo>
                    <a:pt x="33" y="8"/>
                    <a:pt x="33" y="8"/>
                    <a:pt x="33" y="8"/>
                  </a:cubicBezTo>
                  <a:cubicBezTo>
                    <a:pt x="33" y="8"/>
                    <a:pt x="33" y="8"/>
                    <a:pt x="33" y="8"/>
                  </a:cubicBezTo>
                  <a:cubicBezTo>
                    <a:pt x="33" y="10"/>
                    <a:pt x="33" y="10"/>
                    <a:pt x="33" y="10"/>
                  </a:cubicBezTo>
                  <a:cubicBezTo>
                    <a:pt x="31" y="9"/>
                    <a:pt x="31" y="9"/>
                    <a:pt x="31" y="9"/>
                  </a:cubicBezTo>
                  <a:cubicBezTo>
                    <a:pt x="30" y="10"/>
                    <a:pt x="29" y="10"/>
                    <a:pt x="28" y="10"/>
                  </a:cubicBezTo>
                  <a:cubicBezTo>
                    <a:pt x="26" y="11"/>
                    <a:pt x="25" y="11"/>
                    <a:pt x="25" y="13"/>
                  </a:cubicBezTo>
                  <a:cubicBezTo>
                    <a:pt x="25" y="14"/>
                    <a:pt x="25" y="19"/>
                    <a:pt x="22" y="19"/>
                  </a:cubicBezTo>
                  <a:cubicBezTo>
                    <a:pt x="20" y="19"/>
                    <a:pt x="19" y="18"/>
                    <a:pt x="18" y="16"/>
                  </a:cubicBezTo>
                  <a:cubicBezTo>
                    <a:pt x="17" y="16"/>
                    <a:pt x="16" y="15"/>
                    <a:pt x="16" y="15"/>
                  </a:cubicBezTo>
                  <a:cubicBezTo>
                    <a:pt x="16" y="15"/>
                    <a:pt x="15" y="15"/>
                    <a:pt x="15" y="15"/>
                  </a:cubicBezTo>
                  <a:cubicBezTo>
                    <a:pt x="15" y="15"/>
                    <a:pt x="15" y="15"/>
                    <a:pt x="15" y="15"/>
                  </a:cubicBezTo>
                  <a:cubicBezTo>
                    <a:pt x="16" y="15"/>
                    <a:pt x="15" y="15"/>
                    <a:pt x="15" y="15"/>
                  </a:cubicBezTo>
                  <a:cubicBezTo>
                    <a:pt x="15" y="16"/>
                    <a:pt x="15" y="16"/>
                    <a:pt x="14" y="17"/>
                  </a:cubicBezTo>
                  <a:cubicBezTo>
                    <a:pt x="13" y="18"/>
                    <a:pt x="12" y="19"/>
                    <a:pt x="11" y="19"/>
                  </a:cubicBezTo>
                  <a:cubicBezTo>
                    <a:pt x="10" y="20"/>
                    <a:pt x="9" y="20"/>
                    <a:pt x="9" y="20"/>
                  </a:cubicBezTo>
                  <a:cubicBezTo>
                    <a:pt x="8" y="22"/>
                    <a:pt x="8" y="23"/>
                    <a:pt x="8" y="24"/>
                  </a:cubicBezTo>
                  <a:cubicBezTo>
                    <a:pt x="8" y="26"/>
                    <a:pt x="9" y="31"/>
                    <a:pt x="5" y="32"/>
                  </a:cubicBezTo>
                  <a:cubicBezTo>
                    <a:pt x="5" y="32"/>
                    <a:pt x="4" y="32"/>
                    <a:pt x="3" y="32"/>
                  </a:cubicBezTo>
                  <a:cubicBezTo>
                    <a:pt x="2" y="32"/>
                    <a:pt x="2" y="32"/>
                    <a:pt x="2" y="32"/>
                  </a:cubicBezTo>
                  <a:cubicBezTo>
                    <a:pt x="2" y="32"/>
                    <a:pt x="2" y="33"/>
                    <a:pt x="2" y="34"/>
                  </a:cubicBezTo>
                  <a:cubicBezTo>
                    <a:pt x="2" y="34"/>
                    <a:pt x="2" y="34"/>
                    <a:pt x="2" y="34"/>
                  </a:cubicBezTo>
                  <a:cubicBezTo>
                    <a:pt x="2" y="38"/>
                    <a:pt x="2" y="38"/>
                    <a:pt x="2" y="38"/>
                  </a:cubicBezTo>
                  <a:cubicBezTo>
                    <a:pt x="2" y="40"/>
                    <a:pt x="2" y="40"/>
                    <a:pt x="2" y="40"/>
                  </a:cubicBezTo>
                  <a:cubicBezTo>
                    <a:pt x="2" y="40"/>
                    <a:pt x="2" y="41"/>
                    <a:pt x="2" y="41"/>
                  </a:cubicBezTo>
                  <a:cubicBezTo>
                    <a:pt x="3" y="42"/>
                    <a:pt x="4" y="43"/>
                    <a:pt x="2" y="45"/>
                  </a:cubicBezTo>
                  <a:cubicBezTo>
                    <a:pt x="2" y="45"/>
                    <a:pt x="1" y="46"/>
                    <a:pt x="1" y="46"/>
                  </a:cubicBezTo>
                  <a:cubicBezTo>
                    <a:pt x="0" y="46"/>
                    <a:pt x="0" y="46"/>
                    <a:pt x="0" y="46"/>
                  </a:cubicBezTo>
                  <a:cubicBezTo>
                    <a:pt x="0" y="47"/>
                    <a:pt x="1" y="47"/>
                    <a:pt x="1" y="47"/>
                  </a:cubicBezTo>
                  <a:cubicBezTo>
                    <a:pt x="1" y="47"/>
                    <a:pt x="3" y="49"/>
                    <a:pt x="4" y="50"/>
                  </a:cubicBezTo>
                  <a:cubicBezTo>
                    <a:pt x="5" y="51"/>
                    <a:pt x="4" y="53"/>
                    <a:pt x="4" y="53"/>
                  </a:cubicBezTo>
                  <a:cubicBezTo>
                    <a:pt x="4" y="54"/>
                    <a:pt x="3" y="54"/>
                    <a:pt x="3" y="55"/>
                  </a:cubicBezTo>
                  <a:cubicBezTo>
                    <a:pt x="3" y="55"/>
                    <a:pt x="3" y="55"/>
                    <a:pt x="3" y="55"/>
                  </a:cubicBezTo>
                  <a:cubicBezTo>
                    <a:pt x="3" y="56"/>
                    <a:pt x="3" y="56"/>
                    <a:pt x="3" y="56"/>
                  </a:cubicBezTo>
                  <a:cubicBezTo>
                    <a:pt x="3" y="57"/>
                    <a:pt x="4" y="57"/>
                    <a:pt x="4" y="57"/>
                  </a:cubicBezTo>
                  <a:cubicBezTo>
                    <a:pt x="4" y="58"/>
                    <a:pt x="5" y="59"/>
                    <a:pt x="5" y="59"/>
                  </a:cubicBezTo>
                  <a:cubicBezTo>
                    <a:pt x="5" y="59"/>
                    <a:pt x="7" y="61"/>
                    <a:pt x="7" y="62"/>
                  </a:cubicBezTo>
                  <a:cubicBezTo>
                    <a:pt x="8" y="63"/>
                    <a:pt x="9" y="63"/>
                    <a:pt x="9" y="63"/>
                  </a:cubicBezTo>
                  <a:cubicBezTo>
                    <a:pt x="9" y="63"/>
                    <a:pt x="9" y="63"/>
                    <a:pt x="9" y="63"/>
                  </a:cubicBezTo>
                  <a:cubicBezTo>
                    <a:pt x="9" y="63"/>
                    <a:pt x="9" y="63"/>
                    <a:pt x="9" y="63"/>
                  </a:cubicBezTo>
                  <a:cubicBezTo>
                    <a:pt x="10" y="63"/>
                    <a:pt x="10" y="64"/>
                    <a:pt x="11" y="65"/>
                  </a:cubicBezTo>
                  <a:cubicBezTo>
                    <a:pt x="11" y="66"/>
                    <a:pt x="12" y="67"/>
                    <a:pt x="12" y="68"/>
                  </a:cubicBezTo>
                  <a:cubicBezTo>
                    <a:pt x="13" y="68"/>
                    <a:pt x="13" y="68"/>
                    <a:pt x="14" y="68"/>
                  </a:cubicBezTo>
                  <a:cubicBezTo>
                    <a:pt x="14" y="68"/>
                    <a:pt x="15" y="68"/>
                    <a:pt x="15" y="68"/>
                  </a:cubicBezTo>
                  <a:cubicBezTo>
                    <a:pt x="16" y="68"/>
                    <a:pt x="16" y="68"/>
                    <a:pt x="16" y="68"/>
                  </a:cubicBezTo>
                  <a:cubicBezTo>
                    <a:pt x="16" y="69"/>
                    <a:pt x="17" y="69"/>
                    <a:pt x="17" y="69"/>
                  </a:cubicBezTo>
                  <a:cubicBezTo>
                    <a:pt x="17" y="68"/>
                    <a:pt x="17" y="68"/>
                    <a:pt x="17" y="68"/>
                  </a:cubicBezTo>
                  <a:cubicBezTo>
                    <a:pt x="18" y="68"/>
                    <a:pt x="18" y="68"/>
                    <a:pt x="18" y="68"/>
                  </a:cubicBezTo>
                  <a:cubicBezTo>
                    <a:pt x="21" y="70"/>
                    <a:pt x="21" y="70"/>
                    <a:pt x="21" y="70"/>
                  </a:cubicBezTo>
                  <a:cubicBezTo>
                    <a:pt x="21" y="70"/>
                    <a:pt x="21" y="70"/>
                    <a:pt x="21" y="70"/>
                  </a:cubicBezTo>
                  <a:cubicBezTo>
                    <a:pt x="22" y="70"/>
                    <a:pt x="25" y="69"/>
                    <a:pt x="26" y="69"/>
                  </a:cubicBezTo>
                  <a:cubicBezTo>
                    <a:pt x="26" y="69"/>
                    <a:pt x="27" y="69"/>
                    <a:pt x="28" y="69"/>
                  </a:cubicBezTo>
                  <a:cubicBezTo>
                    <a:pt x="29" y="68"/>
                    <a:pt x="29" y="68"/>
                    <a:pt x="30" y="68"/>
                  </a:cubicBezTo>
                  <a:cubicBezTo>
                    <a:pt x="31" y="68"/>
                    <a:pt x="32" y="67"/>
                    <a:pt x="33" y="67"/>
                  </a:cubicBezTo>
                  <a:cubicBezTo>
                    <a:pt x="34" y="66"/>
                    <a:pt x="35" y="66"/>
                    <a:pt x="35" y="66"/>
                  </a:cubicBezTo>
                  <a:cubicBezTo>
                    <a:pt x="36" y="66"/>
                    <a:pt x="40" y="66"/>
                    <a:pt x="41" y="66"/>
                  </a:cubicBezTo>
                  <a:cubicBezTo>
                    <a:pt x="41" y="66"/>
                    <a:pt x="44" y="64"/>
                    <a:pt x="45" y="63"/>
                  </a:cubicBezTo>
                  <a:cubicBezTo>
                    <a:pt x="45" y="63"/>
                    <a:pt x="47" y="60"/>
                    <a:pt x="48" y="59"/>
                  </a:cubicBezTo>
                  <a:cubicBezTo>
                    <a:pt x="48" y="58"/>
                    <a:pt x="49" y="55"/>
                    <a:pt x="50" y="54"/>
                  </a:cubicBezTo>
                  <a:cubicBezTo>
                    <a:pt x="50" y="54"/>
                    <a:pt x="51" y="54"/>
                    <a:pt x="51" y="54"/>
                  </a:cubicBezTo>
                  <a:cubicBezTo>
                    <a:pt x="53" y="53"/>
                    <a:pt x="55" y="52"/>
                    <a:pt x="56" y="52"/>
                  </a:cubicBezTo>
                  <a:cubicBezTo>
                    <a:pt x="57" y="52"/>
                    <a:pt x="59" y="52"/>
                    <a:pt x="60" y="51"/>
                  </a:cubicBezTo>
                  <a:cubicBezTo>
                    <a:pt x="61" y="51"/>
                    <a:pt x="62" y="51"/>
                    <a:pt x="62" y="51"/>
                  </a:cubicBezTo>
                  <a:cubicBezTo>
                    <a:pt x="63" y="51"/>
                    <a:pt x="73" y="49"/>
                    <a:pt x="73" y="49"/>
                  </a:cubicBezTo>
                  <a:cubicBezTo>
                    <a:pt x="77" y="46"/>
                    <a:pt x="77" y="46"/>
                    <a:pt x="77" y="46"/>
                  </a:cubicBezTo>
                  <a:cubicBezTo>
                    <a:pt x="75" y="39"/>
                    <a:pt x="75" y="39"/>
                    <a:pt x="75" y="39"/>
                  </a:cubicBezTo>
                  <a:lnTo>
                    <a:pt x="83" y="37"/>
                  </a:ln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5" name="Freeform 159"/>
            <p:cNvSpPr>
              <a:spLocks/>
            </p:cNvSpPr>
            <p:nvPr/>
          </p:nvSpPr>
          <p:spPr bwMode="auto">
            <a:xfrm>
              <a:off x="6951322" y="5282861"/>
              <a:ext cx="20218" cy="29955"/>
            </a:xfrm>
            <a:custGeom>
              <a:avLst/>
              <a:gdLst>
                <a:gd name="T0" fmla="*/ 2 w 7"/>
                <a:gd name="T1" fmla="*/ 9 h 11"/>
                <a:gd name="T2" fmla="*/ 3 w 7"/>
                <a:gd name="T3" fmla="*/ 10 h 11"/>
                <a:gd name="T4" fmla="*/ 5 w 7"/>
                <a:gd name="T5" fmla="*/ 9 h 11"/>
                <a:gd name="T6" fmla="*/ 6 w 7"/>
                <a:gd name="T7" fmla="*/ 8 h 11"/>
                <a:gd name="T8" fmla="*/ 5 w 7"/>
                <a:gd name="T9" fmla="*/ 6 h 11"/>
                <a:gd name="T10" fmla="*/ 5 w 7"/>
                <a:gd name="T11" fmla="*/ 5 h 11"/>
                <a:gd name="T12" fmla="*/ 6 w 7"/>
                <a:gd name="T13" fmla="*/ 3 h 11"/>
                <a:gd name="T14" fmla="*/ 7 w 7"/>
                <a:gd name="T15" fmla="*/ 1 h 11"/>
                <a:gd name="T16" fmla="*/ 5 w 7"/>
                <a:gd name="T17" fmla="*/ 0 h 11"/>
                <a:gd name="T18" fmla="*/ 4 w 7"/>
                <a:gd name="T19" fmla="*/ 2 h 11"/>
                <a:gd name="T20" fmla="*/ 3 w 7"/>
                <a:gd name="T21" fmla="*/ 3 h 11"/>
                <a:gd name="T22" fmla="*/ 2 w 7"/>
                <a:gd name="T23" fmla="*/ 5 h 11"/>
                <a:gd name="T24" fmla="*/ 1 w 7"/>
                <a:gd name="T25" fmla="*/ 7 h 11"/>
                <a:gd name="T26" fmla="*/ 2 w 7"/>
                <a:gd name="T27"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1">
                  <a:moveTo>
                    <a:pt x="2" y="9"/>
                  </a:moveTo>
                  <a:cubicBezTo>
                    <a:pt x="3" y="10"/>
                    <a:pt x="2" y="9"/>
                    <a:pt x="3" y="10"/>
                  </a:cubicBezTo>
                  <a:cubicBezTo>
                    <a:pt x="3" y="11"/>
                    <a:pt x="4" y="10"/>
                    <a:pt x="5" y="9"/>
                  </a:cubicBezTo>
                  <a:cubicBezTo>
                    <a:pt x="7" y="8"/>
                    <a:pt x="6" y="9"/>
                    <a:pt x="6" y="8"/>
                  </a:cubicBezTo>
                  <a:cubicBezTo>
                    <a:pt x="6" y="8"/>
                    <a:pt x="5" y="6"/>
                    <a:pt x="5" y="6"/>
                  </a:cubicBezTo>
                  <a:cubicBezTo>
                    <a:pt x="5" y="6"/>
                    <a:pt x="4" y="5"/>
                    <a:pt x="5" y="5"/>
                  </a:cubicBezTo>
                  <a:cubicBezTo>
                    <a:pt x="5" y="5"/>
                    <a:pt x="5" y="4"/>
                    <a:pt x="6" y="3"/>
                  </a:cubicBezTo>
                  <a:cubicBezTo>
                    <a:pt x="7" y="2"/>
                    <a:pt x="7" y="1"/>
                    <a:pt x="7" y="1"/>
                  </a:cubicBezTo>
                  <a:cubicBezTo>
                    <a:pt x="7" y="0"/>
                    <a:pt x="5" y="0"/>
                    <a:pt x="5" y="0"/>
                  </a:cubicBezTo>
                  <a:cubicBezTo>
                    <a:pt x="5" y="0"/>
                    <a:pt x="4" y="1"/>
                    <a:pt x="4" y="2"/>
                  </a:cubicBezTo>
                  <a:cubicBezTo>
                    <a:pt x="4" y="2"/>
                    <a:pt x="3" y="3"/>
                    <a:pt x="3" y="3"/>
                  </a:cubicBezTo>
                  <a:cubicBezTo>
                    <a:pt x="3" y="4"/>
                    <a:pt x="2" y="5"/>
                    <a:pt x="2" y="5"/>
                  </a:cubicBezTo>
                  <a:cubicBezTo>
                    <a:pt x="2" y="5"/>
                    <a:pt x="2" y="6"/>
                    <a:pt x="1" y="7"/>
                  </a:cubicBezTo>
                  <a:cubicBezTo>
                    <a:pt x="0" y="8"/>
                    <a:pt x="1" y="8"/>
                    <a:pt x="2" y="9"/>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6" name="Freeform 160"/>
            <p:cNvSpPr>
              <a:spLocks/>
            </p:cNvSpPr>
            <p:nvPr/>
          </p:nvSpPr>
          <p:spPr bwMode="auto">
            <a:xfrm>
              <a:off x="6945546" y="5630068"/>
              <a:ext cx="14441" cy="16339"/>
            </a:xfrm>
            <a:custGeom>
              <a:avLst/>
              <a:gdLst>
                <a:gd name="T0" fmla="*/ 2 w 5"/>
                <a:gd name="T1" fmla="*/ 6 h 6"/>
                <a:gd name="T2" fmla="*/ 5 w 5"/>
                <a:gd name="T3" fmla="*/ 3 h 6"/>
                <a:gd name="T4" fmla="*/ 4 w 5"/>
                <a:gd name="T5" fmla="*/ 1 h 6"/>
                <a:gd name="T6" fmla="*/ 0 w 5"/>
                <a:gd name="T7" fmla="*/ 1 h 6"/>
                <a:gd name="T8" fmla="*/ 1 w 5"/>
                <a:gd name="T9" fmla="*/ 5 h 6"/>
                <a:gd name="T10" fmla="*/ 2 w 5"/>
                <a:gd name="T11" fmla="*/ 6 h 6"/>
              </a:gdLst>
              <a:ahLst/>
              <a:cxnLst>
                <a:cxn ang="0">
                  <a:pos x="T0" y="T1"/>
                </a:cxn>
                <a:cxn ang="0">
                  <a:pos x="T2" y="T3"/>
                </a:cxn>
                <a:cxn ang="0">
                  <a:pos x="T4" y="T5"/>
                </a:cxn>
                <a:cxn ang="0">
                  <a:pos x="T6" y="T7"/>
                </a:cxn>
                <a:cxn ang="0">
                  <a:pos x="T8" y="T9"/>
                </a:cxn>
                <a:cxn ang="0">
                  <a:pos x="T10" y="T11"/>
                </a:cxn>
              </a:cxnLst>
              <a:rect l="0" t="0" r="r" b="b"/>
              <a:pathLst>
                <a:path w="5" h="6">
                  <a:moveTo>
                    <a:pt x="2" y="6"/>
                  </a:moveTo>
                  <a:cubicBezTo>
                    <a:pt x="2" y="6"/>
                    <a:pt x="5" y="3"/>
                    <a:pt x="5" y="3"/>
                  </a:cubicBezTo>
                  <a:cubicBezTo>
                    <a:pt x="4" y="2"/>
                    <a:pt x="4" y="1"/>
                    <a:pt x="4" y="1"/>
                  </a:cubicBezTo>
                  <a:cubicBezTo>
                    <a:pt x="4" y="0"/>
                    <a:pt x="0" y="1"/>
                    <a:pt x="0" y="1"/>
                  </a:cubicBezTo>
                  <a:cubicBezTo>
                    <a:pt x="1" y="5"/>
                    <a:pt x="1" y="5"/>
                    <a:pt x="1" y="5"/>
                  </a:cubicBezTo>
                  <a:cubicBezTo>
                    <a:pt x="1" y="5"/>
                    <a:pt x="2" y="6"/>
                    <a:pt x="2" y="6"/>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7" name="Freeform 161"/>
            <p:cNvSpPr>
              <a:spLocks/>
            </p:cNvSpPr>
            <p:nvPr/>
          </p:nvSpPr>
          <p:spPr bwMode="auto">
            <a:xfrm>
              <a:off x="6957099" y="5575604"/>
              <a:ext cx="11553" cy="8170"/>
            </a:xfrm>
            <a:custGeom>
              <a:avLst/>
              <a:gdLst>
                <a:gd name="T0" fmla="*/ 0 w 4"/>
                <a:gd name="T1" fmla="*/ 2 h 3"/>
                <a:gd name="T2" fmla="*/ 0 w 4"/>
                <a:gd name="T3" fmla="*/ 3 h 3"/>
                <a:gd name="T4" fmla="*/ 0 w 4"/>
                <a:gd name="T5" fmla="*/ 3 h 3"/>
                <a:gd name="T6" fmla="*/ 3 w 4"/>
                <a:gd name="T7" fmla="*/ 2 h 3"/>
                <a:gd name="T8" fmla="*/ 3 w 4"/>
                <a:gd name="T9" fmla="*/ 0 h 3"/>
                <a:gd name="T10" fmla="*/ 0 w 4"/>
                <a:gd name="T11" fmla="*/ 2 h 3"/>
              </a:gdLst>
              <a:ahLst/>
              <a:cxnLst>
                <a:cxn ang="0">
                  <a:pos x="T0" y="T1"/>
                </a:cxn>
                <a:cxn ang="0">
                  <a:pos x="T2" y="T3"/>
                </a:cxn>
                <a:cxn ang="0">
                  <a:pos x="T4" y="T5"/>
                </a:cxn>
                <a:cxn ang="0">
                  <a:pos x="T6" y="T7"/>
                </a:cxn>
                <a:cxn ang="0">
                  <a:pos x="T8" y="T9"/>
                </a:cxn>
                <a:cxn ang="0">
                  <a:pos x="T10" y="T11"/>
                </a:cxn>
              </a:cxnLst>
              <a:rect l="0" t="0" r="r" b="b"/>
              <a:pathLst>
                <a:path w="4" h="3">
                  <a:moveTo>
                    <a:pt x="0" y="2"/>
                  </a:moveTo>
                  <a:cubicBezTo>
                    <a:pt x="0" y="3"/>
                    <a:pt x="0" y="3"/>
                    <a:pt x="0" y="3"/>
                  </a:cubicBezTo>
                  <a:cubicBezTo>
                    <a:pt x="0" y="3"/>
                    <a:pt x="0" y="3"/>
                    <a:pt x="0" y="3"/>
                  </a:cubicBezTo>
                  <a:cubicBezTo>
                    <a:pt x="0" y="3"/>
                    <a:pt x="3" y="3"/>
                    <a:pt x="3" y="2"/>
                  </a:cubicBezTo>
                  <a:cubicBezTo>
                    <a:pt x="4" y="2"/>
                    <a:pt x="3" y="1"/>
                    <a:pt x="3" y="0"/>
                  </a:cubicBezTo>
                  <a:cubicBezTo>
                    <a:pt x="3" y="0"/>
                    <a:pt x="0" y="2"/>
                    <a:pt x="0" y="2"/>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8" name="Freeform 162"/>
            <p:cNvSpPr>
              <a:spLocks/>
            </p:cNvSpPr>
            <p:nvPr/>
          </p:nvSpPr>
          <p:spPr bwMode="auto">
            <a:xfrm>
              <a:off x="6954211" y="5220227"/>
              <a:ext cx="34660" cy="13616"/>
            </a:xfrm>
            <a:custGeom>
              <a:avLst/>
              <a:gdLst>
                <a:gd name="T0" fmla="*/ 9 w 12"/>
                <a:gd name="T1" fmla="*/ 1 h 5"/>
                <a:gd name="T2" fmla="*/ 5 w 12"/>
                <a:gd name="T3" fmla="*/ 0 h 5"/>
                <a:gd name="T4" fmla="*/ 1 w 12"/>
                <a:gd name="T5" fmla="*/ 2 h 5"/>
                <a:gd name="T6" fmla="*/ 2 w 12"/>
                <a:gd name="T7" fmla="*/ 4 h 5"/>
                <a:gd name="T8" fmla="*/ 5 w 12"/>
                <a:gd name="T9" fmla="*/ 5 h 5"/>
                <a:gd name="T10" fmla="*/ 10 w 12"/>
                <a:gd name="T11" fmla="*/ 3 h 5"/>
                <a:gd name="T12" fmla="*/ 9 w 12"/>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12" h="5">
                  <a:moveTo>
                    <a:pt x="9" y="1"/>
                  </a:moveTo>
                  <a:cubicBezTo>
                    <a:pt x="5" y="0"/>
                    <a:pt x="5" y="0"/>
                    <a:pt x="5" y="0"/>
                  </a:cubicBezTo>
                  <a:cubicBezTo>
                    <a:pt x="5" y="0"/>
                    <a:pt x="1" y="2"/>
                    <a:pt x="1" y="2"/>
                  </a:cubicBezTo>
                  <a:cubicBezTo>
                    <a:pt x="0" y="2"/>
                    <a:pt x="1" y="4"/>
                    <a:pt x="2" y="4"/>
                  </a:cubicBezTo>
                  <a:cubicBezTo>
                    <a:pt x="2" y="5"/>
                    <a:pt x="5" y="5"/>
                    <a:pt x="5" y="5"/>
                  </a:cubicBezTo>
                  <a:cubicBezTo>
                    <a:pt x="6" y="5"/>
                    <a:pt x="8" y="4"/>
                    <a:pt x="10" y="3"/>
                  </a:cubicBezTo>
                  <a:cubicBezTo>
                    <a:pt x="12" y="1"/>
                    <a:pt x="9" y="1"/>
                    <a:pt x="9" y="1"/>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9" name="Freeform 163"/>
            <p:cNvSpPr>
              <a:spLocks/>
            </p:cNvSpPr>
            <p:nvPr/>
          </p:nvSpPr>
          <p:spPr bwMode="auto">
            <a:xfrm>
              <a:off x="6948434" y="5534756"/>
              <a:ext cx="37548" cy="29955"/>
            </a:xfrm>
            <a:custGeom>
              <a:avLst/>
              <a:gdLst>
                <a:gd name="T0" fmla="*/ 12 w 13"/>
                <a:gd name="T1" fmla="*/ 11 h 11"/>
                <a:gd name="T2" fmla="*/ 12 w 13"/>
                <a:gd name="T3" fmla="*/ 10 h 11"/>
                <a:gd name="T4" fmla="*/ 13 w 13"/>
                <a:gd name="T5" fmla="*/ 7 h 11"/>
                <a:gd name="T6" fmla="*/ 12 w 13"/>
                <a:gd name="T7" fmla="*/ 5 h 11"/>
                <a:gd name="T8" fmla="*/ 11 w 13"/>
                <a:gd name="T9" fmla="*/ 3 h 11"/>
                <a:gd name="T10" fmla="*/ 10 w 13"/>
                <a:gd name="T11" fmla="*/ 3 h 11"/>
                <a:gd name="T12" fmla="*/ 7 w 13"/>
                <a:gd name="T13" fmla="*/ 3 h 11"/>
                <a:gd name="T14" fmla="*/ 5 w 13"/>
                <a:gd name="T15" fmla="*/ 1 h 11"/>
                <a:gd name="T16" fmla="*/ 3 w 13"/>
                <a:gd name="T17" fmla="*/ 0 h 11"/>
                <a:gd name="T18" fmla="*/ 0 w 13"/>
                <a:gd name="T19" fmla="*/ 3 h 11"/>
                <a:gd name="T20" fmla="*/ 4 w 13"/>
                <a:gd name="T21" fmla="*/ 6 h 11"/>
                <a:gd name="T22" fmla="*/ 8 w 13"/>
                <a:gd name="T23" fmla="*/ 8 h 11"/>
                <a:gd name="T24" fmla="*/ 12 w 13"/>
                <a:gd name="T25"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11">
                  <a:moveTo>
                    <a:pt x="12" y="11"/>
                  </a:moveTo>
                  <a:cubicBezTo>
                    <a:pt x="12" y="10"/>
                    <a:pt x="12" y="10"/>
                    <a:pt x="12" y="10"/>
                  </a:cubicBezTo>
                  <a:cubicBezTo>
                    <a:pt x="12" y="10"/>
                    <a:pt x="13" y="9"/>
                    <a:pt x="13" y="7"/>
                  </a:cubicBezTo>
                  <a:cubicBezTo>
                    <a:pt x="13" y="4"/>
                    <a:pt x="12" y="6"/>
                    <a:pt x="12" y="5"/>
                  </a:cubicBezTo>
                  <a:cubicBezTo>
                    <a:pt x="12" y="5"/>
                    <a:pt x="12" y="4"/>
                    <a:pt x="11" y="3"/>
                  </a:cubicBezTo>
                  <a:cubicBezTo>
                    <a:pt x="10" y="1"/>
                    <a:pt x="10" y="2"/>
                    <a:pt x="10" y="3"/>
                  </a:cubicBezTo>
                  <a:cubicBezTo>
                    <a:pt x="9" y="3"/>
                    <a:pt x="8" y="3"/>
                    <a:pt x="7" y="3"/>
                  </a:cubicBezTo>
                  <a:cubicBezTo>
                    <a:pt x="6" y="3"/>
                    <a:pt x="6" y="2"/>
                    <a:pt x="5" y="1"/>
                  </a:cubicBezTo>
                  <a:cubicBezTo>
                    <a:pt x="5" y="0"/>
                    <a:pt x="3" y="0"/>
                    <a:pt x="3" y="0"/>
                  </a:cubicBezTo>
                  <a:cubicBezTo>
                    <a:pt x="2" y="0"/>
                    <a:pt x="0" y="2"/>
                    <a:pt x="0" y="3"/>
                  </a:cubicBezTo>
                  <a:cubicBezTo>
                    <a:pt x="1" y="4"/>
                    <a:pt x="1" y="4"/>
                    <a:pt x="4" y="6"/>
                  </a:cubicBezTo>
                  <a:cubicBezTo>
                    <a:pt x="7" y="8"/>
                    <a:pt x="7" y="8"/>
                    <a:pt x="8" y="8"/>
                  </a:cubicBezTo>
                  <a:cubicBezTo>
                    <a:pt x="9" y="9"/>
                    <a:pt x="12" y="10"/>
                    <a:pt x="12" y="11"/>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0" name="Freeform 164"/>
            <p:cNvSpPr>
              <a:spLocks/>
            </p:cNvSpPr>
            <p:nvPr/>
          </p:nvSpPr>
          <p:spPr bwMode="auto">
            <a:xfrm>
              <a:off x="7006200" y="5687255"/>
              <a:ext cx="11553" cy="8170"/>
            </a:xfrm>
            <a:custGeom>
              <a:avLst/>
              <a:gdLst>
                <a:gd name="T0" fmla="*/ 1 w 4"/>
                <a:gd name="T1" fmla="*/ 2 h 3"/>
                <a:gd name="T2" fmla="*/ 3 w 4"/>
                <a:gd name="T3" fmla="*/ 3 h 3"/>
                <a:gd name="T4" fmla="*/ 4 w 4"/>
                <a:gd name="T5" fmla="*/ 2 h 3"/>
                <a:gd name="T6" fmla="*/ 2 w 4"/>
                <a:gd name="T7" fmla="*/ 1 h 3"/>
                <a:gd name="T8" fmla="*/ 0 w 4"/>
                <a:gd name="T9" fmla="*/ 0 h 3"/>
                <a:gd name="T10" fmla="*/ 0 w 4"/>
                <a:gd name="T11" fmla="*/ 2 h 3"/>
                <a:gd name="T12" fmla="*/ 1 w 4"/>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1" y="2"/>
                  </a:moveTo>
                  <a:cubicBezTo>
                    <a:pt x="1" y="2"/>
                    <a:pt x="3" y="3"/>
                    <a:pt x="3" y="3"/>
                  </a:cubicBezTo>
                  <a:cubicBezTo>
                    <a:pt x="4" y="3"/>
                    <a:pt x="4" y="2"/>
                    <a:pt x="4" y="2"/>
                  </a:cubicBezTo>
                  <a:cubicBezTo>
                    <a:pt x="3" y="1"/>
                    <a:pt x="2" y="1"/>
                    <a:pt x="2" y="1"/>
                  </a:cubicBezTo>
                  <a:cubicBezTo>
                    <a:pt x="0" y="0"/>
                    <a:pt x="0" y="0"/>
                    <a:pt x="0" y="0"/>
                  </a:cubicBezTo>
                  <a:cubicBezTo>
                    <a:pt x="0" y="0"/>
                    <a:pt x="0" y="1"/>
                    <a:pt x="0" y="2"/>
                  </a:cubicBezTo>
                  <a:cubicBezTo>
                    <a:pt x="0" y="3"/>
                    <a:pt x="1" y="2"/>
                    <a:pt x="1" y="2"/>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1" name="Freeform 165"/>
            <p:cNvSpPr>
              <a:spLocks/>
            </p:cNvSpPr>
            <p:nvPr/>
          </p:nvSpPr>
          <p:spPr bwMode="auto">
            <a:xfrm>
              <a:off x="6983094" y="5589220"/>
              <a:ext cx="11553" cy="21786"/>
            </a:xfrm>
            <a:custGeom>
              <a:avLst/>
              <a:gdLst>
                <a:gd name="T0" fmla="*/ 3 w 4"/>
                <a:gd name="T1" fmla="*/ 2 h 8"/>
                <a:gd name="T2" fmla="*/ 1 w 4"/>
                <a:gd name="T3" fmla="*/ 1 h 8"/>
                <a:gd name="T4" fmla="*/ 0 w 4"/>
                <a:gd name="T5" fmla="*/ 0 h 8"/>
                <a:gd name="T6" fmla="*/ 0 w 4"/>
                <a:gd name="T7" fmla="*/ 2 h 8"/>
                <a:gd name="T8" fmla="*/ 1 w 4"/>
                <a:gd name="T9" fmla="*/ 4 h 8"/>
                <a:gd name="T10" fmla="*/ 0 w 4"/>
                <a:gd name="T11" fmla="*/ 5 h 8"/>
                <a:gd name="T12" fmla="*/ 1 w 4"/>
                <a:gd name="T13" fmla="*/ 8 h 8"/>
                <a:gd name="T14" fmla="*/ 4 w 4"/>
                <a:gd name="T15" fmla="*/ 4 h 8"/>
                <a:gd name="T16" fmla="*/ 3 w 4"/>
                <a:gd name="T1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3" y="2"/>
                  </a:moveTo>
                  <a:cubicBezTo>
                    <a:pt x="3" y="1"/>
                    <a:pt x="1" y="1"/>
                    <a:pt x="1" y="1"/>
                  </a:cubicBezTo>
                  <a:cubicBezTo>
                    <a:pt x="0" y="0"/>
                    <a:pt x="0" y="0"/>
                    <a:pt x="0" y="0"/>
                  </a:cubicBezTo>
                  <a:cubicBezTo>
                    <a:pt x="0" y="2"/>
                    <a:pt x="0" y="2"/>
                    <a:pt x="0" y="2"/>
                  </a:cubicBezTo>
                  <a:cubicBezTo>
                    <a:pt x="0" y="2"/>
                    <a:pt x="1" y="3"/>
                    <a:pt x="1" y="4"/>
                  </a:cubicBezTo>
                  <a:cubicBezTo>
                    <a:pt x="1" y="4"/>
                    <a:pt x="0" y="5"/>
                    <a:pt x="0" y="5"/>
                  </a:cubicBezTo>
                  <a:cubicBezTo>
                    <a:pt x="1" y="8"/>
                    <a:pt x="1" y="8"/>
                    <a:pt x="1" y="8"/>
                  </a:cubicBezTo>
                  <a:cubicBezTo>
                    <a:pt x="4" y="4"/>
                    <a:pt x="4" y="4"/>
                    <a:pt x="4" y="4"/>
                  </a:cubicBezTo>
                  <a:cubicBezTo>
                    <a:pt x="4" y="4"/>
                    <a:pt x="3" y="3"/>
                    <a:pt x="3" y="2"/>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2" name="Freeform 166"/>
            <p:cNvSpPr>
              <a:spLocks/>
            </p:cNvSpPr>
            <p:nvPr/>
          </p:nvSpPr>
          <p:spPr bwMode="auto">
            <a:xfrm>
              <a:off x="7014865" y="5591943"/>
              <a:ext cx="8665" cy="8170"/>
            </a:xfrm>
            <a:custGeom>
              <a:avLst/>
              <a:gdLst>
                <a:gd name="T0" fmla="*/ 1 w 3"/>
                <a:gd name="T1" fmla="*/ 3 h 3"/>
                <a:gd name="T2" fmla="*/ 3 w 3"/>
                <a:gd name="T3" fmla="*/ 1 h 3"/>
                <a:gd name="T4" fmla="*/ 1 w 3"/>
                <a:gd name="T5" fmla="*/ 0 h 3"/>
                <a:gd name="T6" fmla="*/ 0 w 3"/>
                <a:gd name="T7" fmla="*/ 2 h 3"/>
                <a:gd name="T8" fmla="*/ 1 w 3"/>
                <a:gd name="T9" fmla="*/ 3 h 3"/>
              </a:gdLst>
              <a:ahLst/>
              <a:cxnLst>
                <a:cxn ang="0">
                  <a:pos x="T0" y="T1"/>
                </a:cxn>
                <a:cxn ang="0">
                  <a:pos x="T2" y="T3"/>
                </a:cxn>
                <a:cxn ang="0">
                  <a:pos x="T4" y="T5"/>
                </a:cxn>
                <a:cxn ang="0">
                  <a:pos x="T6" y="T7"/>
                </a:cxn>
                <a:cxn ang="0">
                  <a:pos x="T8" y="T9"/>
                </a:cxn>
              </a:cxnLst>
              <a:rect l="0" t="0" r="r" b="b"/>
              <a:pathLst>
                <a:path w="3" h="3">
                  <a:moveTo>
                    <a:pt x="1" y="3"/>
                  </a:moveTo>
                  <a:cubicBezTo>
                    <a:pt x="2" y="3"/>
                    <a:pt x="3" y="1"/>
                    <a:pt x="3" y="1"/>
                  </a:cubicBezTo>
                  <a:cubicBezTo>
                    <a:pt x="1" y="0"/>
                    <a:pt x="1" y="0"/>
                    <a:pt x="1" y="0"/>
                  </a:cubicBezTo>
                  <a:cubicBezTo>
                    <a:pt x="0" y="2"/>
                    <a:pt x="0" y="2"/>
                    <a:pt x="0" y="2"/>
                  </a:cubicBezTo>
                  <a:cubicBezTo>
                    <a:pt x="0" y="2"/>
                    <a:pt x="1" y="3"/>
                    <a:pt x="1" y="3"/>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3" name="Freeform 167"/>
            <p:cNvSpPr>
              <a:spLocks/>
            </p:cNvSpPr>
            <p:nvPr/>
          </p:nvSpPr>
          <p:spPr bwMode="auto">
            <a:xfrm>
              <a:off x="7014865" y="5447614"/>
              <a:ext cx="20218" cy="10893"/>
            </a:xfrm>
            <a:custGeom>
              <a:avLst/>
              <a:gdLst>
                <a:gd name="T0" fmla="*/ 5 w 7"/>
                <a:gd name="T1" fmla="*/ 0 h 4"/>
                <a:gd name="T2" fmla="*/ 2 w 7"/>
                <a:gd name="T3" fmla="*/ 0 h 4"/>
                <a:gd name="T4" fmla="*/ 0 w 7"/>
                <a:gd name="T5" fmla="*/ 2 h 4"/>
                <a:gd name="T6" fmla="*/ 1 w 7"/>
                <a:gd name="T7" fmla="*/ 4 h 4"/>
                <a:gd name="T8" fmla="*/ 5 w 7"/>
                <a:gd name="T9" fmla="*/ 2 h 4"/>
                <a:gd name="T10" fmla="*/ 5 w 7"/>
                <a:gd name="T11" fmla="*/ 0 h 4"/>
              </a:gdLst>
              <a:ahLst/>
              <a:cxnLst>
                <a:cxn ang="0">
                  <a:pos x="T0" y="T1"/>
                </a:cxn>
                <a:cxn ang="0">
                  <a:pos x="T2" y="T3"/>
                </a:cxn>
                <a:cxn ang="0">
                  <a:pos x="T4" y="T5"/>
                </a:cxn>
                <a:cxn ang="0">
                  <a:pos x="T6" y="T7"/>
                </a:cxn>
                <a:cxn ang="0">
                  <a:pos x="T8" y="T9"/>
                </a:cxn>
                <a:cxn ang="0">
                  <a:pos x="T10" y="T11"/>
                </a:cxn>
              </a:cxnLst>
              <a:rect l="0" t="0" r="r" b="b"/>
              <a:pathLst>
                <a:path w="7" h="4">
                  <a:moveTo>
                    <a:pt x="5" y="0"/>
                  </a:moveTo>
                  <a:cubicBezTo>
                    <a:pt x="2" y="0"/>
                    <a:pt x="2" y="0"/>
                    <a:pt x="2" y="0"/>
                  </a:cubicBezTo>
                  <a:cubicBezTo>
                    <a:pt x="2" y="0"/>
                    <a:pt x="0" y="2"/>
                    <a:pt x="0" y="2"/>
                  </a:cubicBezTo>
                  <a:cubicBezTo>
                    <a:pt x="1" y="4"/>
                    <a:pt x="1" y="4"/>
                    <a:pt x="1" y="4"/>
                  </a:cubicBezTo>
                  <a:cubicBezTo>
                    <a:pt x="1" y="4"/>
                    <a:pt x="3" y="3"/>
                    <a:pt x="5" y="2"/>
                  </a:cubicBezTo>
                  <a:cubicBezTo>
                    <a:pt x="7" y="2"/>
                    <a:pt x="5" y="0"/>
                    <a:pt x="5" y="0"/>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 name="Freeform 168"/>
            <p:cNvSpPr>
              <a:spLocks/>
            </p:cNvSpPr>
            <p:nvPr/>
          </p:nvSpPr>
          <p:spPr bwMode="auto">
            <a:xfrm>
              <a:off x="6985982" y="5564711"/>
              <a:ext cx="31771" cy="16339"/>
            </a:xfrm>
            <a:custGeom>
              <a:avLst/>
              <a:gdLst>
                <a:gd name="T0" fmla="*/ 7 w 11"/>
                <a:gd name="T1" fmla="*/ 5 h 6"/>
                <a:gd name="T2" fmla="*/ 10 w 11"/>
                <a:gd name="T3" fmla="*/ 5 h 6"/>
                <a:gd name="T4" fmla="*/ 11 w 11"/>
                <a:gd name="T5" fmla="*/ 4 h 6"/>
                <a:gd name="T6" fmla="*/ 10 w 11"/>
                <a:gd name="T7" fmla="*/ 2 h 6"/>
                <a:gd name="T8" fmla="*/ 7 w 11"/>
                <a:gd name="T9" fmla="*/ 1 h 6"/>
                <a:gd name="T10" fmla="*/ 5 w 11"/>
                <a:gd name="T11" fmla="*/ 1 h 6"/>
                <a:gd name="T12" fmla="*/ 2 w 11"/>
                <a:gd name="T13" fmla="*/ 0 h 6"/>
                <a:gd name="T14" fmla="*/ 1 w 11"/>
                <a:gd name="T15" fmla="*/ 1 h 6"/>
                <a:gd name="T16" fmla="*/ 3 w 11"/>
                <a:gd name="T17" fmla="*/ 3 h 6"/>
                <a:gd name="T18" fmla="*/ 7 w 11"/>
                <a:gd name="T1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6">
                  <a:moveTo>
                    <a:pt x="7" y="5"/>
                  </a:moveTo>
                  <a:cubicBezTo>
                    <a:pt x="7" y="6"/>
                    <a:pt x="9" y="5"/>
                    <a:pt x="10" y="5"/>
                  </a:cubicBezTo>
                  <a:cubicBezTo>
                    <a:pt x="11" y="4"/>
                    <a:pt x="11" y="4"/>
                    <a:pt x="11" y="4"/>
                  </a:cubicBezTo>
                  <a:cubicBezTo>
                    <a:pt x="11" y="3"/>
                    <a:pt x="10" y="2"/>
                    <a:pt x="10" y="2"/>
                  </a:cubicBezTo>
                  <a:cubicBezTo>
                    <a:pt x="10" y="2"/>
                    <a:pt x="9" y="1"/>
                    <a:pt x="7" y="1"/>
                  </a:cubicBezTo>
                  <a:cubicBezTo>
                    <a:pt x="5" y="1"/>
                    <a:pt x="5" y="1"/>
                    <a:pt x="5" y="1"/>
                  </a:cubicBezTo>
                  <a:cubicBezTo>
                    <a:pt x="5" y="1"/>
                    <a:pt x="5" y="1"/>
                    <a:pt x="2" y="0"/>
                  </a:cubicBezTo>
                  <a:cubicBezTo>
                    <a:pt x="0" y="0"/>
                    <a:pt x="1" y="1"/>
                    <a:pt x="1" y="1"/>
                  </a:cubicBezTo>
                  <a:cubicBezTo>
                    <a:pt x="3" y="3"/>
                    <a:pt x="3" y="3"/>
                    <a:pt x="3" y="3"/>
                  </a:cubicBezTo>
                  <a:cubicBezTo>
                    <a:pt x="3" y="3"/>
                    <a:pt x="7" y="5"/>
                    <a:pt x="7" y="5"/>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5" name="Freeform 169"/>
            <p:cNvSpPr>
              <a:spLocks/>
            </p:cNvSpPr>
            <p:nvPr/>
          </p:nvSpPr>
          <p:spPr bwMode="auto">
            <a:xfrm>
              <a:off x="6899333" y="5420382"/>
              <a:ext cx="43324" cy="29955"/>
            </a:xfrm>
            <a:custGeom>
              <a:avLst/>
              <a:gdLst>
                <a:gd name="T0" fmla="*/ 4 w 15"/>
                <a:gd name="T1" fmla="*/ 2 h 11"/>
                <a:gd name="T2" fmla="*/ 2 w 15"/>
                <a:gd name="T3" fmla="*/ 1 h 11"/>
                <a:gd name="T4" fmla="*/ 0 w 15"/>
                <a:gd name="T5" fmla="*/ 2 h 11"/>
                <a:gd name="T6" fmla="*/ 3 w 15"/>
                <a:gd name="T7" fmla="*/ 5 h 11"/>
                <a:gd name="T8" fmla="*/ 9 w 15"/>
                <a:gd name="T9" fmla="*/ 9 h 11"/>
                <a:gd name="T10" fmla="*/ 4 w 15"/>
                <a:gd name="T11" fmla="*/ 2 h 11"/>
              </a:gdLst>
              <a:ahLst/>
              <a:cxnLst>
                <a:cxn ang="0">
                  <a:pos x="T0" y="T1"/>
                </a:cxn>
                <a:cxn ang="0">
                  <a:pos x="T2" y="T3"/>
                </a:cxn>
                <a:cxn ang="0">
                  <a:pos x="T4" y="T5"/>
                </a:cxn>
                <a:cxn ang="0">
                  <a:pos x="T6" y="T7"/>
                </a:cxn>
                <a:cxn ang="0">
                  <a:pos x="T8" y="T9"/>
                </a:cxn>
                <a:cxn ang="0">
                  <a:pos x="T10" y="T11"/>
                </a:cxn>
              </a:cxnLst>
              <a:rect l="0" t="0" r="r" b="b"/>
              <a:pathLst>
                <a:path w="15" h="11">
                  <a:moveTo>
                    <a:pt x="4" y="2"/>
                  </a:moveTo>
                  <a:cubicBezTo>
                    <a:pt x="4" y="2"/>
                    <a:pt x="2" y="0"/>
                    <a:pt x="2" y="1"/>
                  </a:cubicBezTo>
                  <a:cubicBezTo>
                    <a:pt x="0" y="2"/>
                    <a:pt x="0" y="2"/>
                    <a:pt x="0" y="2"/>
                  </a:cubicBezTo>
                  <a:cubicBezTo>
                    <a:pt x="0" y="2"/>
                    <a:pt x="2" y="4"/>
                    <a:pt x="3" y="5"/>
                  </a:cubicBezTo>
                  <a:cubicBezTo>
                    <a:pt x="4" y="6"/>
                    <a:pt x="7" y="9"/>
                    <a:pt x="9" y="9"/>
                  </a:cubicBezTo>
                  <a:cubicBezTo>
                    <a:pt x="15" y="11"/>
                    <a:pt x="5" y="3"/>
                    <a:pt x="4" y="2"/>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6" name="Freeform 170"/>
            <p:cNvSpPr>
              <a:spLocks/>
            </p:cNvSpPr>
            <p:nvPr/>
          </p:nvSpPr>
          <p:spPr bwMode="auto">
            <a:xfrm>
              <a:off x="7058189" y="5649131"/>
              <a:ext cx="11553" cy="10893"/>
            </a:xfrm>
            <a:custGeom>
              <a:avLst/>
              <a:gdLst>
                <a:gd name="T0" fmla="*/ 4 w 4"/>
                <a:gd name="T1" fmla="*/ 1 h 4"/>
                <a:gd name="T2" fmla="*/ 1 w 4"/>
                <a:gd name="T3" fmla="*/ 1 h 4"/>
                <a:gd name="T4" fmla="*/ 1 w 4"/>
                <a:gd name="T5" fmla="*/ 2 h 4"/>
                <a:gd name="T6" fmla="*/ 4 w 4"/>
                <a:gd name="T7" fmla="*/ 1 h 4"/>
              </a:gdLst>
              <a:ahLst/>
              <a:cxnLst>
                <a:cxn ang="0">
                  <a:pos x="T0" y="T1"/>
                </a:cxn>
                <a:cxn ang="0">
                  <a:pos x="T2" y="T3"/>
                </a:cxn>
                <a:cxn ang="0">
                  <a:pos x="T4" y="T5"/>
                </a:cxn>
                <a:cxn ang="0">
                  <a:pos x="T6" y="T7"/>
                </a:cxn>
              </a:cxnLst>
              <a:rect l="0" t="0" r="r" b="b"/>
              <a:pathLst>
                <a:path w="4" h="4">
                  <a:moveTo>
                    <a:pt x="4" y="1"/>
                  </a:moveTo>
                  <a:cubicBezTo>
                    <a:pt x="4" y="1"/>
                    <a:pt x="2" y="0"/>
                    <a:pt x="1" y="1"/>
                  </a:cubicBezTo>
                  <a:cubicBezTo>
                    <a:pt x="0" y="1"/>
                    <a:pt x="1" y="2"/>
                    <a:pt x="1" y="2"/>
                  </a:cubicBezTo>
                  <a:cubicBezTo>
                    <a:pt x="3" y="4"/>
                    <a:pt x="4" y="1"/>
                    <a:pt x="4" y="1"/>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7" name="Freeform 171"/>
            <p:cNvSpPr>
              <a:spLocks/>
            </p:cNvSpPr>
            <p:nvPr/>
          </p:nvSpPr>
          <p:spPr bwMode="auto">
            <a:xfrm>
              <a:off x="7046636" y="5660023"/>
              <a:ext cx="14441" cy="21786"/>
            </a:xfrm>
            <a:custGeom>
              <a:avLst/>
              <a:gdLst>
                <a:gd name="T0" fmla="*/ 0 w 5"/>
                <a:gd name="T1" fmla="*/ 6 h 8"/>
                <a:gd name="T2" fmla="*/ 1 w 5"/>
                <a:gd name="T3" fmla="*/ 7 h 8"/>
                <a:gd name="T4" fmla="*/ 4 w 5"/>
                <a:gd name="T5" fmla="*/ 7 h 8"/>
                <a:gd name="T6" fmla="*/ 5 w 5"/>
                <a:gd name="T7" fmla="*/ 5 h 8"/>
                <a:gd name="T8" fmla="*/ 4 w 5"/>
                <a:gd name="T9" fmla="*/ 2 h 8"/>
                <a:gd name="T10" fmla="*/ 1 w 5"/>
                <a:gd name="T11" fmla="*/ 2 h 8"/>
                <a:gd name="T12" fmla="*/ 0 w 5"/>
                <a:gd name="T13" fmla="*/ 6 h 8"/>
              </a:gdLst>
              <a:ahLst/>
              <a:cxnLst>
                <a:cxn ang="0">
                  <a:pos x="T0" y="T1"/>
                </a:cxn>
                <a:cxn ang="0">
                  <a:pos x="T2" y="T3"/>
                </a:cxn>
                <a:cxn ang="0">
                  <a:pos x="T4" y="T5"/>
                </a:cxn>
                <a:cxn ang="0">
                  <a:pos x="T6" y="T7"/>
                </a:cxn>
                <a:cxn ang="0">
                  <a:pos x="T8" y="T9"/>
                </a:cxn>
                <a:cxn ang="0">
                  <a:pos x="T10" y="T11"/>
                </a:cxn>
                <a:cxn ang="0">
                  <a:pos x="T12" y="T13"/>
                </a:cxn>
              </a:cxnLst>
              <a:rect l="0" t="0" r="r" b="b"/>
              <a:pathLst>
                <a:path w="5" h="8">
                  <a:moveTo>
                    <a:pt x="0" y="6"/>
                  </a:moveTo>
                  <a:cubicBezTo>
                    <a:pt x="0" y="7"/>
                    <a:pt x="1" y="6"/>
                    <a:pt x="1" y="7"/>
                  </a:cubicBezTo>
                  <a:cubicBezTo>
                    <a:pt x="2" y="8"/>
                    <a:pt x="3" y="7"/>
                    <a:pt x="4" y="7"/>
                  </a:cubicBezTo>
                  <a:cubicBezTo>
                    <a:pt x="5" y="7"/>
                    <a:pt x="5" y="5"/>
                    <a:pt x="5" y="5"/>
                  </a:cubicBezTo>
                  <a:cubicBezTo>
                    <a:pt x="5" y="5"/>
                    <a:pt x="4" y="4"/>
                    <a:pt x="4" y="2"/>
                  </a:cubicBezTo>
                  <a:cubicBezTo>
                    <a:pt x="3" y="0"/>
                    <a:pt x="1" y="2"/>
                    <a:pt x="1" y="2"/>
                  </a:cubicBezTo>
                  <a:cubicBezTo>
                    <a:pt x="1" y="2"/>
                    <a:pt x="0" y="5"/>
                    <a:pt x="0" y="6"/>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8" name="Freeform 172"/>
            <p:cNvSpPr>
              <a:spLocks/>
            </p:cNvSpPr>
            <p:nvPr/>
          </p:nvSpPr>
          <p:spPr bwMode="auto">
            <a:xfrm>
              <a:off x="7049524" y="5611006"/>
              <a:ext cx="20218" cy="38125"/>
            </a:xfrm>
            <a:custGeom>
              <a:avLst/>
              <a:gdLst>
                <a:gd name="T0" fmla="*/ 0 w 7"/>
                <a:gd name="T1" fmla="*/ 11 h 14"/>
                <a:gd name="T2" fmla="*/ 3 w 7"/>
                <a:gd name="T3" fmla="*/ 13 h 14"/>
                <a:gd name="T4" fmla="*/ 5 w 7"/>
                <a:gd name="T5" fmla="*/ 12 h 14"/>
                <a:gd name="T6" fmla="*/ 6 w 7"/>
                <a:gd name="T7" fmla="*/ 10 h 14"/>
                <a:gd name="T8" fmla="*/ 7 w 7"/>
                <a:gd name="T9" fmla="*/ 7 h 14"/>
                <a:gd name="T10" fmla="*/ 6 w 7"/>
                <a:gd name="T11" fmla="*/ 5 h 14"/>
                <a:gd name="T12" fmla="*/ 7 w 7"/>
                <a:gd name="T13" fmla="*/ 2 h 14"/>
                <a:gd name="T14" fmla="*/ 5 w 7"/>
                <a:gd name="T15" fmla="*/ 0 h 14"/>
                <a:gd name="T16" fmla="*/ 3 w 7"/>
                <a:gd name="T17" fmla="*/ 1 h 14"/>
                <a:gd name="T18" fmla="*/ 1 w 7"/>
                <a:gd name="T19" fmla="*/ 3 h 14"/>
                <a:gd name="T20" fmla="*/ 0 w 7"/>
                <a:gd name="T21" fmla="*/ 7 h 14"/>
                <a:gd name="T22" fmla="*/ 0 w 7"/>
                <a:gd name="T23" fmla="*/ 9 h 14"/>
                <a:gd name="T24" fmla="*/ 0 w 7"/>
                <a:gd name="T25"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4">
                  <a:moveTo>
                    <a:pt x="0" y="11"/>
                  </a:moveTo>
                  <a:cubicBezTo>
                    <a:pt x="0" y="11"/>
                    <a:pt x="2" y="12"/>
                    <a:pt x="3" y="13"/>
                  </a:cubicBezTo>
                  <a:cubicBezTo>
                    <a:pt x="5" y="14"/>
                    <a:pt x="4" y="13"/>
                    <a:pt x="5" y="12"/>
                  </a:cubicBezTo>
                  <a:cubicBezTo>
                    <a:pt x="6" y="12"/>
                    <a:pt x="6" y="11"/>
                    <a:pt x="6" y="10"/>
                  </a:cubicBezTo>
                  <a:cubicBezTo>
                    <a:pt x="7" y="9"/>
                    <a:pt x="7" y="8"/>
                    <a:pt x="7" y="7"/>
                  </a:cubicBezTo>
                  <a:cubicBezTo>
                    <a:pt x="7" y="6"/>
                    <a:pt x="6" y="5"/>
                    <a:pt x="6" y="5"/>
                  </a:cubicBezTo>
                  <a:cubicBezTo>
                    <a:pt x="6" y="4"/>
                    <a:pt x="7" y="2"/>
                    <a:pt x="7" y="2"/>
                  </a:cubicBezTo>
                  <a:cubicBezTo>
                    <a:pt x="5" y="0"/>
                    <a:pt x="5" y="0"/>
                    <a:pt x="5" y="0"/>
                  </a:cubicBezTo>
                  <a:cubicBezTo>
                    <a:pt x="5" y="0"/>
                    <a:pt x="3" y="0"/>
                    <a:pt x="3" y="1"/>
                  </a:cubicBezTo>
                  <a:cubicBezTo>
                    <a:pt x="2" y="2"/>
                    <a:pt x="2" y="3"/>
                    <a:pt x="1" y="3"/>
                  </a:cubicBezTo>
                  <a:cubicBezTo>
                    <a:pt x="0" y="4"/>
                    <a:pt x="0" y="7"/>
                    <a:pt x="0" y="7"/>
                  </a:cubicBezTo>
                  <a:cubicBezTo>
                    <a:pt x="0" y="9"/>
                    <a:pt x="0" y="9"/>
                    <a:pt x="0" y="9"/>
                  </a:cubicBezTo>
                  <a:cubicBezTo>
                    <a:pt x="0" y="9"/>
                    <a:pt x="0" y="10"/>
                    <a:pt x="0" y="11"/>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9" name="Freeform 173"/>
            <p:cNvSpPr>
              <a:spLocks/>
            </p:cNvSpPr>
            <p:nvPr/>
          </p:nvSpPr>
          <p:spPr bwMode="auto">
            <a:xfrm>
              <a:off x="7040860" y="5436721"/>
              <a:ext cx="54878" cy="54464"/>
            </a:xfrm>
            <a:custGeom>
              <a:avLst/>
              <a:gdLst>
                <a:gd name="T0" fmla="*/ 17 w 19"/>
                <a:gd name="T1" fmla="*/ 2 h 20"/>
                <a:gd name="T2" fmla="*/ 15 w 19"/>
                <a:gd name="T3" fmla="*/ 1 h 20"/>
                <a:gd name="T4" fmla="*/ 12 w 19"/>
                <a:gd name="T5" fmla="*/ 2 h 20"/>
                <a:gd name="T6" fmla="*/ 9 w 19"/>
                <a:gd name="T7" fmla="*/ 1 h 20"/>
                <a:gd name="T8" fmla="*/ 5 w 19"/>
                <a:gd name="T9" fmla="*/ 0 h 20"/>
                <a:gd name="T10" fmla="*/ 3 w 19"/>
                <a:gd name="T11" fmla="*/ 3 h 20"/>
                <a:gd name="T12" fmla="*/ 1 w 19"/>
                <a:gd name="T13" fmla="*/ 5 h 20"/>
                <a:gd name="T14" fmla="*/ 4 w 19"/>
                <a:gd name="T15" fmla="*/ 7 h 20"/>
                <a:gd name="T16" fmla="*/ 7 w 19"/>
                <a:gd name="T17" fmla="*/ 8 h 20"/>
                <a:gd name="T18" fmla="*/ 10 w 19"/>
                <a:gd name="T19" fmla="*/ 10 h 20"/>
                <a:gd name="T20" fmla="*/ 9 w 19"/>
                <a:gd name="T21" fmla="*/ 13 h 20"/>
                <a:gd name="T22" fmla="*/ 6 w 19"/>
                <a:gd name="T23" fmla="*/ 16 h 20"/>
                <a:gd name="T24" fmla="*/ 8 w 19"/>
                <a:gd name="T25" fmla="*/ 18 h 20"/>
                <a:gd name="T26" fmla="*/ 11 w 19"/>
                <a:gd name="T27" fmla="*/ 19 h 20"/>
                <a:gd name="T28" fmla="*/ 13 w 19"/>
                <a:gd name="T29" fmla="*/ 18 h 20"/>
                <a:gd name="T30" fmla="*/ 14 w 19"/>
                <a:gd name="T31" fmla="*/ 15 h 20"/>
                <a:gd name="T32" fmla="*/ 15 w 19"/>
                <a:gd name="T33" fmla="*/ 14 h 20"/>
                <a:gd name="T34" fmla="*/ 16 w 19"/>
                <a:gd name="T35" fmla="*/ 12 h 20"/>
                <a:gd name="T36" fmla="*/ 15 w 19"/>
                <a:gd name="T37" fmla="*/ 10 h 20"/>
                <a:gd name="T38" fmla="*/ 14 w 19"/>
                <a:gd name="T39" fmla="*/ 9 h 20"/>
                <a:gd name="T40" fmla="*/ 14 w 19"/>
                <a:gd name="T41" fmla="*/ 7 h 20"/>
                <a:gd name="T42" fmla="*/ 12 w 19"/>
                <a:gd name="T43" fmla="*/ 6 h 20"/>
                <a:gd name="T44" fmla="*/ 17 w 19"/>
                <a:gd name="T45" fmla="*/ 3 h 20"/>
                <a:gd name="T46" fmla="*/ 17 w 19"/>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 h="20">
                  <a:moveTo>
                    <a:pt x="17" y="2"/>
                  </a:moveTo>
                  <a:cubicBezTo>
                    <a:pt x="17" y="1"/>
                    <a:pt x="16" y="1"/>
                    <a:pt x="15" y="1"/>
                  </a:cubicBezTo>
                  <a:cubicBezTo>
                    <a:pt x="14" y="1"/>
                    <a:pt x="13" y="1"/>
                    <a:pt x="12" y="2"/>
                  </a:cubicBezTo>
                  <a:cubicBezTo>
                    <a:pt x="10" y="2"/>
                    <a:pt x="10" y="1"/>
                    <a:pt x="9" y="1"/>
                  </a:cubicBezTo>
                  <a:cubicBezTo>
                    <a:pt x="9" y="1"/>
                    <a:pt x="5" y="0"/>
                    <a:pt x="5" y="0"/>
                  </a:cubicBezTo>
                  <a:cubicBezTo>
                    <a:pt x="5" y="0"/>
                    <a:pt x="4" y="2"/>
                    <a:pt x="3" y="3"/>
                  </a:cubicBezTo>
                  <a:cubicBezTo>
                    <a:pt x="2" y="3"/>
                    <a:pt x="2" y="4"/>
                    <a:pt x="1" y="5"/>
                  </a:cubicBezTo>
                  <a:cubicBezTo>
                    <a:pt x="0" y="5"/>
                    <a:pt x="3" y="7"/>
                    <a:pt x="4" y="7"/>
                  </a:cubicBezTo>
                  <a:cubicBezTo>
                    <a:pt x="4" y="8"/>
                    <a:pt x="6" y="8"/>
                    <a:pt x="7" y="8"/>
                  </a:cubicBezTo>
                  <a:cubicBezTo>
                    <a:pt x="7" y="8"/>
                    <a:pt x="10" y="10"/>
                    <a:pt x="10" y="10"/>
                  </a:cubicBezTo>
                  <a:cubicBezTo>
                    <a:pt x="11" y="11"/>
                    <a:pt x="10" y="12"/>
                    <a:pt x="9" y="13"/>
                  </a:cubicBezTo>
                  <a:cubicBezTo>
                    <a:pt x="8" y="15"/>
                    <a:pt x="7" y="15"/>
                    <a:pt x="6" y="16"/>
                  </a:cubicBezTo>
                  <a:cubicBezTo>
                    <a:pt x="5" y="16"/>
                    <a:pt x="8" y="17"/>
                    <a:pt x="8" y="18"/>
                  </a:cubicBezTo>
                  <a:cubicBezTo>
                    <a:pt x="9" y="19"/>
                    <a:pt x="10" y="20"/>
                    <a:pt x="11" y="19"/>
                  </a:cubicBezTo>
                  <a:cubicBezTo>
                    <a:pt x="11" y="19"/>
                    <a:pt x="13" y="18"/>
                    <a:pt x="13" y="18"/>
                  </a:cubicBezTo>
                  <a:cubicBezTo>
                    <a:pt x="13" y="18"/>
                    <a:pt x="14" y="16"/>
                    <a:pt x="14" y="15"/>
                  </a:cubicBezTo>
                  <a:cubicBezTo>
                    <a:pt x="14" y="15"/>
                    <a:pt x="15" y="14"/>
                    <a:pt x="15" y="14"/>
                  </a:cubicBezTo>
                  <a:cubicBezTo>
                    <a:pt x="16" y="12"/>
                    <a:pt x="16" y="12"/>
                    <a:pt x="16" y="12"/>
                  </a:cubicBezTo>
                  <a:cubicBezTo>
                    <a:pt x="15" y="10"/>
                    <a:pt x="15" y="10"/>
                    <a:pt x="15" y="10"/>
                  </a:cubicBezTo>
                  <a:cubicBezTo>
                    <a:pt x="14" y="9"/>
                    <a:pt x="14" y="9"/>
                    <a:pt x="14" y="9"/>
                  </a:cubicBezTo>
                  <a:cubicBezTo>
                    <a:pt x="14" y="7"/>
                    <a:pt x="14" y="7"/>
                    <a:pt x="14" y="7"/>
                  </a:cubicBezTo>
                  <a:cubicBezTo>
                    <a:pt x="12" y="6"/>
                    <a:pt x="12" y="6"/>
                    <a:pt x="12" y="6"/>
                  </a:cubicBezTo>
                  <a:cubicBezTo>
                    <a:pt x="12" y="6"/>
                    <a:pt x="15" y="4"/>
                    <a:pt x="17" y="3"/>
                  </a:cubicBezTo>
                  <a:cubicBezTo>
                    <a:pt x="19" y="2"/>
                    <a:pt x="17" y="2"/>
                    <a:pt x="17" y="2"/>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0" name="Freeform 174"/>
            <p:cNvSpPr>
              <a:spLocks/>
            </p:cNvSpPr>
            <p:nvPr/>
          </p:nvSpPr>
          <p:spPr bwMode="auto">
            <a:xfrm>
              <a:off x="7089960" y="5537480"/>
              <a:ext cx="37548" cy="27232"/>
            </a:xfrm>
            <a:custGeom>
              <a:avLst/>
              <a:gdLst>
                <a:gd name="T0" fmla="*/ 1 w 13"/>
                <a:gd name="T1" fmla="*/ 8 h 10"/>
                <a:gd name="T2" fmla="*/ 3 w 13"/>
                <a:gd name="T3" fmla="*/ 10 h 10"/>
                <a:gd name="T4" fmla="*/ 6 w 13"/>
                <a:gd name="T5" fmla="*/ 8 h 10"/>
                <a:gd name="T6" fmla="*/ 8 w 13"/>
                <a:gd name="T7" fmla="*/ 6 h 10"/>
                <a:gd name="T8" fmla="*/ 10 w 13"/>
                <a:gd name="T9" fmla="*/ 4 h 10"/>
                <a:gd name="T10" fmla="*/ 13 w 13"/>
                <a:gd name="T11" fmla="*/ 0 h 10"/>
                <a:gd name="T12" fmla="*/ 10 w 13"/>
                <a:gd name="T13" fmla="*/ 0 h 10"/>
                <a:gd name="T14" fmla="*/ 8 w 13"/>
                <a:gd name="T15" fmla="*/ 3 h 10"/>
                <a:gd name="T16" fmla="*/ 5 w 13"/>
                <a:gd name="T17" fmla="*/ 2 h 10"/>
                <a:gd name="T18" fmla="*/ 1 w 13"/>
                <a:gd name="T19"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0">
                  <a:moveTo>
                    <a:pt x="1" y="8"/>
                  </a:moveTo>
                  <a:cubicBezTo>
                    <a:pt x="0" y="9"/>
                    <a:pt x="3" y="10"/>
                    <a:pt x="3" y="10"/>
                  </a:cubicBezTo>
                  <a:cubicBezTo>
                    <a:pt x="3" y="10"/>
                    <a:pt x="6" y="8"/>
                    <a:pt x="6" y="8"/>
                  </a:cubicBezTo>
                  <a:cubicBezTo>
                    <a:pt x="7" y="8"/>
                    <a:pt x="7" y="7"/>
                    <a:pt x="8" y="6"/>
                  </a:cubicBezTo>
                  <a:cubicBezTo>
                    <a:pt x="8" y="5"/>
                    <a:pt x="9" y="5"/>
                    <a:pt x="10" y="4"/>
                  </a:cubicBezTo>
                  <a:cubicBezTo>
                    <a:pt x="12" y="4"/>
                    <a:pt x="13" y="0"/>
                    <a:pt x="13" y="0"/>
                  </a:cubicBezTo>
                  <a:cubicBezTo>
                    <a:pt x="13" y="0"/>
                    <a:pt x="10" y="0"/>
                    <a:pt x="10" y="0"/>
                  </a:cubicBezTo>
                  <a:cubicBezTo>
                    <a:pt x="10" y="1"/>
                    <a:pt x="9" y="3"/>
                    <a:pt x="8" y="3"/>
                  </a:cubicBezTo>
                  <a:cubicBezTo>
                    <a:pt x="8" y="3"/>
                    <a:pt x="6" y="2"/>
                    <a:pt x="5" y="2"/>
                  </a:cubicBezTo>
                  <a:cubicBezTo>
                    <a:pt x="5" y="2"/>
                    <a:pt x="1" y="6"/>
                    <a:pt x="1" y="8"/>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1" name="Freeform 175"/>
            <p:cNvSpPr>
              <a:spLocks/>
            </p:cNvSpPr>
            <p:nvPr/>
          </p:nvSpPr>
          <p:spPr bwMode="auto">
            <a:xfrm>
              <a:off x="6933993" y="5600113"/>
              <a:ext cx="11553" cy="24509"/>
            </a:xfrm>
            <a:custGeom>
              <a:avLst/>
              <a:gdLst>
                <a:gd name="T0" fmla="*/ 1 w 4"/>
                <a:gd name="T1" fmla="*/ 1 h 9"/>
                <a:gd name="T2" fmla="*/ 0 w 4"/>
                <a:gd name="T3" fmla="*/ 4 h 9"/>
                <a:gd name="T4" fmla="*/ 1 w 4"/>
                <a:gd name="T5" fmla="*/ 9 h 9"/>
                <a:gd name="T6" fmla="*/ 3 w 4"/>
                <a:gd name="T7" fmla="*/ 7 h 9"/>
                <a:gd name="T8" fmla="*/ 4 w 4"/>
                <a:gd name="T9" fmla="*/ 4 h 9"/>
                <a:gd name="T10" fmla="*/ 2 w 4"/>
                <a:gd name="T11" fmla="*/ 1 h 9"/>
                <a:gd name="T12" fmla="*/ 1 w 4"/>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4" h="9">
                  <a:moveTo>
                    <a:pt x="1" y="1"/>
                  </a:moveTo>
                  <a:cubicBezTo>
                    <a:pt x="0" y="4"/>
                    <a:pt x="0" y="4"/>
                    <a:pt x="0" y="4"/>
                  </a:cubicBezTo>
                  <a:cubicBezTo>
                    <a:pt x="0" y="4"/>
                    <a:pt x="1" y="8"/>
                    <a:pt x="1" y="9"/>
                  </a:cubicBezTo>
                  <a:cubicBezTo>
                    <a:pt x="1" y="9"/>
                    <a:pt x="3" y="7"/>
                    <a:pt x="3" y="7"/>
                  </a:cubicBezTo>
                  <a:cubicBezTo>
                    <a:pt x="4" y="4"/>
                    <a:pt x="4" y="4"/>
                    <a:pt x="4" y="4"/>
                  </a:cubicBezTo>
                  <a:cubicBezTo>
                    <a:pt x="4" y="4"/>
                    <a:pt x="3" y="2"/>
                    <a:pt x="2" y="1"/>
                  </a:cubicBezTo>
                  <a:cubicBezTo>
                    <a:pt x="2" y="0"/>
                    <a:pt x="1" y="1"/>
                    <a:pt x="1" y="1"/>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2" name="Freeform 176"/>
            <p:cNvSpPr>
              <a:spLocks/>
            </p:cNvSpPr>
            <p:nvPr/>
          </p:nvSpPr>
          <p:spPr bwMode="auto">
            <a:xfrm>
              <a:off x="7061078" y="5698148"/>
              <a:ext cx="20218" cy="17701"/>
            </a:xfrm>
            <a:custGeom>
              <a:avLst/>
              <a:gdLst>
                <a:gd name="T0" fmla="*/ 2 w 7"/>
                <a:gd name="T1" fmla="*/ 4 h 6"/>
                <a:gd name="T2" fmla="*/ 2 w 7"/>
                <a:gd name="T3" fmla="*/ 5 h 6"/>
                <a:gd name="T4" fmla="*/ 4 w 7"/>
                <a:gd name="T5" fmla="*/ 6 h 6"/>
                <a:gd name="T6" fmla="*/ 6 w 7"/>
                <a:gd name="T7" fmla="*/ 5 h 6"/>
                <a:gd name="T8" fmla="*/ 6 w 7"/>
                <a:gd name="T9" fmla="*/ 3 h 6"/>
                <a:gd name="T10" fmla="*/ 4 w 7"/>
                <a:gd name="T11" fmla="*/ 1 h 6"/>
                <a:gd name="T12" fmla="*/ 2 w 7"/>
                <a:gd name="T13" fmla="*/ 0 h 6"/>
                <a:gd name="T14" fmla="*/ 0 w 7"/>
                <a:gd name="T15" fmla="*/ 2 h 6"/>
                <a:gd name="T16" fmla="*/ 0 w 7"/>
                <a:gd name="T17" fmla="*/ 3 h 6"/>
                <a:gd name="T18" fmla="*/ 2 w 7"/>
                <a:gd name="T1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6">
                  <a:moveTo>
                    <a:pt x="2" y="4"/>
                  </a:moveTo>
                  <a:cubicBezTo>
                    <a:pt x="2" y="4"/>
                    <a:pt x="2" y="4"/>
                    <a:pt x="2" y="5"/>
                  </a:cubicBezTo>
                  <a:cubicBezTo>
                    <a:pt x="2" y="6"/>
                    <a:pt x="3" y="6"/>
                    <a:pt x="4" y="6"/>
                  </a:cubicBezTo>
                  <a:cubicBezTo>
                    <a:pt x="4" y="6"/>
                    <a:pt x="5" y="6"/>
                    <a:pt x="6" y="5"/>
                  </a:cubicBezTo>
                  <a:cubicBezTo>
                    <a:pt x="7" y="5"/>
                    <a:pt x="6" y="3"/>
                    <a:pt x="6" y="3"/>
                  </a:cubicBezTo>
                  <a:cubicBezTo>
                    <a:pt x="5" y="2"/>
                    <a:pt x="4" y="1"/>
                    <a:pt x="4" y="1"/>
                  </a:cubicBezTo>
                  <a:cubicBezTo>
                    <a:pt x="4" y="1"/>
                    <a:pt x="2" y="0"/>
                    <a:pt x="2" y="0"/>
                  </a:cubicBezTo>
                  <a:cubicBezTo>
                    <a:pt x="1" y="0"/>
                    <a:pt x="0" y="2"/>
                    <a:pt x="0" y="2"/>
                  </a:cubicBezTo>
                  <a:cubicBezTo>
                    <a:pt x="0" y="3"/>
                    <a:pt x="0" y="3"/>
                    <a:pt x="0" y="3"/>
                  </a:cubicBezTo>
                  <a:cubicBezTo>
                    <a:pt x="0" y="3"/>
                    <a:pt x="2" y="3"/>
                    <a:pt x="2" y="4"/>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3" name="Freeform 177"/>
            <p:cNvSpPr>
              <a:spLocks/>
            </p:cNvSpPr>
            <p:nvPr/>
          </p:nvSpPr>
          <p:spPr bwMode="auto">
            <a:xfrm>
              <a:off x="7014865" y="5621899"/>
              <a:ext cx="23106" cy="32678"/>
            </a:xfrm>
            <a:custGeom>
              <a:avLst/>
              <a:gdLst>
                <a:gd name="T0" fmla="*/ 2 w 8"/>
                <a:gd name="T1" fmla="*/ 12 h 12"/>
                <a:gd name="T2" fmla="*/ 2 w 8"/>
                <a:gd name="T3" fmla="*/ 10 h 12"/>
                <a:gd name="T4" fmla="*/ 4 w 8"/>
                <a:gd name="T5" fmla="*/ 9 h 12"/>
                <a:gd name="T6" fmla="*/ 6 w 8"/>
                <a:gd name="T7" fmla="*/ 7 h 12"/>
                <a:gd name="T8" fmla="*/ 8 w 8"/>
                <a:gd name="T9" fmla="*/ 5 h 12"/>
                <a:gd name="T10" fmla="*/ 8 w 8"/>
                <a:gd name="T11" fmla="*/ 3 h 12"/>
                <a:gd name="T12" fmla="*/ 8 w 8"/>
                <a:gd name="T13" fmla="*/ 2 h 12"/>
                <a:gd name="T14" fmla="*/ 6 w 8"/>
                <a:gd name="T15" fmla="*/ 1 h 12"/>
                <a:gd name="T16" fmla="*/ 5 w 8"/>
                <a:gd name="T17" fmla="*/ 1 h 12"/>
                <a:gd name="T18" fmla="*/ 4 w 8"/>
                <a:gd name="T19" fmla="*/ 3 h 12"/>
                <a:gd name="T20" fmla="*/ 2 w 8"/>
                <a:gd name="T21" fmla="*/ 7 h 12"/>
                <a:gd name="T22" fmla="*/ 2 w 8"/>
                <a:gd name="T23" fmla="*/ 7 h 12"/>
                <a:gd name="T24" fmla="*/ 0 w 8"/>
                <a:gd name="T25" fmla="*/ 9 h 12"/>
                <a:gd name="T26" fmla="*/ 1 w 8"/>
                <a:gd name="T27" fmla="*/ 11 h 12"/>
                <a:gd name="T28" fmla="*/ 2 w 8"/>
                <a:gd name="T2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2" y="12"/>
                  </a:moveTo>
                  <a:cubicBezTo>
                    <a:pt x="2" y="10"/>
                    <a:pt x="2" y="10"/>
                    <a:pt x="2" y="10"/>
                  </a:cubicBezTo>
                  <a:cubicBezTo>
                    <a:pt x="4" y="9"/>
                    <a:pt x="4" y="9"/>
                    <a:pt x="4" y="9"/>
                  </a:cubicBezTo>
                  <a:cubicBezTo>
                    <a:pt x="4" y="9"/>
                    <a:pt x="6" y="8"/>
                    <a:pt x="6" y="7"/>
                  </a:cubicBezTo>
                  <a:cubicBezTo>
                    <a:pt x="7" y="7"/>
                    <a:pt x="8" y="6"/>
                    <a:pt x="8" y="5"/>
                  </a:cubicBezTo>
                  <a:cubicBezTo>
                    <a:pt x="8" y="5"/>
                    <a:pt x="8" y="3"/>
                    <a:pt x="8" y="3"/>
                  </a:cubicBezTo>
                  <a:cubicBezTo>
                    <a:pt x="8" y="3"/>
                    <a:pt x="8" y="2"/>
                    <a:pt x="8" y="2"/>
                  </a:cubicBezTo>
                  <a:cubicBezTo>
                    <a:pt x="8" y="2"/>
                    <a:pt x="7" y="1"/>
                    <a:pt x="6" y="1"/>
                  </a:cubicBezTo>
                  <a:cubicBezTo>
                    <a:pt x="5" y="0"/>
                    <a:pt x="6" y="1"/>
                    <a:pt x="5" y="1"/>
                  </a:cubicBezTo>
                  <a:cubicBezTo>
                    <a:pt x="4" y="1"/>
                    <a:pt x="4" y="3"/>
                    <a:pt x="4" y="3"/>
                  </a:cubicBezTo>
                  <a:cubicBezTo>
                    <a:pt x="4" y="3"/>
                    <a:pt x="3" y="6"/>
                    <a:pt x="2" y="7"/>
                  </a:cubicBezTo>
                  <a:cubicBezTo>
                    <a:pt x="2" y="7"/>
                    <a:pt x="2" y="7"/>
                    <a:pt x="2" y="7"/>
                  </a:cubicBezTo>
                  <a:cubicBezTo>
                    <a:pt x="0" y="9"/>
                    <a:pt x="0" y="9"/>
                    <a:pt x="0" y="9"/>
                  </a:cubicBezTo>
                  <a:cubicBezTo>
                    <a:pt x="1" y="11"/>
                    <a:pt x="1" y="11"/>
                    <a:pt x="1" y="11"/>
                  </a:cubicBezTo>
                  <a:lnTo>
                    <a:pt x="2" y="12"/>
                  </a:ln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4" name="Freeform 178"/>
            <p:cNvSpPr>
              <a:spLocks/>
            </p:cNvSpPr>
            <p:nvPr/>
          </p:nvSpPr>
          <p:spPr bwMode="auto">
            <a:xfrm>
              <a:off x="6928216" y="5285584"/>
              <a:ext cx="28883" cy="27232"/>
            </a:xfrm>
            <a:custGeom>
              <a:avLst/>
              <a:gdLst>
                <a:gd name="T0" fmla="*/ 6 w 10"/>
                <a:gd name="T1" fmla="*/ 6 h 10"/>
                <a:gd name="T2" fmla="*/ 9 w 10"/>
                <a:gd name="T3" fmla="*/ 4 h 10"/>
                <a:gd name="T4" fmla="*/ 9 w 10"/>
                <a:gd name="T5" fmla="*/ 2 h 10"/>
                <a:gd name="T6" fmla="*/ 9 w 10"/>
                <a:gd name="T7" fmla="*/ 1 h 10"/>
                <a:gd name="T8" fmla="*/ 5 w 10"/>
                <a:gd name="T9" fmla="*/ 0 h 10"/>
                <a:gd name="T10" fmla="*/ 2 w 10"/>
                <a:gd name="T11" fmla="*/ 1 h 10"/>
                <a:gd name="T12" fmla="*/ 0 w 10"/>
                <a:gd name="T13" fmla="*/ 3 h 10"/>
                <a:gd name="T14" fmla="*/ 1 w 10"/>
                <a:gd name="T15" fmla="*/ 5 h 10"/>
                <a:gd name="T16" fmla="*/ 2 w 10"/>
                <a:gd name="T17" fmla="*/ 8 h 10"/>
                <a:gd name="T18" fmla="*/ 3 w 10"/>
                <a:gd name="T19" fmla="*/ 9 h 10"/>
                <a:gd name="T20" fmla="*/ 6 w 10"/>
                <a:gd name="T21" fmla="*/ 8 h 10"/>
                <a:gd name="T22" fmla="*/ 6 w 10"/>
                <a:gd name="T23"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0">
                  <a:moveTo>
                    <a:pt x="6" y="6"/>
                  </a:moveTo>
                  <a:cubicBezTo>
                    <a:pt x="6" y="6"/>
                    <a:pt x="8" y="5"/>
                    <a:pt x="9" y="4"/>
                  </a:cubicBezTo>
                  <a:cubicBezTo>
                    <a:pt x="10" y="3"/>
                    <a:pt x="9" y="2"/>
                    <a:pt x="9" y="2"/>
                  </a:cubicBezTo>
                  <a:cubicBezTo>
                    <a:pt x="9" y="1"/>
                    <a:pt x="9" y="1"/>
                    <a:pt x="9" y="1"/>
                  </a:cubicBezTo>
                  <a:cubicBezTo>
                    <a:pt x="9" y="1"/>
                    <a:pt x="7" y="0"/>
                    <a:pt x="5" y="0"/>
                  </a:cubicBezTo>
                  <a:cubicBezTo>
                    <a:pt x="3" y="0"/>
                    <a:pt x="4" y="0"/>
                    <a:pt x="2" y="1"/>
                  </a:cubicBezTo>
                  <a:cubicBezTo>
                    <a:pt x="1" y="1"/>
                    <a:pt x="1" y="2"/>
                    <a:pt x="0" y="3"/>
                  </a:cubicBezTo>
                  <a:cubicBezTo>
                    <a:pt x="0" y="4"/>
                    <a:pt x="0" y="4"/>
                    <a:pt x="1" y="5"/>
                  </a:cubicBezTo>
                  <a:cubicBezTo>
                    <a:pt x="2" y="6"/>
                    <a:pt x="2" y="6"/>
                    <a:pt x="2" y="8"/>
                  </a:cubicBezTo>
                  <a:cubicBezTo>
                    <a:pt x="2" y="10"/>
                    <a:pt x="3" y="9"/>
                    <a:pt x="3" y="9"/>
                  </a:cubicBezTo>
                  <a:cubicBezTo>
                    <a:pt x="4" y="9"/>
                    <a:pt x="5" y="9"/>
                    <a:pt x="6" y="8"/>
                  </a:cubicBezTo>
                  <a:cubicBezTo>
                    <a:pt x="8" y="7"/>
                    <a:pt x="6" y="6"/>
                    <a:pt x="6" y="6"/>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5" name="Freeform 179"/>
            <p:cNvSpPr>
              <a:spLocks/>
            </p:cNvSpPr>
            <p:nvPr/>
          </p:nvSpPr>
          <p:spPr bwMode="auto">
            <a:xfrm>
              <a:off x="6945546" y="5670916"/>
              <a:ext cx="34660" cy="29955"/>
            </a:xfrm>
            <a:custGeom>
              <a:avLst/>
              <a:gdLst>
                <a:gd name="T0" fmla="*/ 10 w 12"/>
                <a:gd name="T1" fmla="*/ 4 h 11"/>
                <a:gd name="T2" fmla="*/ 11 w 12"/>
                <a:gd name="T3" fmla="*/ 3 h 11"/>
                <a:gd name="T4" fmla="*/ 10 w 12"/>
                <a:gd name="T5" fmla="*/ 1 h 11"/>
                <a:gd name="T6" fmla="*/ 7 w 12"/>
                <a:gd name="T7" fmla="*/ 2 h 11"/>
                <a:gd name="T8" fmla="*/ 8 w 12"/>
                <a:gd name="T9" fmla="*/ 3 h 11"/>
                <a:gd name="T10" fmla="*/ 7 w 12"/>
                <a:gd name="T11" fmla="*/ 3 h 11"/>
                <a:gd name="T12" fmla="*/ 5 w 12"/>
                <a:gd name="T13" fmla="*/ 4 h 11"/>
                <a:gd name="T14" fmla="*/ 6 w 12"/>
                <a:gd name="T15" fmla="*/ 6 h 11"/>
                <a:gd name="T16" fmla="*/ 5 w 12"/>
                <a:gd name="T17" fmla="*/ 7 h 11"/>
                <a:gd name="T18" fmla="*/ 4 w 12"/>
                <a:gd name="T19" fmla="*/ 6 h 11"/>
                <a:gd name="T20" fmla="*/ 2 w 12"/>
                <a:gd name="T21" fmla="*/ 6 h 11"/>
                <a:gd name="T22" fmla="*/ 1 w 12"/>
                <a:gd name="T23" fmla="*/ 10 h 11"/>
                <a:gd name="T24" fmla="*/ 3 w 12"/>
                <a:gd name="T25" fmla="*/ 10 h 11"/>
                <a:gd name="T26" fmla="*/ 5 w 12"/>
                <a:gd name="T27" fmla="*/ 9 h 11"/>
                <a:gd name="T28" fmla="*/ 5 w 12"/>
                <a:gd name="T29" fmla="*/ 10 h 11"/>
                <a:gd name="T30" fmla="*/ 8 w 12"/>
                <a:gd name="T31" fmla="*/ 8 h 11"/>
                <a:gd name="T32" fmla="*/ 9 w 12"/>
                <a:gd name="T33" fmla="*/ 7 h 11"/>
                <a:gd name="T34" fmla="*/ 8 w 12"/>
                <a:gd name="T35" fmla="*/ 5 h 11"/>
                <a:gd name="T36" fmla="*/ 10 w 12"/>
                <a:gd name="T37"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 h="11">
                  <a:moveTo>
                    <a:pt x="10" y="4"/>
                  </a:moveTo>
                  <a:cubicBezTo>
                    <a:pt x="12" y="4"/>
                    <a:pt x="11" y="3"/>
                    <a:pt x="11" y="3"/>
                  </a:cubicBezTo>
                  <a:cubicBezTo>
                    <a:pt x="11" y="2"/>
                    <a:pt x="11" y="2"/>
                    <a:pt x="10" y="1"/>
                  </a:cubicBezTo>
                  <a:cubicBezTo>
                    <a:pt x="10" y="0"/>
                    <a:pt x="8" y="1"/>
                    <a:pt x="7" y="2"/>
                  </a:cubicBezTo>
                  <a:cubicBezTo>
                    <a:pt x="8" y="3"/>
                    <a:pt x="8" y="3"/>
                    <a:pt x="8" y="3"/>
                  </a:cubicBezTo>
                  <a:cubicBezTo>
                    <a:pt x="8" y="3"/>
                    <a:pt x="7" y="3"/>
                    <a:pt x="7" y="3"/>
                  </a:cubicBezTo>
                  <a:cubicBezTo>
                    <a:pt x="6" y="3"/>
                    <a:pt x="6" y="4"/>
                    <a:pt x="5" y="4"/>
                  </a:cubicBezTo>
                  <a:cubicBezTo>
                    <a:pt x="5" y="5"/>
                    <a:pt x="6" y="6"/>
                    <a:pt x="6" y="6"/>
                  </a:cubicBezTo>
                  <a:cubicBezTo>
                    <a:pt x="5" y="7"/>
                    <a:pt x="5" y="7"/>
                    <a:pt x="5" y="7"/>
                  </a:cubicBezTo>
                  <a:cubicBezTo>
                    <a:pt x="5" y="7"/>
                    <a:pt x="5" y="7"/>
                    <a:pt x="4" y="6"/>
                  </a:cubicBezTo>
                  <a:cubicBezTo>
                    <a:pt x="3" y="5"/>
                    <a:pt x="3" y="6"/>
                    <a:pt x="2" y="6"/>
                  </a:cubicBezTo>
                  <a:cubicBezTo>
                    <a:pt x="0" y="7"/>
                    <a:pt x="1" y="9"/>
                    <a:pt x="1" y="10"/>
                  </a:cubicBezTo>
                  <a:cubicBezTo>
                    <a:pt x="2" y="11"/>
                    <a:pt x="3" y="10"/>
                    <a:pt x="3" y="10"/>
                  </a:cubicBezTo>
                  <a:cubicBezTo>
                    <a:pt x="5" y="9"/>
                    <a:pt x="5" y="9"/>
                    <a:pt x="5" y="9"/>
                  </a:cubicBezTo>
                  <a:cubicBezTo>
                    <a:pt x="5" y="10"/>
                    <a:pt x="5" y="10"/>
                    <a:pt x="5" y="10"/>
                  </a:cubicBezTo>
                  <a:cubicBezTo>
                    <a:pt x="5" y="10"/>
                    <a:pt x="6" y="10"/>
                    <a:pt x="8" y="8"/>
                  </a:cubicBezTo>
                  <a:cubicBezTo>
                    <a:pt x="11" y="7"/>
                    <a:pt x="9" y="7"/>
                    <a:pt x="9" y="7"/>
                  </a:cubicBezTo>
                  <a:cubicBezTo>
                    <a:pt x="8" y="5"/>
                    <a:pt x="8" y="5"/>
                    <a:pt x="8" y="5"/>
                  </a:cubicBezTo>
                  <a:cubicBezTo>
                    <a:pt x="8" y="5"/>
                    <a:pt x="8" y="5"/>
                    <a:pt x="10" y="4"/>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6" name="Freeform 180"/>
            <p:cNvSpPr>
              <a:spLocks/>
            </p:cNvSpPr>
            <p:nvPr/>
          </p:nvSpPr>
          <p:spPr bwMode="auto">
            <a:xfrm>
              <a:off x="6936881" y="5346856"/>
              <a:ext cx="11553" cy="8170"/>
            </a:xfrm>
            <a:custGeom>
              <a:avLst/>
              <a:gdLst>
                <a:gd name="T0" fmla="*/ 3 w 4"/>
                <a:gd name="T1" fmla="*/ 0 h 3"/>
                <a:gd name="T2" fmla="*/ 1 w 4"/>
                <a:gd name="T3" fmla="*/ 1 h 3"/>
                <a:gd name="T4" fmla="*/ 0 w 4"/>
                <a:gd name="T5" fmla="*/ 2 h 3"/>
                <a:gd name="T6" fmla="*/ 1 w 4"/>
                <a:gd name="T7" fmla="*/ 3 h 3"/>
                <a:gd name="T8" fmla="*/ 3 w 4"/>
                <a:gd name="T9" fmla="*/ 1 h 3"/>
                <a:gd name="T10" fmla="*/ 3 w 4"/>
                <a:gd name="T11" fmla="*/ 0 h 3"/>
              </a:gdLst>
              <a:ahLst/>
              <a:cxnLst>
                <a:cxn ang="0">
                  <a:pos x="T0" y="T1"/>
                </a:cxn>
                <a:cxn ang="0">
                  <a:pos x="T2" y="T3"/>
                </a:cxn>
                <a:cxn ang="0">
                  <a:pos x="T4" y="T5"/>
                </a:cxn>
                <a:cxn ang="0">
                  <a:pos x="T6" y="T7"/>
                </a:cxn>
                <a:cxn ang="0">
                  <a:pos x="T8" y="T9"/>
                </a:cxn>
                <a:cxn ang="0">
                  <a:pos x="T10" y="T11"/>
                </a:cxn>
              </a:cxnLst>
              <a:rect l="0" t="0" r="r" b="b"/>
              <a:pathLst>
                <a:path w="4" h="3">
                  <a:moveTo>
                    <a:pt x="3" y="0"/>
                  </a:moveTo>
                  <a:cubicBezTo>
                    <a:pt x="1" y="1"/>
                    <a:pt x="1" y="1"/>
                    <a:pt x="1" y="1"/>
                  </a:cubicBezTo>
                  <a:cubicBezTo>
                    <a:pt x="1" y="1"/>
                    <a:pt x="0" y="2"/>
                    <a:pt x="0" y="2"/>
                  </a:cubicBezTo>
                  <a:cubicBezTo>
                    <a:pt x="1" y="3"/>
                    <a:pt x="1" y="3"/>
                    <a:pt x="1" y="3"/>
                  </a:cubicBezTo>
                  <a:cubicBezTo>
                    <a:pt x="1" y="3"/>
                    <a:pt x="2" y="2"/>
                    <a:pt x="3" y="1"/>
                  </a:cubicBezTo>
                  <a:cubicBezTo>
                    <a:pt x="4" y="0"/>
                    <a:pt x="3" y="0"/>
                    <a:pt x="3" y="0"/>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7" name="Freeform 181"/>
            <p:cNvSpPr>
              <a:spLocks/>
            </p:cNvSpPr>
            <p:nvPr/>
          </p:nvSpPr>
          <p:spPr bwMode="auto">
            <a:xfrm>
              <a:off x="6974429" y="5649131"/>
              <a:ext cx="14441" cy="19062"/>
            </a:xfrm>
            <a:custGeom>
              <a:avLst/>
              <a:gdLst>
                <a:gd name="T0" fmla="*/ 3 w 5"/>
                <a:gd name="T1" fmla="*/ 6 h 7"/>
                <a:gd name="T2" fmla="*/ 5 w 5"/>
                <a:gd name="T3" fmla="*/ 3 h 7"/>
                <a:gd name="T4" fmla="*/ 5 w 5"/>
                <a:gd name="T5" fmla="*/ 1 h 7"/>
                <a:gd name="T6" fmla="*/ 3 w 5"/>
                <a:gd name="T7" fmla="*/ 0 h 7"/>
                <a:gd name="T8" fmla="*/ 0 w 5"/>
                <a:gd name="T9" fmla="*/ 1 h 7"/>
                <a:gd name="T10" fmla="*/ 2 w 5"/>
                <a:gd name="T11" fmla="*/ 3 h 7"/>
                <a:gd name="T12" fmla="*/ 3 w 5"/>
                <a:gd name="T13" fmla="*/ 6 h 7"/>
              </a:gdLst>
              <a:ahLst/>
              <a:cxnLst>
                <a:cxn ang="0">
                  <a:pos x="T0" y="T1"/>
                </a:cxn>
                <a:cxn ang="0">
                  <a:pos x="T2" y="T3"/>
                </a:cxn>
                <a:cxn ang="0">
                  <a:pos x="T4" y="T5"/>
                </a:cxn>
                <a:cxn ang="0">
                  <a:pos x="T6" y="T7"/>
                </a:cxn>
                <a:cxn ang="0">
                  <a:pos x="T8" y="T9"/>
                </a:cxn>
                <a:cxn ang="0">
                  <a:pos x="T10" y="T11"/>
                </a:cxn>
                <a:cxn ang="0">
                  <a:pos x="T12" y="T13"/>
                </a:cxn>
              </a:cxnLst>
              <a:rect l="0" t="0" r="r" b="b"/>
              <a:pathLst>
                <a:path w="5" h="7">
                  <a:moveTo>
                    <a:pt x="3" y="6"/>
                  </a:moveTo>
                  <a:cubicBezTo>
                    <a:pt x="4" y="7"/>
                    <a:pt x="5" y="3"/>
                    <a:pt x="5" y="3"/>
                  </a:cubicBezTo>
                  <a:cubicBezTo>
                    <a:pt x="5" y="1"/>
                    <a:pt x="5" y="1"/>
                    <a:pt x="5" y="1"/>
                  </a:cubicBezTo>
                  <a:cubicBezTo>
                    <a:pt x="3" y="0"/>
                    <a:pt x="3" y="0"/>
                    <a:pt x="3" y="0"/>
                  </a:cubicBezTo>
                  <a:cubicBezTo>
                    <a:pt x="0" y="1"/>
                    <a:pt x="0" y="1"/>
                    <a:pt x="0" y="1"/>
                  </a:cubicBezTo>
                  <a:cubicBezTo>
                    <a:pt x="2" y="3"/>
                    <a:pt x="2" y="3"/>
                    <a:pt x="2" y="3"/>
                  </a:cubicBezTo>
                  <a:cubicBezTo>
                    <a:pt x="2" y="3"/>
                    <a:pt x="2" y="5"/>
                    <a:pt x="3" y="6"/>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8" name="Freeform 182"/>
            <p:cNvSpPr>
              <a:spLocks/>
            </p:cNvSpPr>
            <p:nvPr/>
          </p:nvSpPr>
          <p:spPr bwMode="auto">
            <a:xfrm>
              <a:off x="6896445" y="5819330"/>
              <a:ext cx="294606" cy="76250"/>
            </a:xfrm>
            <a:custGeom>
              <a:avLst/>
              <a:gdLst>
                <a:gd name="T0" fmla="*/ 102 w 102"/>
                <a:gd name="T1" fmla="*/ 0 h 28"/>
                <a:gd name="T2" fmla="*/ 98 w 102"/>
                <a:gd name="T3" fmla="*/ 3 h 28"/>
                <a:gd name="T4" fmla="*/ 94 w 102"/>
                <a:gd name="T5" fmla="*/ 6 h 28"/>
                <a:gd name="T6" fmla="*/ 88 w 102"/>
                <a:gd name="T7" fmla="*/ 9 h 28"/>
                <a:gd name="T8" fmla="*/ 83 w 102"/>
                <a:gd name="T9" fmla="*/ 12 h 28"/>
                <a:gd name="T10" fmla="*/ 81 w 102"/>
                <a:gd name="T11" fmla="*/ 5 h 28"/>
                <a:gd name="T12" fmla="*/ 75 w 102"/>
                <a:gd name="T13" fmla="*/ 5 h 28"/>
                <a:gd name="T14" fmla="*/ 66 w 102"/>
                <a:gd name="T15" fmla="*/ 8 h 28"/>
                <a:gd name="T16" fmla="*/ 60 w 102"/>
                <a:gd name="T17" fmla="*/ 9 h 28"/>
                <a:gd name="T18" fmla="*/ 51 w 102"/>
                <a:gd name="T19" fmla="*/ 6 h 28"/>
                <a:gd name="T20" fmla="*/ 42 w 102"/>
                <a:gd name="T21" fmla="*/ 8 h 28"/>
                <a:gd name="T22" fmla="*/ 31 w 102"/>
                <a:gd name="T23" fmla="*/ 13 h 28"/>
                <a:gd name="T24" fmla="*/ 28 w 102"/>
                <a:gd name="T25" fmla="*/ 11 h 28"/>
                <a:gd name="T26" fmla="*/ 24 w 102"/>
                <a:gd name="T27" fmla="*/ 9 h 28"/>
                <a:gd name="T28" fmla="*/ 21 w 102"/>
                <a:gd name="T29" fmla="*/ 9 h 28"/>
                <a:gd name="T30" fmla="*/ 23 w 102"/>
                <a:gd name="T31" fmla="*/ 5 h 28"/>
                <a:gd name="T32" fmla="*/ 18 w 102"/>
                <a:gd name="T33" fmla="*/ 6 h 28"/>
                <a:gd name="T34" fmla="*/ 11 w 102"/>
                <a:gd name="T35" fmla="*/ 10 h 28"/>
                <a:gd name="T36" fmla="*/ 8 w 102"/>
                <a:gd name="T37" fmla="*/ 6 h 28"/>
                <a:gd name="T38" fmla="*/ 5 w 102"/>
                <a:gd name="T39" fmla="*/ 4 h 28"/>
                <a:gd name="T40" fmla="*/ 7 w 102"/>
                <a:gd name="T41" fmla="*/ 10 h 28"/>
                <a:gd name="T42" fmla="*/ 3 w 102"/>
                <a:gd name="T43" fmla="*/ 12 h 28"/>
                <a:gd name="T44" fmla="*/ 2 w 102"/>
                <a:gd name="T45" fmla="*/ 8 h 28"/>
                <a:gd name="T46" fmla="*/ 2 w 102"/>
                <a:gd name="T47" fmla="*/ 15 h 28"/>
                <a:gd name="T48" fmla="*/ 3 w 102"/>
                <a:gd name="T49" fmla="*/ 22 h 28"/>
                <a:gd name="T50" fmla="*/ 9 w 102"/>
                <a:gd name="T51" fmla="*/ 24 h 28"/>
                <a:gd name="T52" fmla="*/ 14 w 102"/>
                <a:gd name="T53" fmla="*/ 21 h 28"/>
                <a:gd name="T54" fmla="*/ 22 w 102"/>
                <a:gd name="T55" fmla="*/ 22 h 28"/>
                <a:gd name="T56" fmla="*/ 30 w 102"/>
                <a:gd name="T57" fmla="*/ 21 h 28"/>
                <a:gd name="T58" fmla="*/ 42 w 102"/>
                <a:gd name="T59" fmla="*/ 22 h 28"/>
                <a:gd name="T60" fmla="*/ 48 w 102"/>
                <a:gd name="T61" fmla="*/ 23 h 28"/>
                <a:gd name="T62" fmla="*/ 50 w 102"/>
                <a:gd name="T63" fmla="*/ 28 h 28"/>
                <a:gd name="T64" fmla="*/ 60 w 102"/>
                <a:gd name="T65" fmla="*/ 26 h 28"/>
                <a:gd name="T66" fmla="*/ 70 w 102"/>
                <a:gd name="T67" fmla="*/ 22 h 28"/>
                <a:gd name="T68" fmla="*/ 80 w 102"/>
                <a:gd name="T69" fmla="*/ 18 h 28"/>
                <a:gd name="T70" fmla="*/ 91 w 102"/>
                <a:gd name="T71" fmla="*/ 15 h 28"/>
                <a:gd name="T72" fmla="*/ 97 w 102"/>
                <a:gd name="T73" fmla="*/ 15 h 28"/>
                <a:gd name="T74" fmla="*/ 101 w 102"/>
                <a:gd name="T75" fmla="*/ 11 h 28"/>
                <a:gd name="T76" fmla="*/ 102 w 102"/>
                <a:gd name="T77" fmla="*/ 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2" h="28">
                  <a:moveTo>
                    <a:pt x="100" y="3"/>
                  </a:moveTo>
                  <a:cubicBezTo>
                    <a:pt x="102" y="0"/>
                    <a:pt x="102" y="0"/>
                    <a:pt x="102" y="0"/>
                  </a:cubicBezTo>
                  <a:cubicBezTo>
                    <a:pt x="102" y="0"/>
                    <a:pt x="100" y="1"/>
                    <a:pt x="100" y="1"/>
                  </a:cubicBezTo>
                  <a:cubicBezTo>
                    <a:pt x="99" y="1"/>
                    <a:pt x="98" y="3"/>
                    <a:pt x="98" y="3"/>
                  </a:cubicBezTo>
                  <a:cubicBezTo>
                    <a:pt x="98" y="3"/>
                    <a:pt x="97" y="5"/>
                    <a:pt x="96" y="6"/>
                  </a:cubicBezTo>
                  <a:cubicBezTo>
                    <a:pt x="95" y="6"/>
                    <a:pt x="95" y="6"/>
                    <a:pt x="94" y="6"/>
                  </a:cubicBezTo>
                  <a:cubicBezTo>
                    <a:pt x="93" y="6"/>
                    <a:pt x="92" y="6"/>
                    <a:pt x="92" y="7"/>
                  </a:cubicBezTo>
                  <a:cubicBezTo>
                    <a:pt x="91" y="7"/>
                    <a:pt x="90" y="7"/>
                    <a:pt x="88" y="9"/>
                  </a:cubicBezTo>
                  <a:cubicBezTo>
                    <a:pt x="85" y="11"/>
                    <a:pt x="86" y="11"/>
                    <a:pt x="86" y="11"/>
                  </a:cubicBezTo>
                  <a:cubicBezTo>
                    <a:pt x="86" y="11"/>
                    <a:pt x="84" y="12"/>
                    <a:pt x="83" y="12"/>
                  </a:cubicBezTo>
                  <a:cubicBezTo>
                    <a:pt x="82" y="12"/>
                    <a:pt x="82" y="11"/>
                    <a:pt x="82" y="10"/>
                  </a:cubicBezTo>
                  <a:cubicBezTo>
                    <a:pt x="82" y="9"/>
                    <a:pt x="82" y="7"/>
                    <a:pt x="81" y="5"/>
                  </a:cubicBezTo>
                  <a:cubicBezTo>
                    <a:pt x="81" y="3"/>
                    <a:pt x="81" y="3"/>
                    <a:pt x="81" y="3"/>
                  </a:cubicBezTo>
                  <a:cubicBezTo>
                    <a:pt x="81" y="3"/>
                    <a:pt x="75" y="5"/>
                    <a:pt x="75" y="5"/>
                  </a:cubicBezTo>
                  <a:cubicBezTo>
                    <a:pt x="74" y="5"/>
                    <a:pt x="72" y="8"/>
                    <a:pt x="72" y="8"/>
                  </a:cubicBezTo>
                  <a:cubicBezTo>
                    <a:pt x="72" y="8"/>
                    <a:pt x="67" y="8"/>
                    <a:pt x="66" y="8"/>
                  </a:cubicBezTo>
                  <a:cubicBezTo>
                    <a:pt x="66" y="8"/>
                    <a:pt x="64" y="8"/>
                    <a:pt x="64" y="8"/>
                  </a:cubicBezTo>
                  <a:cubicBezTo>
                    <a:pt x="60" y="9"/>
                    <a:pt x="60" y="9"/>
                    <a:pt x="60" y="9"/>
                  </a:cubicBezTo>
                  <a:cubicBezTo>
                    <a:pt x="60" y="9"/>
                    <a:pt x="56" y="7"/>
                    <a:pt x="55" y="5"/>
                  </a:cubicBezTo>
                  <a:cubicBezTo>
                    <a:pt x="54" y="4"/>
                    <a:pt x="51" y="6"/>
                    <a:pt x="51" y="6"/>
                  </a:cubicBezTo>
                  <a:cubicBezTo>
                    <a:pt x="51" y="6"/>
                    <a:pt x="47" y="7"/>
                    <a:pt x="46" y="8"/>
                  </a:cubicBezTo>
                  <a:cubicBezTo>
                    <a:pt x="45" y="8"/>
                    <a:pt x="42" y="8"/>
                    <a:pt x="42" y="8"/>
                  </a:cubicBezTo>
                  <a:cubicBezTo>
                    <a:pt x="40" y="10"/>
                    <a:pt x="40" y="10"/>
                    <a:pt x="40" y="10"/>
                  </a:cubicBezTo>
                  <a:cubicBezTo>
                    <a:pt x="40" y="10"/>
                    <a:pt x="32" y="13"/>
                    <a:pt x="31" y="13"/>
                  </a:cubicBezTo>
                  <a:cubicBezTo>
                    <a:pt x="31" y="13"/>
                    <a:pt x="29" y="13"/>
                    <a:pt x="28" y="13"/>
                  </a:cubicBezTo>
                  <a:cubicBezTo>
                    <a:pt x="28" y="13"/>
                    <a:pt x="28" y="11"/>
                    <a:pt x="28" y="11"/>
                  </a:cubicBezTo>
                  <a:cubicBezTo>
                    <a:pt x="28" y="11"/>
                    <a:pt x="26" y="9"/>
                    <a:pt x="26" y="9"/>
                  </a:cubicBezTo>
                  <a:cubicBezTo>
                    <a:pt x="25" y="8"/>
                    <a:pt x="25" y="9"/>
                    <a:pt x="24" y="9"/>
                  </a:cubicBezTo>
                  <a:cubicBezTo>
                    <a:pt x="24" y="9"/>
                    <a:pt x="23" y="10"/>
                    <a:pt x="23" y="10"/>
                  </a:cubicBezTo>
                  <a:cubicBezTo>
                    <a:pt x="21" y="9"/>
                    <a:pt x="21" y="9"/>
                    <a:pt x="21" y="9"/>
                  </a:cubicBezTo>
                  <a:cubicBezTo>
                    <a:pt x="21" y="9"/>
                    <a:pt x="22" y="8"/>
                    <a:pt x="23" y="8"/>
                  </a:cubicBezTo>
                  <a:cubicBezTo>
                    <a:pt x="23" y="8"/>
                    <a:pt x="24" y="6"/>
                    <a:pt x="23" y="5"/>
                  </a:cubicBezTo>
                  <a:cubicBezTo>
                    <a:pt x="21" y="4"/>
                    <a:pt x="21" y="4"/>
                    <a:pt x="21" y="4"/>
                  </a:cubicBezTo>
                  <a:cubicBezTo>
                    <a:pt x="21" y="4"/>
                    <a:pt x="18" y="6"/>
                    <a:pt x="18" y="6"/>
                  </a:cubicBezTo>
                  <a:cubicBezTo>
                    <a:pt x="18" y="7"/>
                    <a:pt x="16" y="9"/>
                    <a:pt x="16" y="9"/>
                  </a:cubicBezTo>
                  <a:cubicBezTo>
                    <a:pt x="16" y="9"/>
                    <a:pt x="11" y="10"/>
                    <a:pt x="11" y="10"/>
                  </a:cubicBezTo>
                  <a:cubicBezTo>
                    <a:pt x="10" y="10"/>
                    <a:pt x="9" y="8"/>
                    <a:pt x="9" y="8"/>
                  </a:cubicBezTo>
                  <a:cubicBezTo>
                    <a:pt x="9" y="8"/>
                    <a:pt x="8" y="7"/>
                    <a:pt x="8" y="6"/>
                  </a:cubicBezTo>
                  <a:cubicBezTo>
                    <a:pt x="8" y="5"/>
                    <a:pt x="7" y="3"/>
                    <a:pt x="7" y="3"/>
                  </a:cubicBezTo>
                  <a:cubicBezTo>
                    <a:pt x="5" y="4"/>
                    <a:pt x="5" y="4"/>
                    <a:pt x="5" y="4"/>
                  </a:cubicBezTo>
                  <a:cubicBezTo>
                    <a:pt x="6" y="7"/>
                    <a:pt x="6" y="7"/>
                    <a:pt x="6" y="7"/>
                  </a:cubicBezTo>
                  <a:cubicBezTo>
                    <a:pt x="7" y="10"/>
                    <a:pt x="7" y="10"/>
                    <a:pt x="7" y="10"/>
                  </a:cubicBezTo>
                  <a:cubicBezTo>
                    <a:pt x="6" y="12"/>
                    <a:pt x="6" y="12"/>
                    <a:pt x="6" y="12"/>
                  </a:cubicBezTo>
                  <a:cubicBezTo>
                    <a:pt x="6" y="12"/>
                    <a:pt x="5" y="12"/>
                    <a:pt x="3" y="12"/>
                  </a:cubicBezTo>
                  <a:cubicBezTo>
                    <a:pt x="2" y="12"/>
                    <a:pt x="3" y="10"/>
                    <a:pt x="3" y="10"/>
                  </a:cubicBezTo>
                  <a:cubicBezTo>
                    <a:pt x="3" y="9"/>
                    <a:pt x="2" y="8"/>
                    <a:pt x="2" y="8"/>
                  </a:cubicBezTo>
                  <a:cubicBezTo>
                    <a:pt x="0" y="10"/>
                    <a:pt x="0" y="10"/>
                    <a:pt x="0" y="10"/>
                  </a:cubicBezTo>
                  <a:cubicBezTo>
                    <a:pt x="0" y="10"/>
                    <a:pt x="1" y="13"/>
                    <a:pt x="2" y="15"/>
                  </a:cubicBezTo>
                  <a:cubicBezTo>
                    <a:pt x="2" y="17"/>
                    <a:pt x="2" y="17"/>
                    <a:pt x="2" y="17"/>
                  </a:cubicBezTo>
                  <a:cubicBezTo>
                    <a:pt x="3" y="22"/>
                    <a:pt x="3" y="22"/>
                    <a:pt x="3" y="22"/>
                  </a:cubicBezTo>
                  <a:cubicBezTo>
                    <a:pt x="3" y="22"/>
                    <a:pt x="5" y="23"/>
                    <a:pt x="6" y="24"/>
                  </a:cubicBezTo>
                  <a:cubicBezTo>
                    <a:pt x="8" y="25"/>
                    <a:pt x="8" y="24"/>
                    <a:pt x="9" y="24"/>
                  </a:cubicBezTo>
                  <a:cubicBezTo>
                    <a:pt x="11" y="24"/>
                    <a:pt x="10" y="23"/>
                    <a:pt x="11" y="22"/>
                  </a:cubicBezTo>
                  <a:cubicBezTo>
                    <a:pt x="12" y="21"/>
                    <a:pt x="14" y="21"/>
                    <a:pt x="14" y="21"/>
                  </a:cubicBezTo>
                  <a:cubicBezTo>
                    <a:pt x="17" y="23"/>
                    <a:pt x="17" y="23"/>
                    <a:pt x="17" y="23"/>
                  </a:cubicBezTo>
                  <a:cubicBezTo>
                    <a:pt x="17" y="23"/>
                    <a:pt x="19" y="22"/>
                    <a:pt x="22" y="22"/>
                  </a:cubicBezTo>
                  <a:cubicBezTo>
                    <a:pt x="24" y="21"/>
                    <a:pt x="24" y="22"/>
                    <a:pt x="25" y="22"/>
                  </a:cubicBezTo>
                  <a:cubicBezTo>
                    <a:pt x="26" y="21"/>
                    <a:pt x="29" y="21"/>
                    <a:pt x="30" y="21"/>
                  </a:cubicBezTo>
                  <a:cubicBezTo>
                    <a:pt x="32" y="20"/>
                    <a:pt x="36" y="20"/>
                    <a:pt x="36" y="20"/>
                  </a:cubicBezTo>
                  <a:cubicBezTo>
                    <a:pt x="36" y="20"/>
                    <a:pt x="38" y="23"/>
                    <a:pt x="42" y="22"/>
                  </a:cubicBezTo>
                  <a:cubicBezTo>
                    <a:pt x="46" y="21"/>
                    <a:pt x="44" y="22"/>
                    <a:pt x="46" y="21"/>
                  </a:cubicBezTo>
                  <a:cubicBezTo>
                    <a:pt x="49" y="21"/>
                    <a:pt x="48" y="23"/>
                    <a:pt x="48" y="23"/>
                  </a:cubicBezTo>
                  <a:cubicBezTo>
                    <a:pt x="49" y="28"/>
                    <a:pt x="49" y="28"/>
                    <a:pt x="49" y="28"/>
                  </a:cubicBezTo>
                  <a:cubicBezTo>
                    <a:pt x="50" y="28"/>
                    <a:pt x="50" y="28"/>
                    <a:pt x="50" y="28"/>
                  </a:cubicBezTo>
                  <a:cubicBezTo>
                    <a:pt x="50" y="28"/>
                    <a:pt x="52" y="28"/>
                    <a:pt x="55" y="27"/>
                  </a:cubicBezTo>
                  <a:cubicBezTo>
                    <a:pt x="58" y="26"/>
                    <a:pt x="59" y="26"/>
                    <a:pt x="60" y="26"/>
                  </a:cubicBezTo>
                  <a:cubicBezTo>
                    <a:pt x="62" y="26"/>
                    <a:pt x="64" y="24"/>
                    <a:pt x="65" y="24"/>
                  </a:cubicBezTo>
                  <a:cubicBezTo>
                    <a:pt x="65" y="23"/>
                    <a:pt x="69" y="22"/>
                    <a:pt x="70" y="22"/>
                  </a:cubicBezTo>
                  <a:cubicBezTo>
                    <a:pt x="71" y="21"/>
                    <a:pt x="72" y="20"/>
                    <a:pt x="72" y="20"/>
                  </a:cubicBezTo>
                  <a:cubicBezTo>
                    <a:pt x="72" y="20"/>
                    <a:pt x="78" y="19"/>
                    <a:pt x="80" y="18"/>
                  </a:cubicBezTo>
                  <a:cubicBezTo>
                    <a:pt x="83" y="18"/>
                    <a:pt x="85" y="18"/>
                    <a:pt x="86" y="18"/>
                  </a:cubicBezTo>
                  <a:cubicBezTo>
                    <a:pt x="87" y="18"/>
                    <a:pt x="90" y="16"/>
                    <a:pt x="91" y="15"/>
                  </a:cubicBezTo>
                  <a:cubicBezTo>
                    <a:pt x="92" y="15"/>
                    <a:pt x="93" y="14"/>
                    <a:pt x="93" y="14"/>
                  </a:cubicBezTo>
                  <a:cubicBezTo>
                    <a:pt x="97" y="15"/>
                    <a:pt x="97" y="15"/>
                    <a:pt x="97" y="15"/>
                  </a:cubicBezTo>
                  <a:cubicBezTo>
                    <a:pt x="97" y="15"/>
                    <a:pt x="100" y="13"/>
                    <a:pt x="100" y="13"/>
                  </a:cubicBezTo>
                  <a:cubicBezTo>
                    <a:pt x="101" y="12"/>
                    <a:pt x="101" y="11"/>
                    <a:pt x="101" y="11"/>
                  </a:cubicBezTo>
                  <a:cubicBezTo>
                    <a:pt x="101" y="10"/>
                    <a:pt x="101" y="10"/>
                    <a:pt x="102" y="9"/>
                  </a:cubicBezTo>
                  <a:cubicBezTo>
                    <a:pt x="102" y="7"/>
                    <a:pt x="102" y="7"/>
                    <a:pt x="102" y="7"/>
                  </a:cubicBezTo>
                  <a:cubicBezTo>
                    <a:pt x="102" y="6"/>
                    <a:pt x="100" y="3"/>
                    <a:pt x="100" y="3"/>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9" name="Freeform 183"/>
            <p:cNvSpPr>
              <a:spLocks/>
            </p:cNvSpPr>
            <p:nvPr/>
          </p:nvSpPr>
          <p:spPr bwMode="auto">
            <a:xfrm>
              <a:off x="7147726" y="5570158"/>
              <a:ext cx="11553" cy="13616"/>
            </a:xfrm>
            <a:custGeom>
              <a:avLst/>
              <a:gdLst>
                <a:gd name="T0" fmla="*/ 4 w 4"/>
                <a:gd name="T1" fmla="*/ 1 h 5"/>
                <a:gd name="T2" fmla="*/ 2 w 4"/>
                <a:gd name="T3" fmla="*/ 0 h 5"/>
                <a:gd name="T4" fmla="*/ 0 w 4"/>
                <a:gd name="T5" fmla="*/ 3 h 5"/>
                <a:gd name="T6" fmla="*/ 2 w 4"/>
                <a:gd name="T7" fmla="*/ 5 h 5"/>
                <a:gd name="T8" fmla="*/ 4 w 4"/>
                <a:gd name="T9" fmla="*/ 1 h 5"/>
              </a:gdLst>
              <a:ahLst/>
              <a:cxnLst>
                <a:cxn ang="0">
                  <a:pos x="T0" y="T1"/>
                </a:cxn>
                <a:cxn ang="0">
                  <a:pos x="T2" y="T3"/>
                </a:cxn>
                <a:cxn ang="0">
                  <a:pos x="T4" y="T5"/>
                </a:cxn>
                <a:cxn ang="0">
                  <a:pos x="T6" y="T7"/>
                </a:cxn>
                <a:cxn ang="0">
                  <a:pos x="T8" y="T9"/>
                </a:cxn>
              </a:cxnLst>
              <a:rect l="0" t="0" r="r" b="b"/>
              <a:pathLst>
                <a:path w="4" h="5">
                  <a:moveTo>
                    <a:pt x="4" y="1"/>
                  </a:moveTo>
                  <a:cubicBezTo>
                    <a:pt x="4" y="1"/>
                    <a:pt x="2" y="0"/>
                    <a:pt x="2" y="0"/>
                  </a:cubicBezTo>
                  <a:cubicBezTo>
                    <a:pt x="0" y="3"/>
                    <a:pt x="0" y="3"/>
                    <a:pt x="0" y="3"/>
                  </a:cubicBezTo>
                  <a:cubicBezTo>
                    <a:pt x="2" y="5"/>
                    <a:pt x="2" y="5"/>
                    <a:pt x="2" y="5"/>
                  </a:cubicBezTo>
                  <a:lnTo>
                    <a:pt x="4" y="1"/>
                  </a:ln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0" name="Freeform 184"/>
            <p:cNvSpPr>
              <a:spLocks/>
            </p:cNvSpPr>
            <p:nvPr/>
          </p:nvSpPr>
          <p:spPr bwMode="auto">
            <a:xfrm>
              <a:off x="6793911" y="5417659"/>
              <a:ext cx="11553" cy="5446"/>
            </a:xfrm>
            <a:custGeom>
              <a:avLst/>
              <a:gdLst>
                <a:gd name="T0" fmla="*/ 1 w 4"/>
                <a:gd name="T1" fmla="*/ 0 h 2"/>
                <a:gd name="T2" fmla="*/ 0 w 4"/>
                <a:gd name="T3" fmla="*/ 2 h 2"/>
                <a:gd name="T4" fmla="*/ 1 w 4"/>
                <a:gd name="T5" fmla="*/ 2 h 2"/>
                <a:gd name="T6" fmla="*/ 3 w 4"/>
                <a:gd name="T7" fmla="*/ 1 h 2"/>
                <a:gd name="T8" fmla="*/ 2 w 4"/>
                <a:gd name="T9" fmla="*/ 0 h 2"/>
                <a:gd name="T10" fmla="*/ 1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1" y="0"/>
                  </a:moveTo>
                  <a:cubicBezTo>
                    <a:pt x="1" y="0"/>
                    <a:pt x="0" y="1"/>
                    <a:pt x="0" y="2"/>
                  </a:cubicBezTo>
                  <a:cubicBezTo>
                    <a:pt x="1" y="2"/>
                    <a:pt x="1" y="2"/>
                    <a:pt x="1" y="2"/>
                  </a:cubicBezTo>
                  <a:cubicBezTo>
                    <a:pt x="1" y="2"/>
                    <a:pt x="2" y="1"/>
                    <a:pt x="3" y="1"/>
                  </a:cubicBezTo>
                  <a:cubicBezTo>
                    <a:pt x="4" y="0"/>
                    <a:pt x="2" y="0"/>
                    <a:pt x="2" y="0"/>
                  </a:cubicBezTo>
                  <a:lnTo>
                    <a:pt x="1" y="0"/>
                  </a:ln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1" name="Freeform 185"/>
            <p:cNvSpPr>
              <a:spLocks/>
            </p:cNvSpPr>
            <p:nvPr/>
          </p:nvSpPr>
          <p:spPr bwMode="auto">
            <a:xfrm>
              <a:off x="6919551" y="5578327"/>
              <a:ext cx="14441" cy="24509"/>
            </a:xfrm>
            <a:custGeom>
              <a:avLst/>
              <a:gdLst>
                <a:gd name="T0" fmla="*/ 1 w 5"/>
                <a:gd name="T1" fmla="*/ 3 h 9"/>
                <a:gd name="T2" fmla="*/ 0 w 5"/>
                <a:gd name="T3" fmla="*/ 6 h 9"/>
                <a:gd name="T4" fmla="*/ 1 w 5"/>
                <a:gd name="T5" fmla="*/ 8 h 9"/>
                <a:gd name="T6" fmla="*/ 2 w 5"/>
                <a:gd name="T7" fmla="*/ 7 h 9"/>
                <a:gd name="T8" fmla="*/ 3 w 5"/>
                <a:gd name="T9" fmla="*/ 6 h 9"/>
                <a:gd name="T10" fmla="*/ 5 w 5"/>
                <a:gd name="T11" fmla="*/ 4 h 9"/>
                <a:gd name="T12" fmla="*/ 5 w 5"/>
                <a:gd name="T13" fmla="*/ 2 h 9"/>
                <a:gd name="T14" fmla="*/ 2 w 5"/>
                <a:gd name="T15" fmla="*/ 0 h 9"/>
                <a:gd name="T16" fmla="*/ 1 w 5"/>
                <a:gd name="T1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9">
                  <a:moveTo>
                    <a:pt x="1" y="3"/>
                  </a:moveTo>
                  <a:cubicBezTo>
                    <a:pt x="1" y="3"/>
                    <a:pt x="0" y="6"/>
                    <a:pt x="0" y="6"/>
                  </a:cubicBezTo>
                  <a:cubicBezTo>
                    <a:pt x="0" y="7"/>
                    <a:pt x="1" y="8"/>
                    <a:pt x="1" y="8"/>
                  </a:cubicBezTo>
                  <a:cubicBezTo>
                    <a:pt x="1" y="9"/>
                    <a:pt x="1" y="8"/>
                    <a:pt x="2" y="7"/>
                  </a:cubicBezTo>
                  <a:cubicBezTo>
                    <a:pt x="3" y="6"/>
                    <a:pt x="3" y="6"/>
                    <a:pt x="3" y="6"/>
                  </a:cubicBezTo>
                  <a:cubicBezTo>
                    <a:pt x="3" y="6"/>
                    <a:pt x="4" y="4"/>
                    <a:pt x="5" y="4"/>
                  </a:cubicBezTo>
                  <a:cubicBezTo>
                    <a:pt x="5" y="4"/>
                    <a:pt x="5" y="2"/>
                    <a:pt x="5" y="2"/>
                  </a:cubicBezTo>
                  <a:cubicBezTo>
                    <a:pt x="5" y="2"/>
                    <a:pt x="3" y="0"/>
                    <a:pt x="2" y="0"/>
                  </a:cubicBezTo>
                  <a:cubicBezTo>
                    <a:pt x="2" y="0"/>
                    <a:pt x="1" y="3"/>
                    <a:pt x="1" y="3"/>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2" name="Freeform 186"/>
            <p:cNvSpPr>
              <a:spLocks/>
            </p:cNvSpPr>
            <p:nvPr/>
          </p:nvSpPr>
          <p:spPr bwMode="auto">
            <a:xfrm>
              <a:off x="7144838" y="5510248"/>
              <a:ext cx="49101" cy="27232"/>
            </a:xfrm>
            <a:custGeom>
              <a:avLst/>
              <a:gdLst>
                <a:gd name="T0" fmla="*/ 11 w 17"/>
                <a:gd name="T1" fmla="*/ 1 h 10"/>
                <a:gd name="T2" fmla="*/ 9 w 17"/>
                <a:gd name="T3" fmla="*/ 2 h 10"/>
                <a:gd name="T4" fmla="*/ 5 w 17"/>
                <a:gd name="T5" fmla="*/ 1 h 10"/>
                <a:gd name="T6" fmla="*/ 3 w 17"/>
                <a:gd name="T7" fmla="*/ 1 h 10"/>
                <a:gd name="T8" fmla="*/ 1 w 17"/>
                <a:gd name="T9" fmla="*/ 4 h 10"/>
                <a:gd name="T10" fmla="*/ 0 w 17"/>
                <a:gd name="T11" fmla="*/ 7 h 10"/>
                <a:gd name="T12" fmla="*/ 3 w 17"/>
                <a:gd name="T13" fmla="*/ 8 h 10"/>
                <a:gd name="T14" fmla="*/ 5 w 17"/>
                <a:gd name="T15" fmla="*/ 6 h 10"/>
                <a:gd name="T16" fmla="*/ 8 w 17"/>
                <a:gd name="T17" fmla="*/ 9 h 10"/>
                <a:gd name="T18" fmla="*/ 11 w 17"/>
                <a:gd name="T19" fmla="*/ 9 h 10"/>
                <a:gd name="T20" fmla="*/ 12 w 17"/>
                <a:gd name="T21" fmla="*/ 7 h 10"/>
                <a:gd name="T22" fmla="*/ 15 w 17"/>
                <a:gd name="T23" fmla="*/ 5 h 10"/>
                <a:gd name="T24" fmla="*/ 17 w 17"/>
                <a:gd name="T25" fmla="*/ 2 h 10"/>
                <a:gd name="T26" fmla="*/ 14 w 17"/>
                <a:gd name="T27" fmla="*/ 0 h 10"/>
                <a:gd name="T28" fmla="*/ 11 w 17"/>
                <a:gd name="T2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10">
                  <a:moveTo>
                    <a:pt x="11" y="1"/>
                  </a:moveTo>
                  <a:cubicBezTo>
                    <a:pt x="11" y="1"/>
                    <a:pt x="9" y="2"/>
                    <a:pt x="9" y="2"/>
                  </a:cubicBezTo>
                  <a:cubicBezTo>
                    <a:pt x="9" y="2"/>
                    <a:pt x="6" y="1"/>
                    <a:pt x="5" y="1"/>
                  </a:cubicBezTo>
                  <a:cubicBezTo>
                    <a:pt x="5" y="0"/>
                    <a:pt x="4" y="1"/>
                    <a:pt x="3" y="1"/>
                  </a:cubicBezTo>
                  <a:cubicBezTo>
                    <a:pt x="3" y="1"/>
                    <a:pt x="2" y="3"/>
                    <a:pt x="1" y="4"/>
                  </a:cubicBezTo>
                  <a:cubicBezTo>
                    <a:pt x="0" y="5"/>
                    <a:pt x="1" y="6"/>
                    <a:pt x="0" y="7"/>
                  </a:cubicBezTo>
                  <a:cubicBezTo>
                    <a:pt x="0" y="7"/>
                    <a:pt x="2" y="8"/>
                    <a:pt x="3" y="8"/>
                  </a:cubicBezTo>
                  <a:cubicBezTo>
                    <a:pt x="3" y="7"/>
                    <a:pt x="5" y="6"/>
                    <a:pt x="5" y="6"/>
                  </a:cubicBezTo>
                  <a:cubicBezTo>
                    <a:pt x="5" y="6"/>
                    <a:pt x="7" y="8"/>
                    <a:pt x="8" y="9"/>
                  </a:cubicBezTo>
                  <a:cubicBezTo>
                    <a:pt x="10" y="10"/>
                    <a:pt x="10" y="9"/>
                    <a:pt x="11" y="9"/>
                  </a:cubicBezTo>
                  <a:cubicBezTo>
                    <a:pt x="12" y="8"/>
                    <a:pt x="11" y="8"/>
                    <a:pt x="12" y="7"/>
                  </a:cubicBezTo>
                  <a:cubicBezTo>
                    <a:pt x="13" y="6"/>
                    <a:pt x="14" y="5"/>
                    <a:pt x="15" y="5"/>
                  </a:cubicBezTo>
                  <a:cubicBezTo>
                    <a:pt x="16" y="5"/>
                    <a:pt x="17" y="2"/>
                    <a:pt x="17" y="2"/>
                  </a:cubicBezTo>
                  <a:cubicBezTo>
                    <a:pt x="17" y="2"/>
                    <a:pt x="14" y="0"/>
                    <a:pt x="14" y="0"/>
                  </a:cubicBezTo>
                  <a:cubicBezTo>
                    <a:pt x="14" y="0"/>
                    <a:pt x="11" y="1"/>
                    <a:pt x="11" y="1"/>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3" name="Freeform 187"/>
            <p:cNvSpPr>
              <a:spLocks/>
            </p:cNvSpPr>
            <p:nvPr/>
          </p:nvSpPr>
          <p:spPr bwMode="auto">
            <a:xfrm>
              <a:off x="7191051" y="5581051"/>
              <a:ext cx="31771" cy="32678"/>
            </a:xfrm>
            <a:custGeom>
              <a:avLst/>
              <a:gdLst>
                <a:gd name="T0" fmla="*/ 6 w 11"/>
                <a:gd name="T1" fmla="*/ 11 h 12"/>
                <a:gd name="T2" fmla="*/ 10 w 11"/>
                <a:gd name="T3" fmla="*/ 11 h 12"/>
                <a:gd name="T4" fmla="*/ 10 w 11"/>
                <a:gd name="T5" fmla="*/ 8 h 12"/>
                <a:gd name="T6" fmla="*/ 7 w 11"/>
                <a:gd name="T7" fmla="*/ 7 h 12"/>
                <a:gd name="T8" fmla="*/ 5 w 11"/>
                <a:gd name="T9" fmla="*/ 6 h 12"/>
                <a:gd name="T10" fmla="*/ 6 w 11"/>
                <a:gd name="T11" fmla="*/ 9 h 12"/>
                <a:gd name="T12" fmla="*/ 6 w 11"/>
                <a:gd name="T13" fmla="*/ 10 h 12"/>
                <a:gd name="T14" fmla="*/ 6 w 11"/>
                <a:gd name="T15" fmla="*/ 11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2">
                  <a:moveTo>
                    <a:pt x="6" y="11"/>
                  </a:moveTo>
                  <a:cubicBezTo>
                    <a:pt x="6" y="11"/>
                    <a:pt x="10" y="12"/>
                    <a:pt x="10" y="11"/>
                  </a:cubicBezTo>
                  <a:cubicBezTo>
                    <a:pt x="10" y="10"/>
                    <a:pt x="11" y="9"/>
                    <a:pt x="10" y="8"/>
                  </a:cubicBezTo>
                  <a:cubicBezTo>
                    <a:pt x="10" y="8"/>
                    <a:pt x="8" y="7"/>
                    <a:pt x="7" y="7"/>
                  </a:cubicBezTo>
                  <a:cubicBezTo>
                    <a:pt x="6" y="7"/>
                    <a:pt x="6" y="7"/>
                    <a:pt x="5" y="6"/>
                  </a:cubicBezTo>
                  <a:cubicBezTo>
                    <a:pt x="0" y="0"/>
                    <a:pt x="3" y="8"/>
                    <a:pt x="6" y="9"/>
                  </a:cubicBezTo>
                  <a:cubicBezTo>
                    <a:pt x="6" y="10"/>
                    <a:pt x="6" y="10"/>
                    <a:pt x="6" y="10"/>
                  </a:cubicBezTo>
                  <a:lnTo>
                    <a:pt x="6" y="11"/>
                  </a:ln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4" name="Freeform 188"/>
            <p:cNvSpPr>
              <a:spLocks/>
            </p:cNvSpPr>
            <p:nvPr/>
          </p:nvSpPr>
          <p:spPr bwMode="auto">
            <a:xfrm>
              <a:off x="7026418" y="5673639"/>
              <a:ext cx="14441" cy="13616"/>
            </a:xfrm>
            <a:custGeom>
              <a:avLst/>
              <a:gdLst>
                <a:gd name="T0" fmla="*/ 4 w 5"/>
                <a:gd name="T1" fmla="*/ 3 h 5"/>
                <a:gd name="T2" fmla="*/ 4 w 5"/>
                <a:gd name="T3" fmla="*/ 0 h 5"/>
                <a:gd name="T4" fmla="*/ 1 w 5"/>
                <a:gd name="T5" fmla="*/ 2 h 5"/>
                <a:gd name="T6" fmla="*/ 0 w 5"/>
                <a:gd name="T7" fmla="*/ 3 h 5"/>
                <a:gd name="T8" fmla="*/ 1 w 5"/>
                <a:gd name="T9" fmla="*/ 5 h 5"/>
                <a:gd name="T10" fmla="*/ 4 w 5"/>
                <a:gd name="T11" fmla="*/ 3 h 5"/>
              </a:gdLst>
              <a:ahLst/>
              <a:cxnLst>
                <a:cxn ang="0">
                  <a:pos x="T0" y="T1"/>
                </a:cxn>
                <a:cxn ang="0">
                  <a:pos x="T2" y="T3"/>
                </a:cxn>
                <a:cxn ang="0">
                  <a:pos x="T4" y="T5"/>
                </a:cxn>
                <a:cxn ang="0">
                  <a:pos x="T6" y="T7"/>
                </a:cxn>
                <a:cxn ang="0">
                  <a:pos x="T8" y="T9"/>
                </a:cxn>
                <a:cxn ang="0">
                  <a:pos x="T10" y="T11"/>
                </a:cxn>
              </a:cxnLst>
              <a:rect l="0" t="0" r="r" b="b"/>
              <a:pathLst>
                <a:path w="5" h="5">
                  <a:moveTo>
                    <a:pt x="4" y="3"/>
                  </a:moveTo>
                  <a:cubicBezTo>
                    <a:pt x="5" y="2"/>
                    <a:pt x="4" y="0"/>
                    <a:pt x="4" y="0"/>
                  </a:cubicBezTo>
                  <a:cubicBezTo>
                    <a:pt x="1" y="2"/>
                    <a:pt x="1" y="2"/>
                    <a:pt x="1" y="2"/>
                  </a:cubicBezTo>
                  <a:cubicBezTo>
                    <a:pt x="0" y="3"/>
                    <a:pt x="0" y="3"/>
                    <a:pt x="0" y="3"/>
                  </a:cubicBezTo>
                  <a:cubicBezTo>
                    <a:pt x="1" y="5"/>
                    <a:pt x="1" y="5"/>
                    <a:pt x="1" y="5"/>
                  </a:cubicBezTo>
                  <a:cubicBezTo>
                    <a:pt x="1" y="5"/>
                    <a:pt x="3" y="4"/>
                    <a:pt x="4" y="3"/>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5" name="Freeform 189"/>
            <p:cNvSpPr>
              <a:spLocks/>
            </p:cNvSpPr>
            <p:nvPr/>
          </p:nvSpPr>
          <p:spPr bwMode="auto">
            <a:xfrm>
              <a:off x="7316691" y="5638238"/>
              <a:ext cx="46213" cy="77611"/>
            </a:xfrm>
            <a:custGeom>
              <a:avLst/>
              <a:gdLst>
                <a:gd name="T0" fmla="*/ 15 w 16"/>
                <a:gd name="T1" fmla="*/ 10 h 28"/>
                <a:gd name="T2" fmla="*/ 16 w 16"/>
                <a:gd name="T3" fmla="*/ 6 h 28"/>
                <a:gd name="T4" fmla="*/ 14 w 16"/>
                <a:gd name="T5" fmla="*/ 0 h 28"/>
                <a:gd name="T6" fmla="*/ 12 w 16"/>
                <a:gd name="T7" fmla="*/ 2 h 28"/>
                <a:gd name="T8" fmla="*/ 10 w 16"/>
                <a:gd name="T9" fmla="*/ 4 h 28"/>
                <a:gd name="T10" fmla="*/ 6 w 16"/>
                <a:gd name="T11" fmla="*/ 6 h 28"/>
                <a:gd name="T12" fmla="*/ 5 w 16"/>
                <a:gd name="T13" fmla="*/ 9 h 28"/>
                <a:gd name="T14" fmla="*/ 2 w 16"/>
                <a:gd name="T15" fmla="*/ 13 h 28"/>
                <a:gd name="T16" fmla="*/ 1 w 16"/>
                <a:gd name="T17" fmla="*/ 16 h 28"/>
                <a:gd name="T18" fmla="*/ 0 w 16"/>
                <a:gd name="T19" fmla="*/ 19 h 28"/>
                <a:gd name="T20" fmla="*/ 3 w 16"/>
                <a:gd name="T21" fmla="*/ 22 h 28"/>
                <a:gd name="T22" fmla="*/ 3 w 16"/>
                <a:gd name="T23" fmla="*/ 26 h 28"/>
                <a:gd name="T24" fmla="*/ 4 w 16"/>
                <a:gd name="T25" fmla="*/ 28 h 28"/>
                <a:gd name="T26" fmla="*/ 8 w 16"/>
                <a:gd name="T27" fmla="*/ 27 h 28"/>
                <a:gd name="T28" fmla="*/ 9 w 16"/>
                <a:gd name="T29" fmla="*/ 23 h 28"/>
                <a:gd name="T30" fmla="*/ 12 w 16"/>
                <a:gd name="T31" fmla="*/ 19 h 28"/>
                <a:gd name="T32" fmla="*/ 13 w 16"/>
                <a:gd name="T33" fmla="*/ 18 h 28"/>
                <a:gd name="T34" fmla="*/ 13 w 16"/>
                <a:gd name="T35" fmla="*/ 15 h 28"/>
                <a:gd name="T36" fmla="*/ 14 w 16"/>
                <a:gd name="T37" fmla="*/ 13 h 28"/>
                <a:gd name="T38" fmla="*/ 15 w 16"/>
                <a:gd name="T39"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 h="28">
                  <a:moveTo>
                    <a:pt x="15" y="10"/>
                  </a:moveTo>
                  <a:cubicBezTo>
                    <a:pt x="15" y="9"/>
                    <a:pt x="16" y="7"/>
                    <a:pt x="16" y="6"/>
                  </a:cubicBezTo>
                  <a:cubicBezTo>
                    <a:pt x="15" y="5"/>
                    <a:pt x="14" y="0"/>
                    <a:pt x="14" y="0"/>
                  </a:cubicBezTo>
                  <a:cubicBezTo>
                    <a:pt x="12" y="2"/>
                    <a:pt x="12" y="2"/>
                    <a:pt x="12" y="2"/>
                  </a:cubicBezTo>
                  <a:cubicBezTo>
                    <a:pt x="12" y="2"/>
                    <a:pt x="11" y="4"/>
                    <a:pt x="10" y="4"/>
                  </a:cubicBezTo>
                  <a:cubicBezTo>
                    <a:pt x="8" y="4"/>
                    <a:pt x="6" y="6"/>
                    <a:pt x="6" y="6"/>
                  </a:cubicBezTo>
                  <a:cubicBezTo>
                    <a:pt x="6" y="6"/>
                    <a:pt x="6" y="8"/>
                    <a:pt x="5" y="9"/>
                  </a:cubicBezTo>
                  <a:cubicBezTo>
                    <a:pt x="4" y="10"/>
                    <a:pt x="2" y="13"/>
                    <a:pt x="2" y="13"/>
                  </a:cubicBezTo>
                  <a:cubicBezTo>
                    <a:pt x="1" y="16"/>
                    <a:pt x="1" y="16"/>
                    <a:pt x="1" y="16"/>
                  </a:cubicBezTo>
                  <a:cubicBezTo>
                    <a:pt x="1" y="16"/>
                    <a:pt x="0" y="19"/>
                    <a:pt x="0" y="19"/>
                  </a:cubicBezTo>
                  <a:cubicBezTo>
                    <a:pt x="0" y="19"/>
                    <a:pt x="3" y="22"/>
                    <a:pt x="3" y="22"/>
                  </a:cubicBezTo>
                  <a:cubicBezTo>
                    <a:pt x="3" y="26"/>
                    <a:pt x="3" y="26"/>
                    <a:pt x="3" y="26"/>
                  </a:cubicBezTo>
                  <a:cubicBezTo>
                    <a:pt x="3" y="26"/>
                    <a:pt x="3" y="28"/>
                    <a:pt x="4" y="28"/>
                  </a:cubicBezTo>
                  <a:cubicBezTo>
                    <a:pt x="6" y="28"/>
                    <a:pt x="8" y="28"/>
                    <a:pt x="8" y="27"/>
                  </a:cubicBezTo>
                  <a:cubicBezTo>
                    <a:pt x="8" y="25"/>
                    <a:pt x="8" y="24"/>
                    <a:pt x="9" y="23"/>
                  </a:cubicBezTo>
                  <a:cubicBezTo>
                    <a:pt x="10" y="21"/>
                    <a:pt x="12" y="19"/>
                    <a:pt x="12" y="19"/>
                  </a:cubicBezTo>
                  <a:cubicBezTo>
                    <a:pt x="12" y="19"/>
                    <a:pt x="13" y="19"/>
                    <a:pt x="13" y="18"/>
                  </a:cubicBezTo>
                  <a:cubicBezTo>
                    <a:pt x="14" y="18"/>
                    <a:pt x="13" y="15"/>
                    <a:pt x="13" y="15"/>
                  </a:cubicBezTo>
                  <a:cubicBezTo>
                    <a:pt x="13" y="15"/>
                    <a:pt x="12" y="15"/>
                    <a:pt x="14" y="13"/>
                  </a:cubicBezTo>
                  <a:cubicBezTo>
                    <a:pt x="15" y="10"/>
                    <a:pt x="15" y="10"/>
                    <a:pt x="15" y="10"/>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6" name="Freeform 190"/>
            <p:cNvSpPr>
              <a:spLocks/>
            </p:cNvSpPr>
            <p:nvPr/>
          </p:nvSpPr>
          <p:spPr bwMode="auto">
            <a:xfrm>
              <a:off x="7248817" y="5786652"/>
              <a:ext cx="25995" cy="19062"/>
            </a:xfrm>
            <a:custGeom>
              <a:avLst/>
              <a:gdLst>
                <a:gd name="T0" fmla="*/ 5 w 9"/>
                <a:gd name="T1" fmla="*/ 0 h 7"/>
                <a:gd name="T2" fmla="*/ 1 w 9"/>
                <a:gd name="T3" fmla="*/ 3 h 7"/>
                <a:gd name="T4" fmla="*/ 0 w 9"/>
                <a:gd name="T5" fmla="*/ 6 h 7"/>
                <a:gd name="T6" fmla="*/ 2 w 9"/>
                <a:gd name="T7" fmla="*/ 6 h 7"/>
                <a:gd name="T8" fmla="*/ 4 w 9"/>
                <a:gd name="T9" fmla="*/ 5 h 7"/>
                <a:gd name="T10" fmla="*/ 8 w 9"/>
                <a:gd name="T11" fmla="*/ 2 h 7"/>
                <a:gd name="T12" fmla="*/ 5 w 9"/>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9" h="7">
                  <a:moveTo>
                    <a:pt x="5" y="0"/>
                  </a:moveTo>
                  <a:cubicBezTo>
                    <a:pt x="1" y="3"/>
                    <a:pt x="1" y="3"/>
                    <a:pt x="1" y="3"/>
                  </a:cubicBezTo>
                  <a:cubicBezTo>
                    <a:pt x="1" y="3"/>
                    <a:pt x="0" y="6"/>
                    <a:pt x="0" y="6"/>
                  </a:cubicBezTo>
                  <a:cubicBezTo>
                    <a:pt x="1" y="7"/>
                    <a:pt x="1" y="6"/>
                    <a:pt x="2" y="6"/>
                  </a:cubicBezTo>
                  <a:cubicBezTo>
                    <a:pt x="3" y="6"/>
                    <a:pt x="3" y="6"/>
                    <a:pt x="4" y="5"/>
                  </a:cubicBezTo>
                  <a:cubicBezTo>
                    <a:pt x="5" y="4"/>
                    <a:pt x="7" y="3"/>
                    <a:pt x="8" y="2"/>
                  </a:cubicBezTo>
                  <a:cubicBezTo>
                    <a:pt x="9" y="2"/>
                    <a:pt x="5" y="0"/>
                    <a:pt x="5" y="0"/>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7" name="Freeform 191"/>
            <p:cNvSpPr>
              <a:spLocks/>
            </p:cNvSpPr>
            <p:nvPr/>
          </p:nvSpPr>
          <p:spPr bwMode="auto">
            <a:xfrm>
              <a:off x="6817017" y="5417659"/>
              <a:ext cx="17330" cy="10893"/>
            </a:xfrm>
            <a:custGeom>
              <a:avLst/>
              <a:gdLst>
                <a:gd name="T0" fmla="*/ 0 w 6"/>
                <a:gd name="T1" fmla="*/ 0 h 4"/>
                <a:gd name="T2" fmla="*/ 0 w 6"/>
                <a:gd name="T3" fmla="*/ 2 h 4"/>
                <a:gd name="T4" fmla="*/ 4 w 6"/>
                <a:gd name="T5" fmla="*/ 3 h 4"/>
                <a:gd name="T6" fmla="*/ 5 w 6"/>
                <a:gd name="T7" fmla="*/ 2 h 4"/>
                <a:gd name="T8" fmla="*/ 3 w 6"/>
                <a:gd name="T9" fmla="*/ 0 h 4"/>
                <a:gd name="T10" fmla="*/ 0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0" y="0"/>
                  </a:moveTo>
                  <a:cubicBezTo>
                    <a:pt x="0" y="2"/>
                    <a:pt x="0" y="2"/>
                    <a:pt x="0" y="2"/>
                  </a:cubicBezTo>
                  <a:cubicBezTo>
                    <a:pt x="0" y="2"/>
                    <a:pt x="2" y="3"/>
                    <a:pt x="4" y="3"/>
                  </a:cubicBezTo>
                  <a:cubicBezTo>
                    <a:pt x="6" y="4"/>
                    <a:pt x="5" y="2"/>
                    <a:pt x="5" y="2"/>
                  </a:cubicBezTo>
                  <a:cubicBezTo>
                    <a:pt x="3" y="0"/>
                    <a:pt x="3" y="0"/>
                    <a:pt x="3" y="0"/>
                  </a:cubicBezTo>
                  <a:cubicBezTo>
                    <a:pt x="3" y="0"/>
                    <a:pt x="0" y="0"/>
                    <a:pt x="0" y="0"/>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8" name="Freeform 192"/>
            <p:cNvSpPr>
              <a:spLocks/>
            </p:cNvSpPr>
            <p:nvPr/>
          </p:nvSpPr>
          <p:spPr bwMode="auto">
            <a:xfrm>
              <a:off x="7208380" y="5608283"/>
              <a:ext cx="51989" cy="38125"/>
            </a:xfrm>
            <a:custGeom>
              <a:avLst/>
              <a:gdLst>
                <a:gd name="T0" fmla="*/ 15 w 18"/>
                <a:gd name="T1" fmla="*/ 0 h 14"/>
                <a:gd name="T2" fmla="*/ 11 w 18"/>
                <a:gd name="T3" fmla="*/ 1 h 14"/>
                <a:gd name="T4" fmla="*/ 8 w 18"/>
                <a:gd name="T5" fmla="*/ 3 h 14"/>
                <a:gd name="T6" fmla="*/ 6 w 18"/>
                <a:gd name="T7" fmla="*/ 7 h 14"/>
                <a:gd name="T8" fmla="*/ 4 w 18"/>
                <a:gd name="T9" fmla="*/ 7 h 14"/>
                <a:gd name="T10" fmla="*/ 0 w 18"/>
                <a:gd name="T11" fmla="*/ 7 h 14"/>
                <a:gd name="T12" fmla="*/ 0 w 18"/>
                <a:gd name="T13" fmla="*/ 11 h 14"/>
                <a:gd name="T14" fmla="*/ 3 w 18"/>
                <a:gd name="T15" fmla="*/ 13 h 14"/>
                <a:gd name="T16" fmla="*/ 4 w 18"/>
                <a:gd name="T17" fmla="*/ 13 h 14"/>
                <a:gd name="T18" fmla="*/ 3 w 18"/>
                <a:gd name="T19" fmla="*/ 10 h 14"/>
                <a:gd name="T20" fmla="*/ 6 w 18"/>
                <a:gd name="T21" fmla="*/ 8 h 14"/>
                <a:gd name="T22" fmla="*/ 9 w 18"/>
                <a:gd name="T23" fmla="*/ 7 h 14"/>
                <a:gd name="T24" fmla="*/ 12 w 18"/>
                <a:gd name="T25" fmla="*/ 4 h 14"/>
                <a:gd name="T26" fmla="*/ 16 w 18"/>
                <a:gd name="T27" fmla="*/ 2 h 14"/>
                <a:gd name="T28" fmla="*/ 15 w 18"/>
                <a:gd name="T2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14">
                  <a:moveTo>
                    <a:pt x="15" y="0"/>
                  </a:moveTo>
                  <a:cubicBezTo>
                    <a:pt x="15" y="0"/>
                    <a:pt x="12" y="1"/>
                    <a:pt x="11" y="1"/>
                  </a:cubicBezTo>
                  <a:cubicBezTo>
                    <a:pt x="10" y="1"/>
                    <a:pt x="8" y="3"/>
                    <a:pt x="8" y="3"/>
                  </a:cubicBezTo>
                  <a:cubicBezTo>
                    <a:pt x="6" y="7"/>
                    <a:pt x="6" y="7"/>
                    <a:pt x="6" y="7"/>
                  </a:cubicBezTo>
                  <a:cubicBezTo>
                    <a:pt x="4" y="7"/>
                    <a:pt x="4" y="7"/>
                    <a:pt x="4" y="7"/>
                  </a:cubicBezTo>
                  <a:cubicBezTo>
                    <a:pt x="0" y="7"/>
                    <a:pt x="0" y="7"/>
                    <a:pt x="0" y="7"/>
                  </a:cubicBezTo>
                  <a:cubicBezTo>
                    <a:pt x="0" y="11"/>
                    <a:pt x="0" y="11"/>
                    <a:pt x="0" y="11"/>
                  </a:cubicBezTo>
                  <a:cubicBezTo>
                    <a:pt x="0" y="11"/>
                    <a:pt x="2" y="13"/>
                    <a:pt x="3" y="13"/>
                  </a:cubicBezTo>
                  <a:cubicBezTo>
                    <a:pt x="3" y="14"/>
                    <a:pt x="4" y="13"/>
                    <a:pt x="4" y="13"/>
                  </a:cubicBezTo>
                  <a:cubicBezTo>
                    <a:pt x="3" y="10"/>
                    <a:pt x="3" y="10"/>
                    <a:pt x="3" y="10"/>
                  </a:cubicBezTo>
                  <a:cubicBezTo>
                    <a:pt x="6" y="8"/>
                    <a:pt x="6" y="8"/>
                    <a:pt x="6" y="8"/>
                  </a:cubicBezTo>
                  <a:cubicBezTo>
                    <a:pt x="9" y="7"/>
                    <a:pt x="9" y="7"/>
                    <a:pt x="9" y="7"/>
                  </a:cubicBezTo>
                  <a:cubicBezTo>
                    <a:pt x="9" y="7"/>
                    <a:pt x="11" y="5"/>
                    <a:pt x="12" y="4"/>
                  </a:cubicBezTo>
                  <a:cubicBezTo>
                    <a:pt x="12" y="4"/>
                    <a:pt x="15" y="3"/>
                    <a:pt x="16" y="2"/>
                  </a:cubicBezTo>
                  <a:cubicBezTo>
                    <a:pt x="18" y="1"/>
                    <a:pt x="15" y="0"/>
                    <a:pt x="15" y="0"/>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9" name="Freeform 193"/>
            <p:cNvSpPr>
              <a:spLocks/>
            </p:cNvSpPr>
            <p:nvPr/>
          </p:nvSpPr>
          <p:spPr bwMode="auto">
            <a:xfrm>
              <a:off x="7269035" y="5737635"/>
              <a:ext cx="17330" cy="51741"/>
            </a:xfrm>
            <a:custGeom>
              <a:avLst/>
              <a:gdLst>
                <a:gd name="T0" fmla="*/ 2 w 6"/>
                <a:gd name="T1" fmla="*/ 9 h 19"/>
                <a:gd name="T2" fmla="*/ 3 w 6"/>
                <a:gd name="T3" fmla="*/ 4 h 19"/>
                <a:gd name="T4" fmla="*/ 4 w 6"/>
                <a:gd name="T5" fmla="*/ 0 h 19"/>
                <a:gd name="T6" fmla="*/ 1 w 6"/>
                <a:gd name="T7" fmla="*/ 0 h 19"/>
                <a:gd name="T8" fmla="*/ 1 w 6"/>
                <a:gd name="T9" fmla="*/ 6 h 19"/>
                <a:gd name="T10" fmla="*/ 0 w 6"/>
                <a:gd name="T11" fmla="*/ 11 h 19"/>
                <a:gd name="T12" fmla="*/ 1 w 6"/>
                <a:gd name="T13" fmla="*/ 12 h 19"/>
                <a:gd name="T14" fmla="*/ 1 w 6"/>
                <a:gd name="T15" fmla="*/ 15 h 19"/>
                <a:gd name="T16" fmla="*/ 4 w 6"/>
                <a:gd name="T17" fmla="*/ 19 h 19"/>
                <a:gd name="T18" fmla="*/ 5 w 6"/>
                <a:gd name="T19" fmla="*/ 16 h 19"/>
                <a:gd name="T20" fmla="*/ 6 w 6"/>
                <a:gd name="T21" fmla="*/ 14 h 19"/>
                <a:gd name="T22" fmla="*/ 5 w 6"/>
                <a:gd name="T23" fmla="*/ 10 h 19"/>
                <a:gd name="T24" fmla="*/ 2 w 6"/>
                <a:gd name="T25"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19">
                  <a:moveTo>
                    <a:pt x="2" y="9"/>
                  </a:moveTo>
                  <a:cubicBezTo>
                    <a:pt x="2" y="9"/>
                    <a:pt x="3" y="5"/>
                    <a:pt x="3" y="4"/>
                  </a:cubicBezTo>
                  <a:cubicBezTo>
                    <a:pt x="3" y="3"/>
                    <a:pt x="4" y="1"/>
                    <a:pt x="4" y="0"/>
                  </a:cubicBezTo>
                  <a:cubicBezTo>
                    <a:pt x="4" y="0"/>
                    <a:pt x="1" y="0"/>
                    <a:pt x="1" y="0"/>
                  </a:cubicBezTo>
                  <a:cubicBezTo>
                    <a:pt x="1" y="0"/>
                    <a:pt x="1" y="5"/>
                    <a:pt x="1" y="6"/>
                  </a:cubicBezTo>
                  <a:cubicBezTo>
                    <a:pt x="1" y="7"/>
                    <a:pt x="0" y="11"/>
                    <a:pt x="0" y="11"/>
                  </a:cubicBezTo>
                  <a:cubicBezTo>
                    <a:pt x="0" y="12"/>
                    <a:pt x="1" y="12"/>
                    <a:pt x="1" y="12"/>
                  </a:cubicBezTo>
                  <a:cubicBezTo>
                    <a:pt x="1" y="12"/>
                    <a:pt x="1" y="14"/>
                    <a:pt x="1" y="15"/>
                  </a:cubicBezTo>
                  <a:cubicBezTo>
                    <a:pt x="1" y="16"/>
                    <a:pt x="3" y="18"/>
                    <a:pt x="4" y="19"/>
                  </a:cubicBezTo>
                  <a:cubicBezTo>
                    <a:pt x="5" y="16"/>
                    <a:pt x="5" y="16"/>
                    <a:pt x="5" y="16"/>
                  </a:cubicBezTo>
                  <a:cubicBezTo>
                    <a:pt x="6" y="14"/>
                    <a:pt x="6" y="14"/>
                    <a:pt x="6" y="14"/>
                  </a:cubicBezTo>
                  <a:cubicBezTo>
                    <a:pt x="6" y="14"/>
                    <a:pt x="6" y="11"/>
                    <a:pt x="5" y="10"/>
                  </a:cubicBezTo>
                  <a:cubicBezTo>
                    <a:pt x="3" y="9"/>
                    <a:pt x="2" y="10"/>
                    <a:pt x="2" y="9"/>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0" name="Freeform 194"/>
            <p:cNvSpPr>
              <a:spLocks/>
            </p:cNvSpPr>
            <p:nvPr/>
          </p:nvSpPr>
          <p:spPr bwMode="auto">
            <a:xfrm>
              <a:off x="6510858" y="5548372"/>
              <a:ext cx="54878" cy="49018"/>
            </a:xfrm>
            <a:custGeom>
              <a:avLst/>
              <a:gdLst>
                <a:gd name="T0" fmla="*/ 18 w 19"/>
                <a:gd name="T1" fmla="*/ 17 h 18"/>
                <a:gd name="T2" fmla="*/ 17 w 19"/>
                <a:gd name="T3" fmla="*/ 14 h 18"/>
                <a:gd name="T4" fmla="*/ 14 w 19"/>
                <a:gd name="T5" fmla="*/ 12 h 18"/>
                <a:gd name="T6" fmla="*/ 13 w 19"/>
                <a:gd name="T7" fmla="*/ 10 h 18"/>
                <a:gd name="T8" fmla="*/ 10 w 19"/>
                <a:gd name="T9" fmla="*/ 9 h 18"/>
                <a:gd name="T10" fmla="*/ 9 w 19"/>
                <a:gd name="T11" fmla="*/ 7 h 18"/>
                <a:gd name="T12" fmla="*/ 10 w 19"/>
                <a:gd name="T13" fmla="*/ 6 h 18"/>
                <a:gd name="T14" fmla="*/ 12 w 19"/>
                <a:gd name="T15" fmla="*/ 7 h 18"/>
                <a:gd name="T16" fmla="*/ 14 w 19"/>
                <a:gd name="T17" fmla="*/ 6 h 18"/>
                <a:gd name="T18" fmla="*/ 14 w 19"/>
                <a:gd name="T19" fmla="*/ 5 h 18"/>
                <a:gd name="T20" fmla="*/ 11 w 19"/>
                <a:gd name="T21" fmla="*/ 4 h 18"/>
                <a:gd name="T22" fmla="*/ 12 w 19"/>
                <a:gd name="T23" fmla="*/ 1 h 18"/>
                <a:gd name="T24" fmla="*/ 10 w 19"/>
                <a:gd name="T25" fmla="*/ 0 h 18"/>
                <a:gd name="T26" fmla="*/ 8 w 19"/>
                <a:gd name="T27" fmla="*/ 2 h 18"/>
                <a:gd name="T28" fmla="*/ 7 w 19"/>
                <a:gd name="T29" fmla="*/ 1 h 18"/>
                <a:gd name="T30" fmla="*/ 6 w 19"/>
                <a:gd name="T31" fmla="*/ 3 h 18"/>
                <a:gd name="T32" fmla="*/ 6 w 19"/>
                <a:gd name="T33" fmla="*/ 6 h 18"/>
                <a:gd name="T34" fmla="*/ 4 w 19"/>
                <a:gd name="T35" fmla="*/ 10 h 18"/>
                <a:gd name="T36" fmla="*/ 2 w 19"/>
                <a:gd name="T37" fmla="*/ 7 h 18"/>
                <a:gd name="T38" fmla="*/ 1 w 19"/>
                <a:gd name="T39" fmla="*/ 10 h 18"/>
                <a:gd name="T40" fmla="*/ 0 w 19"/>
                <a:gd name="T41" fmla="*/ 13 h 18"/>
                <a:gd name="T42" fmla="*/ 2 w 19"/>
                <a:gd name="T43" fmla="*/ 15 h 18"/>
                <a:gd name="T44" fmla="*/ 3 w 19"/>
                <a:gd name="T45" fmla="*/ 15 h 18"/>
                <a:gd name="T46" fmla="*/ 4 w 19"/>
                <a:gd name="T47" fmla="*/ 13 h 18"/>
                <a:gd name="T48" fmla="*/ 6 w 19"/>
                <a:gd name="T49" fmla="*/ 15 h 18"/>
                <a:gd name="T50" fmla="*/ 8 w 19"/>
                <a:gd name="T51" fmla="*/ 18 h 18"/>
                <a:gd name="T52" fmla="*/ 10 w 19"/>
                <a:gd name="T53" fmla="*/ 16 h 18"/>
                <a:gd name="T54" fmla="*/ 14 w 19"/>
                <a:gd name="T55" fmla="*/ 18 h 18"/>
                <a:gd name="T56" fmla="*/ 18 w 19"/>
                <a:gd name="T57"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 h="18">
                  <a:moveTo>
                    <a:pt x="18" y="17"/>
                  </a:moveTo>
                  <a:cubicBezTo>
                    <a:pt x="19" y="16"/>
                    <a:pt x="17" y="14"/>
                    <a:pt x="17" y="14"/>
                  </a:cubicBezTo>
                  <a:cubicBezTo>
                    <a:pt x="14" y="12"/>
                    <a:pt x="14" y="12"/>
                    <a:pt x="14" y="12"/>
                  </a:cubicBezTo>
                  <a:cubicBezTo>
                    <a:pt x="13" y="10"/>
                    <a:pt x="13" y="10"/>
                    <a:pt x="13" y="10"/>
                  </a:cubicBezTo>
                  <a:cubicBezTo>
                    <a:pt x="10" y="9"/>
                    <a:pt x="10" y="9"/>
                    <a:pt x="10" y="9"/>
                  </a:cubicBezTo>
                  <a:cubicBezTo>
                    <a:pt x="9" y="7"/>
                    <a:pt x="9" y="7"/>
                    <a:pt x="9" y="7"/>
                  </a:cubicBezTo>
                  <a:cubicBezTo>
                    <a:pt x="10" y="6"/>
                    <a:pt x="10" y="6"/>
                    <a:pt x="10" y="6"/>
                  </a:cubicBezTo>
                  <a:cubicBezTo>
                    <a:pt x="10" y="6"/>
                    <a:pt x="10" y="7"/>
                    <a:pt x="12" y="7"/>
                  </a:cubicBezTo>
                  <a:cubicBezTo>
                    <a:pt x="14" y="7"/>
                    <a:pt x="13" y="7"/>
                    <a:pt x="14" y="6"/>
                  </a:cubicBezTo>
                  <a:cubicBezTo>
                    <a:pt x="14" y="6"/>
                    <a:pt x="14" y="5"/>
                    <a:pt x="14" y="5"/>
                  </a:cubicBezTo>
                  <a:cubicBezTo>
                    <a:pt x="11" y="4"/>
                    <a:pt x="11" y="4"/>
                    <a:pt x="11" y="4"/>
                  </a:cubicBezTo>
                  <a:cubicBezTo>
                    <a:pt x="12" y="1"/>
                    <a:pt x="12" y="1"/>
                    <a:pt x="12" y="1"/>
                  </a:cubicBezTo>
                  <a:cubicBezTo>
                    <a:pt x="10" y="0"/>
                    <a:pt x="10" y="0"/>
                    <a:pt x="10" y="0"/>
                  </a:cubicBezTo>
                  <a:cubicBezTo>
                    <a:pt x="8" y="2"/>
                    <a:pt x="8" y="2"/>
                    <a:pt x="8" y="2"/>
                  </a:cubicBezTo>
                  <a:cubicBezTo>
                    <a:pt x="7" y="1"/>
                    <a:pt x="7" y="1"/>
                    <a:pt x="7" y="1"/>
                  </a:cubicBezTo>
                  <a:cubicBezTo>
                    <a:pt x="7" y="1"/>
                    <a:pt x="6" y="3"/>
                    <a:pt x="6" y="3"/>
                  </a:cubicBezTo>
                  <a:cubicBezTo>
                    <a:pt x="6" y="3"/>
                    <a:pt x="6" y="6"/>
                    <a:pt x="6" y="6"/>
                  </a:cubicBezTo>
                  <a:cubicBezTo>
                    <a:pt x="4" y="10"/>
                    <a:pt x="4" y="10"/>
                    <a:pt x="4" y="10"/>
                  </a:cubicBezTo>
                  <a:cubicBezTo>
                    <a:pt x="2" y="7"/>
                    <a:pt x="2" y="7"/>
                    <a:pt x="2" y="7"/>
                  </a:cubicBezTo>
                  <a:cubicBezTo>
                    <a:pt x="1" y="10"/>
                    <a:pt x="1" y="10"/>
                    <a:pt x="1" y="10"/>
                  </a:cubicBezTo>
                  <a:cubicBezTo>
                    <a:pt x="0" y="13"/>
                    <a:pt x="0" y="13"/>
                    <a:pt x="0" y="13"/>
                  </a:cubicBezTo>
                  <a:cubicBezTo>
                    <a:pt x="2" y="15"/>
                    <a:pt x="2" y="15"/>
                    <a:pt x="2" y="15"/>
                  </a:cubicBezTo>
                  <a:cubicBezTo>
                    <a:pt x="3" y="15"/>
                    <a:pt x="3" y="15"/>
                    <a:pt x="3" y="15"/>
                  </a:cubicBezTo>
                  <a:cubicBezTo>
                    <a:pt x="4" y="13"/>
                    <a:pt x="4" y="13"/>
                    <a:pt x="4" y="13"/>
                  </a:cubicBezTo>
                  <a:cubicBezTo>
                    <a:pt x="6" y="15"/>
                    <a:pt x="6" y="15"/>
                    <a:pt x="6" y="15"/>
                  </a:cubicBezTo>
                  <a:cubicBezTo>
                    <a:pt x="8" y="18"/>
                    <a:pt x="8" y="18"/>
                    <a:pt x="8" y="18"/>
                  </a:cubicBezTo>
                  <a:cubicBezTo>
                    <a:pt x="8" y="18"/>
                    <a:pt x="9" y="16"/>
                    <a:pt x="10" y="16"/>
                  </a:cubicBezTo>
                  <a:cubicBezTo>
                    <a:pt x="11" y="16"/>
                    <a:pt x="14" y="18"/>
                    <a:pt x="14" y="18"/>
                  </a:cubicBezTo>
                  <a:cubicBezTo>
                    <a:pt x="14" y="18"/>
                    <a:pt x="17" y="17"/>
                    <a:pt x="18" y="17"/>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1" name="Freeform 195"/>
            <p:cNvSpPr>
              <a:spLocks/>
            </p:cNvSpPr>
            <p:nvPr/>
          </p:nvSpPr>
          <p:spPr bwMode="auto">
            <a:xfrm>
              <a:off x="6412656" y="5401320"/>
              <a:ext cx="54878" cy="54464"/>
            </a:xfrm>
            <a:custGeom>
              <a:avLst/>
              <a:gdLst>
                <a:gd name="T0" fmla="*/ 15 w 19"/>
                <a:gd name="T1" fmla="*/ 15 h 20"/>
                <a:gd name="T2" fmla="*/ 12 w 19"/>
                <a:gd name="T3" fmla="*/ 14 h 20"/>
                <a:gd name="T4" fmla="*/ 10 w 19"/>
                <a:gd name="T5" fmla="*/ 13 h 20"/>
                <a:gd name="T6" fmla="*/ 8 w 19"/>
                <a:gd name="T7" fmla="*/ 7 h 20"/>
                <a:gd name="T8" fmla="*/ 8 w 19"/>
                <a:gd name="T9" fmla="*/ 6 h 20"/>
                <a:gd name="T10" fmla="*/ 7 w 19"/>
                <a:gd name="T11" fmla="*/ 6 h 20"/>
                <a:gd name="T12" fmla="*/ 7 w 19"/>
                <a:gd name="T13" fmla="*/ 3 h 20"/>
                <a:gd name="T14" fmla="*/ 6 w 19"/>
                <a:gd name="T15" fmla="*/ 2 h 20"/>
                <a:gd name="T16" fmla="*/ 6 w 19"/>
                <a:gd name="T17" fmla="*/ 2 h 20"/>
                <a:gd name="T18" fmla="*/ 5 w 19"/>
                <a:gd name="T19" fmla="*/ 0 h 20"/>
                <a:gd name="T20" fmla="*/ 2 w 19"/>
                <a:gd name="T21" fmla="*/ 1 h 20"/>
                <a:gd name="T22" fmla="*/ 1 w 19"/>
                <a:gd name="T23" fmla="*/ 3 h 20"/>
                <a:gd name="T24" fmla="*/ 0 w 19"/>
                <a:gd name="T25" fmla="*/ 7 h 20"/>
                <a:gd name="T26" fmla="*/ 5 w 19"/>
                <a:gd name="T27" fmla="*/ 9 h 20"/>
                <a:gd name="T28" fmla="*/ 7 w 19"/>
                <a:gd name="T29" fmla="*/ 10 h 20"/>
                <a:gd name="T30" fmla="*/ 8 w 19"/>
                <a:gd name="T31" fmla="*/ 15 h 20"/>
                <a:gd name="T32" fmla="*/ 11 w 19"/>
                <a:gd name="T33" fmla="*/ 16 h 20"/>
                <a:gd name="T34" fmla="*/ 17 w 19"/>
                <a:gd name="T35" fmla="*/ 19 h 20"/>
                <a:gd name="T36" fmla="*/ 18 w 19"/>
                <a:gd name="T37" fmla="*/ 18 h 20"/>
                <a:gd name="T38" fmla="*/ 15 w 19"/>
                <a:gd name="T39" fmla="*/ 15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 h="20">
                  <a:moveTo>
                    <a:pt x="15" y="15"/>
                  </a:moveTo>
                  <a:cubicBezTo>
                    <a:pt x="12" y="14"/>
                    <a:pt x="12" y="14"/>
                    <a:pt x="12" y="14"/>
                  </a:cubicBezTo>
                  <a:cubicBezTo>
                    <a:pt x="10" y="13"/>
                    <a:pt x="10" y="13"/>
                    <a:pt x="10" y="13"/>
                  </a:cubicBezTo>
                  <a:cubicBezTo>
                    <a:pt x="10" y="13"/>
                    <a:pt x="9" y="8"/>
                    <a:pt x="8" y="7"/>
                  </a:cubicBezTo>
                  <a:cubicBezTo>
                    <a:pt x="8" y="7"/>
                    <a:pt x="8" y="6"/>
                    <a:pt x="8" y="6"/>
                  </a:cubicBezTo>
                  <a:cubicBezTo>
                    <a:pt x="7" y="6"/>
                    <a:pt x="7" y="6"/>
                    <a:pt x="7" y="6"/>
                  </a:cubicBezTo>
                  <a:cubicBezTo>
                    <a:pt x="7" y="3"/>
                    <a:pt x="7" y="3"/>
                    <a:pt x="7" y="3"/>
                  </a:cubicBezTo>
                  <a:cubicBezTo>
                    <a:pt x="7" y="3"/>
                    <a:pt x="6" y="2"/>
                    <a:pt x="6" y="2"/>
                  </a:cubicBezTo>
                  <a:cubicBezTo>
                    <a:pt x="6" y="2"/>
                    <a:pt x="6" y="2"/>
                    <a:pt x="6" y="2"/>
                  </a:cubicBezTo>
                  <a:cubicBezTo>
                    <a:pt x="6" y="1"/>
                    <a:pt x="5" y="1"/>
                    <a:pt x="5" y="0"/>
                  </a:cubicBezTo>
                  <a:cubicBezTo>
                    <a:pt x="5" y="1"/>
                    <a:pt x="3" y="1"/>
                    <a:pt x="2" y="1"/>
                  </a:cubicBezTo>
                  <a:cubicBezTo>
                    <a:pt x="1" y="2"/>
                    <a:pt x="1" y="3"/>
                    <a:pt x="1" y="3"/>
                  </a:cubicBezTo>
                  <a:cubicBezTo>
                    <a:pt x="0" y="4"/>
                    <a:pt x="0" y="7"/>
                    <a:pt x="0" y="7"/>
                  </a:cubicBezTo>
                  <a:cubicBezTo>
                    <a:pt x="5" y="9"/>
                    <a:pt x="5" y="9"/>
                    <a:pt x="5" y="9"/>
                  </a:cubicBezTo>
                  <a:cubicBezTo>
                    <a:pt x="5" y="9"/>
                    <a:pt x="7" y="10"/>
                    <a:pt x="7" y="10"/>
                  </a:cubicBezTo>
                  <a:cubicBezTo>
                    <a:pt x="7" y="11"/>
                    <a:pt x="8" y="15"/>
                    <a:pt x="8" y="15"/>
                  </a:cubicBezTo>
                  <a:cubicBezTo>
                    <a:pt x="8" y="15"/>
                    <a:pt x="10" y="16"/>
                    <a:pt x="11" y="16"/>
                  </a:cubicBezTo>
                  <a:cubicBezTo>
                    <a:pt x="12" y="17"/>
                    <a:pt x="14" y="19"/>
                    <a:pt x="17" y="19"/>
                  </a:cubicBezTo>
                  <a:cubicBezTo>
                    <a:pt x="19" y="20"/>
                    <a:pt x="18" y="18"/>
                    <a:pt x="18" y="18"/>
                  </a:cubicBezTo>
                  <a:lnTo>
                    <a:pt x="15" y="15"/>
                  </a:ln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2" name="Freeform 196"/>
            <p:cNvSpPr>
              <a:spLocks/>
            </p:cNvSpPr>
            <p:nvPr/>
          </p:nvSpPr>
          <p:spPr bwMode="auto">
            <a:xfrm>
              <a:off x="7023530" y="5338686"/>
              <a:ext cx="89537" cy="46294"/>
            </a:xfrm>
            <a:custGeom>
              <a:avLst/>
              <a:gdLst>
                <a:gd name="T0" fmla="*/ 4 w 31"/>
                <a:gd name="T1" fmla="*/ 8 h 17"/>
                <a:gd name="T2" fmla="*/ 1 w 31"/>
                <a:gd name="T3" fmla="*/ 10 h 17"/>
                <a:gd name="T4" fmla="*/ 2 w 31"/>
                <a:gd name="T5" fmla="*/ 12 h 17"/>
                <a:gd name="T6" fmla="*/ 6 w 31"/>
                <a:gd name="T7" fmla="*/ 14 h 17"/>
                <a:gd name="T8" fmla="*/ 7 w 31"/>
                <a:gd name="T9" fmla="*/ 14 h 17"/>
                <a:gd name="T10" fmla="*/ 9 w 31"/>
                <a:gd name="T11" fmla="*/ 15 h 17"/>
                <a:gd name="T12" fmla="*/ 12 w 31"/>
                <a:gd name="T13" fmla="*/ 13 h 17"/>
                <a:gd name="T14" fmla="*/ 13 w 31"/>
                <a:gd name="T15" fmla="*/ 11 h 17"/>
                <a:gd name="T16" fmla="*/ 15 w 31"/>
                <a:gd name="T17" fmla="*/ 9 h 17"/>
                <a:gd name="T18" fmla="*/ 17 w 31"/>
                <a:gd name="T19" fmla="*/ 8 h 17"/>
                <a:gd name="T20" fmla="*/ 17 w 31"/>
                <a:gd name="T21" fmla="*/ 11 h 17"/>
                <a:gd name="T22" fmla="*/ 16 w 31"/>
                <a:gd name="T23" fmla="*/ 13 h 17"/>
                <a:gd name="T24" fmla="*/ 15 w 31"/>
                <a:gd name="T25" fmla="*/ 14 h 17"/>
                <a:gd name="T26" fmla="*/ 13 w 31"/>
                <a:gd name="T27" fmla="*/ 16 h 17"/>
                <a:gd name="T28" fmla="*/ 15 w 31"/>
                <a:gd name="T29" fmla="*/ 17 h 17"/>
                <a:gd name="T30" fmla="*/ 17 w 31"/>
                <a:gd name="T31" fmla="*/ 17 h 17"/>
                <a:gd name="T32" fmla="*/ 20 w 31"/>
                <a:gd name="T33" fmla="*/ 17 h 17"/>
                <a:gd name="T34" fmla="*/ 26 w 31"/>
                <a:gd name="T35" fmla="*/ 17 h 17"/>
                <a:gd name="T36" fmla="*/ 28 w 31"/>
                <a:gd name="T37" fmla="*/ 16 h 17"/>
                <a:gd name="T38" fmla="*/ 27 w 31"/>
                <a:gd name="T39" fmla="*/ 14 h 17"/>
                <a:gd name="T40" fmla="*/ 24 w 31"/>
                <a:gd name="T41" fmla="*/ 12 h 17"/>
                <a:gd name="T42" fmla="*/ 25 w 31"/>
                <a:gd name="T43" fmla="*/ 11 h 17"/>
                <a:gd name="T44" fmla="*/ 28 w 31"/>
                <a:gd name="T45" fmla="*/ 14 h 17"/>
                <a:gd name="T46" fmla="*/ 30 w 31"/>
                <a:gd name="T47" fmla="*/ 13 h 17"/>
                <a:gd name="T48" fmla="*/ 29 w 31"/>
                <a:gd name="T49" fmla="*/ 9 h 17"/>
                <a:gd name="T50" fmla="*/ 25 w 31"/>
                <a:gd name="T51" fmla="*/ 8 h 17"/>
                <a:gd name="T52" fmla="*/ 23 w 31"/>
                <a:gd name="T53" fmla="*/ 6 h 17"/>
                <a:gd name="T54" fmla="*/ 20 w 31"/>
                <a:gd name="T55" fmla="*/ 4 h 17"/>
                <a:gd name="T56" fmla="*/ 21 w 31"/>
                <a:gd name="T57" fmla="*/ 1 h 17"/>
                <a:gd name="T58" fmla="*/ 17 w 31"/>
                <a:gd name="T59" fmla="*/ 0 h 17"/>
                <a:gd name="T60" fmla="*/ 13 w 31"/>
                <a:gd name="T61" fmla="*/ 1 h 17"/>
                <a:gd name="T62" fmla="*/ 12 w 31"/>
                <a:gd name="T63" fmla="*/ 2 h 17"/>
                <a:gd name="T64" fmla="*/ 12 w 31"/>
                <a:gd name="T65" fmla="*/ 4 h 17"/>
                <a:gd name="T66" fmla="*/ 10 w 31"/>
                <a:gd name="T67" fmla="*/ 5 h 17"/>
                <a:gd name="T68" fmla="*/ 9 w 31"/>
                <a:gd name="T69" fmla="*/ 7 h 17"/>
                <a:gd name="T70" fmla="*/ 6 w 31"/>
                <a:gd name="T71" fmla="*/ 8 h 17"/>
                <a:gd name="T72" fmla="*/ 4 w 31"/>
                <a:gd name="T73"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17">
                  <a:moveTo>
                    <a:pt x="4" y="8"/>
                  </a:moveTo>
                  <a:cubicBezTo>
                    <a:pt x="3" y="9"/>
                    <a:pt x="1" y="10"/>
                    <a:pt x="1" y="10"/>
                  </a:cubicBezTo>
                  <a:cubicBezTo>
                    <a:pt x="1" y="10"/>
                    <a:pt x="0" y="11"/>
                    <a:pt x="2" y="12"/>
                  </a:cubicBezTo>
                  <a:cubicBezTo>
                    <a:pt x="3" y="13"/>
                    <a:pt x="5" y="13"/>
                    <a:pt x="6" y="14"/>
                  </a:cubicBezTo>
                  <a:cubicBezTo>
                    <a:pt x="6" y="14"/>
                    <a:pt x="6" y="14"/>
                    <a:pt x="7" y="14"/>
                  </a:cubicBezTo>
                  <a:cubicBezTo>
                    <a:pt x="8" y="15"/>
                    <a:pt x="8" y="15"/>
                    <a:pt x="9" y="15"/>
                  </a:cubicBezTo>
                  <a:cubicBezTo>
                    <a:pt x="10" y="14"/>
                    <a:pt x="11" y="14"/>
                    <a:pt x="12" y="13"/>
                  </a:cubicBezTo>
                  <a:cubicBezTo>
                    <a:pt x="12" y="13"/>
                    <a:pt x="13" y="11"/>
                    <a:pt x="13" y="11"/>
                  </a:cubicBezTo>
                  <a:cubicBezTo>
                    <a:pt x="14" y="10"/>
                    <a:pt x="13" y="9"/>
                    <a:pt x="15" y="9"/>
                  </a:cubicBezTo>
                  <a:cubicBezTo>
                    <a:pt x="16" y="9"/>
                    <a:pt x="17" y="8"/>
                    <a:pt x="17" y="8"/>
                  </a:cubicBezTo>
                  <a:cubicBezTo>
                    <a:pt x="17" y="8"/>
                    <a:pt x="17" y="11"/>
                    <a:pt x="17" y="11"/>
                  </a:cubicBezTo>
                  <a:cubicBezTo>
                    <a:pt x="16" y="11"/>
                    <a:pt x="16" y="13"/>
                    <a:pt x="16" y="13"/>
                  </a:cubicBezTo>
                  <a:cubicBezTo>
                    <a:pt x="16" y="13"/>
                    <a:pt x="15" y="13"/>
                    <a:pt x="15" y="14"/>
                  </a:cubicBezTo>
                  <a:cubicBezTo>
                    <a:pt x="14" y="14"/>
                    <a:pt x="13" y="16"/>
                    <a:pt x="13" y="16"/>
                  </a:cubicBezTo>
                  <a:cubicBezTo>
                    <a:pt x="13" y="16"/>
                    <a:pt x="14" y="16"/>
                    <a:pt x="15" y="17"/>
                  </a:cubicBezTo>
                  <a:cubicBezTo>
                    <a:pt x="16" y="17"/>
                    <a:pt x="16" y="17"/>
                    <a:pt x="17" y="17"/>
                  </a:cubicBezTo>
                  <a:cubicBezTo>
                    <a:pt x="18" y="17"/>
                    <a:pt x="17" y="17"/>
                    <a:pt x="20" y="17"/>
                  </a:cubicBezTo>
                  <a:cubicBezTo>
                    <a:pt x="23" y="17"/>
                    <a:pt x="26" y="17"/>
                    <a:pt x="26" y="17"/>
                  </a:cubicBezTo>
                  <a:cubicBezTo>
                    <a:pt x="26" y="17"/>
                    <a:pt x="28" y="16"/>
                    <a:pt x="28" y="16"/>
                  </a:cubicBezTo>
                  <a:cubicBezTo>
                    <a:pt x="28" y="16"/>
                    <a:pt x="28" y="15"/>
                    <a:pt x="27" y="14"/>
                  </a:cubicBezTo>
                  <a:cubicBezTo>
                    <a:pt x="26" y="13"/>
                    <a:pt x="25" y="12"/>
                    <a:pt x="24" y="12"/>
                  </a:cubicBezTo>
                  <a:cubicBezTo>
                    <a:pt x="24" y="12"/>
                    <a:pt x="24" y="11"/>
                    <a:pt x="25" y="11"/>
                  </a:cubicBezTo>
                  <a:cubicBezTo>
                    <a:pt x="26" y="11"/>
                    <a:pt x="27" y="14"/>
                    <a:pt x="28" y="14"/>
                  </a:cubicBezTo>
                  <a:cubicBezTo>
                    <a:pt x="29" y="14"/>
                    <a:pt x="30" y="14"/>
                    <a:pt x="30" y="13"/>
                  </a:cubicBezTo>
                  <a:cubicBezTo>
                    <a:pt x="30" y="11"/>
                    <a:pt x="31" y="10"/>
                    <a:pt x="29" y="9"/>
                  </a:cubicBezTo>
                  <a:cubicBezTo>
                    <a:pt x="27" y="8"/>
                    <a:pt x="26" y="8"/>
                    <a:pt x="25" y="8"/>
                  </a:cubicBezTo>
                  <a:cubicBezTo>
                    <a:pt x="24" y="7"/>
                    <a:pt x="26" y="8"/>
                    <a:pt x="23" y="6"/>
                  </a:cubicBezTo>
                  <a:cubicBezTo>
                    <a:pt x="19" y="4"/>
                    <a:pt x="20" y="4"/>
                    <a:pt x="20" y="4"/>
                  </a:cubicBezTo>
                  <a:cubicBezTo>
                    <a:pt x="20" y="4"/>
                    <a:pt x="21" y="2"/>
                    <a:pt x="21" y="1"/>
                  </a:cubicBezTo>
                  <a:cubicBezTo>
                    <a:pt x="20" y="1"/>
                    <a:pt x="17" y="0"/>
                    <a:pt x="17" y="0"/>
                  </a:cubicBezTo>
                  <a:cubicBezTo>
                    <a:pt x="17" y="0"/>
                    <a:pt x="13" y="1"/>
                    <a:pt x="13" y="1"/>
                  </a:cubicBezTo>
                  <a:cubicBezTo>
                    <a:pt x="13" y="2"/>
                    <a:pt x="12" y="2"/>
                    <a:pt x="12" y="2"/>
                  </a:cubicBezTo>
                  <a:cubicBezTo>
                    <a:pt x="12" y="4"/>
                    <a:pt x="12" y="4"/>
                    <a:pt x="12" y="4"/>
                  </a:cubicBezTo>
                  <a:cubicBezTo>
                    <a:pt x="10" y="5"/>
                    <a:pt x="10" y="5"/>
                    <a:pt x="10" y="5"/>
                  </a:cubicBezTo>
                  <a:cubicBezTo>
                    <a:pt x="10" y="5"/>
                    <a:pt x="9" y="7"/>
                    <a:pt x="9" y="7"/>
                  </a:cubicBezTo>
                  <a:cubicBezTo>
                    <a:pt x="9" y="7"/>
                    <a:pt x="7" y="8"/>
                    <a:pt x="6" y="8"/>
                  </a:cubicBezTo>
                  <a:cubicBezTo>
                    <a:pt x="6" y="8"/>
                    <a:pt x="5" y="8"/>
                    <a:pt x="4" y="8"/>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3" name="Freeform 197"/>
            <p:cNvSpPr>
              <a:spLocks/>
            </p:cNvSpPr>
            <p:nvPr/>
          </p:nvSpPr>
          <p:spPr bwMode="auto">
            <a:xfrm>
              <a:off x="7026418" y="5578327"/>
              <a:ext cx="20218" cy="10893"/>
            </a:xfrm>
            <a:custGeom>
              <a:avLst/>
              <a:gdLst>
                <a:gd name="T0" fmla="*/ 5 w 7"/>
                <a:gd name="T1" fmla="*/ 0 h 4"/>
                <a:gd name="T2" fmla="*/ 3 w 7"/>
                <a:gd name="T3" fmla="*/ 0 h 4"/>
                <a:gd name="T4" fmla="*/ 0 w 7"/>
                <a:gd name="T5" fmla="*/ 2 h 4"/>
                <a:gd name="T6" fmla="*/ 1 w 7"/>
                <a:gd name="T7" fmla="*/ 4 h 4"/>
                <a:gd name="T8" fmla="*/ 5 w 7"/>
                <a:gd name="T9" fmla="*/ 2 h 4"/>
                <a:gd name="T10" fmla="*/ 5 w 7"/>
                <a:gd name="T11" fmla="*/ 0 h 4"/>
              </a:gdLst>
              <a:ahLst/>
              <a:cxnLst>
                <a:cxn ang="0">
                  <a:pos x="T0" y="T1"/>
                </a:cxn>
                <a:cxn ang="0">
                  <a:pos x="T2" y="T3"/>
                </a:cxn>
                <a:cxn ang="0">
                  <a:pos x="T4" y="T5"/>
                </a:cxn>
                <a:cxn ang="0">
                  <a:pos x="T6" y="T7"/>
                </a:cxn>
                <a:cxn ang="0">
                  <a:pos x="T8" y="T9"/>
                </a:cxn>
                <a:cxn ang="0">
                  <a:pos x="T10" y="T11"/>
                </a:cxn>
              </a:cxnLst>
              <a:rect l="0" t="0" r="r" b="b"/>
              <a:pathLst>
                <a:path w="7" h="4">
                  <a:moveTo>
                    <a:pt x="5" y="0"/>
                  </a:moveTo>
                  <a:cubicBezTo>
                    <a:pt x="3" y="0"/>
                    <a:pt x="3" y="0"/>
                    <a:pt x="3" y="0"/>
                  </a:cubicBezTo>
                  <a:cubicBezTo>
                    <a:pt x="3" y="0"/>
                    <a:pt x="0" y="2"/>
                    <a:pt x="0" y="2"/>
                  </a:cubicBezTo>
                  <a:cubicBezTo>
                    <a:pt x="1" y="4"/>
                    <a:pt x="1" y="4"/>
                    <a:pt x="1" y="4"/>
                  </a:cubicBezTo>
                  <a:cubicBezTo>
                    <a:pt x="1" y="4"/>
                    <a:pt x="3" y="3"/>
                    <a:pt x="5" y="2"/>
                  </a:cubicBezTo>
                  <a:cubicBezTo>
                    <a:pt x="7" y="2"/>
                    <a:pt x="5" y="0"/>
                    <a:pt x="5" y="0"/>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4" name="Freeform 198"/>
            <p:cNvSpPr>
              <a:spLocks/>
            </p:cNvSpPr>
            <p:nvPr/>
          </p:nvSpPr>
          <p:spPr bwMode="auto">
            <a:xfrm>
              <a:off x="6548406" y="5613729"/>
              <a:ext cx="43324" cy="32678"/>
            </a:xfrm>
            <a:custGeom>
              <a:avLst/>
              <a:gdLst>
                <a:gd name="T0" fmla="*/ 12 w 15"/>
                <a:gd name="T1" fmla="*/ 6 h 12"/>
                <a:gd name="T2" fmla="*/ 10 w 15"/>
                <a:gd name="T3" fmla="*/ 4 h 12"/>
                <a:gd name="T4" fmla="*/ 7 w 15"/>
                <a:gd name="T5" fmla="*/ 4 h 12"/>
                <a:gd name="T6" fmla="*/ 4 w 15"/>
                <a:gd name="T7" fmla="*/ 2 h 12"/>
                <a:gd name="T8" fmla="*/ 3 w 15"/>
                <a:gd name="T9" fmla="*/ 0 h 12"/>
                <a:gd name="T10" fmla="*/ 2 w 15"/>
                <a:gd name="T11" fmla="*/ 0 h 12"/>
                <a:gd name="T12" fmla="*/ 0 w 15"/>
                <a:gd name="T13" fmla="*/ 2 h 12"/>
                <a:gd name="T14" fmla="*/ 0 w 15"/>
                <a:gd name="T15" fmla="*/ 4 h 12"/>
                <a:gd name="T16" fmla="*/ 0 w 15"/>
                <a:gd name="T17" fmla="*/ 6 h 12"/>
                <a:gd name="T18" fmla="*/ 5 w 15"/>
                <a:gd name="T19" fmla="*/ 10 h 12"/>
                <a:gd name="T20" fmla="*/ 6 w 15"/>
                <a:gd name="T21" fmla="*/ 11 h 12"/>
                <a:gd name="T22" fmla="*/ 9 w 15"/>
                <a:gd name="T23" fmla="*/ 12 h 12"/>
                <a:gd name="T24" fmla="*/ 10 w 15"/>
                <a:gd name="T25" fmla="*/ 11 h 12"/>
                <a:gd name="T26" fmla="*/ 11 w 15"/>
                <a:gd name="T27" fmla="*/ 10 h 12"/>
                <a:gd name="T28" fmla="*/ 15 w 15"/>
                <a:gd name="T29" fmla="*/ 8 h 12"/>
                <a:gd name="T30" fmla="*/ 12 w 15"/>
                <a:gd name="T31"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2">
                  <a:moveTo>
                    <a:pt x="12" y="6"/>
                  </a:moveTo>
                  <a:cubicBezTo>
                    <a:pt x="10" y="4"/>
                    <a:pt x="10" y="4"/>
                    <a:pt x="10" y="4"/>
                  </a:cubicBezTo>
                  <a:cubicBezTo>
                    <a:pt x="10" y="4"/>
                    <a:pt x="8" y="4"/>
                    <a:pt x="7" y="4"/>
                  </a:cubicBezTo>
                  <a:cubicBezTo>
                    <a:pt x="6" y="4"/>
                    <a:pt x="4" y="3"/>
                    <a:pt x="4" y="2"/>
                  </a:cubicBezTo>
                  <a:cubicBezTo>
                    <a:pt x="4" y="1"/>
                    <a:pt x="3" y="1"/>
                    <a:pt x="3" y="0"/>
                  </a:cubicBezTo>
                  <a:cubicBezTo>
                    <a:pt x="3" y="0"/>
                    <a:pt x="2" y="0"/>
                    <a:pt x="2" y="0"/>
                  </a:cubicBezTo>
                  <a:cubicBezTo>
                    <a:pt x="0" y="2"/>
                    <a:pt x="0" y="2"/>
                    <a:pt x="0" y="2"/>
                  </a:cubicBezTo>
                  <a:cubicBezTo>
                    <a:pt x="0" y="4"/>
                    <a:pt x="0" y="4"/>
                    <a:pt x="0" y="4"/>
                  </a:cubicBezTo>
                  <a:cubicBezTo>
                    <a:pt x="0" y="6"/>
                    <a:pt x="0" y="6"/>
                    <a:pt x="0" y="6"/>
                  </a:cubicBezTo>
                  <a:cubicBezTo>
                    <a:pt x="0" y="6"/>
                    <a:pt x="4" y="9"/>
                    <a:pt x="5" y="10"/>
                  </a:cubicBezTo>
                  <a:cubicBezTo>
                    <a:pt x="6" y="10"/>
                    <a:pt x="6" y="11"/>
                    <a:pt x="6" y="11"/>
                  </a:cubicBezTo>
                  <a:cubicBezTo>
                    <a:pt x="7" y="12"/>
                    <a:pt x="7" y="12"/>
                    <a:pt x="9" y="12"/>
                  </a:cubicBezTo>
                  <a:cubicBezTo>
                    <a:pt x="10" y="12"/>
                    <a:pt x="10" y="11"/>
                    <a:pt x="10" y="11"/>
                  </a:cubicBezTo>
                  <a:cubicBezTo>
                    <a:pt x="11" y="10"/>
                    <a:pt x="11" y="10"/>
                    <a:pt x="11" y="10"/>
                  </a:cubicBezTo>
                  <a:cubicBezTo>
                    <a:pt x="11" y="10"/>
                    <a:pt x="15" y="8"/>
                    <a:pt x="15" y="8"/>
                  </a:cubicBezTo>
                  <a:cubicBezTo>
                    <a:pt x="15" y="7"/>
                    <a:pt x="12" y="6"/>
                    <a:pt x="12" y="6"/>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5" name="Freeform 199"/>
            <p:cNvSpPr>
              <a:spLocks/>
            </p:cNvSpPr>
            <p:nvPr/>
          </p:nvSpPr>
          <p:spPr bwMode="auto">
            <a:xfrm>
              <a:off x="6808352" y="5762143"/>
              <a:ext cx="28883" cy="27232"/>
            </a:xfrm>
            <a:custGeom>
              <a:avLst/>
              <a:gdLst>
                <a:gd name="T0" fmla="*/ 7 w 10"/>
                <a:gd name="T1" fmla="*/ 3 h 10"/>
                <a:gd name="T2" fmla="*/ 5 w 10"/>
                <a:gd name="T3" fmla="*/ 2 h 10"/>
                <a:gd name="T4" fmla="*/ 4 w 10"/>
                <a:gd name="T5" fmla="*/ 0 h 10"/>
                <a:gd name="T6" fmla="*/ 2 w 10"/>
                <a:gd name="T7" fmla="*/ 0 h 10"/>
                <a:gd name="T8" fmla="*/ 0 w 10"/>
                <a:gd name="T9" fmla="*/ 3 h 10"/>
                <a:gd name="T10" fmla="*/ 2 w 10"/>
                <a:gd name="T11" fmla="*/ 5 h 10"/>
                <a:gd name="T12" fmla="*/ 3 w 10"/>
                <a:gd name="T13" fmla="*/ 8 h 10"/>
                <a:gd name="T14" fmla="*/ 6 w 10"/>
                <a:gd name="T15" fmla="*/ 10 h 10"/>
                <a:gd name="T16" fmla="*/ 9 w 10"/>
                <a:gd name="T17" fmla="*/ 10 h 10"/>
                <a:gd name="T18" fmla="*/ 9 w 10"/>
                <a:gd name="T19" fmla="*/ 8 h 10"/>
                <a:gd name="T20" fmla="*/ 10 w 10"/>
                <a:gd name="T21" fmla="*/ 5 h 10"/>
                <a:gd name="T22" fmla="*/ 7 w 10"/>
                <a:gd name="T23"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0">
                  <a:moveTo>
                    <a:pt x="7" y="3"/>
                  </a:moveTo>
                  <a:cubicBezTo>
                    <a:pt x="5" y="2"/>
                    <a:pt x="5" y="2"/>
                    <a:pt x="5" y="2"/>
                  </a:cubicBezTo>
                  <a:cubicBezTo>
                    <a:pt x="4" y="0"/>
                    <a:pt x="4" y="0"/>
                    <a:pt x="4" y="0"/>
                  </a:cubicBezTo>
                  <a:cubicBezTo>
                    <a:pt x="2" y="0"/>
                    <a:pt x="2" y="0"/>
                    <a:pt x="2" y="0"/>
                  </a:cubicBezTo>
                  <a:cubicBezTo>
                    <a:pt x="0" y="3"/>
                    <a:pt x="0" y="3"/>
                    <a:pt x="0" y="3"/>
                  </a:cubicBezTo>
                  <a:cubicBezTo>
                    <a:pt x="2" y="5"/>
                    <a:pt x="2" y="5"/>
                    <a:pt x="2" y="5"/>
                  </a:cubicBezTo>
                  <a:cubicBezTo>
                    <a:pt x="3" y="8"/>
                    <a:pt x="3" y="8"/>
                    <a:pt x="3" y="8"/>
                  </a:cubicBezTo>
                  <a:cubicBezTo>
                    <a:pt x="3" y="8"/>
                    <a:pt x="5" y="9"/>
                    <a:pt x="6" y="10"/>
                  </a:cubicBezTo>
                  <a:cubicBezTo>
                    <a:pt x="7" y="10"/>
                    <a:pt x="8" y="10"/>
                    <a:pt x="9" y="10"/>
                  </a:cubicBezTo>
                  <a:cubicBezTo>
                    <a:pt x="9" y="9"/>
                    <a:pt x="9" y="8"/>
                    <a:pt x="9" y="8"/>
                  </a:cubicBezTo>
                  <a:cubicBezTo>
                    <a:pt x="9" y="8"/>
                    <a:pt x="10" y="5"/>
                    <a:pt x="10" y="5"/>
                  </a:cubicBezTo>
                  <a:cubicBezTo>
                    <a:pt x="10" y="5"/>
                    <a:pt x="7" y="3"/>
                    <a:pt x="7" y="3"/>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6" name="Freeform 200"/>
            <p:cNvSpPr>
              <a:spLocks/>
            </p:cNvSpPr>
            <p:nvPr/>
          </p:nvSpPr>
          <p:spPr bwMode="auto">
            <a:xfrm>
              <a:off x="6861785" y="5206611"/>
              <a:ext cx="28883" cy="29955"/>
            </a:xfrm>
            <a:custGeom>
              <a:avLst/>
              <a:gdLst>
                <a:gd name="T0" fmla="*/ 9 w 10"/>
                <a:gd name="T1" fmla="*/ 2 h 11"/>
                <a:gd name="T2" fmla="*/ 7 w 10"/>
                <a:gd name="T3" fmla="*/ 0 h 11"/>
                <a:gd name="T4" fmla="*/ 4 w 10"/>
                <a:gd name="T5" fmla="*/ 0 h 11"/>
                <a:gd name="T6" fmla="*/ 2 w 10"/>
                <a:gd name="T7" fmla="*/ 2 h 11"/>
                <a:gd name="T8" fmla="*/ 1 w 10"/>
                <a:gd name="T9" fmla="*/ 6 h 11"/>
                <a:gd name="T10" fmla="*/ 1 w 10"/>
                <a:gd name="T11" fmla="*/ 8 h 11"/>
                <a:gd name="T12" fmla="*/ 4 w 10"/>
                <a:gd name="T13" fmla="*/ 9 h 11"/>
                <a:gd name="T14" fmla="*/ 8 w 10"/>
                <a:gd name="T15" fmla="*/ 8 h 11"/>
                <a:gd name="T16" fmla="*/ 10 w 10"/>
                <a:gd name="T17" fmla="*/ 5 h 11"/>
                <a:gd name="T18" fmla="*/ 9 w 10"/>
                <a:gd name="T19"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1">
                  <a:moveTo>
                    <a:pt x="9" y="2"/>
                  </a:moveTo>
                  <a:cubicBezTo>
                    <a:pt x="9" y="1"/>
                    <a:pt x="7" y="0"/>
                    <a:pt x="7" y="0"/>
                  </a:cubicBezTo>
                  <a:cubicBezTo>
                    <a:pt x="7" y="0"/>
                    <a:pt x="5" y="0"/>
                    <a:pt x="4" y="0"/>
                  </a:cubicBezTo>
                  <a:cubicBezTo>
                    <a:pt x="3" y="0"/>
                    <a:pt x="3" y="1"/>
                    <a:pt x="2" y="2"/>
                  </a:cubicBezTo>
                  <a:cubicBezTo>
                    <a:pt x="1" y="3"/>
                    <a:pt x="1" y="4"/>
                    <a:pt x="1" y="6"/>
                  </a:cubicBezTo>
                  <a:cubicBezTo>
                    <a:pt x="0" y="7"/>
                    <a:pt x="1" y="7"/>
                    <a:pt x="1" y="8"/>
                  </a:cubicBezTo>
                  <a:cubicBezTo>
                    <a:pt x="2" y="8"/>
                    <a:pt x="2" y="8"/>
                    <a:pt x="4" y="9"/>
                  </a:cubicBezTo>
                  <a:cubicBezTo>
                    <a:pt x="5" y="11"/>
                    <a:pt x="7" y="9"/>
                    <a:pt x="8" y="8"/>
                  </a:cubicBezTo>
                  <a:cubicBezTo>
                    <a:pt x="10" y="7"/>
                    <a:pt x="9" y="6"/>
                    <a:pt x="10" y="5"/>
                  </a:cubicBezTo>
                  <a:cubicBezTo>
                    <a:pt x="10" y="4"/>
                    <a:pt x="9" y="2"/>
                    <a:pt x="9" y="2"/>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7" name="Freeform 201"/>
            <p:cNvSpPr>
              <a:spLocks/>
            </p:cNvSpPr>
            <p:nvPr/>
          </p:nvSpPr>
          <p:spPr bwMode="auto">
            <a:xfrm>
              <a:off x="6848788" y="5387704"/>
              <a:ext cx="12997" cy="5446"/>
            </a:xfrm>
            <a:custGeom>
              <a:avLst/>
              <a:gdLst>
                <a:gd name="T0" fmla="*/ 1 w 4"/>
                <a:gd name="T1" fmla="*/ 0 h 2"/>
                <a:gd name="T2" fmla="*/ 0 w 4"/>
                <a:gd name="T3" fmla="*/ 1 h 2"/>
                <a:gd name="T4" fmla="*/ 1 w 4"/>
                <a:gd name="T5" fmla="*/ 2 h 2"/>
                <a:gd name="T6" fmla="*/ 3 w 4"/>
                <a:gd name="T7" fmla="*/ 1 h 2"/>
                <a:gd name="T8" fmla="*/ 3 w 4"/>
                <a:gd name="T9" fmla="*/ 0 h 2"/>
                <a:gd name="T10" fmla="*/ 1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1" y="0"/>
                  </a:moveTo>
                  <a:cubicBezTo>
                    <a:pt x="1" y="0"/>
                    <a:pt x="0" y="0"/>
                    <a:pt x="0" y="1"/>
                  </a:cubicBezTo>
                  <a:cubicBezTo>
                    <a:pt x="1" y="2"/>
                    <a:pt x="1" y="2"/>
                    <a:pt x="1" y="2"/>
                  </a:cubicBezTo>
                  <a:cubicBezTo>
                    <a:pt x="1" y="2"/>
                    <a:pt x="2" y="1"/>
                    <a:pt x="3" y="1"/>
                  </a:cubicBezTo>
                  <a:cubicBezTo>
                    <a:pt x="4" y="1"/>
                    <a:pt x="3" y="0"/>
                    <a:pt x="3" y="0"/>
                  </a:cubicBezTo>
                  <a:lnTo>
                    <a:pt x="1" y="0"/>
                  </a:ln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8" name="Freeform 202"/>
            <p:cNvSpPr>
              <a:spLocks/>
            </p:cNvSpPr>
            <p:nvPr/>
          </p:nvSpPr>
          <p:spPr bwMode="auto">
            <a:xfrm>
              <a:off x="6840123" y="5395873"/>
              <a:ext cx="8665" cy="13616"/>
            </a:xfrm>
            <a:custGeom>
              <a:avLst/>
              <a:gdLst>
                <a:gd name="T0" fmla="*/ 1 w 3"/>
                <a:gd name="T1" fmla="*/ 2 h 5"/>
                <a:gd name="T2" fmla="*/ 0 w 3"/>
                <a:gd name="T3" fmla="*/ 4 h 5"/>
                <a:gd name="T4" fmla="*/ 1 w 3"/>
                <a:gd name="T5" fmla="*/ 5 h 5"/>
                <a:gd name="T6" fmla="*/ 2 w 3"/>
                <a:gd name="T7" fmla="*/ 2 h 5"/>
                <a:gd name="T8" fmla="*/ 2 w 3"/>
                <a:gd name="T9" fmla="*/ 1 h 5"/>
                <a:gd name="T10" fmla="*/ 1 w 3"/>
                <a:gd name="T11" fmla="*/ 2 h 5"/>
              </a:gdLst>
              <a:ahLst/>
              <a:cxnLst>
                <a:cxn ang="0">
                  <a:pos x="T0" y="T1"/>
                </a:cxn>
                <a:cxn ang="0">
                  <a:pos x="T2" y="T3"/>
                </a:cxn>
                <a:cxn ang="0">
                  <a:pos x="T4" y="T5"/>
                </a:cxn>
                <a:cxn ang="0">
                  <a:pos x="T6" y="T7"/>
                </a:cxn>
                <a:cxn ang="0">
                  <a:pos x="T8" y="T9"/>
                </a:cxn>
                <a:cxn ang="0">
                  <a:pos x="T10" y="T11"/>
                </a:cxn>
              </a:cxnLst>
              <a:rect l="0" t="0" r="r" b="b"/>
              <a:pathLst>
                <a:path w="3" h="5">
                  <a:moveTo>
                    <a:pt x="1" y="2"/>
                  </a:moveTo>
                  <a:cubicBezTo>
                    <a:pt x="1" y="2"/>
                    <a:pt x="0" y="4"/>
                    <a:pt x="0" y="4"/>
                  </a:cubicBezTo>
                  <a:cubicBezTo>
                    <a:pt x="1" y="5"/>
                    <a:pt x="1" y="5"/>
                    <a:pt x="1" y="5"/>
                  </a:cubicBezTo>
                  <a:cubicBezTo>
                    <a:pt x="1" y="5"/>
                    <a:pt x="2" y="3"/>
                    <a:pt x="2" y="2"/>
                  </a:cubicBezTo>
                  <a:cubicBezTo>
                    <a:pt x="3" y="0"/>
                    <a:pt x="2" y="1"/>
                    <a:pt x="2" y="1"/>
                  </a:cubicBezTo>
                  <a:lnTo>
                    <a:pt x="1" y="2"/>
                  </a:ln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9" name="Freeform 203"/>
            <p:cNvSpPr>
              <a:spLocks/>
            </p:cNvSpPr>
            <p:nvPr/>
          </p:nvSpPr>
          <p:spPr bwMode="auto">
            <a:xfrm>
              <a:off x="6594618" y="5548372"/>
              <a:ext cx="251281" cy="219217"/>
            </a:xfrm>
            <a:custGeom>
              <a:avLst/>
              <a:gdLst>
                <a:gd name="T0" fmla="*/ 82 w 87"/>
                <a:gd name="T1" fmla="*/ 23 h 80"/>
                <a:gd name="T2" fmla="*/ 80 w 87"/>
                <a:gd name="T3" fmla="*/ 20 h 80"/>
                <a:gd name="T4" fmla="*/ 74 w 87"/>
                <a:gd name="T5" fmla="*/ 20 h 80"/>
                <a:gd name="T6" fmla="*/ 72 w 87"/>
                <a:gd name="T7" fmla="*/ 13 h 80"/>
                <a:gd name="T8" fmla="*/ 64 w 87"/>
                <a:gd name="T9" fmla="*/ 9 h 80"/>
                <a:gd name="T10" fmla="*/ 58 w 87"/>
                <a:gd name="T11" fmla="*/ 9 h 80"/>
                <a:gd name="T12" fmla="*/ 44 w 87"/>
                <a:gd name="T13" fmla="*/ 5 h 80"/>
                <a:gd name="T14" fmla="*/ 29 w 87"/>
                <a:gd name="T15" fmla="*/ 1 h 80"/>
                <a:gd name="T16" fmla="*/ 19 w 87"/>
                <a:gd name="T17" fmla="*/ 3 h 80"/>
                <a:gd name="T18" fmla="*/ 11 w 87"/>
                <a:gd name="T19" fmla="*/ 8 h 80"/>
                <a:gd name="T20" fmla="*/ 7 w 87"/>
                <a:gd name="T21" fmla="*/ 11 h 80"/>
                <a:gd name="T22" fmla="*/ 5 w 87"/>
                <a:gd name="T23" fmla="*/ 18 h 80"/>
                <a:gd name="T24" fmla="*/ 1 w 87"/>
                <a:gd name="T25" fmla="*/ 25 h 80"/>
                <a:gd name="T26" fmla="*/ 9 w 87"/>
                <a:gd name="T27" fmla="*/ 33 h 80"/>
                <a:gd name="T28" fmla="*/ 17 w 87"/>
                <a:gd name="T29" fmla="*/ 36 h 80"/>
                <a:gd name="T30" fmla="*/ 24 w 87"/>
                <a:gd name="T31" fmla="*/ 44 h 80"/>
                <a:gd name="T32" fmla="*/ 23 w 87"/>
                <a:gd name="T33" fmla="*/ 53 h 80"/>
                <a:gd name="T34" fmla="*/ 25 w 87"/>
                <a:gd name="T35" fmla="*/ 59 h 80"/>
                <a:gd name="T36" fmla="*/ 28 w 87"/>
                <a:gd name="T37" fmla="*/ 64 h 80"/>
                <a:gd name="T38" fmla="*/ 34 w 87"/>
                <a:gd name="T39" fmla="*/ 68 h 80"/>
                <a:gd name="T40" fmla="*/ 37 w 87"/>
                <a:gd name="T41" fmla="*/ 65 h 80"/>
                <a:gd name="T42" fmla="*/ 37 w 87"/>
                <a:gd name="T43" fmla="*/ 56 h 80"/>
                <a:gd name="T44" fmla="*/ 43 w 87"/>
                <a:gd name="T45" fmla="*/ 60 h 80"/>
                <a:gd name="T46" fmla="*/ 51 w 87"/>
                <a:gd name="T47" fmla="*/ 66 h 80"/>
                <a:gd name="T48" fmla="*/ 55 w 87"/>
                <a:gd name="T49" fmla="*/ 76 h 80"/>
                <a:gd name="T50" fmla="*/ 60 w 87"/>
                <a:gd name="T51" fmla="*/ 78 h 80"/>
                <a:gd name="T52" fmla="*/ 59 w 87"/>
                <a:gd name="T53" fmla="*/ 70 h 80"/>
                <a:gd name="T54" fmla="*/ 61 w 87"/>
                <a:gd name="T55" fmla="*/ 64 h 80"/>
                <a:gd name="T56" fmla="*/ 66 w 87"/>
                <a:gd name="T57" fmla="*/ 61 h 80"/>
                <a:gd name="T58" fmla="*/ 70 w 87"/>
                <a:gd name="T59" fmla="*/ 65 h 80"/>
                <a:gd name="T60" fmla="*/ 75 w 87"/>
                <a:gd name="T61" fmla="*/ 71 h 80"/>
                <a:gd name="T62" fmla="*/ 77 w 87"/>
                <a:gd name="T63" fmla="*/ 72 h 80"/>
                <a:gd name="T64" fmla="*/ 85 w 87"/>
                <a:gd name="T65" fmla="*/ 73 h 80"/>
                <a:gd name="T66" fmla="*/ 78 w 87"/>
                <a:gd name="T67" fmla="*/ 66 h 80"/>
                <a:gd name="T68" fmla="*/ 78 w 87"/>
                <a:gd name="T69" fmla="*/ 58 h 80"/>
                <a:gd name="T70" fmla="*/ 73 w 87"/>
                <a:gd name="T71" fmla="*/ 49 h 80"/>
                <a:gd name="T72" fmla="*/ 67 w 87"/>
                <a:gd name="T73" fmla="*/ 44 h 80"/>
                <a:gd name="T74" fmla="*/ 62 w 87"/>
                <a:gd name="T75" fmla="*/ 34 h 80"/>
                <a:gd name="T76" fmla="*/ 60 w 87"/>
                <a:gd name="T77" fmla="*/ 27 h 80"/>
                <a:gd name="T78" fmla="*/ 68 w 87"/>
                <a:gd name="T79" fmla="*/ 29 h 80"/>
                <a:gd name="T80" fmla="*/ 74 w 87"/>
                <a:gd name="T81" fmla="*/ 32 h 80"/>
                <a:gd name="T82" fmla="*/ 75 w 87"/>
                <a:gd name="T83" fmla="*/ 36 h 80"/>
                <a:gd name="T84" fmla="*/ 76 w 87"/>
                <a:gd name="T85" fmla="*/ 38 h 80"/>
                <a:gd name="T86" fmla="*/ 80 w 87"/>
                <a:gd name="T87" fmla="*/ 31 h 80"/>
                <a:gd name="T88" fmla="*/ 87 w 87"/>
                <a:gd name="T89" fmla="*/ 2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 h="80">
                  <a:moveTo>
                    <a:pt x="85" y="24"/>
                  </a:moveTo>
                  <a:cubicBezTo>
                    <a:pt x="82" y="25"/>
                    <a:pt x="82" y="25"/>
                    <a:pt x="82" y="25"/>
                  </a:cubicBezTo>
                  <a:cubicBezTo>
                    <a:pt x="82" y="23"/>
                    <a:pt x="82" y="23"/>
                    <a:pt x="82" y="23"/>
                  </a:cubicBezTo>
                  <a:cubicBezTo>
                    <a:pt x="82" y="23"/>
                    <a:pt x="82" y="23"/>
                    <a:pt x="82" y="23"/>
                  </a:cubicBezTo>
                  <a:cubicBezTo>
                    <a:pt x="83" y="23"/>
                    <a:pt x="83" y="20"/>
                    <a:pt x="83" y="20"/>
                  </a:cubicBezTo>
                  <a:cubicBezTo>
                    <a:pt x="83" y="20"/>
                    <a:pt x="81" y="20"/>
                    <a:pt x="80" y="20"/>
                  </a:cubicBezTo>
                  <a:cubicBezTo>
                    <a:pt x="79" y="21"/>
                    <a:pt x="80" y="23"/>
                    <a:pt x="80" y="23"/>
                  </a:cubicBezTo>
                  <a:cubicBezTo>
                    <a:pt x="80" y="23"/>
                    <a:pt x="76" y="22"/>
                    <a:pt x="75" y="22"/>
                  </a:cubicBezTo>
                  <a:cubicBezTo>
                    <a:pt x="75" y="22"/>
                    <a:pt x="74" y="21"/>
                    <a:pt x="74" y="20"/>
                  </a:cubicBezTo>
                  <a:cubicBezTo>
                    <a:pt x="74" y="20"/>
                    <a:pt x="75" y="17"/>
                    <a:pt x="75" y="17"/>
                  </a:cubicBezTo>
                  <a:cubicBezTo>
                    <a:pt x="76" y="14"/>
                    <a:pt x="76" y="14"/>
                    <a:pt x="76" y="14"/>
                  </a:cubicBezTo>
                  <a:cubicBezTo>
                    <a:pt x="76" y="14"/>
                    <a:pt x="72" y="13"/>
                    <a:pt x="72" y="13"/>
                  </a:cubicBezTo>
                  <a:cubicBezTo>
                    <a:pt x="72" y="12"/>
                    <a:pt x="68" y="14"/>
                    <a:pt x="67" y="12"/>
                  </a:cubicBezTo>
                  <a:cubicBezTo>
                    <a:pt x="66" y="11"/>
                    <a:pt x="66" y="11"/>
                    <a:pt x="66" y="11"/>
                  </a:cubicBezTo>
                  <a:cubicBezTo>
                    <a:pt x="64" y="9"/>
                    <a:pt x="64" y="9"/>
                    <a:pt x="64" y="9"/>
                  </a:cubicBezTo>
                  <a:cubicBezTo>
                    <a:pt x="62" y="10"/>
                    <a:pt x="62" y="10"/>
                    <a:pt x="62" y="10"/>
                  </a:cubicBezTo>
                  <a:cubicBezTo>
                    <a:pt x="62" y="10"/>
                    <a:pt x="60" y="10"/>
                    <a:pt x="59" y="10"/>
                  </a:cubicBezTo>
                  <a:cubicBezTo>
                    <a:pt x="58" y="10"/>
                    <a:pt x="58" y="9"/>
                    <a:pt x="58" y="9"/>
                  </a:cubicBezTo>
                  <a:cubicBezTo>
                    <a:pt x="54" y="7"/>
                    <a:pt x="54" y="7"/>
                    <a:pt x="54" y="7"/>
                  </a:cubicBezTo>
                  <a:cubicBezTo>
                    <a:pt x="50" y="6"/>
                    <a:pt x="50" y="6"/>
                    <a:pt x="50" y="6"/>
                  </a:cubicBezTo>
                  <a:cubicBezTo>
                    <a:pt x="50" y="6"/>
                    <a:pt x="45" y="5"/>
                    <a:pt x="44" y="5"/>
                  </a:cubicBezTo>
                  <a:cubicBezTo>
                    <a:pt x="43" y="4"/>
                    <a:pt x="39" y="4"/>
                    <a:pt x="38" y="4"/>
                  </a:cubicBezTo>
                  <a:cubicBezTo>
                    <a:pt x="36" y="3"/>
                    <a:pt x="34" y="4"/>
                    <a:pt x="33" y="3"/>
                  </a:cubicBezTo>
                  <a:cubicBezTo>
                    <a:pt x="32" y="2"/>
                    <a:pt x="29" y="1"/>
                    <a:pt x="29" y="1"/>
                  </a:cubicBezTo>
                  <a:cubicBezTo>
                    <a:pt x="29" y="1"/>
                    <a:pt x="25" y="0"/>
                    <a:pt x="24" y="0"/>
                  </a:cubicBezTo>
                  <a:cubicBezTo>
                    <a:pt x="24" y="0"/>
                    <a:pt x="23" y="0"/>
                    <a:pt x="23" y="0"/>
                  </a:cubicBezTo>
                  <a:cubicBezTo>
                    <a:pt x="22" y="0"/>
                    <a:pt x="20" y="2"/>
                    <a:pt x="19" y="3"/>
                  </a:cubicBezTo>
                  <a:cubicBezTo>
                    <a:pt x="18" y="3"/>
                    <a:pt x="18" y="5"/>
                    <a:pt x="18" y="6"/>
                  </a:cubicBezTo>
                  <a:cubicBezTo>
                    <a:pt x="17" y="7"/>
                    <a:pt x="16" y="8"/>
                    <a:pt x="16" y="9"/>
                  </a:cubicBezTo>
                  <a:cubicBezTo>
                    <a:pt x="16" y="9"/>
                    <a:pt x="11" y="8"/>
                    <a:pt x="11" y="8"/>
                  </a:cubicBezTo>
                  <a:cubicBezTo>
                    <a:pt x="11" y="8"/>
                    <a:pt x="10" y="8"/>
                    <a:pt x="9" y="9"/>
                  </a:cubicBezTo>
                  <a:cubicBezTo>
                    <a:pt x="9" y="9"/>
                    <a:pt x="8" y="8"/>
                    <a:pt x="7" y="8"/>
                  </a:cubicBezTo>
                  <a:cubicBezTo>
                    <a:pt x="6" y="8"/>
                    <a:pt x="7" y="10"/>
                    <a:pt x="7" y="11"/>
                  </a:cubicBezTo>
                  <a:cubicBezTo>
                    <a:pt x="7" y="11"/>
                    <a:pt x="7" y="12"/>
                    <a:pt x="7" y="13"/>
                  </a:cubicBezTo>
                  <a:cubicBezTo>
                    <a:pt x="6" y="14"/>
                    <a:pt x="6" y="15"/>
                    <a:pt x="6" y="15"/>
                  </a:cubicBezTo>
                  <a:cubicBezTo>
                    <a:pt x="6" y="16"/>
                    <a:pt x="5" y="18"/>
                    <a:pt x="5" y="18"/>
                  </a:cubicBezTo>
                  <a:cubicBezTo>
                    <a:pt x="5" y="18"/>
                    <a:pt x="3" y="20"/>
                    <a:pt x="2" y="20"/>
                  </a:cubicBezTo>
                  <a:cubicBezTo>
                    <a:pt x="1" y="20"/>
                    <a:pt x="0" y="22"/>
                    <a:pt x="0" y="22"/>
                  </a:cubicBezTo>
                  <a:cubicBezTo>
                    <a:pt x="1" y="25"/>
                    <a:pt x="1" y="25"/>
                    <a:pt x="1" y="25"/>
                  </a:cubicBezTo>
                  <a:cubicBezTo>
                    <a:pt x="1" y="25"/>
                    <a:pt x="3" y="25"/>
                    <a:pt x="4" y="25"/>
                  </a:cubicBezTo>
                  <a:cubicBezTo>
                    <a:pt x="5" y="26"/>
                    <a:pt x="7" y="28"/>
                    <a:pt x="7" y="28"/>
                  </a:cubicBezTo>
                  <a:cubicBezTo>
                    <a:pt x="8" y="28"/>
                    <a:pt x="9" y="32"/>
                    <a:pt x="9" y="33"/>
                  </a:cubicBezTo>
                  <a:cubicBezTo>
                    <a:pt x="10" y="33"/>
                    <a:pt x="11" y="33"/>
                    <a:pt x="11" y="33"/>
                  </a:cubicBezTo>
                  <a:cubicBezTo>
                    <a:pt x="11" y="33"/>
                    <a:pt x="12" y="34"/>
                    <a:pt x="13" y="34"/>
                  </a:cubicBezTo>
                  <a:cubicBezTo>
                    <a:pt x="14" y="34"/>
                    <a:pt x="16" y="35"/>
                    <a:pt x="17" y="36"/>
                  </a:cubicBezTo>
                  <a:cubicBezTo>
                    <a:pt x="17" y="36"/>
                    <a:pt x="19" y="38"/>
                    <a:pt x="20" y="38"/>
                  </a:cubicBezTo>
                  <a:cubicBezTo>
                    <a:pt x="20" y="39"/>
                    <a:pt x="22" y="40"/>
                    <a:pt x="22" y="40"/>
                  </a:cubicBezTo>
                  <a:cubicBezTo>
                    <a:pt x="22" y="40"/>
                    <a:pt x="24" y="43"/>
                    <a:pt x="24" y="44"/>
                  </a:cubicBezTo>
                  <a:cubicBezTo>
                    <a:pt x="25" y="45"/>
                    <a:pt x="24" y="46"/>
                    <a:pt x="24" y="47"/>
                  </a:cubicBezTo>
                  <a:cubicBezTo>
                    <a:pt x="23" y="47"/>
                    <a:pt x="23" y="48"/>
                    <a:pt x="22" y="49"/>
                  </a:cubicBezTo>
                  <a:cubicBezTo>
                    <a:pt x="21" y="51"/>
                    <a:pt x="23" y="53"/>
                    <a:pt x="23" y="53"/>
                  </a:cubicBezTo>
                  <a:cubicBezTo>
                    <a:pt x="23" y="57"/>
                    <a:pt x="23" y="57"/>
                    <a:pt x="23" y="57"/>
                  </a:cubicBezTo>
                  <a:cubicBezTo>
                    <a:pt x="24" y="58"/>
                    <a:pt x="24" y="58"/>
                    <a:pt x="24" y="58"/>
                  </a:cubicBezTo>
                  <a:cubicBezTo>
                    <a:pt x="24" y="58"/>
                    <a:pt x="25" y="59"/>
                    <a:pt x="25" y="59"/>
                  </a:cubicBezTo>
                  <a:cubicBezTo>
                    <a:pt x="26" y="60"/>
                    <a:pt x="26" y="60"/>
                    <a:pt x="26" y="60"/>
                  </a:cubicBezTo>
                  <a:cubicBezTo>
                    <a:pt x="26" y="60"/>
                    <a:pt x="28" y="62"/>
                    <a:pt x="28" y="62"/>
                  </a:cubicBezTo>
                  <a:cubicBezTo>
                    <a:pt x="29" y="63"/>
                    <a:pt x="28" y="64"/>
                    <a:pt x="28" y="64"/>
                  </a:cubicBezTo>
                  <a:cubicBezTo>
                    <a:pt x="27" y="65"/>
                    <a:pt x="29" y="68"/>
                    <a:pt x="29" y="68"/>
                  </a:cubicBezTo>
                  <a:cubicBezTo>
                    <a:pt x="29" y="68"/>
                    <a:pt x="31" y="68"/>
                    <a:pt x="32" y="68"/>
                  </a:cubicBezTo>
                  <a:cubicBezTo>
                    <a:pt x="33" y="67"/>
                    <a:pt x="33" y="68"/>
                    <a:pt x="34" y="68"/>
                  </a:cubicBezTo>
                  <a:cubicBezTo>
                    <a:pt x="35" y="69"/>
                    <a:pt x="35" y="70"/>
                    <a:pt x="35" y="70"/>
                  </a:cubicBezTo>
                  <a:cubicBezTo>
                    <a:pt x="35" y="70"/>
                    <a:pt x="38" y="68"/>
                    <a:pt x="38" y="67"/>
                  </a:cubicBezTo>
                  <a:cubicBezTo>
                    <a:pt x="38" y="67"/>
                    <a:pt x="37" y="65"/>
                    <a:pt x="37" y="65"/>
                  </a:cubicBezTo>
                  <a:cubicBezTo>
                    <a:pt x="37" y="65"/>
                    <a:pt x="38" y="62"/>
                    <a:pt x="37" y="61"/>
                  </a:cubicBezTo>
                  <a:cubicBezTo>
                    <a:pt x="37" y="61"/>
                    <a:pt x="37" y="58"/>
                    <a:pt x="36" y="58"/>
                  </a:cubicBezTo>
                  <a:cubicBezTo>
                    <a:pt x="36" y="57"/>
                    <a:pt x="37" y="56"/>
                    <a:pt x="37" y="56"/>
                  </a:cubicBezTo>
                  <a:cubicBezTo>
                    <a:pt x="37" y="56"/>
                    <a:pt x="40" y="55"/>
                    <a:pt x="41" y="55"/>
                  </a:cubicBezTo>
                  <a:cubicBezTo>
                    <a:pt x="41" y="55"/>
                    <a:pt x="43" y="56"/>
                    <a:pt x="43" y="57"/>
                  </a:cubicBezTo>
                  <a:cubicBezTo>
                    <a:pt x="43" y="57"/>
                    <a:pt x="43" y="60"/>
                    <a:pt x="43" y="60"/>
                  </a:cubicBezTo>
                  <a:cubicBezTo>
                    <a:pt x="48" y="61"/>
                    <a:pt x="48" y="61"/>
                    <a:pt x="48" y="61"/>
                  </a:cubicBezTo>
                  <a:cubicBezTo>
                    <a:pt x="48" y="61"/>
                    <a:pt x="50" y="62"/>
                    <a:pt x="50" y="63"/>
                  </a:cubicBezTo>
                  <a:cubicBezTo>
                    <a:pt x="50" y="63"/>
                    <a:pt x="50" y="65"/>
                    <a:pt x="51" y="66"/>
                  </a:cubicBezTo>
                  <a:cubicBezTo>
                    <a:pt x="52" y="66"/>
                    <a:pt x="53" y="67"/>
                    <a:pt x="53" y="67"/>
                  </a:cubicBezTo>
                  <a:cubicBezTo>
                    <a:pt x="53" y="67"/>
                    <a:pt x="55" y="71"/>
                    <a:pt x="55" y="72"/>
                  </a:cubicBezTo>
                  <a:cubicBezTo>
                    <a:pt x="55" y="73"/>
                    <a:pt x="55" y="74"/>
                    <a:pt x="55" y="76"/>
                  </a:cubicBezTo>
                  <a:cubicBezTo>
                    <a:pt x="55" y="78"/>
                    <a:pt x="55" y="77"/>
                    <a:pt x="55" y="77"/>
                  </a:cubicBezTo>
                  <a:cubicBezTo>
                    <a:pt x="55" y="77"/>
                    <a:pt x="57" y="78"/>
                    <a:pt x="58" y="79"/>
                  </a:cubicBezTo>
                  <a:cubicBezTo>
                    <a:pt x="60" y="80"/>
                    <a:pt x="59" y="79"/>
                    <a:pt x="60" y="78"/>
                  </a:cubicBezTo>
                  <a:cubicBezTo>
                    <a:pt x="61" y="78"/>
                    <a:pt x="60" y="77"/>
                    <a:pt x="60" y="76"/>
                  </a:cubicBezTo>
                  <a:cubicBezTo>
                    <a:pt x="60" y="75"/>
                    <a:pt x="60" y="74"/>
                    <a:pt x="60" y="72"/>
                  </a:cubicBezTo>
                  <a:cubicBezTo>
                    <a:pt x="59" y="71"/>
                    <a:pt x="59" y="70"/>
                    <a:pt x="59" y="70"/>
                  </a:cubicBezTo>
                  <a:cubicBezTo>
                    <a:pt x="59" y="70"/>
                    <a:pt x="60" y="68"/>
                    <a:pt x="60" y="68"/>
                  </a:cubicBezTo>
                  <a:cubicBezTo>
                    <a:pt x="60" y="68"/>
                    <a:pt x="60" y="67"/>
                    <a:pt x="60" y="66"/>
                  </a:cubicBezTo>
                  <a:cubicBezTo>
                    <a:pt x="60" y="65"/>
                    <a:pt x="61" y="64"/>
                    <a:pt x="61" y="64"/>
                  </a:cubicBezTo>
                  <a:cubicBezTo>
                    <a:pt x="61" y="64"/>
                    <a:pt x="62" y="63"/>
                    <a:pt x="62" y="62"/>
                  </a:cubicBezTo>
                  <a:cubicBezTo>
                    <a:pt x="63" y="61"/>
                    <a:pt x="63" y="62"/>
                    <a:pt x="63" y="61"/>
                  </a:cubicBezTo>
                  <a:cubicBezTo>
                    <a:pt x="64" y="61"/>
                    <a:pt x="65" y="61"/>
                    <a:pt x="66" y="61"/>
                  </a:cubicBezTo>
                  <a:cubicBezTo>
                    <a:pt x="67" y="61"/>
                    <a:pt x="68" y="61"/>
                    <a:pt x="68" y="61"/>
                  </a:cubicBezTo>
                  <a:cubicBezTo>
                    <a:pt x="70" y="64"/>
                    <a:pt x="70" y="64"/>
                    <a:pt x="70" y="64"/>
                  </a:cubicBezTo>
                  <a:cubicBezTo>
                    <a:pt x="70" y="64"/>
                    <a:pt x="70" y="64"/>
                    <a:pt x="70" y="65"/>
                  </a:cubicBezTo>
                  <a:cubicBezTo>
                    <a:pt x="70" y="65"/>
                    <a:pt x="71" y="67"/>
                    <a:pt x="71" y="67"/>
                  </a:cubicBezTo>
                  <a:cubicBezTo>
                    <a:pt x="74" y="69"/>
                    <a:pt x="74" y="69"/>
                    <a:pt x="74" y="69"/>
                  </a:cubicBezTo>
                  <a:cubicBezTo>
                    <a:pt x="74" y="69"/>
                    <a:pt x="75" y="70"/>
                    <a:pt x="75" y="71"/>
                  </a:cubicBezTo>
                  <a:cubicBezTo>
                    <a:pt x="75" y="71"/>
                    <a:pt x="75" y="73"/>
                    <a:pt x="76" y="74"/>
                  </a:cubicBezTo>
                  <a:cubicBezTo>
                    <a:pt x="77" y="75"/>
                    <a:pt x="76" y="73"/>
                    <a:pt x="76" y="73"/>
                  </a:cubicBezTo>
                  <a:cubicBezTo>
                    <a:pt x="77" y="72"/>
                    <a:pt x="77" y="72"/>
                    <a:pt x="77" y="72"/>
                  </a:cubicBezTo>
                  <a:cubicBezTo>
                    <a:pt x="79" y="73"/>
                    <a:pt x="79" y="73"/>
                    <a:pt x="79" y="73"/>
                  </a:cubicBezTo>
                  <a:cubicBezTo>
                    <a:pt x="79" y="73"/>
                    <a:pt x="83" y="74"/>
                    <a:pt x="84" y="74"/>
                  </a:cubicBezTo>
                  <a:cubicBezTo>
                    <a:pt x="84" y="74"/>
                    <a:pt x="85" y="73"/>
                    <a:pt x="85" y="73"/>
                  </a:cubicBezTo>
                  <a:cubicBezTo>
                    <a:pt x="83" y="72"/>
                    <a:pt x="83" y="72"/>
                    <a:pt x="83" y="72"/>
                  </a:cubicBezTo>
                  <a:cubicBezTo>
                    <a:pt x="82" y="69"/>
                    <a:pt x="82" y="69"/>
                    <a:pt x="82" y="69"/>
                  </a:cubicBezTo>
                  <a:cubicBezTo>
                    <a:pt x="82" y="69"/>
                    <a:pt x="79" y="67"/>
                    <a:pt x="78" y="66"/>
                  </a:cubicBezTo>
                  <a:cubicBezTo>
                    <a:pt x="78" y="66"/>
                    <a:pt x="77" y="64"/>
                    <a:pt x="77" y="64"/>
                  </a:cubicBezTo>
                  <a:cubicBezTo>
                    <a:pt x="76" y="63"/>
                    <a:pt x="76" y="62"/>
                    <a:pt x="76" y="61"/>
                  </a:cubicBezTo>
                  <a:cubicBezTo>
                    <a:pt x="76" y="60"/>
                    <a:pt x="77" y="59"/>
                    <a:pt x="78" y="58"/>
                  </a:cubicBezTo>
                  <a:cubicBezTo>
                    <a:pt x="79" y="56"/>
                    <a:pt x="77" y="58"/>
                    <a:pt x="77" y="58"/>
                  </a:cubicBezTo>
                  <a:cubicBezTo>
                    <a:pt x="77" y="58"/>
                    <a:pt x="76" y="55"/>
                    <a:pt x="76" y="54"/>
                  </a:cubicBezTo>
                  <a:cubicBezTo>
                    <a:pt x="76" y="54"/>
                    <a:pt x="73" y="49"/>
                    <a:pt x="73" y="49"/>
                  </a:cubicBezTo>
                  <a:cubicBezTo>
                    <a:pt x="73" y="49"/>
                    <a:pt x="72" y="48"/>
                    <a:pt x="72" y="48"/>
                  </a:cubicBezTo>
                  <a:cubicBezTo>
                    <a:pt x="72" y="47"/>
                    <a:pt x="70" y="46"/>
                    <a:pt x="69" y="46"/>
                  </a:cubicBezTo>
                  <a:cubicBezTo>
                    <a:pt x="68" y="46"/>
                    <a:pt x="68" y="45"/>
                    <a:pt x="67" y="44"/>
                  </a:cubicBezTo>
                  <a:cubicBezTo>
                    <a:pt x="67" y="44"/>
                    <a:pt x="67" y="42"/>
                    <a:pt x="67" y="41"/>
                  </a:cubicBezTo>
                  <a:cubicBezTo>
                    <a:pt x="67" y="40"/>
                    <a:pt x="65" y="39"/>
                    <a:pt x="65" y="38"/>
                  </a:cubicBezTo>
                  <a:cubicBezTo>
                    <a:pt x="64" y="37"/>
                    <a:pt x="64" y="36"/>
                    <a:pt x="62" y="34"/>
                  </a:cubicBezTo>
                  <a:cubicBezTo>
                    <a:pt x="61" y="33"/>
                    <a:pt x="60" y="31"/>
                    <a:pt x="60" y="31"/>
                  </a:cubicBezTo>
                  <a:cubicBezTo>
                    <a:pt x="60" y="29"/>
                    <a:pt x="60" y="29"/>
                    <a:pt x="60" y="29"/>
                  </a:cubicBezTo>
                  <a:cubicBezTo>
                    <a:pt x="60" y="27"/>
                    <a:pt x="60" y="27"/>
                    <a:pt x="60" y="27"/>
                  </a:cubicBezTo>
                  <a:cubicBezTo>
                    <a:pt x="63" y="28"/>
                    <a:pt x="63" y="28"/>
                    <a:pt x="63" y="28"/>
                  </a:cubicBezTo>
                  <a:cubicBezTo>
                    <a:pt x="63" y="28"/>
                    <a:pt x="64" y="28"/>
                    <a:pt x="65" y="28"/>
                  </a:cubicBezTo>
                  <a:cubicBezTo>
                    <a:pt x="65" y="28"/>
                    <a:pt x="68" y="29"/>
                    <a:pt x="68" y="29"/>
                  </a:cubicBezTo>
                  <a:cubicBezTo>
                    <a:pt x="68" y="29"/>
                    <a:pt x="70" y="29"/>
                    <a:pt x="70" y="30"/>
                  </a:cubicBezTo>
                  <a:cubicBezTo>
                    <a:pt x="71" y="30"/>
                    <a:pt x="71" y="30"/>
                    <a:pt x="72" y="30"/>
                  </a:cubicBezTo>
                  <a:cubicBezTo>
                    <a:pt x="72" y="30"/>
                    <a:pt x="73" y="31"/>
                    <a:pt x="74" y="32"/>
                  </a:cubicBezTo>
                  <a:cubicBezTo>
                    <a:pt x="74" y="32"/>
                    <a:pt x="73" y="33"/>
                    <a:pt x="73" y="34"/>
                  </a:cubicBezTo>
                  <a:cubicBezTo>
                    <a:pt x="72" y="34"/>
                    <a:pt x="73" y="35"/>
                    <a:pt x="73" y="35"/>
                  </a:cubicBezTo>
                  <a:cubicBezTo>
                    <a:pt x="73" y="35"/>
                    <a:pt x="75" y="35"/>
                    <a:pt x="75" y="36"/>
                  </a:cubicBezTo>
                  <a:cubicBezTo>
                    <a:pt x="76" y="36"/>
                    <a:pt x="75" y="37"/>
                    <a:pt x="75" y="37"/>
                  </a:cubicBezTo>
                  <a:cubicBezTo>
                    <a:pt x="75" y="37"/>
                    <a:pt x="75" y="39"/>
                    <a:pt x="75" y="40"/>
                  </a:cubicBezTo>
                  <a:cubicBezTo>
                    <a:pt x="75" y="40"/>
                    <a:pt x="76" y="38"/>
                    <a:pt x="76" y="38"/>
                  </a:cubicBezTo>
                  <a:cubicBezTo>
                    <a:pt x="76" y="38"/>
                    <a:pt x="77" y="37"/>
                    <a:pt x="77" y="36"/>
                  </a:cubicBezTo>
                  <a:cubicBezTo>
                    <a:pt x="77" y="35"/>
                    <a:pt x="78" y="34"/>
                    <a:pt x="78" y="34"/>
                  </a:cubicBezTo>
                  <a:cubicBezTo>
                    <a:pt x="80" y="31"/>
                    <a:pt x="80" y="31"/>
                    <a:pt x="80" y="31"/>
                  </a:cubicBezTo>
                  <a:cubicBezTo>
                    <a:pt x="82" y="29"/>
                    <a:pt x="82" y="29"/>
                    <a:pt x="82" y="29"/>
                  </a:cubicBezTo>
                  <a:cubicBezTo>
                    <a:pt x="82" y="29"/>
                    <a:pt x="85" y="28"/>
                    <a:pt x="86" y="28"/>
                  </a:cubicBezTo>
                  <a:cubicBezTo>
                    <a:pt x="87" y="27"/>
                    <a:pt x="86" y="27"/>
                    <a:pt x="87" y="27"/>
                  </a:cubicBezTo>
                  <a:cubicBezTo>
                    <a:pt x="87" y="27"/>
                    <a:pt x="87" y="25"/>
                    <a:pt x="87" y="25"/>
                  </a:cubicBezTo>
                  <a:lnTo>
                    <a:pt x="85" y="24"/>
                  </a:ln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0" name="Freeform 204"/>
            <p:cNvSpPr>
              <a:spLocks/>
            </p:cNvSpPr>
            <p:nvPr/>
          </p:nvSpPr>
          <p:spPr bwMode="auto">
            <a:xfrm>
              <a:off x="6467533" y="5062282"/>
              <a:ext cx="581991" cy="526939"/>
            </a:xfrm>
            <a:custGeom>
              <a:avLst/>
              <a:gdLst>
                <a:gd name="T0" fmla="*/ 143 w 201"/>
                <a:gd name="T1" fmla="*/ 176 h 193"/>
                <a:gd name="T2" fmla="*/ 129 w 201"/>
                <a:gd name="T3" fmla="*/ 165 h 193"/>
                <a:gd name="T4" fmla="*/ 142 w 201"/>
                <a:gd name="T5" fmla="*/ 164 h 193"/>
                <a:gd name="T6" fmla="*/ 153 w 201"/>
                <a:gd name="T7" fmla="*/ 177 h 193"/>
                <a:gd name="T8" fmla="*/ 157 w 201"/>
                <a:gd name="T9" fmla="*/ 167 h 193"/>
                <a:gd name="T10" fmla="*/ 145 w 201"/>
                <a:gd name="T11" fmla="*/ 155 h 193"/>
                <a:gd name="T12" fmla="*/ 128 w 201"/>
                <a:gd name="T13" fmla="*/ 147 h 193"/>
                <a:gd name="T14" fmla="*/ 111 w 201"/>
                <a:gd name="T15" fmla="*/ 138 h 193"/>
                <a:gd name="T16" fmla="*/ 111 w 201"/>
                <a:gd name="T17" fmla="*/ 150 h 193"/>
                <a:gd name="T18" fmla="*/ 115 w 201"/>
                <a:gd name="T19" fmla="*/ 159 h 193"/>
                <a:gd name="T20" fmla="*/ 106 w 201"/>
                <a:gd name="T21" fmla="*/ 155 h 193"/>
                <a:gd name="T22" fmla="*/ 93 w 201"/>
                <a:gd name="T23" fmla="*/ 151 h 193"/>
                <a:gd name="T24" fmla="*/ 96 w 201"/>
                <a:gd name="T25" fmla="*/ 147 h 193"/>
                <a:gd name="T26" fmla="*/ 98 w 201"/>
                <a:gd name="T27" fmla="*/ 136 h 193"/>
                <a:gd name="T28" fmla="*/ 101 w 201"/>
                <a:gd name="T29" fmla="*/ 127 h 193"/>
                <a:gd name="T30" fmla="*/ 106 w 201"/>
                <a:gd name="T31" fmla="*/ 135 h 193"/>
                <a:gd name="T32" fmla="*/ 99 w 201"/>
                <a:gd name="T33" fmla="*/ 120 h 193"/>
                <a:gd name="T34" fmla="*/ 90 w 201"/>
                <a:gd name="T35" fmla="*/ 109 h 193"/>
                <a:gd name="T36" fmla="*/ 76 w 201"/>
                <a:gd name="T37" fmla="*/ 96 h 193"/>
                <a:gd name="T38" fmla="*/ 79 w 201"/>
                <a:gd name="T39" fmla="*/ 76 h 193"/>
                <a:gd name="T40" fmla="*/ 84 w 201"/>
                <a:gd name="T41" fmla="*/ 81 h 193"/>
                <a:gd name="T42" fmla="*/ 102 w 201"/>
                <a:gd name="T43" fmla="*/ 91 h 193"/>
                <a:gd name="T44" fmla="*/ 114 w 201"/>
                <a:gd name="T45" fmla="*/ 97 h 193"/>
                <a:gd name="T46" fmla="*/ 106 w 201"/>
                <a:gd name="T47" fmla="*/ 91 h 193"/>
                <a:gd name="T48" fmla="*/ 110 w 201"/>
                <a:gd name="T49" fmla="*/ 84 h 193"/>
                <a:gd name="T50" fmla="*/ 124 w 201"/>
                <a:gd name="T51" fmla="*/ 93 h 193"/>
                <a:gd name="T52" fmla="*/ 113 w 201"/>
                <a:gd name="T53" fmla="*/ 80 h 193"/>
                <a:gd name="T54" fmla="*/ 122 w 201"/>
                <a:gd name="T55" fmla="*/ 78 h 193"/>
                <a:gd name="T56" fmla="*/ 138 w 201"/>
                <a:gd name="T57" fmla="*/ 82 h 193"/>
                <a:gd name="T58" fmla="*/ 123 w 201"/>
                <a:gd name="T59" fmla="*/ 71 h 193"/>
                <a:gd name="T60" fmla="*/ 115 w 201"/>
                <a:gd name="T61" fmla="*/ 67 h 193"/>
                <a:gd name="T62" fmla="*/ 123 w 201"/>
                <a:gd name="T63" fmla="*/ 57 h 193"/>
                <a:gd name="T64" fmla="*/ 146 w 201"/>
                <a:gd name="T65" fmla="*/ 46 h 193"/>
                <a:gd name="T66" fmla="*/ 163 w 201"/>
                <a:gd name="T67" fmla="*/ 43 h 193"/>
                <a:gd name="T68" fmla="*/ 195 w 201"/>
                <a:gd name="T69" fmla="*/ 36 h 193"/>
                <a:gd name="T70" fmla="*/ 197 w 201"/>
                <a:gd name="T71" fmla="*/ 9 h 193"/>
                <a:gd name="T72" fmla="*/ 182 w 201"/>
                <a:gd name="T73" fmla="*/ 9 h 193"/>
                <a:gd name="T74" fmla="*/ 163 w 201"/>
                <a:gd name="T75" fmla="*/ 24 h 193"/>
                <a:gd name="T76" fmla="*/ 132 w 201"/>
                <a:gd name="T77" fmla="*/ 23 h 193"/>
                <a:gd name="T78" fmla="*/ 113 w 201"/>
                <a:gd name="T79" fmla="*/ 27 h 193"/>
                <a:gd name="T80" fmla="*/ 84 w 201"/>
                <a:gd name="T81" fmla="*/ 39 h 193"/>
                <a:gd name="T82" fmla="*/ 47 w 201"/>
                <a:gd name="T83" fmla="*/ 57 h 193"/>
                <a:gd name="T84" fmla="*/ 23 w 201"/>
                <a:gd name="T85" fmla="*/ 71 h 193"/>
                <a:gd name="T86" fmla="*/ 22 w 201"/>
                <a:gd name="T87" fmla="*/ 78 h 193"/>
                <a:gd name="T88" fmla="*/ 17 w 201"/>
                <a:gd name="T89" fmla="*/ 95 h 193"/>
                <a:gd name="T90" fmla="*/ 3 w 201"/>
                <a:gd name="T91" fmla="*/ 118 h 193"/>
                <a:gd name="T92" fmla="*/ 4 w 201"/>
                <a:gd name="T93" fmla="*/ 126 h 193"/>
                <a:gd name="T94" fmla="*/ 7 w 201"/>
                <a:gd name="T95" fmla="*/ 144 h 193"/>
                <a:gd name="T96" fmla="*/ 22 w 201"/>
                <a:gd name="T97" fmla="*/ 156 h 193"/>
                <a:gd name="T98" fmla="*/ 38 w 201"/>
                <a:gd name="T99" fmla="*/ 156 h 193"/>
                <a:gd name="T100" fmla="*/ 23 w 201"/>
                <a:gd name="T101" fmla="*/ 164 h 193"/>
                <a:gd name="T102" fmla="*/ 25 w 201"/>
                <a:gd name="T103" fmla="*/ 168 h 193"/>
                <a:gd name="T104" fmla="*/ 35 w 201"/>
                <a:gd name="T105" fmla="*/ 170 h 193"/>
                <a:gd name="T106" fmla="*/ 48 w 201"/>
                <a:gd name="T107" fmla="*/ 175 h 193"/>
                <a:gd name="T108" fmla="*/ 70 w 201"/>
                <a:gd name="T109" fmla="*/ 175 h 193"/>
                <a:gd name="T110" fmla="*/ 88 w 201"/>
                <a:gd name="T111" fmla="*/ 170 h 193"/>
                <a:gd name="T112" fmla="*/ 104 w 201"/>
                <a:gd name="T113" fmla="*/ 177 h 193"/>
                <a:gd name="T114" fmla="*/ 108 w 201"/>
                <a:gd name="T115" fmla="*/ 181 h 193"/>
                <a:gd name="T116" fmla="*/ 113 w 201"/>
                <a:gd name="T117" fmla="*/ 188 h 193"/>
                <a:gd name="T118" fmla="*/ 127 w 201"/>
                <a:gd name="T119" fmla="*/ 179 h 193"/>
                <a:gd name="T120" fmla="*/ 129 w 201"/>
                <a:gd name="T121" fmla="*/ 184 h 193"/>
                <a:gd name="T122" fmla="*/ 141 w 201"/>
                <a:gd name="T123" fmla="*/ 188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1" h="193">
                  <a:moveTo>
                    <a:pt x="149" y="188"/>
                  </a:moveTo>
                  <a:cubicBezTo>
                    <a:pt x="148" y="188"/>
                    <a:pt x="148" y="188"/>
                    <a:pt x="148" y="188"/>
                  </a:cubicBezTo>
                  <a:cubicBezTo>
                    <a:pt x="148" y="185"/>
                    <a:pt x="148" y="185"/>
                    <a:pt x="148" y="185"/>
                  </a:cubicBezTo>
                  <a:cubicBezTo>
                    <a:pt x="147" y="184"/>
                    <a:pt x="147" y="184"/>
                    <a:pt x="147" y="184"/>
                  </a:cubicBezTo>
                  <a:cubicBezTo>
                    <a:pt x="145" y="181"/>
                    <a:pt x="145" y="181"/>
                    <a:pt x="145" y="181"/>
                  </a:cubicBezTo>
                  <a:cubicBezTo>
                    <a:pt x="143" y="176"/>
                    <a:pt x="143" y="176"/>
                    <a:pt x="143" y="176"/>
                  </a:cubicBezTo>
                  <a:cubicBezTo>
                    <a:pt x="143" y="176"/>
                    <a:pt x="142" y="172"/>
                    <a:pt x="142" y="172"/>
                  </a:cubicBezTo>
                  <a:cubicBezTo>
                    <a:pt x="142" y="171"/>
                    <a:pt x="141" y="170"/>
                    <a:pt x="141" y="170"/>
                  </a:cubicBezTo>
                  <a:cubicBezTo>
                    <a:pt x="141" y="166"/>
                    <a:pt x="141" y="166"/>
                    <a:pt x="141" y="166"/>
                  </a:cubicBezTo>
                  <a:cubicBezTo>
                    <a:pt x="136" y="165"/>
                    <a:pt x="136" y="165"/>
                    <a:pt x="136" y="165"/>
                  </a:cubicBezTo>
                  <a:cubicBezTo>
                    <a:pt x="133" y="165"/>
                    <a:pt x="133" y="165"/>
                    <a:pt x="133" y="165"/>
                  </a:cubicBezTo>
                  <a:cubicBezTo>
                    <a:pt x="129" y="165"/>
                    <a:pt x="129" y="165"/>
                    <a:pt x="129" y="165"/>
                  </a:cubicBezTo>
                  <a:cubicBezTo>
                    <a:pt x="129" y="163"/>
                    <a:pt x="129" y="163"/>
                    <a:pt x="129" y="163"/>
                  </a:cubicBezTo>
                  <a:cubicBezTo>
                    <a:pt x="131" y="163"/>
                    <a:pt x="131" y="163"/>
                    <a:pt x="131" y="163"/>
                  </a:cubicBezTo>
                  <a:cubicBezTo>
                    <a:pt x="131" y="163"/>
                    <a:pt x="134" y="163"/>
                    <a:pt x="135" y="163"/>
                  </a:cubicBezTo>
                  <a:cubicBezTo>
                    <a:pt x="136" y="163"/>
                    <a:pt x="137" y="162"/>
                    <a:pt x="137" y="162"/>
                  </a:cubicBezTo>
                  <a:cubicBezTo>
                    <a:pt x="140" y="161"/>
                    <a:pt x="140" y="161"/>
                    <a:pt x="140" y="161"/>
                  </a:cubicBezTo>
                  <a:cubicBezTo>
                    <a:pt x="142" y="164"/>
                    <a:pt x="142" y="164"/>
                    <a:pt x="142" y="164"/>
                  </a:cubicBezTo>
                  <a:cubicBezTo>
                    <a:pt x="144" y="166"/>
                    <a:pt x="144" y="166"/>
                    <a:pt x="144" y="166"/>
                  </a:cubicBezTo>
                  <a:cubicBezTo>
                    <a:pt x="147" y="168"/>
                    <a:pt x="147" y="168"/>
                    <a:pt x="147" y="168"/>
                  </a:cubicBezTo>
                  <a:cubicBezTo>
                    <a:pt x="147" y="172"/>
                    <a:pt x="147" y="172"/>
                    <a:pt x="147" y="172"/>
                  </a:cubicBezTo>
                  <a:cubicBezTo>
                    <a:pt x="147" y="172"/>
                    <a:pt x="152" y="173"/>
                    <a:pt x="153" y="174"/>
                  </a:cubicBezTo>
                  <a:cubicBezTo>
                    <a:pt x="153" y="174"/>
                    <a:pt x="153" y="174"/>
                    <a:pt x="153" y="174"/>
                  </a:cubicBezTo>
                  <a:cubicBezTo>
                    <a:pt x="153" y="177"/>
                    <a:pt x="153" y="177"/>
                    <a:pt x="153" y="177"/>
                  </a:cubicBezTo>
                  <a:cubicBezTo>
                    <a:pt x="153" y="177"/>
                    <a:pt x="156" y="176"/>
                    <a:pt x="157" y="176"/>
                  </a:cubicBezTo>
                  <a:cubicBezTo>
                    <a:pt x="157" y="176"/>
                    <a:pt x="160" y="176"/>
                    <a:pt x="160" y="176"/>
                  </a:cubicBezTo>
                  <a:cubicBezTo>
                    <a:pt x="161" y="176"/>
                    <a:pt x="163" y="174"/>
                    <a:pt x="163" y="174"/>
                  </a:cubicBezTo>
                  <a:cubicBezTo>
                    <a:pt x="164" y="174"/>
                    <a:pt x="163" y="170"/>
                    <a:pt x="163" y="170"/>
                  </a:cubicBezTo>
                  <a:cubicBezTo>
                    <a:pt x="163" y="170"/>
                    <a:pt x="160" y="168"/>
                    <a:pt x="160" y="167"/>
                  </a:cubicBezTo>
                  <a:cubicBezTo>
                    <a:pt x="159" y="167"/>
                    <a:pt x="157" y="167"/>
                    <a:pt x="157" y="167"/>
                  </a:cubicBezTo>
                  <a:cubicBezTo>
                    <a:pt x="157" y="167"/>
                    <a:pt x="155" y="168"/>
                    <a:pt x="154" y="168"/>
                  </a:cubicBezTo>
                  <a:cubicBezTo>
                    <a:pt x="154" y="168"/>
                    <a:pt x="153" y="168"/>
                    <a:pt x="153" y="169"/>
                  </a:cubicBezTo>
                  <a:cubicBezTo>
                    <a:pt x="152" y="169"/>
                    <a:pt x="151" y="167"/>
                    <a:pt x="150" y="166"/>
                  </a:cubicBezTo>
                  <a:cubicBezTo>
                    <a:pt x="150" y="165"/>
                    <a:pt x="147" y="162"/>
                    <a:pt x="147" y="162"/>
                  </a:cubicBezTo>
                  <a:cubicBezTo>
                    <a:pt x="147" y="161"/>
                    <a:pt x="145" y="158"/>
                    <a:pt x="145" y="158"/>
                  </a:cubicBezTo>
                  <a:cubicBezTo>
                    <a:pt x="145" y="157"/>
                    <a:pt x="145" y="155"/>
                    <a:pt x="145" y="155"/>
                  </a:cubicBezTo>
                  <a:cubicBezTo>
                    <a:pt x="145" y="155"/>
                    <a:pt x="144" y="152"/>
                    <a:pt x="144" y="151"/>
                  </a:cubicBezTo>
                  <a:cubicBezTo>
                    <a:pt x="143" y="151"/>
                    <a:pt x="141" y="149"/>
                    <a:pt x="141" y="149"/>
                  </a:cubicBezTo>
                  <a:cubicBezTo>
                    <a:pt x="140" y="148"/>
                    <a:pt x="140" y="148"/>
                    <a:pt x="140" y="148"/>
                  </a:cubicBezTo>
                  <a:cubicBezTo>
                    <a:pt x="136" y="149"/>
                    <a:pt x="136" y="149"/>
                    <a:pt x="136" y="149"/>
                  </a:cubicBezTo>
                  <a:cubicBezTo>
                    <a:pt x="131" y="149"/>
                    <a:pt x="131" y="149"/>
                    <a:pt x="131" y="149"/>
                  </a:cubicBezTo>
                  <a:cubicBezTo>
                    <a:pt x="128" y="147"/>
                    <a:pt x="128" y="147"/>
                    <a:pt x="128" y="147"/>
                  </a:cubicBezTo>
                  <a:cubicBezTo>
                    <a:pt x="128" y="147"/>
                    <a:pt x="126" y="147"/>
                    <a:pt x="126" y="147"/>
                  </a:cubicBezTo>
                  <a:cubicBezTo>
                    <a:pt x="125" y="147"/>
                    <a:pt x="121" y="145"/>
                    <a:pt x="121" y="145"/>
                  </a:cubicBezTo>
                  <a:cubicBezTo>
                    <a:pt x="121" y="145"/>
                    <a:pt x="117" y="144"/>
                    <a:pt x="116" y="144"/>
                  </a:cubicBezTo>
                  <a:cubicBezTo>
                    <a:pt x="116" y="143"/>
                    <a:pt x="115" y="142"/>
                    <a:pt x="115" y="141"/>
                  </a:cubicBezTo>
                  <a:cubicBezTo>
                    <a:pt x="114" y="140"/>
                    <a:pt x="113" y="139"/>
                    <a:pt x="113" y="139"/>
                  </a:cubicBezTo>
                  <a:cubicBezTo>
                    <a:pt x="113" y="139"/>
                    <a:pt x="112" y="138"/>
                    <a:pt x="111" y="138"/>
                  </a:cubicBezTo>
                  <a:cubicBezTo>
                    <a:pt x="110" y="138"/>
                    <a:pt x="109" y="139"/>
                    <a:pt x="108" y="139"/>
                  </a:cubicBezTo>
                  <a:cubicBezTo>
                    <a:pt x="108" y="139"/>
                    <a:pt x="105" y="139"/>
                    <a:pt x="105" y="139"/>
                  </a:cubicBezTo>
                  <a:cubicBezTo>
                    <a:pt x="104" y="138"/>
                    <a:pt x="104" y="141"/>
                    <a:pt x="104" y="141"/>
                  </a:cubicBezTo>
                  <a:cubicBezTo>
                    <a:pt x="103" y="142"/>
                    <a:pt x="102" y="145"/>
                    <a:pt x="102" y="145"/>
                  </a:cubicBezTo>
                  <a:cubicBezTo>
                    <a:pt x="106" y="147"/>
                    <a:pt x="106" y="147"/>
                    <a:pt x="106" y="147"/>
                  </a:cubicBezTo>
                  <a:cubicBezTo>
                    <a:pt x="111" y="150"/>
                    <a:pt x="111" y="150"/>
                    <a:pt x="111" y="150"/>
                  </a:cubicBezTo>
                  <a:cubicBezTo>
                    <a:pt x="115" y="150"/>
                    <a:pt x="115" y="150"/>
                    <a:pt x="115" y="150"/>
                  </a:cubicBezTo>
                  <a:cubicBezTo>
                    <a:pt x="115" y="150"/>
                    <a:pt x="119" y="153"/>
                    <a:pt x="119" y="154"/>
                  </a:cubicBezTo>
                  <a:cubicBezTo>
                    <a:pt x="120" y="154"/>
                    <a:pt x="122" y="156"/>
                    <a:pt x="122" y="156"/>
                  </a:cubicBezTo>
                  <a:cubicBezTo>
                    <a:pt x="125" y="158"/>
                    <a:pt x="125" y="158"/>
                    <a:pt x="125" y="158"/>
                  </a:cubicBezTo>
                  <a:cubicBezTo>
                    <a:pt x="125" y="158"/>
                    <a:pt x="118" y="160"/>
                    <a:pt x="118" y="160"/>
                  </a:cubicBezTo>
                  <a:cubicBezTo>
                    <a:pt x="117" y="160"/>
                    <a:pt x="116" y="159"/>
                    <a:pt x="115" y="159"/>
                  </a:cubicBezTo>
                  <a:cubicBezTo>
                    <a:pt x="114" y="159"/>
                    <a:pt x="114" y="157"/>
                    <a:pt x="114" y="157"/>
                  </a:cubicBezTo>
                  <a:cubicBezTo>
                    <a:pt x="113" y="155"/>
                    <a:pt x="113" y="155"/>
                    <a:pt x="113" y="155"/>
                  </a:cubicBezTo>
                  <a:cubicBezTo>
                    <a:pt x="113" y="155"/>
                    <a:pt x="110" y="154"/>
                    <a:pt x="110" y="154"/>
                  </a:cubicBezTo>
                  <a:cubicBezTo>
                    <a:pt x="109" y="154"/>
                    <a:pt x="109" y="155"/>
                    <a:pt x="108" y="155"/>
                  </a:cubicBezTo>
                  <a:cubicBezTo>
                    <a:pt x="108" y="155"/>
                    <a:pt x="107" y="155"/>
                    <a:pt x="107" y="155"/>
                  </a:cubicBezTo>
                  <a:cubicBezTo>
                    <a:pt x="106" y="155"/>
                    <a:pt x="106" y="155"/>
                    <a:pt x="106" y="155"/>
                  </a:cubicBezTo>
                  <a:cubicBezTo>
                    <a:pt x="106" y="155"/>
                    <a:pt x="105" y="155"/>
                    <a:pt x="104" y="155"/>
                  </a:cubicBezTo>
                  <a:cubicBezTo>
                    <a:pt x="103" y="155"/>
                    <a:pt x="103" y="154"/>
                    <a:pt x="103" y="154"/>
                  </a:cubicBezTo>
                  <a:cubicBezTo>
                    <a:pt x="103" y="154"/>
                    <a:pt x="103" y="153"/>
                    <a:pt x="102" y="152"/>
                  </a:cubicBezTo>
                  <a:cubicBezTo>
                    <a:pt x="101" y="152"/>
                    <a:pt x="100" y="152"/>
                    <a:pt x="99" y="152"/>
                  </a:cubicBezTo>
                  <a:cubicBezTo>
                    <a:pt x="98" y="151"/>
                    <a:pt x="97" y="151"/>
                    <a:pt x="97" y="151"/>
                  </a:cubicBezTo>
                  <a:cubicBezTo>
                    <a:pt x="96" y="151"/>
                    <a:pt x="94" y="151"/>
                    <a:pt x="93" y="151"/>
                  </a:cubicBezTo>
                  <a:cubicBezTo>
                    <a:pt x="93" y="151"/>
                    <a:pt x="92" y="151"/>
                    <a:pt x="89" y="151"/>
                  </a:cubicBezTo>
                  <a:cubicBezTo>
                    <a:pt x="85" y="150"/>
                    <a:pt x="88" y="149"/>
                    <a:pt x="88" y="149"/>
                  </a:cubicBezTo>
                  <a:cubicBezTo>
                    <a:pt x="88" y="148"/>
                    <a:pt x="90" y="148"/>
                    <a:pt x="90" y="148"/>
                  </a:cubicBezTo>
                  <a:cubicBezTo>
                    <a:pt x="90" y="148"/>
                    <a:pt x="92" y="149"/>
                    <a:pt x="92" y="148"/>
                  </a:cubicBezTo>
                  <a:cubicBezTo>
                    <a:pt x="93" y="148"/>
                    <a:pt x="93" y="148"/>
                    <a:pt x="93" y="148"/>
                  </a:cubicBezTo>
                  <a:cubicBezTo>
                    <a:pt x="93" y="148"/>
                    <a:pt x="95" y="147"/>
                    <a:pt x="96" y="147"/>
                  </a:cubicBezTo>
                  <a:cubicBezTo>
                    <a:pt x="96" y="147"/>
                    <a:pt x="97" y="146"/>
                    <a:pt x="97" y="146"/>
                  </a:cubicBezTo>
                  <a:cubicBezTo>
                    <a:pt x="100" y="143"/>
                    <a:pt x="100" y="143"/>
                    <a:pt x="100" y="143"/>
                  </a:cubicBezTo>
                  <a:cubicBezTo>
                    <a:pt x="101" y="141"/>
                    <a:pt x="101" y="141"/>
                    <a:pt x="101" y="141"/>
                  </a:cubicBezTo>
                  <a:cubicBezTo>
                    <a:pt x="101" y="139"/>
                    <a:pt x="101" y="139"/>
                    <a:pt x="101" y="139"/>
                  </a:cubicBezTo>
                  <a:cubicBezTo>
                    <a:pt x="99" y="138"/>
                    <a:pt x="99" y="138"/>
                    <a:pt x="99" y="138"/>
                  </a:cubicBezTo>
                  <a:cubicBezTo>
                    <a:pt x="99" y="138"/>
                    <a:pt x="98" y="137"/>
                    <a:pt x="98" y="136"/>
                  </a:cubicBezTo>
                  <a:cubicBezTo>
                    <a:pt x="98" y="136"/>
                    <a:pt x="96" y="135"/>
                    <a:pt x="96" y="135"/>
                  </a:cubicBezTo>
                  <a:cubicBezTo>
                    <a:pt x="92" y="133"/>
                    <a:pt x="92" y="133"/>
                    <a:pt x="92" y="133"/>
                  </a:cubicBezTo>
                  <a:cubicBezTo>
                    <a:pt x="93" y="131"/>
                    <a:pt x="93" y="131"/>
                    <a:pt x="93" y="131"/>
                  </a:cubicBezTo>
                  <a:cubicBezTo>
                    <a:pt x="93" y="131"/>
                    <a:pt x="96" y="128"/>
                    <a:pt x="97" y="128"/>
                  </a:cubicBezTo>
                  <a:cubicBezTo>
                    <a:pt x="97" y="127"/>
                    <a:pt x="99" y="127"/>
                    <a:pt x="99" y="127"/>
                  </a:cubicBezTo>
                  <a:cubicBezTo>
                    <a:pt x="101" y="127"/>
                    <a:pt x="101" y="127"/>
                    <a:pt x="101" y="127"/>
                  </a:cubicBezTo>
                  <a:cubicBezTo>
                    <a:pt x="103" y="129"/>
                    <a:pt x="103" y="129"/>
                    <a:pt x="103" y="129"/>
                  </a:cubicBezTo>
                  <a:cubicBezTo>
                    <a:pt x="103" y="129"/>
                    <a:pt x="105" y="130"/>
                    <a:pt x="106" y="131"/>
                  </a:cubicBezTo>
                  <a:cubicBezTo>
                    <a:pt x="106" y="131"/>
                    <a:pt x="107" y="133"/>
                    <a:pt x="107" y="133"/>
                  </a:cubicBezTo>
                  <a:cubicBezTo>
                    <a:pt x="107" y="133"/>
                    <a:pt x="104" y="134"/>
                    <a:pt x="104" y="135"/>
                  </a:cubicBezTo>
                  <a:cubicBezTo>
                    <a:pt x="103" y="135"/>
                    <a:pt x="104" y="136"/>
                    <a:pt x="104" y="136"/>
                  </a:cubicBezTo>
                  <a:cubicBezTo>
                    <a:pt x="104" y="136"/>
                    <a:pt x="105" y="135"/>
                    <a:pt x="106" y="135"/>
                  </a:cubicBezTo>
                  <a:cubicBezTo>
                    <a:pt x="106" y="135"/>
                    <a:pt x="108" y="134"/>
                    <a:pt x="108" y="134"/>
                  </a:cubicBezTo>
                  <a:cubicBezTo>
                    <a:pt x="109" y="132"/>
                    <a:pt x="109" y="132"/>
                    <a:pt x="109" y="132"/>
                  </a:cubicBezTo>
                  <a:cubicBezTo>
                    <a:pt x="110" y="129"/>
                    <a:pt x="110" y="129"/>
                    <a:pt x="110" y="129"/>
                  </a:cubicBezTo>
                  <a:cubicBezTo>
                    <a:pt x="107" y="127"/>
                    <a:pt x="107" y="127"/>
                    <a:pt x="107" y="127"/>
                  </a:cubicBezTo>
                  <a:cubicBezTo>
                    <a:pt x="104" y="123"/>
                    <a:pt x="104" y="123"/>
                    <a:pt x="104" y="123"/>
                  </a:cubicBezTo>
                  <a:cubicBezTo>
                    <a:pt x="99" y="120"/>
                    <a:pt x="99" y="120"/>
                    <a:pt x="99" y="120"/>
                  </a:cubicBezTo>
                  <a:cubicBezTo>
                    <a:pt x="99" y="120"/>
                    <a:pt x="97" y="119"/>
                    <a:pt x="97" y="119"/>
                  </a:cubicBezTo>
                  <a:cubicBezTo>
                    <a:pt x="96" y="119"/>
                    <a:pt x="96" y="118"/>
                    <a:pt x="94" y="117"/>
                  </a:cubicBezTo>
                  <a:cubicBezTo>
                    <a:pt x="92" y="115"/>
                    <a:pt x="93" y="115"/>
                    <a:pt x="93" y="114"/>
                  </a:cubicBezTo>
                  <a:cubicBezTo>
                    <a:pt x="93" y="114"/>
                    <a:pt x="92" y="114"/>
                    <a:pt x="91" y="113"/>
                  </a:cubicBezTo>
                  <a:cubicBezTo>
                    <a:pt x="91" y="113"/>
                    <a:pt x="90" y="112"/>
                    <a:pt x="90" y="112"/>
                  </a:cubicBezTo>
                  <a:cubicBezTo>
                    <a:pt x="90" y="112"/>
                    <a:pt x="90" y="110"/>
                    <a:pt x="90" y="109"/>
                  </a:cubicBezTo>
                  <a:cubicBezTo>
                    <a:pt x="89" y="107"/>
                    <a:pt x="87" y="107"/>
                    <a:pt x="86" y="107"/>
                  </a:cubicBezTo>
                  <a:cubicBezTo>
                    <a:pt x="86" y="106"/>
                    <a:pt x="85" y="105"/>
                    <a:pt x="85" y="105"/>
                  </a:cubicBezTo>
                  <a:cubicBezTo>
                    <a:pt x="83" y="102"/>
                    <a:pt x="83" y="102"/>
                    <a:pt x="83" y="102"/>
                  </a:cubicBezTo>
                  <a:cubicBezTo>
                    <a:pt x="83" y="102"/>
                    <a:pt x="82" y="101"/>
                    <a:pt x="81" y="100"/>
                  </a:cubicBezTo>
                  <a:cubicBezTo>
                    <a:pt x="79" y="100"/>
                    <a:pt x="79" y="100"/>
                    <a:pt x="78" y="99"/>
                  </a:cubicBezTo>
                  <a:cubicBezTo>
                    <a:pt x="77" y="98"/>
                    <a:pt x="77" y="97"/>
                    <a:pt x="76" y="96"/>
                  </a:cubicBezTo>
                  <a:cubicBezTo>
                    <a:pt x="76" y="95"/>
                    <a:pt x="76" y="93"/>
                    <a:pt x="76" y="92"/>
                  </a:cubicBezTo>
                  <a:cubicBezTo>
                    <a:pt x="76" y="92"/>
                    <a:pt x="77" y="88"/>
                    <a:pt x="77" y="88"/>
                  </a:cubicBezTo>
                  <a:cubicBezTo>
                    <a:pt x="77" y="84"/>
                    <a:pt x="77" y="84"/>
                    <a:pt x="77" y="84"/>
                  </a:cubicBezTo>
                  <a:cubicBezTo>
                    <a:pt x="74" y="81"/>
                    <a:pt x="74" y="81"/>
                    <a:pt x="74" y="81"/>
                  </a:cubicBezTo>
                  <a:cubicBezTo>
                    <a:pt x="76" y="78"/>
                    <a:pt x="76" y="78"/>
                    <a:pt x="76" y="78"/>
                  </a:cubicBezTo>
                  <a:cubicBezTo>
                    <a:pt x="79" y="76"/>
                    <a:pt x="79" y="76"/>
                    <a:pt x="79" y="76"/>
                  </a:cubicBezTo>
                  <a:cubicBezTo>
                    <a:pt x="80" y="74"/>
                    <a:pt x="80" y="74"/>
                    <a:pt x="80" y="74"/>
                  </a:cubicBezTo>
                  <a:cubicBezTo>
                    <a:pt x="84" y="71"/>
                    <a:pt x="84" y="71"/>
                    <a:pt x="84" y="71"/>
                  </a:cubicBezTo>
                  <a:cubicBezTo>
                    <a:pt x="86" y="73"/>
                    <a:pt x="86" y="73"/>
                    <a:pt x="86" y="73"/>
                  </a:cubicBezTo>
                  <a:cubicBezTo>
                    <a:pt x="86" y="76"/>
                    <a:pt x="86" y="76"/>
                    <a:pt x="86" y="76"/>
                  </a:cubicBezTo>
                  <a:cubicBezTo>
                    <a:pt x="83" y="78"/>
                    <a:pt x="83" y="78"/>
                    <a:pt x="83" y="78"/>
                  </a:cubicBezTo>
                  <a:cubicBezTo>
                    <a:pt x="84" y="81"/>
                    <a:pt x="84" y="81"/>
                    <a:pt x="84" y="81"/>
                  </a:cubicBezTo>
                  <a:cubicBezTo>
                    <a:pt x="89" y="83"/>
                    <a:pt x="89" y="83"/>
                    <a:pt x="89" y="83"/>
                  </a:cubicBezTo>
                  <a:cubicBezTo>
                    <a:pt x="94" y="85"/>
                    <a:pt x="94" y="85"/>
                    <a:pt x="94" y="85"/>
                  </a:cubicBezTo>
                  <a:cubicBezTo>
                    <a:pt x="98" y="85"/>
                    <a:pt x="98" y="85"/>
                    <a:pt x="98" y="85"/>
                  </a:cubicBezTo>
                  <a:cubicBezTo>
                    <a:pt x="101" y="87"/>
                    <a:pt x="101" y="87"/>
                    <a:pt x="101" y="87"/>
                  </a:cubicBezTo>
                  <a:cubicBezTo>
                    <a:pt x="102" y="90"/>
                    <a:pt x="102" y="90"/>
                    <a:pt x="102" y="90"/>
                  </a:cubicBezTo>
                  <a:cubicBezTo>
                    <a:pt x="102" y="91"/>
                    <a:pt x="102" y="91"/>
                    <a:pt x="102" y="91"/>
                  </a:cubicBezTo>
                  <a:cubicBezTo>
                    <a:pt x="101" y="93"/>
                    <a:pt x="101" y="93"/>
                    <a:pt x="101" y="93"/>
                  </a:cubicBezTo>
                  <a:cubicBezTo>
                    <a:pt x="101" y="93"/>
                    <a:pt x="102" y="95"/>
                    <a:pt x="103" y="97"/>
                  </a:cubicBezTo>
                  <a:cubicBezTo>
                    <a:pt x="104" y="98"/>
                    <a:pt x="105" y="97"/>
                    <a:pt x="105" y="97"/>
                  </a:cubicBezTo>
                  <a:cubicBezTo>
                    <a:pt x="105" y="97"/>
                    <a:pt x="108" y="96"/>
                    <a:pt x="108" y="96"/>
                  </a:cubicBezTo>
                  <a:cubicBezTo>
                    <a:pt x="108" y="96"/>
                    <a:pt x="110" y="97"/>
                    <a:pt x="110" y="97"/>
                  </a:cubicBezTo>
                  <a:cubicBezTo>
                    <a:pt x="110" y="97"/>
                    <a:pt x="113" y="97"/>
                    <a:pt x="114" y="97"/>
                  </a:cubicBezTo>
                  <a:cubicBezTo>
                    <a:pt x="115" y="97"/>
                    <a:pt x="117" y="96"/>
                    <a:pt x="117" y="96"/>
                  </a:cubicBezTo>
                  <a:cubicBezTo>
                    <a:pt x="116" y="95"/>
                    <a:pt x="116" y="95"/>
                    <a:pt x="116" y="95"/>
                  </a:cubicBezTo>
                  <a:cubicBezTo>
                    <a:pt x="114" y="94"/>
                    <a:pt x="114" y="94"/>
                    <a:pt x="114" y="94"/>
                  </a:cubicBezTo>
                  <a:cubicBezTo>
                    <a:pt x="114" y="94"/>
                    <a:pt x="112" y="93"/>
                    <a:pt x="111" y="93"/>
                  </a:cubicBezTo>
                  <a:cubicBezTo>
                    <a:pt x="109" y="93"/>
                    <a:pt x="109" y="93"/>
                    <a:pt x="109" y="93"/>
                  </a:cubicBezTo>
                  <a:cubicBezTo>
                    <a:pt x="109" y="93"/>
                    <a:pt x="107" y="92"/>
                    <a:pt x="106" y="91"/>
                  </a:cubicBezTo>
                  <a:cubicBezTo>
                    <a:pt x="106" y="90"/>
                    <a:pt x="105" y="90"/>
                    <a:pt x="105" y="90"/>
                  </a:cubicBezTo>
                  <a:cubicBezTo>
                    <a:pt x="105" y="90"/>
                    <a:pt x="102" y="88"/>
                    <a:pt x="102" y="88"/>
                  </a:cubicBezTo>
                  <a:cubicBezTo>
                    <a:pt x="102" y="88"/>
                    <a:pt x="101" y="86"/>
                    <a:pt x="101" y="86"/>
                  </a:cubicBezTo>
                  <a:cubicBezTo>
                    <a:pt x="103" y="83"/>
                    <a:pt x="103" y="83"/>
                    <a:pt x="103" y="83"/>
                  </a:cubicBezTo>
                  <a:cubicBezTo>
                    <a:pt x="105" y="83"/>
                    <a:pt x="105" y="83"/>
                    <a:pt x="105" y="83"/>
                  </a:cubicBezTo>
                  <a:cubicBezTo>
                    <a:pt x="110" y="84"/>
                    <a:pt x="110" y="84"/>
                    <a:pt x="110" y="84"/>
                  </a:cubicBezTo>
                  <a:cubicBezTo>
                    <a:pt x="110" y="84"/>
                    <a:pt x="115" y="86"/>
                    <a:pt x="115" y="86"/>
                  </a:cubicBezTo>
                  <a:cubicBezTo>
                    <a:pt x="115" y="86"/>
                    <a:pt x="117" y="88"/>
                    <a:pt x="117" y="88"/>
                  </a:cubicBezTo>
                  <a:cubicBezTo>
                    <a:pt x="117" y="91"/>
                    <a:pt x="117" y="91"/>
                    <a:pt x="117" y="91"/>
                  </a:cubicBezTo>
                  <a:cubicBezTo>
                    <a:pt x="120" y="92"/>
                    <a:pt x="120" y="92"/>
                    <a:pt x="120" y="92"/>
                  </a:cubicBezTo>
                  <a:cubicBezTo>
                    <a:pt x="120" y="92"/>
                    <a:pt x="121" y="93"/>
                    <a:pt x="123" y="93"/>
                  </a:cubicBezTo>
                  <a:cubicBezTo>
                    <a:pt x="124" y="94"/>
                    <a:pt x="124" y="93"/>
                    <a:pt x="124" y="93"/>
                  </a:cubicBezTo>
                  <a:cubicBezTo>
                    <a:pt x="125" y="90"/>
                    <a:pt x="125" y="90"/>
                    <a:pt x="125" y="90"/>
                  </a:cubicBezTo>
                  <a:cubicBezTo>
                    <a:pt x="125" y="88"/>
                    <a:pt x="125" y="88"/>
                    <a:pt x="125" y="88"/>
                  </a:cubicBezTo>
                  <a:cubicBezTo>
                    <a:pt x="125" y="88"/>
                    <a:pt x="123" y="85"/>
                    <a:pt x="123" y="85"/>
                  </a:cubicBezTo>
                  <a:cubicBezTo>
                    <a:pt x="122" y="85"/>
                    <a:pt x="118" y="84"/>
                    <a:pt x="118" y="84"/>
                  </a:cubicBezTo>
                  <a:cubicBezTo>
                    <a:pt x="116" y="82"/>
                    <a:pt x="116" y="82"/>
                    <a:pt x="116" y="82"/>
                  </a:cubicBezTo>
                  <a:cubicBezTo>
                    <a:pt x="113" y="80"/>
                    <a:pt x="113" y="80"/>
                    <a:pt x="113" y="80"/>
                  </a:cubicBezTo>
                  <a:cubicBezTo>
                    <a:pt x="113" y="79"/>
                    <a:pt x="113" y="79"/>
                    <a:pt x="113" y="79"/>
                  </a:cubicBezTo>
                  <a:cubicBezTo>
                    <a:pt x="115" y="78"/>
                    <a:pt x="115" y="78"/>
                    <a:pt x="115" y="78"/>
                  </a:cubicBezTo>
                  <a:cubicBezTo>
                    <a:pt x="115" y="78"/>
                    <a:pt x="116" y="77"/>
                    <a:pt x="116" y="76"/>
                  </a:cubicBezTo>
                  <a:cubicBezTo>
                    <a:pt x="116" y="76"/>
                    <a:pt x="117" y="75"/>
                    <a:pt x="117" y="75"/>
                  </a:cubicBezTo>
                  <a:cubicBezTo>
                    <a:pt x="121" y="76"/>
                    <a:pt x="121" y="76"/>
                    <a:pt x="121" y="76"/>
                  </a:cubicBezTo>
                  <a:cubicBezTo>
                    <a:pt x="121" y="76"/>
                    <a:pt x="122" y="78"/>
                    <a:pt x="122" y="78"/>
                  </a:cubicBezTo>
                  <a:cubicBezTo>
                    <a:pt x="122" y="79"/>
                    <a:pt x="124" y="79"/>
                    <a:pt x="125" y="78"/>
                  </a:cubicBezTo>
                  <a:cubicBezTo>
                    <a:pt x="126" y="78"/>
                    <a:pt x="128" y="78"/>
                    <a:pt x="128" y="78"/>
                  </a:cubicBezTo>
                  <a:cubicBezTo>
                    <a:pt x="128" y="78"/>
                    <a:pt x="130" y="79"/>
                    <a:pt x="131" y="79"/>
                  </a:cubicBezTo>
                  <a:cubicBezTo>
                    <a:pt x="131" y="80"/>
                    <a:pt x="132" y="81"/>
                    <a:pt x="132" y="82"/>
                  </a:cubicBezTo>
                  <a:cubicBezTo>
                    <a:pt x="132" y="83"/>
                    <a:pt x="134" y="83"/>
                    <a:pt x="134" y="84"/>
                  </a:cubicBezTo>
                  <a:cubicBezTo>
                    <a:pt x="134" y="84"/>
                    <a:pt x="136" y="83"/>
                    <a:pt x="138" y="82"/>
                  </a:cubicBezTo>
                  <a:cubicBezTo>
                    <a:pt x="139" y="81"/>
                    <a:pt x="135" y="80"/>
                    <a:pt x="135" y="80"/>
                  </a:cubicBezTo>
                  <a:cubicBezTo>
                    <a:pt x="131" y="77"/>
                    <a:pt x="131" y="77"/>
                    <a:pt x="131" y="77"/>
                  </a:cubicBezTo>
                  <a:cubicBezTo>
                    <a:pt x="128" y="75"/>
                    <a:pt x="128" y="75"/>
                    <a:pt x="128" y="75"/>
                  </a:cubicBezTo>
                  <a:cubicBezTo>
                    <a:pt x="128" y="75"/>
                    <a:pt x="126" y="75"/>
                    <a:pt x="125" y="75"/>
                  </a:cubicBezTo>
                  <a:cubicBezTo>
                    <a:pt x="125" y="75"/>
                    <a:pt x="124" y="73"/>
                    <a:pt x="124" y="73"/>
                  </a:cubicBezTo>
                  <a:cubicBezTo>
                    <a:pt x="123" y="71"/>
                    <a:pt x="123" y="71"/>
                    <a:pt x="123" y="71"/>
                  </a:cubicBezTo>
                  <a:cubicBezTo>
                    <a:pt x="123" y="71"/>
                    <a:pt x="122" y="72"/>
                    <a:pt x="122" y="73"/>
                  </a:cubicBezTo>
                  <a:cubicBezTo>
                    <a:pt x="122" y="73"/>
                    <a:pt x="119" y="74"/>
                    <a:pt x="119" y="74"/>
                  </a:cubicBezTo>
                  <a:cubicBezTo>
                    <a:pt x="118" y="75"/>
                    <a:pt x="116" y="74"/>
                    <a:pt x="116" y="74"/>
                  </a:cubicBezTo>
                  <a:cubicBezTo>
                    <a:pt x="116" y="70"/>
                    <a:pt x="116" y="70"/>
                    <a:pt x="116" y="70"/>
                  </a:cubicBezTo>
                  <a:cubicBezTo>
                    <a:pt x="116" y="70"/>
                    <a:pt x="117" y="68"/>
                    <a:pt x="117" y="68"/>
                  </a:cubicBezTo>
                  <a:cubicBezTo>
                    <a:pt x="117" y="68"/>
                    <a:pt x="115" y="67"/>
                    <a:pt x="115" y="67"/>
                  </a:cubicBezTo>
                  <a:cubicBezTo>
                    <a:pt x="111" y="65"/>
                    <a:pt x="111" y="65"/>
                    <a:pt x="111" y="65"/>
                  </a:cubicBezTo>
                  <a:cubicBezTo>
                    <a:pt x="109" y="64"/>
                    <a:pt x="109" y="64"/>
                    <a:pt x="109" y="64"/>
                  </a:cubicBezTo>
                  <a:cubicBezTo>
                    <a:pt x="111" y="61"/>
                    <a:pt x="111" y="61"/>
                    <a:pt x="111" y="61"/>
                  </a:cubicBezTo>
                  <a:cubicBezTo>
                    <a:pt x="114" y="59"/>
                    <a:pt x="114" y="59"/>
                    <a:pt x="114" y="59"/>
                  </a:cubicBezTo>
                  <a:cubicBezTo>
                    <a:pt x="114" y="59"/>
                    <a:pt x="117" y="59"/>
                    <a:pt x="118" y="59"/>
                  </a:cubicBezTo>
                  <a:cubicBezTo>
                    <a:pt x="118" y="59"/>
                    <a:pt x="123" y="57"/>
                    <a:pt x="123" y="57"/>
                  </a:cubicBezTo>
                  <a:cubicBezTo>
                    <a:pt x="127" y="55"/>
                    <a:pt x="127" y="55"/>
                    <a:pt x="127" y="55"/>
                  </a:cubicBezTo>
                  <a:cubicBezTo>
                    <a:pt x="129" y="50"/>
                    <a:pt x="129" y="50"/>
                    <a:pt x="129" y="50"/>
                  </a:cubicBezTo>
                  <a:cubicBezTo>
                    <a:pt x="129" y="48"/>
                    <a:pt x="129" y="48"/>
                    <a:pt x="129" y="48"/>
                  </a:cubicBezTo>
                  <a:cubicBezTo>
                    <a:pt x="134" y="48"/>
                    <a:pt x="134" y="48"/>
                    <a:pt x="134" y="48"/>
                  </a:cubicBezTo>
                  <a:cubicBezTo>
                    <a:pt x="142" y="48"/>
                    <a:pt x="142" y="48"/>
                    <a:pt x="142" y="48"/>
                  </a:cubicBezTo>
                  <a:cubicBezTo>
                    <a:pt x="146" y="46"/>
                    <a:pt x="146" y="46"/>
                    <a:pt x="146" y="46"/>
                  </a:cubicBezTo>
                  <a:cubicBezTo>
                    <a:pt x="150" y="44"/>
                    <a:pt x="150" y="44"/>
                    <a:pt x="150" y="44"/>
                  </a:cubicBezTo>
                  <a:cubicBezTo>
                    <a:pt x="150" y="40"/>
                    <a:pt x="150" y="40"/>
                    <a:pt x="150" y="40"/>
                  </a:cubicBezTo>
                  <a:cubicBezTo>
                    <a:pt x="154" y="39"/>
                    <a:pt x="154" y="39"/>
                    <a:pt x="154" y="39"/>
                  </a:cubicBezTo>
                  <a:cubicBezTo>
                    <a:pt x="155" y="43"/>
                    <a:pt x="155" y="43"/>
                    <a:pt x="155" y="43"/>
                  </a:cubicBezTo>
                  <a:cubicBezTo>
                    <a:pt x="155" y="43"/>
                    <a:pt x="159" y="43"/>
                    <a:pt x="160" y="43"/>
                  </a:cubicBezTo>
                  <a:cubicBezTo>
                    <a:pt x="160" y="42"/>
                    <a:pt x="163" y="43"/>
                    <a:pt x="163" y="43"/>
                  </a:cubicBezTo>
                  <a:cubicBezTo>
                    <a:pt x="163" y="43"/>
                    <a:pt x="174" y="43"/>
                    <a:pt x="174" y="42"/>
                  </a:cubicBezTo>
                  <a:cubicBezTo>
                    <a:pt x="175" y="42"/>
                    <a:pt x="180" y="41"/>
                    <a:pt x="180" y="41"/>
                  </a:cubicBezTo>
                  <a:cubicBezTo>
                    <a:pt x="180" y="41"/>
                    <a:pt x="183" y="43"/>
                    <a:pt x="183" y="43"/>
                  </a:cubicBezTo>
                  <a:cubicBezTo>
                    <a:pt x="184" y="44"/>
                    <a:pt x="188" y="44"/>
                    <a:pt x="188" y="44"/>
                  </a:cubicBezTo>
                  <a:cubicBezTo>
                    <a:pt x="191" y="41"/>
                    <a:pt x="191" y="41"/>
                    <a:pt x="191" y="41"/>
                  </a:cubicBezTo>
                  <a:cubicBezTo>
                    <a:pt x="195" y="36"/>
                    <a:pt x="195" y="36"/>
                    <a:pt x="195" y="36"/>
                  </a:cubicBezTo>
                  <a:cubicBezTo>
                    <a:pt x="192" y="26"/>
                    <a:pt x="192" y="26"/>
                    <a:pt x="192" y="26"/>
                  </a:cubicBezTo>
                  <a:cubicBezTo>
                    <a:pt x="192" y="26"/>
                    <a:pt x="192" y="23"/>
                    <a:pt x="192" y="22"/>
                  </a:cubicBezTo>
                  <a:cubicBezTo>
                    <a:pt x="192" y="21"/>
                    <a:pt x="194" y="18"/>
                    <a:pt x="194" y="18"/>
                  </a:cubicBezTo>
                  <a:cubicBezTo>
                    <a:pt x="196" y="16"/>
                    <a:pt x="196" y="16"/>
                    <a:pt x="196" y="16"/>
                  </a:cubicBezTo>
                  <a:cubicBezTo>
                    <a:pt x="196" y="16"/>
                    <a:pt x="199" y="15"/>
                    <a:pt x="200" y="15"/>
                  </a:cubicBezTo>
                  <a:cubicBezTo>
                    <a:pt x="201" y="14"/>
                    <a:pt x="197" y="10"/>
                    <a:pt x="197" y="9"/>
                  </a:cubicBezTo>
                  <a:cubicBezTo>
                    <a:pt x="197" y="8"/>
                    <a:pt x="196" y="4"/>
                    <a:pt x="196" y="4"/>
                  </a:cubicBezTo>
                  <a:cubicBezTo>
                    <a:pt x="196" y="4"/>
                    <a:pt x="191" y="2"/>
                    <a:pt x="191" y="2"/>
                  </a:cubicBezTo>
                  <a:cubicBezTo>
                    <a:pt x="190" y="1"/>
                    <a:pt x="186" y="1"/>
                    <a:pt x="184" y="0"/>
                  </a:cubicBezTo>
                  <a:cubicBezTo>
                    <a:pt x="183" y="0"/>
                    <a:pt x="181" y="1"/>
                    <a:pt x="180" y="1"/>
                  </a:cubicBezTo>
                  <a:cubicBezTo>
                    <a:pt x="178" y="2"/>
                    <a:pt x="179" y="4"/>
                    <a:pt x="179" y="4"/>
                  </a:cubicBezTo>
                  <a:cubicBezTo>
                    <a:pt x="180" y="5"/>
                    <a:pt x="181" y="7"/>
                    <a:pt x="182" y="9"/>
                  </a:cubicBezTo>
                  <a:cubicBezTo>
                    <a:pt x="184" y="12"/>
                    <a:pt x="184" y="12"/>
                    <a:pt x="184" y="13"/>
                  </a:cubicBezTo>
                  <a:cubicBezTo>
                    <a:pt x="184" y="14"/>
                    <a:pt x="184" y="16"/>
                    <a:pt x="182" y="17"/>
                  </a:cubicBezTo>
                  <a:cubicBezTo>
                    <a:pt x="181" y="18"/>
                    <a:pt x="180" y="18"/>
                    <a:pt x="179" y="19"/>
                  </a:cubicBezTo>
                  <a:cubicBezTo>
                    <a:pt x="178" y="19"/>
                    <a:pt x="175" y="21"/>
                    <a:pt x="174" y="21"/>
                  </a:cubicBezTo>
                  <a:cubicBezTo>
                    <a:pt x="174" y="22"/>
                    <a:pt x="170" y="22"/>
                    <a:pt x="169" y="22"/>
                  </a:cubicBezTo>
                  <a:cubicBezTo>
                    <a:pt x="168" y="23"/>
                    <a:pt x="163" y="24"/>
                    <a:pt x="163" y="24"/>
                  </a:cubicBezTo>
                  <a:cubicBezTo>
                    <a:pt x="160" y="26"/>
                    <a:pt x="160" y="26"/>
                    <a:pt x="160" y="26"/>
                  </a:cubicBezTo>
                  <a:cubicBezTo>
                    <a:pt x="157" y="28"/>
                    <a:pt x="157" y="28"/>
                    <a:pt x="157" y="28"/>
                  </a:cubicBezTo>
                  <a:cubicBezTo>
                    <a:pt x="151" y="25"/>
                    <a:pt x="151" y="25"/>
                    <a:pt x="151" y="25"/>
                  </a:cubicBezTo>
                  <a:cubicBezTo>
                    <a:pt x="143" y="24"/>
                    <a:pt x="143" y="24"/>
                    <a:pt x="143" y="24"/>
                  </a:cubicBezTo>
                  <a:cubicBezTo>
                    <a:pt x="143" y="24"/>
                    <a:pt x="138" y="26"/>
                    <a:pt x="138" y="26"/>
                  </a:cubicBezTo>
                  <a:cubicBezTo>
                    <a:pt x="137" y="27"/>
                    <a:pt x="132" y="23"/>
                    <a:pt x="132" y="23"/>
                  </a:cubicBezTo>
                  <a:cubicBezTo>
                    <a:pt x="130" y="20"/>
                    <a:pt x="130" y="20"/>
                    <a:pt x="130" y="20"/>
                  </a:cubicBezTo>
                  <a:cubicBezTo>
                    <a:pt x="130" y="20"/>
                    <a:pt x="125" y="20"/>
                    <a:pt x="124" y="20"/>
                  </a:cubicBezTo>
                  <a:cubicBezTo>
                    <a:pt x="123" y="20"/>
                    <a:pt x="123" y="22"/>
                    <a:pt x="122" y="22"/>
                  </a:cubicBezTo>
                  <a:cubicBezTo>
                    <a:pt x="122" y="22"/>
                    <a:pt x="120" y="22"/>
                    <a:pt x="118" y="22"/>
                  </a:cubicBezTo>
                  <a:cubicBezTo>
                    <a:pt x="116" y="22"/>
                    <a:pt x="115" y="24"/>
                    <a:pt x="115" y="24"/>
                  </a:cubicBezTo>
                  <a:cubicBezTo>
                    <a:pt x="113" y="27"/>
                    <a:pt x="113" y="27"/>
                    <a:pt x="113" y="27"/>
                  </a:cubicBezTo>
                  <a:cubicBezTo>
                    <a:pt x="113" y="27"/>
                    <a:pt x="109" y="29"/>
                    <a:pt x="108" y="29"/>
                  </a:cubicBezTo>
                  <a:cubicBezTo>
                    <a:pt x="108" y="29"/>
                    <a:pt x="101" y="32"/>
                    <a:pt x="101" y="32"/>
                  </a:cubicBezTo>
                  <a:cubicBezTo>
                    <a:pt x="95" y="34"/>
                    <a:pt x="95" y="34"/>
                    <a:pt x="95" y="34"/>
                  </a:cubicBezTo>
                  <a:cubicBezTo>
                    <a:pt x="95" y="34"/>
                    <a:pt x="93" y="34"/>
                    <a:pt x="93" y="34"/>
                  </a:cubicBezTo>
                  <a:cubicBezTo>
                    <a:pt x="92" y="34"/>
                    <a:pt x="90" y="36"/>
                    <a:pt x="90" y="36"/>
                  </a:cubicBezTo>
                  <a:cubicBezTo>
                    <a:pt x="84" y="39"/>
                    <a:pt x="84" y="39"/>
                    <a:pt x="84" y="39"/>
                  </a:cubicBezTo>
                  <a:cubicBezTo>
                    <a:pt x="72" y="41"/>
                    <a:pt x="72" y="41"/>
                    <a:pt x="72" y="41"/>
                  </a:cubicBezTo>
                  <a:cubicBezTo>
                    <a:pt x="74" y="48"/>
                    <a:pt x="74" y="48"/>
                    <a:pt x="74" y="48"/>
                  </a:cubicBezTo>
                  <a:cubicBezTo>
                    <a:pt x="70" y="51"/>
                    <a:pt x="70" y="51"/>
                    <a:pt x="70" y="51"/>
                  </a:cubicBezTo>
                  <a:cubicBezTo>
                    <a:pt x="70" y="51"/>
                    <a:pt x="60" y="53"/>
                    <a:pt x="59" y="53"/>
                  </a:cubicBezTo>
                  <a:cubicBezTo>
                    <a:pt x="58" y="53"/>
                    <a:pt x="54" y="54"/>
                    <a:pt x="53" y="54"/>
                  </a:cubicBezTo>
                  <a:cubicBezTo>
                    <a:pt x="51" y="55"/>
                    <a:pt x="48" y="56"/>
                    <a:pt x="47" y="57"/>
                  </a:cubicBezTo>
                  <a:cubicBezTo>
                    <a:pt x="47" y="57"/>
                    <a:pt x="45" y="61"/>
                    <a:pt x="45" y="61"/>
                  </a:cubicBezTo>
                  <a:cubicBezTo>
                    <a:pt x="45" y="61"/>
                    <a:pt x="43" y="65"/>
                    <a:pt x="42" y="65"/>
                  </a:cubicBezTo>
                  <a:cubicBezTo>
                    <a:pt x="41" y="66"/>
                    <a:pt x="38" y="69"/>
                    <a:pt x="38" y="69"/>
                  </a:cubicBezTo>
                  <a:cubicBezTo>
                    <a:pt x="38" y="69"/>
                    <a:pt x="33" y="68"/>
                    <a:pt x="32" y="68"/>
                  </a:cubicBezTo>
                  <a:cubicBezTo>
                    <a:pt x="31" y="68"/>
                    <a:pt x="29" y="70"/>
                    <a:pt x="27" y="70"/>
                  </a:cubicBezTo>
                  <a:cubicBezTo>
                    <a:pt x="25" y="71"/>
                    <a:pt x="24" y="71"/>
                    <a:pt x="23" y="71"/>
                  </a:cubicBezTo>
                  <a:cubicBezTo>
                    <a:pt x="22" y="71"/>
                    <a:pt x="19" y="72"/>
                    <a:pt x="18" y="72"/>
                  </a:cubicBezTo>
                  <a:cubicBezTo>
                    <a:pt x="18" y="73"/>
                    <a:pt x="18" y="73"/>
                    <a:pt x="18" y="73"/>
                  </a:cubicBezTo>
                  <a:cubicBezTo>
                    <a:pt x="20" y="73"/>
                    <a:pt x="20" y="73"/>
                    <a:pt x="20" y="73"/>
                  </a:cubicBezTo>
                  <a:cubicBezTo>
                    <a:pt x="20" y="74"/>
                    <a:pt x="20" y="74"/>
                    <a:pt x="20" y="74"/>
                  </a:cubicBezTo>
                  <a:cubicBezTo>
                    <a:pt x="20" y="76"/>
                    <a:pt x="20" y="76"/>
                    <a:pt x="20" y="76"/>
                  </a:cubicBezTo>
                  <a:cubicBezTo>
                    <a:pt x="22" y="78"/>
                    <a:pt x="22" y="78"/>
                    <a:pt x="22" y="78"/>
                  </a:cubicBezTo>
                  <a:cubicBezTo>
                    <a:pt x="22" y="78"/>
                    <a:pt x="22" y="78"/>
                    <a:pt x="22" y="78"/>
                  </a:cubicBezTo>
                  <a:cubicBezTo>
                    <a:pt x="23" y="86"/>
                    <a:pt x="23" y="86"/>
                    <a:pt x="22" y="87"/>
                  </a:cubicBezTo>
                  <a:cubicBezTo>
                    <a:pt x="22" y="88"/>
                    <a:pt x="22" y="88"/>
                    <a:pt x="22" y="88"/>
                  </a:cubicBezTo>
                  <a:cubicBezTo>
                    <a:pt x="21" y="88"/>
                    <a:pt x="21" y="88"/>
                    <a:pt x="21" y="88"/>
                  </a:cubicBezTo>
                  <a:cubicBezTo>
                    <a:pt x="21" y="88"/>
                    <a:pt x="20" y="88"/>
                    <a:pt x="19" y="89"/>
                  </a:cubicBezTo>
                  <a:cubicBezTo>
                    <a:pt x="17" y="95"/>
                    <a:pt x="17" y="95"/>
                    <a:pt x="17" y="95"/>
                  </a:cubicBezTo>
                  <a:cubicBezTo>
                    <a:pt x="15" y="102"/>
                    <a:pt x="15" y="102"/>
                    <a:pt x="15" y="102"/>
                  </a:cubicBezTo>
                  <a:cubicBezTo>
                    <a:pt x="11" y="110"/>
                    <a:pt x="11" y="110"/>
                    <a:pt x="11" y="110"/>
                  </a:cubicBezTo>
                  <a:cubicBezTo>
                    <a:pt x="4" y="113"/>
                    <a:pt x="4" y="113"/>
                    <a:pt x="4" y="113"/>
                  </a:cubicBezTo>
                  <a:cubicBezTo>
                    <a:pt x="4" y="113"/>
                    <a:pt x="4" y="113"/>
                    <a:pt x="4" y="113"/>
                  </a:cubicBezTo>
                  <a:cubicBezTo>
                    <a:pt x="3" y="115"/>
                    <a:pt x="3" y="115"/>
                    <a:pt x="3" y="115"/>
                  </a:cubicBezTo>
                  <a:cubicBezTo>
                    <a:pt x="3" y="116"/>
                    <a:pt x="3" y="117"/>
                    <a:pt x="3" y="118"/>
                  </a:cubicBezTo>
                  <a:cubicBezTo>
                    <a:pt x="4" y="119"/>
                    <a:pt x="5" y="119"/>
                    <a:pt x="5" y="119"/>
                  </a:cubicBezTo>
                  <a:cubicBezTo>
                    <a:pt x="6" y="120"/>
                    <a:pt x="6" y="120"/>
                    <a:pt x="6" y="120"/>
                  </a:cubicBezTo>
                  <a:cubicBezTo>
                    <a:pt x="6" y="122"/>
                    <a:pt x="6" y="122"/>
                    <a:pt x="6" y="122"/>
                  </a:cubicBezTo>
                  <a:cubicBezTo>
                    <a:pt x="6" y="123"/>
                    <a:pt x="6" y="123"/>
                    <a:pt x="6" y="123"/>
                  </a:cubicBezTo>
                  <a:cubicBezTo>
                    <a:pt x="5" y="123"/>
                    <a:pt x="5" y="124"/>
                    <a:pt x="4" y="125"/>
                  </a:cubicBezTo>
                  <a:cubicBezTo>
                    <a:pt x="4" y="125"/>
                    <a:pt x="4" y="126"/>
                    <a:pt x="4" y="126"/>
                  </a:cubicBezTo>
                  <a:cubicBezTo>
                    <a:pt x="3" y="129"/>
                    <a:pt x="3" y="129"/>
                    <a:pt x="3" y="129"/>
                  </a:cubicBezTo>
                  <a:cubicBezTo>
                    <a:pt x="3" y="129"/>
                    <a:pt x="1" y="132"/>
                    <a:pt x="1" y="133"/>
                  </a:cubicBezTo>
                  <a:cubicBezTo>
                    <a:pt x="0" y="134"/>
                    <a:pt x="2" y="135"/>
                    <a:pt x="2" y="135"/>
                  </a:cubicBezTo>
                  <a:cubicBezTo>
                    <a:pt x="5" y="136"/>
                    <a:pt x="5" y="136"/>
                    <a:pt x="5" y="136"/>
                  </a:cubicBezTo>
                  <a:cubicBezTo>
                    <a:pt x="4" y="139"/>
                    <a:pt x="4" y="139"/>
                    <a:pt x="4" y="139"/>
                  </a:cubicBezTo>
                  <a:cubicBezTo>
                    <a:pt x="4" y="139"/>
                    <a:pt x="7" y="142"/>
                    <a:pt x="7" y="144"/>
                  </a:cubicBezTo>
                  <a:cubicBezTo>
                    <a:pt x="7" y="145"/>
                    <a:pt x="9" y="145"/>
                    <a:pt x="10" y="144"/>
                  </a:cubicBezTo>
                  <a:cubicBezTo>
                    <a:pt x="11" y="143"/>
                    <a:pt x="12" y="140"/>
                    <a:pt x="12" y="140"/>
                  </a:cubicBezTo>
                  <a:cubicBezTo>
                    <a:pt x="14" y="144"/>
                    <a:pt x="14" y="144"/>
                    <a:pt x="14" y="144"/>
                  </a:cubicBezTo>
                  <a:cubicBezTo>
                    <a:pt x="16" y="149"/>
                    <a:pt x="16" y="149"/>
                    <a:pt x="16" y="149"/>
                  </a:cubicBezTo>
                  <a:cubicBezTo>
                    <a:pt x="19" y="153"/>
                    <a:pt x="19" y="153"/>
                    <a:pt x="19" y="153"/>
                  </a:cubicBezTo>
                  <a:cubicBezTo>
                    <a:pt x="19" y="153"/>
                    <a:pt x="19" y="153"/>
                    <a:pt x="22" y="156"/>
                  </a:cubicBezTo>
                  <a:cubicBezTo>
                    <a:pt x="25" y="158"/>
                    <a:pt x="24" y="155"/>
                    <a:pt x="24" y="155"/>
                  </a:cubicBezTo>
                  <a:cubicBezTo>
                    <a:pt x="26" y="152"/>
                    <a:pt x="26" y="152"/>
                    <a:pt x="26" y="152"/>
                  </a:cubicBezTo>
                  <a:cubicBezTo>
                    <a:pt x="26" y="152"/>
                    <a:pt x="28" y="152"/>
                    <a:pt x="29" y="153"/>
                  </a:cubicBezTo>
                  <a:cubicBezTo>
                    <a:pt x="30" y="153"/>
                    <a:pt x="31" y="154"/>
                    <a:pt x="32" y="154"/>
                  </a:cubicBezTo>
                  <a:cubicBezTo>
                    <a:pt x="33" y="153"/>
                    <a:pt x="35" y="152"/>
                    <a:pt x="37" y="152"/>
                  </a:cubicBezTo>
                  <a:cubicBezTo>
                    <a:pt x="39" y="152"/>
                    <a:pt x="38" y="155"/>
                    <a:pt x="38" y="156"/>
                  </a:cubicBezTo>
                  <a:cubicBezTo>
                    <a:pt x="38" y="157"/>
                    <a:pt x="37" y="158"/>
                    <a:pt x="35" y="158"/>
                  </a:cubicBezTo>
                  <a:cubicBezTo>
                    <a:pt x="34" y="158"/>
                    <a:pt x="34" y="158"/>
                    <a:pt x="33" y="158"/>
                  </a:cubicBezTo>
                  <a:cubicBezTo>
                    <a:pt x="32" y="157"/>
                    <a:pt x="30" y="157"/>
                    <a:pt x="29" y="157"/>
                  </a:cubicBezTo>
                  <a:cubicBezTo>
                    <a:pt x="28" y="156"/>
                    <a:pt x="25" y="157"/>
                    <a:pt x="25" y="157"/>
                  </a:cubicBezTo>
                  <a:cubicBezTo>
                    <a:pt x="25" y="160"/>
                    <a:pt x="25" y="160"/>
                    <a:pt x="25" y="160"/>
                  </a:cubicBezTo>
                  <a:cubicBezTo>
                    <a:pt x="25" y="160"/>
                    <a:pt x="23" y="164"/>
                    <a:pt x="23" y="164"/>
                  </a:cubicBezTo>
                  <a:cubicBezTo>
                    <a:pt x="23" y="165"/>
                    <a:pt x="19" y="167"/>
                    <a:pt x="19" y="167"/>
                  </a:cubicBezTo>
                  <a:cubicBezTo>
                    <a:pt x="19" y="167"/>
                    <a:pt x="20" y="169"/>
                    <a:pt x="20" y="170"/>
                  </a:cubicBezTo>
                  <a:cubicBezTo>
                    <a:pt x="19" y="171"/>
                    <a:pt x="21" y="174"/>
                    <a:pt x="21" y="174"/>
                  </a:cubicBezTo>
                  <a:cubicBezTo>
                    <a:pt x="21" y="174"/>
                    <a:pt x="24" y="172"/>
                    <a:pt x="25" y="172"/>
                  </a:cubicBezTo>
                  <a:cubicBezTo>
                    <a:pt x="25" y="172"/>
                    <a:pt x="26" y="171"/>
                    <a:pt x="26" y="170"/>
                  </a:cubicBezTo>
                  <a:cubicBezTo>
                    <a:pt x="26" y="170"/>
                    <a:pt x="25" y="168"/>
                    <a:pt x="25" y="168"/>
                  </a:cubicBezTo>
                  <a:cubicBezTo>
                    <a:pt x="26" y="165"/>
                    <a:pt x="26" y="165"/>
                    <a:pt x="26" y="165"/>
                  </a:cubicBezTo>
                  <a:cubicBezTo>
                    <a:pt x="27" y="164"/>
                    <a:pt x="27" y="164"/>
                    <a:pt x="27" y="164"/>
                  </a:cubicBezTo>
                  <a:cubicBezTo>
                    <a:pt x="30" y="164"/>
                    <a:pt x="30" y="164"/>
                    <a:pt x="30" y="164"/>
                  </a:cubicBezTo>
                  <a:cubicBezTo>
                    <a:pt x="32" y="166"/>
                    <a:pt x="32" y="166"/>
                    <a:pt x="32" y="166"/>
                  </a:cubicBezTo>
                  <a:cubicBezTo>
                    <a:pt x="32" y="170"/>
                    <a:pt x="32" y="170"/>
                    <a:pt x="32" y="170"/>
                  </a:cubicBezTo>
                  <a:cubicBezTo>
                    <a:pt x="35" y="170"/>
                    <a:pt x="35" y="170"/>
                    <a:pt x="35" y="170"/>
                  </a:cubicBezTo>
                  <a:cubicBezTo>
                    <a:pt x="39" y="174"/>
                    <a:pt x="39" y="174"/>
                    <a:pt x="39" y="174"/>
                  </a:cubicBezTo>
                  <a:cubicBezTo>
                    <a:pt x="40" y="179"/>
                    <a:pt x="40" y="179"/>
                    <a:pt x="40" y="179"/>
                  </a:cubicBezTo>
                  <a:cubicBezTo>
                    <a:pt x="40" y="179"/>
                    <a:pt x="43" y="183"/>
                    <a:pt x="44" y="183"/>
                  </a:cubicBezTo>
                  <a:cubicBezTo>
                    <a:pt x="44" y="183"/>
                    <a:pt x="47" y="180"/>
                    <a:pt x="47" y="180"/>
                  </a:cubicBezTo>
                  <a:cubicBezTo>
                    <a:pt x="48" y="178"/>
                    <a:pt x="48" y="178"/>
                    <a:pt x="48" y="178"/>
                  </a:cubicBezTo>
                  <a:cubicBezTo>
                    <a:pt x="48" y="175"/>
                    <a:pt x="48" y="175"/>
                    <a:pt x="48" y="175"/>
                  </a:cubicBezTo>
                  <a:cubicBezTo>
                    <a:pt x="50" y="177"/>
                    <a:pt x="50" y="177"/>
                    <a:pt x="50" y="177"/>
                  </a:cubicBezTo>
                  <a:cubicBezTo>
                    <a:pt x="52" y="180"/>
                    <a:pt x="52" y="180"/>
                    <a:pt x="52" y="180"/>
                  </a:cubicBezTo>
                  <a:cubicBezTo>
                    <a:pt x="55" y="180"/>
                    <a:pt x="55" y="180"/>
                    <a:pt x="55" y="180"/>
                  </a:cubicBezTo>
                  <a:cubicBezTo>
                    <a:pt x="59" y="177"/>
                    <a:pt x="59" y="177"/>
                    <a:pt x="59" y="177"/>
                  </a:cubicBezTo>
                  <a:cubicBezTo>
                    <a:pt x="59" y="177"/>
                    <a:pt x="67" y="176"/>
                    <a:pt x="67" y="176"/>
                  </a:cubicBezTo>
                  <a:cubicBezTo>
                    <a:pt x="68" y="175"/>
                    <a:pt x="70" y="175"/>
                    <a:pt x="70" y="175"/>
                  </a:cubicBezTo>
                  <a:cubicBezTo>
                    <a:pt x="75" y="176"/>
                    <a:pt x="75" y="176"/>
                    <a:pt x="75" y="176"/>
                  </a:cubicBezTo>
                  <a:cubicBezTo>
                    <a:pt x="75" y="176"/>
                    <a:pt x="79" y="176"/>
                    <a:pt x="79" y="176"/>
                  </a:cubicBezTo>
                  <a:cubicBezTo>
                    <a:pt x="80" y="176"/>
                    <a:pt x="83" y="175"/>
                    <a:pt x="83" y="175"/>
                  </a:cubicBezTo>
                  <a:cubicBezTo>
                    <a:pt x="83" y="175"/>
                    <a:pt x="85" y="173"/>
                    <a:pt x="85" y="173"/>
                  </a:cubicBezTo>
                  <a:cubicBezTo>
                    <a:pt x="85" y="170"/>
                    <a:pt x="85" y="170"/>
                    <a:pt x="85" y="170"/>
                  </a:cubicBezTo>
                  <a:cubicBezTo>
                    <a:pt x="88" y="170"/>
                    <a:pt x="88" y="170"/>
                    <a:pt x="88" y="170"/>
                  </a:cubicBezTo>
                  <a:cubicBezTo>
                    <a:pt x="88" y="170"/>
                    <a:pt x="88" y="172"/>
                    <a:pt x="90" y="174"/>
                  </a:cubicBezTo>
                  <a:cubicBezTo>
                    <a:pt x="91" y="176"/>
                    <a:pt x="91" y="174"/>
                    <a:pt x="91" y="174"/>
                  </a:cubicBezTo>
                  <a:cubicBezTo>
                    <a:pt x="93" y="173"/>
                    <a:pt x="93" y="173"/>
                    <a:pt x="93" y="173"/>
                  </a:cubicBezTo>
                  <a:cubicBezTo>
                    <a:pt x="95" y="171"/>
                    <a:pt x="95" y="171"/>
                    <a:pt x="95" y="171"/>
                  </a:cubicBezTo>
                  <a:cubicBezTo>
                    <a:pt x="99" y="174"/>
                    <a:pt x="99" y="174"/>
                    <a:pt x="99" y="174"/>
                  </a:cubicBezTo>
                  <a:cubicBezTo>
                    <a:pt x="99" y="174"/>
                    <a:pt x="102" y="176"/>
                    <a:pt x="104" y="177"/>
                  </a:cubicBezTo>
                  <a:cubicBezTo>
                    <a:pt x="106" y="177"/>
                    <a:pt x="106" y="176"/>
                    <a:pt x="107" y="176"/>
                  </a:cubicBezTo>
                  <a:cubicBezTo>
                    <a:pt x="108" y="175"/>
                    <a:pt x="111" y="175"/>
                    <a:pt x="111" y="175"/>
                  </a:cubicBezTo>
                  <a:cubicBezTo>
                    <a:pt x="111" y="175"/>
                    <a:pt x="113" y="178"/>
                    <a:pt x="114" y="179"/>
                  </a:cubicBezTo>
                  <a:cubicBezTo>
                    <a:pt x="114" y="180"/>
                    <a:pt x="113" y="180"/>
                    <a:pt x="113" y="180"/>
                  </a:cubicBezTo>
                  <a:cubicBezTo>
                    <a:pt x="113" y="180"/>
                    <a:pt x="112" y="181"/>
                    <a:pt x="111" y="181"/>
                  </a:cubicBezTo>
                  <a:cubicBezTo>
                    <a:pt x="110" y="181"/>
                    <a:pt x="110" y="181"/>
                    <a:pt x="108" y="181"/>
                  </a:cubicBezTo>
                  <a:cubicBezTo>
                    <a:pt x="107" y="181"/>
                    <a:pt x="106" y="182"/>
                    <a:pt x="105" y="182"/>
                  </a:cubicBezTo>
                  <a:cubicBezTo>
                    <a:pt x="105" y="182"/>
                    <a:pt x="105" y="184"/>
                    <a:pt x="105" y="184"/>
                  </a:cubicBezTo>
                  <a:cubicBezTo>
                    <a:pt x="106" y="184"/>
                    <a:pt x="106" y="184"/>
                    <a:pt x="106" y="184"/>
                  </a:cubicBezTo>
                  <a:cubicBezTo>
                    <a:pt x="108" y="187"/>
                    <a:pt x="108" y="187"/>
                    <a:pt x="108" y="187"/>
                  </a:cubicBezTo>
                  <a:cubicBezTo>
                    <a:pt x="110" y="188"/>
                    <a:pt x="110" y="188"/>
                    <a:pt x="110" y="188"/>
                  </a:cubicBezTo>
                  <a:cubicBezTo>
                    <a:pt x="113" y="188"/>
                    <a:pt x="113" y="188"/>
                    <a:pt x="113" y="188"/>
                  </a:cubicBezTo>
                  <a:cubicBezTo>
                    <a:pt x="116" y="186"/>
                    <a:pt x="116" y="186"/>
                    <a:pt x="116" y="186"/>
                  </a:cubicBezTo>
                  <a:cubicBezTo>
                    <a:pt x="118" y="185"/>
                    <a:pt x="118" y="185"/>
                    <a:pt x="118" y="185"/>
                  </a:cubicBezTo>
                  <a:cubicBezTo>
                    <a:pt x="121" y="184"/>
                    <a:pt x="121" y="184"/>
                    <a:pt x="121" y="184"/>
                  </a:cubicBezTo>
                  <a:cubicBezTo>
                    <a:pt x="124" y="182"/>
                    <a:pt x="124" y="182"/>
                    <a:pt x="124" y="182"/>
                  </a:cubicBezTo>
                  <a:cubicBezTo>
                    <a:pt x="126" y="180"/>
                    <a:pt x="126" y="180"/>
                    <a:pt x="126" y="180"/>
                  </a:cubicBezTo>
                  <a:cubicBezTo>
                    <a:pt x="127" y="179"/>
                    <a:pt x="127" y="179"/>
                    <a:pt x="127" y="179"/>
                  </a:cubicBezTo>
                  <a:cubicBezTo>
                    <a:pt x="127" y="179"/>
                    <a:pt x="129" y="182"/>
                    <a:pt x="129" y="182"/>
                  </a:cubicBezTo>
                  <a:cubicBezTo>
                    <a:pt x="129" y="183"/>
                    <a:pt x="124" y="185"/>
                    <a:pt x="123" y="186"/>
                  </a:cubicBezTo>
                  <a:cubicBezTo>
                    <a:pt x="123" y="186"/>
                    <a:pt x="123" y="186"/>
                    <a:pt x="123" y="187"/>
                  </a:cubicBezTo>
                  <a:cubicBezTo>
                    <a:pt x="123" y="187"/>
                    <a:pt x="125" y="187"/>
                    <a:pt x="126" y="187"/>
                  </a:cubicBezTo>
                  <a:cubicBezTo>
                    <a:pt x="127" y="187"/>
                    <a:pt x="126" y="187"/>
                    <a:pt x="127" y="186"/>
                  </a:cubicBezTo>
                  <a:cubicBezTo>
                    <a:pt x="127" y="186"/>
                    <a:pt x="129" y="184"/>
                    <a:pt x="129" y="184"/>
                  </a:cubicBezTo>
                  <a:cubicBezTo>
                    <a:pt x="129" y="184"/>
                    <a:pt x="130" y="184"/>
                    <a:pt x="131" y="184"/>
                  </a:cubicBezTo>
                  <a:cubicBezTo>
                    <a:pt x="132" y="184"/>
                    <a:pt x="131" y="182"/>
                    <a:pt x="131" y="181"/>
                  </a:cubicBezTo>
                  <a:cubicBezTo>
                    <a:pt x="131" y="180"/>
                    <a:pt x="133" y="182"/>
                    <a:pt x="134" y="183"/>
                  </a:cubicBezTo>
                  <a:cubicBezTo>
                    <a:pt x="135" y="184"/>
                    <a:pt x="135" y="185"/>
                    <a:pt x="136" y="185"/>
                  </a:cubicBezTo>
                  <a:cubicBezTo>
                    <a:pt x="136" y="186"/>
                    <a:pt x="137" y="188"/>
                    <a:pt x="137" y="188"/>
                  </a:cubicBezTo>
                  <a:cubicBezTo>
                    <a:pt x="137" y="188"/>
                    <a:pt x="140" y="188"/>
                    <a:pt x="141" y="188"/>
                  </a:cubicBezTo>
                  <a:cubicBezTo>
                    <a:pt x="142" y="188"/>
                    <a:pt x="142" y="190"/>
                    <a:pt x="143" y="190"/>
                  </a:cubicBezTo>
                  <a:cubicBezTo>
                    <a:pt x="144" y="191"/>
                    <a:pt x="145" y="192"/>
                    <a:pt x="145" y="193"/>
                  </a:cubicBezTo>
                  <a:cubicBezTo>
                    <a:pt x="145" y="193"/>
                    <a:pt x="147" y="193"/>
                    <a:pt x="147" y="193"/>
                  </a:cubicBezTo>
                  <a:cubicBezTo>
                    <a:pt x="147" y="193"/>
                    <a:pt x="149" y="191"/>
                    <a:pt x="149" y="190"/>
                  </a:cubicBezTo>
                  <a:cubicBezTo>
                    <a:pt x="149" y="190"/>
                    <a:pt x="149" y="188"/>
                    <a:pt x="149" y="188"/>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1" name="Freeform 206"/>
            <p:cNvSpPr>
              <a:spLocks/>
            </p:cNvSpPr>
            <p:nvPr/>
          </p:nvSpPr>
          <p:spPr bwMode="auto">
            <a:xfrm>
              <a:off x="6585953" y="4766815"/>
              <a:ext cx="555997" cy="398950"/>
            </a:xfrm>
            <a:custGeom>
              <a:avLst/>
              <a:gdLst>
                <a:gd name="T0" fmla="*/ 140 w 192"/>
                <a:gd name="T1" fmla="*/ 121 h 146"/>
                <a:gd name="T2" fmla="*/ 136 w 192"/>
                <a:gd name="T3" fmla="*/ 114 h 146"/>
                <a:gd name="T4" fmla="*/ 139 w 192"/>
                <a:gd name="T5" fmla="*/ 107 h 146"/>
                <a:gd name="T6" fmla="*/ 145 w 192"/>
                <a:gd name="T7" fmla="*/ 101 h 146"/>
                <a:gd name="T8" fmla="*/ 146 w 192"/>
                <a:gd name="T9" fmla="*/ 97 h 146"/>
                <a:gd name="T10" fmla="*/ 160 w 192"/>
                <a:gd name="T11" fmla="*/ 86 h 146"/>
                <a:gd name="T12" fmla="*/ 172 w 192"/>
                <a:gd name="T13" fmla="*/ 84 h 146"/>
                <a:gd name="T14" fmla="*/ 183 w 192"/>
                <a:gd name="T15" fmla="*/ 84 h 146"/>
                <a:gd name="T16" fmla="*/ 189 w 192"/>
                <a:gd name="T17" fmla="*/ 81 h 146"/>
                <a:gd name="T18" fmla="*/ 186 w 192"/>
                <a:gd name="T19" fmla="*/ 78 h 146"/>
                <a:gd name="T20" fmla="*/ 180 w 192"/>
                <a:gd name="T21" fmla="*/ 68 h 146"/>
                <a:gd name="T22" fmla="*/ 173 w 192"/>
                <a:gd name="T23" fmla="*/ 62 h 146"/>
                <a:gd name="T24" fmla="*/ 176 w 192"/>
                <a:gd name="T25" fmla="*/ 55 h 146"/>
                <a:gd name="T26" fmla="*/ 178 w 192"/>
                <a:gd name="T27" fmla="*/ 45 h 146"/>
                <a:gd name="T28" fmla="*/ 178 w 192"/>
                <a:gd name="T29" fmla="*/ 28 h 146"/>
                <a:gd name="T30" fmla="*/ 184 w 192"/>
                <a:gd name="T31" fmla="*/ 21 h 146"/>
                <a:gd name="T32" fmla="*/ 192 w 192"/>
                <a:gd name="T33" fmla="*/ 13 h 146"/>
                <a:gd name="T34" fmla="*/ 189 w 192"/>
                <a:gd name="T35" fmla="*/ 6 h 146"/>
                <a:gd name="T36" fmla="*/ 161 w 192"/>
                <a:gd name="T37" fmla="*/ 2 h 146"/>
                <a:gd name="T38" fmla="*/ 125 w 192"/>
                <a:gd name="T39" fmla="*/ 9 h 146"/>
                <a:gd name="T40" fmla="*/ 107 w 192"/>
                <a:gd name="T41" fmla="*/ 29 h 146"/>
                <a:gd name="T42" fmla="*/ 60 w 192"/>
                <a:gd name="T43" fmla="*/ 39 h 146"/>
                <a:gd name="T44" fmla="*/ 33 w 192"/>
                <a:gd name="T45" fmla="*/ 39 h 146"/>
                <a:gd name="T46" fmla="*/ 15 w 192"/>
                <a:gd name="T47" fmla="*/ 42 h 146"/>
                <a:gd name="T48" fmla="*/ 13 w 192"/>
                <a:gd name="T49" fmla="*/ 36 h 146"/>
                <a:gd name="T50" fmla="*/ 14 w 192"/>
                <a:gd name="T51" fmla="*/ 30 h 146"/>
                <a:gd name="T52" fmla="*/ 5 w 192"/>
                <a:gd name="T53" fmla="*/ 34 h 146"/>
                <a:gd name="T54" fmla="*/ 2 w 192"/>
                <a:gd name="T55" fmla="*/ 36 h 146"/>
                <a:gd name="T56" fmla="*/ 0 w 192"/>
                <a:gd name="T57" fmla="*/ 45 h 146"/>
                <a:gd name="T58" fmla="*/ 2 w 192"/>
                <a:gd name="T59" fmla="*/ 49 h 146"/>
                <a:gd name="T60" fmla="*/ 10 w 192"/>
                <a:gd name="T61" fmla="*/ 57 h 146"/>
                <a:gd name="T62" fmla="*/ 19 w 192"/>
                <a:gd name="T63" fmla="*/ 64 h 146"/>
                <a:gd name="T64" fmla="*/ 26 w 192"/>
                <a:gd name="T65" fmla="*/ 65 h 146"/>
                <a:gd name="T66" fmla="*/ 21 w 192"/>
                <a:gd name="T67" fmla="*/ 77 h 146"/>
                <a:gd name="T68" fmla="*/ 20 w 192"/>
                <a:gd name="T69" fmla="*/ 81 h 146"/>
                <a:gd name="T70" fmla="*/ 17 w 192"/>
                <a:gd name="T71" fmla="*/ 86 h 146"/>
                <a:gd name="T72" fmla="*/ 12 w 192"/>
                <a:gd name="T73" fmla="*/ 88 h 146"/>
                <a:gd name="T74" fmla="*/ 13 w 192"/>
                <a:gd name="T75" fmla="*/ 97 h 146"/>
                <a:gd name="T76" fmla="*/ 18 w 192"/>
                <a:gd name="T77" fmla="*/ 101 h 146"/>
                <a:gd name="T78" fmla="*/ 15 w 192"/>
                <a:gd name="T79" fmla="*/ 110 h 146"/>
                <a:gd name="T80" fmla="*/ 17 w 192"/>
                <a:gd name="T81" fmla="*/ 114 h 146"/>
                <a:gd name="T82" fmla="*/ 31 w 192"/>
                <a:gd name="T83" fmla="*/ 121 h 146"/>
                <a:gd name="T84" fmla="*/ 38 w 192"/>
                <a:gd name="T85" fmla="*/ 132 h 146"/>
                <a:gd name="T86" fmla="*/ 38 w 192"/>
                <a:gd name="T87" fmla="*/ 143 h 146"/>
                <a:gd name="T88" fmla="*/ 47 w 192"/>
                <a:gd name="T89" fmla="*/ 142 h 146"/>
                <a:gd name="T90" fmla="*/ 52 w 192"/>
                <a:gd name="T91" fmla="*/ 140 h 146"/>
                <a:gd name="T92" fmla="*/ 59 w 192"/>
                <a:gd name="T93" fmla="*/ 138 h 146"/>
                <a:gd name="T94" fmla="*/ 72 w 192"/>
                <a:gd name="T95" fmla="*/ 131 h 146"/>
                <a:gd name="T96" fmla="*/ 83 w 192"/>
                <a:gd name="T97" fmla="*/ 126 h 146"/>
                <a:gd name="T98" fmla="*/ 93 w 192"/>
                <a:gd name="T99" fmla="*/ 129 h 146"/>
                <a:gd name="T100" fmla="*/ 110 w 192"/>
                <a:gd name="T101" fmla="*/ 131 h 146"/>
                <a:gd name="T102" fmla="*/ 121 w 192"/>
                <a:gd name="T103" fmla="*/ 130 h 146"/>
                <a:gd name="T104" fmla="*/ 133 w 192"/>
                <a:gd name="T105" fmla="*/ 127 h 146"/>
                <a:gd name="T106" fmla="*/ 138 w 192"/>
                <a:gd name="T107" fmla="*/ 12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2" h="146">
                  <a:moveTo>
                    <a:pt x="141" y="121"/>
                  </a:moveTo>
                  <a:cubicBezTo>
                    <a:pt x="141" y="121"/>
                    <a:pt x="141" y="121"/>
                    <a:pt x="141" y="121"/>
                  </a:cubicBezTo>
                  <a:cubicBezTo>
                    <a:pt x="141" y="121"/>
                    <a:pt x="141" y="121"/>
                    <a:pt x="140" y="121"/>
                  </a:cubicBezTo>
                  <a:cubicBezTo>
                    <a:pt x="140" y="120"/>
                    <a:pt x="140" y="120"/>
                    <a:pt x="139" y="119"/>
                  </a:cubicBezTo>
                  <a:cubicBezTo>
                    <a:pt x="138" y="117"/>
                    <a:pt x="138" y="116"/>
                    <a:pt x="137" y="115"/>
                  </a:cubicBezTo>
                  <a:cubicBezTo>
                    <a:pt x="136" y="114"/>
                    <a:pt x="136" y="114"/>
                    <a:pt x="136" y="114"/>
                  </a:cubicBezTo>
                  <a:cubicBezTo>
                    <a:pt x="136" y="113"/>
                    <a:pt x="135" y="110"/>
                    <a:pt x="136" y="109"/>
                  </a:cubicBezTo>
                  <a:cubicBezTo>
                    <a:pt x="136" y="108"/>
                    <a:pt x="137" y="107"/>
                    <a:pt x="138" y="107"/>
                  </a:cubicBezTo>
                  <a:cubicBezTo>
                    <a:pt x="138" y="107"/>
                    <a:pt x="138" y="107"/>
                    <a:pt x="139" y="107"/>
                  </a:cubicBezTo>
                  <a:cubicBezTo>
                    <a:pt x="139" y="107"/>
                    <a:pt x="140" y="106"/>
                    <a:pt x="141" y="106"/>
                  </a:cubicBezTo>
                  <a:cubicBezTo>
                    <a:pt x="141" y="106"/>
                    <a:pt x="141" y="106"/>
                    <a:pt x="141" y="106"/>
                  </a:cubicBezTo>
                  <a:cubicBezTo>
                    <a:pt x="141" y="103"/>
                    <a:pt x="143" y="102"/>
                    <a:pt x="145" y="101"/>
                  </a:cubicBezTo>
                  <a:cubicBezTo>
                    <a:pt x="147" y="100"/>
                    <a:pt x="147" y="100"/>
                    <a:pt x="147" y="100"/>
                  </a:cubicBezTo>
                  <a:cubicBezTo>
                    <a:pt x="146" y="98"/>
                    <a:pt x="146" y="98"/>
                    <a:pt x="146" y="98"/>
                  </a:cubicBezTo>
                  <a:cubicBezTo>
                    <a:pt x="146" y="97"/>
                    <a:pt x="146" y="97"/>
                    <a:pt x="146" y="97"/>
                  </a:cubicBezTo>
                  <a:cubicBezTo>
                    <a:pt x="147" y="96"/>
                    <a:pt x="150" y="93"/>
                    <a:pt x="151" y="92"/>
                  </a:cubicBezTo>
                  <a:cubicBezTo>
                    <a:pt x="152" y="92"/>
                    <a:pt x="155" y="91"/>
                    <a:pt x="158" y="90"/>
                  </a:cubicBezTo>
                  <a:cubicBezTo>
                    <a:pt x="160" y="86"/>
                    <a:pt x="160" y="86"/>
                    <a:pt x="160" y="86"/>
                  </a:cubicBezTo>
                  <a:cubicBezTo>
                    <a:pt x="165" y="85"/>
                    <a:pt x="165" y="85"/>
                    <a:pt x="165" y="85"/>
                  </a:cubicBezTo>
                  <a:cubicBezTo>
                    <a:pt x="167" y="82"/>
                    <a:pt x="167" y="82"/>
                    <a:pt x="167" y="82"/>
                  </a:cubicBezTo>
                  <a:cubicBezTo>
                    <a:pt x="172" y="84"/>
                    <a:pt x="172" y="84"/>
                    <a:pt x="172" y="84"/>
                  </a:cubicBezTo>
                  <a:cubicBezTo>
                    <a:pt x="178" y="87"/>
                    <a:pt x="178" y="87"/>
                    <a:pt x="178" y="87"/>
                  </a:cubicBezTo>
                  <a:cubicBezTo>
                    <a:pt x="178" y="87"/>
                    <a:pt x="179" y="86"/>
                    <a:pt x="180" y="86"/>
                  </a:cubicBezTo>
                  <a:cubicBezTo>
                    <a:pt x="181" y="85"/>
                    <a:pt x="182" y="85"/>
                    <a:pt x="183" y="84"/>
                  </a:cubicBezTo>
                  <a:cubicBezTo>
                    <a:pt x="184" y="84"/>
                    <a:pt x="185" y="83"/>
                    <a:pt x="186" y="83"/>
                  </a:cubicBezTo>
                  <a:cubicBezTo>
                    <a:pt x="188" y="82"/>
                    <a:pt x="188" y="82"/>
                    <a:pt x="188" y="82"/>
                  </a:cubicBezTo>
                  <a:cubicBezTo>
                    <a:pt x="188" y="82"/>
                    <a:pt x="188" y="82"/>
                    <a:pt x="189" y="81"/>
                  </a:cubicBezTo>
                  <a:cubicBezTo>
                    <a:pt x="190" y="81"/>
                    <a:pt x="191" y="81"/>
                    <a:pt x="192" y="80"/>
                  </a:cubicBezTo>
                  <a:cubicBezTo>
                    <a:pt x="191" y="80"/>
                    <a:pt x="191" y="80"/>
                    <a:pt x="191" y="80"/>
                  </a:cubicBezTo>
                  <a:cubicBezTo>
                    <a:pt x="186" y="78"/>
                    <a:pt x="186" y="78"/>
                    <a:pt x="186" y="78"/>
                  </a:cubicBezTo>
                  <a:cubicBezTo>
                    <a:pt x="184" y="73"/>
                    <a:pt x="184" y="73"/>
                    <a:pt x="184" y="73"/>
                  </a:cubicBezTo>
                  <a:cubicBezTo>
                    <a:pt x="180" y="70"/>
                    <a:pt x="180" y="70"/>
                    <a:pt x="180" y="70"/>
                  </a:cubicBezTo>
                  <a:cubicBezTo>
                    <a:pt x="180" y="68"/>
                    <a:pt x="180" y="68"/>
                    <a:pt x="180" y="68"/>
                  </a:cubicBezTo>
                  <a:cubicBezTo>
                    <a:pt x="172" y="67"/>
                    <a:pt x="172" y="67"/>
                    <a:pt x="172" y="67"/>
                  </a:cubicBezTo>
                  <a:cubicBezTo>
                    <a:pt x="171" y="64"/>
                    <a:pt x="171" y="64"/>
                    <a:pt x="171" y="64"/>
                  </a:cubicBezTo>
                  <a:cubicBezTo>
                    <a:pt x="171" y="64"/>
                    <a:pt x="172" y="62"/>
                    <a:pt x="173" y="62"/>
                  </a:cubicBezTo>
                  <a:cubicBezTo>
                    <a:pt x="174" y="62"/>
                    <a:pt x="174" y="61"/>
                    <a:pt x="174" y="60"/>
                  </a:cubicBezTo>
                  <a:cubicBezTo>
                    <a:pt x="176" y="56"/>
                    <a:pt x="176" y="56"/>
                    <a:pt x="176" y="56"/>
                  </a:cubicBezTo>
                  <a:cubicBezTo>
                    <a:pt x="176" y="55"/>
                    <a:pt x="176" y="55"/>
                    <a:pt x="176" y="55"/>
                  </a:cubicBezTo>
                  <a:cubicBezTo>
                    <a:pt x="176" y="55"/>
                    <a:pt x="177" y="54"/>
                    <a:pt x="177" y="54"/>
                  </a:cubicBezTo>
                  <a:cubicBezTo>
                    <a:pt x="178" y="54"/>
                    <a:pt x="179" y="53"/>
                    <a:pt x="180" y="51"/>
                  </a:cubicBezTo>
                  <a:cubicBezTo>
                    <a:pt x="178" y="45"/>
                    <a:pt x="178" y="45"/>
                    <a:pt x="178" y="45"/>
                  </a:cubicBezTo>
                  <a:cubicBezTo>
                    <a:pt x="177" y="39"/>
                    <a:pt x="177" y="39"/>
                    <a:pt x="177" y="39"/>
                  </a:cubicBezTo>
                  <a:cubicBezTo>
                    <a:pt x="177" y="32"/>
                    <a:pt x="177" y="32"/>
                    <a:pt x="177" y="32"/>
                  </a:cubicBezTo>
                  <a:cubicBezTo>
                    <a:pt x="178" y="28"/>
                    <a:pt x="178" y="28"/>
                    <a:pt x="178" y="28"/>
                  </a:cubicBezTo>
                  <a:cubicBezTo>
                    <a:pt x="178" y="28"/>
                    <a:pt x="179" y="26"/>
                    <a:pt x="180" y="25"/>
                  </a:cubicBezTo>
                  <a:cubicBezTo>
                    <a:pt x="180" y="23"/>
                    <a:pt x="181" y="22"/>
                    <a:pt x="181" y="22"/>
                  </a:cubicBezTo>
                  <a:cubicBezTo>
                    <a:pt x="182" y="22"/>
                    <a:pt x="184" y="21"/>
                    <a:pt x="184" y="21"/>
                  </a:cubicBezTo>
                  <a:cubicBezTo>
                    <a:pt x="185" y="21"/>
                    <a:pt x="186" y="20"/>
                    <a:pt x="186" y="20"/>
                  </a:cubicBezTo>
                  <a:cubicBezTo>
                    <a:pt x="192" y="17"/>
                    <a:pt x="192" y="17"/>
                    <a:pt x="192" y="17"/>
                  </a:cubicBezTo>
                  <a:cubicBezTo>
                    <a:pt x="192" y="13"/>
                    <a:pt x="192" y="13"/>
                    <a:pt x="192" y="13"/>
                  </a:cubicBezTo>
                  <a:cubicBezTo>
                    <a:pt x="192" y="13"/>
                    <a:pt x="191" y="10"/>
                    <a:pt x="190" y="8"/>
                  </a:cubicBezTo>
                  <a:cubicBezTo>
                    <a:pt x="190" y="7"/>
                    <a:pt x="189" y="6"/>
                    <a:pt x="189" y="6"/>
                  </a:cubicBezTo>
                  <a:cubicBezTo>
                    <a:pt x="189" y="6"/>
                    <a:pt x="189" y="6"/>
                    <a:pt x="189" y="6"/>
                  </a:cubicBezTo>
                  <a:cubicBezTo>
                    <a:pt x="187" y="8"/>
                    <a:pt x="182" y="8"/>
                    <a:pt x="174" y="7"/>
                  </a:cubicBezTo>
                  <a:cubicBezTo>
                    <a:pt x="171" y="6"/>
                    <a:pt x="169" y="0"/>
                    <a:pt x="169" y="0"/>
                  </a:cubicBezTo>
                  <a:cubicBezTo>
                    <a:pt x="161" y="2"/>
                    <a:pt x="161" y="2"/>
                    <a:pt x="161" y="2"/>
                  </a:cubicBezTo>
                  <a:cubicBezTo>
                    <a:pt x="161" y="2"/>
                    <a:pt x="150" y="2"/>
                    <a:pt x="144" y="2"/>
                  </a:cubicBezTo>
                  <a:cubicBezTo>
                    <a:pt x="143" y="2"/>
                    <a:pt x="142" y="2"/>
                    <a:pt x="142" y="2"/>
                  </a:cubicBezTo>
                  <a:cubicBezTo>
                    <a:pt x="139" y="2"/>
                    <a:pt x="129" y="5"/>
                    <a:pt x="125" y="9"/>
                  </a:cubicBezTo>
                  <a:cubicBezTo>
                    <a:pt x="123" y="10"/>
                    <a:pt x="122" y="11"/>
                    <a:pt x="120" y="11"/>
                  </a:cubicBezTo>
                  <a:cubicBezTo>
                    <a:pt x="118" y="13"/>
                    <a:pt x="115" y="14"/>
                    <a:pt x="114" y="17"/>
                  </a:cubicBezTo>
                  <a:cubicBezTo>
                    <a:pt x="111" y="21"/>
                    <a:pt x="108" y="29"/>
                    <a:pt x="107" y="29"/>
                  </a:cubicBezTo>
                  <a:cubicBezTo>
                    <a:pt x="101" y="34"/>
                    <a:pt x="100" y="34"/>
                    <a:pt x="87" y="34"/>
                  </a:cubicBezTo>
                  <a:cubicBezTo>
                    <a:pt x="86" y="34"/>
                    <a:pt x="86" y="34"/>
                    <a:pt x="86" y="34"/>
                  </a:cubicBezTo>
                  <a:cubicBezTo>
                    <a:pt x="80" y="34"/>
                    <a:pt x="64" y="36"/>
                    <a:pt x="60" y="39"/>
                  </a:cubicBezTo>
                  <a:cubicBezTo>
                    <a:pt x="57" y="41"/>
                    <a:pt x="51" y="40"/>
                    <a:pt x="46" y="39"/>
                  </a:cubicBezTo>
                  <a:cubicBezTo>
                    <a:pt x="42" y="38"/>
                    <a:pt x="39" y="38"/>
                    <a:pt x="37" y="39"/>
                  </a:cubicBezTo>
                  <a:cubicBezTo>
                    <a:pt x="37" y="40"/>
                    <a:pt x="35" y="40"/>
                    <a:pt x="33" y="39"/>
                  </a:cubicBezTo>
                  <a:cubicBezTo>
                    <a:pt x="31" y="39"/>
                    <a:pt x="29" y="39"/>
                    <a:pt x="27" y="39"/>
                  </a:cubicBezTo>
                  <a:cubicBezTo>
                    <a:pt x="25" y="39"/>
                    <a:pt x="23" y="40"/>
                    <a:pt x="21" y="40"/>
                  </a:cubicBezTo>
                  <a:cubicBezTo>
                    <a:pt x="19" y="41"/>
                    <a:pt x="17" y="42"/>
                    <a:pt x="15" y="42"/>
                  </a:cubicBezTo>
                  <a:cubicBezTo>
                    <a:pt x="13" y="41"/>
                    <a:pt x="13" y="40"/>
                    <a:pt x="13" y="39"/>
                  </a:cubicBezTo>
                  <a:cubicBezTo>
                    <a:pt x="13" y="37"/>
                    <a:pt x="13" y="37"/>
                    <a:pt x="12" y="37"/>
                  </a:cubicBezTo>
                  <a:cubicBezTo>
                    <a:pt x="12" y="36"/>
                    <a:pt x="12" y="36"/>
                    <a:pt x="13" y="36"/>
                  </a:cubicBezTo>
                  <a:cubicBezTo>
                    <a:pt x="14" y="35"/>
                    <a:pt x="17" y="32"/>
                    <a:pt x="17" y="31"/>
                  </a:cubicBezTo>
                  <a:cubicBezTo>
                    <a:pt x="17" y="31"/>
                    <a:pt x="17" y="31"/>
                    <a:pt x="16" y="31"/>
                  </a:cubicBezTo>
                  <a:cubicBezTo>
                    <a:pt x="15" y="31"/>
                    <a:pt x="15" y="30"/>
                    <a:pt x="14" y="30"/>
                  </a:cubicBezTo>
                  <a:cubicBezTo>
                    <a:pt x="11" y="29"/>
                    <a:pt x="8" y="28"/>
                    <a:pt x="5" y="29"/>
                  </a:cubicBezTo>
                  <a:cubicBezTo>
                    <a:pt x="5" y="31"/>
                    <a:pt x="5" y="31"/>
                    <a:pt x="5" y="31"/>
                  </a:cubicBezTo>
                  <a:cubicBezTo>
                    <a:pt x="6" y="31"/>
                    <a:pt x="6" y="33"/>
                    <a:pt x="5" y="34"/>
                  </a:cubicBezTo>
                  <a:cubicBezTo>
                    <a:pt x="4" y="35"/>
                    <a:pt x="4" y="35"/>
                    <a:pt x="4" y="35"/>
                  </a:cubicBezTo>
                  <a:cubicBezTo>
                    <a:pt x="4" y="35"/>
                    <a:pt x="4" y="35"/>
                    <a:pt x="4" y="35"/>
                  </a:cubicBezTo>
                  <a:cubicBezTo>
                    <a:pt x="3" y="35"/>
                    <a:pt x="2" y="35"/>
                    <a:pt x="2" y="36"/>
                  </a:cubicBezTo>
                  <a:cubicBezTo>
                    <a:pt x="0" y="38"/>
                    <a:pt x="0" y="38"/>
                    <a:pt x="0" y="38"/>
                  </a:cubicBezTo>
                  <a:cubicBezTo>
                    <a:pt x="0" y="39"/>
                    <a:pt x="0" y="41"/>
                    <a:pt x="1" y="41"/>
                  </a:cubicBezTo>
                  <a:cubicBezTo>
                    <a:pt x="1" y="42"/>
                    <a:pt x="1" y="44"/>
                    <a:pt x="0" y="45"/>
                  </a:cubicBezTo>
                  <a:cubicBezTo>
                    <a:pt x="1" y="46"/>
                    <a:pt x="1" y="46"/>
                    <a:pt x="1" y="47"/>
                  </a:cubicBezTo>
                  <a:cubicBezTo>
                    <a:pt x="2" y="48"/>
                    <a:pt x="2" y="48"/>
                    <a:pt x="2" y="49"/>
                  </a:cubicBezTo>
                  <a:cubicBezTo>
                    <a:pt x="2" y="49"/>
                    <a:pt x="2" y="49"/>
                    <a:pt x="2" y="49"/>
                  </a:cubicBezTo>
                  <a:cubicBezTo>
                    <a:pt x="3" y="50"/>
                    <a:pt x="4" y="51"/>
                    <a:pt x="4" y="52"/>
                  </a:cubicBezTo>
                  <a:cubicBezTo>
                    <a:pt x="5" y="53"/>
                    <a:pt x="7" y="56"/>
                    <a:pt x="8" y="57"/>
                  </a:cubicBezTo>
                  <a:cubicBezTo>
                    <a:pt x="9" y="57"/>
                    <a:pt x="10" y="57"/>
                    <a:pt x="10" y="57"/>
                  </a:cubicBezTo>
                  <a:cubicBezTo>
                    <a:pt x="10" y="58"/>
                    <a:pt x="11" y="58"/>
                    <a:pt x="13" y="59"/>
                  </a:cubicBezTo>
                  <a:cubicBezTo>
                    <a:pt x="14" y="59"/>
                    <a:pt x="16" y="59"/>
                    <a:pt x="16" y="61"/>
                  </a:cubicBezTo>
                  <a:cubicBezTo>
                    <a:pt x="17" y="61"/>
                    <a:pt x="18" y="63"/>
                    <a:pt x="19" y="64"/>
                  </a:cubicBezTo>
                  <a:cubicBezTo>
                    <a:pt x="21" y="65"/>
                    <a:pt x="21" y="65"/>
                    <a:pt x="21" y="65"/>
                  </a:cubicBezTo>
                  <a:cubicBezTo>
                    <a:pt x="24" y="65"/>
                    <a:pt x="24" y="65"/>
                    <a:pt x="24" y="65"/>
                  </a:cubicBezTo>
                  <a:cubicBezTo>
                    <a:pt x="26" y="65"/>
                    <a:pt x="26" y="65"/>
                    <a:pt x="26" y="65"/>
                  </a:cubicBezTo>
                  <a:cubicBezTo>
                    <a:pt x="26" y="67"/>
                    <a:pt x="26" y="67"/>
                    <a:pt x="26" y="67"/>
                  </a:cubicBezTo>
                  <a:cubicBezTo>
                    <a:pt x="26" y="69"/>
                    <a:pt x="25" y="72"/>
                    <a:pt x="24" y="73"/>
                  </a:cubicBezTo>
                  <a:cubicBezTo>
                    <a:pt x="24" y="74"/>
                    <a:pt x="22" y="76"/>
                    <a:pt x="21" y="77"/>
                  </a:cubicBezTo>
                  <a:cubicBezTo>
                    <a:pt x="21" y="77"/>
                    <a:pt x="20" y="78"/>
                    <a:pt x="20" y="79"/>
                  </a:cubicBezTo>
                  <a:cubicBezTo>
                    <a:pt x="20" y="79"/>
                    <a:pt x="20" y="80"/>
                    <a:pt x="20" y="80"/>
                  </a:cubicBezTo>
                  <a:cubicBezTo>
                    <a:pt x="20" y="80"/>
                    <a:pt x="20" y="81"/>
                    <a:pt x="20" y="81"/>
                  </a:cubicBezTo>
                  <a:cubicBezTo>
                    <a:pt x="22" y="81"/>
                    <a:pt x="22" y="81"/>
                    <a:pt x="22" y="81"/>
                  </a:cubicBezTo>
                  <a:cubicBezTo>
                    <a:pt x="20" y="83"/>
                    <a:pt x="20" y="83"/>
                    <a:pt x="20" y="83"/>
                  </a:cubicBezTo>
                  <a:cubicBezTo>
                    <a:pt x="19" y="84"/>
                    <a:pt x="18" y="85"/>
                    <a:pt x="17" y="86"/>
                  </a:cubicBezTo>
                  <a:cubicBezTo>
                    <a:pt x="13" y="86"/>
                    <a:pt x="13" y="86"/>
                    <a:pt x="13" y="86"/>
                  </a:cubicBezTo>
                  <a:cubicBezTo>
                    <a:pt x="13" y="86"/>
                    <a:pt x="13" y="86"/>
                    <a:pt x="13" y="87"/>
                  </a:cubicBezTo>
                  <a:cubicBezTo>
                    <a:pt x="13" y="87"/>
                    <a:pt x="12" y="87"/>
                    <a:pt x="12" y="88"/>
                  </a:cubicBezTo>
                  <a:cubicBezTo>
                    <a:pt x="12" y="88"/>
                    <a:pt x="12" y="88"/>
                    <a:pt x="11" y="88"/>
                  </a:cubicBezTo>
                  <a:cubicBezTo>
                    <a:pt x="13" y="90"/>
                    <a:pt x="13" y="90"/>
                    <a:pt x="13" y="90"/>
                  </a:cubicBezTo>
                  <a:cubicBezTo>
                    <a:pt x="13" y="97"/>
                    <a:pt x="13" y="97"/>
                    <a:pt x="13" y="97"/>
                  </a:cubicBezTo>
                  <a:cubicBezTo>
                    <a:pt x="15" y="98"/>
                    <a:pt x="15" y="98"/>
                    <a:pt x="16" y="99"/>
                  </a:cubicBezTo>
                  <a:cubicBezTo>
                    <a:pt x="16" y="99"/>
                    <a:pt x="16" y="100"/>
                    <a:pt x="16" y="100"/>
                  </a:cubicBezTo>
                  <a:cubicBezTo>
                    <a:pt x="18" y="101"/>
                    <a:pt x="18" y="101"/>
                    <a:pt x="18" y="101"/>
                  </a:cubicBezTo>
                  <a:cubicBezTo>
                    <a:pt x="15" y="107"/>
                    <a:pt x="15" y="107"/>
                    <a:pt x="15" y="107"/>
                  </a:cubicBezTo>
                  <a:cubicBezTo>
                    <a:pt x="15" y="108"/>
                    <a:pt x="15" y="109"/>
                    <a:pt x="14" y="109"/>
                  </a:cubicBezTo>
                  <a:cubicBezTo>
                    <a:pt x="14" y="110"/>
                    <a:pt x="15" y="110"/>
                    <a:pt x="15" y="110"/>
                  </a:cubicBezTo>
                  <a:cubicBezTo>
                    <a:pt x="16" y="111"/>
                    <a:pt x="16" y="111"/>
                    <a:pt x="16" y="111"/>
                  </a:cubicBezTo>
                  <a:cubicBezTo>
                    <a:pt x="16" y="112"/>
                    <a:pt x="16" y="112"/>
                    <a:pt x="16" y="112"/>
                  </a:cubicBezTo>
                  <a:cubicBezTo>
                    <a:pt x="16" y="113"/>
                    <a:pt x="16" y="113"/>
                    <a:pt x="17" y="114"/>
                  </a:cubicBezTo>
                  <a:cubicBezTo>
                    <a:pt x="19" y="116"/>
                    <a:pt x="21" y="117"/>
                    <a:pt x="23" y="117"/>
                  </a:cubicBezTo>
                  <a:cubicBezTo>
                    <a:pt x="25" y="118"/>
                    <a:pt x="27" y="118"/>
                    <a:pt x="29" y="120"/>
                  </a:cubicBezTo>
                  <a:cubicBezTo>
                    <a:pt x="29" y="120"/>
                    <a:pt x="30" y="121"/>
                    <a:pt x="31" y="121"/>
                  </a:cubicBezTo>
                  <a:cubicBezTo>
                    <a:pt x="31" y="123"/>
                    <a:pt x="33" y="124"/>
                    <a:pt x="33" y="126"/>
                  </a:cubicBezTo>
                  <a:cubicBezTo>
                    <a:pt x="34" y="127"/>
                    <a:pt x="35" y="128"/>
                    <a:pt x="36" y="129"/>
                  </a:cubicBezTo>
                  <a:cubicBezTo>
                    <a:pt x="37" y="129"/>
                    <a:pt x="38" y="130"/>
                    <a:pt x="38" y="132"/>
                  </a:cubicBezTo>
                  <a:cubicBezTo>
                    <a:pt x="38" y="133"/>
                    <a:pt x="38" y="134"/>
                    <a:pt x="38" y="135"/>
                  </a:cubicBezTo>
                  <a:cubicBezTo>
                    <a:pt x="37" y="136"/>
                    <a:pt x="37" y="137"/>
                    <a:pt x="37" y="138"/>
                  </a:cubicBezTo>
                  <a:cubicBezTo>
                    <a:pt x="37" y="139"/>
                    <a:pt x="38" y="142"/>
                    <a:pt x="38" y="143"/>
                  </a:cubicBezTo>
                  <a:cubicBezTo>
                    <a:pt x="39" y="144"/>
                    <a:pt x="39" y="145"/>
                    <a:pt x="39" y="146"/>
                  </a:cubicBezTo>
                  <a:cubicBezTo>
                    <a:pt x="43" y="145"/>
                    <a:pt x="43" y="145"/>
                    <a:pt x="43" y="145"/>
                  </a:cubicBezTo>
                  <a:cubicBezTo>
                    <a:pt x="47" y="142"/>
                    <a:pt x="47" y="142"/>
                    <a:pt x="47" y="142"/>
                  </a:cubicBezTo>
                  <a:cubicBezTo>
                    <a:pt x="48" y="141"/>
                    <a:pt x="50" y="140"/>
                    <a:pt x="51" y="140"/>
                  </a:cubicBezTo>
                  <a:cubicBezTo>
                    <a:pt x="52" y="140"/>
                    <a:pt x="52" y="140"/>
                    <a:pt x="52" y="140"/>
                  </a:cubicBezTo>
                  <a:cubicBezTo>
                    <a:pt x="52" y="140"/>
                    <a:pt x="52" y="140"/>
                    <a:pt x="52" y="140"/>
                  </a:cubicBezTo>
                  <a:cubicBezTo>
                    <a:pt x="52" y="140"/>
                    <a:pt x="52" y="140"/>
                    <a:pt x="52" y="140"/>
                  </a:cubicBezTo>
                  <a:cubicBezTo>
                    <a:pt x="53" y="140"/>
                    <a:pt x="53" y="140"/>
                    <a:pt x="54" y="140"/>
                  </a:cubicBezTo>
                  <a:cubicBezTo>
                    <a:pt x="59" y="138"/>
                    <a:pt x="59" y="138"/>
                    <a:pt x="59" y="138"/>
                  </a:cubicBezTo>
                  <a:cubicBezTo>
                    <a:pt x="59" y="138"/>
                    <a:pt x="66" y="135"/>
                    <a:pt x="67" y="135"/>
                  </a:cubicBezTo>
                  <a:cubicBezTo>
                    <a:pt x="67" y="135"/>
                    <a:pt x="69" y="134"/>
                    <a:pt x="70" y="133"/>
                  </a:cubicBezTo>
                  <a:cubicBezTo>
                    <a:pt x="72" y="131"/>
                    <a:pt x="72" y="131"/>
                    <a:pt x="72" y="131"/>
                  </a:cubicBezTo>
                  <a:cubicBezTo>
                    <a:pt x="72" y="130"/>
                    <a:pt x="75" y="128"/>
                    <a:pt x="77" y="128"/>
                  </a:cubicBezTo>
                  <a:cubicBezTo>
                    <a:pt x="79" y="128"/>
                    <a:pt x="80" y="128"/>
                    <a:pt x="80" y="128"/>
                  </a:cubicBezTo>
                  <a:cubicBezTo>
                    <a:pt x="81" y="127"/>
                    <a:pt x="81" y="126"/>
                    <a:pt x="83" y="126"/>
                  </a:cubicBezTo>
                  <a:cubicBezTo>
                    <a:pt x="83" y="126"/>
                    <a:pt x="87" y="125"/>
                    <a:pt x="88" y="125"/>
                  </a:cubicBezTo>
                  <a:cubicBezTo>
                    <a:pt x="90" y="125"/>
                    <a:pt x="90" y="125"/>
                    <a:pt x="90" y="125"/>
                  </a:cubicBezTo>
                  <a:cubicBezTo>
                    <a:pt x="93" y="129"/>
                    <a:pt x="93" y="129"/>
                    <a:pt x="93" y="129"/>
                  </a:cubicBezTo>
                  <a:cubicBezTo>
                    <a:pt x="95" y="131"/>
                    <a:pt x="96" y="131"/>
                    <a:pt x="97" y="132"/>
                  </a:cubicBezTo>
                  <a:cubicBezTo>
                    <a:pt x="98" y="131"/>
                    <a:pt x="101" y="129"/>
                    <a:pt x="101" y="129"/>
                  </a:cubicBezTo>
                  <a:cubicBezTo>
                    <a:pt x="110" y="131"/>
                    <a:pt x="110" y="131"/>
                    <a:pt x="110" y="131"/>
                  </a:cubicBezTo>
                  <a:cubicBezTo>
                    <a:pt x="116" y="133"/>
                    <a:pt x="116" y="133"/>
                    <a:pt x="116" y="133"/>
                  </a:cubicBezTo>
                  <a:cubicBezTo>
                    <a:pt x="118" y="132"/>
                    <a:pt x="118" y="132"/>
                    <a:pt x="118" y="132"/>
                  </a:cubicBezTo>
                  <a:cubicBezTo>
                    <a:pt x="121" y="130"/>
                    <a:pt x="121" y="130"/>
                    <a:pt x="121" y="130"/>
                  </a:cubicBezTo>
                  <a:cubicBezTo>
                    <a:pt x="122" y="130"/>
                    <a:pt x="127" y="128"/>
                    <a:pt x="127" y="128"/>
                  </a:cubicBezTo>
                  <a:cubicBezTo>
                    <a:pt x="128" y="128"/>
                    <a:pt x="128" y="128"/>
                    <a:pt x="128" y="128"/>
                  </a:cubicBezTo>
                  <a:cubicBezTo>
                    <a:pt x="130" y="128"/>
                    <a:pt x="132" y="127"/>
                    <a:pt x="133" y="127"/>
                  </a:cubicBezTo>
                  <a:cubicBezTo>
                    <a:pt x="133" y="127"/>
                    <a:pt x="133" y="127"/>
                    <a:pt x="134" y="126"/>
                  </a:cubicBezTo>
                  <a:cubicBezTo>
                    <a:pt x="136" y="125"/>
                    <a:pt x="136" y="125"/>
                    <a:pt x="137" y="125"/>
                  </a:cubicBezTo>
                  <a:cubicBezTo>
                    <a:pt x="137" y="124"/>
                    <a:pt x="138" y="124"/>
                    <a:pt x="138" y="124"/>
                  </a:cubicBezTo>
                  <a:cubicBezTo>
                    <a:pt x="139" y="124"/>
                    <a:pt x="139" y="124"/>
                    <a:pt x="140" y="123"/>
                  </a:cubicBezTo>
                  <a:cubicBezTo>
                    <a:pt x="141" y="123"/>
                    <a:pt x="141" y="122"/>
                    <a:pt x="141" y="121"/>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2" name="Freeform 207"/>
            <p:cNvSpPr>
              <a:spLocks/>
            </p:cNvSpPr>
            <p:nvPr/>
          </p:nvSpPr>
          <p:spPr bwMode="auto">
            <a:xfrm>
              <a:off x="8529773" y="4655164"/>
              <a:ext cx="394251" cy="261427"/>
            </a:xfrm>
            <a:custGeom>
              <a:avLst/>
              <a:gdLst>
                <a:gd name="T0" fmla="*/ 128 w 136"/>
                <a:gd name="T1" fmla="*/ 81 h 96"/>
                <a:gd name="T2" fmla="*/ 132 w 136"/>
                <a:gd name="T3" fmla="*/ 75 h 96"/>
                <a:gd name="T4" fmla="*/ 124 w 136"/>
                <a:gd name="T5" fmla="*/ 69 h 96"/>
                <a:gd name="T6" fmla="*/ 127 w 136"/>
                <a:gd name="T7" fmla="*/ 63 h 96"/>
                <a:gd name="T8" fmla="*/ 119 w 136"/>
                <a:gd name="T9" fmla="*/ 61 h 96"/>
                <a:gd name="T10" fmla="*/ 109 w 136"/>
                <a:gd name="T11" fmla="*/ 61 h 96"/>
                <a:gd name="T12" fmla="*/ 98 w 136"/>
                <a:gd name="T13" fmla="*/ 55 h 96"/>
                <a:gd name="T14" fmla="*/ 88 w 136"/>
                <a:gd name="T15" fmla="*/ 52 h 96"/>
                <a:gd name="T16" fmla="*/ 98 w 136"/>
                <a:gd name="T17" fmla="*/ 47 h 96"/>
                <a:gd name="T18" fmla="*/ 100 w 136"/>
                <a:gd name="T19" fmla="*/ 41 h 96"/>
                <a:gd name="T20" fmla="*/ 93 w 136"/>
                <a:gd name="T21" fmla="*/ 37 h 96"/>
                <a:gd name="T22" fmla="*/ 82 w 136"/>
                <a:gd name="T23" fmla="*/ 32 h 96"/>
                <a:gd name="T24" fmla="*/ 73 w 136"/>
                <a:gd name="T25" fmla="*/ 23 h 96"/>
                <a:gd name="T26" fmla="*/ 77 w 136"/>
                <a:gd name="T27" fmla="*/ 17 h 96"/>
                <a:gd name="T28" fmla="*/ 75 w 136"/>
                <a:gd name="T29" fmla="*/ 14 h 96"/>
                <a:gd name="T30" fmla="*/ 70 w 136"/>
                <a:gd name="T31" fmla="*/ 9 h 96"/>
                <a:gd name="T32" fmla="*/ 63 w 136"/>
                <a:gd name="T33" fmla="*/ 10 h 96"/>
                <a:gd name="T34" fmla="*/ 56 w 136"/>
                <a:gd name="T35" fmla="*/ 9 h 96"/>
                <a:gd name="T36" fmla="*/ 57 w 136"/>
                <a:gd name="T37" fmla="*/ 3 h 96"/>
                <a:gd name="T38" fmla="*/ 51 w 136"/>
                <a:gd name="T39" fmla="*/ 1 h 96"/>
                <a:gd name="T40" fmla="*/ 44 w 136"/>
                <a:gd name="T41" fmla="*/ 3 h 96"/>
                <a:gd name="T42" fmla="*/ 40 w 136"/>
                <a:gd name="T43" fmla="*/ 7 h 96"/>
                <a:gd name="T44" fmla="*/ 36 w 136"/>
                <a:gd name="T45" fmla="*/ 9 h 96"/>
                <a:gd name="T46" fmla="*/ 30 w 136"/>
                <a:gd name="T47" fmla="*/ 11 h 96"/>
                <a:gd name="T48" fmla="*/ 24 w 136"/>
                <a:gd name="T49" fmla="*/ 11 h 96"/>
                <a:gd name="T50" fmla="*/ 19 w 136"/>
                <a:gd name="T51" fmla="*/ 15 h 96"/>
                <a:gd name="T52" fmla="*/ 12 w 136"/>
                <a:gd name="T53" fmla="*/ 21 h 96"/>
                <a:gd name="T54" fmla="*/ 2 w 136"/>
                <a:gd name="T55" fmla="*/ 27 h 96"/>
                <a:gd name="T56" fmla="*/ 8 w 136"/>
                <a:gd name="T57" fmla="*/ 28 h 96"/>
                <a:gd name="T58" fmla="*/ 13 w 136"/>
                <a:gd name="T59" fmla="*/ 30 h 96"/>
                <a:gd name="T60" fmla="*/ 18 w 136"/>
                <a:gd name="T61" fmla="*/ 39 h 96"/>
                <a:gd name="T62" fmla="*/ 15 w 136"/>
                <a:gd name="T63" fmla="*/ 51 h 96"/>
                <a:gd name="T64" fmla="*/ 18 w 136"/>
                <a:gd name="T65" fmla="*/ 56 h 96"/>
                <a:gd name="T66" fmla="*/ 23 w 136"/>
                <a:gd name="T67" fmla="*/ 65 h 96"/>
                <a:gd name="T68" fmla="*/ 31 w 136"/>
                <a:gd name="T69" fmla="*/ 65 h 96"/>
                <a:gd name="T70" fmla="*/ 40 w 136"/>
                <a:gd name="T71" fmla="*/ 62 h 96"/>
                <a:gd name="T72" fmla="*/ 49 w 136"/>
                <a:gd name="T73" fmla="*/ 62 h 96"/>
                <a:gd name="T74" fmla="*/ 57 w 136"/>
                <a:gd name="T75" fmla="*/ 66 h 96"/>
                <a:gd name="T76" fmla="*/ 60 w 136"/>
                <a:gd name="T77" fmla="*/ 70 h 96"/>
                <a:gd name="T78" fmla="*/ 71 w 136"/>
                <a:gd name="T79" fmla="*/ 68 h 96"/>
                <a:gd name="T80" fmla="*/ 78 w 136"/>
                <a:gd name="T81" fmla="*/ 73 h 96"/>
                <a:gd name="T82" fmla="*/ 88 w 136"/>
                <a:gd name="T83" fmla="*/ 75 h 96"/>
                <a:gd name="T84" fmla="*/ 102 w 136"/>
                <a:gd name="T85" fmla="*/ 68 h 96"/>
                <a:gd name="T86" fmla="*/ 105 w 136"/>
                <a:gd name="T87" fmla="*/ 78 h 96"/>
                <a:gd name="T88" fmla="*/ 113 w 136"/>
                <a:gd name="T89" fmla="*/ 83 h 96"/>
                <a:gd name="T90" fmla="*/ 124 w 136"/>
                <a:gd name="T91" fmla="*/ 96 h 96"/>
                <a:gd name="T92" fmla="*/ 133 w 136"/>
                <a:gd name="T93" fmla="*/ 92 h 96"/>
                <a:gd name="T94" fmla="*/ 133 w 136"/>
                <a:gd name="T95" fmla="*/ 8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6" h="96">
                  <a:moveTo>
                    <a:pt x="133" y="83"/>
                  </a:moveTo>
                  <a:cubicBezTo>
                    <a:pt x="133" y="83"/>
                    <a:pt x="132" y="82"/>
                    <a:pt x="132" y="81"/>
                  </a:cubicBezTo>
                  <a:cubicBezTo>
                    <a:pt x="131" y="80"/>
                    <a:pt x="131" y="81"/>
                    <a:pt x="131" y="81"/>
                  </a:cubicBezTo>
                  <a:cubicBezTo>
                    <a:pt x="128" y="81"/>
                    <a:pt x="128" y="81"/>
                    <a:pt x="128" y="81"/>
                  </a:cubicBezTo>
                  <a:cubicBezTo>
                    <a:pt x="127" y="78"/>
                    <a:pt x="127" y="78"/>
                    <a:pt x="127" y="78"/>
                  </a:cubicBezTo>
                  <a:cubicBezTo>
                    <a:pt x="127" y="78"/>
                    <a:pt x="130" y="79"/>
                    <a:pt x="131" y="78"/>
                  </a:cubicBezTo>
                  <a:cubicBezTo>
                    <a:pt x="132" y="78"/>
                    <a:pt x="135" y="76"/>
                    <a:pt x="135" y="76"/>
                  </a:cubicBezTo>
                  <a:cubicBezTo>
                    <a:pt x="135" y="76"/>
                    <a:pt x="133" y="75"/>
                    <a:pt x="132" y="75"/>
                  </a:cubicBezTo>
                  <a:cubicBezTo>
                    <a:pt x="132" y="75"/>
                    <a:pt x="131" y="73"/>
                    <a:pt x="131" y="73"/>
                  </a:cubicBezTo>
                  <a:cubicBezTo>
                    <a:pt x="129" y="71"/>
                    <a:pt x="129" y="71"/>
                    <a:pt x="129" y="71"/>
                  </a:cubicBezTo>
                  <a:cubicBezTo>
                    <a:pt x="126" y="70"/>
                    <a:pt x="126" y="70"/>
                    <a:pt x="126" y="70"/>
                  </a:cubicBezTo>
                  <a:cubicBezTo>
                    <a:pt x="126" y="70"/>
                    <a:pt x="125" y="70"/>
                    <a:pt x="124" y="69"/>
                  </a:cubicBezTo>
                  <a:cubicBezTo>
                    <a:pt x="124" y="69"/>
                    <a:pt x="124" y="68"/>
                    <a:pt x="124" y="68"/>
                  </a:cubicBezTo>
                  <a:cubicBezTo>
                    <a:pt x="125" y="67"/>
                    <a:pt x="125" y="67"/>
                    <a:pt x="125" y="67"/>
                  </a:cubicBezTo>
                  <a:cubicBezTo>
                    <a:pt x="127" y="65"/>
                    <a:pt x="127" y="65"/>
                    <a:pt x="127" y="65"/>
                  </a:cubicBezTo>
                  <a:cubicBezTo>
                    <a:pt x="127" y="63"/>
                    <a:pt x="127" y="63"/>
                    <a:pt x="127" y="63"/>
                  </a:cubicBezTo>
                  <a:cubicBezTo>
                    <a:pt x="127" y="60"/>
                    <a:pt x="127" y="60"/>
                    <a:pt x="127" y="60"/>
                  </a:cubicBezTo>
                  <a:cubicBezTo>
                    <a:pt x="125" y="61"/>
                    <a:pt x="125" y="61"/>
                    <a:pt x="125" y="61"/>
                  </a:cubicBezTo>
                  <a:cubicBezTo>
                    <a:pt x="125" y="61"/>
                    <a:pt x="122" y="62"/>
                    <a:pt x="121" y="61"/>
                  </a:cubicBezTo>
                  <a:cubicBezTo>
                    <a:pt x="119" y="59"/>
                    <a:pt x="120" y="61"/>
                    <a:pt x="119" y="61"/>
                  </a:cubicBezTo>
                  <a:cubicBezTo>
                    <a:pt x="118" y="62"/>
                    <a:pt x="116" y="63"/>
                    <a:pt x="116" y="63"/>
                  </a:cubicBezTo>
                  <a:cubicBezTo>
                    <a:pt x="116" y="63"/>
                    <a:pt x="115" y="64"/>
                    <a:pt x="114" y="64"/>
                  </a:cubicBezTo>
                  <a:cubicBezTo>
                    <a:pt x="113" y="64"/>
                    <a:pt x="113" y="61"/>
                    <a:pt x="113" y="61"/>
                  </a:cubicBezTo>
                  <a:cubicBezTo>
                    <a:pt x="109" y="61"/>
                    <a:pt x="109" y="61"/>
                    <a:pt x="109" y="61"/>
                  </a:cubicBezTo>
                  <a:cubicBezTo>
                    <a:pt x="106" y="58"/>
                    <a:pt x="106" y="58"/>
                    <a:pt x="106" y="58"/>
                  </a:cubicBezTo>
                  <a:cubicBezTo>
                    <a:pt x="101" y="57"/>
                    <a:pt x="101" y="57"/>
                    <a:pt x="101" y="57"/>
                  </a:cubicBezTo>
                  <a:cubicBezTo>
                    <a:pt x="99" y="57"/>
                    <a:pt x="99" y="57"/>
                    <a:pt x="99" y="57"/>
                  </a:cubicBezTo>
                  <a:cubicBezTo>
                    <a:pt x="98" y="55"/>
                    <a:pt x="98" y="55"/>
                    <a:pt x="98" y="55"/>
                  </a:cubicBezTo>
                  <a:cubicBezTo>
                    <a:pt x="98" y="55"/>
                    <a:pt x="96" y="54"/>
                    <a:pt x="96" y="53"/>
                  </a:cubicBezTo>
                  <a:cubicBezTo>
                    <a:pt x="95" y="53"/>
                    <a:pt x="94" y="53"/>
                    <a:pt x="93" y="54"/>
                  </a:cubicBezTo>
                  <a:cubicBezTo>
                    <a:pt x="93" y="54"/>
                    <a:pt x="92" y="54"/>
                    <a:pt x="90" y="53"/>
                  </a:cubicBezTo>
                  <a:cubicBezTo>
                    <a:pt x="88" y="53"/>
                    <a:pt x="88" y="52"/>
                    <a:pt x="88" y="52"/>
                  </a:cubicBezTo>
                  <a:cubicBezTo>
                    <a:pt x="88" y="52"/>
                    <a:pt x="89" y="50"/>
                    <a:pt x="89" y="50"/>
                  </a:cubicBezTo>
                  <a:cubicBezTo>
                    <a:pt x="90" y="49"/>
                    <a:pt x="91" y="49"/>
                    <a:pt x="91" y="49"/>
                  </a:cubicBezTo>
                  <a:cubicBezTo>
                    <a:pt x="92" y="49"/>
                    <a:pt x="94" y="48"/>
                    <a:pt x="96" y="48"/>
                  </a:cubicBezTo>
                  <a:cubicBezTo>
                    <a:pt x="97" y="47"/>
                    <a:pt x="97" y="47"/>
                    <a:pt x="98" y="47"/>
                  </a:cubicBezTo>
                  <a:cubicBezTo>
                    <a:pt x="99" y="47"/>
                    <a:pt x="99" y="46"/>
                    <a:pt x="99" y="46"/>
                  </a:cubicBezTo>
                  <a:cubicBezTo>
                    <a:pt x="99" y="46"/>
                    <a:pt x="99" y="43"/>
                    <a:pt x="99" y="43"/>
                  </a:cubicBezTo>
                  <a:cubicBezTo>
                    <a:pt x="99" y="42"/>
                    <a:pt x="99" y="42"/>
                    <a:pt x="100" y="42"/>
                  </a:cubicBezTo>
                  <a:cubicBezTo>
                    <a:pt x="100" y="41"/>
                    <a:pt x="100" y="41"/>
                    <a:pt x="100" y="41"/>
                  </a:cubicBezTo>
                  <a:cubicBezTo>
                    <a:pt x="100" y="41"/>
                    <a:pt x="99" y="39"/>
                    <a:pt x="99" y="38"/>
                  </a:cubicBezTo>
                  <a:cubicBezTo>
                    <a:pt x="98" y="36"/>
                    <a:pt x="98" y="37"/>
                    <a:pt x="98" y="37"/>
                  </a:cubicBezTo>
                  <a:cubicBezTo>
                    <a:pt x="96" y="37"/>
                    <a:pt x="96" y="37"/>
                    <a:pt x="96" y="37"/>
                  </a:cubicBezTo>
                  <a:cubicBezTo>
                    <a:pt x="96" y="37"/>
                    <a:pt x="94" y="37"/>
                    <a:pt x="93" y="37"/>
                  </a:cubicBezTo>
                  <a:cubicBezTo>
                    <a:pt x="93" y="37"/>
                    <a:pt x="91" y="37"/>
                    <a:pt x="91" y="37"/>
                  </a:cubicBezTo>
                  <a:cubicBezTo>
                    <a:pt x="89" y="34"/>
                    <a:pt x="89" y="34"/>
                    <a:pt x="89" y="34"/>
                  </a:cubicBezTo>
                  <a:cubicBezTo>
                    <a:pt x="89" y="34"/>
                    <a:pt x="87" y="34"/>
                    <a:pt x="85" y="34"/>
                  </a:cubicBezTo>
                  <a:cubicBezTo>
                    <a:pt x="84" y="34"/>
                    <a:pt x="82" y="32"/>
                    <a:pt x="82" y="32"/>
                  </a:cubicBezTo>
                  <a:cubicBezTo>
                    <a:pt x="77" y="29"/>
                    <a:pt x="77" y="29"/>
                    <a:pt x="77" y="29"/>
                  </a:cubicBezTo>
                  <a:cubicBezTo>
                    <a:pt x="76" y="27"/>
                    <a:pt x="76" y="27"/>
                    <a:pt x="76" y="27"/>
                  </a:cubicBezTo>
                  <a:cubicBezTo>
                    <a:pt x="75" y="27"/>
                    <a:pt x="75" y="27"/>
                    <a:pt x="75" y="27"/>
                  </a:cubicBezTo>
                  <a:cubicBezTo>
                    <a:pt x="75" y="27"/>
                    <a:pt x="73" y="24"/>
                    <a:pt x="73" y="23"/>
                  </a:cubicBezTo>
                  <a:cubicBezTo>
                    <a:pt x="73" y="23"/>
                    <a:pt x="73" y="23"/>
                    <a:pt x="73" y="22"/>
                  </a:cubicBezTo>
                  <a:cubicBezTo>
                    <a:pt x="74" y="22"/>
                    <a:pt x="74" y="21"/>
                    <a:pt x="74" y="20"/>
                  </a:cubicBezTo>
                  <a:cubicBezTo>
                    <a:pt x="74" y="20"/>
                    <a:pt x="75" y="19"/>
                    <a:pt x="75" y="18"/>
                  </a:cubicBezTo>
                  <a:cubicBezTo>
                    <a:pt x="75" y="18"/>
                    <a:pt x="76" y="18"/>
                    <a:pt x="77" y="17"/>
                  </a:cubicBezTo>
                  <a:cubicBezTo>
                    <a:pt x="77" y="17"/>
                    <a:pt x="78" y="17"/>
                    <a:pt x="78" y="16"/>
                  </a:cubicBezTo>
                  <a:cubicBezTo>
                    <a:pt x="78" y="16"/>
                    <a:pt x="79" y="15"/>
                    <a:pt x="79" y="14"/>
                  </a:cubicBezTo>
                  <a:cubicBezTo>
                    <a:pt x="79" y="13"/>
                    <a:pt x="77" y="14"/>
                    <a:pt x="76" y="13"/>
                  </a:cubicBezTo>
                  <a:cubicBezTo>
                    <a:pt x="75" y="13"/>
                    <a:pt x="76" y="14"/>
                    <a:pt x="75" y="14"/>
                  </a:cubicBezTo>
                  <a:cubicBezTo>
                    <a:pt x="75" y="14"/>
                    <a:pt x="74" y="13"/>
                    <a:pt x="73" y="12"/>
                  </a:cubicBezTo>
                  <a:cubicBezTo>
                    <a:pt x="73" y="12"/>
                    <a:pt x="72" y="11"/>
                    <a:pt x="71" y="11"/>
                  </a:cubicBezTo>
                  <a:cubicBezTo>
                    <a:pt x="70" y="11"/>
                    <a:pt x="70" y="11"/>
                    <a:pt x="70" y="10"/>
                  </a:cubicBezTo>
                  <a:cubicBezTo>
                    <a:pt x="70" y="9"/>
                    <a:pt x="70" y="9"/>
                    <a:pt x="70" y="9"/>
                  </a:cubicBezTo>
                  <a:cubicBezTo>
                    <a:pt x="70" y="9"/>
                    <a:pt x="69" y="8"/>
                    <a:pt x="69" y="8"/>
                  </a:cubicBezTo>
                  <a:cubicBezTo>
                    <a:pt x="69" y="8"/>
                    <a:pt x="67" y="10"/>
                    <a:pt x="67" y="10"/>
                  </a:cubicBezTo>
                  <a:cubicBezTo>
                    <a:pt x="66" y="10"/>
                    <a:pt x="66" y="9"/>
                    <a:pt x="65" y="9"/>
                  </a:cubicBezTo>
                  <a:cubicBezTo>
                    <a:pt x="65" y="9"/>
                    <a:pt x="64" y="10"/>
                    <a:pt x="63" y="10"/>
                  </a:cubicBezTo>
                  <a:cubicBezTo>
                    <a:pt x="63" y="10"/>
                    <a:pt x="61" y="9"/>
                    <a:pt x="61" y="9"/>
                  </a:cubicBezTo>
                  <a:cubicBezTo>
                    <a:pt x="61" y="9"/>
                    <a:pt x="59" y="8"/>
                    <a:pt x="59" y="8"/>
                  </a:cubicBezTo>
                  <a:cubicBezTo>
                    <a:pt x="59" y="8"/>
                    <a:pt x="59" y="9"/>
                    <a:pt x="58" y="9"/>
                  </a:cubicBezTo>
                  <a:cubicBezTo>
                    <a:pt x="57" y="10"/>
                    <a:pt x="57" y="9"/>
                    <a:pt x="56" y="9"/>
                  </a:cubicBezTo>
                  <a:cubicBezTo>
                    <a:pt x="56" y="9"/>
                    <a:pt x="56" y="8"/>
                    <a:pt x="56" y="8"/>
                  </a:cubicBezTo>
                  <a:cubicBezTo>
                    <a:pt x="59" y="7"/>
                    <a:pt x="59" y="7"/>
                    <a:pt x="59" y="7"/>
                  </a:cubicBezTo>
                  <a:cubicBezTo>
                    <a:pt x="60" y="5"/>
                    <a:pt x="60" y="5"/>
                    <a:pt x="60" y="5"/>
                  </a:cubicBezTo>
                  <a:cubicBezTo>
                    <a:pt x="60" y="5"/>
                    <a:pt x="58" y="4"/>
                    <a:pt x="57" y="3"/>
                  </a:cubicBezTo>
                  <a:cubicBezTo>
                    <a:pt x="57" y="3"/>
                    <a:pt x="56" y="4"/>
                    <a:pt x="56" y="4"/>
                  </a:cubicBezTo>
                  <a:cubicBezTo>
                    <a:pt x="53" y="4"/>
                    <a:pt x="53" y="4"/>
                    <a:pt x="53" y="4"/>
                  </a:cubicBezTo>
                  <a:cubicBezTo>
                    <a:pt x="54" y="2"/>
                    <a:pt x="54" y="2"/>
                    <a:pt x="54" y="2"/>
                  </a:cubicBezTo>
                  <a:cubicBezTo>
                    <a:pt x="54" y="2"/>
                    <a:pt x="52" y="0"/>
                    <a:pt x="51" y="1"/>
                  </a:cubicBezTo>
                  <a:cubicBezTo>
                    <a:pt x="51" y="1"/>
                    <a:pt x="50" y="1"/>
                    <a:pt x="49" y="2"/>
                  </a:cubicBezTo>
                  <a:cubicBezTo>
                    <a:pt x="48" y="2"/>
                    <a:pt x="48" y="3"/>
                    <a:pt x="48" y="3"/>
                  </a:cubicBezTo>
                  <a:cubicBezTo>
                    <a:pt x="48" y="3"/>
                    <a:pt x="47" y="3"/>
                    <a:pt x="45" y="2"/>
                  </a:cubicBezTo>
                  <a:cubicBezTo>
                    <a:pt x="42" y="2"/>
                    <a:pt x="44" y="3"/>
                    <a:pt x="44" y="3"/>
                  </a:cubicBezTo>
                  <a:cubicBezTo>
                    <a:pt x="44" y="3"/>
                    <a:pt x="47" y="5"/>
                    <a:pt x="47" y="5"/>
                  </a:cubicBezTo>
                  <a:cubicBezTo>
                    <a:pt x="47" y="5"/>
                    <a:pt x="46" y="6"/>
                    <a:pt x="46" y="6"/>
                  </a:cubicBezTo>
                  <a:cubicBezTo>
                    <a:pt x="45" y="6"/>
                    <a:pt x="44" y="6"/>
                    <a:pt x="43" y="7"/>
                  </a:cubicBezTo>
                  <a:cubicBezTo>
                    <a:pt x="41" y="7"/>
                    <a:pt x="41" y="7"/>
                    <a:pt x="40" y="7"/>
                  </a:cubicBezTo>
                  <a:cubicBezTo>
                    <a:pt x="38" y="7"/>
                    <a:pt x="39" y="7"/>
                    <a:pt x="39" y="7"/>
                  </a:cubicBezTo>
                  <a:cubicBezTo>
                    <a:pt x="39" y="7"/>
                    <a:pt x="38" y="9"/>
                    <a:pt x="37" y="9"/>
                  </a:cubicBezTo>
                  <a:cubicBezTo>
                    <a:pt x="37" y="10"/>
                    <a:pt x="37" y="9"/>
                    <a:pt x="37" y="9"/>
                  </a:cubicBezTo>
                  <a:cubicBezTo>
                    <a:pt x="36" y="9"/>
                    <a:pt x="36" y="9"/>
                    <a:pt x="36" y="9"/>
                  </a:cubicBezTo>
                  <a:cubicBezTo>
                    <a:pt x="35" y="9"/>
                    <a:pt x="35" y="10"/>
                    <a:pt x="35" y="10"/>
                  </a:cubicBezTo>
                  <a:cubicBezTo>
                    <a:pt x="35" y="10"/>
                    <a:pt x="33" y="10"/>
                    <a:pt x="33" y="10"/>
                  </a:cubicBezTo>
                  <a:cubicBezTo>
                    <a:pt x="32" y="10"/>
                    <a:pt x="31" y="10"/>
                    <a:pt x="31" y="10"/>
                  </a:cubicBezTo>
                  <a:cubicBezTo>
                    <a:pt x="30" y="10"/>
                    <a:pt x="30" y="11"/>
                    <a:pt x="30" y="11"/>
                  </a:cubicBezTo>
                  <a:cubicBezTo>
                    <a:pt x="30" y="11"/>
                    <a:pt x="29" y="11"/>
                    <a:pt x="28" y="12"/>
                  </a:cubicBezTo>
                  <a:cubicBezTo>
                    <a:pt x="28" y="12"/>
                    <a:pt x="26" y="12"/>
                    <a:pt x="26" y="12"/>
                  </a:cubicBezTo>
                  <a:cubicBezTo>
                    <a:pt x="26" y="12"/>
                    <a:pt x="25" y="11"/>
                    <a:pt x="25" y="11"/>
                  </a:cubicBezTo>
                  <a:cubicBezTo>
                    <a:pt x="24" y="11"/>
                    <a:pt x="24" y="11"/>
                    <a:pt x="24" y="11"/>
                  </a:cubicBezTo>
                  <a:cubicBezTo>
                    <a:pt x="24" y="11"/>
                    <a:pt x="24" y="13"/>
                    <a:pt x="23" y="13"/>
                  </a:cubicBezTo>
                  <a:cubicBezTo>
                    <a:pt x="23" y="14"/>
                    <a:pt x="23" y="14"/>
                    <a:pt x="22" y="14"/>
                  </a:cubicBezTo>
                  <a:cubicBezTo>
                    <a:pt x="21" y="14"/>
                    <a:pt x="21" y="15"/>
                    <a:pt x="20" y="15"/>
                  </a:cubicBezTo>
                  <a:cubicBezTo>
                    <a:pt x="20" y="15"/>
                    <a:pt x="19" y="15"/>
                    <a:pt x="19" y="15"/>
                  </a:cubicBezTo>
                  <a:cubicBezTo>
                    <a:pt x="19" y="15"/>
                    <a:pt x="19" y="17"/>
                    <a:pt x="18" y="17"/>
                  </a:cubicBezTo>
                  <a:cubicBezTo>
                    <a:pt x="18" y="17"/>
                    <a:pt x="16" y="17"/>
                    <a:pt x="16" y="18"/>
                  </a:cubicBezTo>
                  <a:cubicBezTo>
                    <a:pt x="15" y="18"/>
                    <a:pt x="14" y="19"/>
                    <a:pt x="14" y="19"/>
                  </a:cubicBezTo>
                  <a:cubicBezTo>
                    <a:pt x="12" y="21"/>
                    <a:pt x="12" y="21"/>
                    <a:pt x="12" y="21"/>
                  </a:cubicBezTo>
                  <a:cubicBezTo>
                    <a:pt x="12" y="21"/>
                    <a:pt x="7" y="22"/>
                    <a:pt x="6" y="22"/>
                  </a:cubicBezTo>
                  <a:cubicBezTo>
                    <a:pt x="5" y="23"/>
                    <a:pt x="3" y="23"/>
                    <a:pt x="3" y="23"/>
                  </a:cubicBezTo>
                  <a:cubicBezTo>
                    <a:pt x="0" y="25"/>
                    <a:pt x="0" y="25"/>
                    <a:pt x="0" y="25"/>
                  </a:cubicBezTo>
                  <a:cubicBezTo>
                    <a:pt x="2" y="27"/>
                    <a:pt x="2" y="27"/>
                    <a:pt x="2" y="27"/>
                  </a:cubicBezTo>
                  <a:cubicBezTo>
                    <a:pt x="3" y="26"/>
                    <a:pt x="3" y="26"/>
                    <a:pt x="3" y="26"/>
                  </a:cubicBezTo>
                  <a:cubicBezTo>
                    <a:pt x="6" y="28"/>
                    <a:pt x="6" y="28"/>
                    <a:pt x="6" y="28"/>
                  </a:cubicBezTo>
                  <a:cubicBezTo>
                    <a:pt x="6" y="28"/>
                    <a:pt x="6" y="28"/>
                    <a:pt x="6" y="28"/>
                  </a:cubicBezTo>
                  <a:cubicBezTo>
                    <a:pt x="6" y="28"/>
                    <a:pt x="7" y="28"/>
                    <a:pt x="8" y="28"/>
                  </a:cubicBezTo>
                  <a:cubicBezTo>
                    <a:pt x="10" y="27"/>
                    <a:pt x="10" y="27"/>
                    <a:pt x="10" y="27"/>
                  </a:cubicBezTo>
                  <a:cubicBezTo>
                    <a:pt x="11" y="28"/>
                    <a:pt x="11" y="28"/>
                    <a:pt x="11" y="28"/>
                  </a:cubicBezTo>
                  <a:cubicBezTo>
                    <a:pt x="12" y="28"/>
                    <a:pt x="12" y="29"/>
                    <a:pt x="13" y="29"/>
                  </a:cubicBezTo>
                  <a:cubicBezTo>
                    <a:pt x="13" y="30"/>
                    <a:pt x="13" y="30"/>
                    <a:pt x="13" y="30"/>
                  </a:cubicBezTo>
                  <a:cubicBezTo>
                    <a:pt x="13" y="30"/>
                    <a:pt x="14" y="32"/>
                    <a:pt x="14" y="32"/>
                  </a:cubicBezTo>
                  <a:cubicBezTo>
                    <a:pt x="14" y="33"/>
                    <a:pt x="14" y="33"/>
                    <a:pt x="14" y="33"/>
                  </a:cubicBezTo>
                  <a:cubicBezTo>
                    <a:pt x="16" y="36"/>
                    <a:pt x="16" y="36"/>
                    <a:pt x="16" y="36"/>
                  </a:cubicBezTo>
                  <a:cubicBezTo>
                    <a:pt x="18" y="39"/>
                    <a:pt x="18" y="39"/>
                    <a:pt x="18" y="39"/>
                  </a:cubicBezTo>
                  <a:cubicBezTo>
                    <a:pt x="17" y="44"/>
                    <a:pt x="17" y="44"/>
                    <a:pt x="17" y="44"/>
                  </a:cubicBezTo>
                  <a:cubicBezTo>
                    <a:pt x="17" y="45"/>
                    <a:pt x="17" y="45"/>
                    <a:pt x="17" y="45"/>
                  </a:cubicBezTo>
                  <a:cubicBezTo>
                    <a:pt x="15" y="48"/>
                    <a:pt x="15" y="49"/>
                    <a:pt x="15" y="50"/>
                  </a:cubicBezTo>
                  <a:cubicBezTo>
                    <a:pt x="15" y="50"/>
                    <a:pt x="15" y="50"/>
                    <a:pt x="15" y="51"/>
                  </a:cubicBezTo>
                  <a:cubicBezTo>
                    <a:pt x="16" y="51"/>
                    <a:pt x="16" y="51"/>
                    <a:pt x="16" y="51"/>
                  </a:cubicBezTo>
                  <a:cubicBezTo>
                    <a:pt x="16" y="52"/>
                    <a:pt x="16" y="52"/>
                    <a:pt x="16" y="52"/>
                  </a:cubicBezTo>
                  <a:cubicBezTo>
                    <a:pt x="17" y="53"/>
                    <a:pt x="17" y="53"/>
                    <a:pt x="17" y="53"/>
                  </a:cubicBezTo>
                  <a:cubicBezTo>
                    <a:pt x="18" y="55"/>
                    <a:pt x="18" y="56"/>
                    <a:pt x="18" y="56"/>
                  </a:cubicBezTo>
                  <a:cubicBezTo>
                    <a:pt x="18" y="56"/>
                    <a:pt x="19" y="57"/>
                    <a:pt x="19" y="57"/>
                  </a:cubicBezTo>
                  <a:cubicBezTo>
                    <a:pt x="19" y="57"/>
                    <a:pt x="20" y="58"/>
                    <a:pt x="21" y="58"/>
                  </a:cubicBezTo>
                  <a:cubicBezTo>
                    <a:pt x="22" y="59"/>
                    <a:pt x="22" y="60"/>
                    <a:pt x="23" y="61"/>
                  </a:cubicBezTo>
                  <a:cubicBezTo>
                    <a:pt x="24" y="62"/>
                    <a:pt x="24" y="64"/>
                    <a:pt x="23" y="65"/>
                  </a:cubicBezTo>
                  <a:cubicBezTo>
                    <a:pt x="24" y="65"/>
                    <a:pt x="26" y="65"/>
                    <a:pt x="26" y="65"/>
                  </a:cubicBezTo>
                  <a:cubicBezTo>
                    <a:pt x="26" y="65"/>
                    <a:pt x="26" y="65"/>
                    <a:pt x="26" y="65"/>
                  </a:cubicBezTo>
                  <a:cubicBezTo>
                    <a:pt x="27" y="65"/>
                    <a:pt x="27" y="65"/>
                    <a:pt x="27" y="65"/>
                  </a:cubicBezTo>
                  <a:cubicBezTo>
                    <a:pt x="29" y="65"/>
                    <a:pt x="30" y="65"/>
                    <a:pt x="31" y="65"/>
                  </a:cubicBezTo>
                  <a:cubicBezTo>
                    <a:pt x="33" y="65"/>
                    <a:pt x="33" y="65"/>
                    <a:pt x="33" y="65"/>
                  </a:cubicBezTo>
                  <a:cubicBezTo>
                    <a:pt x="34" y="64"/>
                    <a:pt x="35" y="64"/>
                    <a:pt x="36" y="64"/>
                  </a:cubicBezTo>
                  <a:cubicBezTo>
                    <a:pt x="39" y="62"/>
                    <a:pt x="39" y="62"/>
                    <a:pt x="39" y="62"/>
                  </a:cubicBezTo>
                  <a:cubicBezTo>
                    <a:pt x="40" y="62"/>
                    <a:pt x="40" y="62"/>
                    <a:pt x="40" y="62"/>
                  </a:cubicBezTo>
                  <a:cubicBezTo>
                    <a:pt x="40" y="62"/>
                    <a:pt x="44" y="62"/>
                    <a:pt x="45" y="62"/>
                  </a:cubicBezTo>
                  <a:cubicBezTo>
                    <a:pt x="46" y="62"/>
                    <a:pt x="46" y="62"/>
                    <a:pt x="46" y="62"/>
                  </a:cubicBezTo>
                  <a:cubicBezTo>
                    <a:pt x="47" y="62"/>
                    <a:pt x="48" y="62"/>
                    <a:pt x="48" y="62"/>
                  </a:cubicBezTo>
                  <a:cubicBezTo>
                    <a:pt x="49" y="62"/>
                    <a:pt x="49" y="62"/>
                    <a:pt x="49" y="62"/>
                  </a:cubicBezTo>
                  <a:cubicBezTo>
                    <a:pt x="49" y="62"/>
                    <a:pt x="49" y="62"/>
                    <a:pt x="49" y="62"/>
                  </a:cubicBezTo>
                  <a:cubicBezTo>
                    <a:pt x="51" y="62"/>
                    <a:pt x="53" y="63"/>
                    <a:pt x="54" y="63"/>
                  </a:cubicBezTo>
                  <a:cubicBezTo>
                    <a:pt x="54" y="64"/>
                    <a:pt x="54" y="64"/>
                    <a:pt x="54" y="64"/>
                  </a:cubicBezTo>
                  <a:cubicBezTo>
                    <a:pt x="55" y="64"/>
                    <a:pt x="57" y="65"/>
                    <a:pt x="57" y="66"/>
                  </a:cubicBezTo>
                  <a:cubicBezTo>
                    <a:pt x="58" y="67"/>
                    <a:pt x="58" y="67"/>
                    <a:pt x="58" y="67"/>
                  </a:cubicBezTo>
                  <a:cubicBezTo>
                    <a:pt x="58" y="68"/>
                    <a:pt x="58" y="68"/>
                    <a:pt x="58" y="68"/>
                  </a:cubicBezTo>
                  <a:cubicBezTo>
                    <a:pt x="57" y="69"/>
                    <a:pt x="57" y="69"/>
                    <a:pt x="57" y="70"/>
                  </a:cubicBezTo>
                  <a:cubicBezTo>
                    <a:pt x="58" y="70"/>
                    <a:pt x="59" y="70"/>
                    <a:pt x="60" y="70"/>
                  </a:cubicBezTo>
                  <a:cubicBezTo>
                    <a:pt x="61" y="70"/>
                    <a:pt x="61" y="71"/>
                    <a:pt x="61" y="71"/>
                  </a:cubicBezTo>
                  <a:cubicBezTo>
                    <a:pt x="65" y="72"/>
                    <a:pt x="65" y="72"/>
                    <a:pt x="65" y="72"/>
                  </a:cubicBezTo>
                  <a:cubicBezTo>
                    <a:pt x="68" y="71"/>
                    <a:pt x="68" y="71"/>
                    <a:pt x="68" y="71"/>
                  </a:cubicBezTo>
                  <a:cubicBezTo>
                    <a:pt x="71" y="68"/>
                    <a:pt x="71" y="68"/>
                    <a:pt x="71" y="68"/>
                  </a:cubicBezTo>
                  <a:cubicBezTo>
                    <a:pt x="73" y="68"/>
                    <a:pt x="73" y="68"/>
                    <a:pt x="73" y="68"/>
                  </a:cubicBezTo>
                  <a:cubicBezTo>
                    <a:pt x="73" y="68"/>
                    <a:pt x="75" y="69"/>
                    <a:pt x="76" y="69"/>
                  </a:cubicBezTo>
                  <a:cubicBezTo>
                    <a:pt x="77" y="69"/>
                    <a:pt x="77" y="70"/>
                    <a:pt x="77" y="70"/>
                  </a:cubicBezTo>
                  <a:cubicBezTo>
                    <a:pt x="77" y="70"/>
                    <a:pt x="78" y="72"/>
                    <a:pt x="78" y="73"/>
                  </a:cubicBezTo>
                  <a:cubicBezTo>
                    <a:pt x="79" y="74"/>
                    <a:pt x="79" y="76"/>
                    <a:pt x="79" y="76"/>
                  </a:cubicBezTo>
                  <a:cubicBezTo>
                    <a:pt x="81" y="73"/>
                    <a:pt x="81" y="73"/>
                    <a:pt x="81" y="73"/>
                  </a:cubicBezTo>
                  <a:cubicBezTo>
                    <a:pt x="86" y="74"/>
                    <a:pt x="86" y="74"/>
                    <a:pt x="86" y="74"/>
                  </a:cubicBezTo>
                  <a:cubicBezTo>
                    <a:pt x="88" y="75"/>
                    <a:pt x="88" y="75"/>
                    <a:pt x="88" y="75"/>
                  </a:cubicBezTo>
                  <a:cubicBezTo>
                    <a:pt x="92" y="74"/>
                    <a:pt x="92" y="74"/>
                    <a:pt x="92" y="74"/>
                  </a:cubicBezTo>
                  <a:cubicBezTo>
                    <a:pt x="92" y="74"/>
                    <a:pt x="93" y="72"/>
                    <a:pt x="94" y="72"/>
                  </a:cubicBezTo>
                  <a:cubicBezTo>
                    <a:pt x="95" y="71"/>
                    <a:pt x="97" y="70"/>
                    <a:pt x="98" y="70"/>
                  </a:cubicBezTo>
                  <a:cubicBezTo>
                    <a:pt x="99" y="69"/>
                    <a:pt x="102" y="68"/>
                    <a:pt x="102" y="68"/>
                  </a:cubicBezTo>
                  <a:cubicBezTo>
                    <a:pt x="102" y="68"/>
                    <a:pt x="102" y="70"/>
                    <a:pt x="103" y="71"/>
                  </a:cubicBezTo>
                  <a:cubicBezTo>
                    <a:pt x="103" y="71"/>
                    <a:pt x="104" y="74"/>
                    <a:pt x="104" y="74"/>
                  </a:cubicBezTo>
                  <a:cubicBezTo>
                    <a:pt x="104" y="78"/>
                    <a:pt x="104" y="78"/>
                    <a:pt x="104" y="78"/>
                  </a:cubicBezTo>
                  <a:cubicBezTo>
                    <a:pt x="105" y="78"/>
                    <a:pt x="105" y="78"/>
                    <a:pt x="105" y="78"/>
                  </a:cubicBezTo>
                  <a:cubicBezTo>
                    <a:pt x="105" y="78"/>
                    <a:pt x="108" y="79"/>
                    <a:pt x="109" y="79"/>
                  </a:cubicBezTo>
                  <a:cubicBezTo>
                    <a:pt x="110" y="79"/>
                    <a:pt x="111" y="79"/>
                    <a:pt x="111" y="79"/>
                  </a:cubicBezTo>
                  <a:cubicBezTo>
                    <a:pt x="113" y="81"/>
                    <a:pt x="113" y="81"/>
                    <a:pt x="113" y="81"/>
                  </a:cubicBezTo>
                  <a:cubicBezTo>
                    <a:pt x="113" y="83"/>
                    <a:pt x="113" y="83"/>
                    <a:pt x="113" y="83"/>
                  </a:cubicBezTo>
                  <a:cubicBezTo>
                    <a:pt x="115" y="86"/>
                    <a:pt x="115" y="86"/>
                    <a:pt x="115" y="86"/>
                  </a:cubicBezTo>
                  <a:cubicBezTo>
                    <a:pt x="117" y="89"/>
                    <a:pt x="117" y="89"/>
                    <a:pt x="117" y="89"/>
                  </a:cubicBezTo>
                  <a:cubicBezTo>
                    <a:pt x="121" y="93"/>
                    <a:pt x="121" y="93"/>
                    <a:pt x="121" y="93"/>
                  </a:cubicBezTo>
                  <a:cubicBezTo>
                    <a:pt x="124" y="96"/>
                    <a:pt x="124" y="96"/>
                    <a:pt x="124" y="96"/>
                  </a:cubicBezTo>
                  <a:cubicBezTo>
                    <a:pt x="125" y="96"/>
                    <a:pt x="125" y="96"/>
                    <a:pt x="125" y="96"/>
                  </a:cubicBezTo>
                  <a:cubicBezTo>
                    <a:pt x="128" y="94"/>
                    <a:pt x="128" y="94"/>
                    <a:pt x="128" y="94"/>
                  </a:cubicBezTo>
                  <a:cubicBezTo>
                    <a:pt x="130" y="92"/>
                    <a:pt x="130" y="92"/>
                    <a:pt x="130" y="92"/>
                  </a:cubicBezTo>
                  <a:cubicBezTo>
                    <a:pt x="133" y="92"/>
                    <a:pt x="133" y="92"/>
                    <a:pt x="133" y="92"/>
                  </a:cubicBezTo>
                  <a:cubicBezTo>
                    <a:pt x="135" y="90"/>
                    <a:pt x="135" y="90"/>
                    <a:pt x="135" y="90"/>
                  </a:cubicBezTo>
                  <a:cubicBezTo>
                    <a:pt x="135" y="90"/>
                    <a:pt x="135" y="90"/>
                    <a:pt x="135" y="89"/>
                  </a:cubicBezTo>
                  <a:cubicBezTo>
                    <a:pt x="134" y="89"/>
                    <a:pt x="136" y="86"/>
                    <a:pt x="136" y="86"/>
                  </a:cubicBezTo>
                  <a:cubicBezTo>
                    <a:pt x="136" y="82"/>
                    <a:pt x="133" y="83"/>
                    <a:pt x="133" y="83"/>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3" name="Freeform 208"/>
            <p:cNvSpPr>
              <a:spLocks/>
            </p:cNvSpPr>
            <p:nvPr/>
          </p:nvSpPr>
          <p:spPr bwMode="auto">
            <a:xfrm>
              <a:off x="8547105" y="4731413"/>
              <a:ext cx="5777" cy="2723"/>
            </a:xfrm>
            <a:custGeom>
              <a:avLst/>
              <a:gdLst>
                <a:gd name="T0" fmla="*/ 0 w 2"/>
                <a:gd name="T1" fmla="*/ 0 h 1"/>
                <a:gd name="T2" fmla="*/ 1 w 2"/>
                <a:gd name="T3" fmla="*/ 1 h 1"/>
                <a:gd name="T4" fmla="*/ 2 w 2"/>
                <a:gd name="T5" fmla="*/ 0 h 1"/>
                <a:gd name="T6" fmla="*/ 0 w 2"/>
                <a:gd name="T7" fmla="*/ 0 h 1"/>
              </a:gdLst>
              <a:ahLst/>
              <a:cxnLst>
                <a:cxn ang="0">
                  <a:pos x="T0" y="T1"/>
                </a:cxn>
                <a:cxn ang="0">
                  <a:pos x="T2" y="T3"/>
                </a:cxn>
                <a:cxn ang="0">
                  <a:pos x="T4" y="T5"/>
                </a:cxn>
                <a:cxn ang="0">
                  <a:pos x="T6" y="T7"/>
                </a:cxn>
              </a:cxnLst>
              <a:rect l="0" t="0" r="r" b="b"/>
              <a:pathLst>
                <a:path w="2" h="1">
                  <a:moveTo>
                    <a:pt x="0" y="0"/>
                  </a:moveTo>
                  <a:cubicBezTo>
                    <a:pt x="1" y="1"/>
                    <a:pt x="1" y="1"/>
                    <a:pt x="1" y="1"/>
                  </a:cubicBezTo>
                  <a:cubicBezTo>
                    <a:pt x="2" y="0"/>
                    <a:pt x="2" y="0"/>
                    <a:pt x="2" y="0"/>
                  </a:cubicBezTo>
                  <a:cubicBezTo>
                    <a:pt x="1" y="0"/>
                    <a:pt x="0" y="0"/>
                    <a:pt x="0" y="0"/>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4" name="Freeform 209"/>
            <p:cNvSpPr>
              <a:spLocks/>
            </p:cNvSpPr>
            <p:nvPr/>
          </p:nvSpPr>
          <p:spPr bwMode="auto">
            <a:xfrm>
              <a:off x="6347668" y="4307956"/>
              <a:ext cx="846270" cy="573233"/>
            </a:xfrm>
            <a:custGeom>
              <a:avLst/>
              <a:gdLst>
                <a:gd name="T0" fmla="*/ 277 w 292"/>
                <a:gd name="T1" fmla="*/ 94 h 210"/>
                <a:gd name="T2" fmla="*/ 239 w 292"/>
                <a:gd name="T3" fmla="*/ 104 h 210"/>
                <a:gd name="T4" fmla="*/ 235 w 292"/>
                <a:gd name="T5" fmla="*/ 95 h 210"/>
                <a:gd name="T6" fmla="*/ 233 w 292"/>
                <a:gd name="T7" fmla="*/ 91 h 210"/>
                <a:gd name="T8" fmla="*/ 230 w 292"/>
                <a:gd name="T9" fmla="*/ 82 h 210"/>
                <a:gd name="T10" fmla="*/ 228 w 292"/>
                <a:gd name="T11" fmla="*/ 74 h 210"/>
                <a:gd name="T12" fmla="*/ 228 w 292"/>
                <a:gd name="T13" fmla="*/ 63 h 210"/>
                <a:gd name="T14" fmla="*/ 226 w 292"/>
                <a:gd name="T15" fmla="*/ 56 h 210"/>
                <a:gd name="T16" fmla="*/ 222 w 292"/>
                <a:gd name="T17" fmla="*/ 49 h 210"/>
                <a:gd name="T18" fmla="*/ 217 w 292"/>
                <a:gd name="T19" fmla="*/ 41 h 210"/>
                <a:gd name="T20" fmla="*/ 206 w 292"/>
                <a:gd name="T21" fmla="*/ 33 h 210"/>
                <a:gd name="T22" fmla="*/ 198 w 292"/>
                <a:gd name="T23" fmla="*/ 27 h 210"/>
                <a:gd name="T24" fmla="*/ 195 w 292"/>
                <a:gd name="T25" fmla="*/ 25 h 210"/>
                <a:gd name="T26" fmla="*/ 187 w 292"/>
                <a:gd name="T27" fmla="*/ 18 h 210"/>
                <a:gd name="T28" fmla="*/ 184 w 292"/>
                <a:gd name="T29" fmla="*/ 12 h 210"/>
                <a:gd name="T30" fmla="*/ 178 w 292"/>
                <a:gd name="T31" fmla="*/ 6 h 210"/>
                <a:gd name="T32" fmla="*/ 173 w 292"/>
                <a:gd name="T33" fmla="*/ 3 h 210"/>
                <a:gd name="T34" fmla="*/ 169 w 292"/>
                <a:gd name="T35" fmla="*/ 0 h 210"/>
                <a:gd name="T36" fmla="*/ 155 w 292"/>
                <a:gd name="T37" fmla="*/ 5 h 210"/>
                <a:gd name="T38" fmla="*/ 132 w 292"/>
                <a:gd name="T39" fmla="*/ 20 h 210"/>
                <a:gd name="T40" fmla="*/ 108 w 292"/>
                <a:gd name="T41" fmla="*/ 27 h 210"/>
                <a:gd name="T42" fmla="*/ 73 w 292"/>
                <a:gd name="T43" fmla="*/ 29 h 210"/>
                <a:gd name="T44" fmla="*/ 67 w 292"/>
                <a:gd name="T45" fmla="*/ 37 h 210"/>
                <a:gd name="T46" fmla="*/ 55 w 292"/>
                <a:gd name="T47" fmla="*/ 48 h 210"/>
                <a:gd name="T48" fmla="*/ 45 w 292"/>
                <a:gd name="T49" fmla="*/ 57 h 210"/>
                <a:gd name="T50" fmla="*/ 42 w 292"/>
                <a:gd name="T51" fmla="*/ 73 h 210"/>
                <a:gd name="T52" fmla="*/ 35 w 292"/>
                <a:gd name="T53" fmla="*/ 88 h 210"/>
                <a:gd name="T54" fmla="*/ 32 w 292"/>
                <a:gd name="T55" fmla="*/ 107 h 210"/>
                <a:gd name="T56" fmla="*/ 16 w 292"/>
                <a:gd name="T57" fmla="*/ 124 h 210"/>
                <a:gd name="T58" fmla="*/ 6 w 292"/>
                <a:gd name="T59" fmla="*/ 129 h 210"/>
                <a:gd name="T60" fmla="*/ 7 w 292"/>
                <a:gd name="T61" fmla="*/ 131 h 210"/>
                <a:gd name="T62" fmla="*/ 16 w 292"/>
                <a:gd name="T63" fmla="*/ 136 h 210"/>
                <a:gd name="T64" fmla="*/ 18 w 292"/>
                <a:gd name="T65" fmla="*/ 145 h 210"/>
                <a:gd name="T66" fmla="*/ 22 w 292"/>
                <a:gd name="T67" fmla="*/ 152 h 210"/>
                <a:gd name="T68" fmla="*/ 33 w 292"/>
                <a:gd name="T69" fmla="*/ 156 h 210"/>
                <a:gd name="T70" fmla="*/ 43 w 292"/>
                <a:gd name="T71" fmla="*/ 158 h 210"/>
                <a:gd name="T72" fmla="*/ 45 w 292"/>
                <a:gd name="T73" fmla="*/ 168 h 210"/>
                <a:gd name="T74" fmla="*/ 45 w 292"/>
                <a:gd name="T75" fmla="*/ 175 h 210"/>
                <a:gd name="T76" fmla="*/ 51 w 292"/>
                <a:gd name="T77" fmla="*/ 178 h 210"/>
                <a:gd name="T78" fmla="*/ 56 w 292"/>
                <a:gd name="T79" fmla="*/ 179 h 210"/>
                <a:gd name="T80" fmla="*/ 66 w 292"/>
                <a:gd name="T81" fmla="*/ 183 h 210"/>
                <a:gd name="T82" fmla="*/ 71 w 292"/>
                <a:gd name="T83" fmla="*/ 176 h 210"/>
                <a:gd name="T84" fmla="*/ 80 w 292"/>
                <a:gd name="T85" fmla="*/ 176 h 210"/>
                <a:gd name="T86" fmla="*/ 84 w 292"/>
                <a:gd name="T87" fmla="*/ 183 h 210"/>
                <a:gd name="T88" fmla="*/ 83 w 292"/>
                <a:gd name="T89" fmla="*/ 189 h 210"/>
                <a:gd name="T90" fmla="*/ 87 w 292"/>
                <a:gd name="T91" fmla="*/ 196 h 210"/>
                <a:gd name="T92" fmla="*/ 95 w 292"/>
                <a:gd name="T93" fmla="*/ 204 h 210"/>
                <a:gd name="T94" fmla="*/ 97 w 292"/>
                <a:gd name="T95" fmla="*/ 209 h 210"/>
                <a:gd name="T96" fmla="*/ 128 w 292"/>
                <a:gd name="T97" fmla="*/ 207 h 210"/>
                <a:gd name="T98" fmla="*/ 195 w 292"/>
                <a:gd name="T99" fmla="*/ 185 h 210"/>
                <a:gd name="T100" fmla="*/ 252 w 292"/>
                <a:gd name="T101" fmla="*/ 168 h 210"/>
                <a:gd name="T102" fmla="*/ 271 w 292"/>
                <a:gd name="T103" fmla="*/ 143 h 210"/>
                <a:gd name="T104" fmla="*/ 287 w 292"/>
                <a:gd name="T105" fmla="*/ 9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2" h="210">
                  <a:moveTo>
                    <a:pt x="287" y="96"/>
                  </a:moveTo>
                  <a:cubicBezTo>
                    <a:pt x="284" y="96"/>
                    <a:pt x="284" y="96"/>
                    <a:pt x="284" y="96"/>
                  </a:cubicBezTo>
                  <a:cubicBezTo>
                    <a:pt x="277" y="94"/>
                    <a:pt x="277" y="94"/>
                    <a:pt x="277" y="94"/>
                  </a:cubicBezTo>
                  <a:cubicBezTo>
                    <a:pt x="277" y="94"/>
                    <a:pt x="277" y="94"/>
                    <a:pt x="277" y="94"/>
                  </a:cubicBezTo>
                  <a:cubicBezTo>
                    <a:pt x="277" y="94"/>
                    <a:pt x="277" y="94"/>
                    <a:pt x="277" y="94"/>
                  </a:cubicBezTo>
                  <a:cubicBezTo>
                    <a:pt x="271" y="94"/>
                    <a:pt x="264" y="106"/>
                    <a:pt x="264" y="106"/>
                  </a:cubicBezTo>
                  <a:cubicBezTo>
                    <a:pt x="261" y="112"/>
                    <a:pt x="261" y="112"/>
                    <a:pt x="261" y="112"/>
                  </a:cubicBezTo>
                  <a:cubicBezTo>
                    <a:pt x="257" y="111"/>
                    <a:pt x="257" y="111"/>
                    <a:pt x="257" y="111"/>
                  </a:cubicBezTo>
                  <a:cubicBezTo>
                    <a:pt x="251" y="110"/>
                    <a:pt x="245" y="108"/>
                    <a:pt x="240" y="105"/>
                  </a:cubicBezTo>
                  <a:cubicBezTo>
                    <a:pt x="239" y="104"/>
                    <a:pt x="239" y="104"/>
                    <a:pt x="239" y="104"/>
                  </a:cubicBezTo>
                  <a:cubicBezTo>
                    <a:pt x="237" y="101"/>
                    <a:pt x="237" y="101"/>
                    <a:pt x="237" y="101"/>
                  </a:cubicBezTo>
                  <a:cubicBezTo>
                    <a:pt x="236" y="101"/>
                    <a:pt x="235" y="101"/>
                    <a:pt x="235" y="100"/>
                  </a:cubicBezTo>
                  <a:cubicBezTo>
                    <a:pt x="234" y="99"/>
                    <a:pt x="234" y="99"/>
                    <a:pt x="234" y="99"/>
                  </a:cubicBezTo>
                  <a:cubicBezTo>
                    <a:pt x="234" y="96"/>
                    <a:pt x="234" y="96"/>
                    <a:pt x="234" y="96"/>
                  </a:cubicBezTo>
                  <a:cubicBezTo>
                    <a:pt x="234" y="96"/>
                    <a:pt x="235" y="95"/>
                    <a:pt x="235" y="95"/>
                  </a:cubicBezTo>
                  <a:cubicBezTo>
                    <a:pt x="235" y="95"/>
                    <a:pt x="235" y="95"/>
                    <a:pt x="235" y="95"/>
                  </a:cubicBezTo>
                  <a:cubicBezTo>
                    <a:pt x="235" y="94"/>
                    <a:pt x="235" y="94"/>
                    <a:pt x="235" y="94"/>
                  </a:cubicBezTo>
                  <a:cubicBezTo>
                    <a:pt x="235" y="94"/>
                    <a:pt x="235" y="93"/>
                    <a:pt x="235" y="93"/>
                  </a:cubicBezTo>
                  <a:cubicBezTo>
                    <a:pt x="235" y="93"/>
                    <a:pt x="235" y="93"/>
                    <a:pt x="235" y="93"/>
                  </a:cubicBezTo>
                  <a:cubicBezTo>
                    <a:pt x="234" y="92"/>
                    <a:pt x="234" y="92"/>
                    <a:pt x="233" y="91"/>
                  </a:cubicBezTo>
                  <a:cubicBezTo>
                    <a:pt x="232" y="90"/>
                    <a:pt x="232" y="90"/>
                    <a:pt x="232" y="89"/>
                  </a:cubicBezTo>
                  <a:cubicBezTo>
                    <a:pt x="232" y="88"/>
                    <a:pt x="232" y="88"/>
                    <a:pt x="232" y="87"/>
                  </a:cubicBezTo>
                  <a:cubicBezTo>
                    <a:pt x="232" y="87"/>
                    <a:pt x="232" y="87"/>
                    <a:pt x="232" y="87"/>
                  </a:cubicBezTo>
                  <a:cubicBezTo>
                    <a:pt x="232" y="87"/>
                    <a:pt x="232" y="87"/>
                    <a:pt x="232" y="86"/>
                  </a:cubicBezTo>
                  <a:cubicBezTo>
                    <a:pt x="231" y="85"/>
                    <a:pt x="230" y="83"/>
                    <a:pt x="230" y="82"/>
                  </a:cubicBezTo>
                  <a:cubicBezTo>
                    <a:pt x="229" y="82"/>
                    <a:pt x="229" y="81"/>
                    <a:pt x="229" y="80"/>
                  </a:cubicBezTo>
                  <a:cubicBezTo>
                    <a:pt x="229" y="80"/>
                    <a:pt x="229" y="79"/>
                    <a:pt x="229" y="79"/>
                  </a:cubicBezTo>
                  <a:cubicBezTo>
                    <a:pt x="229" y="79"/>
                    <a:pt x="228" y="78"/>
                    <a:pt x="229" y="76"/>
                  </a:cubicBezTo>
                  <a:cubicBezTo>
                    <a:pt x="229" y="75"/>
                    <a:pt x="229" y="75"/>
                    <a:pt x="229" y="74"/>
                  </a:cubicBezTo>
                  <a:cubicBezTo>
                    <a:pt x="229" y="74"/>
                    <a:pt x="228" y="74"/>
                    <a:pt x="228" y="74"/>
                  </a:cubicBezTo>
                  <a:cubicBezTo>
                    <a:pt x="228" y="69"/>
                    <a:pt x="228" y="69"/>
                    <a:pt x="228" y="69"/>
                  </a:cubicBezTo>
                  <a:cubicBezTo>
                    <a:pt x="228" y="68"/>
                    <a:pt x="228" y="68"/>
                    <a:pt x="228" y="68"/>
                  </a:cubicBezTo>
                  <a:cubicBezTo>
                    <a:pt x="228" y="68"/>
                    <a:pt x="228" y="68"/>
                    <a:pt x="228" y="68"/>
                  </a:cubicBezTo>
                  <a:cubicBezTo>
                    <a:pt x="228" y="67"/>
                    <a:pt x="228" y="66"/>
                    <a:pt x="228" y="65"/>
                  </a:cubicBezTo>
                  <a:cubicBezTo>
                    <a:pt x="228" y="63"/>
                    <a:pt x="228" y="63"/>
                    <a:pt x="228" y="63"/>
                  </a:cubicBezTo>
                  <a:cubicBezTo>
                    <a:pt x="228" y="62"/>
                    <a:pt x="228" y="62"/>
                    <a:pt x="228" y="62"/>
                  </a:cubicBezTo>
                  <a:cubicBezTo>
                    <a:pt x="227" y="61"/>
                    <a:pt x="227" y="60"/>
                    <a:pt x="227" y="59"/>
                  </a:cubicBezTo>
                  <a:cubicBezTo>
                    <a:pt x="227" y="59"/>
                    <a:pt x="227" y="58"/>
                    <a:pt x="227" y="58"/>
                  </a:cubicBezTo>
                  <a:cubicBezTo>
                    <a:pt x="227" y="58"/>
                    <a:pt x="227" y="58"/>
                    <a:pt x="227" y="58"/>
                  </a:cubicBezTo>
                  <a:cubicBezTo>
                    <a:pt x="227" y="58"/>
                    <a:pt x="226" y="56"/>
                    <a:pt x="226" y="56"/>
                  </a:cubicBezTo>
                  <a:cubicBezTo>
                    <a:pt x="226" y="55"/>
                    <a:pt x="226" y="55"/>
                    <a:pt x="226" y="55"/>
                  </a:cubicBezTo>
                  <a:cubicBezTo>
                    <a:pt x="226" y="55"/>
                    <a:pt x="226" y="55"/>
                    <a:pt x="226" y="55"/>
                  </a:cubicBezTo>
                  <a:cubicBezTo>
                    <a:pt x="226" y="55"/>
                    <a:pt x="226" y="55"/>
                    <a:pt x="225" y="54"/>
                  </a:cubicBezTo>
                  <a:cubicBezTo>
                    <a:pt x="225" y="53"/>
                    <a:pt x="225" y="53"/>
                    <a:pt x="224" y="52"/>
                  </a:cubicBezTo>
                  <a:cubicBezTo>
                    <a:pt x="223" y="51"/>
                    <a:pt x="222" y="50"/>
                    <a:pt x="222" y="49"/>
                  </a:cubicBezTo>
                  <a:cubicBezTo>
                    <a:pt x="222" y="48"/>
                    <a:pt x="221" y="48"/>
                    <a:pt x="221" y="47"/>
                  </a:cubicBezTo>
                  <a:cubicBezTo>
                    <a:pt x="221" y="47"/>
                    <a:pt x="221" y="47"/>
                    <a:pt x="221" y="47"/>
                  </a:cubicBezTo>
                  <a:cubicBezTo>
                    <a:pt x="221" y="47"/>
                    <a:pt x="221" y="46"/>
                    <a:pt x="220" y="45"/>
                  </a:cubicBezTo>
                  <a:cubicBezTo>
                    <a:pt x="219" y="44"/>
                    <a:pt x="218" y="43"/>
                    <a:pt x="218" y="42"/>
                  </a:cubicBezTo>
                  <a:cubicBezTo>
                    <a:pt x="217" y="42"/>
                    <a:pt x="217" y="41"/>
                    <a:pt x="217" y="41"/>
                  </a:cubicBezTo>
                  <a:cubicBezTo>
                    <a:pt x="216" y="41"/>
                    <a:pt x="215" y="41"/>
                    <a:pt x="214" y="41"/>
                  </a:cubicBezTo>
                  <a:cubicBezTo>
                    <a:pt x="211" y="39"/>
                    <a:pt x="211" y="39"/>
                    <a:pt x="211" y="39"/>
                  </a:cubicBezTo>
                  <a:cubicBezTo>
                    <a:pt x="209" y="37"/>
                    <a:pt x="209" y="37"/>
                    <a:pt x="209" y="37"/>
                  </a:cubicBezTo>
                  <a:cubicBezTo>
                    <a:pt x="208" y="37"/>
                    <a:pt x="208" y="36"/>
                    <a:pt x="207" y="36"/>
                  </a:cubicBezTo>
                  <a:cubicBezTo>
                    <a:pt x="206" y="35"/>
                    <a:pt x="206" y="34"/>
                    <a:pt x="206" y="33"/>
                  </a:cubicBezTo>
                  <a:cubicBezTo>
                    <a:pt x="205" y="33"/>
                    <a:pt x="205" y="33"/>
                    <a:pt x="205" y="33"/>
                  </a:cubicBezTo>
                  <a:cubicBezTo>
                    <a:pt x="201" y="31"/>
                    <a:pt x="201" y="31"/>
                    <a:pt x="201" y="31"/>
                  </a:cubicBezTo>
                  <a:cubicBezTo>
                    <a:pt x="201" y="31"/>
                    <a:pt x="201" y="31"/>
                    <a:pt x="201" y="31"/>
                  </a:cubicBezTo>
                  <a:cubicBezTo>
                    <a:pt x="201" y="31"/>
                    <a:pt x="199" y="29"/>
                    <a:pt x="199" y="28"/>
                  </a:cubicBezTo>
                  <a:cubicBezTo>
                    <a:pt x="199" y="28"/>
                    <a:pt x="199" y="28"/>
                    <a:pt x="198" y="27"/>
                  </a:cubicBezTo>
                  <a:cubicBezTo>
                    <a:pt x="198" y="27"/>
                    <a:pt x="198" y="27"/>
                    <a:pt x="198" y="26"/>
                  </a:cubicBezTo>
                  <a:cubicBezTo>
                    <a:pt x="197" y="26"/>
                    <a:pt x="197" y="26"/>
                    <a:pt x="197" y="26"/>
                  </a:cubicBezTo>
                  <a:cubicBezTo>
                    <a:pt x="196" y="26"/>
                    <a:pt x="196" y="26"/>
                    <a:pt x="196" y="26"/>
                  </a:cubicBezTo>
                  <a:cubicBezTo>
                    <a:pt x="196" y="26"/>
                    <a:pt x="196" y="26"/>
                    <a:pt x="196" y="26"/>
                  </a:cubicBezTo>
                  <a:cubicBezTo>
                    <a:pt x="195" y="25"/>
                    <a:pt x="195" y="25"/>
                    <a:pt x="195" y="25"/>
                  </a:cubicBezTo>
                  <a:cubicBezTo>
                    <a:pt x="195" y="25"/>
                    <a:pt x="194" y="24"/>
                    <a:pt x="193" y="23"/>
                  </a:cubicBezTo>
                  <a:cubicBezTo>
                    <a:pt x="192" y="23"/>
                    <a:pt x="192" y="23"/>
                    <a:pt x="192" y="23"/>
                  </a:cubicBezTo>
                  <a:cubicBezTo>
                    <a:pt x="192" y="22"/>
                    <a:pt x="191" y="22"/>
                    <a:pt x="191" y="22"/>
                  </a:cubicBezTo>
                  <a:cubicBezTo>
                    <a:pt x="190" y="21"/>
                    <a:pt x="190" y="21"/>
                    <a:pt x="190" y="20"/>
                  </a:cubicBezTo>
                  <a:cubicBezTo>
                    <a:pt x="189" y="20"/>
                    <a:pt x="188" y="20"/>
                    <a:pt x="187" y="18"/>
                  </a:cubicBezTo>
                  <a:cubicBezTo>
                    <a:pt x="186" y="18"/>
                    <a:pt x="186" y="17"/>
                    <a:pt x="186" y="16"/>
                  </a:cubicBezTo>
                  <a:cubicBezTo>
                    <a:pt x="185" y="15"/>
                    <a:pt x="185" y="14"/>
                    <a:pt x="185" y="14"/>
                  </a:cubicBezTo>
                  <a:cubicBezTo>
                    <a:pt x="184" y="14"/>
                    <a:pt x="184" y="13"/>
                    <a:pt x="184" y="12"/>
                  </a:cubicBezTo>
                  <a:cubicBezTo>
                    <a:pt x="184" y="12"/>
                    <a:pt x="184" y="12"/>
                    <a:pt x="184" y="12"/>
                  </a:cubicBezTo>
                  <a:cubicBezTo>
                    <a:pt x="184" y="12"/>
                    <a:pt x="184" y="12"/>
                    <a:pt x="184" y="12"/>
                  </a:cubicBezTo>
                  <a:cubicBezTo>
                    <a:pt x="183" y="11"/>
                    <a:pt x="183" y="11"/>
                    <a:pt x="183" y="11"/>
                  </a:cubicBezTo>
                  <a:cubicBezTo>
                    <a:pt x="182" y="10"/>
                    <a:pt x="182" y="10"/>
                    <a:pt x="181" y="10"/>
                  </a:cubicBezTo>
                  <a:cubicBezTo>
                    <a:pt x="181" y="9"/>
                    <a:pt x="181" y="9"/>
                    <a:pt x="181" y="8"/>
                  </a:cubicBezTo>
                  <a:cubicBezTo>
                    <a:pt x="180" y="7"/>
                    <a:pt x="180" y="7"/>
                    <a:pt x="180" y="7"/>
                  </a:cubicBezTo>
                  <a:cubicBezTo>
                    <a:pt x="178" y="6"/>
                    <a:pt x="178" y="6"/>
                    <a:pt x="178" y="6"/>
                  </a:cubicBezTo>
                  <a:cubicBezTo>
                    <a:pt x="178" y="6"/>
                    <a:pt x="178" y="5"/>
                    <a:pt x="178" y="5"/>
                  </a:cubicBezTo>
                  <a:cubicBezTo>
                    <a:pt x="177" y="5"/>
                    <a:pt x="177" y="5"/>
                    <a:pt x="177" y="4"/>
                  </a:cubicBezTo>
                  <a:cubicBezTo>
                    <a:pt x="176" y="4"/>
                    <a:pt x="176" y="4"/>
                    <a:pt x="176" y="4"/>
                  </a:cubicBezTo>
                  <a:cubicBezTo>
                    <a:pt x="176" y="4"/>
                    <a:pt x="176" y="4"/>
                    <a:pt x="176" y="4"/>
                  </a:cubicBezTo>
                  <a:cubicBezTo>
                    <a:pt x="173" y="3"/>
                    <a:pt x="173" y="3"/>
                    <a:pt x="173" y="3"/>
                  </a:cubicBezTo>
                  <a:cubicBezTo>
                    <a:pt x="173" y="2"/>
                    <a:pt x="173" y="2"/>
                    <a:pt x="173" y="2"/>
                  </a:cubicBezTo>
                  <a:cubicBezTo>
                    <a:pt x="173" y="1"/>
                    <a:pt x="173" y="1"/>
                    <a:pt x="172" y="1"/>
                  </a:cubicBezTo>
                  <a:cubicBezTo>
                    <a:pt x="172" y="1"/>
                    <a:pt x="172" y="1"/>
                    <a:pt x="172" y="1"/>
                  </a:cubicBezTo>
                  <a:cubicBezTo>
                    <a:pt x="172" y="1"/>
                    <a:pt x="172" y="1"/>
                    <a:pt x="172" y="1"/>
                  </a:cubicBezTo>
                  <a:cubicBezTo>
                    <a:pt x="171" y="1"/>
                    <a:pt x="170" y="0"/>
                    <a:pt x="169" y="0"/>
                  </a:cubicBezTo>
                  <a:cubicBezTo>
                    <a:pt x="169" y="0"/>
                    <a:pt x="169" y="0"/>
                    <a:pt x="169" y="0"/>
                  </a:cubicBezTo>
                  <a:cubicBezTo>
                    <a:pt x="166" y="0"/>
                    <a:pt x="166" y="0"/>
                    <a:pt x="166" y="0"/>
                  </a:cubicBezTo>
                  <a:cubicBezTo>
                    <a:pt x="159" y="0"/>
                    <a:pt x="159" y="0"/>
                    <a:pt x="159" y="0"/>
                  </a:cubicBezTo>
                  <a:cubicBezTo>
                    <a:pt x="157" y="1"/>
                    <a:pt x="156" y="2"/>
                    <a:pt x="156" y="3"/>
                  </a:cubicBezTo>
                  <a:cubicBezTo>
                    <a:pt x="155" y="4"/>
                    <a:pt x="155" y="4"/>
                    <a:pt x="155" y="5"/>
                  </a:cubicBezTo>
                  <a:cubicBezTo>
                    <a:pt x="155" y="7"/>
                    <a:pt x="155" y="9"/>
                    <a:pt x="154" y="9"/>
                  </a:cubicBezTo>
                  <a:cubicBezTo>
                    <a:pt x="152" y="10"/>
                    <a:pt x="151" y="11"/>
                    <a:pt x="150" y="12"/>
                  </a:cubicBezTo>
                  <a:cubicBezTo>
                    <a:pt x="149" y="13"/>
                    <a:pt x="149" y="14"/>
                    <a:pt x="148" y="14"/>
                  </a:cubicBezTo>
                  <a:cubicBezTo>
                    <a:pt x="141" y="18"/>
                    <a:pt x="141" y="18"/>
                    <a:pt x="141" y="18"/>
                  </a:cubicBezTo>
                  <a:cubicBezTo>
                    <a:pt x="141" y="18"/>
                    <a:pt x="135" y="20"/>
                    <a:pt x="132" y="20"/>
                  </a:cubicBezTo>
                  <a:cubicBezTo>
                    <a:pt x="129" y="20"/>
                    <a:pt x="127" y="23"/>
                    <a:pt x="127" y="23"/>
                  </a:cubicBezTo>
                  <a:cubicBezTo>
                    <a:pt x="123" y="29"/>
                    <a:pt x="123" y="29"/>
                    <a:pt x="123" y="29"/>
                  </a:cubicBezTo>
                  <a:cubicBezTo>
                    <a:pt x="116" y="29"/>
                    <a:pt x="116" y="29"/>
                    <a:pt x="116" y="29"/>
                  </a:cubicBezTo>
                  <a:cubicBezTo>
                    <a:pt x="113" y="26"/>
                    <a:pt x="113" y="26"/>
                    <a:pt x="113" y="26"/>
                  </a:cubicBezTo>
                  <a:cubicBezTo>
                    <a:pt x="108" y="27"/>
                    <a:pt x="108" y="27"/>
                    <a:pt x="108" y="27"/>
                  </a:cubicBezTo>
                  <a:cubicBezTo>
                    <a:pt x="98" y="26"/>
                    <a:pt x="98" y="26"/>
                    <a:pt x="98" y="26"/>
                  </a:cubicBezTo>
                  <a:cubicBezTo>
                    <a:pt x="93" y="29"/>
                    <a:pt x="93" y="29"/>
                    <a:pt x="93" y="29"/>
                  </a:cubicBezTo>
                  <a:cubicBezTo>
                    <a:pt x="84" y="28"/>
                    <a:pt x="84" y="28"/>
                    <a:pt x="84" y="28"/>
                  </a:cubicBezTo>
                  <a:cubicBezTo>
                    <a:pt x="84" y="28"/>
                    <a:pt x="78" y="29"/>
                    <a:pt x="76" y="29"/>
                  </a:cubicBezTo>
                  <a:cubicBezTo>
                    <a:pt x="73" y="29"/>
                    <a:pt x="73" y="29"/>
                    <a:pt x="73" y="29"/>
                  </a:cubicBezTo>
                  <a:cubicBezTo>
                    <a:pt x="72" y="28"/>
                    <a:pt x="70" y="27"/>
                    <a:pt x="70" y="27"/>
                  </a:cubicBezTo>
                  <a:cubicBezTo>
                    <a:pt x="70" y="27"/>
                    <a:pt x="67" y="27"/>
                    <a:pt x="66" y="28"/>
                  </a:cubicBezTo>
                  <a:cubicBezTo>
                    <a:pt x="66" y="29"/>
                    <a:pt x="66" y="29"/>
                    <a:pt x="65" y="30"/>
                  </a:cubicBezTo>
                  <a:cubicBezTo>
                    <a:pt x="64" y="33"/>
                    <a:pt x="64" y="33"/>
                    <a:pt x="64" y="33"/>
                  </a:cubicBezTo>
                  <a:cubicBezTo>
                    <a:pt x="67" y="37"/>
                    <a:pt x="67" y="37"/>
                    <a:pt x="67" y="37"/>
                  </a:cubicBezTo>
                  <a:cubicBezTo>
                    <a:pt x="63" y="41"/>
                    <a:pt x="63" y="41"/>
                    <a:pt x="63" y="41"/>
                  </a:cubicBezTo>
                  <a:cubicBezTo>
                    <a:pt x="63" y="42"/>
                    <a:pt x="62" y="42"/>
                    <a:pt x="62" y="42"/>
                  </a:cubicBezTo>
                  <a:cubicBezTo>
                    <a:pt x="62" y="43"/>
                    <a:pt x="61" y="44"/>
                    <a:pt x="60" y="44"/>
                  </a:cubicBezTo>
                  <a:cubicBezTo>
                    <a:pt x="59" y="44"/>
                    <a:pt x="59" y="44"/>
                    <a:pt x="58" y="45"/>
                  </a:cubicBezTo>
                  <a:cubicBezTo>
                    <a:pt x="55" y="48"/>
                    <a:pt x="55" y="48"/>
                    <a:pt x="55" y="48"/>
                  </a:cubicBezTo>
                  <a:cubicBezTo>
                    <a:pt x="52" y="49"/>
                    <a:pt x="52" y="49"/>
                    <a:pt x="52" y="49"/>
                  </a:cubicBezTo>
                  <a:cubicBezTo>
                    <a:pt x="50" y="49"/>
                    <a:pt x="50" y="49"/>
                    <a:pt x="50" y="49"/>
                  </a:cubicBezTo>
                  <a:cubicBezTo>
                    <a:pt x="49" y="50"/>
                    <a:pt x="49" y="50"/>
                    <a:pt x="49" y="50"/>
                  </a:cubicBezTo>
                  <a:cubicBezTo>
                    <a:pt x="48" y="55"/>
                    <a:pt x="48" y="55"/>
                    <a:pt x="48" y="55"/>
                  </a:cubicBezTo>
                  <a:cubicBezTo>
                    <a:pt x="45" y="57"/>
                    <a:pt x="45" y="57"/>
                    <a:pt x="45" y="57"/>
                  </a:cubicBezTo>
                  <a:cubicBezTo>
                    <a:pt x="44" y="60"/>
                    <a:pt x="44" y="60"/>
                    <a:pt x="44" y="60"/>
                  </a:cubicBezTo>
                  <a:cubicBezTo>
                    <a:pt x="45" y="61"/>
                    <a:pt x="46" y="64"/>
                    <a:pt x="45" y="65"/>
                  </a:cubicBezTo>
                  <a:cubicBezTo>
                    <a:pt x="44" y="66"/>
                    <a:pt x="43" y="67"/>
                    <a:pt x="43" y="67"/>
                  </a:cubicBezTo>
                  <a:cubicBezTo>
                    <a:pt x="43" y="67"/>
                    <a:pt x="42" y="67"/>
                    <a:pt x="42" y="67"/>
                  </a:cubicBezTo>
                  <a:cubicBezTo>
                    <a:pt x="42" y="73"/>
                    <a:pt x="42" y="73"/>
                    <a:pt x="42" y="73"/>
                  </a:cubicBezTo>
                  <a:cubicBezTo>
                    <a:pt x="38" y="76"/>
                    <a:pt x="38" y="76"/>
                    <a:pt x="38" y="76"/>
                  </a:cubicBezTo>
                  <a:cubicBezTo>
                    <a:pt x="38" y="81"/>
                    <a:pt x="38" y="81"/>
                    <a:pt x="38" y="81"/>
                  </a:cubicBezTo>
                  <a:cubicBezTo>
                    <a:pt x="38" y="82"/>
                    <a:pt x="39" y="84"/>
                    <a:pt x="38" y="86"/>
                  </a:cubicBezTo>
                  <a:cubicBezTo>
                    <a:pt x="37" y="87"/>
                    <a:pt x="37" y="87"/>
                    <a:pt x="36" y="87"/>
                  </a:cubicBezTo>
                  <a:cubicBezTo>
                    <a:pt x="35" y="87"/>
                    <a:pt x="35" y="88"/>
                    <a:pt x="35" y="88"/>
                  </a:cubicBezTo>
                  <a:cubicBezTo>
                    <a:pt x="35" y="94"/>
                    <a:pt x="35" y="94"/>
                    <a:pt x="35" y="94"/>
                  </a:cubicBezTo>
                  <a:cubicBezTo>
                    <a:pt x="33" y="98"/>
                    <a:pt x="33" y="98"/>
                    <a:pt x="33" y="98"/>
                  </a:cubicBezTo>
                  <a:cubicBezTo>
                    <a:pt x="33" y="100"/>
                    <a:pt x="33" y="100"/>
                    <a:pt x="33" y="100"/>
                  </a:cubicBezTo>
                  <a:cubicBezTo>
                    <a:pt x="32" y="103"/>
                    <a:pt x="32" y="103"/>
                    <a:pt x="32" y="103"/>
                  </a:cubicBezTo>
                  <a:cubicBezTo>
                    <a:pt x="32" y="107"/>
                    <a:pt x="32" y="107"/>
                    <a:pt x="32" y="107"/>
                  </a:cubicBezTo>
                  <a:cubicBezTo>
                    <a:pt x="29" y="111"/>
                    <a:pt x="29" y="111"/>
                    <a:pt x="29" y="111"/>
                  </a:cubicBezTo>
                  <a:cubicBezTo>
                    <a:pt x="27" y="117"/>
                    <a:pt x="27" y="117"/>
                    <a:pt x="27" y="117"/>
                  </a:cubicBezTo>
                  <a:cubicBezTo>
                    <a:pt x="20" y="124"/>
                    <a:pt x="20" y="124"/>
                    <a:pt x="20" y="124"/>
                  </a:cubicBezTo>
                  <a:cubicBezTo>
                    <a:pt x="16" y="124"/>
                    <a:pt x="16" y="124"/>
                    <a:pt x="16" y="124"/>
                  </a:cubicBezTo>
                  <a:cubicBezTo>
                    <a:pt x="16" y="124"/>
                    <a:pt x="16" y="124"/>
                    <a:pt x="16" y="124"/>
                  </a:cubicBezTo>
                  <a:cubicBezTo>
                    <a:pt x="16" y="124"/>
                    <a:pt x="16" y="124"/>
                    <a:pt x="16" y="124"/>
                  </a:cubicBezTo>
                  <a:cubicBezTo>
                    <a:pt x="16" y="125"/>
                    <a:pt x="15" y="126"/>
                    <a:pt x="14" y="127"/>
                  </a:cubicBezTo>
                  <a:cubicBezTo>
                    <a:pt x="12" y="128"/>
                    <a:pt x="9" y="129"/>
                    <a:pt x="8" y="129"/>
                  </a:cubicBezTo>
                  <a:cubicBezTo>
                    <a:pt x="8" y="129"/>
                    <a:pt x="8" y="129"/>
                    <a:pt x="8" y="129"/>
                  </a:cubicBezTo>
                  <a:cubicBezTo>
                    <a:pt x="6" y="129"/>
                    <a:pt x="6" y="129"/>
                    <a:pt x="6" y="129"/>
                  </a:cubicBezTo>
                  <a:cubicBezTo>
                    <a:pt x="0" y="128"/>
                    <a:pt x="0" y="128"/>
                    <a:pt x="0" y="128"/>
                  </a:cubicBezTo>
                  <a:cubicBezTo>
                    <a:pt x="1" y="129"/>
                    <a:pt x="1" y="129"/>
                    <a:pt x="1" y="129"/>
                  </a:cubicBezTo>
                  <a:cubicBezTo>
                    <a:pt x="1" y="129"/>
                    <a:pt x="2" y="129"/>
                    <a:pt x="3" y="129"/>
                  </a:cubicBezTo>
                  <a:cubicBezTo>
                    <a:pt x="4" y="130"/>
                    <a:pt x="4" y="130"/>
                    <a:pt x="5" y="130"/>
                  </a:cubicBezTo>
                  <a:cubicBezTo>
                    <a:pt x="6" y="130"/>
                    <a:pt x="7" y="131"/>
                    <a:pt x="7" y="131"/>
                  </a:cubicBezTo>
                  <a:cubicBezTo>
                    <a:pt x="7" y="131"/>
                    <a:pt x="7" y="131"/>
                    <a:pt x="7" y="131"/>
                  </a:cubicBezTo>
                  <a:cubicBezTo>
                    <a:pt x="8" y="132"/>
                    <a:pt x="8" y="132"/>
                    <a:pt x="8" y="132"/>
                  </a:cubicBezTo>
                  <a:cubicBezTo>
                    <a:pt x="11" y="134"/>
                    <a:pt x="12" y="136"/>
                    <a:pt x="13" y="136"/>
                  </a:cubicBezTo>
                  <a:cubicBezTo>
                    <a:pt x="13" y="136"/>
                    <a:pt x="14" y="136"/>
                    <a:pt x="15" y="137"/>
                  </a:cubicBezTo>
                  <a:cubicBezTo>
                    <a:pt x="16" y="136"/>
                    <a:pt x="16" y="136"/>
                    <a:pt x="16" y="136"/>
                  </a:cubicBezTo>
                  <a:cubicBezTo>
                    <a:pt x="18" y="138"/>
                    <a:pt x="18" y="138"/>
                    <a:pt x="18" y="138"/>
                  </a:cubicBezTo>
                  <a:cubicBezTo>
                    <a:pt x="18" y="139"/>
                    <a:pt x="19" y="141"/>
                    <a:pt x="18" y="143"/>
                  </a:cubicBezTo>
                  <a:cubicBezTo>
                    <a:pt x="18" y="143"/>
                    <a:pt x="18" y="144"/>
                    <a:pt x="18" y="145"/>
                  </a:cubicBezTo>
                  <a:cubicBezTo>
                    <a:pt x="18" y="145"/>
                    <a:pt x="18" y="145"/>
                    <a:pt x="18" y="145"/>
                  </a:cubicBezTo>
                  <a:cubicBezTo>
                    <a:pt x="18" y="145"/>
                    <a:pt x="18" y="145"/>
                    <a:pt x="18" y="145"/>
                  </a:cubicBezTo>
                  <a:cubicBezTo>
                    <a:pt x="18" y="145"/>
                    <a:pt x="18" y="145"/>
                    <a:pt x="18" y="145"/>
                  </a:cubicBezTo>
                  <a:cubicBezTo>
                    <a:pt x="18" y="145"/>
                    <a:pt x="18" y="146"/>
                    <a:pt x="18" y="146"/>
                  </a:cubicBezTo>
                  <a:cubicBezTo>
                    <a:pt x="19" y="147"/>
                    <a:pt x="20" y="148"/>
                    <a:pt x="20" y="150"/>
                  </a:cubicBezTo>
                  <a:cubicBezTo>
                    <a:pt x="20" y="150"/>
                    <a:pt x="20" y="150"/>
                    <a:pt x="20" y="151"/>
                  </a:cubicBezTo>
                  <a:cubicBezTo>
                    <a:pt x="21" y="151"/>
                    <a:pt x="22" y="152"/>
                    <a:pt x="22" y="152"/>
                  </a:cubicBezTo>
                  <a:cubicBezTo>
                    <a:pt x="23" y="152"/>
                    <a:pt x="24" y="153"/>
                    <a:pt x="26" y="153"/>
                  </a:cubicBezTo>
                  <a:cubicBezTo>
                    <a:pt x="27" y="154"/>
                    <a:pt x="28" y="154"/>
                    <a:pt x="28" y="154"/>
                  </a:cubicBezTo>
                  <a:cubicBezTo>
                    <a:pt x="29" y="155"/>
                    <a:pt x="29" y="155"/>
                    <a:pt x="30" y="155"/>
                  </a:cubicBezTo>
                  <a:cubicBezTo>
                    <a:pt x="31" y="156"/>
                    <a:pt x="31" y="156"/>
                    <a:pt x="31" y="156"/>
                  </a:cubicBezTo>
                  <a:cubicBezTo>
                    <a:pt x="32" y="156"/>
                    <a:pt x="32" y="156"/>
                    <a:pt x="33" y="156"/>
                  </a:cubicBezTo>
                  <a:cubicBezTo>
                    <a:pt x="34" y="157"/>
                    <a:pt x="35" y="157"/>
                    <a:pt x="35" y="157"/>
                  </a:cubicBezTo>
                  <a:cubicBezTo>
                    <a:pt x="36" y="157"/>
                    <a:pt x="36" y="157"/>
                    <a:pt x="36" y="157"/>
                  </a:cubicBezTo>
                  <a:cubicBezTo>
                    <a:pt x="37" y="157"/>
                    <a:pt x="37" y="157"/>
                    <a:pt x="38" y="157"/>
                  </a:cubicBezTo>
                  <a:cubicBezTo>
                    <a:pt x="40" y="157"/>
                    <a:pt x="41" y="158"/>
                    <a:pt x="41" y="158"/>
                  </a:cubicBezTo>
                  <a:cubicBezTo>
                    <a:pt x="43" y="158"/>
                    <a:pt x="43" y="158"/>
                    <a:pt x="43" y="158"/>
                  </a:cubicBezTo>
                  <a:cubicBezTo>
                    <a:pt x="43" y="161"/>
                    <a:pt x="43" y="161"/>
                    <a:pt x="43" y="161"/>
                  </a:cubicBezTo>
                  <a:cubicBezTo>
                    <a:pt x="41" y="165"/>
                    <a:pt x="41" y="165"/>
                    <a:pt x="41" y="165"/>
                  </a:cubicBezTo>
                  <a:cubicBezTo>
                    <a:pt x="42" y="167"/>
                    <a:pt x="42" y="167"/>
                    <a:pt x="42" y="167"/>
                  </a:cubicBezTo>
                  <a:cubicBezTo>
                    <a:pt x="42" y="167"/>
                    <a:pt x="43" y="167"/>
                    <a:pt x="44" y="167"/>
                  </a:cubicBezTo>
                  <a:cubicBezTo>
                    <a:pt x="44" y="167"/>
                    <a:pt x="44" y="167"/>
                    <a:pt x="45" y="168"/>
                  </a:cubicBezTo>
                  <a:cubicBezTo>
                    <a:pt x="45" y="168"/>
                    <a:pt x="45" y="168"/>
                    <a:pt x="45" y="168"/>
                  </a:cubicBezTo>
                  <a:cubicBezTo>
                    <a:pt x="47" y="168"/>
                    <a:pt x="47" y="168"/>
                    <a:pt x="47" y="168"/>
                  </a:cubicBezTo>
                  <a:cubicBezTo>
                    <a:pt x="50" y="170"/>
                    <a:pt x="50" y="170"/>
                    <a:pt x="50" y="170"/>
                  </a:cubicBezTo>
                  <a:cubicBezTo>
                    <a:pt x="48" y="172"/>
                    <a:pt x="48" y="172"/>
                    <a:pt x="48" y="172"/>
                  </a:cubicBezTo>
                  <a:cubicBezTo>
                    <a:pt x="46" y="175"/>
                    <a:pt x="45" y="175"/>
                    <a:pt x="45" y="175"/>
                  </a:cubicBezTo>
                  <a:cubicBezTo>
                    <a:pt x="45" y="175"/>
                    <a:pt x="45" y="175"/>
                    <a:pt x="45" y="175"/>
                  </a:cubicBezTo>
                  <a:cubicBezTo>
                    <a:pt x="45" y="175"/>
                    <a:pt x="45" y="175"/>
                    <a:pt x="45" y="175"/>
                  </a:cubicBezTo>
                  <a:cubicBezTo>
                    <a:pt x="45" y="175"/>
                    <a:pt x="45" y="175"/>
                    <a:pt x="45" y="175"/>
                  </a:cubicBezTo>
                  <a:cubicBezTo>
                    <a:pt x="46" y="175"/>
                    <a:pt x="47" y="175"/>
                    <a:pt x="49" y="176"/>
                  </a:cubicBezTo>
                  <a:cubicBezTo>
                    <a:pt x="50" y="176"/>
                    <a:pt x="50" y="177"/>
                    <a:pt x="51" y="178"/>
                  </a:cubicBezTo>
                  <a:cubicBezTo>
                    <a:pt x="51" y="179"/>
                    <a:pt x="51" y="179"/>
                    <a:pt x="51" y="180"/>
                  </a:cubicBezTo>
                  <a:cubicBezTo>
                    <a:pt x="52" y="179"/>
                    <a:pt x="53" y="179"/>
                    <a:pt x="54" y="179"/>
                  </a:cubicBezTo>
                  <a:cubicBezTo>
                    <a:pt x="55" y="179"/>
                    <a:pt x="55" y="179"/>
                    <a:pt x="55" y="179"/>
                  </a:cubicBezTo>
                  <a:cubicBezTo>
                    <a:pt x="55" y="179"/>
                    <a:pt x="55" y="179"/>
                    <a:pt x="55" y="179"/>
                  </a:cubicBezTo>
                  <a:cubicBezTo>
                    <a:pt x="56" y="179"/>
                    <a:pt x="56" y="179"/>
                    <a:pt x="56" y="179"/>
                  </a:cubicBezTo>
                  <a:cubicBezTo>
                    <a:pt x="57" y="179"/>
                    <a:pt x="61" y="179"/>
                    <a:pt x="61" y="179"/>
                  </a:cubicBezTo>
                  <a:cubicBezTo>
                    <a:pt x="61" y="179"/>
                    <a:pt x="61" y="179"/>
                    <a:pt x="61" y="179"/>
                  </a:cubicBezTo>
                  <a:cubicBezTo>
                    <a:pt x="61" y="179"/>
                    <a:pt x="61" y="179"/>
                    <a:pt x="61" y="179"/>
                  </a:cubicBezTo>
                  <a:cubicBezTo>
                    <a:pt x="62" y="179"/>
                    <a:pt x="63" y="180"/>
                    <a:pt x="64" y="182"/>
                  </a:cubicBezTo>
                  <a:cubicBezTo>
                    <a:pt x="64" y="182"/>
                    <a:pt x="65" y="183"/>
                    <a:pt x="66" y="183"/>
                  </a:cubicBezTo>
                  <a:cubicBezTo>
                    <a:pt x="66" y="183"/>
                    <a:pt x="66" y="183"/>
                    <a:pt x="66" y="183"/>
                  </a:cubicBezTo>
                  <a:cubicBezTo>
                    <a:pt x="66" y="182"/>
                    <a:pt x="66" y="182"/>
                    <a:pt x="66" y="182"/>
                  </a:cubicBezTo>
                  <a:cubicBezTo>
                    <a:pt x="66" y="182"/>
                    <a:pt x="68" y="180"/>
                    <a:pt x="68" y="180"/>
                  </a:cubicBezTo>
                  <a:cubicBezTo>
                    <a:pt x="69" y="179"/>
                    <a:pt x="69" y="179"/>
                    <a:pt x="69" y="178"/>
                  </a:cubicBezTo>
                  <a:cubicBezTo>
                    <a:pt x="70" y="177"/>
                    <a:pt x="70" y="176"/>
                    <a:pt x="71" y="176"/>
                  </a:cubicBezTo>
                  <a:cubicBezTo>
                    <a:pt x="71" y="175"/>
                    <a:pt x="72" y="175"/>
                    <a:pt x="73" y="174"/>
                  </a:cubicBezTo>
                  <a:cubicBezTo>
                    <a:pt x="75" y="173"/>
                    <a:pt x="75" y="173"/>
                    <a:pt x="75" y="173"/>
                  </a:cubicBezTo>
                  <a:cubicBezTo>
                    <a:pt x="75" y="173"/>
                    <a:pt x="75" y="173"/>
                    <a:pt x="75" y="173"/>
                  </a:cubicBezTo>
                  <a:cubicBezTo>
                    <a:pt x="76" y="173"/>
                    <a:pt x="77" y="173"/>
                    <a:pt x="77" y="174"/>
                  </a:cubicBezTo>
                  <a:cubicBezTo>
                    <a:pt x="78" y="174"/>
                    <a:pt x="79" y="175"/>
                    <a:pt x="80" y="176"/>
                  </a:cubicBezTo>
                  <a:cubicBezTo>
                    <a:pt x="80" y="176"/>
                    <a:pt x="80" y="176"/>
                    <a:pt x="81" y="176"/>
                  </a:cubicBezTo>
                  <a:cubicBezTo>
                    <a:pt x="84" y="176"/>
                    <a:pt x="84" y="176"/>
                    <a:pt x="84" y="176"/>
                  </a:cubicBezTo>
                  <a:cubicBezTo>
                    <a:pt x="85" y="176"/>
                    <a:pt x="85" y="176"/>
                    <a:pt x="85" y="176"/>
                  </a:cubicBezTo>
                  <a:cubicBezTo>
                    <a:pt x="88" y="177"/>
                    <a:pt x="88" y="179"/>
                    <a:pt x="88" y="179"/>
                  </a:cubicBezTo>
                  <a:cubicBezTo>
                    <a:pt x="88" y="181"/>
                    <a:pt x="86" y="182"/>
                    <a:pt x="84" y="183"/>
                  </a:cubicBezTo>
                  <a:cubicBezTo>
                    <a:pt x="84" y="183"/>
                    <a:pt x="84" y="183"/>
                    <a:pt x="84" y="183"/>
                  </a:cubicBezTo>
                  <a:cubicBezTo>
                    <a:pt x="84" y="183"/>
                    <a:pt x="83" y="183"/>
                    <a:pt x="83" y="182"/>
                  </a:cubicBezTo>
                  <a:cubicBezTo>
                    <a:pt x="79" y="184"/>
                    <a:pt x="79" y="184"/>
                    <a:pt x="79" y="184"/>
                  </a:cubicBezTo>
                  <a:cubicBezTo>
                    <a:pt x="83" y="186"/>
                    <a:pt x="83" y="187"/>
                    <a:pt x="83" y="188"/>
                  </a:cubicBezTo>
                  <a:cubicBezTo>
                    <a:pt x="83" y="188"/>
                    <a:pt x="83" y="188"/>
                    <a:pt x="83" y="189"/>
                  </a:cubicBezTo>
                  <a:cubicBezTo>
                    <a:pt x="84" y="189"/>
                    <a:pt x="84" y="189"/>
                    <a:pt x="84" y="189"/>
                  </a:cubicBezTo>
                  <a:cubicBezTo>
                    <a:pt x="85" y="189"/>
                    <a:pt x="85" y="189"/>
                    <a:pt x="85" y="189"/>
                  </a:cubicBezTo>
                  <a:cubicBezTo>
                    <a:pt x="87" y="188"/>
                    <a:pt x="87" y="188"/>
                    <a:pt x="87" y="188"/>
                  </a:cubicBezTo>
                  <a:cubicBezTo>
                    <a:pt x="87" y="191"/>
                    <a:pt x="87" y="191"/>
                    <a:pt x="87" y="191"/>
                  </a:cubicBezTo>
                  <a:cubicBezTo>
                    <a:pt x="87" y="196"/>
                    <a:pt x="87" y="196"/>
                    <a:pt x="87" y="196"/>
                  </a:cubicBezTo>
                  <a:cubicBezTo>
                    <a:pt x="88" y="196"/>
                    <a:pt x="88" y="196"/>
                    <a:pt x="89" y="196"/>
                  </a:cubicBezTo>
                  <a:cubicBezTo>
                    <a:pt x="92" y="196"/>
                    <a:pt x="94" y="197"/>
                    <a:pt x="96" y="197"/>
                  </a:cubicBezTo>
                  <a:cubicBezTo>
                    <a:pt x="97" y="198"/>
                    <a:pt x="98" y="198"/>
                    <a:pt x="98" y="198"/>
                  </a:cubicBezTo>
                  <a:cubicBezTo>
                    <a:pt x="99" y="198"/>
                    <a:pt x="100" y="199"/>
                    <a:pt x="100" y="199"/>
                  </a:cubicBezTo>
                  <a:cubicBezTo>
                    <a:pt x="100" y="201"/>
                    <a:pt x="98" y="202"/>
                    <a:pt x="95" y="204"/>
                  </a:cubicBezTo>
                  <a:cubicBezTo>
                    <a:pt x="95" y="204"/>
                    <a:pt x="95" y="205"/>
                    <a:pt x="94" y="205"/>
                  </a:cubicBezTo>
                  <a:cubicBezTo>
                    <a:pt x="95" y="205"/>
                    <a:pt x="95" y="205"/>
                    <a:pt x="95" y="205"/>
                  </a:cubicBezTo>
                  <a:cubicBezTo>
                    <a:pt x="95" y="205"/>
                    <a:pt x="95" y="205"/>
                    <a:pt x="95" y="205"/>
                  </a:cubicBezTo>
                  <a:cubicBezTo>
                    <a:pt x="95" y="205"/>
                    <a:pt x="96" y="206"/>
                    <a:pt x="96" y="206"/>
                  </a:cubicBezTo>
                  <a:cubicBezTo>
                    <a:pt x="96" y="208"/>
                    <a:pt x="96" y="209"/>
                    <a:pt x="97" y="209"/>
                  </a:cubicBezTo>
                  <a:cubicBezTo>
                    <a:pt x="99" y="210"/>
                    <a:pt x="101" y="209"/>
                    <a:pt x="103" y="208"/>
                  </a:cubicBezTo>
                  <a:cubicBezTo>
                    <a:pt x="105" y="207"/>
                    <a:pt x="107" y="206"/>
                    <a:pt x="109" y="206"/>
                  </a:cubicBezTo>
                  <a:cubicBezTo>
                    <a:pt x="111" y="206"/>
                    <a:pt x="113" y="206"/>
                    <a:pt x="115" y="207"/>
                  </a:cubicBezTo>
                  <a:cubicBezTo>
                    <a:pt x="117" y="207"/>
                    <a:pt x="118" y="207"/>
                    <a:pt x="119" y="207"/>
                  </a:cubicBezTo>
                  <a:cubicBezTo>
                    <a:pt x="120" y="205"/>
                    <a:pt x="124" y="206"/>
                    <a:pt x="128" y="207"/>
                  </a:cubicBezTo>
                  <a:cubicBezTo>
                    <a:pt x="133" y="208"/>
                    <a:pt x="139" y="208"/>
                    <a:pt x="142" y="206"/>
                  </a:cubicBezTo>
                  <a:cubicBezTo>
                    <a:pt x="146" y="204"/>
                    <a:pt x="162" y="202"/>
                    <a:pt x="168" y="202"/>
                  </a:cubicBezTo>
                  <a:cubicBezTo>
                    <a:pt x="169" y="202"/>
                    <a:pt x="169" y="202"/>
                    <a:pt x="169" y="202"/>
                  </a:cubicBezTo>
                  <a:cubicBezTo>
                    <a:pt x="182" y="201"/>
                    <a:pt x="183" y="201"/>
                    <a:pt x="189" y="197"/>
                  </a:cubicBezTo>
                  <a:cubicBezTo>
                    <a:pt x="189" y="197"/>
                    <a:pt x="193" y="188"/>
                    <a:pt x="195" y="185"/>
                  </a:cubicBezTo>
                  <a:cubicBezTo>
                    <a:pt x="196" y="182"/>
                    <a:pt x="199" y="180"/>
                    <a:pt x="202" y="179"/>
                  </a:cubicBezTo>
                  <a:cubicBezTo>
                    <a:pt x="204" y="178"/>
                    <a:pt x="205" y="177"/>
                    <a:pt x="207" y="176"/>
                  </a:cubicBezTo>
                  <a:cubicBezTo>
                    <a:pt x="211" y="173"/>
                    <a:pt x="221" y="170"/>
                    <a:pt x="224" y="169"/>
                  </a:cubicBezTo>
                  <a:cubicBezTo>
                    <a:pt x="226" y="169"/>
                    <a:pt x="243" y="170"/>
                    <a:pt x="243" y="170"/>
                  </a:cubicBezTo>
                  <a:cubicBezTo>
                    <a:pt x="252" y="168"/>
                    <a:pt x="252" y="168"/>
                    <a:pt x="252" y="168"/>
                  </a:cubicBezTo>
                  <a:cubicBezTo>
                    <a:pt x="252" y="169"/>
                    <a:pt x="254" y="174"/>
                    <a:pt x="256" y="174"/>
                  </a:cubicBezTo>
                  <a:cubicBezTo>
                    <a:pt x="267" y="176"/>
                    <a:pt x="272" y="175"/>
                    <a:pt x="273" y="170"/>
                  </a:cubicBezTo>
                  <a:cubicBezTo>
                    <a:pt x="273" y="168"/>
                    <a:pt x="272" y="165"/>
                    <a:pt x="271" y="162"/>
                  </a:cubicBezTo>
                  <a:cubicBezTo>
                    <a:pt x="270" y="159"/>
                    <a:pt x="269" y="156"/>
                    <a:pt x="269" y="154"/>
                  </a:cubicBezTo>
                  <a:cubicBezTo>
                    <a:pt x="269" y="150"/>
                    <a:pt x="270" y="146"/>
                    <a:pt x="271" y="143"/>
                  </a:cubicBezTo>
                  <a:cubicBezTo>
                    <a:pt x="271" y="140"/>
                    <a:pt x="272" y="137"/>
                    <a:pt x="272" y="134"/>
                  </a:cubicBezTo>
                  <a:cubicBezTo>
                    <a:pt x="271" y="132"/>
                    <a:pt x="273" y="128"/>
                    <a:pt x="275" y="125"/>
                  </a:cubicBezTo>
                  <a:cubicBezTo>
                    <a:pt x="277" y="122"/>
                    <a:pt x="281" y="121"/>
                    <a:pt x="285" y="121"/>
                  </a:cubicBezTo>
                  <a:cubicBezTo>
                    <a:pt x="288" y="120"/>
                    <a:pt x="291" y="120"/>
                    <a:pt x="292" y="118"/>
                  </a:cubicBezTo>
                  <a:lnTo>
                    <a:pt x="287" y="96"/>
                  </a:ln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5" name="Freeform 210"/>
            <p:cNvSpPr>
              <a:spLocks/>
            </p:cNvSpPr>
            <p:nvPr/>
          </p:nvSpPr>
          <p:spPr bwMode="auto">
            <a:xfrm>
              <a:off x="6084834" y="3003545"/>
              <a:ext cx="8665" cy="10893"/>
            </a:xfrm>
            <a:custGeom>
              <a:avLst/>
              <a:gdLst>
                <a:gd name="T0" fmla="*/ 2 w 3"/>
                <a:gd name="T1" fmla="*/ 0 h 4"/>
                <a:gd name="T2" fmla="*/ 1 w 3"/>
                <a:gd name="T3" fmla="*/ 1 h 4"/>
                <a:gd name="T4" fmla="*/ 1 w 3"/>
                <a:gd name="T5" fmla="*/ 3 h 4"/>
                <a:gd name="T6" fmla="*/ 3 w 3"/>
                <a:gd name="T7" fmla="*/ 2 h 4"/>
                <a:gd name="T8" fmla="*/ 2 w 3"/>
                <a:gd name="T9" fmla="*/ 0 h 4"/>
              </a:gdLst>
              <a:ahLst/>
              <a:cxnLst>
                <a:cxn ang="0">
                  <a:pos x="T0" y="T1"/>
                </a:cxn>
                <a:cxn ang="0">
                  <a:pos x="T2" y="T3"/>
                </a:cxn>
                <a:cxn ang="0">
                  <a:pos x="T4" y="T5"/>
                </a:cxn>
                <a:cxn ang="0">
                  <a:pos x="T6" y="T7"/>
                </a:cxn>
                <a:cxn ang="0">
                  <a:pos x="T8" y="T9"/>
                </a:cxn>
              </a:cxnLst>
              <a:rect l="0" t="0" r="r" b="b"/>
              <a:pathLst>
                <a:path w="3" h="4">
                  <a:moveTo>
                    <a:pt x="2" y="0"/>
                  </a:moveTo>
                  <a:cubicBezTo>
                    <a:pt x="1" y="0"/>
                    <a:pt x="1" y="1"/>
                    <a:pt x="1" y="1"/>
                  </a:cubicBezTo>
                  <a:cubicBezTo>
                    <a:pt x="1" y="1"/>
                    <a:pt x="0" y="3"/>
                    <a:pt x="1" y="3"/>
                  </a:cubicBezTo>
                  <a:cubicBezTo>
                    <a:pt x="2" y="4"/>
                    <a:pt x="2" y="3"/>
                    <a:pt x="3" y="2"/>
                  </a:cubicBezTo>
                  <a:cubicBezTo>
                    <a:pt x="3" y="1"/>
                    <a:pt x="2" y="1"/>
                    <a:pt x="2" y="0"/>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6" name="Freeform 211"/>
            <p:cNvSpPr>
              <a:spLocks/>
            </p:cNvSpPr>
            <p:nvPr/>
          </p:nvSpPr>
          <p:spPr bwMode="auto">
            <a:xfrm>
              <a:off x="6061728" y="3017161"/>
              <a:ext cx="28883" cy="16339"/>
            </a:xfrm>
            <a:custGeom>
              <a:avLst/>
              <a:gdLst>
                <a:gd name="T0" fmla="*/ 6 w 10"/>
                <a:gd name="T1" fmla="*/ 0 h 6"/>
                <a:gd name="T2" fmla="*/ 5 w 10"/>
                <a:gd name="T3" fmla="*/ 1 h 6"/>
                <a:gd name="T4" fmla="*/ 2 w 10"/>
                <a:gd name="T5" fmla="*/ 2 h 6"/>
                <a:gd name="T6" fmla="*/ 2 w 10"/>
                <a:gd name="T7" fmla="*/ 5 h 6"/>
                <a:gd name="T8" fmla="*/ 5 w 10"/>
                <a:gd name="T9" fmla="*/ 4 h 6"/>
                <a:gd name="T10" fmla="*/ 6 w 10"/>
                <a:gd name="T11" fmla="*/ 3 h 6"/>
                <a:gd name="T12" fmla="*/ 8 w 10"/>
                <a:gd name="T13" fmla="*/ 2 h 6"/>
                <a:gd name="T14" fmla="*/ 8 w 10"/>
                <a:gd name="T15" fmla="*/ 1 h 6"/>
                <a:gd name="T16" fmla="*/ 6 w 10"/>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6">
                  <a:moveTo>
                    <a:pt x="6" y="0"/>
                  </a:moveTo>
                  <a:cubicBezTo>
                    <a:pt x="5" y="1"/>
                    <a:pt x="5" y="1"/>
                    <a:pt x="5" y="1"/>
                  </a:cubicBezTo>
                  <a:cubicBezTo>
                    <a:pt x="5" y="1"/>
                    <a:pt x="4" y="1"/>
                    <a:pt x="2" y="2"/>
                  </a:cubicBezTo>
                  <a:cubicBezTo>
                    <a:pt x="0" y="4"/>
                    <a:pt x="2" y="4"/>
                    <a:pt x="2" y="5"/>
                  </a:cubicBezTo>
                  <a:cubicBezTo>
                    <a:pt x="1" y="6"/>
                    <a:pt x="4" y="4"/>
                    <a:pt x="5" y="4"/>
                  </a:cubicBezTo>
                  <a:cubicBezTo>
                    <a:pt x="6" y="4"/>
                    <a:pt x="5" y="3"/>
                    <a:pt x="6" y="3"/>
                  </a:cubicBezTo>
                  <a:cubicBezTo>
                    <a:pt x="6" y="3"/>
                    <a:pt x="7" y="3"/>
                    <a:pt x="8" y="2"/>
                  </a:cubicBezTo>
                  <a:cubicBezTo>
                    <a:pt x="10" y="2"/>
                    <a:pt x="8" y="1"/>
                    <a:pt x="8" y="1"/>
                  </a:cubicBezTo>
                  <a:cubicBezTo>
                    <a:pt x="8" y="1"/>
                    <a:pt x="7" y="0"/>
                    <a:pt x="6" y="0"/>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7" name="Freeform 212"/>
            <p:cNvSpPr>
              <a:spLocks/>
            </p:cNvSpPr>
            <p:nvPr/>
          </p:nvSpPr>
          <p:spPr bwMode="auto">
            <a:xfrm>
              <a:off x="6012626" y="3028053"/>
              <a:ext cx="14441" cy="13616"/>
            </a:xfrm>
            <a:custGeom>
              <a:avLst/>
              <a:gdLst>
                <a:gd name="T0" fmla="*/ 2 w 5"/>
                <a:gd name="T1" fmla="*/ 0 h 5"/>
                <a:gd name="T2" fmla="*/ 0 w 5"/>
                <a:gd name="T3" fmla="*/ 1 h 5"/>
                <a:gd name="T4" fmla="*/ 0 w 5"/>
                <a:gd name="T5" fmla="*/ 4 h 5"/>
                <a:gd name="T6" fmla="*/ 2 w 5"/>
                <a:gd name="T7" fmla="*/ 5 h 5"/>
                <a:gd name="T8" fmla="*/ 4 w 5"/>
                <a:gd name="T9" fmla="*/ 4 h 5"/>
                <a:gd name="T10" fmla="*/ 5 w 5"/>
                <a:gd name="T11" fmla="*/ 1 h 5"/>
                <a:gd name="T12" fmla="*/ 2 w 5"/>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2" y="0"/>
                  </a:moveTo>
                  <a:cubicBezTo>
                    <a:pt x="2" y="0"/>
                    <a:pt x="0" y="1"/>
                    <a:pt x="0" y="1"/>
                  </a:cubicBezTo>
                  <a:cubicBezTo>
                    <a:pt x="0" y="1"/>
                    <a:pt x="0" y="3"/>
                    <a:pt x="0" y="4"/>
                  </a:cubicBezTo>
                  <a:cubicBezTo>
                    <a:pt x="0" y="5"/>
                    <a:pt x="2" y="5"/>
                    <a:pt x="2" y="5"/>
                  </a:cubicBezTo>
                  <a:cubicBezTo>
                    <a:pt x="3" y="5"/>
                    <a:pt x="4" y="4"/>
                    <a:pt x="4" y="4"/>
                  </a:cubicBezTo>
                  <a:cubicBezTo>
                    <a:pt x="5" y="3"/>
                    <a:pt x="5" y="2"/>
                    <a:pt x="5" y="1"/>
                  </a:cubicBezTo>
                  <a:cubicBezTo>
                    <a:pt x="4" y="0"/>
                    <a:pt x="3" y="0"/>
                    <a:pt x="2" y="0"/>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8" name="Freeform 213"/>
            <p:cNvSpPr>
              <a:spLocks/>
            </p:cNvSpPr>
            <p:nvPr/>
          </p:nvSpPr>
          <p:spPr bwMode="auto">
            <a:xfrm>
              <a:off x="6012626" y="2979036"/>
              <a:ext cx="54878" cy="54465"/>
            </a:xfrm>
            <a:custGeom>
              <a:avLst/>
              <a:gdLst>
                <a:gd name="T0" fmla="*/ 13 w 19"/>
                <a:gd name="T1" fmla="*/ 13 h 20"/>
                <a:gd name="T2" fmla="*/ 13 w 19"/>
                <a:gd name="T3" fmla="*/ 11 h 20"/>
                <a:gd name="T4" fmla="*/ 15 w 19"/>
                <a:gd name="T5" fmla="*/ 12 h 20"/>
                <a:gd name="T6" fmla="*/ 17 w 19"/>
                <a:gd name="T7" fmla="*/ 13 h 20"/>
                <a:gd name="T8" fmla="*/ 18 w 19"/>
                <a:gd name="T9" fmla="*/ 11 h 20"/>
                <a:gd name="T10" fmla="*/ 16 w 19"/>
                <a:gd name="T11" fmla="*/ 9 h 20"/>
                <a:gd name="T12" fmla="*/ 17 w 19"/>
                <a:gd name="T13" fmla="*/ 7 h 20"/>
                <a:gd name="T14" fmla="*/ 18 w 19"/>
                <a:gd name="T15" fmla="*/ 5 h 20"/>
                <a:gd name="T16" fmla="*/ 16 w 19"/>
                <a:gd name="T17" fmla="*/ 4 h 20"/>
                <a:gd name="T18" fmla="*/ 15 w 19"/>
                <a:gd name="T19" fmla="*/ 4 h 20"/>
                <a:gd name="T20" fmla="*/ 12 w 19"/>
                <a:gd name="T21" fmla="*/ 3 h 20"/>
                <a:gd name="T22" fmla="*/ 11 w 19"/>
                <a:gd name="T23" fmla="*/ 1 h 20"/>
                <a:gd name="T24" fmla="*/ 8 w 19"/>
                <a:gd name="T25" fmla="*/ 0 h 20"/>
                <a:gd name="T26" fmla="*/ 7 w 19"/>
                <a:gd name="T27" fmla="*/ 3 h 20"/>
                <a:gd name="T28" fmla="*/ 9 w 19"/>
                <a:gd name="T29" fmla="*/ 5 h 20"/>
                <a:gd name="T30" fmla="*/ 8 w 19"/>
                <a:gd name="T31" fmla="*/ 7 h 20"/>
                <a:gd name="T32" fmla="*/ 8 w 19"/>
                <a:gd name="T33" fmla="*/ 7 h 20"/>
                <a:gd name="T34" fmla="*/ 7 w 19"/>
                <a:gd name="T35" fmla="*/ 9 h 20"/>
                <a:gd name="T36" fmla="*/ 7 w 19"/>
                <a:gd name="T37" fmla="*/ 6 h 20"/>
                <a:gd name="T38" fmla="*/ 3 w 19"/>
                <a:gd name="T39" fmla="*/ 6 h 20"/>
                <a:gd name="T40" fmla="*/ 3 w 19"/>
                <a:gd name="T41" fmla="*/ 10 h 20"/>
                <a:gd name="T42" fmla="*/ 1 w 19"/>
                <a:gd name="T43" fmla="*/ 11 h 20"/>
                <a:gd name="T44" fmla="*/ 1 w 19"/>
                <a:gd name="T45" fmla="*/ 13 h 20"/>
                <a:gd name="T46" fmla="*/ 3 w 19"/>
                <a:gd name="T47" fmla="*/ 14 h 20"/>
                <a:gd name="T48" fmla="*/ 6 w 19"/>
                <a:gd name="T49" fmla="*/ 15 h 20"/>
                <a:gd name="T50" fmla="*/ 9 w 19"/>
                <a:gd name="T51" fmla="*/ 15 h 20"/>
                <a:gd name="T52" fmla="*/ 11 w 19"/>
                <a:gd name="T53" fmla="*/ 16 h 20"/>
                <a:gd name="T54" fmla="*/ 14 w 19"/>
                <a:gd name="T55" fmla="*/ 19 h 20"/>
                <a:gd name="T56" fmla="*/ 16 w 19"/>
                <a:gd name="T57" fmla="*/ 18 h 20"/>
                <a:gd name="T58" fmla="*/ 18 w 19"/>
                <a:gd name="T59" fmla="*/ 15 h 20"/>
                <a:gd name="T60" fmla="*/ 13 w 19"/>
                <a:gd name="T61"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 h="20">
                  <a:moveTo>
                    <a:pt x="13" y="13"/>
                  </a:moveTo>
                  <a:cubicBezTo>
                    <a:pt x="13" y="13"/>
                    <a:pt x="12" y="11"/>
                    <a:pt x="13" y="11"/>
                  </a:cubicBezTo>
                  <a:cubicBezTo>
                    <a:pt x="14" y="10"/>
                    <a:pt x="14" y="12"/>
                    <a:pt x="15" y="12"/>
                  </a:cubicBezTo>
                  <a:cubicBezTo>
                    <a:pt x="15" y="13"/>
                    <a:pt x="16" y="13"/>
                    <a:pt x="17" y="13"/>
                  </a:cubicBezTo>
                  <a:cubicBezTo>
                    <a:pt x="18" y="13"/>
                    <a:pt x="18" y="12"/>
                    <a:pt x="18" y="11"/>
                  </a:cubicBezTo>
                  <a:cubicBezTo>
                    <a:pt x="18" y="11"/>
                    <a:pt x="18" y="11"/>
                    <a:pt x="16" y="9"/>
                  </a:cubicBezTo>
                  <a:cubicBezTo>
                    <a:pt x="13" y="7"/>
                    <a:pt x="16" y="8"/>
                    <a:pt x="17" y="7"/>
                  </a:cubicBezTo>
                  <a:cubicBezTo>
                    <a:pt x="17" y="7"/>
                    <a:pt x="18" y="5"/>
                    <a:pt x="18" y="5"/>
                  </a:cubicBezTo>
                  <a:cubicBezTo>
                    <a:pt x="19" y="5"/>
                    <a:pt x="16" y="4"/>
                    <a:pt x="16" y="4"/>
                  </a:cubicBezTo>
                  <a:cubicBezTo>
                    <a:pt x="15" y="3"/>
                    <a:pt x="15" y="4"/>
                    <a:pt x="15" y="4"/>
                  </a:cubicBezTo>
                  <a:cubicBezTo>
                    <a:pt x="15" y="4"/>
                    <a:pt x="13" y="3"/>
                    <a:pt x="12" y="3"/>
                  </a:cubicBezTo>
                  <a:cubicBezTo>
                    <a:pt x="12" y="2"/>
                    <a:pt x="12" y="1"/>
                    <a:pt x="11" y="1"/>
                  </a:cubicBezTo>
                  <a:cubicBezTo>
                    <a:pt x="11" y="0"/>
                    <a:pt x="10" y="0"/>
                    <a:pt x="8" y="0"/>
                  </a:cubicBezTo>
                  <a:cubicBezTo>
                    <a:pt x="7" y="1"/>
                    <a:pt x="7" y="3"/>
                    <a:pt x="7" y="3"/>
                  </a:cubicBezTo>
                  <a:cubicBezTo>
                    <a:pt x="7" y="3"/>
                    <a:pt x="8" y="4"/>
                    <a:pt x="9" y="5"/>
                  </a:cubicBezTo>
                  <a:cubicBezTo>
                    <a:pt x="9" y="5"/>
                    <a:pt x="9" y="7"/>
                    <a:pt x="8" y="7"/>
                  </a:cubicBezTo>
                  <a:cubicBezTo>
                    <a:pt x="8" y="7"/>
                    <a:pt x="8" y="7"/>
                    <a:pt x="8" y="7"/>
                  </a:cubicBezTo>
                  <a:cubicBezTo>
                    <a:pt x="8" y="7"/>
                    <a:pt x="9" y="8"/>
                    <a:pt x="7" y="9"/>
                  </a:cubicBezTo>
                  <a:cubicBezTo>
                    <a:pt x="6" y="9"/>
                    <a:pt x="7" y="7"/>
                    <a:pt x="7" y="6"/>
                  </a:cubicBezTo>
                  <a:cubicBezTo>
                    <a:pt x="7" y="5"/>
                    <a:pt x="3" y="6"/>
                    <a:pt x="3" y="6"/>
                  </a:cubicBezTo>
                  <a:cubicBezTo>
                    <a:pt x="3" y="6"/>
                    <a:pt x="4" y="9"/>
                    <a:pt x="3" y="10"/>
                  </a:cubicBezTo>
                  <a:cubicBezTo>
                    <a:pt x="2" y="10"/>
                    <a:pt x="2" y="10"/>
                    <a:pt x="1" y="11"/>
                  </a:cubicBezTo>
                  <a:cubicBezTo>
                    <a:pt x="0" y="12"/>
                    <a:pt x="1" y="13"/>
                    <a:pt x="1" y="13"/>
                  </a:cubicBezTo>
                  <a:cubicBezTo>
                    <a:pt x="1" y="14"/>
                    <a:pt x="3" y="14"/>
                    <a:pt x="3" y="14"/>
                  </a:cubicBezTo>
                  <a:cubicBezTo>
                    <a:pt x="4" y="14"/>
                    <a:pt x="4" y="14"/>
                    <a:pt x="6" y="15"/>
                  </a:cubicBezTo>
                  <a:cubicBezTo>
                    <a:pt x="9" y="17"/>
                    <a:pt x="7" y="15"/>
                    <a:pt x="9" y="15"/>
                  </a:cubicBezTo>
                  <a:cubicBezTo>
                    <a:pt x="11" y="15"/>
                    <a:pt x="10" y="16"/>
                    <a:pt x="11" y="16"/>
                  </a:cubicBezTo>
                  <a:cubicBezTo>
                    <a:pt x="12" y="17"/>
                    <a:pt x="13" y="18"/>
                    <a:pt x="14" y="19"/>
                  </a:cubicBezTo>
                  <a:cubicBezTo>
                    <a:pt x="15" y="20"/>
                    <a:pt x="16" y="18"/>
                    <a:pt x="16" y="18"/>
                  </a:cubicBezTo>
                  <a:cubicBezTo>
                    <a:pt x="17" y="17"/>
                    <a:pt x="18" y="15"/>
                    <a:pt x="18" y="15"/>
                  </a:cubicBezTo>
                  <a:cubicBezTo>
                    <a:pt x="18" y="15"/>
                    <a:pt x="14" y="13"/>
                    <a:pt x="13" y="13"/>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9" name="Freeform 214"/>
            <p:cNvSpPr>
              <a:spLocks/>
            </p:cNvSpPr>
            <p:nvPr/>
          </p:nvSpPr>
          <p:spPr bwMode="auto">
            <a:xfrm>
              <a:off x="6084834" y="2992652"/>
              <a:ext cx="11553" cy="10893"/>
            </a:xfrm>
            <a:custGeom>
              <a:avLst/>
              <a:gdLst>
                <a:gd name="T0" fmla="*/ 2 w 4"/>
                <a:gd name="T1" fmla="*/ 1 h 4"/>
                <a:gd name="T2" fmla="*/ 0 w 4"/>
                <a:gd name="T3" fmla="*/ 1 h 4"/>
                <a:gd name="T4" fmla="*/ 0 w 4"/>
                <a:gd name="T5" fmla="*/ 3 h 4"/>
                <a:gd name="T6" fmla="*/ 3 w 4"/>
                <a:gd name="T7" fmla="*/ 2 h 4"/>
                <a:gd name="T8" fmla="*/ 2 w 4"/>
                <a:gd name="T9" fmla="*/ 1 h 4"/>
              </a:gdLst>
              <a:ahLst/>
              <a:cxnLst>
                <a:cxn ang="0">
                  <a:pos x="T0" y="T1"/>
                </a:cxn>
                <a:cxn ang="0">
                  <a:pos x="T2" y="T3"/>
                </a:cxn>
                <a:cxn ang="0">
                  <a:pos x="T4" y="T5"/>
                </a:cxn>
                <a:cxn ang="0">
                  <a:pos x="T6" y="T7"/>
                </a:cxn>
                <a:cxn ang="0">
                  <a:pos x="T8" y="T9"/>
                </a:cxn>
              </a:cxnLst>
              <a:rect l="0" t="0" r="r" b="b"/>
              <a:pathLst>
                <a:path w="4" h="4">
                  <a:moveTo>
                    <a:pt x="2" y="1"/>
                  </a:moveTo>
                  <a:cubicBezTo>
                    <a:pt x="2" y="0"/>
                    <a:pt x="1" y="1"/>
                    <a:pt x="0" y="1"/>
                  </a:cubicBezTo>
                  <a:cubicBezTo>
                    <a:pt x="0" y="1"/>
                    <a:pt x="0" y="2"/>
                    <a:pt x="0" y="3"/>
                  </a:cubicBezTo>
                  <a:cubicBezTo>
                    <a:pt x="1" y="4"/>
                    <a:pt x="1" y="3"/>
                    <a:pt x="3" y="2"/>
                  </a:cubicBezTo>
                  <a:cubicBezTo>
                    <a:pt x="4" y="0"/>
                    <a:pt x="2" y="1"/>
                    <a:pt x="2" y="1"/>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0" name="Freeform 215"/>
            <p:cNvSpPr>
              <a:spLocks/>
            </p:cNvSpPr>
            <p:nvPr/>
          </p:nvSpPr>
          <p:spPr bwMode="auto">
            <a:xfrm>
              <a:off x="5898540" y="1771298"/>
              <a:ext cx="733626" cy="1245863"/>
            </a:xfrm>
            <a:custGeom>
              <a:avLst/>
              <a:gdLst>
                <a:gd name="T0" fmla="*/ 222 w 253"/>
                <a:gd name="T1" fmla="*/ 377 h 456"/>
                <a:gd name="T2" fmla="*/ 247 w 253"/>
                <a:gd name="T3" fmla="*/ 312 h 456"/>
                <a:gd name="T4" fmla="*/ 235 w 253"/>
                <a:gd name="T5" fmla="*/ 269 h 456"/>
                <a:gd name="T6" fmla="*/ 216 w 253"/>
                <a:gd name="T7" fmla="*/ 241 h 456"/>
                <a:gd name="T8" fmla="*/ 204 w 253"/>
                <a:gd name="T9" fmla="*/ 226 h 456"/>
                <a:gd name="T10" fmla="*/ 200 w 253"/>
                <a:gd name="T11" fmla="*/ 214 h 456"/>
                <a:gd name="T12" fmla="*/ 185 w 253"/>
                <a:gd name="T13" fmla="*/ 195 h 456"/>
                <a:gd name="T14" fmla="*/ 186 w 253"/>
                <a:gd name="T15" fmla="*/ 170 h 456"/>
                <a:gd name="T16" fmla="*/ 161 w 253"/>
                <a:gd name="T17" fmla="*/ 137 h 456"/>
                <a:gd name="T18" fmla="*/ 160 w 253"/>
                <a:gd name="T19" fmla="*/ 100 h 456"/>
                <a:gd name="T20" fmla="*/ 141 w 253"/>
                <a:gd name="T21" fmla="*/ 79 h 456"/>
                <a:gd name="T22" fmla="*/ 128 w 253"/>
                <a:gd name="T23" fmla="*/ 52 h 456"/>
                <a:gd name="T24" fmla="*/ 123 w 253"/>
                <a:gd name="T25" fmla="*/ 44 h 456"/>
                <a:gd name="T26" fmla="*/ 129 w 253"/>
                <a:gd name="T27" fmla="*/ 38 h 456"/>
                <a:gd name="T28" fmla="*/ 128 w 253"/>
                <a:gd name="T29" fmla="*/ 19 h 456"/>
                <a:gd name="T30" fmla="*/ 104 w 253"/>
                <a:gd name="T31" fmla="*/ 1 h 456"/>
                <a:gd name="T32" fmla="*/ 82 w 253"/>
                <a:gd name="T33" fmla="*/ 20 h 456"/>
                <a:gd name="T34" fmla="*/ 79 w 253"/>
                <a:gd name="T35" fmla="*/ 58 h 456"/>
                <a:gd name="T36" fmla="*/ 74 w 253"/>
                <a:gd name="T37" fmla="*/ 73 h 456"/>
                <a:gd name="T38" fmla="*/ 59 w 253"/>
                <a:gd name="T39" fmla="*/ 70 h 456"/>
                <a:gd name="T40" fmla="*/ 27 w 253"/>
                <a:gd name="T41" fmla="*/ 68 h 456"/>
                <a:gd name="T42" fmla="*/ 7 w 253"/>
                <a:gd name="T43" fmla="*/ 63 h 456"/>
                <a:gd name="T44" fmla="*/ 7 w 253"/>
                <a:gd name="T45" fmla="*/ 74 h 456"/>
                <a:gd name="T46" fmla="*/ 26 w 253"/>
                <a:gd name="T47" fmla="*/ 85 h 456"/>
                <a:gd name="T48" fmla="*/ 51 w 253"/>
                <a:gd name="T49" fmla="*/ 99 h 456"/>
                <a:gd name="T50" fmla="*/ 63 w 253"/>
                <a:gd name="T51" fmla="*/ 127 h 456"/>
                <a:gd name="T52" fmla="*/ 74 w 253"/>
                <a:gd name="T53" fmla="*/ 159 h 456"/>
                <a:gd name="T54" fmla="*/ 81 w 253"/>
                <a:gd name="T55" fmla="*/ 184 h 456"/>
                <a:gd name="T56" fmla="*/ 109 w 253"/>
                <a:gd name="T57" fmla="*/ 205 h 456"/>
                <a:gd name="T58" fmla="*/ 113 w 253"/>
                <a:gd name="T59" fmla="*/ 228 h 456"/>
                <a:gd name="T60" fmla="*/ 102 w 253"/>
                <a:gd name="T61" fmla="*/ 246 h 456"/>
                <a:gd name="T62" fmla="*/ 88 w 253"/>
                <a:gd name="T63" fmla="*/ 280 h 456"/>
                <a:gd name="T64" fmla="*/ 81 w 253"/>
                <a:gd name="T65" fmla="*/ 293 h 456"/>
                <a:gd name="T66" fmla="*/ 73 w 253"/>
                <a:gd name="T67" fmla="*/ 307 h 456"/>
                <a:gd name="T68" fmla="*/ 67 w 253"/>
                <a:gd name="T69" fmla="*/ 314 h 456"/>
                <a:gd name="T70" fmla="*/ 54 w 253"/>
                <a:gd name="T71" fmla="*/ 313 h 456"/>
                <a:gd name="T72" fmla="*/ 61 w 253"/>
                <a:gd name="T73" fmla="*/ 327 h 456"/>
                <a:gd name="T74" fmla="*/ 58 w 253"/>
                <a:gd name="T75" fmla="*/ 348 h 456"/>
                <a:gd name="T76" fmla="*/ 65 w 253"/>
                <a:gd name="T77" fmla="*/ 369 h 456"/>
                <a:gd name="T78" fmla="*/ 71 w 253"/>
                <a:gd name="T79" fmla="*/ 387 h 456"/>
                <a:gd name="T80" fmla="*/ 73 w 253"/>
                <a:gd name="T81" fmla="*/ 400 h 456"/>
                <a:gd name="T82" fmla="*/ 73 w 253"/>
                <a:gd name="T83" fmla="*/ 414 h 456"/>
                <a:gd name="T84" fmla="*/ 76 w 253"/>
                <a:gd name="T85" fmla="*/ 420 h 456"/>
                <a:gd name="T86" fmla="*/ 75 w 253"/>
                <a:gd name="T87" fmla="*/ 429 h 456"/>
                <a:gd name="T88" fmla="*/ 83 w 253"/>
                <a:gd name="T89" fmla="*/ 433 h 456"/>
                <a:gd name="T90" fmla="*/ 89 w 253"/>
                <a:gd name="T91" fmla="*/ 436 h 456"/>
                <a:gd name="T92" fmla="*/ 95 w 253"/>
                <a:gd name="T93" fmla="*/ 436 h 456"/>
                <a:gd name="T94" fmla="*/ 98 w 253"/>
                <a:gd name="T95" fmla="*/ 442 h 456"/>
                <a:gd name="T96" fmla="*/ 104 w 253"/>
                <a:gd name="T97" fmla="*/ 447 h 456"/>
                <a:gd name="T98" fmla="*/ 104 w 253"/>
                <a:gd name="T99" fmla="*/ 454 h 456"/>
                <a:gd name="T100" fmla="*/ 113 w 253"/>
                <a:gd name="T101" fmla="*/ 447 h 456"/>
                <a:gd name="T102" fmla="*/ 116 w 253"/>
                <a:gd name="T103" fmla="*/ 453 h 456"/>
                <a:gd name="T104" fmla="*/ 122 w 253"/>
                <a:gd name="T105" fmla="*/ 455 h 456"/>
                <a:gd name="T106" fmla="*/ 127 w 253"/>
                <a:gd name="T107" fmla="*/ 452 h 456"/>
                <a:gd name="T108" fmla="*/ 139 w 253"/>
                <a:gd name="T109" fmla="*/ 443 h 456"/>
                <a:gd name="T110" fmla="*/ 153 w 253"/>
                <a:gd name="T111" fmla="*/ 439 h 456"/>
                <a:gd name="T112" fmla="*/ 167 w 253"/>
                <a:gd name="T113" fmla="*/ 428 h 456"/>
                <a:gd name="T114" fmla="*/ 176 w 253"/>
                <a:gd name="T115" fmla="*/ 420 h 456"/>
                <a:gd name="T116" fmla="*/ 188 w 253"/>
                <a:gd name="T117" fmla="*/ 414 h 456"/>
                <a:gd name="T118" fmla="*/ 201 w 253"/>
                <a:gd name="T119" fmla="*/ 406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3" h="456">
                  <a:moveTo>
                    <a:pt x="207" y="405"/>
                  </a:moveTo>
                  <a:cubicBezTo>
                    <a:pt x="210" y="399"/>
                    <a:pt x="210" y="399"/>
                    <a:pt x="210" y="399"/>
                  </a:cubicBezTo>
                  <a:cubicBezTo>
                    <a:pt x="212" y="395"/>
                    <a:pt x="212" y="395"/>
                    <a:pt x="212" y="395"/>
                  </a:cubicBezTo>
                  <a:cubicBezTo>
                    <a:pt x="212" y="395"/>
                    <a:pt x="212" y="395"/>
                    <a:pt x="212" y="395"/>
                  </a:cubicBezTo>
                  <a:cubicBezTo>
                    <a:pt x="215" y="390"/>
                    <a:pt x="216" y="388"/>
                    <a:pt x="216" y="387"/>
                  </a:cubicBezTo>
                  <a:cubicBezTo>
                    <a:pt x="217" y="385"/>
                    <a:pt x="218" y="382"/>
                    <a:pt x="218" y="381"/>
                  </a:cubicBezTo>
                  <a:cubicBezTo>
                    <a:pt x="219" y="379"/>
                    <a:pt x="221" y="378"/>
                    <a:pt x="222" y="377"/>
                  </a:cubicBezTo>
                  <a:cubicBezTo>
                    <a:pt x="224" y="370"/>
                    <a:pt x="224" y="370"/>
                    <a:pt x="224" y="370"/>
                  </a:cubicBezTo>
                  <a:cubicBezTo>
                    <a:pt x="234" y="349"/>
                    <a:pt x="234" y="349"/>
                    <a:pt x="234" y="349"/>
                  </a:cubicBezTo>
                  <a:cubicBezTo>
                    <a:pt x="235" y="348"/>
                    <a:pt x="236" y="343"/>
                    <a:pt x="237" y="341"/>
                  </a:cubicBezTo>
                  <a:cubicBezTo>
                    <a:pt x="237" y="341"/>
                    <a:pt x="239" y="335"/>
                    <a:pt x="239" y="334"/>
                  </a:cubicBezTo>
                  <a:cubicBezTo>
                    <a:pt x="239" y="333"/>
                    <a:pt x="241" y="327"/>
                    <a:pt x="241" y="327"/>
                  </a:cubicBezTo>
                  <a:cubicBezTo>
                    <a:pt x="242" y="326"/>
                    <a:pt x="244" y="318"/>
                    <a:pt x="244" y="317"/>
                  </a:cubicBezTo>
                  <a:cubicBezTo>
                    <a:pt x="244" y="314"/>
                    <a:pt x="246" y="313"/>
                    <a:pt x="247" y="312"/>
                  </a:cubicBezTo>
                  <a:cubicBezTo>
                    <a:pt x="248" y="312"/>
                    <a:pt x="248" y="312"/>
                    <a:pt x="248" y="312"/>
                  </a:cubicBezTo>
                  <a:cubicBezTo>
                    <a:pt x="248" y="311"/>
                    <a:pt x="250" y="306"/>
                    <a:pt x="251" y="303"/>
                  </a:cubicBezTo>
                  <a:cubicBezTo>
                    <a:pt x="251" y="303"/>
                    <a:pt x="252" y="298"/>
                    <a:pt x="253" y="288"/>
                  </a:cubicBezTo>
                  <a:cubicBezTo>
                    <a:pt x="251" y="280"/>
                    <a:pt x="251" y="280"/>
                    <a:pt x="251" y="280"/>
                  </a:cubicBezTo>
                  <a:cubicBezTo>
                    <a:pt x="248" y="277"/>
                    <a:pt x="248" y="277"/>
                    <a:pt x="248" y="277"/>
                  </a:cubicBezTo>
                  <a:cubicBezTo>
                    <a:pt x="243" y="274"/>
                    <a:pt x="243" y="274"/>
                    <a:pt x="243" y="274"/>
                  </a:cubicBezTo>
                  <a:cubicBezTo>
                    <a:pt x="237" y="271"/>
                    <a:pt x="236" y="270"/>
                    <a:pt x="235" y="269"/>
                  </a:cubicBezTo>
                  <a:cubicBezTo>
                    <a:pt x="235" y="269"/>
                    <a:pt x="234" y="268"/>
                    <a:pt x="232" y="268"/>
                  </a:cubicBezTo>
                  <a:cubicBezTo>
                    <a:pt x="231" y="267"/>
                    <a:pt x="227" y="266"/>
                    <a:pt x="226" y="266"/>
                  </a:cubicBezTo>
                  <a:cubicBezTo>
                    <a:pt x="225" y="266"/>
                    <a:pt x="224" y="266"/>
                    <a:pt x="219" y="262"/>
                  </a:cubicBezTo>
                  <a:cubicBezTo>
                    <a:pt x="216" y="260"/>
                    <a:pt x="213" y="256"/>
                    <a:pt x="212" y="256"/>
                  </a:cubicBezTo>
                  <a:cubicBezTo>
                    <a:pt x="212" y="255"/>
                    <a:pt x="212" y="255"/>
                    <a:pt x="212" y="255"/>
                  </a:cubicBezTo>
                  <a:cubicBezTo>
                    <a:pt x="215" y="247"/>
                    <a:pt x="215" y="247"/>
                    <a:pt x="215" y="247"/>
                  </a:cubicBezTo>
                  <a:cubicBezTo>
                    <a:pt x="216" y="246"/>
                    <a:pt x="216" y="242"/>
                    <a:pt x="216" y="241"/>
                  </a:cubicBezTo>
                  <a:cubicBezTo>
                    <a:pt x="216" y="241"/>
                    <a:pt x="216" y="239"/>
                    <a:pt x="216" y="239"/>
                  </a:cubicBezTo>
                  <a:cubicBezTo>
                    <a:pt x="215" y="236"/>
                    <a:pt x="215" y="236"/>
                    <a:pt x="215" y="236"/>
                  </a:cubicBezTo>
                  <a:cubicBezTo>
                    <a:pt x="214" y="233"/>
                    <a:pt x="214" y="233"/>
                    <a:pt x="214" y="233"/>
                  </a:cubicBezTo>
                  <a:cubicBezTo>
                    <a:pt x="213" y="233"/>
                    <a:pt x="211" y="233"/>
                    <a:pt x="210" y="233"/>
                  </a:cubicBezTo>
                  <a:cubicBezTo>
                    <a:pt x="207" y="233"/>
                    <a:pt x="207" y="230"/>
                    <a:pt x="206" y="228"/>
                  </a:cubicBezTo>
                  <a:cubicBezTo>
                    <a:pt x="206" y="228"/>
                    <a:pt x="206" y="228"/>
                    <a:pt x="205" y="227"/>
                  </a:cubicBezTo>
                  <a:cubicBezTo>
                    <a:pt x="205" y="227"/>
                    <a:pt x="204" y="227"/>
                    <a:pt x="204" y="226"/>
                  </a:cubicBezTo>
                  <a:cubicBezTo>
                    <a:pt x="201" y="225"/>
                    <a:pt x="200" y="222"/>
                    <a:pt x="200" y="221"/>
                  </a:cubicBezTo>
                  <a:cubicBezTo>
                    <a:pt x="200" y="221"/>
                    <a:pt x="200" y="221"/>
                    <a:pt x="200" y="221"/>
                  </a:cubicBezTo>
                  <a:cubicBezTo>
                    <a:pt x="202" y="216"/>
                    <a:pt x="202" y="216"/>
                    <a:pt x="202" y="216"/>
                  </a:cubicBezTo>
                  <a:cubicBezTo>
                    <a:pt x="201" y="215"/>
                    <a:pt x="201" y="214"/>
                    <a:pt x="201" y="214"/>
                  </a:cubicBezTo>
                  <a:cubicBezTo>
                    <a:pt x="201" y="214"/>
                    <a:pt x="201" y="214"/>
                    <a:pt x="201" y="214"/>
                  </a:cubicBezTo>
                  <a:cubicBezTo>
                    <a:pt x="200" y="214"/>
                    <a:pt x="200" y="214"/>
                    <a:pt x="200" y="214"/>
                  </a:cubicBezTo>
                  <a:cubicBezTo>
                    <a:pt x="200" y="214"/>
                    <a:pt x="200" y="214"/>
                    <a:pt x="200" y="214"/>
                  </a:cubicBezTo>
                  <a:cubicBezTo>
                    <a:pt x="200" y="214"/>
                    <a:pt x="200" y="214"/>
                    <a:pt x="200" y="214"/>
                  </a:cubicBezTo>
                  <a:cubicBezTo>
                    <a:pt x="193" y="213"/>
                    <a:pt x="193" y="213"/>
                    <a:pt x="193" y="213"/>
                  </a:cubicBezTo>
                  <a:cubicBezTo>
                    <a:pt x="187" y="205"/>
                    <a:pt x="187" y="205"/>
                    <a:pt x="187" y="205"/>
                  </a:cubicBezTo>
                  <a:cubicBezTo>
                    <a:pt x="188" y="204"/>
                    <a:pt x="188" y="204"/>
                    <a:pt x="188" y="204"/>
                  </a:cubicBezTo>
                  <a:cubicBezTo>
                    <a:pt x="188" y="204"/>
                    <a:pt x="189" y="198"/>
                    <a:pt x="189" y="197"/>
                  </a:cubicBezTo>
                  <a:cubicBezTo>
                    <a:pt x="189" y="197"/>
                    <a:pt x="189" y="197"/>
                    <a:pt x="189" y="197"/>
                  </a:cubicBezTo>
                  <a:cubicBezTo>
                    <a:pt x="185" y="195"/>
                    <a:pt x="185" y="195"/>
                    <a:pt x="185" y="195"/>
                  </a:cubicBezTo>
                  <a:cubicBezTo>
                    <a:pt x="187" y="191"/>
                    <a:pt x="187" y="191"/>
                    <a:pt x="187" y="191"/>
                  </a:cubicBezTo>
                  <a:cubicBezTo>
                    <a:pt x="184" y="186"/>
                    <a:pt x="184" y="186"/>
                    <a:pt x="184" y="186"/>
                  </a:cubicBezTo>
                  <a:cubicBezTo>
                    <a:pt x="185" y="183"/>
                    <a:pt x="185" y="183"/>
                    <a:pt x="185" y="183"/>
                  </a:cubicBezTo>
                  <a:cubicBezTo>
                    <a:pt x="183" y="180"/>
                    <a:pt x="183" y="180"/>
                    <a:pt x="183" y="180"/>
                  </a:cubicBezTo>
                  <a:cubicBezTo>
                    <a:pt x="182" y="177"/>
                    <a:pt x="182" y="177"/>
                    <a:pt x="182" y="177"/>
                  </a:cubicBezTo>
                  <a:cubicBezTo>
                    <a:pt x="186" y="172"/>
                    <a:pt x="186" y="172"/>
                    <a:pt x="186" y="172"/>
                  </a:cubicBezTo>
                  <a:cubicBezTo>
                    <a:pt x="186" y="170"/>
                    <a:pt x="186" y="170"/>
                    <a:pt x="186" y="170"/>
                  </a:cubicBezTo>
                  <a:cubicBezTo>
                    <a:pt x="183" y="164"/>
                    <a:pt x="183" y="164"/>
                    <a:pt x="183" y="164"/>
                  </a:cubicBezTo>
                  <a:cubicBezTo>
                    <a:pt x="181" y="162"/>
                    <a:pt x="181" y="160"/>
                    <a:pt x="181" y="160"/>
                  </a:cubicBezTo>
                  <a:cubicBezTo>
                    <a:pt x="180" y="159"/>
                    <a:pt x="178" y="158"/>
                    <a:pt x="175" y="156"/>
                  </a:cubicBezTo>
                  <a:cubicBezTo>
                    <a:pt x="175" y="156"/>
                    <a:pt x="175" y="156"/>
                    <a:pt x="175" y="156"/>
                  </a:cubicBezTo>
                  <a:cubicBezTo>
                    <a:pt x="172" y="149"/>
                    <a:pt x="172" y="149"/>
                    <a:pt x="172" y="149"/>
                  </a:cubicBezTo>
                  <a:cubicBezTo>
                    <a:pt x="166" y="143"/>
                    <a:pt x="166" y="143"/>
                    <a:pt x="166" y="143"/>
                  </a:cubicBezTo>
                  <a:cubicBezTo>
                    <a:pt x="161" y="137"/>
                    <a:pt x="161" y="137"/>
                    <a:pt x="161" y="137"/>
                  </a:cubicBezTo>
                  <a:cubicBezTo>
                    <a:pt x="158" y="134"/>
                    <a:pt x="158" y="134"/>
                    <a:pt x="158" y="134"/>
                  </a:cubicBezTo>
                  <a:cubicBezTo>
                    <a:pt x="155" y="126"/>
                    <a:pt x="155" y="126"/>
                    <a:pt x="155" y="126"/>
                  </a:cubicBezTo>
                  <a:cubicBezTo>
                    <a:pt x="155" y="124"/>
                    <a:pt x="155" y="124"/>
                    <a:pt x="155" y="124"/>
                  </a:cubicBezTo>
                  <a:cubicBezTo>
                    <a:pt x="155" y="123"/>
                    <a:pt x="156" y="120"/>
                    <a:pt x="156" y="119"/>
                  </a:cubicBezTo>
                  <a:cubicBezTo>
                    <a:pt x="156" y="118"/>
                    <a:pt x="156" y="118"/>
                    <a:pt x="157" y="116"/>
                  </a:cubicBezTo>
                  <a:cubicBezTo>
                    <a:pt x="157" y="114"/>
                    <a:pt x="158" y="110"/>
                    <a:pt x="158" y="108"/>
                  </a:cubicBezTo>
                  <a:cubicBezTo>
                    <a:pt x="158" y="105"/>
                    <a:pt x="160" y="101"/>
                    <a:pt x="160" y="100"/>
                  </a:cubicBezTo>
                  <a:cubicBezTo>
                    <a:pt x="161" y="94"/>
                    <a:pt x="161" y="94"/>
                    <a:pt x="161" y="94"/>
                  </a:cubicBezTo>
                  <a:cubicBezTo>
                    <a:pt x="160" y="93"/>
                    <a:pt x="160" y="93"/>
                    <a:pt x="160" y="93"/>
                  </a:cubicBezTo>
                  <a:cubicBezTo>
                    <a:pt x="155" y="90"/>
                    <a:pt x="155" y="90"/>
                    <a:pt x="155" y="90"/>
                  </a:cubicBezTo>
                  <a:cubicBezTo>
                    <a:pt x="151" y="85"/>
                    <a:pt x="151" y="85"/>
                    <a:pt x="151" y="85"/>
                  </a:cubicBezTo>
                  <a:cubicBezTo>
                    <a:pt x="151" y="85"/>
                    <a:pt x="151" y="85"/>
                    <a:pt x="151" y="85"/>
                  </a:cubicBezTo>
                  <a:cubicBezTo>
                    <a:pt x="151" y="84"/>
                    <a:pt x="149" y="81"/>
                    <a:pt x="145" y="80"/>
                  </a:cubicBezTo>
                  <a:cubicBezTo>
                    <a:pt x="144" y="80"/>
                    <a:pt x="142" y="79"/>
                    <a:pt x="141" y="79"/>
                  </a:cubicBezTo>
                  <a:cubicBezTo>
                    <a:pt x="141" y="79"/>
                    <a:pt x="141" y="79"/>
                    <a:pt x="140" y="79"/>
                  </a:cubicBezTo>
                  <a:cubicBezTo>
                    <a:pt x="140" y="80"/>
                    <a:pt x="140" y="80"/>
                    <a:pt x="140" y="80"/>
                  </a:cubicBezTo>
                  <a:cubicBezTo>
                    <a:pt x="132" y="76"/>
                    <a:pt x="132" y="76"/>
                    <a:pt x="132" y="76"/>
                  </a:cubicBezTo>
                  <a:cubicBezTo>
                    <a:pt x="128" y="69"/>
                    <a:pt x="128" y="69"/>
                    <a:pt x="128" y="69"/>
                  </a:cubicBezTo>
                  <a:cubicBezTo>
                    <a:pt x="124" y="63"/>
                    <a:pt x="124" y="63"/>
                    <a:pt x="124" y="63"/>
                  </a:cubicBezTo>
                  <a:cubicBezTo>
                    <a:pt x="127" y="59"/>
                    <a:pt x="127" y="59"/>
                    <a:pt x="127" y="59"/>
                  </a:cubicBezTo>
                  <a:cubicBezTo>
                    <a:pt x="128" y="52"/>
                    <a:pt x="128" y="52"/>
                    <a:pt x="128" y="52"/>
                  </a:cubicBezTo>
                  <a:cubicBezTo>
                    <a:pt x="127" y="49"/>
                    <a:pt x="127" y="49"/>
                    <a:pt x="127" y="49"/>
                  </a:cubicBezTo>
                  <a:cubicBezTo>
                    <a:pt x="120" y="48"/>
                    <a:pt x="120" y="48"/>
                    <a:pt x="120" y="48"/>
                  </a:cubicBezTo>
                  <a:cubicBezTo>
                    <a:pt x="122" y="46"/>
                    <a:pt x="122" y="46"/>
                    <a:pt x="122" y="46"/>
                  </a:cubicBezTo>
                  <a:cubicBezTo>
                    <a:pt x="122" y="45"/>
                    <a:pt x="122" y="45"/>
                    <a:pt x="122" y="44"/>
                  </a:cubicBezTo>
                  <a:cubicBezTo>
                    <a:pt x="123" y="44"/>
                    <a:pt x="123" y="44"/>
                    <a:pt x="123" y="44"/>
                  </a:cubicBezTo>
                  <a:cubicBezTo>
                    <a:pt x="123" y="44"/>
                    <a:pt x="123" y="44"/>
                    <a:pt x="123" y="44"/>
                  </a:cubicBezTo>
                  <a:cubicBezTo>
                    <a:pt x="123" y="44"/>
                    <a:pt x="123" y="44"/>
                    <a:pt x="123" y="44"/>
                  </a:cubicBezTo>
                  <a:cubicBezTo>
                    <a:pt x="123" y="43"/>
                    <a:pt x="123" y="43"/>
                    <a:pt x="123" y="43"/>
                  </a:cubicBezTo>
                  <a:cubicBezTo>
                    <a:pt x="123" y="43"/>
                    <a:pt x="123" y="43"/>
                    <a:pt x="123" y="43"/>
                  </a:cubicBezTo>
                  <a:cubicBezTo>
                    <a:pt x="123" y="43"/>
                    <a:pt x="123" y="43"/>
                    <a:pt x="123" y="43"/>
                  </a:cubicBezTo>
                  <a:cubicBezTo>
                    <a:pt x="125" y="41"/>
                    <a:pt x="125" y="41"/>
                    <a:pt x="125" y="41"/>
                  </a:cubicBezTo>
                  <a:cubicBezTo>
                    <a:pt x="125" y="41"/>
                    <a:pt x="126" y="41"/>
                    <a:pt x="126" y="41"/>
                  </a:cubicBezTo>
                  <a:cubicBezTo>
                    <a:pt x="127" y="39"/>
                    <a:pt x="128" y="39"/>
                    <a:pt x="129" y="38"/>
                  </a:cubicBezTo>
                  <a:cubicBezTo>
                    <a:pt x="129" y="38"/>
                    <a:pt x="129" y="38"/>
                    <a:pt x="129" y="38"/>
                  </a:cubicBezTo>
                  <a:cubicBezTo>
                    <a:pt x="129" y="38"/>
                    <a:pt x="129" y="38"/>
                    <a:pt x="129" y="38"/>
                  </a:cubicBezTo>
                  <a:cubicBezTo>
                    <a:pt x="129" y="37"/>
                    <a:pt x="129" y="37"/>
                    <a:pt x="130" y="37"/>
                  </a:cubicBezTo>
                  <a:cubicBezTo>
                    <a:pt x="129" y="37"/>
                    <a:pt x="127" y="36"/>
                    <a:pt x="127" y="35"/>
                  </a:cubicBezTo>
                  <a:cubicBezTo>
                    <a:pt x="127" y="34"/>
                    <a:pt x="126" y="32"/>
                    <a:pt x="126" y="30"/>
                  </a:cubicBezTo>
                  <a:cubicBezTo>
                    <a:pt x="126" y="30"/>
                    <a:pt x="126" y="29"/>
                    <a:pt x="126" y="28"/>
                  </a:cubicBezTo>
                  <a:cubicBezTo>
                    <a:pt x="126" y="27"/>
                    <a:pt x="126" y="25"/>
                    <a:pt x="126" y="23"/>
                  </a:cubicBezTo>
                  <a:cubicBezTo>
                    <a:pt x="126" y="22"/>
                    <a:pt x="128" y="19"/>
                    <a:pt x="128" y="19"/>
                  </a:cubicBezTo>
                  <a:cubicBezTo>
                    <a:pt x="128" y="19"/>
                    <a:pt x="126" y="17"/>
                    <a:pt x="126" y="16"/>
                  </a:cubicBezTo>
                  <a:cubicBezTo>
                    <a:pt x="126" y="15"/>
                    <a:pt x="125" y="13"/>
                    <a:pt x="126" y="12"/>
                  </a:cubicBezTo>
                  <a:cubicBezTo>
                    <a:pt x="126" y="11"/>
                    <a:pt x="126" y="11"/>
                    <a:pt x="126" y="11"/>
                  </a:cubicBezTo>
                  <a:cubicBezTo>
                    <a:pt x="124" y="10"/>
                    <a:pt x="124" y="10"/>
                    <a:pt x="124" y="10"/>
                  </a:cubicBezTo>
                  <a:cubicBezTo>
                    <a:pt x="119" y="9"/>
                    <a:pt x="119" y="9"/>
                    <a:pt x="119" y="9"/>
                  </a:cubicBezTo>
                  <a:cubicBezTo>
                    <a:pt x="108" y="6"/>
                    <a:pt x="108" y="6"/>
                    <a:pt x="108" y="6"/>
                  </a:cubicBezTo>
                  <a:cubicBezTo>
                    <a:pt x="105" y="5"/>
                    <a:pt x="106" y="3"/>
                    <a:pt x="104" y="1"/>
                  </a:cubicBezTo>
                  <a:cubicBezTo>
                    <a:pt x="103" y="0"/>
                    <a:pt x="99" y="1"/>
                    <a:pt x="97" y="1"/>
                  </a:cubicBezTo>
                  <a:cubicBezTo>
                    <a:pt x="93" y="5"/>
                    <a:pt x="93" y="5"/>
                    <a:pt x="93" y="5"/>
                  </a:cubicBezTo>
                  <a:cubicBezTo>
                    <a:pt x="92" y="9"/>
                    <a:pt x="92" y="9"/>
                    <a:pt x="92" y="9"/>
                  </a:cubicBezTo>
                  <a:cubicBezTo>
                    <a:pt x="85" y="9"/>
                    <a:pt x="85" y="9"/>
                    <a:pt x="85" y="9"/>
                  </a:cubicBezTo>
                  <a:cubicBezTo>
                    <a:pt x="82" y="11"/>
                    <a:pt x="82" y="11"/>
                    <a:pt x="82" y="11"/>
                  </a:cubicBezTo>
                  <a:cubicBezTo>
                    <a:pt x="76" y="12"/>
                    <a:pt x="81" y="16"/>
                    <a:pt x="81" y="19"/>
                  </a:cubicBezTo>
                  <a:cubicBezTo>
                    <a:pt x="82" y="20"/>
                    <a:pt x="82" y="20"/>
                    <a:pt x="82" y="20"/>
                  </a:cubicBezTo>
                  <a:cubicBezTo>
                    <a:pt x="79" y="22"/>
                    <a:pt x="79" y="22"/>
                    <a:pt x="79" y="22"/>
                  </a:cubicBezTo>
                  <a:cubicBezTo>
                    <a:pt x="77" y="23"/>
                    <a:pt x="77" y="23"/>
                    <a:pt x="77" y="23"/>
                  </a:cubicBezTo>
                  <a:cubicBezTo>
                    <a:pt x="77" y="23"/>
                    <a:pt x="77" y="23"/>
                    <a:pt x="77" y="23"/>
                  </a:cubicBezTo>
                  <a:cubicBezTo>
                    <a:pt x="75" y="24"/>
                    <a:pt x="79" y="31"/>
                    <a:pt x="78" y="40"/>
                  </a:cubicBezTo>
                  <a:cubicBezTo>
                    <a:pt x="77" y="42"/>
                    <a:pt x="79" y="46"/>
                    <a:pt x="79" y="46"/>
                  </a:cubicBezTo>
                  <a:cubicBezTo>
                    <a:pt x="79" y="46"/>
                    <a:pt x="81" y="52"/>
                    <a:pt x="81" y="55"/>
                  </a:cubicBezTo>
                  <a:cubicBezTo>
                    <a:pt x="81" y="58"/>
                    <a:pt x="79" y="58"/>
                    <a:pt x="79" y="58"/>
                  </a:cubicBezTo>
                  <a:cubicBezTo>
                    <a:pt x="79" y="58"/>
                    <a:pt x="76" y="61"/>
                    <a:pt x="73" y="63"/>
                  </a:cubicBezTo>
                  <a:cubicBezTo>
                    <a:pt x="71" y="65"/>
                    <a:pt x="73" y="66"/>
                    <a:pt x="73" y="66"/>
                  </a:cubicBezTo>
                  <a:cubicBezTo>
                    <a:pt x="73" y="66"/>
                    <a:pt x="73" y="71"/>
                    <a:pt x="74" y="72"/>
                  </a:cubicBezTo>
                  <a:cubicBezTo>
                    <a:pt x="74" y="72"/>
                    <a:pt x="74" y="72"/>
                    <a:pt x="74" y="72"/>
                  </a:cubicBezTo>
                  <a:cubicBezTo>
                    <a:pt x="74" y="72"/>
                    <a:pt x="74" y="72"/>
                    <a:pt x="74" y="72"/>
                  </a:cubicBezTo>
                  <a:cubicBezTo>
                    <a:pt x="74" y="73"/>
                    <a:pt x="74" y="73"/>
                    <a:pt x="74" y="73"/>
                  </a:cubicBezTo>
                  <a:cubicBezTo>
                    <a:pt x="74" y="73"/>
                    <a:pt x="74" y="73"/>
                    <a:pt x="74" y="73"/>
                  </a:cubicBezTo>
                  <a:cubicBezTo>
                    <a:pt x="73" y="73"/>
                    <a:pt x="73" y="73"/>
                    <a:pt x="73" y="73"/>
                  </a:cubicBezTo>
                  <a:cubicBezTo>
                    <a:pt x="73" y="73"/>
                    <a:pt x="73" y="73"/>
                    <a:pt x="73" y="73"/>
                  </a:cubicBezTo>
                  <a:cubicBezTo>
                    <a:pt x="73" y="73"/>
                    <a:pt x="72" y="73"/>
                    <a:pt x="72" y="74"/>
                  </a:cubicBezTo>
                  <a:cubicBezTo>
                    <a:pt x="72" y="74"/>
                    <a:pt x="72" y="74"/>
                    <a:pt x="72" y="74"/>
                  </a:cubicBezTo>
                  <a:cubicBezTo>
                    <a:pt x="71" y="74"/>
                    <a:pt x="70" y="74"/>
                    <a:pt x="70" y="74"/>
                  </a:cubicBezTo>
                  <a:cubicBezTo>
                    <a:pt x="67" y="72"/>
                    <a:pt x="67" y="72"/>
                    <a:pt x="67" y="72"/>
                  </a:cubicBezTo>
                  <a:cubicBezTo>
                    <a:pt x="59" y="70"/>
                    <a:pt x="59" y="70"/>
                    <a:pt x="59" y="70"/>
                  </a:cubicBezTo>
                  <a:cubicBezTo>
                    <a:pt x="56" y="68"/>
                    <a:pt x="56" y="68"/>
                    <a:pt x="56" y="68"/>
                  </a:cubicBezTo>
                  <a:cubicBezTo>
                    <a:pt x="52" y="70"/>
                    <a:pt x="52" y="70"/>
                    <a:pt x="52" y="70"/>
                  </a:cubicBezTo>
                  <a:cubicBezTo>
                    <a:pt x="52" y="72"/>
                    <a:pt x="52" y="72"/>
                    <a:pt x="52" y="72"/>
                  </a:cubicBezTo>
                  <a:cubicBezTo>
                    <a:pt x="50" y="74"/>
                    <a:pt x="50" y="74"/>
                    <a:pt x="50" y="74"/>
                  </a:cubicBezTo>
                  <a:cubicBezTo>
                    <a:pt x="47" y="77"/>
                    <a:pt x="47" y="77"/>
                    <a:pt x="47" y="77"/>
                  </a:cubicBezTo>
                  <a:cubicBezTo>
                    <a:pt x="46" y="77"/>
                    <a:pt x="38" y="75"/>
                    <a:pt x="36" y="74"/>
                  </a:cubicBezTo>
                  <a:cubicBezTo>
                    <a:pt x="34" y="74"/>
                    <a:pt x="27" y="68"/>
                    <a:pt x="27" y="68"/>
                  </a:cubicBezTo>
                  <a:cubicBezTo>
                    <a:pt x="22" y="62"/>
                    <a:pt x="22" y="62"/>
                    <a:pt x="22" y="62"/>
                  </a:cubicBezTo>
                  <a:cubicBezTo>
                    <a:pt x="16" y="55"/>
                    <a:pt x="16" y="55"/>
                    <a:pt x="16" y="55"/>
                  </a:cubicBezTo>
                  <a:cubicBezTo>
                    <a:pt x="13" y="55"/>
                    <a:pt x="13" y="55"/>
                    <a:pt x="13" y="55"/>
                  </a:cubicBezTo>
                  <a:cubicBezTo>
                    <a:pt x="11" y="53"/>
                    <a:pt x="8" y="53"/>
                    <a:pt x="7" y="55"/>
                  </a:cubicBezTo>
                  <a:cubicBezTo>
                    <a:pt x="7" y="55"/>
                    <a:pt x="7" y="55"/>
                    <a:pt x="7" y="55"/>
                  </a:cubicBezTo>
                  <a:cubicBezTo>
                    <a:pt x="6" y="56"/>
                    <a:pt x="6" y="56"/>
                    <a:pt x="6" y="56"/>
                  </a:cubicBezTo>
                  <a:cubicBezTo>
                    <a:pt x="5" y="58"/>
                    <a:pt x="7" y="63"/>
                    <a:pt x="7" y="63"/>
                  </a:cubicBezTo>
                  <a:cubicBezTo>
                    <a:pt x="7" y="63"/>
                    <a:pt x="7" y="64"/>
                    <a:pt x="6" y="64"/>
                  </a:cubicBezTo>
                  <a:cubicBezTo>
                    <a:pt x="6" y="64"/>
                    <a:pt x="6" y="64"/>
                    <a:pt x="6" y="64"/>
                  </a:cubicBezTo>
                  <a:cubicBezTo>
                    <a:pt x="6" y="64"/>
                    <a:pt x="6" y="64"/>
                    <a:pt x="6" y="64"/>
                  </a:cubicBezTo>
                  <a:cubicBezTo>
                    <a:pt x="5" y="64"/>
                    <a:pt x="2" y="65"/>
                    <a:pt x="1" y="65"/>
                  </a:cubicBezTo>
                  <a:cubicBezTo>
                    <a:pt x="0" y="65"/>
                    <a:pt x="1" y="67"/>
                    <a:pt x="1" y="67"/>
                  </a:cubicBezTo>
                  <a:cubicBezTo>
                    <a:pt x="7" y="70"/>
                    <a:pt x="7" y="70"/>
                    <a:pt x="7" y="70"/>
                  </a:cubicBezTo>
                  <a:cubicBezTo>
                    <a:pt x="7" y="74"/>
                    <a:pt x="7" y="74"/>
                    <a:pt x="7" y="74"/>
                  </a:cubicBezTo>
                  <a:cubicBezTo>
                    <a:pt x="11" y="75"/>
                    <a:pt x="11" y="75"/>
                    <a:pt x="11" y="75"/>
                  </a:cubicBezTo>
                  <a:cubicBezTo>
                    <a:pt x="14" y="77"/>
                    <a:pt x="14" y="77"/>
                    <a:pt x="14" y="77"/>
                  </a:cubicBezTo>
                  <a:cubicBezTo>
                    <a:pt x="17" y="81"/>
                    <a:pt x="17" y="81"/>
                    <a:pt x="17" y="81"/>
                  </a:cubicBezTo>
                  <a:cubicBezTo>
                    <a:pt x="17" y="81"/>
                    <a:pt x="18" y="82"/>
                    <a:pt x="19" y="82"/>
                  </a:cubicBezTo>
                  <a:cubicBezTo>
                    <a:pt x="20" y="82"/>
                    <a:pt x="21" y="83"/>
                    <a:pt x="21" y="83"/>
                  </a:cubicBezTo>
                  <a:cubicBezTo>
                    <a:pt x="23" y="86"/>
                    <a:pt x="23" y="86"/>
                    <a:pt x="23" y="86"/>
                  </a:cubicBezTo>
                  <a:cubicBezTo>
                    <a:pt x="26" y="85"/>
                    <a:pt x="26" y="85"/>
                    <a:pt x="26" y="85"/>
                  </a:cubicBezTo>
                  <a:cubicBezTo>
                    <a:pt x="26" y="85"/>
                    <a:pt x="27" y="86"/>
                    <a:pt x="28" y="88"/>
                  </a:cubicBezTo>
                  <a:cubicBezTo>
                    <a:pt x="29" y="89"/>
                    <a:pt x="30" y="88"/>
                    <a:pt x="30" y="88"/>
                  </a:cubicBezTo>
                  <a:cubicBezTo>
                    <a:pt x="34" y="88"/>
                    <a:pt x="34" y="88"/>
                    <a:pt x="34" y="88"/>
                  </a:cubicBezTo>
                  <a:cubicBezTo>
                    <a:pt x="38" y="90"/>
                    <a:pt x="38" y="90"/>
                    <a:pt x="38" y="90"/>
                  </a:cubicBezTo>
                  <a:cubicBezTo>
                    <a:pt x="44" y="93"/>
                    <a:pt x="44" y="93"/>
                    <a:pt x="44" y="93"/>
                  </a:cubicBezTo>
                  <a:cubicBezTo>
                    <a:pt x="44" y="93"/>
                    <a:pt x="49" y="99"/>
                    <a:pt x="49" y="100"/>
                  </a:cubicBezTo>
                  <a:cubicBezTo>
                    <a:pt x="50" y="100"/>
                    <a:pt x="51" y="99"/>
                    <a:pt x="51" y="99"/>
                  </a:cubicBezTo>
                  <a:cubicBezTo>
                    <a:pt x="54" y="104"/>
                    <a:pt x="54" y="104"/>
                    <a:pt x="54" y="104"/>
                  </a:cubicBezTo>
                  <a:cubicBezTo>
                    <a:pt x="59" y="106"/>
                    <a:pt x="59" y="106"/>
                    <a:pt x="59" y="106"/>
                  </a:cubicBezTo>
                  <a:cubicBezTo>
                    <a:pt x="57" y="111"/>
                    <a:pt x="57" y="111"/>
                    <a:pt x="57" y="111"/>
                  </a:cubicBezTo>
                  <a:cubicBezTo>
                    <a:pt x="59" y="121"/>
                    <a:pt x="59" y="121"/>
                    <a:pt x="59" y="121"/>
                  </a:cubicBezTo>
                  <a:cubicBezTo>
                    <a:pt x="59" y="125"/>
                    <a:pt x="59" y="125"/>
                    <a:pt x="59" y="125"/>
                  </a:cubicBezTo>
                  <a:cubicBezTo>
                    <a:pt x="60" y="128"/>
                    <a:pt x="60" y="128"/>
                    <a:pt x="60" y="128"/>
                  </a:cubicBezTo>
                  <a:cubicBezTo>
                    <a:pt x="63" y="127"/>
                    <a:pt x="63" y="127"/>
                    <a:pt x="63" y="127"/>
                  </a:cubicBezTo>
                  <a:cubicBezTo>
                    <a:pt x="64" y="128"/>
                    <a:pt x="64" y="128"/>
                    <a:pt x="64" y="128"/>
                  </a:cubicBezTo>
                  <a:cubicBezTo>
                    <a:pt x="63" y="130"/>
                    <a:pt x="63" y="130"/>
                    <a:pt x="64" y="132"/>
                  </a:cubicBezTo>
                  <a:cubicBezTo>
                    <a:pt x="64" y="134"/>
                    <a:pt x="64" y="134"/>
                    <a:pt x="64" y="134"/>
                  </a:cubicBezTo>
                  <a:cubicBezTo>
                    <a:pt x="64" y="139"/>
                    <a:pt x="64" y="139"/>
                    <a:pt x="64" y="139"/>
                  </a:cubicBezTo>
                  <a:cubicBezTo>
                    <a:pt x="74" y="151"/>
                    <a:pt x="74" y="151"/>
                    <a:pt x="74" y="151"/>
                  </a:cubicBezTo>
                  <a:cubicBezTo>
                    <a:pt x="74" y="155"/>
                    <a:pt x="74" y="155"/>
                    <a:pt x="74" y="155"/>
                  </a:cubicBezTo>
                  <a:cubicBezTo>
                    <a:pt x="74" y="155"/>
                    <a:pt x="74" y="159"/>
                    <a:pt x="74" y="159"/>
                  </a:cubicBezTo>
                  <a:cubicBezTo>
                    <a:pt x="73" y="160"/>
                    <a:pt x="74" y="164"/>
                    <a:pt x="74" y="164"/>
                  </a:cubicBezTo>
                  <a:cubicBezTo>
                    <a:pt x="74" y="164"/>
                    <a:pt x="73" y="168"/>
                    <a:pt x="72" y="168"/>
                  </a:cubicBezTo>
                  <a:cubicBezTo>
                    <a:pt x="71" y="169"/>
                    <a:pt x="71" y="171"/>
                    <a:pt x="71" y="171"/>
                  </a:cubicBezTo>
                  <a:cubicBezTo>
                    <a:pt x="73" y="175"/>
                    <a:pt x="73" y="175"/>
                    <a:pt x="73" y="175"/>
                  </a:cubicBezTo>
                  <a:cubicBezTo>
                    <a:pt x="73" y="179"/>
                    <a:pt x="73" y="179"/>
                    <a:pt x="73" y="179"/>
                  </a:cubicBezTo>
                  <a:cubicBezTo>
                    <a:pt x="77" y="182"/>
                    <a:pt x="77" y="182"/>
                    <a:pt x="77" y="182"/>
                  </a:cubicBezTo>
                  <a:cubicBezTo>
                    <a:pt x="81" y="184"/>
                    <a:pt x="81" y="184"/>
                    <a:pt x="81" y="184"/>
                  </a:cubicBezTo>
                  <a:cubicBezTo>
                    <a:pt x="87" y="196"/>
                    <a:pt x="87" y="196"/>
                    <a:pt x="87" y="196"/>
                  </a:cubicBezTo>
                  <a:cubicBezTo>
                    <a:pt x="90" y="196"/>
                    <a:pt x="90" y="196"/>
                    <a:pt x="90" y="196"/>
                  </a:cubicBezTo>
                  <a:cubicBezTo>
                    <a:pt x="93" y="197"/>
                    <a:pt x="93" y="197"/>
                    <a:pt x="93" y="197"/>
                  </a:cubicBezTo>
                  <a:cubicBezTo>
                    <a:pt x="98" y="201"/>
                    <a:pt x="98" y="201"/>
                    <a:pt x="98" y="201"/>
                  </a:cubicBezTo>
                  <a:cubicBezTo>
                    <a:pt x="99" y="199"/>
                    <a:pt x="99" y="199"/>
                    <a:pt x="99" y="199"/>
                  </a:cubicBezTo>
                  <a:cubicBezTo>
                    <a:pt x="105" y="202"/>
                    <a:pt x="105" y="202"/>
                    <a:pt x="105" y="202"/>
                  </a:cubicBezTo>
                  <a:cubicBezTo>
                    <a:pt x="105" y="202"/>
                    <a:pt x="108" y="204"/>
                    <a:pt x="109" y="205"/>
                  </a:cubicBezTo>
                  <a:cubicBezTo>
                    <a:pt x="110" y="206"/>
                    <a:pt x="110" y="208"/>
                    <a:pt x="111" y="209"/>
                  </a:cubicBezTo>
                  <a:cubicBezTo>
                    <a:pt x="111" y="210"/>
                    <a:pt x="111" y="213"/>
                    <a:pt x="111" y="213"/>
                  </a:cubicBezTo>
                  <a:cubicBezTo>
                    <a:pt x="111" y="213"/>
                    <a:pt x="111" y="216"/>
                    <a:pt x="111" y="217"/>
                  </a:cubicBezTo>
                  <a:cubicBezTo>
                    <a:pt x="111" y="218"/>
                    <a:pt x="112" y="220"/>
                    <a:pt x="112" y="221"/>
                  </a:cubicBezTo>
                  <a:cubicBezTo>
                    <a:pt x="112" y="221"/>
                    <a:pt x="114" y="223"/>
                    <a:pt x="116" y="223"/>
                  </a:cubicBezTo>
                  <a:cubicBezTo>
                    <a:pt x="117" y="224"/>
                    <a:pt x="115" y="225"/>
                    <a:pt x="115" y="225"/>
                  </a:cubicBezTo>
                  <a:cubicBezTo>
                    <a:pt x="113" y="228"/>
                    <a:pt x="113" y="228"/>
                    <a:pt x="113" y="228"/>
                  </a:cubicBezTo>
                  <a:cubicBezTo>
                    <a:pt x="113" y="228"/>
                    <a:pt x="117" y="231"/>
                    <a:pt x="117" y="231"/>
                  </a:cubicBezTo>
                  <a:cubicBezTo>
                    <a:pt x="117" y="232"/>
                    <a:pt x="114" y="232"/>
                    <a:pt x="114" y="232"/>
                  </a:cubicBezTo>
                  <a:cubicBezTo>
                    <a:pt x="109" y="230"/>
                    <a:pt x="112" y="232"/>
                    <a:pt x="107" y="233"/>
                  </a:cubicBezTo>
                  <a:cubicBezTo>
                    <a:pt x="107" y="233"/>
                    <a:pt x="103" y="236"/>
                    <a:pt x="103" y="236"/>
                  </a:cubicBezTo>
                  <a:cubicBezTo>
                    <a:pt x="103" y="239"/>
                    <a:pt x="103" y="239"/>
                    <a:pt x="103" y="239"/>
                  </a:cubicBezTo>
                  <a:cubicBezTo>
                    <a:pt x="103" y="239"/>
                    <a:pt x="102" y="241"/>
                    <a:pt x="101" y="242"/>
                  </a:cubicBezTo>
                  <a:cubicBezTo>
                    <a:pt x="101" y="242"/>
                    <a:pt x="102" y="245"/>
                    <a:pt x="102" y="246"/>
                  </a:cubicBezTo>
                  <a:cubicBezTo>
                    <a:pt x="102" y="248"/>
                    <a:pt x="102" y="250"/>
                    <a:pt x="102" y="250"/>
                  </a:cubicBezTo>
                  <a:cubicBezTo>
                    <a:pt x="99" y="255"/>
                    <a:pt x="99" y="255"/>
                    <a:pt x="99" y="255"/>
                  </a:cubicBezTo>
                  <a:cubicBezTo>
                    <a:pt x="99" y="255"/>
                    <a:pt x="96" y="260"/>
                    <a:pt x="97" y="261"/>
                  </a:cubicBezTo>
                  <a:cubicBezTo>
                    <a:pt x="97" y="263"/>
                    <a:pt x="94" y="265"/>
                    <a:pt x="93" y="267"/>
                  </a:cubicBezTo>
                  <a:cubicBezTo>
                    <a:pt x="92" y="268"/>
                    <a:pt x="92" y="272"/>
                    <a:pt x="91" y="273"/>
                  </a:cubicBezTo>
                  <a:cubicBezTo>
                    <a:pt x="90" y="274"/>
                    <a:pt x="88" y="273"/>
                    <a:pt x="88" y="274"/>
                  </a:cubicBezTo>
                  <a:cubicBezTo>
                    <a:pt x="88" y="275"/>
                    <a:pt x="88" y="279"/>
                    <a:pt x="88" y="280"/>
                  </a:cubicBezTo>
                  <a:cubicBezTo>
                    <a:pt x="87" y="281"/>
                    <a:pt x="86" y="282"/>
                    <a:pt x="85" y="282"/>
                  </a:cubicBezTo>
                  <a:cubicBezTo>
                    <a:pt x="85" y="283"/>
                    <a:pt x="85" y="283"/>
                    <a:pt x="83" y="284"/>
                  </a:cubicBezTo>
                  <a:cubicBezTo>
                    <a:pt x="82" y="285"/>
                    <a:pt x="82" y="284"/>
                    <a:pt x="81" y="284"/>
                  </a:cubicBezTo>
                  <a:cubicBezTo>
                    <a:pt x="80" y="284"/>
                    <a:pt x="80" y="285"/>
                    <a:pt x="80" y="286"/>
                  </a:cubicBezTo>
                  <a:cubicBezTo>
                    <a:pt x="79" y="286"/>
                    <a:pt x="79" y="288"/>
                    <a:pt x="80" y="288"/>
                  </a:cubicBezTo>
                  <a:cubicBezTo>
                    <a:pt x="80" y="288"/>
                    <a:pt x="82" y="289"/>
                    <a:pt x="82" y="289"/>
                  </a:cubicBezTo>
                  <a:cubicBezTo>
                    <a:pt x="82" y="289"/>
                    <a:pt x="82" y="293"/>
                    <a:pt x="81" y="293"/>
                  </a:cubicBezTo>
                  <a:cubicBezTo>
                    <a:pt x="80" y="294"/>
                    <a:pt x="80" y="293"/>
                    <a:pt x="79" y="293"/>
                  </a:cubicBezTo>
                  <a:cubicBezTo>
                    <a:pt x="77" y="292"/>
                    <a:pt x="78" y="293"/>
                    <a:pt x="77" y="294"/>
                  </a:cubicBezTo>
                  <a:cubicBezTo>
                    <a:pt x="75" y="295"/>
                    <a:pt x="77" y="295"/>
                    <a:pt x="77" y="297"/>
                  </a:cubicBezTo>
                  <a:cubicBezTo>
                    <a:pt x="77" y="299"/>
                    <a:pt x="77" y="301"/>
                    <a:pt x="75" y="301"/>
                  </a:cubicBezTo>
                  <a:cubicBezTo>
                    <a:pt x="73" y="301"/>
                    <a:pt x="75" y="301"/>
                    <a:pt x="73" y="301"/>
                  </a:cubicBezTo>
                  <a:cubicBezTo>
                    <a:pt x="72" y="302"/>
                    <a:pt x="73" y="303"/>
                    <a:pt x="72" y="305"/>
                  </a:cubicBezTo>
                  <a:cubicBezTo>
                    <a:pt x="72" y="307"/>
                    <a:pt x="72" y="306"/>
                    <a:pt x="73" y="307"/>
                  </a:cubicBezTo>
                  <a:cubicBezTo>
                    <a:pt x="73" y="308"/>
                    <a:pt x="75" y="308"/>
                    <a:pt x="75" y="310"/>
                  </a:cubicBezTo>
                  <a:cubicBezTo>
                    <a:pt x="75" y="311"/>
                    <a:pt x="75" y="311"/>
                    <a:pt x="75" y="312"/>
                  </a:cubicBezTo>
                  <a:cubicBezTo>
                    <a:pt x="74" y="313"/>
                    <a:pt x="72" y="312"/>
                    <a:pt x="72" y="311"/>
                  </a:cubicBezTo>
                  <a:cubicBezTo>
                    <a:pt x="72" y="310"/>
                    <a:pt x="72" y="309"/>
                    <a:pt x="72" y="309"/>
                  </a:cubicBezTo>
                  <a:cubicBezTo>
                    <a:pt x="72" y="309"/>
                    <a:pt x="71" y="308"/>
                    <a:pt x="69" y="308"/>
                  </a:cubicBezTo>
                  <a:cubicBezTo>
                    <a:pt x="67" y="308"/>
                    <a:pt x="69" y="311"/>
                    <a:pt x="69" y="312"/>
                  </a:cubicBezTo>
                  <a:cubicBezTo>
                    <a:pt x="70" y="314"/>
                    <a:pt x="69" y="315"/>
                    <a:pt x="67" y="314"/>
                  </a:cubicBezTo>
                  <a:cubicBezTo>
                    <a:pt x="65" y="314"/>
                    <a:pt x="66" y="314"/>
                    <a:pt x="66" y="314"/>
                  </a:cubicBezTo>
                  <a:cubicBezTo>
                    <a:pt x="66" y="314"/>
                    <a:pt x="62" y="316"/>
                    <a:pt x="62" y="315"/>
                  </a:cubicBezTo>
                  <a:cubicBezTo>
                    <a:pt x="62" y="315"/>
                    <a:pt x="61" y="314"/>
                    <a:pt x="61" y="314"/>
                  </a:cubicBezTo>
                  <a:cubicBezTo>
                    <a:pt x="60" y="314"/>
                    <a:pt x="60" y="315"/>
                    <a:pt x="59" y="316"/>
                  </a:cubicBezTo>
                  <a:cubicBezTo>
                    <a:pt x="59" y="316"/>
                    <a:pt x="57" y="316"/>
                    <a:pt x="57" y="315"/>
                  </a:cubicBezTo>
                  <a:cubicBezTo>
                    <a:pt x="57" y="314"/>
                    <a:pt x="56" y="311"/>
                    <a:pt x="56" y="311"/>
                  </a:cubicBezTo>
                  <a:cubicBezTo>
                    <a:pt x="56" y="311"/>
                    <a:pt x="54" y="312"/>
                    <a:pt x="54" y="313"/>
                  </a:cubicBezTo>
                  <a:cubicBezTo>
                    <a:pt x="54" y="314"/>
                    <a:pt x="55" y="316"/>
                    <a:pt x="55" y="316"/>
                  </a:cubicBezTo>
                  <a:cubicBezTo>
                    <a:pt x="55" y="318"/>
                    <a:pt x="55" y="318"/>
                    <a:pt x="55" y="318"/>
                  </a:cubicBezTo>
                  <a:cubicBezTo>
                    <a:pt x="56" y="319"/>
                    <a:pt x="56" y="319"/>
                    <a:pt x="56" y="319"/>
                  </a:cubicBezTo>
                  <a:cubicBezTo>
                    <a:pt x="59" y="317"/>
                    <a:pt x="59" y="317"/>
                    <a:pt x="59" y="317"/>
                  </a:cubicBezTo>
                  <a:cubicBezTo>
                    <a:pt x="59" y="317"/>
                    <a:pt x="61" y="320"/>
                    <a:pt x="61" y="321"/>
                  </a:cubicBezTo>
                  <a:cubicBezTo>
                    <a:pt x="61" y="321"/>
                    <a:pt x="59" y="323"/>
                    <a:pt x="59" y="323"/>
                  </a:cubicBezTo>
                  <a:cubicBezTo>
                    <a:pt x="59" y="323"/>
                    <a:pt x="61" y="326"/>
                    <a:pt x="61" y="327"/>
                  </a:cubicBezTo>
                  <a:cubicBezTo>
                    <a:pt x="61" y="328"/>
                    <a:pt x="60" y="331"/>
                    <a:pt x="60" y="331"/>
                  </a:cubicBezTo>
                  <a:cubicBezTo>
                    <a:pt x="60" y="331"/>
                    <a:pt x="58" y="333"/>
                    <a:pt x="57" y="333"/>
                  </a:cubicBezTo>
                  <a:cubicBezTo>
                    <a:pt x="57" y="333"/>
                    <a:pt x="57" y="337"/>
                    <a:pt x="57" y="337"/>
                  </a:cubicBezTo>
                  <a:cubicBezTo>
                    <a:pt x="57" y="340"/>
                    <a:pt x="57" y="340"/>
                    <a:pt x="57" y="340"/>
                  </a:cubicBezTo>
                  <a:cubicBezTo>
                    <a:pt x="56" y="343"/>
                    <a:pt x="56" y="343"/>
                    <a:pt x="56" y="343"/>
                  </a:cubicBezTo>
                  <a:cubicBezTo>
                    <a:pt x="58" y="346"/>
                    <a:pt x="58" y="346"/>
                    <a:pt x="58" y="346"/>
                  </a:cubicBezTo>
                  <a:cubicBezTo>
                    <a:pt x="58" y="346"/>
                    <a:pt x="58" y="348"/>
                    <a:pt x="58" y="348"/>
                  </a:cubicBezTo>
                  <a:cubicBezTo>
                    <a:pt x="58" y="349"/>
                    <a:pt x="58" y="350"/>
                    <a:pt x="59" y="352"/>
                  </a:cubicBezTo>
                  <a:cubicBezTo>
                    <a:pt x="59" y="353"/>
                    <a:pt x="59" y="353"/>
                    <a:pt x="59" y="353"/>
                  </a:cubicBezTo>
                  <a:cubicBezTo>
                    <a:pt x="59" y="353"/>
                    <a:pt x="62" y="357"/>
                    <a:pt x="63" y="358"/>
                  </a:cubicBezTo>
                  <a:cubicBezTo>
                    <a:pt x="64" y="359"/>
                    <a:pt x="64" y="359"/>
                    <a:pt x="64" y="359"/>
                  </a:cubicBezTo>
                  <a:cubicBezTo>
                    <a:pt x="64" y="359"/>
                    <a:pt x="64" y="361"/>
                    <a:pt x="64" y="362"/>
                  </a:cubicBezTo>
                  <a:cubicBezTo>
                    <a:pt x="63" y="363"/>
                    <a:pt x="65" y="365"/>
                    <a:pt x="65" y="365"/>
                  </a:cubicBezTo>
                  <a:cubicBezTo>
                    <a:pt x="65" y="366"/>
                    <a:pt x="65" y="367"/>
                    <a:pt x="65" y="369"/>
                  </a:cubicBezTo>
                  <a:cubicBezTo>
                    <a:pt x="65" y="371"/>
                    <a:pt x="65" y="371"/>
                    <a:pt x="65" y="371"/>
                  </a:cubicBezTo>
                  <a:cubicBezTo>
                    <a:pt x="65" y="371"/>
                    <a:pt x="66" y="373"/>
                    <a:pt x="66" y="373"/>
                  </a:cubicBezTo>
                  <a:cubicBezTo>
                    <a:pt x="66" y="374"/>
                    <a:pt x="68" y="375"/>
                    <a:pt x="68" y="375"/>
                  </a:cubicBezTo>
                  <a:cubicBezTo>
                    <a:pt x="68" y="375"/>
                    <a:pt x="68" y="377"/>
                    <a:pt x="68" y="377"/>
                  </a:cubicBezTo>
                  <a:cubicBezTo>
                    <a:pt x="68" y="377"/>
                    <a:pt x="69" y="378"/>
                    <a:pt x="71" y="379"/>
                  </a:cubicBezTo>
                  <a:cubicBezTo>
                    <a:pt x="72" y="380"/>
                    <a:pt x="72" y="383"/>
                    <a:pt x="72" y="383"/>
                  </a:cubicBezTo>
                  <a:cubicBezTo>
                    <a:pt x="72" y="383"/>
                    <a:pt x="71" y="386"/>
                    <a:pt x="71" y="387"/>
                  </a:cubicBezTo>
                  <a:cubicBezTo>
                    <a:pt x="71" y="387"/>
                    <a:pt x="71" y="389"/>
                    <a:pt x="72" y="390"/>
                  </a:cubicBezTo>
                  <a:cubicBezTo>
                    <a:pt x="73" y="392"/>
                    <a:pt x="73" y="392"/>
                    <a:pt x="73" y="392"/>
                  </a:cubicBezTo>
                  <a:cubicBezTo>
                    <a:pt x="73" y="392"/>
                    <a:pt x="73" y="393"/>
                    <a:pt x="73" y="393"/>
                  </a:cubicBezTo>
                  <a:cubicBezTo>
                    <a:pt x="73" y="393"/>
                    <a:pt x="73" y="394"/>
                    <a:pt x="72" y="394"/>
                  </a:cubicBezTo>
                  <a:cubicBezTo>
                    <a:pt x="71" y="395"/>
                    <a:pt x="72" y="395"/>
                    <a:pt x="72" y="396"/>
                  </a:cubicBezTo>
                  <a:cubicBezTo>
                    <a:pt x="72" y="397"/>
                    <a:pt x="74" y="397"/>
                    <a:pt x="74" y="398"/>
                  </a:cubicBezTo>
                  <a:cubicBezTo>
                    <a:pt x="74" y="399"/>
                    <a:pt x="73" y="399"/>
                    <a:pt x="73" y="400"/>
                  </a:cubicBezTo>
                  <a:cubicBezTo>
                    <a:pt x="74" y="401"/>
                    <a:pt x="73" y="403"/>
                    <a:pt x="73" y="403"/>
                  </a:cubicBezTo>
                  <a:cubicBezTo>
                    <a:pt x="73" y="403"/>
                    <a:pt x="73" y="403"/>
                    <a:pt x="72" y="404"/>
                  </a:cubicBezTo>
                  <a:cubicBezTo>
                    <a:pt x="70" y="405"/>
                    <a:pt x="72" y="406"/>
                    <a:pt x="72" y="406"/>
                  </a:cubicBezTo>
                  <a:cubicBezTo>
                    <a:pt x="72" y="407"/>
                    <a:pt x="74" y="408"/>
                    <a:pt x="74" y="408"/>
                  </a:cubicBezTo>
                  <a:cubicBezTo>
                    <a:pt x="74" y="408"/>
                    <a:pt x="74" y="409"/>
                    <a:pt x="73" y="410"/>
                  </a:cubicBezTo>
                  <a:cubicBezTo>
                    <a:pt x="72" y="411"/>
                    <a:pt x="72" y="412"/>
                    <a:pt x="72" y="412"/>
                  </a:cubicBezTo>
                  <a:cubicBezTo>
                    <a:pt x="72" y="413"/>
                    <a:pt x="72" y="412"/>
                    <a:pt x="73" y="414"/>
                  </a:cubicBezTo>
                  <a:cubicBezTo>
                    <a:pt x="74" y="415"/>
                    <a:pt x="73" y="415"/>
                    <a:pt x="73" y="415"/>
                  </a:cubicBezTo>
                  <a:cubicBezTo>
                    <a:pt x="73" y="415"/>
                    <a:pt x="74" y="416"/>
                    <a:pt x="74" y="417"/>
                  </a:cubicBezTo>
                  <a:cubicBezTo>
                    <a:pt x="73" y="418"/>
                    <a:pt x="71" y="418"/>
                    <a:pt x="70" y="419"/>
                  </a:cubicBezTo>
                  <a:cubicBezTo>
                    <a:pt x="70" y="419"/>
                    <a:pt x="70" y="421"/>
                    <a:pt x="70" y="421"/>
                  </a:cubicBezTo>
                  <a:cubicBezTo>
                    <a:pt x="70" y="422"/>
                    <a:pt x="73" y="420"/>
                    <a:pt x="74" y="419"/>
                  </a:cubicBezTo>
                  <a:cubicBezTo>
                    <a:pt x="75" y="419"/>
                    <a:pt x="75" y="418"/>
                    <a:pt x="75" y="418"/>
                  </a:cubicBezTo>
                  <a:cubicBezTo>
                    <a:pt x="75" y="418"/>
                    <a:pt x="76" y="419"/>
                    <a:pt x="76" y="420"/>
                  </a:cubicBezTo>
                  <a:cubicBezTo>
                    <a:pt x="76" y="420"/>
                    <a:pt x="75" y="422"/>
                    <a:pt x="75" y="423"/>
                  </a:cubicBezTo>
                  <a:cubicBezTo>
                    <a:pt x="75" y="423"/>
                    <a:pt x="76" y="423"/>
                    <a:pt x="76" y="423"/>
                  </a:cubicBezTo>
                  <a:cubicBezTo>
                    <a:pt x="76" y="423"/>
                    <a:pt x="77" y="423"/>
                    <a:pt x="77" y="424"/>
                  </a:cubicBezTo>
                  <a:cubicBezTo>
                    <a:pt x="78" y="424"/>
                    <a:pt x="77" y="425"/>
                    <a:pt x="76" y="425"/>
                  </a:cubicBezTo>
                  <a:cubicBezTo>
                    <a:pt x="76" y="425"/>
                    <a:pt x="75" y="426"/>
                    <a:pt x="75" y="426"/>
                  </a:cubicBezTo>
                  <a:cubicBezTo>
                    <a:pt x="75" y="426"/>
                    <a:pt x="74" y="428"/>
                    <a:pt x="73" y="428"/>
                  </a:cubicBezTo>
                  <a:cubicBezTo>
                    <a:pt x="73" y="428"/>
                    <a:pt x="75" y="429"/>
                    <a:pt x="75" y="429"/>
                  </a:cubicBezTo>
                  <a:cubicBezTo>
                    <a:pt x="76" y="429"/>
                    <a:pt x="76" y="429"/>
                    <a:pt x="76" y="429"/>
                  </a:cubicBezTo>
                  <a:cubicBezTo>
                    <a:pt x="75" y="430"/>
                    <a:pt x="75" y="430"/>
                    <a:pt x="75" y="430"/>
                  </a:cubicBezTo>
                  <a:cubicBezTo>
                    <a:pt x="75" y="430"/>
                    <a:pt x="74" y="433"/>
                    <a:pt x="74" y="433"/>
                  </a:cubicBezTo>
                  <a:cubicBezTo>
                    <a:pt x="74" y="433"/>
                    <a:pt x="75" y="435"/>
                    <a:pt x="75" y="435"/>
                  </a:cubicBezTo>
                  <a:cubicBezTo>
                    <a:pt x="75" y="435"/>
                    <a:pt x="79" y="435"/>
                    <a:pt x="79" y="434"/>
                  </a:cubicBezTo>
                  <a:cubicBezTo>
                    <a:pt x="80" y="433"/>
                    <a:pt x="80" y="434"/>
                    <a:pt x="80" y="434"/>
                  </a:cubicBezTo>
                  <a:cubicBezTo>
                    <a:pt x="80" y="434"/>
                    <a:pt x="82" y="434"/>
                    <a:pt x="83" y="433"/>
                  </a:cubicBezTo>
                  <a:cubicBezTo>
                    <a:pt x="83" y="433"/>
                    <a:pt x="83" y="433"/>
                    <a:pt x="83" y="432"/>
                  </a:cubicBezTo>
                  <a:cubicBezTo>
                    <a:pt x="84" y="432"/>
                    <a:pt x="85" y="433"/>
                    <a:pt x="85" y="433"/>
                  </a:cubicBezTo>
                  <a:cubicBezTo>
                    <a:pt x="85" y="434"/>
                    <a:pt x="85" y="434"/>
                    <a:pt x="85" y="434"/>
                  </a:cubicBezTo>
                  <a:cubicBezTo>
                    <a:pt x="87" y="434"/>
                    <a:pt x="87" y="434"/>
                    <a:pt x="87" y="434"/>
                  </a:cubicBezTo>
                  <a:cubicBezTo>
                    <a:pt x="87" y="435"/>
                    <a:pt x="87" y="435"/>
                    <a:pt x="87" y="435"/>
                  </a:cubicBezTo>
                  <a:cubicBezTo>
                    <a:pt x="87" y="435"/>
                    <a:pt x="88" y="435"/>
                    <a:pt x="88" y="435"/>
                  </a:cubicBezTo>
                  <a:cubicBezTo>
                    <a:pt x="89" y="435"/>
                    <a:pt x="89" y="436"/>
                    <a:pt x="89" y="436"/>
                  </a:cubicBezTo>
                  <a:cubicBezTo>
                    <a:pt x="89" y="436"/>
                    <a:pt x="89" y="437"/>
                    <a:pt x="89" y="438"/>
                  </a:cubicBezTo>
                  <a:cubicBezTo>
                    <a:pt x="89" y="438"/>
                    <a:pt x="89" y="438"/>
                    <a:pt x="89" y="439"/>
                  </a:cubicBezTo>
                  <a:cubicBezTo>
                    <a:pt x="90" y="439"/>
                    <a:pt x="92" y="439"/>
                    <a:pt x="93" y="439"/>
                  </a:cubicBezTo>
                  <a:cubicBezTo>
                    <a:pt x="94" y="438"/>
                    <a:pt x="94" y="437"/>
                    <a:pt x="94" y="437"/>
                  </a:cubicBezTo>
                  <a:cubicBezTo>
                    <a:pt x="94" y="436"/>
                    <a:pt x="94" y="435"/>
                    <a:pt x="94" y="435"/>
                  </a:cubicBezTo>
                  <a:cubicBezTo>
                    <a:pt x="95" y="435"/>
                    <a:pt x="96" y="435"/>
                    <a:pt x="96" y="435"/>
                  </a:cubicBezTo>
                  <a:cubicBezTo>
                    <a:pt x="96" y="435"/>
                    <a:pt x="95" y="436"/>
                    <a:pt x="95" y="436"/>
                  </a:cubicBezTo>
                  <a:cubicBezTo>
                    <a:pt x="95" y="436"/>
                    <a:pt x="94" y="439"/>
                    <a:pt x="94" y="439"/>
                  </a:cubicBezTo>
                  <a:cubicBezTo>
                    <a:pt x="94" y="440"/>
                    <a:pt x="95" y="440"/>
                    <a:pt x="95" y="441"/>
                  </a:cubicBezTo>
                  <a:cubicBezTo>
                    <a:pt x="95" y="441"/>
                    <a:pt x="98" y="441"/>
                    <a:pt x="98" y="441"/>
                  </a:cubicBezTo>
                  <a:cubicBezTo>
                    <a:pt x="98" y="441"/>
                    <a:pt x="99" y="440"/>
                    <a:pt x="99" y="438"/>
                  </a:cubicBezTo>
                  <a:cubicBezTo>
                    <a:pt x="99" y="437"/>
                    <a:pt x="100" y="439"/>
                    <a:pt x="100" y="439"/>
                  </a:cubicBezTo>
                  <a:cubicBezTo>
                    <a:pt x="101" y="440"/>
                    <a:pt x="101" y="441"/>
                    <a:pt x="100" y="441"/>
                  </a:cubicBezTo>
                  <a:cubicBezTo>
                    <a:pt x="100" y="442"/>
                    <a:pt x="100" y="441"/>
                    <a:pt x="98" y="442"/>
                  </a:cubicBezTo>
                  <a:cubicBezTo>
                    <a:pt x="95" y="442"/>
                    <a:pt x="97" y="443"/>
                    <a:pt x="97" y="444"/>
                  </a:cubicBezTo>
                  <a:cubicBezTo>
                    <a:pt x="97" y="444"/>
                    <a:pt x="99" y="445"/>
                    <a:pt x="102" y="445"/>
                  </a:cubicBezTo>
                  <a:cubicBezTo>
                    <a:pt x="104" y="445"/>
                    <a:pt x="103" y="444"/>
                    <a:pt x="103" y="444"/>
                  </a:cubicBezTo>
                  <a:cubicBezTo>
                    <a:pt x="103" y="443"/>
                    <a:pt x="104" y="441"/>
                    <a:pt x="104" y="441"/>
                  </a:cubicBezTo>
                  <a:cubicBezTo>
                    <a:pt x="104" y="441"/>
                    <a:pt x="105" y="442"/>
                    <a:pt x="105" y="443"/>
                  </a:cubicBezTo>
                  <a:cubicBezTo>
                    <a:pt x="105" y="443"/>
                    <a:pt x="105" y="444"/>
                    <a:pt x="104" y="445"/>
                  </a:cubicBezTo>
                  <a:cubicBezTo>
                    <a:pt x="103" y="446"/>
                    <a:pt x="104" y="447"/>
                    <a:pt x="104" y="447"/>
                  </a:cubicBezTo>
                  <a:cubicBezTo>
                    <a:pt x="104" y="447"/>
                    <a:pt x="104" y="447"/>
                    <a:pt x="104" y="448"/>
                  </a:cubicBezTo>
                  <a:cubicBezTo>
                    <a:pt x="104" y="448"/>
                    <a:pt x="102" y="449"/>
                    <a:pt x="102" y="450"/>
                  </a:cubicBezTo>
                  <a:cubicBezTo>
                    <a:pt x="102" y="450"/>
                    <a:pt x="102" y="451"/>
                    <a:pt x="103" y="452"/>
                  </a:cubicBezTo>
                  <a:cubicBezTo>
                    <a:pt x="104" y="453"/>
                    <a:pt x="103" y="452"/>
                    <a:pt x="103" y="453"/>
                  </a:cubicBezTo>
                  <a:cubicBezTo>
                    <a:pt x="103" y="453"/>
                    <a:pt x="102" y="454"/>
                    <a:pt x="102" y="455"/>
                  </a:cubicBezTo>
                  <a:cubicBezTo>
                    <a:pt x="102" y="455"/>
                    <a:pt x="103" y="455"/>
                    <a:pt x="103" y="455"/>
                  </a:cubicBezTo>
                  <a:cubicBezTo>
                    <a:pt x="104" y="454"/>
                    <a:pt x="104" y="454"/>
                    <a:pt x="104" y="454"/>
                  </a:cubicBezTo>
                  <a:cubicBezTo>
                    <a:pt x="104" y="454"/>
                    <a:pt x="105" y="454"/>
                    <a:pt x="107" y="454"/>
                  </a:cubicBezTo>
                  <a:cubicBezTo>
                    <a:pt x="108" y="453"/>
                    <a:pt x="108" y="453"/>
                    <a:pt x="108" y="453"/>
                  </a:cubicBezTo>
                  <a:cubicBezTo>
                    <a:pt x="108" y="453"/>
                    <a:pt x="106" y="452"/>
                    <a:pt x="106" y="451"/>
                  </a:cubicBezTo>
                  <a:cubicBezTo>
                    <a:pt x="106" y="450"/>
                    <a:pt x="107" y="450"/>
                    <a:pt x="107" y="450"/>
                  </a:cubicBezTo>
                  <a:cubicBezTo>
                    <a:pt x="107" y="450"/>
                    <a:pt x="110" y="450"/>
                    <a:pt x="110" y="450"/>
                  </a:cubicBezTo>
                  <a:cubicBezTo>
                    <a:pt x="111" y="449"/>
                    <a:pt x="110" y="450"/>
                    <a:pt x="113" y="449"/>
                  </a:cubicBezTo>
                  <a:cubicBezTo>
                    <a:pt x="115" y="449"/>
                    <a:pt x="113" y="448"/>
                    <a:pt x="113" y="447"/>
                  </a:cubicBezTo>
                  <a:cubicBezTo>
                    <a:pt x="113" y="447"/>
                    <a:pt x="113" y="445"/>
                    <a:pt x="113" y="445"/>
                  </a:cubicBezTo>
                  <a:cubicBezTo>
                    <a:pt x="113" y="445"/>
                    <a:pt x="113" y="446"/>
                    <a:pt x="116" y="448"/>
                  </a:cubicBezTo>
                  <a:cubicBezTo>
                    <a:pt x="118" y="450"/>
                    <a:pt x="116" y="448"/>
                    <a:pt x="116" y="448"/>
                  </a:cubicBezTo>
                  <a:cubicBezTo>
                    <a:pt x="116" y="448"/>
                    <a:pt x="116" y="450"/>
                    <a:pt x="115" y="450"/>
                  </a:cubicBezTo>
                  <a:cubicBezTo>
                    <a:pt x="114" y="451"/>
                    <a:pt x="114" y="451"/>
                    <a:pt x="113" y="452"/>
                  </a:cubicBezTo>
                  <a:cubicBezTo>
                    <a:pt x="112" y="453"/>
                    <a:pt x="113" y="453"/>
                    <a:pt x="113" y="453"/>
                  </a:cubicBezTo>
                  <a:cubicBezTo>
                    <a:pt x="114" y="453"/>
                    <a:pt x="114" y="453"/>
                    <a:pt x="116" y="453"/>
                  </a:cubicBezTo>
                  <a:cubicBezTo>
                    <a:pt x="118" y="453"/>
                    <a:pt x="118" y="452"/>
                    <a:pt x="118" y="452"/>
                  </a:cubicBezTo>
                  <a:cubicBezTo>
                    <a:pt x="118" y="452"/>
                    <a:pt x="118" y="453"/>
                    <a:pt x="119" y="453"/>
                  </a:cubicBezTo>
                  <a:cubicBezTo>
                    <a:pt x="120" y="454"/>
                    <a:pt x="119" y="455"/>
                    <a:pt x="119" y="455"/>
                  </a:cubicBezTo>
                  <a:cubicBezTo>
                    <a:pt x="119" y="455"/>
                    <a:pt x="118" y="455"/>
                    <a:pt x="117" y="455"/>
                  </a:cubicBezTo>
                  <a:cubicBezTo>
                    <a:pt x="117" y="456"/>
                    <a:pt x="118" y="456"/>
                    <a:pt x="118" y="456"/>
                  </a:cubicBezTo>
                  <a:cubicBezTo>
                    <a:pt x="119" y="456"/>
                    <a:pt x="120" y="456"/>
                    <a:pt x="120" y="456"/>
                  </a:cubicBezTo>
                  <a:cubicBezTo>
                    <a:pt x="121" y="456"/>
                    <a:pt x="122" y="456"/>
                    <a:pt x="122" y="455"/>
                  </a:cubicBezTo>
                  <a:cubicBezTo>
                    <a:pt x="122" y="455"/>
                    <a:pt x="123" y="454"/>
                    <a:pt x="123" y="454"/>
                  </a:cubicBezTo>
                  <a:cubicBezTo>
                    <a:pt x="124" y="453"/>
                    <a:pt x="124" y="453"/>
                    <a:pt x="124" y="452"/>
                  </a:cubicBezTo>
                  <a:cubicBezTo>
                    <a:pt x="124" y="451"/>
                    <a:pt x="124" y="451"/>
                    <a:pt x="124" y="451"/>
                  </a:cubicBezTo>
                  <a:cubicBezTo>
                    <a:pt x="124" y="451"/>
                    <a:pt x="124" y="450"/>
                    <a:pt x="124" y="449"/>
                  </a:cubicBezTo>
                  <a:cubicBezTo>
                    <a:pt x="125" y="448"/>
                    <a:pt x="126" y="450"/>
                    <a:pt x="126" y="450"/>
                  </a:cubicBezTo>
                  <a:cubicBezTo>
                    <a:pt x="125" y="451"/>
                    <a:pt x="125" y="451"/>
                    <a:pt x="125" y="451"/>
                  </a:cubicBezTo>
                  <a:cubicBezTo>
                    <a:pt x="127" y="452"/>
                    <a:pt x="127" y="452"/>
                    <a:pt x="127" y="452"/>
                  </a:cubicBezTo>
                  <a:cubicBezTo>
                    <a:pt x="127" y="452"/>
                    <a:pt x="127" y="452"/>
                    <a:pt x="128" y="452"/>
                  </a:cubicBezTo>
                  <a:cubicBezTo>
                    <a:pt x="130" y="451"/>
                    <a:pt x="129" y="451"/>
                    <a:pt x="129" y="451"/>
                  </a:cubicBezTo>
                  <a:cubicBezTo>
                    <a:pt x="130" y="450"/>
                    <a:pt x="131" y="449"/>
                    <a:pt x="131" y="449"/>
                  </a:cubicBezTo>
                  <a:cubicBezTo>
                    <a:pt x="131" y="449"/>
                    <a:pt x="134" y="449"/>
                    <a:pt x="135" y="448"/>
                  </a:cubicBezTo>
                  <a:cubicBezTo>
                    <a:pt x="137" y="448"/>
                    <a:pt x="135" y="448"/>
                    <a:pt x="135" y="447"/>
                  </a:cubicBezTo>
                  <a:cubicBezTo>
                    <a:pt x="135" y="446"/>
                    <a:pt x="136" y="445"/>
                    <a:pt x="137" y="444"/>
                  </a:cubicBezTo>
                  <a:cubicBezTo>
                    <a:pt x="137" y="444"/>
                    <a:pt x="139" y="444"/>
                    <a:pt x="139" y="443"/>
                  </a:cubicBezTo>
                  <a:cubicBezTo>
                    <a:pt x="140" y="443"/>
                    <a:pt x="141" y="443"/>
                    <a:pt x="141" y="443"/>
                  </a:cubicBezTo>
                  <a:cubicBezTo>
                    <a:pt x="142" y="442"/>
                    <a:pt x="142" y="441"/>
                    <a:pt x="143" y="441"/>
                  </a:cubicBezTo>
                  <a:cubicBezTo>
                    <a:pt x="143" y="440"/>
                    <a:pt x="145" y="440"/>
                    <a:pt x="145" y="440"/>
                  </a:cubicBezTo>
                  <a:cubicBezTo>
                    <a:pt x="145" y="440"/>
                    <a:pt x="146" y="442"/>
                    <a:pt x="147" y="442"/>
                  </a:cubicBezTo>
                  <a:cubicBezTo>
                    <a:pt x="148" y="443"/>
                    <a:pt x="149" y="442"/>
                    <a:pt x="149" y="442"/>
                  </a:cubicBezTo>
                  <a:cubicBezTo>
                    <a:pt x="149" y="442"/>
                    <a:pt x="151" y="441"/>
                    <a:pt x="151" y="441"/>
                  </a:cubicBezTo>
                  <a:cubicBezTo>
                    <a:pt x="152" y="440"/>
                    <a:pt x="153" y="439"/>
                    <a:pt x="153" y="439"/>
                  </a:cubicBezTo>
                  <a:cubicBezTo>
                    <a:pt x="153" y="439"/>
                    <a:pt x="154" y="438"/>
                    <a:pt x="154" y="437"/>
                  </a:cubicBezTo>
                  <a:cubicBezTo>
                    <a:pt x="154" y="437"/>
                    <a:pt x="154" y="436"/>
                    <a:pt x="155" y="436"/>
                  </a:cubicBezTo>
                  <a:cubicBezTo>
                    <a:pt x="155" y="436"/>
                    <a:pt x="156" y="436"/>
                    <a:pt x="156" y="436"/>
                  </a:cubicBezTo>
                  <a:cubicBezTo>
                    <a:pt x="156" y="436"/>
                    <a:pt x="158" y="435"/>
                    <a:pt x="158" y="435"/>
                  </a:cubicBezTo>
                  <a:cubicBezTo>
                    <a:pt x="158" y="434"/>
                    <a:pt x="159" y="432"/>
                    <a:pt x="159" y="432"/>
                  </a:cubicBezTo>
                  <a:cubicBezTo>
                    <a:pt x="159" y="432"/>
                    <a:pt x="160" y="434"/>
                    <a:pt x="161" y="434"/>
                  </a:cubicBezTo>
                  <a:cubicBezTo>
                    <a:pt x="161" y="434"/>
                    <a:pt x="167" y="428"/>
                    <a:pt x="167" y="428"/>
                  </a:cubicBezTo>
                  <a:cubicBezTo>
                    <a:pt x="167" y="428"/>
                    <a:pt x="167" y="427"/>
                    <a:pt x="167" y="426"/>
                  </a:cubicBezTo>
                  <a:cubicBezTo>
                    <a:pt x="167" y="426"/>
                    <a:pt x="168" y="424"/>
                    <a:pt x="169" y="424"/>
                  </a:cubicBezTo>
                  <a:cubicBezTo>
                    <a:pt x="169" y="424"/>
                    <a:pt x="171" y="425"/>
                    <a:pt x="171" y="425"/>
                  </a:cubicBezTo>
                  <a:cubicBezTo>
                    <a:pt x="171" y="425"/>
                    <a:pt x="172" y="425"/>
                    <a:pt x="173" y="424"/>
                  </a:cubicBezTo>
                  <a:cubicBezTo>
                    <a:pt x="173" y="424"/>
                    <a:pt x="173" y="422"/>
                    <a:pt x="173" y="422"/>
                  </a:cubicBezTo>
                  <a:cubicBezTo>
                    <a:pt x="173" y="422"/>
                    <a:pt x="175" y="422"/>
                    <a:pt x="175" y="421"/>
                  </a:cubicBezTo>
                  <a:cubicBezTo>
                    <a:pt x="176" y="421"/>
                    <a:pt x="176" y="420"/>
                    <a:pt x="176" y="420"/>
                  </a:cubicBezTo>
                  <a:cubicBezTo>
                    <a:pt x="176" y="419"/>
                    <a:pt x="175" y="416"/>
                    <a:pt x="175" y="416"/>
                  </a:cubicBezTo>
                  <a:cubicBezTo>
                    <a:pt x="175" y="416"/>
                    <a:pt x="176" y="416"/>
                    <a:pt x="177" y="416"/>
                  </a:cubicBezTo>
                  <a:cubicBezTo>
                    <a:pt x="178" y="416"/>
                    <a:pt x="179" y="417"/>
                    <a:pt x="180" y="417"/>
                  </a:cubicBezTo>
                  <a:cubicBezTo>
                    <a:pt x="181" y="418"/>
                    <a:pt x="183" y="415"/>
                    <a:pt x="183" y="415"/>
                  </a:cubicBezTo>
                  <a:cubicBezTo>
                    <a:pt x="183" y="414"/>
                    <a:pt x="183" y="412"/>
                    <a:pt x="183" y="412"/>
                  </a:cubicBezTo>
                  <a:cubicBezTo>
                    <a:pt x="183" y="412"/>
                    <a:pt x="184" y="413"/>
                    <a:pt x="185" y="413"/>
                  </a:cubicBezTo>
                  <a:cubicBezTo>
                    <a:pt x="186" y="414"/>
                    <a:pt x="188" y="414"/>
                    <a:pt x="188" y="414"/>
                  </a:cubicBezTo>
                  <a:cubicBezTo>
                    <a:pt x="189" y="414"/>
                    <a:pt x="189" y="413"/>
                    <a:pt x="189" y="413"/>
                  </a:cubicBezTo>
                  <a:cubicBezTo>
                    <a:pt x="189" y="413"/>
                    <a:pt x="191" y="412"/>
                    <a:pt x="191" y="412"/>
                  </a:cubicBezTo>
                  <a:cubicBezTo>
                    <a:pt x="191" y="412"/>
                    <a:pt x="192" y="411"/>
                    <a:pt x="193" y="410"/>
                  </a:cubicBezTo>
                  <a:cubicBezTo>
                    <a:pt x="194" y="410"/>
                    <a:pt x="195" y="409"/>
                    <a:pt x="195" y="408"/>
                  </a:cubicBezTo>
                  <a:cubicBezTo>
                    <a:pt x="195" y="408"/>
                    <a:pt x="196" y="407"/>
                    <a:pt x="196" y="406"/>
                  </a:cubicBezTo>
                  <a:cubicBezTo>
                    <a:pt x="196" y="406"/>
                    <a:pt x="199" y="405"/>
                    <a:pt x="199" y="405"/>
                  </a:cubicBezTo>
                  <a:cubicBezTo>
                    <a:pt x="201" y="406"/>
                    <a:pt x="201" y="406"/>
                    <a:pt x="201" y="406"/>
                  </a:cubicBezTo>
                  <a:cubicBezTo>
                    <a:pt x="205" y="407"/>
                    <a:pt x="205" y="407"/>
                    <a:pt x="205" y="407"/>
                  </a:cubicBezTo>
                  <a:cubicBezTo>
                    <a:pt x="205" y="407"/>
                    <a:pt x="207" y="406"/>
                    <a:pt x="207" y="406"/>
                  </a:cubicBezTo>
                  <a:cubicBezTo>
                    <a:pt x="207" y="406"/>
                    <a:pt x="207" y="406"/>
                    <a:pt x="208" y="406"/>
                  </a:cubicBezTo>
                  <a:lnTo>
                    <a:pt x="207" y="405"/>
                  </a:ln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1" name="Freeform 216"/>
            <p:cNvSpPr>
              <a:spLocks/>
            </p:cNvSpPr>
            <p:nvPr/>
          </p:nvSpPr>
          <p:spPr bwMode="auto">
            <a:xfrm>
              <a:off x="6200366" y="3014437"/>
              <a:ext cx="11553" cy="10893"/>
            </a:xfrm>
            <a:custGeom>
              <a:avLst/>
              <a:gdLst>
                <a:gd name="T0" fmla="*/ 1 w 4"/>
                <a:gd name="T1" fmla="*/ 1 h 4"/>
                <a:gd name="T2" fmla="*/ 0 w 4"/>
                <a:gd name="T3" fmla="*/ 2 h 4"/>
                <a:gd name="T4" fmla="*/ 0 w 4"/>
                <a:gd name="T5" fmla="*/ 3 h 4"/>
                <a:gd name="T6" fmla="*/ 1 w 4"/>
                <a:gd name="T7" fmla="*/ 4 h 4"/>
                <a:gd name="T8" fmla="*/ 3 w 4"/>
                <a:gd name="T9" fmla="*/ 2 h 4"/>
                <a:gd name="T10" fmla="*/ 2 w 4"/>
                <a:gd name="T11" fmla="*/ 1 h 4"/>
                <a:gd name="T12" fmla="*/ 1 w 4"/>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1" y="1"/>
                  </a:moveTo>
                  <a:cubicBezTo>
                    <a:pt x="1" y="1"/>
                    <a:pt x="0" y="2"/>
                    <a:pt x="0" y="2"/>
                  </a:cubicBezTo>
                  <a:cubicBezTo>
                    <a:pt x="0" y="2"/>
                    <a:pt x="0" y="3"/>
                    <a:pt x="0" y="3"/>
                  </a:cubicBezTo>
                  <a:cubicBezTo>
                    <a:pt x="0" y="4"/>
                    <a:pt x="1" y="4"/>
                    <a:pt x="1" y="4"/>
                  </a:cubicBezTo>
                  <a:cubicBezTo>
                    <a:pt x="2" y="4"/>
                    <a:pt x="2" y="3"/>
                    <a:pt x="3" y="2"/>
                  </a:cubicBezTo>
                  <a:cubicBezTo>
                    <a:pt x="4" y="2"/>
                    <a:pt x="3" y="1"/>
                    <a:pt x="2" y="1"/>
                  </a:cubicBezTo>
                  <a:cubicBezTo>
                    <a:pt x="2" y="0"/>
                    <a:pt x="2" y="1"/>
                    <a:pt x="1" y="1"/>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2" name="Freeform 217"/>
            <p:cNvSpPr>
              <a:spLocks/>
            </p:cNvSpPr>
            <p:nvPr/>
          </p:nvSpPr>
          <p:spPr bwMode="auto">
            <a:xfrm>
              <a:off x="6229248" y="3017161"/>
              <a:ext cx="17330" cy="8170"/>
            </a:xfrm>
            <a:custGeom>
              <a:avLst/>
              <a:gdLst>
                <a:gd name="T0" fmla="*/ 4 w 6"/>
                <a:gd name="T1" fmla="*/ 1 h 3"/>
                <a:gd name="T2" fmla="*/ 3 w 6"/>
                <a:gd name="T3" fmla="*/ 0 h 3"/>
                <a:gd name="T4" fmla="*/ 0 w 6"/>
                <a:gd name="T5" fmla="*/ 1 h 3"/>
                <a:gd name="T6" fmla="*/ 0 w 6"/>
                <a:gd name="T7" fmla="*/ 2 h 3"/>
                <a:gd name="T8" fmla="*/ 2 w 6"/>
                <a:gd name="T9" fmla="*/ 3 h 3"/>
                <a:gd name="T10" fmla="*/ 5 w 6"/>
                <a:gd name="T11" fmla="*/ 1 h 3"/>
                <a:gd name="T12" fmla="*/ 4 w 6"/>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4" y="1"/>
                  </a:moveTo>
                  <a:cubicBezTo>
                    <a:pt x="3" y="0"/>
                    <a:pt x="3" y="0"/>
                    <a:pt x="3" y="0"/>
                  </a:cubicBezTo>
                  <a:cubicBezTo>
                    <a:pt x="3" y="0"/>
                    <a:pt x="1" y="1"/>
                    <a:pt x="0" y="1"/>
                  </a:cubicBezTo>
                  <a:cubicBezTo>
                    <a:pt x="0" y="1"/>
                    <a:pt x="0" y="2"/>
                    <a:pt x="0" y="2"/>
                  </a:cubicBezTo>
                  <a:cubicBezTo>
                    <a:pt x="0" y="2"/>
                    <a:pt x="1" y="3"/>
                    <a:pt x="2" y="3"/>
                  </a:cubicBezTo>
                  <a:cubicBezTo>
                    <a:pt x="2" y="3"/>
                    <a:pt x="4" y="2"/>
                    <a:pt x="5" y="1"/>
                  </a:cubicBezTo>
                  <a:cubicBezTo>
                    <a:pt x="6" y="1"/>
                    <a:pt x="4" y="1"/>
                    <a:pt x="4" y="1"/>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3" name="Freeform 218"/>
            <p:cNvSpPr>
              <a:spLocks/>
            </p:cNvSpPr>
            <p:nvPr/>
          </p:nvSpPr>
          <p:spPr bwMode="auto">
            <a:xfrm>
              <a:off x="6102164" y="2951803"/>
              <a:ext cx="11553" cy="27232"/>
            </a:xfrm>
            <a:custGeom>
              <a:avLst/>
              <a:gdLst>
                <a:gd name="T0" fmla="*/ 1 w 4"/>
                <a:gd name="T1" fmla="*/ 3 h 10"/>
                <a:gd name="T2" fmla="*/ 2 w 4"/>
                <a:gd name="T3" fmla="*/ 5 h 10"/>
                <a:gd name="T4" fmla="*/ 1 w 4"/>
                <a:gd name="T5" fmla="*/ 7 h 10"/>
                <a:gd name="T6" fmla="*/ 4 w 4"/>
                <a:gd name="T7" fmla="*/ 5 h 10"/>
                <a:gd name="T8" fmla="*/ 3 w 4"/>
                <a:gd name="T9" fmla="*/ 2 h 10"/>
                <a:gd name="T10" fmla="*/ 1 w 4"/>
                <a:gd name="T11" fmla="*/ 3 h 10"/>
              </a:gdLst>
              <a:ahLst/>
              <a:cxnLst>
                <a:cxn ang="0">
                  <a:pos x="T0" y="T1"/>
                </a:cxn>
                <a:cxn ang="0">
                  <a:pos x="T2" y="T3"/>
                </a:cxn>
                <a:cxn ang="0">
                  <a:pos x="T4" y="T5"/>
                </a:cxn>
                <a:cxn ang="0">
                  <a:pos x="T6" y="T7"/>
                </a:cxn>
                <a:cxn ang="0">
                  <a:pos x="T8" y="T9"/>
                </a:cxn>
                <a:cxn ang="0">
                  <a:pos x="T10" y="T11"/>
                </a:cxn>
              </a:cxnLst>
              <a:rect l="0" t="0" r="r" b="b"/>
              <a:pathLst>
                <a:path w="4" h="10">
                  <a:moveTo>
                    <a:pt x="1" y="3"/>
                  </a:moveTo>
                  <a:cubicBezTo>
                    <a:pt x="0" y="4"/>
                    <a:pt x="1" y="5"/>
                    <a:pt x="2" y="5"/>
                  </a:cubicBezTo>
                  <a:cubicBezTo>
                    <a:pt x="2" y="6"/>
                    <a:pt x="1" y="5"/>
                    <a:pt x="1" y="7"/>
                  </a:cubicBezTo>
                  <a:cubicBezTo>
                    <a:pt x="0" y="10"/>
                    <a:pt x="4" y="8"/>
                    <a:pt x="4" y="5"/>
                  </a:cubicBezTo>
                  <a:cubicBezTo>
                    <a:pt x="4" y="4"/>
                    <a:pt x="4" y="4"/>
                    <a:pt x="3" y="2"/>
                  </a:cubicBezTo>
                  <a:cubicBezTo>
                    <a:pt x="1" y="0"/>
                    <a:pt x="2" y="2"/>
                    <a:pt x="1" y="3"/>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4" name="Freeform 219"/>
            <p:cNvSpPr>
              <a:spLocks/>
            </p:cNvSpPr>
            <p:nvPr/>
          </p:nvSpPr>
          <p:spPr bwMode="auto">
            <a:xfrm>
              <a:off x="6139711" y="2984482"/>
              <a:ext cx="37547" cy="19062"/>
            </a:xfrm>
            <a:custGeom>
              <a:avLst/>
              <a:gdLst>
                <a:gd name="T0" fmla="*/ 9 w 13"/>
                <a:gd name="T1" fmla="*/ 1 h 7"/>
                <a:gd name="T2" fmla="*/ 7 w 13"/>
                <a:gd name="T3" fmla="*/ 0 h 7"/>
                <a:gd name="T4" fmla="*/ 5 w 13"/>
                <a:gd name="T5" fmla="*/ 0 h 7"/>
                <a:gd name="T6" fmla="*/ 4 w 13"/>
                <a:gd name="T7" fmla="*/ 2 h 7"/>
                <a:gd name="T8" fmla="*/ 3 w 13"/>
                <a:gd name="T9" fmla="*/ 2 h 7"/>
                <a:gd name="T10" fmla="*/ 1 w 13"/>
                <a:gd name="T11" fmla="*/ 1 h 7"/>
                <a:gd name="T12" fmla="*/ 1 w 13"/>
                <a:gd name="T13" fmla="*/ 3 h 7"/>
                <a:gd name="T14" fmla="*/ 1 w 13"/>
                <a:gd name="T15" fmla="*/ 4 h 7"/>
                <a:gd name="T16" fmla="*/ 1 w 13"/>
                <a:gd name="T17" fmla="*/ 6 h 7"/>
                <a:gd name="T18" fmla="*/ 2 w 13"/>
                <a:gd name="T19" fmla="*/ 7 h 7"/>
                <a:gd name="T20" fmla="*/ 4 w 13"/>
                <a:gd name="T21" fmla="*/ 6 h 7"/>
                <a:gd name="T22" fmla="*/ 7 w 13"/>
                <a:gd name="T23" fmla="*/ 4 h 7"/>
                <a:gd name="T24" fmla="*/ 8 w 13"/>
                <a:gd name="T25" fmla="*/ 2 h 7"/>
                <a:gd name="T26" fmla="*/ 12 w 13"/>
                <a:gd name="T27" fmla="*/ 3 h 7"/>
                <a:gd name="T28" fmla="*/ 11 w 13"/>
                <a:gd name="T29" fmla="*/ 1 h 7"/>
                <a:gd name="T30" fmla="*/ 9 w 13"/>
                <a:gd name="T31"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7">
                  <a:moveTo>
                    <a:pt x="9" y="1"/>
                  </a:moveTo>
                  <a:cubicBezTo>
                    <a:pt x="9" y="1"/>
                    <a:pt x="8" y="0"/>
                    <a:pt x="7" y="0"/>
                  </a:cubicBezTo>
                  <a:cubicBezTo>
                    <a:pt x="6" y="0"/>
                    <a:pt x="6" y="0"/>
                    <a:pt x="5" y="0"/>
                  </a:cubicBezTo>
                  <a:cubicBezTo>
                    <a:pt x="5" y="0"/>
                    <a:pt x="5" y="2"/>
                    <a:pt x="4" y="2"/>
                  </a:cubicBezTo>
                  <a:cubicBezTo>
                    <a:pt x="3" y="3"/>
                    <a:pt x="3" y="2"/>
                    <a:pt x="3" y="2"/>
                  </a:cubicBezTo>
                  <a:cubicBezTo>
                    <a:pt x="3" y="1"/>
                    <a:pt x="1" y="1"/>
                    <a:pt x="1" y="1"/>
                  </a:cubicBezTo>
                  <a:cubicBezTo>
                    <a:pt x="1" y="1"/>
                    <a:pt x="1" y="3"/>
                    <a:pt x="1" y="3"/>
                  </a:cubicBezTo>
                  <a:cubicBezTo>
                    <a:pt x="1" y="4"/>
                    <a:pt x="1" y="4"/>
                    <a:pt x="1" y="4"/>
                  </a:cubicBezTo>
                  <a:cubicBezTo>
                    <a:pt x="1" y="4"/>
                    <a:pt x="0" y="5"/>
                    <a:pt x="1" y="6"/>
                  </a:cubicBezTo>
                  <a:cubicBezTo>
                    <a:pt x="1" y="7"/>
                    <a:pt x="2" y="7"/>
                    <a:pt x="2" y="7"/>
                  </a:cubicBezTo>
                  <a:cubicBezTo>
                    <a:pt x="2" y="7"/>
                    <a:pt x="3" y="7"/>
                    <a:pt x="4" y="6"/>
                  </a:cubicBezTo>
                  <a:cubicBezTo>
                    <a:pt x="5" y="6"/>
                    <a:pt x="6" y="5"/>
                    <a:pt x="7" y="4"/>
                  </a:cubicBezTo>
                  <a:cubicBezTo>
                    <a:pt x="7" y="4"/>
                    <a:pt x="8" y="3"/>
                    <a:pt x="8" y="2"/>
                  </a:cubicBezTo>
                  <a:cubicBezTo>
                    <a:pt x="9" y="2"/>
                    <a:pt x="12" y="3"/>
                    <a:pt x="12" y="3"/>
                  </a:cubicBezTo>
                  <a:cubicBezTo>
                    <a:pt x="13" y="3"/>
                    <a:pt x="12" y="1"/>
                    <a:pt x="11" y="1"/>
                  </a:cubicBezTo>
                  <a:cubicBezTo>
                    <a:pt x="11" y="0"/>
                    <a:pt x="9" y="1"/>
                    <a:pt x="9" y="1"/>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5" name="Freeform 220"/>
            <p:cNvSpPr>
              <a:spLocks/>
            </p:cNvSpPr>
            <p:nvPr/>
          </p:nvSpPr>
          <p:spPr bwMode="auto">
            <a:xfrm>
              <a:off x="6125270" y="2987205"/>
              <a:ext cx="14441" cy="8170"/>
            </a:xfrm>
            <a:custGeom>
              <a:avLst/>
              <a:gdLst>
                <a:gd name="T0" fmla="*/ 3 w 5"/>
                <a:gd name="T1" fmla="*/ 1 h 3"/>
                <a:gd name="T2" fmla="*/ 1 w 5"/>
                <a:gd name="T3" fmla="*/ 0 h 3"/>
                <a:gd name="T4" fmla="*/ 0 w 5"/>
                <a:gd name="T5" fmla="*/ 2 h 3"/>
                <a:gd name="T6" fmla="*/ 3 w 5"/>
                <a:gd name="T7" fmla="*/ 3 h 3"/>
                <a:gd name="T8" fmla="*/ 4 w 5"/>
                <a:gd name="T9" fmla="*/ 1 h 3"/>
                <a:gd name="T10" fmla="*/ 3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3" y="1"/>
                  </a:moveTo>
                  <a:cubicBezTo>
                    <a:pt x="2" y="1"/>
                    <a:pt x="2" y="0"/>
                    <a:pt x="1" y="0"/>
                  </a:cubicBezTo>
                  <a:cubicBezTo>
                    <a:pt x="0" y="1"/>
                    <a:pt x="0" y="2"/>
                    <a:pt x="0" y="2"/>
                  </a:cubicBezTo>
                  <a:cubicBezTo>
                    <a:pt x="0" y="2"/>
                    <a:pt x="2" y="3"/>
                    <a:pt x="3" y="3"/>
                  </a:cubicBezTo>
                  <a:cubicBezTo>
                    <a:pt x="5" y="3"/>
                    <a:pt x="4" y="2"/>
                    <a:pt x="4" y="1"/>
                  </a:cubicBezTo>
                  <a:cubicBezTo>
                    <a:pt x="4" y="0"/>
                    <a:pt x="4" y="1"/>
                    <a:pt x="3" y="1"/>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6" name="Freeform 221"/>
            <p:cNvSpPr>
              <a:spLocks/>
            </p:cNvSpPr>
            <p:nvPr/>
          </p:nvSpPr>
          <p:spPr bwMode="auto">
            <a:xfrm>
              <a:off x="9608551" y="2998098"/>
              <a:ext cx="95314" cy="72166"/>
            </a:xfrm>
            <a:custGeom>
              <a:avLst/>
              <a:gdLst>
                <a:gd name="T0" fmla="*/ 22 w 33"/>
                <a:gd name="T1" fmla="*/ 4 h 26"/>
                <a:gd name="T2" fmla="*/ 21 w 33"/>
                <a:gd name="T3" fmla="*/ 4 h 26"/>
                <a:gd name="T4" fmla="*/ 19 w 33"/>
                <a:gd name="T5" fmla="*/ 4 h 26"/>
                <a:gd name="T6" fmla="*/ 11 w 33"/>
                <a:gd name="T7" fmla="*/ 4 h 26"/>
                <a:gd name="T8" fmla="*/ 0 w 33"/>
                <a:gd name="T9" fmla="*/ 5 h 26"/>
                <a:gd name="T10" fmla="*/ 4 w 33"/>
                <a:gd name="T11" fmla="*/ 9 h 26"/>
                <a:gd name="T12" fmla="*/ 4 w 33"/>
                <a:gd name="T13" fmla="*/ 9 h 26"/>
                <a:gd name="T14" fmla="*/ 5 w 33"/>
                <a:gd name="T15" fmla="*/ 10 h 26"/>
                <a:gd name="T16" fmla="*/ 16 w 33"/>
                <a:gd name="T17" fmla="*/ 20 h 26"/>
                <a:gd name="T18" fmla="*/ 15 w 33"/>
                <a:gd name="T19" fmla="*/ 25 h 26"/>
                <a:gd name="T20" fmla="*/ 19 w 33"/>
                <a:gd name="T21" fmla="*/ 26 h 26"/>
                <a:gd name="T22" fmla="*/ 33 w 33"/>
                <a:gd name="T23" fmla="*/ 25 h 26"/>
                <a:gd name="T24" fmla="*/ 33 w 33"/>
                <a:gd name="T25" fmla="*/ 0 h 26"/>
                <a:gd name="T26" fmla="*/ 22 w 33"/>
                <a:gd name="T27"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6">
                  <a:moveTo>
                    <a:pt x="22" y="4"/>
                  </a:moveTo>
                  <a:cubicBezTo>
                    <a:pt x="21" y="4"/>
                    <a:pt x="21" y="4"/>
                    <a:pt x="21" y="4"/>
                  </a:cubicBezTo>
                  <a:cubicBezTo>
                    <a:pt x="20" y="4"/>
                    <a:pt x="20" y="4"/>
                    <a:pt x="19" y="4"/>
                  </a:cubicBezTo>
                  <a:cubicBezTo>
                    <a:pt x="16" y="4"/>
                    <a:pt x="13" y="4"/>
                    <a:pt x="11" y="4"/>
                  </a:cubicBezTo>
                  <a:cubicBezTo>
                    <a:pt x="2" y="4"/>
                    <a:pt x="1" y="5"/>
                    <a:pt x="0" y="5"/>
                  </a:cubicBezTo>
                  <a:cubicBezTo>
                    <a:pt x="0" y="8"/>
                    <a:pt x="3" y="9"/>
                    <a:pt x="4" y="9"/>
                  </a:cubicBezTo>
                  <a:cubicBezTo>
                    <a:pt x="4" y="9"/>
                    <a:pt x="4" y="9"/>
                    <a:pt x="4" y="9"/>
                  </a:cubicBezTo>
                  <a:cubicBezTo>
                    <a:pt x="5" y="10"/>
                    <a:pt x="5" y="10"/>
                    <a:pt x="5" y="10"/>
                  </a:cubicBezTo>
                  <a:cubicBezTo>
                    <a:pt x="16" y="20"/>
                    <a:pt x="16" y="20"/>
                    <a:pt x="16" y="20"/>
                  </a:cubicBezTo>
                  <a:cubicBezTo>
                    <a:pt x="15" y="25"/>
                    <a:pt x="15" y="25"/>
                    <a:pt x="15" y="25"/>
                  </a:cubicBezTo>
                  <a:cubicBezTo>
                    <a:pt x="19" y="26"/>
                    <a:pt x="19" y="26"/>
                    <a:pt x="19" y="26"/>
                  </a:cubicBezTo>
                  <a:cubicBezTo>
                    <a:pt x="33" y="25"/>
                    <a:pt x="33" y="25"/>
                    <a:pt x="33" y="25"/>
                  </a:cubicBezTo>
                  <a:cubicBezTo>
                    <a:pt x="33" y="0"/>
                    <a:pt x="33" y="0"/>
                    <a:pt x="33" y="0"/>
                  </a:cubicBezTo>
                  <a:lnTo>
                    <a:pt x="22" y="4"/>
                  </a:ln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7" name="Freeform 222"/>
            <p:cNvSpPr>
              <a:spLocks/>
            </p:cNvSpPr>
            <p:nvPr/>
          </p:nvSpPr>
          <p:spPr bwMode="auto">
            <a:xfrm>
              <a:off x="9631657" y="3108388"/>
              <a:ext cx="72208" cy="130713"/>
            </a:xfrm>
            <a:custGeom>
              <a:avLst/>
              <a:gdLst>
                <a:gd name="T0" fmla="*/ 8 w 25"/>
                <a:gd name="T1" fmla="*/ 2 h 48"/>
                <a:gd name="T2" fmla="*/ 0 w 25"/>
                <a:gd name="T3" fmla="*/ 11 h 48"/>
                <a:gd name="T4" fmla="*/ 10 w 25"/>
                <a:gd name="T5" fmla="*/ 23 h 48"/>
                <a:gd name="T6" fmla="*/ 9 w 25"/>
                <a:gd name="T7" fmla="*/ 34 h 48"/>
                <a:gd name="T8" fmla="*/ 1 w 25"/>
                <a:gd name="T9" fmla="*/ 40 h 48"/>
                <a:gd name="T10" fmla="*/ 6 w 25"/>
                <a:gd name="T11" fmla="*/ 45 h 48"/>
                <a:gd name="T12" fmla="*/ 18 w 25"/>
                <a:gd name="T13" fmla="*/ 44 h 48"/>
                <a:gd name="T14" fmla="*/ 25 w 25"/>
                <a:gd name="T15" fmla="*/ 48 h 48"/>
                <a:gd name="T16" fmla="*/ 25 w 25"/>
                <a:gd name="T17" fmla="*/ 0 h 48"/>
                <a:gd name="T18" fmla="*/ 8 w 25"/>
                <a:gd name="T19"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48">
                  <a:moveTo>
                    <a:pt x="8" y="2"/>
                  </a:moveTo>
                  <a:cubicBezTo>
                    <a:pt x="0" y="11"/>
                    <a:pt x="0" y="11"/>
                    <a:pt x="0" y="11"/>
                  </a:cubicBezTo>
                  <a:cubicBezTo>
                    <a:pt x="10" y="23"/>
                    <a:pt x="10" y="23"/>
                    <a:pt x="10" y="23"/>
                  </a:cubicBezTo>
                  <a:cubicBezTo>
                    <a:pt x="9" y="34"/>
                    <a:pt x="9" y="34"/>
                    <a:pt x="9" y="34"/>
                  </a:cubicBezTo>
                  <a:cubicBezTo>
                    <a:pt x="1" y="40"/>
                    <a:pt x="1" y="40"/>
                    <a:pt x="1" y="40"/>
                  </a:cubicBezTo>
                  <a:cubicBezTo>
                    <a:pt x="6" y="45"/>
                    <a:pt x="6" y="45"/>
                    <a:pt x="6" y="45"/>
                  </a:cubicBezTo>
                  <a:cubicBezTo>
                    <a:pt x="18" y="44"/>
                    <a:pt x="18" y="44"/>
                    <a:pt x="18" y="44"/>
                  </a:cubicBezTo>
                  <a:cubicBezTo>
                    <a:pt x="25" y="48"/>
                    <a:pt x="25" y="48"/>
                    <a:pt x="25" y="48"/>
                  </a:cubicBezTo>
                  <a:cubicBezTo>
                    <a:pt x="25" y="0"/>
                    <a:pt x="25" y="0"/>
                    <a:pt x="25" y="0"/>
                  </a:cubicBezTo>
                  <a:cubicBezTo>
                    <a:pt x="19" y="0"/>
                    <a:pt x="10" y="2"/>
                    <a:pt x="8" y="2"/>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8" name="Freeform 223"/>
            <p:cNvSpPr>
              <a:spLocks/>
            </p:cNvSpPr>
            <p:nvPr/>
          </p:nvSpPr>
          <p:spPr bwMode="auto">
            <a:xfrm>
              <a:off x="8512444" y="3345306"/>
              <a:ext cx="1191421" cy="1077025"/>
            </a:xfrm>
            <a:custGeom>
              <a:avLst/>
              <a:gdLst>
                <a:gd name="T0" fmla="*/ 402 w 411"/>
                <a:gd name="T1" fmla="*/ 5 h 394"/>
                <a:gd name="T2" fmla="*/ 354 w 411"/>
                <a:gd name="T3" fmla="*/ 7 h 394"/>
                <a:gd name="T4" fmla="*/ 337 w 411"/>
                <a:gd name="T5" fmla="*/ 2 h 394"/>
                <a:gd name="T6" fmla="*/ 324 w 411"/>
                <a:gd name="T7" fmla="*/ 13 h 394"/>
                <a:gd name="T8" fmla="*/ 285 w 411"/>
                <a:gd name="T9" fmla="*/ 14 h 394"/>
                <a:gd name="T10" fmla="*/ 236 w 411"/>
                <a:gd name="T11" fmla="*/ 30 h 394"/>
                <a:gd name="T12" fmla="*/ 231 w 411"/>
                <a:gd name="T13" fmla="*/ 26 h 394"/>
                <a:gd name="T14" fmla="*/ 223 w 411"/>
                <a:gd name="T15" fmla="*/ 44 h 394"/>
                <a:gd name="T16" fmla="*/ 209 w 411"/>
                <a:gd name="T17" fmla="*/ 19 h 394"/>
                <a:gd name="T18" fmla="*/ 187 w 411"/>
                <a:gd name="T19" fmla="*/ 11 h 394"/>
                <a:gd name="T20" fmla="*/ 151 w 411"/>
                <a:gd name="T21" fmla="*/ 14 h 394"/>
                <a:gd name="T22" fmla="*/ 149 w 411"/>
                <a:gd name="T23" fmla="*/ 14 h 394"/>
                <a:gd name="T24" fmla="*/ 135 w 411"/>
                <a:gd name="T25" fmla="*/ 5 h 394"/>
                <a:gd name="T26" fmla="*/ 116 w 411"/>
                <a:gd name="T27" fmla="*/ 19 h 394"/>
                <a:gd name="T28" fmla="*/ 111 w 411"/>
                <a:gd name="T29" fmla="*/ 17 h 394"/>
                <a:gd name="T30" fmla="*/ 101 w 411"/>
                <a:gd name="T31" fmla="*/ 11 h 394"/>
                <a:gd name="T32" fmla="*/ 70 w 411"/>
                <a:gd name="T33" fmla="*/ 44 h 394"/>
                <a:gd name="T34" fmla="*/ 43 w 411"/>
                <a:gd name="T35" fmla="*/ 66 h 394"/>
                <a:gd name="T36" fmla="*/ 63 w 411"/>
                <a:gd name="T37" fmla="*/ 86 h 394"/>
                <a:gd name="T38" fmla="*/ 46 w 411"/>
                <a:gd name="T39" fmla="*/ 97 h 394"/>
                <a:gd name="T40" fmla="*/ 12 w 411"/>
                <a:gd name="T41" fmla="*/ 76 h 394"/>
                <a:gd name="T42" fmla="*/ 10 w 411"/>
                <a:gd name="T43" fmla="*/ 92 h 394"/>
                <a:gd name="T44" fmla="*/ 0 w 411"/>
                <a:gd name="T45" fmla="*/ 103 h 394"/>
                <a:gd name="T46" fmla="*/ 10 w 411"/>
                <a:gd name="T47" fmla="*/ 124 h 394"/>
                <a:gd name="T48" fmla="*/ 15 w 411"/>
                <a:gd name="T49" fmla="*/ 129 h 394"/>
                <a:gd name="T50" fmla="*/ 16 w 411"/>
                <a:gd name="T51" fmla="*/ 132 h 394"/>
                <a:gd name="T52" fmla="*/ 10 w 411"/>
                <a:gd name="T53" fmla="*/ 152 h 394"/>
                <a:gd name="T54" fmla="*/ 10 w 411"/>
                <a:gd name="T55" fmla="*/ 159 h 394"/>
                <a:gd name="T56" fmla="*/ 33 w 411"/>
                <a:gd name="T57" fmla="*/ 176 h 394"/>
                <a:gd name="T58" fmla="*/ 55 w 411"/>
                <a:gd name="T59" fmla="*/ 173 h 394"/>
                <a:gd name="T60" fmla="*/ 98 w 411"/>
                <a:gd name="T61" fmla="*/ 199 h 394"/>
                <a:gd name="T62" fmla="*/ 109 w 411"/>
                <a:gd name="T63" fmla="*/ 220 h 394"/>
                <a:gd name="T64" fmla="*/ 100 w 411"/>
                <a:gd name="T65" fmla="*/ 215 h 394"/>
                <a:gd name="T66" fmla="*/ 119 w 411"/>
                <a:gd name="T67" fmla="*/ 223 h 394"/>
                <a:gd name="T68" fmla="*/ 119 w 411"/>
                <a:gd name="T69" fmla="*/ 225 h 394"/>
                <a:gd name="T70" fmla="*/ 173 w 411"/>
                <a:gd name="T71" fmla="*/ 188 h 394"/>
                <a:gd name="T72" fmla="*/ 229 w 411"/>
                <a:gd name="T73" fmla="*/ 183 h 394"/>
                <a:gd name="T74" fmla="*/ 254 w 411"/>
                <a:gd name="T75" fmla="*/ 213 h 394"/>
                <a:gd name="T76" fmla="*/ 281 w 411"/>
                <a:gd name="T77" fmla="*/ 241 h 394"/>
                <a:gd name="T78" fmla="*/ 307 w 411"/>
                <a:gd name="T79" fmla="*/ 248 h 394"/>
                <a:gd name="T80" fmla="*/ 283 w 411"/>
                <a:gd name="T81" fmla="*/ 279 h 394"/>
                <a:gd name="T82" fmla="*/ 284 w 411"/>
                <a:gd name="T83" fmla="*/ 250 h 394"/>
                <a:gd name="T84" fmla="*/ 256 w 411"/>
                <a:gd name="T85" fmla="*/ 248 h 394"/>
                <a:gd name="T86" fmla="*/ 210 w 411"/>
                <a:gd name="T87" fmla="*/ 254 h 394"/>
                <a:gd name="T88" fmla="*/ 218 w 411"/>
                <a:gd name="T89" fmla="*/ 292 h 394"/>
                <a:gd name="T90" fmla="*/ 184 w 411"/>
                <a:gd name="T91" fmla="*/ 288 h 394"/>
                <a:gd name="T92" fmla="*/ 196 w 411"/>
                <a:gd name="T93" fmla="*/ 297 h 394"/>
                <a:gd name="T94" fmla="*/ 214 w 411"/>
                <a:gd name="T95" fmla="*/ 311 h 394"/>
                <a:gd name="T96" fmla="*/ 234 w 411"/>
                <a:gd name="T97" fmla="*/ 342 h 394"/>
                <a:gd name="T98" fmla="*/ 286 w 411"/>
                <a:gd name="T99" fmla="*/ 345 h 394"/>
                <a:gd name="T100" fmla="*/ 289 w 411"/>
                <a:gd name="T101" fmla="*/ 368 h 394"/>
                <a:gd name="T102" fmla="*/ 304 w 411"/>
                <a:gd name="T103" fmla="*/ 374 h 394"/>
                <a:gd name="T104" fmla="*/ 330 w 411"/>
                <a:gd name="T105" fmla="*/ 358 h 394"/>
                <a:gd name="T106" fmla="*/ 385 w 411"/>
                <a:gd name="T107" fmla="*/ 383 h 394"/>
                <a:gd name="T108" fmla="*/ 409 w 411"/>
                <a:gd name="T109" fmla="*/ 390 h 394"/>
                <a:gd name="T110" fmla="*/ 411 w 411"/>
                <a:gd name="T111" fmla="*/ 368 h 394"/>
                <a:gd name="T112" fmla="*/ 411 w 411"/>
                <a:gd name="T113" fmla="*/ 222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1" h="394">
                  <a:moveTo>
                    <a:pt x="411" y="4"/>
                  </a:moveTo>
                  <a:cubicBezTo>
                    <a:pt x="408" y="5"/>
                    <a:pt x="405" y="5"/>
                    <a:pt x="402" y="5"/>
                  </a:cubicBezTo>
                  <a:cubicBezTo>
                    <a:pt x="396" y="15"/>
                    <a:pt x="396" y="15"/>
                    <a:pt x="396" y="15"/>
                  </a:cubicBezTo>
                  <a:cubicBezTo>
                    <a:pt x="354" y="7"/>
                    <a:pt x="354" y="7"/>
                    <a:pt x="354" y="7"/>
                  </a:cubicBezTo>
                  <a:cubicBezTo>
                    <a:pt x="341" y="0"/>
                    <a:pt x="341" y="0"/>
                    <a:pt x="341" y="0"/>
                  </a:cubicBezTo>
                  <a:cubicBezTo>
                    <a:pt x="337" y="2"/>
                    <a:pt x="337" y="2"/>
                    <a:pt x="337" y="2"/>
                  </a:cubicBezTo>
                  <a:cubicBezTo>
                    <a:pt x="332" y="5"/>
                    <a:pt x="332" y="5"/>
                    <a:pt x="327" y="10"/>
                  </a:cubicBezTo>
                  <a:cubicBezTo>
                    <a:pt x="324" y="13"/>
                    <a:pt x="324" y="13"/>
                    <a:pt x="324" y="13"/>
                  </a:cubicBezTo>
                  <a:cubicBezTo>
                    <a:pt x="299" y="7"/>
                    <a:pt x="299" y="7"/>
                    <a:pt x="299" y="7"/>
                  </a:cubicBezTo>
                  <a:cubicBezTo>
                    <a:pt x="285" y="14"/>
                    <a:pt x="285" y="14"/>
                    <a:pt x="285" y="14"/>
                  </a:cubicBezTo>
                  <a:cubicBezTo>
                    <a:pt x="267" y="31"/>
                    <a:pt x="267" y="31"/>
                    <a:pt x="267" y="31"/>
                  </a:cubicBezTo>
                  <a:cubicBezTo>
                    <a:pt x="236" y="30"/>
                    <a:pt x="236" y="30"/>
                    <a:pt x="236" y="30"/>
                  </a:cubicBezTo>
                  <a:cubicBezTo>
                    <a:pt x="231" y="24"/>
                    <a:pt x="231" y="24"/>
                    <a:pt x="231" y="24"/>
                  </a:cubicBezTo>
                  <a:cubicBezTo>
                    <a:pt x="231" y="26"/>
                    <a:pt x="231" y="26"/>
                    <a:pt x="231" y="26"/>
                  </a:cubicBezTo>
                  <a:cubicBezTo>
                    <a:pt x="238" y="35"/>
                    <a:pt x="238" y="35"/>
                    <a:pt x="238" y="35"/>
                  </a:cubicBezTo>
                  <a:cubicBezTo>
                    <a:pt x="223" y="44"/>
                    <a:pt x="223" y="44"/>
                    <a:pt x="223" y="44"/>
                  </a:cubicBezTo>
                  <a:cubicBezTo>
                    <a:pt x="218" y="31"/>
                    <a:pt x="218" y="31"/>
                    <a:pt x="218" y="31"/>
                  </a:cubicBezTo>
                  <a:cubicBezTo>
                    <a:pt x="209" y="19"/>
                    <a:pt x="209" y="19"/>
                    <a:pt x="209" y="19"/>
                  </a:cubicBezTo>
                  <a:cubicBezTo>
                    <a:pt x="195" y="16"/>
                    <a:pt x="195" y="16"/>
                    <a:pt x="195" y="16"/>
                  </a:cubicBezTo>
                  <a:cubicBezTo>
                    <a:pt x="187" y="11"/>
                    <a:pt x="187" y="11"/>
                    <a:pt x="187" y="11"/>
                  </a:cubicBezTo>
                  <a:cubicBezTo>
                    <a:pt x="187" y="11"/>
                    <a:pt x="187" y="11"/>
                    <a:pt x="187" y="11"/>
                  </a:cubicBezTo>
                  <a:cubicBezTo>
                    <a:pt x="182" y="11"/>
                    <a:pt x="156" y="13"/>
                    <a:pt x="151" y="14"/>
                  </a:cubicBezTo>
                  <a:cubicBezTo>
                    <a:pt x="150" y="14"/>
                    <a:pt x="150" y="14"/>
                    <a:pt x="150" y="14"/>
                  </a:cubicBezTo>
                  <a:cubicBezTo>
                    <a:pt x="149" y="14"/>
                    <a:pt x="149" y="14"/>
                    <a:pt x="149" y="14"/>
                  </a:cubicBezTo>
                  <a:cubicBezTo>
                    <a:pt x="144" y="10"/>
                    <a:pt x="142" y="9"/>
                    <a:pt x="138" y="7"/>
                  </a:cubicBezTo>
                  <a:cubicBezTo>
                    <a:pt x="135" y="5"/>
                    <a:pt x="135" y="5"/>
                    <a:pt x="135" y="5"/>
                  </a:cubicBezTo>
                  <a:cubicBezTo>
                    <a:pt x="128" y="11"/>
                    <a:pt x="128" y="11"/>
                    <a:pt x="128" y="11"/>
                  </a:cubicBezTo>
                  <a:cubicBezTo>
                    <a:pt x="127" y="13"/>
                    <a:pt x="123" y="19"/>
                    <a:pt x="116" y="19"/>
                  </a:cubicBezTo>
                  <a:cubicBezTo>
                    <a:pt x="116" y="19"/>
                    <a:pt x="116" y="19"/>
                    <a:pt x="116" y="19"/>
                  </a:cubicBezTo>
                  <a:cubicBezTo>
                    <a:pt x="114" y="19"/>
                    <a:pt x="112" y="18"/>
                    <a:pt x="111" y="17"/>
                  </a:cubicBezTo>
                  <a:cubicBezTo>
                    <a:pt x="109" y="15"/>
                    <a:pt x="108" y="12"/>
                    <a:pt x="108" y="10"/>
                  </a:cubicBezTo>
                  <a:cubicBezTo>
                    <a:pt x="101" y="11"/>
                    <a:pt x="101" y="11"/>
                    <a:pt x="101" y="11"/>
                  </a:cubicBezTo>
                  <a:cubicBezTo>
                    <a:pt x="87" y="30"/>
                    <a:pt x="87" y="30"/>
                    <a:pt x="87" y="30"/>
                  </a:cubicBezTo>
                  <a:cubicBezTo>
                    <a:pt x="70" y="44"/>
                    <a:pt x="70" y="44"/>
                    <a:pt x="70" y="44"/>
                  </a:cubicBezTo>
                  <a:cubicBezTo>
                    <a:pt x="61" y="59"/>
                    <a:pt x="61" y="59"/>
                    <a:pt x="61" y="59"/>
                  </a:cubicBezTo>
                  <a:cubicBezTo>
                    <a:pt x="43" y="66"/>
                    <a:pt x="43" y="66"/>
                    <a:pt x="43" y="66"/>
                  </a:cubicBezTo>
                  <a:cubicBezTo>
                    <a:pt x="44" y="70"/>
                    <a:pt x="44" y="70"/>
                    <a:pt x="44" y="70"/>
                  </a:cubicBezTo>
                  <a:cubicBezTo>
                    <a:pt x="63" y="86"/>
                    <a:pt x="63" y="86"/>
                    <a:pt x="63" y="86"/>
                  </a:cubicBezTo>
                  <a:cubicBezTo>
                    <a:pt x="47" y="99"/>
                    <a:pt x="47" y="99"/>
                    <a:pt x="47" y="99"/>
                  </a:cubicBezTo>
                  <a:cubicBezTo>
                    <a:pt x="46" y="97"/>
                    <a:pt x="46" y="97"/>
                    <a:pt x="46" y="97"/>
                  </a:cubicBezTo>
                  <a:cubicBezTo>
                    <a:pt x="36" y="87"/>
                    <a:pt x="33" y="86"/>
                    <a:pt x="30" y="85"/>
                  </a:cubicBezTo>
                  <a:cubicBezTo>
                    <a:pt x="26" y="84"/>
                    <a:pt x="22" y="83"/>
                    <a:pt x="12" y="76"/>
                  </a:cubicBezTo>
                  <a:cubicBezTo>
                    <a:pt x="12" y="77"/>
                    <a:pt x="11" y="79"/>
                    <a:pt x="11" y="80"/>
                  </a:cubicBezTo>
                  <a:cubicBezTo>
                    <a:pt x="9" y="85"/>
                    <a:pt x="9" y="85"/>
                    <a:pt x="10" y="92"/>
                  </a:cubicBezTo>
                  <a:cubicBezTo>
                    <a:pt x="11" y="95"/>
                    <a:pt x="11" y="95"/>
                    <a:pt x="11" y="95"/>
                  </a:cubicBezTo>
                  <a:cubicBezTo>
                    <a:pt x="0" y="103"/>
                    <a:pt x="0" y="103"/>
                    <a:pt x="0" y="103"/>
                  </a:cubicBezTo>
                  <a:cubicBezTo>
                    <a:pt x="1" y="106"/>
                    <a:pt x="2" y="108"/>
                    <a:pt x="3" y="110"/>
                  </a:cubicBezTo>
                  <a:cubicBezTo>
                    <a:pt x="5" y="118"/>
                    <a:pt x="5" y="118"/>
                    <a:pt x="10" y="124"/>
                  </a:cubicBezTo>
                  <a:cubicBezTo>
                    <a:pt x="11" y="125"/>
                    <a:pt x="11" y="125"/>
                    <a:pt x="11" y="125"/>
                  </a:cubicBezTo>
                  <a:cubicBezTo>
                    <a:pt x="12" y="126"/>
                    <a:pt x="13" y="127"/>
                    <a:pt x="15" y="129"/>
                  </a:cubicBezTo>
                  <a:cubicBezTo>
                    <a:pt x="16" y="130"/>
                    <a:pt x="16" y="130"/>
                    <a:pt x="16" y="130"/>
                  </a:cubicBezTo>
                  <a:cubicBezTo>
                    <a:pt x="16" y="132"/>
                    <a:pt x="16" y="132"/>
                    <a:pt x="16" y="132"/>
                  </a:cubicBezTo>
                  <a:cubicBezTo>
                    <a:pt x="14" y="134"/>
                    <a:pt x="13" y="136"/>
                    <a:pt x="13" y="138"/>
                  </a:cubicBezTo>
                  <a:cubicBezTo>
                    <a:pt x="9" y="144"/>
                    <a:pt x="9" y="144"/>
                    <a:pt x="10" y="152"/>
                  </a:cubicBezTo>
                  <a:cubicBezTo>
                    <a:pt x="10" y="152"/>
                    <a:pt x="10" y="152"/>
                    <a:pt x="10" y="152"/>
                  </a:cubicBezTo>
                  <a:cubicBezTo>
                    <a:pt x="10" y="154"/>
                    <a:pt x="10" y="156"/>
                    <a:pt x="10" y="159"/>
                  </a:cubicBezTo>
                  <a:cubicBezTo>
                    <a:pt x="28" y="164"/>
                    <a:pt x="28" y="164"/>
                    <a:pt x="28" y="164"/>
                  </a:cubicBezTo>
                  <a:cubicBezTo>
                    <a:pt x="33" y="176"/>
                    <a:pt x="33" y="176"/>
                    <a:pt x="33" y="176"/>
                  </a:cubicBezTo>
                  <a:cubicBezTo>
                    <a:pt x="43" y="180"/>
                    <a:pt x="43" y="180"/>
                    <a:pt x="43" y="180"/>
                  </a:cubicBezTo>
                  <a:cubicBezTo>
                    <a:pt x="55" y="173"/>
                    <a:pt x="55" y="173"/>
                    <a:pt x="55" y="173"/>
                  </a:cubicBezTo>
                  <a:cubicBezTo>
                    <a:pt x="74" y="182"/>
                    <a:pt x="74" y="182"/>
                    <a:pt x="74" y="182"/>
                  </a:cubicBezTo>
                  <a:cubicBezTo>
                    <a:pt x="98" y="199"/>
                    <a:pt x="98" y="199"/>
                    <a:pt x="98" y="199"/>
                  </a:cubicBezTo>
                  <a:cubicBezTo>
                    <a:pt x="112" y="217"/>
                    <a:pt x="112" y="217"/>
                    <a:pt x="112" y="217"/>
                  </a:cubicBezTo>
                  <a:cubicBezTo>
                    <a:pt x="109" y="220"/>
                    <a:pt x="109" y="220"/>
                    <a:pt x="109" y="220"/>
                  </a:cubicBezTo>
                  <a:cubicBezTo>
                    <a:pt x="101" y="214"/>
                    <a:pt x="101" y="214"/>
                    <a:pt x="101" y="214"/>
                  </a:cubicBezTo>
                  <a:cubicBezTo>
                    <a:pt x="100" y="215"/>
                    <a:pt x="100" y="215"/>
                    <a:pt x="100" y="215"/>
                  </a:cubicBezTo>
                  <a:cubicBezTo>
                    <a:pt x="101" y="218"/>
                    <a:pt x="101" y="218"/>
                    <a:pt x="101" y="218"/>
                  </a:cubicBezTo>
                  <a:cubicBezTo>
                    <a:pt x="119" y="223"/>
                    <a:pt x="119" y="223"/>
                    <a:pt x="119" y="223"/>
                  </a:cubicBezTo>
                  <a:cubicBezTo>
                    <a:pt x="119" y="225"/>
                    <a:pt x="119" y="225"/>
                    <a:pt x="119" y="225"/>
                  </a:cubicBezTo>
                  <a:cubicBezTo>
                    <a:pt x="119" y="225"/>
                    <a:pt x="119" y="225"/>
                    <a:pt x="119" y="225"/>
                  </a:cubicBezTo>
                  <a:cubicBezTo>
                    <a:pt x="144" y="210"/>
                    <a:pt x="144" y="210"/>
                    <a:pt x="144" y="210"/>
                  </a:cubicBezTo>
                  <a:cubicBezTo>
                    <a:pt x="173" y="188"/>
                    <a:pt x="173" y="188"/>
                    <a:pt x="173" y="188"/>
                  </a:cubicBezTo>
                  <a:cubicBezTo>
                    <a:pt x="204" y="187"/>
                    <a:pt x="204" y="187"/>
                    <a:pt x="204" y="187"/>
                  </a:cubicBezTo>
                  <a:cubicBezTo>
                    <a:pt x="212" y="189"/>
                    <a:pt x="214" y="194"/>
                    <a:pt x="229" y="183"/>
                  </a:cubicBezTo>
                  <a:cubicBezTo>
                    <a:pt x="244" y="193"/>
                    <a:pt x="244" y="193"/>
                    <a:pt x="244" y="193"/>
                  </a:cubicBezTo>
                  <a:cubicBezTo>
                    <a:pt x="254" y="213"/>
                    <a:pt x="254" y="213"/>
                    <a:pt x="254" y="213"/>
                  </a:cubicBezTo>
                  <a:cubicBezTo>
                    <a:pt x="259" y="240"/>
                    <a:pt x="259" y="240"/>
                    <a:pt x="259" y="240"/>
                  </a:cubicBezTo>
                  <a:cubicBezTo>
                    <a:pt x="281" y="241"/>
                    <a:pt x="281" y="241"/>
                    <a:pt x="281" y="241"/>
                  </a:cubicBezTo>
                  <a:cubicBezTo>
                    <a:pt x="296" y="235"/>
                    <a:pt x="296" y="235"/>
                    <a:pt x="296" y="235"/>
                  </a:cubicBezTo>
                  <a:cubicBezTo>
                    <a:pt x="307" y="243"/>
                    <a:pt x="305" y="240"/>
                    <a:pt x="307" y="248"/>
                  </a:cubicBezTo>
                  <a:cubicBezTo>
                    <a:pt x="297" y="255"/>
                    <a:pt x="299" y="254"/>
                    <a:pt x="288" y="260"/>
                  </a:cubicBezTo>
                  <a:cubicBezTo>
                    <a:pt x="283" y="279"/>
                    <a:pt x="283" y="279"/>
                    <a:pt x="283" y="279"/>
                  </a:cubicBezTo>
                  <a:cubicBezTo>
                    <a:pt x="277" y="280"/>
                    <a:pt x="277" y="280"/>
                    <a:pt x="277" y="280"/>
                  </a:cubicBezTo>
                  <a:cubicBezTo>
                    <a:pt x="277" y="261"/>
                    <a:pt x="276" y="268"/>
                    <a:pt x="284" y="250"/>
                  </a:cubicBezTo>
                  <a:cubicBezTo>
                    <a:pt x="279" y="248"/>
                    <a:pt x="279" y="248"/>
                    <a:pt x="279" y="248"/>
                  </a:cubicBezTo>
                  <a:cubicBezTo>
                    <a:pt x="256" y="248"/>
                    <a:pt x="256" y="248"/>
                    <a:pt x="256" y="248"/>
                  </a:cubicBezTo>
                  <a:cubicBezTo>
                    <a:pt x="234" y="248"/>
                    <a:pt x="244" y="247"/>
                    <a:pt x="221" y="252"/>
                  </a:cubicBezTo>
                  <a:cubicBezTo>
                    <a:pt x="220" y="254"/>
                    <a:pt x="211" y="252"/>
                    <a:pt x="210" y="254"/>
                  </a:cubicBezTo>
                  <a:cubicBezTo>
                    <a:pt x="199" y="270"/>
                    <a:pt x="195" y="274"/>
                    <a:pt x="221" y="283"/>
                  </a:cubicBezTo>
                  <a:cubicBezTo>
                    <a:pt x="218" y="292"/>
                    <a:pt x="218" y="292"/>
                    <a:pt x="218" y="292"/>
                  </a:cubicBezTo>
                  <a:cubicBezTo>
                    <a:pt x="207" y="285"/>
                    <a:pt x="213" y="287"/>
                    <a:pt x="195" y="287"/>
                  </a:cubicBezTo>
                  <a:cubicBezTo>
                    <a:pt x="184" y="288"/>
                    <a:pt x="184" y="288"/>
                    <a:pt x="184" y="288"/>
                  </a:cubicBezTo>
                  <a:cubicBezTo>
                    <a:pt x="184" y="297"/>
                    <a:pt x="184" y="297"/>
                    <a:pt x="184" y="297"/>
                  </a:cubicBezTo>
                  <a:cubicBezTo>
                    <a:pt x="196" y="297"/>
                    <a:pt x="196" y="297"/>
                    <a:pt x="196" y="297"/>
                  </a:cubicBezTo>
                  <a:cubicBezTo>
                    <a:pt x="207" y="303"/>
                    <a:pt x="207" y="303"/>
                    <a:pt x="207" y="303"/>
                  </a:cubicBezTo>
                  <a:cubicBezTo>
                    <a:pt x="214" y="311"/>
                    <a:pt x="214" y="311"/>
                    <a:pt x="214" y="311"/>
                  </a:cubicBezTo>
                  <a:cubicBezTo>
                    <a:pt x="232" y="327"/>
                    <a:pt x="232" y="327"/>
                    <a:pt x="232" y="327"/>
                  </a:cubicBezTo>
                  <a:cubicBezTo>
                    <a:pt x="234" y="342"/>
                    <a:pt x="234" y="342"/>
                    <a:pt x="234" y="342"/>
                  </a:cubicBezTo>
                  <a:cubicBezTo>
                    <a:pt x="244" y="340"/>
                    <a:pt x="243" y="339"/>
                    <a:pt x="252" y="343"/>
                  </a:cubicBezTo>
                  <a:cubicBezTo>
                    <a:pt x="266" y="350"/>
                    <a:pt x="269" y="347"/>
                    <a:pt x="286" y="345"/>
                  </a:cubicBezTo>
                  <a:cubicBezTo>
                    <a:pt x="289" y="352"/>
                    <a:pt x="289" y="352"/>
                    <a:pt x="289" y="352"/>
                  </a:cubicBezTo>
                  <a:cubicBezTo>
                    <a:pt x="289" y="368"/>
                    <a:pt x="289" y="368"/>
                    <a:pt x="289" y="368"/>
                  </a:cubicBezTo>
                  <a:cubicBezTo>
                    <a:pt x="291" y="382"/>
                    <a:pt x="291" y="382"/>
                    <a:pt x="291" y="382"/>
                  </a:cubicBezTo>
                  <a:cubicBezTo>
                    <a:pt x="304" y="374"/>
                    <a:pt x="304" y="374"/>
                    <a:pt x="304" y="374"/>
                  </a:cubicBezTo>
                  <a:cubicBezTo>
                    <a:pt x="310" y="366"/>
                    <a:pt x="310" y="366"/>
                    <a:pt x="310" y="366"/>
                  </a:cubicBezTo>
                  <a:cubicBezTo>
                    <a:pt x="330" y="358"/>
                    <a:pt x="330" y="358"/>
                    <a:pt x="330" y="358"/>
                  </a:cubicBezTo>
                  <a:cubicBezTo>
                    <a:pt x="353" y="361"/>
                    <a:pt x="353" y="361"/>
                    <a:pt x="353" y="361"/>
                  </a:cubicBezTo>
                  <a:cubicBezTo>
                    <a:pt x="354" y="361"/>
                    <a:pt x="382" y="379"/>
                    <a:pt x="385" y="383"/>
                  </a:cubicBezTo>
                  <a:cubicBezTo>
                    <a:pt x="389" y="387"/>
                    <a:pt x="394" y="394"/>
                    <a:pt x="394" y="394"/>
                  </a:cubicBezTo>
                  <a:cubicBezTo>
                    <a:pt x="409" y="390"/>
                    <a:pt x="409" y="390"/>
                    <a:pt x="409" y="390"/>
                  </a:cubicBezTo>
                  <a:cubicBezTo>
                    <a:pt x="411" y="388"/>
                    <a:pt x="411" y="388"/>
                    <a:pt x="411" y="388"/>
                  </a:cubicBezTo>
                  <a:cubicBezTo>
                    <a:pt x="411" y="368"/>
                    <a:pt x="411" y="368"/>
                    <a:pt x="411" y="368"/>
                  </a:cubicBezTo>
                  <a:cubicBezTo>
                    <a:pt x="359" y="245"/>
                    <a:pt x="359" y="245"/>
                    <a:pt x="359" y="245"/>
                  </a:cubicBezTo>
                  <a:cubicBezTo>
                    <a:pt x="411" y="222"/>
                    <a:pt x="411" y="222"/>
                    <a:pt x="411" y="222"/>
                  </a:cubicBezTo>
                  <a:lnTo>
                    <a:pt x="411" y="4"/>
                  </a:ln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9" name="Freeform 224"/>
            <p:cNvSpPr>
              <a:spLocks/>
            </p:cNvSpPr>
            <p:nvPr/>
          </p:nvSpPr>
          <p:spPr bwMode="auto">
            <a:xfrm>
              <a:off x="6455979" y="3684343"/>
              <a:ext cx="1410931" cy="921803"/>
            </a:xfrm>
            <a:custGeom>
              <a:avLst/>
              <a:gdLst>
                <a:gd name="T0" fmla="*/ 403 w 487"/>
                <a:gd name="T1" fmla="*/ 271 h 337"/>
                <a:gd name="T2" fmla="*/ 348 w 487"/>
                <a:gd name="T3" fmla="*/ 250 h 337"/>
                <a:gd name="T4" fmla="*/ 390 w 487"/>
                <a:gd name="T5" fmla="*/ 230 h 337"/>
                <a:gd name="T6" fmla="*/ 429 w 487"/>
                <a:gd name="T7" fmla="*/ 190 h 337"/>
                <a:gd name="T8" fmla="*/ 452 w 487"/>
                <a:gd name="T9" fmla="*/ 171 h 337"/>
                <a:gd name="T10" fmla="*/ 453 w 487"/>
                <a:gd name="T11" fmla="*/ 143 h 337"/>
                <a:gd name="T12" fmla="*/ 487 w 487"/>
                <a:gd name="T13" fmla="*/ 122 h 337"/>
                <a:gd name="T14" fmla="*/ 470 w 487"/>
                <a:gd name="T15" fmla="*/ 83 h 337"/>
                <a:gd name="T16" fmla="*/ 466 w 487"/>
                <a:gd name="T17" fmla="*/ 72 h 337"/>
                <a:gd name="T18" fmla="*/ 453 w 487"/>
                <a:gd name="T19" fmla="*/ 56 h 337"/>
                <a:gd name="T20" fmla="*/ 433 w 487"/>
                <a:gd name="T21" fmla="*/ 54 h 337"/>
                <a:gd name="T22" fmla="*/ 389 w 487"/>
                <a:gd name="T23" fmla="*/ 52 h 337"/>
                <a:gd name="T24" fmla="*/ 362 w 487"/>
                <a:gd name="T25" fmla="*/ 62 h 337"/>
                <a:gd name="T26" fmla="*/ 340 w 487"/>
                <a:gd name="T27" fmla="*/ 67 h 337"/>
                <a:gd name="T28" fmla="*/ 301 w 487"/>
                <a:gd name="T29" fmla="*/ 38 h 337"/>
                <a:gd name="T30" fmla="*/ 280 w 487"/>
                <a:gd name="T31" fmla="*/ 25 h 337"/>
                <a:gd name="T32" fmla="*/ 261 w 487"/>
                <a:gd name="T33" fmla="*/ 4 h 337"/>
                <a:gd name="T34" fmla="*/ 225 w 487"/>
                <a:gd name="T35" fmla="*/ 28 h 337"/>
                <a:gd name="T36" fmla="*/ 189 w 487"/>
                <a:gd name="T37" fmla="*/ 55 h 337"/>
                <a:gd name="T38" fmla="*/ 176 w 487"/>
                <a:gd name="T39" fmla="*/ 69 h 337"/>
                <a:gd name="T40" fmla="*/ 146 w 487"/>
                <a:gd name="T41" fmla="*/ 75 h 337"/>
                <a:gd name="T42" fmla="*/ 117 w 487"/>
                <a:gd name="T43" fmla="*/ 81 h 337"/>
                <a:gd name="T44" fmla="*/ 59 w 487"/>
                <a:gd name="T45" fmla="*/ 80 h 337"/>
                <a:gd name="T46" fmla="*/ 28 w 487"/>
                <a:gd name="T47" fmla="*/ 91 h 337"/>
                <a:gd name="T48" fmla="*/ 16 w 487"/>
                <a:gd name="T49" fmla="*/ 104 h 337"/>
                <a:gd name="T50" fmla="*/ 27 w 487"/>
                <a:gd name="T51" fmla="*/ 124 h 337"/>
                <a:gd name="T52" fmla="*/ 37 w 487"/>
                <a:gd name="T53" fmla="*/ 151 h 337"/>
                <a:gd name="T54" fmla="*/ 26 w 487"/>
                <a:gd name="T55" fmla="*/ 164 h 337"/>
                <a:gd name="T56" fmla="*/ 11 w 487"/>
                <a:gd name="T57" fmla="*/ 199 h 337"/>
                <a:gd name="T58" fmla="*/ 13 w 487"/>
                <a:gd name="T59" fmla="*/ 219 h 337"/>
                <a:gd name="T60" fmla="*/ 5 w 487"/>
                <a:gd name="T61" fmla="*/ 222 h 337"/>
                <a:gd name="T62" fmla="*/ 1 w 487"/>
                <a:gd name="T63" fmla="*/ 236 h 337"/>
                <a:gd name="T64" fmla="*/ 1 w 487"/>
                <a:gd name="T65" fmla="*/ 242 h 337"/>
                <a:gd name="T66" fmla="*/ 9 w 487"/>
                <a:gd name="T67" fmla="*/ 251 h 337"/>
                <a:gd name="T68" fmla="*/ 27 w 487"/>
                <a:gd name="T69" fmla="*/ 256 h 337"/>
                <a:gd name="T70" fmla="*/ 55 w 487"/>
                <a:gd name="T71" fmla="*/ 255 h 337"/>
                <a:gd name="T72" fmla="*/ 110 w 487"/>
                <a:gd name="T73" fmla="*/ 240 h 337"/>
                <a:gd name="T74" fmla="*/ 124 w 487"/>
                <a:gd name="T75" fmla="*/ 224 h 337"/>
                <a:gd name="T76" fmla="*/ 131 w 487"/>
                <a:gd name="T77" fmla="*/ 217 h 337"/>
                <a:gd name="T78" fmla="*/ 142 w 487"/>
                <a:gd name="T79" fmla="*/ 215 h 337"/>
                <a:gd name="T80" fmla="*/ 149 w 487"/>
                <a:gd name="T81" fmla="*/ 209 h 337"/>
                <a:gd name="T82" fmla="*/ 162 w 487"/>
                <a:gd name="T83" fmla="*/ 209 h 337"/>
                <a:gd name="T84" fmla="*/ 176 w 487"/>
                <a:gd name="T85" fmla="*/ 211 h 337"/>
                <a:gd name="T86" fmla="*/ 194 w 487"/>
                <a:gd name="T87" fmla="*/ 217 h 337"/>
                <a:gd name="T88" fmla="*/ 209 w 487"/>
                <a:gd name="T89" fmla="*/ 225 h 337"/>
                <a:gd name="T90" fmla="*/ 214 w 487"/>
                <a:gd name="T91" fmla="*/ 239 h 337"/>
                <a:gd name="T92" fmla="*/ 226 w 487"/>
                <a:gd name="T93" fmla="*/ 250 h 337"/>
                <a:gd name="T94" fmla="*/ 233 w 487"/>
                <a:gd name="T95" fmla="*/ 256 h 337"/>
                <a:gd name="T96" fmla="*/ 243 w 487"/>
                <a:gd name="T97" fmla="*/ 268 h 337"/>
                <a:gd name="T98" fmla="*/ 252 w 487"/>
                <a:gd name="T99" fmla="*/ 275 h 337"/>
                <a:gd name="T100" fmla="*/ 234 w 487"/>
                <a:gd name="T101" fmla="*/ 283 h 337"/>
                <a:gd name="T102" fmla="*/ 229 w 487"/>
                <a:gd name="T103" fmla="*/ 283 h 337"/>
                <a:gd name="T104" fmla="*/ 220 w 487"/>
                <a:gd name="T105" fmla="*/ 286 h 337"/>
                <a:gd name="T106" fmla="*/ 219 w 487"/>
                <a:gd name="T107" fmla="*/ 290 h 337"/>
                <a:gd name="T108" fmla="*/ 217 w 487"/>
                <a:gd name="T109" fmla="*/ 306 h 337"/>
                <a:gd name="T110" fmla="*/ 213 w 487"/>
                <a:gd name="T111" fmla="*/ 318 h 337"/>
                <a:gd name="T112" fmla="*/ 209 w 487"/>
                <a:gd name="T113" fmla="*/ 328 h 337"/>
                <a:gd name="T114" fmla="*/ 248 w 487"/>
                <a:gd name="T115" fmla="*/ 322 h 337"/>
                <a:gd name="T116" fmla="*/ 308 w 487"/>
                <a:gd name="T117" fmla="*/ 248 h 337"/>
                <a:gd name="T118" fmla="*/ 345 w 487"/>
                <a:gd name="T119" fmla="*/ 274 h 337"/>
                <a:gd name="T120" fmla="*/ 367 w 487"/>
                <a:gd name="T121" fmla="*/ 323 h 337"/>
                <a:gd name="T122" fmla="*/ 411 w 487"/>
                <a:gd name="T123" fmla="*/ 282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87" h="337">
                  <a:moveTo>
                    <a:pt x="436" y="262"/>
                  </a:moveTo>
                  <a:cubicBezTo>
                    <a:pt x="436" y="257"/>
                    <a:pt x="436" y="257"/>
                    <a:pt x="436" y="257"/>
                  </a:cubicBezTo>
                  <a:cubicBezTo>
                    <a:pt x="436" y="257"/>
                    <a:pt x="436" y="257"/>
                    <a:pt x="436" y="257"/>
                  </a:cubicBezTo>
                  <a:cubicBezTo>
                    <a:pt x="436" y="257"/>
                    <a:pt x="436" y="255"/>
                    <a:pt x="438" y="253"/>
                  </a:cubicBezTo>
                  <a:cubicBezTo>
                    <a:pt x="437" y="252"/>
                    <a:pt x="437" y="252"/>
                    <a:pt x="436" y="252"/>
                  </a:cubicBezTo>
                  <a:cubicBezTo>
                    <a:pt x="433" y="252"/>
                    <a:pt x="425" y="261"/>
                    <a:pt x="425" y="261"/>
                  </a:cubicBezTo>
                  <a:cubicBezTo>
                    <a:pt x="416" y="262"/>
                    <a:pt x="416" y="262"/>
                    <a:pt x="416" y="262"/>
                  </a:cubicBezTo>
                  <a:cubicBezTo>
                    <a:pt x="416" y="262"/>
                    <a:pt x="412" y="268"/>
                    <a:pt x="411" y="269"/>
                  </a:cubicBezTo>
                  <a:cubicBezTo>
                    <a:pt x="410" y="269"/>
                    <a:pt x="405" y="271"/>
                    <a:pt x="403" y="271"/>
                  </a:cubicBezTo>
                  <a:cubicBezTo>
                    <a:pt x="401" y="270"/>
                    <a:pt x="403" y="279"/>
                    <a:pt x="398" y="269"/>
                  </a:cubicBezTo>
                  <a:cubicBezTo>
                    <a:pt x="392" y="258"/>
                    <a:pt x="390" y="258"/>
                    <a:pt x="390" y="258"/>
                  </a:cubicBezTo>
                  <a:cubicBezTo>
                    <a:pt x="384" y="258"/>
                    <a:pt x="384" y="258"/>
                    <a:pt x="384" y="258"/>
                  </a:cubicBezTo>
                  <a:cubicBezTo>
                    <a:pt x="384" y="258"/>
                    <a:pt x="379" y="260"/>
                    <a:pt x="379" y="259"/>
                  </a:cubicBezTo>
                  <a:cubicBezTo>
                    <a:pt x="378" y="257"/>
                    <a:pt x="376" y="253"/>
                    <a:pt x="376" y="253"/>
                  </a:cubicBezTo>
                  <a:cubicBezTo>
                    <a:pt x="368" y="253"/>
                    <a:pt x="368" y="253"/>
                    <a:pt x="368" y="253"/>
                  </a:cubicBezTo>
                  <a:cubicBezTo>
                    <a:pt x="365" y="254"/>
                    <a:pt x="365" y="254"/>
                    <a:pt x="365" y="254"/>
                  </a:cubicBezTo>
                  <a:cubicBezTo>
                    <a:pt x="353" y="254"/>
                    <a:pt x="353" y="254"/>
                    <a:pt x="353" y="254"/>
                  </a:cubicBezTo>
                  <a:cubicBezTo>
                    <a:pt x="348" y="250"/>
                    <a:pt x="348" y="250"/>
                    <a:pt x="348" y="250"/>
                  </a:cubicBezTo>
                  <a:cubicBezTo>
                    <a:pt x="355" y="247"/>
                    <a:pt x="355" y="247"/>
                    <a:pt x="355" y="247"/>
                  </a:cubicBezTo>
                  <a:cubicBezTo>
                    <a:pt x="355" y="247"/>
                    <a:pt x="357" y="250"/>
                    <a:pt x="358" y="249"/>
                  </a:cubicBezTo>
                  <a:cubicBezTo>
                    <a:pt x="359" y="249"/>
                    <a:pt x="358" y="246"/>
                    <a:pt x="360" y="245"/>
                  </a:cubicBezTo>
                  <a:cubicBezTo>
                    <a:pt x="362" y="244"/>
                    <a:pt x="364" y="242"/>
                    <a:pt x="367" y="244"/>
                  </a:cubicBezTo>
                  <a:cubicBezTo>
                    <a:pt x="369" y="245"/>
                    <a:pt x="367" y="249"/>
                    <a:pt x="371" y="246"/>
                  </a:cubicBezTo>
                  <a:cubicBezTo>
                    <a:pt x="375" y="243"/>
                    <a:pt x="379" y="244"/>
                    <a:pt x="379" y="244"/>
                  </a:cubicBezTo>
                  <a:cubicBezTo>
                    <a:pt x="383" y="236"/>
                    <a:pt x="383" y="236"/>
                    <a:pt x="383" y="236"/>
                  </a:cubicBezTo>
                  <a:cubicBezTo>
                    <a:pt x="387" y="228"/>
                    <a:pt x="387" y="228"/>
                    <a:pt x="387" y="228"/>
                  </a:cubicBezTo>
                  <a:cubicBezTo>
                    <a:pt x="387" y="228"/>
                    <a:pt x="388" y="230"/>
                    <a:pt x="390" y="230"/>
                  </a:cubicBezTo>
                  <a:cubicBezTo>
                    <a:pt x="393" y="230"/>
                    <a:pt x="398" y="220"/>
                    <a:pt x="398" y="220"/>
                  </a:cubicBezTo>
                  <a:cubicBezTo>
                    <a:pt x="398" y="220"/>
                    <a:pt x="398" y="218"/>
                    <a:pt x="399" y="216"/>
                  </a:cubicBezTo>
                  <a:cubicBezTo>
                    <a:pt x="397" y="216"/>
                    <a:pt x="397" y="216"/>
                    <a:pt x="397" y="216"/>
                  </a:cubicBezTo>
                  <a:cubicBezTo>
                    <a:pt x="397" y="214"/>
                    <a:pt x="397" y="214"/>
                    <a:pt x="397" y="214"/>
                  </a:cubicBezTo>
                  <a:cubicBezTo>
                    <a:pt x="397" y="211"/>
                    <a:pt x="398" y="209"/>
                    <a:pt x="400" y="208"/>
                  </a:cubicBezTo>
                  <a:cubicBezTo>
                    <a:pt x="413" y="204"/>
                    <a:pt x="413" y="204"/>
                    <a:pt x="413" y="204"/>
                  </a:cubicBezTo>
                  <a:cubicBezTo>
                    <a:pt x="420" y="200"/>
                    <a:pt x="420" y="200"/>
                    <a:pt x="420" y="200"/>
                  </a:cubicBezTo>
                  <a:cubicBezTo>
                    <a:pt x="421" y="198"/>
                    <a:pt x="425" y="193"/>
                    <a:pt x="427" y="193"/>
                  </a:cubicBezTo>
                  <a:cubicBezTo>
                    <a:pt x="428" y="192"/>
                    <a:pt x="428" y="191"/>
                    <a:pt x="429" y="190"/>
                  </a:cubicBezTo>
                  <a:cubicBezTo>
                    <a:pt x="430" y="189"/>
                    <a:pt x="430" y="188"/>
                    <a:pt x="431" y="187"/>
                  </a:cubicBezTo>
                  <a:cubicBezTo>
                    <a:pt x="433" y="183"/>
                    <a:pt x="435" y="180"/>
                    <a:pt x="435" y="180"/>
                  </a:cubicBezTo>
                  <a:cubicBezTo>
                    <a:pt x="436" y="180"/>
                    <a:pt x="436" y="180"/>
                    <a:pt x="436" y="180"/>
                  </a:cubicBezTo>
                  <a:cubicBezTo>
                    <a:pt x="436" y="180"/>
                    <a:pt x="436" y="180"/>
                    <a:pt x="436" y="180"/>
                  </a:cubicBezTo>
                  <a:cubicBezTo>
                    <a:pt x="439" y="179"/>
                    <a:pt x="441" y="178"/>
                    <a:pt x="443" y="178"/>
                  </a:cubicBezTo>
                  <a:cubicBezTo>
                    <a:pt x="442" y="177"/>
                    <a:pt x="441" y="175"/>
                    <a:pt x="442" y="174"/>
                  </a:cubicBezTo>
                  <a:cubicBezTo>
                    <a:pt x="443" y="172"/>
                    <a:pt x="446" y="171"/>
                    <a:pt x="446" y="171"/>
                  </a:cubicBezTo>
                  <a:cubicBezTo>
                    <a:pt x="449" y="171"/>
                    <a:pt x="449" y="171"/>
                    <a:pt x="449" y="171"/>
                  </a:cubicBezTo>
                  <a:cubicBezTo>
                    <a:pt x="451" y="171"/>
                    <a:pt x="451" y="171"/>
                    <a:pt x="452" y="171"/>
                  </a:cubicBezTo>
                  <a:cubicBezTo>
                    <a:pt x="452" y="170"/>
                    <a:pt x="452" y="170"/>
                    <a:pt x="453" y="169"/>
                  </a:cubicBezTo>
                  <a:cubicBezTo>
                    <a:pt x="453" y="169"/>
                    <a:pt x="453" y="168"/>
                    <a:pt x="453" y="167"/>
                  </a:cubicBezTo>
                  <a:cubicBezTo>
                    <a:pt x="455" y="165"/>
                    <a:pt x="455" y="163"/>
                    <a:pt x="455" y="163"/>
                  </a:cubicBezTo>
                  <a:cubicBezTo>
                    <a:pt x="455" y="162"/>
                    <a:pt x="454" y="160"/>
                    <a:pt x="453" y="159"/>
                  </a:cubicBezTo>
                  <a:cubicBezTo>
                    <a:pt x="451" y="156"/>
                    <a:pt x="451" y="155"/>
                    <a:pt x="450" y="153"/>
                  </a:cubicBezTo>
                  <a:cubicBezTo>
                    <a:pt x="449" y="151"/>
                    <a:pt x="451" y="146"/>
                    <a:pt x="451" y="145"/>
                  </a:cubicBezTo>
                  <a:cubicBezTo>
                    <a:pt x="451" y="145"/>
                    <a:pt x="451" y="145"/>
                    <a:pt x="451" y="145"/>
                  </a:cubicBezTo>
                  <a:cubicBezTo>
                    <a:pt x="451" y="145"/>
                    <a:pt x="451" y="145"/>
                    <a:pt x="451" y="145"/>
                  </a:cubicBezTo>
                  <a:cubicBezTo>
                    <a:pt x="452" y="144"/>
                    <a:pt x="452" y="144"/>
                    <a:pt x="453" y="143"/>
                  </a:cubicBezTo>
                  <a:cubicBezTo>
                    <a:pt x="454" y="143"/>
                    <a:pt x="455" y="142"/>
                    <a:pt x="456" y="142"/>
                  </a:cubicBezTo>
                  <a:cubicBezTo>
                    <a:pt x="457" y="141"/>
                    <a:pt x="458" y="139"/>
                    <a:pt x="460" y="136"/>
                  </a:cubicBezTo>
                  <a:cubicBezTo>
                    <a:pt x="461" y="132"/>
                    <a:pt x="461" y="132"/>
                    <a:pt x="461" y="132"/>
                  </a:cubicBezTo>
                  <a:cubicBezTo>
                    <a:pt x="461" y="132"/>
                    <a:pt x="461" y="132"/>
                    <a:pt x="461" y="132"/>
                  </a:cubicBezTo>
                  <a:cubicBezTo>
                    <a:pt x="462" y="131"/>
                    <a:pt x="465" y="129"/>
                    <a:pt x="467" y="128"/>
                  </a:cubicBezTo>
                  <a:cubicBezTo>
                    <a:pt x="467" y="128"/>
                    <a:pt x="471" y="126"/>
                    <a:pt x="473" y="126"/>
                  </a:cubicBezTo>
                  <a:cubicBezTo>
                    <a:pt x="480" y="123"/>
                    <a:pt x="481" y="122"/>
                    <a:pt x="482" y="122"/>
                  </a:cubicBezTo>
                  <a:cubicBezTo>
                    <a:pt x="485" y="122"/>
                    <a:pt x="485" y="122"/>
                    <a:pt x="485" y="122"/>
                  </a:cubicBezTo>
                  <a:cubicBezTo>
                    <a:pt x="485" y="122"/>
                    <a:pt x="486" y="122"/>
                    <a:pt x="487" y="122"/>
                  </a:cubicBezTo>
                  <a:cubicBezTo>
                    <a:pt x="487" y="122"/>
                    <a:pt x="487" y="122"/>
                    <a:pt x="487" y="122"/>
                  </a:cubicBezTo>
                  <a:cubicBezTo>
                    <a:pt x="484" y="119"/>
                    <a:pt x="483" y="117"/>
                    <a:pt x="482" y="115"/>
                  </a:cubicBezTo>
                  <a:cubicBezTo>
                    <a:pt x="482" y="113"/>
                    <a:pt x="482" y="106"/>
                    <a:pt x="482" y="104"/>
                  </a:cubicBezTo>
                  <a:cubicBezTo>
                    <a:pt x="482" y="104"/>
                    <a:pt x="482" y="104"/>
                    <a:pt x="483" y="104"/>
                  </a:cubicBezTo>
                  <a:cubicBezTo>
                    <a:pt x="481" y="104"/>
                    <a:pt x="480" y="103"/>
                    <a:pt x="479" y="102"/>
                  </a:cubicBezTo>
                  <a:cubicBezTo>
                    <a:pt x="478" y="100"/>
                    <a:pt x="478" y="99"/>
                    <a:pt x="479" y="98"/>
                  </a:cubicBezTo>
                  <a:cubicBezTo>
                    <a:pt x="477" y="97"/>
                    <a:pt x="474" y="95"/>
                    <a:pt x="473" y="94"/>
                  </a:cubicBezTo>
                  <a:cubicBezTo>
                    <a:pt x="469" y="95"/>
                    <a:pt x="469" y="95"/>
                    <a:pt x="469" y="95"/>
                  </a:cubicBezTo>
                  <a:cubicBezTo>
                    <a:pt x="470" y="83"/>
                    <a:pt x="470" y="83"/>
                    <a:pt x="470" y="83"/>
                  </a:cubicBezTo>
                  <a:cubicBezTo>
                    <a:pt x="470" y="83"/>
                    <a:pt x="470" y="83"/>
                    <a:pt x="470" y="83"/>
                  </a:cubicBezTo>
                  <a:cubicBezTo>
                    <a:pt x="470" y="83"/>
                    <a:pt x="471" y="81"/>
                    <a:pt x="472" y="80"/>
                  </a:cubicBezTo>
                  <a:cubicBezTo>
                    <a:pt x="471" y="80"/>
                    <a:pt x="469" y="81"/>
                    <a:pt x="469" y="81"/>
                  </a:cubicBezTo>
                  <a:cubicBezTo>
                    <a:pt x="469" y="81"/>
                    <a:pt x="469" y="81"/>
                    <a:pt x="469" y="81"/>
                  </a:cubicBezTo>
                  <a:cubicBezTo>
                    <a:pt x="469" y="79"/>
                    <a:pt x="469" y="79"/>
                    <a:pt x="469" y="79"/>
                  </a:cubicBezTo>
                  <a:cubicBezTo>
                    <a:pt x="469" y="81"/>
                    <a:pt x="469" y="81"/>
                    <a:pt x="469" y="81"/>
                  </a:cubicBezTo>
                  <a:cubicBezTo>
                    <a:pt x="468" y="81"/>
                    <a:pt x="465" y="80"/>
                    <a:pt x="464" y="79"/>
                  </a:cubicBezTo>
                  <a:cubicBezTo>
                    <a:pt x="463" y="78"/>
                    <a:pt x="463" y="77"/>
                    <a:pt x="463" y="76"/>
                  </a:cubicBezTo>
                  <a:cubicBezTo>
                    <a:pt x="464" y="74"/>
                    <a:pt x="465" y="73"/>
                    <a:pt x="466" y="72"/>
                  </a:cubicBezTo>
                  <a:cubicBezTo>
                    <a:pt x="467" y="71"/>
                    <a:pt x="467" y="71"/>
                    <a:pt x="468" y="70"/>
                  </a:cubicBezTo>
                  <a:cubicBezTo>
                    <a:pt x="469" y="69"/>
                    <a:pt x="470" y="68"/>
                    <a:pt x="470" y="68"/>
                  </a:cubicBezTo>
                  <a:cubicBezTo>
                    <a:pt x="470" y="63"/>
                    <a:pt x="470" y="63"/>
                    <a:pt x="470" y="63"/>
                  </a:cubicBezTo>
                  <a:cubicBezTo>
                    <a:pt x="470" y="62"/>
                    <a:pt x="469" y="61"/>
                    <a:pt x="469" y="60"/>
                  </a:cubicBezTo>
                  <a:cubicBezTo>
                    <a:pt x="469" y="60"/>
                    <a:pt x="466" y="54"/>
                    <a:pt x="465" y="51"/>
                  </a:cubicBezTo>
                  <a:cubicBezTo>
                    <a:pt x="464" y="51"/>
                    <a:pt x="464" y="51"/>
                    <a:pt x="463" y="51"/>
                  </a:cubicBezTo>
                  <a:cubicBezTo>
                    <a:pt x="462" y="53"/>
                    <a:pt x="461" y="55"/>
                    <a:pt x="461" y="55"/>
                  </a:cubicBezTo>
                  <a:cubicBezTo>
                    <a:pt x="461" y="57"/>
                    <a:pt x="461" y="57"/>
                    <a:pt x="461" y="57"/>
                  </a:cubicBezTo>
                  <a:cubicBezTo>
                    <a:pt x="453" y="56"/>
                    <a:pt x="453" y="56"/>
                    <a:pt x="453" y="56"/>
                  </a:cubicBezTo>
                  <a:cubicBezTo>
                    <a:pt x="450" y="53"/>
                    <a:pt x="450" y="53"/>
                    <a:pt x="450" y="53"/>
                  </a:cubicBezTo>
                  <a:cubicBezTo>
                    <a:pt x="445" y="52"/>
                    <a:pt x="445" y="52"/>
                    <a:pt x="445" y="52"/>
                  </a:cubicBezTo>
                  <a:cubicBezTo>
                    <a:pt x="445" y="52"/>
                    <a:pt x="444" y="53"/>
                    <a:pt x="444" y="53"/>
                  </a:cubicBezTo>
                  <a:cubicBezTo>
                    <a:pt x="443" y="54"/>
                    <a:pt x="443" y="54"/>
                    <a:pt x="443" y="54"/>
                  </a:cubicBezTo>
                  <a:cubicBezTo>
                    <a:pt x="442" y="54"/>
                    <a:pt x="442" y="54"/>
                    <a:pt x="442" y="54"/>
                  </a:cubicBezTo>
                  <a:cubicBezTo>
                    <a:pt x="441" y="54"/>
                    <a:pt x="440" y="53"/>
                    <a:pt x="437" y="51"/>
                  </a:cubicBezTo>
                  <a:cubicBezTo>
                    <a:pt x="436" y="53"/>
                    <a:pt x="435" y="54"/>
                    <a:pt x="434" y="54"/>
                  </a:cubicBezTo>
                  <a:cubicBezTo>
                    <a:pt x="433" y="54"/>
                    <a:pt x="433" y="54"/>
                    <a:pt x="433" y="54"/>
                  </a:cubicBezTo>
                  <a:cubicBezTo>
                    <a:pt x="433" y="54"/>
                    <a:pt x="433" y="54"/>
                    <a:pt x="433" y="54"/>
                  </a:cubicBezTo>
                  <a:cubicBezTo>
                    <a:pt x="431" y="54"/>
                    <a:pt x="429" y="54"/>
                    <a:pt x="426" y="53"/>
                  </a:cubicBezTo>
                  <a:cubicBezTo>
                    <a:pt x="420" y="54"/>
                    <a:pt x="420" y="54"/>
                    <a:pt x="420" y="54"/>
                  </a:cubicBezTo>
                  <a:cubicBezTo>
                    <a:pt x="414" y="55"/>
                    <a:pt x="414" y="55"/>
                    <a:pt x="414" y="55"/>
                  </a:cubicBezTo>
                  <a:cubicBezTo>
                    <a:pt x="410" y="53"/>
                    <a:pt x="410" y="53"/>
                    <a:pt x="410" y="53"/>
                  </a:cubicBezTo>
                  <a:cubicBezTo>
                    <a:pt x="411" y="57"/>
                    <a:pt x="411" y="57"/>
                    <a:pt x="411" y="57"/>
                  </a:cubicBezTo>
                  <a:cubicBezTo>
                    <a:pt x="405" y="61"/>
                    <a:pt x="405" y="61"/>
                    <a:pt x="405" y="61"/>
                  </a:cubicBezTo>
                  <a:cubicBezTo>
                    <a:pt x="399" y="58"/>
                    <a:pt x="399" y="58"/>
                    <a:pt x="399" y="58"/>
                  </a:cubicBezTo>
                  <a:cubicBezTo>
                    <a:pt x="395" y="57"/>
                    <a:pt x="395" y="57"/>
                    <a:pt x="395" y="57"/>
                  </a:cubicBezTo>
                  <a:cubicBezTo>
                    <a:pt x="389" y="52"/>
                    <a:pt x="389" y="52"/>
                    <a:pt x="389" y="52"/>
                  </a:cubicBezTo>
                  <a:cubicBezTo>
                    <a:pt x="382" y="49"/>
                    <a:pt x="382" y="49"/>
                    <a:pt x="382" y="49"/>
                  </a:cubicBezTo>
                  <a:cubicBezTo>
                    <a:pt x="381" y="51"/>
                    <a:pt x="380" y="54"/>
                    <a:pt x="378" y="54"/>
                  </a:cubicBezTo>
                  <a:cubicBezTo>
                    <a:pt x="377" y="55"/>
                    <a:pt x="373" y="56"/>
                    <a:pt x="372" y="56"/>
                  </a:cubicBezTo>
                  <a:cubicBezTo>
                    <a:pt x="372" y="57"/>
                    <a:pt x="371" y="58"/>
                    <a:pt x="371" y="59"/>
                  </a:cubicBezTo>
                  <a:cubicBezTo>
                    <a:pt x="371" y="60"/>
                    <a:pt x="371" y="60"/>
                    <a:pt x="371" y="60"/>
                  </a:cubicBezTo>
                  <a:cubicBezTo>
                    <a:pt x="365" y="64"/>
                    <a:pt x="365" y="64"/>
                    <a:pt x="365" y="64"/>
                  </a:cubicBezTo>
                  <a:cubicBezTo>
                    <a:pt x="365" y="63"/>
                    <a:pt x="365" y="63"/>
                    <a:pt x="365" y="63"/>
                  </a:cubicBezTo>
                  <a:cubicBezTo>
                    <a:pt x="364" y="63"/>
                    <a:pt x="364" y="63"/>
                    <a:pt x="363" y="63"/>
                  </a:cubicBezTo>
                  <a:cubicBezTo>
                    <a:pt x="363" y="63"/>
                    <a:pt x="362" y="62"/>
                    <a:pt x="362" y="62"/>
                  </a:cubicBezTo>
                  <a:cubicBezTo>
                    <a:pt x="361" y="62"/>
                    <a:pt x="361" y="62"/>
                    <a:pt x="361" y="62"/>
                  </a:cubicBezTo>
                  <a:cubicBezTo>
                    <a:pt x="360" y="65"/>
                    <a:pt x="360" y="65"/>
                    <a:pt x="360" y="65"/>
                  </a:cubicBezTo>
                  <a:cubicBezTo>
                    <a:pt x="359" y="65"/>
                    <a:pt x="359" y="65"/>
                    <a:pt x="359" y="65"/>
                  </a:cubicBezTo>
                  <a:cubicBezTo>
                    <a:pt x="359" y="65"/>
                    <a:pt x="358" y="65"/>
                    <a:pt x="358" y="65"/>
                  </a:cubicBezTo>
                  <a:cubicBezTo>
                    <a:pt x="357" y="65"/>
                    <a:pt x="356" y="65"/>
                    <a:pt x="354" y="63"/>
                  </a:cubicBezTo>
                  <a:cubicBezTo>
                    <a:pt x="352" y="63"/>
                    <a:pt x="350" y="61"/>
                    <a:pt x="350" y="61"/>
                  </a:cubicBezTo>
                  <a:cubicBezTo>
                    <a:pt x="348" y="61"/>
                    <a:pt x="348" y="61"/>
                    <a:pt x="348" y="61"/>
                  </a:cubicBezTo>
                  <a:cubicBezTo>
                    <a:pt x="345" y="62"/>
                    <a:pt x="343" y="63"/>
                    <a:pt x="342" y="63"/>
                  </a:cubicBezTo>
                  <a:cubicBezTo>
                    <a:pt x="342" y="65"/>
                    <a:pt x="341" y="66"/>
                    <a:pt x="340" y="67"/>
                  </a:cubicBezTo>
                  <a:cubicBezTo>
                    <a:pt x="339" y="68"/>
                    <a:pt x="339" y="68"/>
                    <a:pt x="339" y="68"/>
                  </a:cubicBezTo>
                  <a:cubicBezTo>
                    <a:pt x="333" y="64"/>
                    <a:pt x="333" y="64"/>
                    <a:pt x="333" y="64"/>
                  </a:cubicBezTo>
                  <a:cubicBezTo>
                    <a:pt x="327" y="60"/>
                    <a:pt x="327" y="60"/>
                    <a:pt x="327" y="60"/>
                  </a:cubicBezTo>
                  <a:cubicBezTo>
                    <a:pt x="327" y="54"/>
                    <a:pt x="327" y="54"/>
                    <a:pt x="327" y="54"/>
                  </a:cubicBezTo>
                  <a:cubicBezTo>
                    <a:pt x="318" y="47"/>
                    <a:pt x="318" y="47"/>
                    <a:pt x="318" y="47"/>
                  </a:cubicBezTo>
                  <a:cubicBezTo>
                    <a:pt x="316" y="38"/>
                    <a:pt x="316" y="38"/>
                    <a:pt x="316" y="38"/>
                  </a:cubicBezTo>
                  <a:cubicBezTo>
                    <a:pt x="312" y="35"/>
                    <a:pt x="312" y="35"/>
                    <a:pt x="312" y="35"/>
                  </a:cubicBezTo>
                  <a:cubicBezTo>
                    <a:pt x="309" y="39"/>
                    <a:pt x="309" y="39"/>
                    <a:pt x="309" y="39"/>
                  </a:cubicBezTo>
                  <a:cubicBezTo>
                    <a:pt x="301" y="38"/>
                    <a:pt x="301" y="38"/>
                    <a:pt x="301" y="38"/>
                  </a:cubicBezTo>
                  <a:cubicBezTo>
                    <a:pt x="297" y="40"/>
                    <a:pt x="297" y="40"/>
                    <a:pt x="297" y="40"/>
                  </a:cubicBezTo>
                  <a:cubicBezTo>
                    <a:pt x="296" y="41"/>
                    <a:pt x="293" y="43"/>
                    <a:pt x="292" y="43"/>
                  </a:cubicBezTo>
                  <a:cubicBezTo>
                    <a:pt x="291" y="43"/>
                    <a:pt x="289" y="42"/>
                    <a:pt x="289" y="41"/>
                  </a:cubicBezTo>
                  <a:cubicBezTo>
                    <a:pt x="288" y="39"/>
                    <a:pt x="289" y="38"/>
                    <a:pt x="289" y="36"/>
                  </a:cubicBezTo>
                  <a:cubicBezTo>
                    <a:pt x="288" y="36"/>
                    <a:pt x="287" y="36"/>
                    <a:pt x="286" y="35"/>
                  </a:cubicBezTo>
                  <a:cubicBezTo>
                    <a:pt x="286" y="34"/>
                    <a:pt x="286" y="33"/>
                    <a:pt x="286" y="31"/>
                  </a:cubicBezTo>
                  <a:cubicBezTo>
                    <a:pt x="286" y="31"/>
                    <a:pt x="286" y="30"/>
                    <a:pt x="286" y="29"/>
                  </a:cubicBezTo>
                  <a:cubicBezTo>
                    <a:pt x="286" y="29"/>
                    <a:pt x="285" y="29"/>
                    <a:pt x="284" y="28"/>
                  </a:cubicBezTo>
                  <a:cubicBezTo>
                    <a:pt x="283" y="28"/>
                    <a:pt x="281" y="27"/>
                    <a:pt x="280" y="25"/>
                  </a:cubicBezTo>
                  <a:cubicBezTo>
                    <a:pt x="280" y="24"/>
                    <a:pt x="280" y="23"/>
                    <a:pt x="281" y="21"/>
                  </a:cubicBezTo>
                  <a:cubicBezTo>
                    <a:pt x="282" y="19"/>
                    <a:pt x="284" y="18"/>
                    <a:pt x="286" y="17"/>
                  </a:cubicBezTo>
                  <a:cubicBezTo>
                    <a:pt x="284" y="16"/>
                    <a:pt x="284" y="16"/>
                    <a:pt x="284" y="16"/>
                  </a:cubicBezTo>
                  <a:cubicBezTo>
                    <a:pt x="274" y="11"/>
                    <a:pt x="274" y="11"/>
                    <a:pt x="274" y="11"/>
                  </a:cubicBezTo>
                  <a:cubicBezTo>
                    <a:pt x="274" y="10"/>
                    <a:pt x="274" y="10"/>
                    <a:pt x="274" y="10"/>
                  </a:cubicBezTo>
                  <a:cubicBezTo>
                    <a:pt x="273" y="8"/>
                    <a:pt x="273" y="7"/>
                    <a:pt x="273" y="7"/>
                  </a:cubicBezTo>
                  <a:cubicBezTo>
                    <a:pt x="272" y="6"/>
                    <a:pt x="270" y="5"/>
                    <a:pt x="269" y="4"/>
                  </a:cubicBezTo>
                  <a:cubicBezTo>
                    <a:pt x="269" y="3"/>
                    <a:pt x="266" y="1"/>
                    <a:pt x="264" y="0"/>
                  </a:cubicBezTo>
                  <a:cubicBezTo>
                    <a:pt x="263" y="0"/>
                    <a:pt x="262" y="2"/>
                    <a:pt x="261" y="4"/>
                  </a:cubicBezTo>
                  <a:cubicBezTo>
                    <a:pt x="260" y="7"/>
                    <a:pt x="260" y="7"/>
                    <a:pt x="260" y="7"/>
                  </a:cubicBezTo>
                  <a:cubicBezTo>
                    <a:pt x="255" y="3"/>
                    <a:pt x="255" y="3"/>
                    <a:pt x="255" y="3"/>
                  </a:cubicBezTo>
                  <a:cubicBezTo>
                    <a:pt x="251" y="5"/>
                    <a:pt x="251" y="5"/>
                    <a:pt x="251" y="5"/>
                  </a:cubicBezTo>
                  <a:cubicBezTo>
                    <a:pt x="246" y="12"/>
                    <a:pt x="246" y="12"/>
                    <a:pt x="246" y="12"/>
                  </a:cubicBezTo>
                  <a:cubicBezTo>
                    <a:pt x="242" y="13"/>
                    <a:pt x="242" y="13"/>
                    <a:pt x="242" y="13"/>
                  </a:cubicBezTo>
                  <a:cubicBezTo>
                    <a:pt x="231" y="15"/>
                    <a:pt x="231" y="15"/>
                    <a:pt x="231" y="15"/>
                  </a:cubicBezTo>
                  <a:cubicBezTo>
                    <a:pt x="230" y="18"/>
                    <a:pt x="230" y="18"/>
                    <a:pt x="230" y="18"/>
                  </a:cubicBezTo>
                  <a:cubicBezTo>
                    <a:pt x="231" y="24"/>
                    <a:pt x="231" y="24"/>
                    <a:pt x="231" y="24"/>
                  </a:cubicBezTo>
                  <a:cubicBezTo>
                    <a:pt x="225" y="28"/>
                    <a:pt x="225" y="28"/>
                    <a:pt x="225" y="28"/>
                  </a:cubicBezTo>
                  <a:cubicBezTo>
                    <a:pt x="215" y="27"/>
                    <a:pt x="215" y="27"/>
                    <a:pt x="215" y="27"/>
                  </a:cubicBezTo>
                  <a:cubicBezTo>
                    <a:pt x="215" y="27"/>
                    <a:pt x="215" y="27"/>
                    <a:pt x="215" y="27"/>
                  </a:cubicBezTo>
                  <a:cubicBezTo>
                    <a:pt x="213" y="26"/>
                    <a:pt x="213" y="26"/>
                    <a:pt x="213" y="26"/>
                  </a:cubicBezTo>
                  <a:cubicBezTo>
                    <a:pt x="208" y="27"/>
                    <a:pt x="208" y="27"/>
                    <a:pt x="208" y="27"/>
                  </a:cubicBezTo>
                  <a:cubicBezTo>
                    <a:pt x="205" y="32"/>
                    <a:pt x="205" y="32"/>
                    <a:pt x="205" y="32"/>
                  </a:cubicBezTo>
                  <a:cubicBezTo>
                    <a:pt x="195" y="32"/>
                    <a:pt x="195" y="32"/>
                    <a:pt x="195" y="32"/>
                  </a:cubicBezTo>
                  <a:cubicBezTo>
                    <a:pt x="194" y="41"/>
                    <a:pt x="194" y="41"/>
                    <a:pt x="194" y="41"/>
                  </a:cubicBezTo>
                  <a:cubicBezTo>
                    <a:pt x="191" y="48"/>
                    <a:pt x="191" y="48"/>
                    <a:pt x="191" y="48"/>
                  </a:cubicBezTo>
                  <a:cubicBezTo>
                    <a:pt x="189" y="55"/>
                    <a:pt x="189" y="55"/>
                    <a:pt x="189" y="55"/>
                  </a:cubicBezTo>
                  <a:cubicBezTo>
                    <a:pt x="191" y="59"/>
                    <a:pt x="191" y="59"/>
                    <a:pt x="191" y="59"/>
                  </a:cubicBezTo>
                  <a:cubicBezTo>
                    <a:pt x="194" y="65"/>
                    <a:pt x="194" y="65"/>
                    <a:pt x="194" y="65"/>
                  </a:cubicBezTo>
                  <a:cubicBezTo>
                    <a:pt x="198" y="70"/>
                    <a:pt x="198" y="70"/>
                    <a:pt x="198" y="70"/>
                  </a:cubicBezTo>
                  <a:cubicBezTo>
                    <a:pt x="198" y="70"/>
                    <a:pt x="198" y="70"/>
                    <a:pt x="198" y="70"/>
                  </a:cubicBezTo>
                  <a:cubicBezTo>
                    <a:pt x="193" y="72"/>
                    <a:pt x="193" y="72"/>
                    <a:pt x="193" y="72"/>
                  </a:cubicBezTo>
                  <a:cubicBezTo>
                    <a:pt x="190" y="72"/>
                    <a:pt x="190" y="72"/>
                    <a:pt x="190" y="72"/>
                  </a:cubicBezTo>
                  <a:cubicBezTo>
                    <a:pt x="187" y="68"/>
                    <a:pt x="187" y="68"/>
                    <a:pt x="187" y="68"/>
                  </a:cubicBezTo>
                  <a:cubicBezTo>
                    <a:pt x="182" y="66"/>
                    <a:pt x="182" y="66"/>
                    <a:pt x="182" y="66"/>
                  </a:cubicBezTo>
                  <a:cubicBezTo>
                    <a:pt x="176" y="69"/>
                    <a:pt x="176" y="69"/>
                    <a:pt x="176" y="69"/>
                  </a:cubicBezTo>
                  <a:cubicBezTo>
                    <a:pt x="171" y="70"/>
                    <a:pt x="171" y="70"/>
                    <a:pt x="171" y="70"/>
                  </a:cubicBezTo>
                  <a:cubicBezTo>
                    <a:pt x="169" y="70"/>
                    <a:pt x="169" y="70"/>
                    <a:pt x="169" y="70"/>
                  </a:cubicBezTo>
                  <a:cubicBezTo>
                    <a:pt x="167" y="73"/>
                    <a:pt x="167" y="73"/>
                    <a:pt x="167" y="73"/>
                  </a:cubicBezTo>
                  <a:cubicBezTo>
                    <a:pt x="163" y="76"/>
                    <a:pt x="163" y="76"/>
                    <a:pt x="163" y="76"/>
                  </a:cubicBezTo>
                  <a:cubicBezTo>
                    <a:pt x="163" y="76"/>
                    <a:pt x="161" y="74"/>
                    <a:pt x="160" y="74"/>
                  </a:cubicBezTo>
                  <a:cubicBezTo>
                    <a:pt x="159" y="73"/>
                    <a:pt x="157" y="71"/>
                    <a:pt x="157" y="71"/>
                  </a:cubicBezTo>
                  <a:cubicBezTo>
                    <a:pt x="157" y="71"/>
                    <a:pt x="156" y="69"/>
                    <a:pt x="155" y="69"/>
                  </a:cubicBezTo>
                  <a:cubicBezTo>
                    <a:pt x="154" y="69"/>
                    <a:pt x="150" y="72"/>
                    <a:pt x="150" y="72"/>
                  </a:cubicBezTo>
                  <a:cubicBezTo>
                    <a:pt x="150" y="72"/>
                    <a:pt x="146" y="74"/>
                    <a:pt x="146" y="75"/>
                  </a:cubicBezTo>
                  <a:cubicBezTo>
                    <a:pt x="146" y="75"/>
                    <a:pt x="146" y="79"/>
                    <a:pt x="146" y="79"/>
                  </a:cubicBezTo>
                  <a:cubicBezTo>
                    <a:pt x="140" y="74"/>
                    <a:pt x="140" y="74"/>
                    <a:pt x="140" y="74"/>
                  </a:cubicBezTo>
                  <a:cubicBezTo>
                    <a:pt x="136" y="77"/>
                    <a:pt x="136" y="77"/>
                    <a:pt x="136" y="77"/>
                  </a:cubicBezTo>
                  <a:cubicBezTo>
                    <a:pt x="133" y="75"/>
                    <a:pt x="133" y="75"/>
                    <a:pt x="133" y="75"/>
                  </a:cubicBezTo>
                  <a:cubicBezTo>
                    <a:pt x="131" y="74"/>
                    <a:pt x="131" y="74"/>
                    <a:pt x="131" y="74"/>
                  </a:cubicBezTo>
                  <a:cubicBezTo>
                    <a:pt x="127" y="80"/>
                    <a:pt x="127" y="80"/>
                    <a:pt x="127" y="80"/>
                  </a:cubicBezTo>
                  <a:cubicBezTo>
                    <a:pt x="123" y="78"/>
                    <a:pt x="123" y="78"/>
                    <a:pt x="123" y="78"/>
                  </a:cubicBezTo>
                  <a:cubicBezTo>
                    <a:pt x="122" y="84"/>
                    <a:pt x="122" y="84"/>
                    <a:pt x="122" y="84"/>
                  </a:cubicBezTo>
                  <a:cubicBezTo>
                    <a:pt x="117" y="81"/>
                    <a:pt x="117" y="81"/>
                    <a:pt x="117" y="81"/>
                  </a:cubicBezTo>
                  <a:cubicBezTo>
                    <a:pt x="117" y="81"/>
                    <a:pt x="113" y="79"/>
                    <a:pt x="113" y="80"/>
                  </a:cubicBezTo>
                  <a:cubicBezTo>
                    <a:pt x="112" y="80"/>
                    <a:pt x="110" y="83"/>
                    <a:pt x="110" y="83"/>
                  </a:cubicBezTo>
                  <a:cubicBezTo>
                    <a:pt x="105" y="80"/>
                    <a:pt x="105" y="80"/>
                    <a:pt x="105" y="80"/>
                  </a:cubicBezTo>
                  <a:cubicBezTo>
                    <a:pt x="103" y="77"/>
                    <a:pt x="103" y="77"/>
                    <a:pt x="103" y="77"/>
                  </a:cubicBezTo>
                  <a:cubicBezTo>
                    <a:pt x="103" y="77"/>
                    <a:pt x="94" y="78"/>
                    <a:pt x="93" y="78"/>
                  </a:cubicBezTo>
                  <a:cubicBezTo>
                    <a:pt x="92" y="79"/>
                    <a:pt x="86" y="78"/>
                    <a:pt x="86" y="78"/>
                  </a:cubicBezTo>
                  <a:cubicBezTo>
                    <a:pt x="79" y="79"/>
                    <a:pt x="79" y="79"/>
                    <a:pt x="79" y="79"/>
                  </a:cubicBezTo>
                  <a:cubicBezTo>
                    <a:pt x="68" y="79"/>
                    <a:pt x="68" y="79"/>
                    <a:pt x="68" y="79"/>
                  </a:cubicBezTo>
                  <a:cubicBezTo>
                    <a:pt x="59" y="80"/>
                    <a:pt x="59" y="80"/>
                    <a:pt x="59" y="80"/>
                  </a:cubicBezTo>
                  <a:cubicBezTo>
                    <a:pt x="52" y="80"/>
                    <a:pt x="52" y="80"/>
                    <a:pt x="52" y="80"/>
                  </a:cubicBezTo>
                  <a:cubicBezTo>
                    <a:pt x="46" y="84"/>
                    <a:pt x="46" y="84"/>
                    <a:pt x="46" y="84"/>
                  </a:cubicBezTo>
                  <a:cubicBezTo>
                    <a:pt x="41" y="84"/>
                    <a:pt x="41" y="84"/>
                    <a:pt x="41" y="84"/>
                  </a:cubicBezTo>
                  <a:cubicBezTo>
                    <a:pt x="34" y="85"/>
                    <a:pt x="34" y="85"/>
                    <a:pt x="34" y="85"/>
                  </a:cubicBezTo>
                  <a:cubicBezTo>
                    <a:pt x="33" y="85"/>
                    <a:pt x="33" y="85"/>
                    <a:pt x="33" y="85"/>
                  </a:cubicBezTo>
                  <a:cubicBezTo>
                    <a:pt x="33" y="86"/>
                    <a:pt x="33" y="86"/>
                    <a:pt x="33" y="86"/>
                  </a:cubicBezTo>
                  <a:cubicBezTo>
                    <a:pt x="30" y="88"/>
                    <a:pt x="30" y="88"/>
                    <a:pt x="30" y="88"/>
                  </a:cubicBezTo>
                  <a:cubicBezTo>
                    <a:pt x="30" y="89"/>
                    <a:pt x="30" y="89"/>
                    <a:pt x="30" y="89"/>
                  </a:cubicBezTo>
                  <a:cubicBezTo>
                    <a:pt x="28" y="91"/>
                    <a:pt x="28" y="91"/>
                    <a:pt x="28" y="91"/>
                  </a:cubicBezTo>
                  <a:cubicBezTo>
                    <a:pt x="28" y="94"/>
                    <a:pt x="28" y="94"/>
                    <a:pt x="28" y="94"/>
                  </a:cubicBezTo>
                  <a:cubicBezTo>
                    <a:pt x="27" y="96"/>
                    <a:pt x="25" y="98"/>
                    <a:pt x="24" y="99"/>
                  </a:cubicBezTo>
                  <a:cubicBezTo>
                    <a:pt x="24" y="99"/>
                    <a:pt x="24" y="99"/>
                    <a:pt x="24" y="99"/>
                  </a:cubicBezTo>
                  <a:cubicBezTo>
                    <a:pt x="24" y="99"/>
                    <a:pt x="22" y="98"/>
                    <a:pt x="22" y="100"/>
                  </a:cubicBezTo>
                  <a:cubicBezTo>
                    <a:pt x="22" y="100"/>
                    <a:pt x="22" y="101"/>
                    <a:pt x="22" y="101"/>
                  </a:cubicBezTo>
                  <a:cubicBezTo>
                    <a:pt x="20" y="101"/>
                    <a:pt x="15" y="100"/>
                    <a:pt x="15" y="100"/>
                  </a:cubicBezTo>
                  <a:cubicBezTo>
                    <a:pt x="13" y="101"/>
                    <a:pt x="13" y="101"/>
                    <a:pt x="13" y="101"/>
                  </a:cubicBezTo>
                  <a:cubicBezTo>
                    <a:pt x="13" y="102"/>
                    <a:pt x="14" y="102"/>
                    <a:pt x="14" y="103"/>
                  </a:cubicBezTo>
                  <a:cubicBezTo>
                    <a:pt x="15" y="103"/>
                    <a:pt x="15" y="104"/>
                    <a:pt x="16" y="104"/>
                  </a:cubicBezTo>
                  <a:cubicBezTo>
                    <a:pt x="18" y="110"/>
                    <a:pt x="18" y="110"/>
                    <a:pt x="18" y="110"/>
                  </a:cubicBezTo>
                  <a:cubicBezTo>
                    <a:pt x="18" y="113"/>
                    <a:pt x="18" y="113"/>
                    <a:pt x="18" y="113"/>
                  </a:cubicBezTo>
                  <a:cubicBezTo>
                    <a:pt x="18" y="114"/>
                    <a:pt x="18" y="114"/>
                    <a:pt x="18" y="114"/>
                  </a:cubicBezTo>
                  <a:cubicBezTo>
                    <a:pt x="20" y="114"/>
                    <a:pt x="21" y="116"/>
                    <a:pt x="22" y="118"/>
                  </a:cubicBezTo>
                  <a:cubicBezTo>
                    <a:pt x="22" y="118"/>
                    <a:pt x="23" y="119"/>
                    <a:pt x="25" y="120"/>
                  </a:cubicBezTo>
                  <a:cubicBezTo>
                    <a:pt x="26" y="120"/>
                    <a:pt x="26" y="120"/>
                    <a:pt x="26" y="120"/>
                  </a:cubicBezTo>
                  <a:cubicBezTo>
                    <a:pt x="26" y="122"/>
                    <a:pt x="26" y="122"/>
                    <a:pt x="26" y="122"/>
                  </a:cubicBezTo>
                  <a:cubicBezTo>
                    <a:pt x="26" y="122"/>
                    <a:pt x="26" y="123"/>
                    <a:pt x="26" y="124"/>
                  </a:cubicBezTo>
                  <a:cubicBezTo>
                    <a:pt x="27" y="124"/>
                    <a:pt x="27" y="124"/>
                    <a:pt x="27" y="124"/>
                  </a:cubicBezTo>
                  <a:cubicBezTo>
                    <a:pt x="28" y="125"/>
                    <a:pt x="29" y="125"/>
                    <a:pt x="30" y="125"/>
                  </a:cubicBezTo>
                  <a:cubicBezTo>
                    <a:pt x="33" y="126"/>
                    <a:pt x="34" y="128"/>
                    <a:pt x="34" y="129"/>
                  </a:cubicBezTo>
                  <a:cubicBezTo>
                    <a:pt x="34" y="130"/>
                    <a:pt x="34" y="130"/>
                    <a:pt x="35" y="130"/>
                  </a:cubicBezTo>
                  <a:cubicBezTo>
                    <a:pt x="35" y="130"/>
                    <a:pt x="38" y="132"/>
                    <a:pt x="38" y="134"/>
                  </a:cubicBezTo>
                  <a:cubicBezTo>
                    <a:pt x="38" y="136"/>
                    <a:pt x="37" y="137"/>
                    <a:pt x="36" y="137"/>
                  </a:cubicBezTo>
                  <a:cubicBezTo>
                    <a:pt x="35" y="137"/>
                    <a:pt x="34" y="137"/>
                    <a:pt x="34" y="137"/>
                  </a:cubicBezTo>
                  <a:cubicBezTo>
                    <a:pt x="37" y="141"/>
                    <a:pt x="37" y="141"/>
                    <a:pt x="37" y="141"/>
                  </a:cubicBezTo>
                  <a:cubicBezTo>
                    <a:pt x="37" y="147"/>
                    <a:pt x="37" y="147"/>
                    <a:pt x="37" y="147"/>
                  </a:cubicBezTo>
                  <a:cubicBezTo>
                    <a:pt x="37" y="148"/>
                    <a:pt x="37" y="150"/>
                    <a:pt x="37" y="151"/>
                  </a:cubicBezTo>
                  <a:cubicBezTo>
                    <a:pt x="37" y="152"/>
                    <a:pt x="36" y="155"/>
                    <a:pt x="33" y="155"/>
                  </a:cubicBezTo>
                  <a:cubicBezTo>
                    <a:pt x="33" y="155"/>
                    <a:pt x="33" y="155"/>
                    <a:pt x="33" y="156"/>
                  </a:cubicBezTo>
                  <a:cubicBezTo>
                    <a:pt x="32" y="156"/>
                    <a:pt x="32" y="157"/>
                    <a:pt x="31" y="157"/>
                  </a:cubicBezTo>
                  <a:cubicBezTo>
                    <a:pt x="31" y="158"/>
                    <a:pt x="31" y="158"/>
                    <a:pt x="31" y="158"/>
                  </a:cubicBezTo>
                  <a:cubicBezTo>
                    <a:pt x="30" y="158"/>
                    <a:pt x="30" y="158"/>
                    <a:pt x="30" y="158"/>
                  </a:cubicBezTo>
                  <a:cubicBezTo>
                    <a:pt x="30" y="158"/>
                    <a:pt x="30" y="158"/>
                    <a:pt x="29" y="158"/>
                  </a:cubicBezTo>
                  <a:cubicBezTo>
                    <a:pt x="29" y="158"/>
                    <a:pt x="29" y="158"/>
                    <a:pt x="29" y="158"/>
                  </a:cubicBezTo>
                  <a:cubicBezTo>
                    <a:pt x="28" y="160"/>
                    <a:pt x="28" y="160"/>
                    <a:pt x="28" y="160"/>
                  </a:cubicBezTo>
                  <a:cubicBezTo>
                    <a:pt x="27" y="162"/>
                    <a:pt x="26" y="163"/>
                    <a:pt x="26" y="164"/>
                  </a:cubicBezTo>
                  <a:cubicBezTo>
                    <a:pt x="26" y="164"/>
                    <a:pt x="25" y="165"/>
                    <a:pt x="25" y="165"/>
                  </a:cubicBezTo>
                  <a:cubicBezTo>
                    <a:pt x="24" y="165"/>
                    <a:pt x="23" y="166"/>
                    <a:pt x="23" y="167"/>
                  </a:cubicBezTo>
                  <a:cubicBezTo>
                    <a:pt x="23" y="167"/>
                    <a:pt x="22" y="168"/>
                    <a:pt x="22" y="168"/>
                  </a:cubicBezTo>
                  <a:cubicBezTo>
                    <a:pt x="22" y="168"/>
                    <a:pt x="22" y="168"/>
                    <a:pt x="21" y="170"/>
                  </a:cubicBezTo>
                  <a:cubicBezTo>
                    <a:pt x="19" y="175"/>
                    <a:pt x="19" y="176"/>
                    <a:pt x="19" y="176"/>
                  </a:cubicBezTo>
                  <a:cubicBezTo>
                    <a:pt x="11" y="187"/>
                    <a:pt x="11" y="187"/>
                    <a:pt x="11" y="187"/>
                  </a:cubicBezTo>
                  <a:cubicBezTo>
                    <a:pt x="9" y="190"/>
                    <a:pt x="8" y="193"/>
                    <a:pt x="8" y="193"/>
                  </a:cubicBezTo>
                  <a:cubicBezTo>
                    <a:pt x="8" y="193"/>
                    <a:pt x="7" y="195"/>
                    <a:pt x="8" y="196"/>
                  </a:cubicBezTo>
                  <a:cubicBezTo>
                    <a:pt x="11" y="199"/>
                    <a:pt x="11" y="199"/>
                    <a:pt x="11" y="199"/>
                  </a:cubicBezTo>
                  <a:cubicBezTo>
                    <a:pt x="11" y="203"/>
                    <a:pt x="11" y="203"/>
                    <a:pt x="11" y="203"/>
                  </a:cubicBezTo>
                  <a:cubicBezTo>
                    <a:pt x="11" y="203"/>
                    <a:pt x="11" y="204"/>
                    <a:pt x="11" y="204"/>
                  </a:cubicBezTo>
                  <a:cubicBezTo>
                    <a:pt x="12" y="205"/>
                    <a:pt x="12" y="205"/>
                    <a:pt x="12" y="205"/>
                  </a:cubicBezTo>
                  <a:cubicBezTo>
                    <a:pt x="12" y="208"/>
                    <a:pt x="12" y="208"/>
                    <a:pt x="12" y="208"/>
                  </a:cubicBezTo>
                  <a:cubicBezTo>
                    <a:pt x="12" y="208"/>
                    <a:pt x="12" y="208"/>
                    <a:pt x="12" y="209"/>
                  </a:cubicBezTo>
                  <a:cubicBezTo>
                    <a:pt x="12" y="209"/>
                    <a:pt x="13" y="209"/>
                    <a:pt x="14" y="210"/>
                  </a:cubicBezTo>
                  <a:cubicBezTo>
                    <a:pt x="16" y="211"/>
                    <a:pt x="16" y="212"/>
                    <a:pt x="16" y="212"/>
                  </a:cubicBezTo>
                  <a:cubicBezTo>
                    <a:pt x="16" y="213"/>
                    <a:pt x="17" y="214"/>
                    <a:pt x="16" y="216"/>
                  </a:cubicBezTo>
                  <a:cubicBezTo>
                    <a:pt x="16" y="217"/>
                    <a:pt x="15" y="218"/>
                    <a:pt x="13" y="219"/>
                  </a:cubicBezTo>
                  <a:cubicBezTo>
                    <a:pt x="13" y="219"/>
                    <a:pt x="13" y="219"/>
                    <a:pt x="13" y="219"/>
                  </a:cubicBezTo>
                  <a:cubicBezTo>
                    <a:pt x="13" y="219"/>
                    <a:pt x="13" y="219"/>
                    <a:pt x="12" y="219"/>
                  </a:cubicBezTo>
                  <a:cubicBezTo>
                    <a:pt x="11" y="219"/>
                    <a:pt x="11" y="218"/>
                    <a:pt x="10" y="218"/>
                  </a:cubicBezTo>
                  <a:cubicBezTo>
                    <a:pt x="10" y="218"/>
                    <a:pt x="8" y="218"/>
                    <a:pt x="7" y="218"/>
                  </a:cubicBezTo>
                  <a:cubicBezTo>
                    <a:pt x="7" y="218"/>
                    <a:pt x="7" y="218"/>
                    <a:pt x="7" y="218"/>
                  </a:cubicBezTo>
                  <a:cubicBezTo>
                    <a:pt x="5" y="219"/>
                    <a:pt x="5" y="219"/>
                    <a:pt x="5" y="219"/>
                  </a:cubicBezTo>
                  <a:cubicBezTo>
                    <a:pt x="5" y="220"/>
                    <a:pt x="5" y="220"/>
                    <a:pt x="5" y="221"/>
                  </a:cubicBezTo>
                  <a:cubicBezTo>
                    <a:pt x="5" y="222"/>
                    <a:pt x="5" y="222"/>
                    <a:pt x="5" y="222"/>
                  </a:cubicBezTo>
                  <a:cubicBezTo>
                    <a:pt x="5" y="222"/>
                    <a:pt x="5" y="222"/>
                    <a:pt x="5" y="222"/>
                  </a:cubicBezTo>
                  <a:cubicBezTo>
                    <a:pt x="5" y="222"/>
                    <a:pt x="5" y="224"/>
                    <a:pt x="5" y="224"/>
                  </a:cubicBezTo>
                  <a:cubicBezTo>
                    <a:pt x="4" y="225"/>
                    <a:pt x="4" y="225"/>
                    <a:pt x="4" y="225"/>
                  </a:cubicBezTo>
                  <a:cubicBezTo>
                    <a:pt x="4" y="225"/>
                    <a:pt x="4" y="226"/>
                    <a:pt x="4" y="226"/>
                  </a:cubicBezTo>
                  <a:cubicBezTo>
                    <a:pt x="5" y="228"/>
                    <a:pt x="5" y="228"/>
                    <a:pt x="5" y="228"/>
                  </a:cubicBezTo>
                  <a:cubicBezTo>
                    <a:pt x="4" y="230"/>
                    <a:pt x="4" y="230"/>
                    <a:pt x="4" y="230"/>
                  </a:cubicBezTo>
                  <a:cubicBezTo>
                    <a:pt x="4" y="230"/>
                    <a:pt x="4" y="230"/>
                    <a:pt x="4" y="230"/>
                  </a:cubicBezTo>
                  <a:cubicBezTo>
                    <a:pt x="4" y="231"/>
                    <a:pt x="4" y="232"/>
                    <a:pt x="3" y="234"/>
                  </a:cubicBezTo>
                  <a:cubicBezTo>
                    <a:pt x="3" y="234"/>
                    <a:pt x="2" y="234"/>
                    <a:pt x="2" y="235"/>
                  </a:cubicBezTo>
                  <a:cubicBezTo>
                    <a:pt x="1" y="236"/>
                    <a:pt x="1" y="236"/>
                    <a:pt x="1" y="236"/>
                  </a:cubicBezTo>
                  <a:cubicBezTo>
                    <a:pt x="1" y="236"/>
                    <a:pt x="1" y="236"/>
                    <a:pt x="1" y="236"/>
                  </a:cubicBezTo>
                  <a:cubicBezTo>
                    <a:pt x="1" y="237"/>
                    <a:pt x="1" y="237"/>
                    <a:pt x="0" y="238"/>
                  </a:cubicBezTo>
                  <a:cubicBezTo>
                    <a:pt x="0" y="238"/>
                    <a:pt x="0" y="238"/>
                    <a:pt x="0" y="238"/>
                  </a:cubicBezTo>
                  <a:cubicBezTo>
                    <a:pt x="0" y="238"/>
                    <a:pt x="0" y="238"/>
                    <a:pt x="0" y="239"/>
                  </a:cubicBezTo>
                  <a:cubicBezTo>
                    <a:pt x="0" y="239"/>
                    <a:pt x="1" y="239"/>
                    <a:pt x="1" y="240"/>
                  </a:cubicBezTo>
                  <a:cubicBezTo>
                    <a:pt x="1" y="240"/>
                    <a:pt x="1" y="240"/>
                    <a:pt x="1" y="240"/>
                  </a:cubicBezTo>
                  <a:cubicBezTo>
                    <a:pt x="1" y="240"/>
                    <a:pt x="1" y="240"/>
                    <a:pt x="1" y="240"/>
                  </a:cubicBezTo>
                  <a:cubicBezTo>
                    <a:pt x="1" y="241"/>
                    <a:pt x="1" y="241"/>
                    <a:pt x="1" y="242"/>
                  </a:cubicBezTo>
                  <a:cubicBezTo>
                    <a:pt x="1" y="242"/>
                    <a:pt x="1" y="242"/>
                    <a:pt x="1" y="242"/>
                  </a:cubicBezTo>
                  <a:cubicBezTo>
                    <a:pt x="1" y="243"/>
                    <a:pt x="1" y="243"/>
                    <a:pt x="1" y="243"/>
                  </a:cubicBezTo>
                  <a:cubicBezTo>
                    <a:pt x="1" y="245"/>
                    <a:pt x="1" y="245"/>
                    <a:pt x="1" y="245"/>
                  </a:cubicBezTo>
                  <a:cubicBezTo>
                    <a:pt x="0" y="247"/>
                    <a:pt x="0" y="247"/>
                    <a:pt x="0" y="247"/>
                  </a:cubicBezTo>
                  <a:cubicBezTo>
                    <a:pt x="0" y="248"/>
                    <a:pt x="0" y="248"/>
                    <a:pt x="0" y="248"/>
                  </a:cubicBezTo>
                  <a:cubicBezTo>
                    <a:pt x="0" y="248"/>
                    <a:pt x="0" y="248"/>
                    <a:pt x="0" y="248"/>
                  </a:cubicBezTo>
                  <a:cubicBezTo>
                    <a:pt x="0" y="248"/>
                    <a:pt x="0" y="248"/>
                    <a:pt x="0" y="248"/>
                  </a:cubicBezTo>
                  <a:cubicBezTo>
                    <a:pt x="4" y="246"/>
                    <a:pt x="4" y="246"/>
                    <a:pt x="4" y="246"/>
                  </a:cubicBezTo>
                  <a:cubicBezTo>
                    <a:pt x="7" y="249"/>
                    <a:pt x="7" y="249"/>
                    <a:pt x="7" y="249"/>
                  </a:cubicBezTo>
                  <a:cubicBezTo>
                    <a:pt x="9" y="251"/>
                    <a:pt x="9" y="251"/>
                    <a:pt x="9" y="251"/>
                  </a:cubicBezTo>
                  <a:cubicBezTo>
                    <a:pt x="13" y="251"/>
                    <a:pt x="13" y="251"/>
                    <a:pt x="13" y="251"/>
                  </a:cubicBezTo>
                  <a:cubicBezTo>
                    <a:pt x="16" y="254"/>
                    <a:pt x="16" y="254"/>
                    <a:pt x="16" y="254"/>
                  </a:cubicBezTo>
                  <a:cubicBezTo>
                    <a:pt x="18" y="257"/>
                    <a:pt x="18" y="257"/>
                    <a:pt x="18" y="257"/>
                  </a:cubicBezTo>
                  <a:cubicBezTo>
                    <a:pt x="22" y="256"/>
                    <a:pt x="22" y="256"/>
                    <a:pt x="22" y="256"/>
                  </a:cubicBezTo>
                  <a:cubicBezTo>
                    <a:pt x="26" y="259"/>
                    <a:pt x="26" y="259"/>
                    <a:pt x="26" y="259"/>
                  </a:cubicBezTo>
                  <a:cubicBezTo>
                    <a:pt x="25" y="261"/>
                    <a:pt x="25" y="261"/>
                    <a:pt x="25" y="261"/>
                  </a:cubicBezTo>
                  <a:cubicBezTo>
                    <a:pt x="25" y="261"/>
                    <a:pt x="25" y="261"/>
                    <a:pt x="25" y="260"/>
                  </a:cubicBezTo>
                  <a:cubicBezTo>
                    <a:pt x="26" y="257"/>
                    <a:pt x="26" y="257"/>
                    <a:pt x="26" y="257"/>
                  </a:cubicBezTo>
                  <a:cubicBezTo>
                    <a:pt x="27" y="256"/>
                    <a:pt x="27" y="256"/>
                    <a:pt x="27" y="256"/>
                  </a:cubicBezTo>
                  <a:cubicBezTo>
                    <a:pt x="27" y="256"/>
                    <a:pt x="28" y="255"/>
                    <a:pt x="28" y="255"/>
                  </a:cubicBezTo>
                  <a:cubicBezTo>
                    <a:pt x="29" y="254"/>
                    <a:pt x="30" y="254"/>
                    <a:pt x="32" y="253"/>
                  </a:cubicBezTo>
                  <a:cubicBezTo>
                    <a:pt x="32" y="250"/>
                    <a:pt x="32" y="250"/>
                    <a:pt x="32" y="250"/>
                  </a:cubicBezTo>
                  <a:cubicBezTo>
                    <a:pt x="35" y="253"/>
                    <a:pt x="35" y="253"/>
                    <a:pt x="35" y="253"/>
                  </a:cubicBezTo>
                  <a:cubicBezTo>
                    <a:pt x="35" y="254"/>
                    <a:pt x="36" y="254"/>
                    <a:pt x="37" y="255"/>
                  </a:cubicBezTo>
                  <a:cubicBezTo>
                    <a:pt x="39" y="255"/>
                    <a:pt x="39" y="255"/>
                    <a:pt x="39" y="255"/>
                  </a:cubicBezTo>
                  <a:cubicBezTo>
                    <a:pt x="40" y="255"/>
                    <a:pt x="42" y="254"/>
                    <a:pt x="45" y="254"/>
                  </a:cubicBezTo>
                  <a:cubicBezTo>
                    <a:pt x="45" y="254"/>
                    <a:pt x="45" y="254"/>
                    <a:pt x="45" y="254"/>
                  </a:cubicBezTo>
                  <a:cubicBezTo>
                    <a:pt x="55" y="255"/>
                    <a:pt x="55" y="255"/>
                    <a:pt x="55" y="255"/>
                  </a:cubicBezTo>
                  <a:cubicBezTo>
                    <a:pt x="60" y="252"/>
                    <a:pt x="60" y="252"/>
                    <a:pt x="60" y="252"/>
                  </a:cubicBezTo>
                  <a:cubicBezTo>
                    <a:pt x="71" y="253"/>
                    <a:pt x="71" y="253"/>
                    <a:pt x="71" y="253"/>
                  </a:cubicBezTo>
                  <a:cubicBezTo>
                    <a:pt x="76" y="252"/>
                    <a:pt x="76" y="252"/>
                    <a:pt x="76" y="252"/>
                  </a:cubicBezTo>
                  <a:cubicBezTo>
                    <a:pt x="80" y="255"/>
                    <a:pt x="80" y="255"/>
                    <a:pt x="80" y="255"/>
                  </a:cubicBezTo>
                  <a:cubicBezTo>
                    <a:pt x="85" y="255"/>
                    <a:pt x="85" y="255"/>
                    <a:pt x="85" y="255"/>
                  </a:cubicBezTo>
                  <a:cubicBezTo>
                    <a:pt x="88" y="250"/>
                    <a:pt x="88" y="250"/>
                    <a:pt x="88" y="250"/>
                  </a:cubicBezTo>
                  <a:cubicBezTo>
                    <a:pt x="89" y="249"/>
                    <a:pt x="92" y="246"/>
                    <a:pt x="95" y="246"/>
                  </a:cubicBezTo>
                  <a:cubicBezTo>
                    <a:pt x="97" y="246"/>
                    <a:pt x="102" y="244"/>
                    <a:pt x="103" y="244"/>
                  </a:cubicBezTo>
                  <a:cubicBezTo>
                    <a:pt x="110" y="240"/>
                    <a:pt x="110" y="240"/>
                    <a:pt x="110" y="240"/>
                  </a:cubicBezTo>
                  <a:cubicBezTo>
                    <a:pt x="110" y="240"/>
                    <a:pt x="110" y="240"/>
                    <a:pt x="110" y="240"/>
                  </a:cubicBezTo>
                  <a:cubicBezTo>
                    <a:pt x="111" y="240"/>
                    <a:pt x="111" y="239"/>
                    <a:pt x="112" y="239"/>
                  </a:cubicBezTo>
                  <a:cubicBezTo>
                    <a:pt x="113" y="237"/>
                    <a:pt x="114" y="236"/>
                    <a:pt x="116" y="235"/>
                  </a:cubicBezTo>
                  <a:cubicBezTo>
                    <a:pt x="116" y="235"/>
                    <a:pt x="116" y="234"/>
                    <a:pt x="116" y="233"/>
                  </a:cubicBezTo>
                  <a:cubicBezTo>
                    <a:pt x="116" y="232"/>
                    <a:pt x="116" y="231"/>
                    <a:pt x="117" y="230"/>
                  </a:cubicBezTo>
                  <a:cubicBezTo>
                    <a:pt x="117" y="229"/>
                    <a:pt x="119" y="227"/>
                    <a:pt x="121" y="226"/>
                  </a:cubicBezTo>
                  <a:cubicBezTo>
                    <a:pt x="122" y="226"/>
                    <a:pt x="122" y="226"/>
                    <a:pt x="122" y="226"/>
                  </a:cubicBezTo>
                  <a:cubicBezTo>
                    <a:pt x="122" y="226"/>
                    <a:pt x="122" y="226"/>
                    <a:pt x="122" y="226"/>
                  </a:cubicBezTo>
                  <a:cubicBezTo>
                    <a:pt x="124" y="224"/>
                    <a:pt x="124" y="224"/>
                    <a:pt x="124" y="224"/>
                  </a:cubicBezTo>
                  <a:cubicBezTo>
                    <a:pt x="125" y="222"/>
                    <a:pt x="125" y="222"/>
                    <a:pt x="125" y="222"/>
                  </a:cubicBezTo>
                  <a:cubicBezTo>
                    <a:pt x="127" y="221"/>
                    <a:pt x="127" y="221"/>
                    <a:pt x="127" y="221"/>
                  </a:cubicBezTo>
                  <a:cubicBezTo>
                    <a:pt x="127" y="221"/>
                    <a:pt x="128" y="220"/>
                    <a:pt x="128" y="220"/>
                  </a:cubicBezTo>
                  <a:cubicBezTo>
                    <a:pt x="128" y="220"/>
                    <a:pt x="128" y="220"/>
                    <a:pt x="128" y="220"/>
                  </a:cubicBezTo>
                  <a:cubicBezTo>
                    <a:pt x="128" y="220"/>
                    <a:pt x="128" y="220"/>
                    <a:pt x="128" y="220"/>
                  </a:cubicBezTo>
                  <a:cubicBezTo>
                    <a:pt x="130" y="218"/>
                    <a:pt x="130" y="218"/>
                    <a:pt x="130" y="218"/>
                  </a:cubicBezTo>
                  <a:cubicBezTo>
                    <a:pt x="130" y="218"/>
                    <a:pt x="130" y="218"/>
                    <a:pt x="130" y="218"/>
                  </a:cubicBezTo>
                  <a:cubicBezTo>
                    <a:pt x="130" y="218"/>
                    <a:pt x="130" y="218"/>
                    <a:pt x="131" y="218"/>
                  </a:cubicBezTo>
                  <a:cubicBezTo>
                    <a:pt x="131" y="217"/>
                    <a:pt x="131" y="217"/>
                    <a:pt x="131" y="217"/>
                  </a:cubicBezTo>
                  <a:cubicBezTo>
                    <a:pt x="132" y="216"/>
                    <a:pt x="132" y="216"/>
                    <a:pt x="132" y="216"/>
                  </a:cubicBezTo>
                  <a:cubicBezTo>
                    <a:pt x="133" y="217"/>
                    <a:pt x="133" y="217"/>
                    <a:pt x="133" y="217"/>
                  </a:cubicBezTo>
                  <a:cubicBezTo>
                    <a:pt x="135" y="217"/>
                    <a:pt x="135" y="217"/>
                    <a:pt x="135" y="217"/>
                  </a:cubicBezTo>
                  <a:cubicBezTo>
                    <a:pt x="135" y="217"/>
                    <a:pt x="135" y="217"/>
                    <a:pt x="135" y="217"/>
                  </a:cubicBezTo>
                  <a:cubicBezTo>
                    <a:pt x="136" y="217"/>
                    <a:pt x="136" y="217"/>
                    <a:pt x="136" y="217"/>
                  </a:cubicBezTo>
                  <a:cubicBezTo>
                    <a:pt x="136" y="217"/>
                    <a:pt x="136" y="216"/>
                    <a:pt x="136" y="216"/>
                  </a:cubicBezTo>
                  <a:cubicBezTo>
                    <a:pt x="137" y="215"/>
                    <a:pt x="138" y="215"/>
                    <a:pt x="138" y="215"/>
                  </a:cubicBezTo>
                  <a:cubicBezTo>
                    <a:pt x="139" y="215"/>
                    <a:pt x="139" y="215"/>
                    <a:pt x="140" y="215"/>
                  </a:cubicBezTo>
                  <a:cubicBezTo>
                    <a:pt x="140" y="215"/>
                    <a:pt x="142" y="215"/>
                    <a:pt x="142" y="215"/>
                  </a:cubicBezTo>
                  <a:cubicBezTo>
                    <a:pt x="142" y="215"/>
                    <a:pt x="142" y="215"/>
                    <a:pt x="142" y="215"/>
                  </a:cubicBezTo>
                  <a:cubicBezTo>
                    <a:pt x="142" y="215"/>
                    <a:pt x="143" y="214"/>
                    <a:pt x="143" y="214"/>
                  </a:cubicBezTo>
                  <a:cubicBezTo>
                    <a:pt x="143" y="214"/>
                    <a:pt x="143" y="214"/>
                    <a:pt x="143" y="214"/>
                  </a:cubicBezTo>
                  <a:cubicBezTo>
                    <a:pt x="143" y="212"/>
                    <a:pt x="144" y="212"/>
                    <a:pt x="145" y="211"/>
                  </a:cubicBezTo>
                  <a:cubicBezTo>
                    <a:pt x="146" y="211"/>
                    <a:pt x="146" y="211"/>
                    <a:pt x="146" y="211"/>
                  </a:cubicBezTo>
                  <a:cubicBezTo>
                    <a:pt x="146" y="211"/>
                    <a:pt x="146" y="211"/>
                    <a:pt x="146" y="211"/>
                  </a:cubicBezTo>
                  <a:cubicBezTo>
                    <a:pt x="146" y="211"/>
                    <a:pt x="147" y="211"/>
                    <a:pt x="147" y="211"/>
                  </a:cubicBezTo>
                  <a:cubicBezTo>
                    <a:pt x="147" y="211"/>
                    <a:pt x="147" y="211"/>
                    <a:pt x="147" y="211"/>
                  </a:cubicBezTo>
                  <a:cubicBezTo>
                    <a:pt x="148" y="210"/>
                    <a:pt x="149" y="210"/>
                    <a:pt x="149" y="209"/>
                  </a:cubicBezTo>
                  <a:cubicBezTo>
                    <a:pt x="149" y="209"/>
                    <a:pt x="149" y="209"/>
                    <a:pt x="149" y="209"/>
                  </a:cubicBezTo>
                  <a:cubicBezTo>
                    <a:pt x="150" y="208"/>
                    <a:pt x="150" y="207"/>
                    <a:pt x="152" y="207"/>
                  </a:cubicBezTo>
                  <a:cubicBezTo>
                    <a:pt x="153" y="207"/>
                    <a:pt x="154" y="208"/>
                    <a:pt x="154" y="209"/>
                  </a:cubicBezTo>
                  <a:cubicBezTo>
                    <a:pt x="154" y="209"/>
                    <a:pt x="154" y="209"/>
                    <a:pt x="154" y="209"/>
                  </a:cubicBezTo>
                  <a:cubicBezTo>
                    <a:pt x="155" y="208"/>
                    <a:pt x="156" y="207"/>
                    <a:pt x="157" y="207"/>
                  </a:cubicBezTo>
                  <a:cubicBezTo>
                    <a:pt x="158" y="207"/>
                    <a:pt x="159" y="208"/>
                    <a:pt x="160" y="208"/>
                  </a:cubicBezTo>
                  <a:cubicBezTo>
                    <a:pt x="160" y="208"/>
                    <a:pt x="160" y="208"/>
                    <a:pt x="160" y="208"/>
                  </a:cubicBezTo>
                  <a:cubicBezTo>
                    <a:pt x="160" y="209"/>
                    <a:pt x="161" y="209"/>
                    <a:pt x="161" y="209"/>
                  </a:cubicBezTo>
                  <a:cubicBezTo>
                    <a:pt x="162" y="209"/>
                    <a:pt x="162" y="209"/>
                    <a:pt x="162" y="209"/>
                  </a:cubicBezTo>
                  <a:cubicBezTo>
                    <a:pt x="162" y="209"/>
                    <a:pt x="163" y="210"/>
                    <a:pt x="164" y="210"/>
                  </a:cubicBezTo>
                  <a:cubicBezTo>
                    <a:pt x="164" y="211"/>
                    <a:pt x="164" y="211"/>
                    <a:pt x="165" y="211"/>
                  </a:cubicBezTo>
                  <a:cubicBezTo>
                    <a:pt x="165" y="211"/>
                    <a:pt x="166" y="211"/>
                    <a:pt x="167" y="211"/>
                  </a:cubicBezTo>
                  <a:cubicBezTo>
                    <a:pt x="168" y="210"/>
                    <a:pt x="168" y="210"/>
                    <a:pt x="168" y="210"/>
                  </a:cubicBezTo>
                  <a:cubicBezTo>
                    <a:pt x="170" y="212"/>
                    <a:pt x="170" y="212"/>
                    <a:pt x="170" y="212"/>
                  </a:cubicBezTo>
                  <a:cubicBezTo>
                    <a:pt x="170" y="212"/>
                    <a:pt x="170" y="212"/>
                    <a:pt x="171" y="212"/>
                  </a:cubicBezTo>
                  <a:cubicBezTo>
                    <a:pt x="171" y="212"/>
                    <a:pt x="172" y="212"/>
                    <a:pt x="172" y="213"/>
                  </a:cubicBezTo>
                  <a:cubicBezTo>
                    <a:pt x="172" y="212"/>
                    <a:pt x="173" y="212"/>
                    <a:pt x="173" y="212"/>
                  </a:cubicBezTo>
                  <a:cubicBezTo>
                    <a:pt x="173" y="212"/>
                    <a:pt x="174" y="211"/>
                    <a:pt x="176" y="211"/>
                  </a:cubicBezTo>
                  <a:cubicBezTo>
                    <a:pt x="176" y="211"/>
                    <a:pt x="177" y="211"/>
                    <a:pt x="177" y="212"/>
                  </a:cubicBezTo>
                  <a:cubicBezTo>
                    <a:pt x="178" y="212"/>
                    <a:pt x="179" y="213"/>
                    <a:pt x="179" y="214"/>
                  </a:cubicBezTo>
                  <a:cubicBezTo>
                    <a:pt x="179" y="214"/>
                    <a:pt x="180" y="214"/>
                    <a:pt x="180" y="214"/>
                  </a:cubicBezTo>
                  <a:cubicBezTo>
                    <a:pt x="180" y="214"/>
                    <a:pt x="180" y="214"/>
                    <a:pt x="180" y="214"/>
                  </a:cubicBezTo>
                  <a:cubicBezTo>
                    <a:pt x="180" y="214"/>
                    <a:pt x="181" y="213"/>
                    <a:pt x="188" y="213"/>
                  </a:cubicBezTo>
                  <a:cubicBezTo>
                    <a:pt x="189" y="213"/>
                    <a:pt x="189" y="213"/>
                    <a:pt x="189" y="213"/>
                  </a:cubicBezTo>
                  <a:cubicBezTo>
                    <a:pt x="192" y="212"/>
                    <a:pt x="192" y="212"/>
                    <a:pt x="192" y="212"/>
                  </a:cubicBezTo>
                  <a:cubicBezTo>
                    <a:pt x="192" y="213"/>
                    <a:pt x="192" y="213"/>
                    <a:pt x="192" y="213"/>
                  </a:cubicBezTo>
                  <a:cubicBezTo>
                    <a:pt x="194" y="217"/>
                    <a:pt x="194" y="217"/>
                    <a:pt x="194" y="217"/>
                  </a:cubicBezTo>
                  <a:cubicBezTo>
                    <a:pt x="195" y="217"/>
                    <a:pt x="195" y="218"/>
                    <a:pt x="196" y="219"/>
                  </a:cubicBezTo>
                  <a:cubicBezTo>
                    <a:pt x="196" y="219"/>
                    <a:pt x="196" y="219"/>
                    <a:pt x="197" y="219"/>
                  </a:cubicBezTo>
                  <a:cubicBezTo>
                    <a:pt x="197" y="219"/>
                    <a:pt x="197" y="218"/>
                    <a:pt x="197" y="218"/>
                  </a:cubicBezTo>
                  <a:cubicBezTo>
                    <a:pt x="198" y="216"/>
                    <a:pt x="199" y="216"/>
                    <a:pt x="200" y="216"/>
                  </a:cubicBezTo>
                  <a:cubicBezTo>
                    <a:pt x="202" y="216"/>
                    <a:pt x="204" y="218"/>
                    <a:pt x="204" y="219"/>
                  </a:cubicBezTo>
                  <a:cubicBezTo>
                    <a:pt x="207" y="220"/>
                    <a:pt x="207" y="220"/>
                    <a:pt x="207" y="220"/>
                  </a:cubicBezTo>
                  <a:cubicBezTo>
                    <a:pt x="208" y="222"/>
                    <a:pt x="208" y="222"/>
                    <a:pt x="208" y="222"/>
                  </a:cubicBezTo>
                  <a:cubicBezTo>
                    <a:pt x="207" y="224"/>
                    <a:pt x="207" y="224"/>
                    <a:pt x="207" y="224"/>
                  </a:cubicBezTo>
                  <a:cubicBezTo>
                    <a:pt x="209" y="225"/>
                    <a:pt x="209" y="225"/>
                    <a:pt x="209" y="225"/>
                  </a:cubicBezTo>
                  <a:cubicBezTo>
                    <a:pt x="208" y="228"/>
                    <a:pt x="208" y="228"/>
                    <a:pt x="208" y="228"/>
                  </a:cubicBezTo>
                  <a:cubicBezTo>
                    <a:pt x="209" y="228"/>
                    <a:pt x="209" y="229"/>
                    <a:pt x="209" y="229"/>
                  </a:cubicBezTo>
                  <a:cubicBezTo>
                    <a:pt x="209" y="230"/>
                    <a:pt x="209" y="231"/>
                    <a:pt x="209" y="231"/>
                  </a:cubicBezTo>
                  <a:cubicBezTo>
                    <a:pt x="210" y="231"/>
                    <a:pt x="210" y="231"/>
                    <a:pt x="210" y="231"/>
                  </a:cubicBezTo>
                  <a:cubicBezTo>
                    <a:pt x="210" y="235"/>
                    <a:pt x="210" y="235"/>
                    <a:pt x="210" y="235"/>
                  </a:cubicBezTo>
                  <a:cubicBezTo>
                    <a:pt x="209" y="236"/>
                    <a:pt x="209" y="236"/>
                    <a:pt x="209" y="236"/>
                  </a:cubicBezTo>
                  <a:cubicBezTo>
                    <a:pt x="210" y="237"/>
                    <a:pt x="210" y="237"/>
                    <a:pt x="210" y="237"/>
                  </a:cubicBezTo>
                  <a:cubicBezTo>
                    <a:pt x="212" y="237"/>
                    <a:pt x="212" y="237"/>
                    <a:pt x="212" y="237"/>
                  </a:cubicBezTo>
                  <a:cubicBezTo>
                    <a:pt x="214" y="239"/>
                    <a:pt x="214" y="239"/>
                    <a:pt x="214" y="239"/>
                  </a:cubicBezTo>
                  <a:cubicBezTo>
                    <a:pt x="217" y="240"/>
                    <a:pt x="217" y="240"/>
                    <a:pt x="217" y="240"/>
                  </a:cubicBezTo>
                  <a:cubicBezTo>
                    <a:pt x="217" y="239"/>
                    <a:pt x="217" y="239"/>
                    <a:pt x="217" y="239"/>
                  </a:cubicBezTo>
                  <a:cubicBezTo>
                    <a:pt x="223" y="240"/>
                    <a:pt x="223" y="240"/>
                    <a:pt x="223" y="240"/>
                  </a:cubicBezTo>
                  <a:cubicBezTo>
                    <a:pt x="225" y="245"/>
                    <a:pt x="225" y="245"/>
                    <a:pt x="225" y="245"/>
                  </a:cubicBezTo>
                  <a:cubicBezTo>
                    <a:pt x="225" y="245"/>
                    <a:pt x="225" y="245"/>
                    <a:pt x="225" y="245"/>
                  </a:cubicBezTo>
                  <a:cubicBezTo>
                    <a:pt x="225" y="245"/>
                    <a:pt x="225" y="245"/>
                    <a:pt x="225" y="245"/>
                  </a:cubicBezTo>
                  <a:cubicBezTo>
                    <a:pt x="225" y="245"/>
                    <a:pt x="225" y="246"/>
                    <a:pt x="225" y="246"/>
                  </a:cubicBezTo>
                  <a:cubicBezTo>
                    <a:pt x="225" y="246"/>
                    <a:pt x="225" y="248"/>
                    <a:pt x="225" y="248"/>
                  </a:cubicBezTo>
                  <a:cubicBezTo>
                    <a:pt x="226" y="250"/>
                    <a:pt x="226" y="250"/>
                    <a:pt x="226" y="250"/>
                  </a:cubicBezTo>
                  <a:cubicBezTo>
                    <a:pt x="226" y="250"/>
                    <a:pt x="226" y="250"/>
                    <a:pt x="226" y="250"/>
                  </a:cubicBezTo>
                  <a:cubicBezTo>
                    <a:pt x="228" y="251"/>
                    <a:pt x="228" y="253"/>
                    <a:pt x="228" y="254"/>
                  </a:cubicBezTo>
                  <a:cubicBezTo>
                    <a:pt x="228" y="254"/>
                    <a:pt x="228" y="254"/>
                    <a:pt x="228" y="254"/>
                  </a:cubicBezTo>
                  <a:cubicBezTo>
                    <a:pt x="228" y="254"/>
                    <a:pt x="228" y="255"/>
                    <a:pt x="228" y="256"/>
                  </a:cubicBezTo>
                  <a:cubicBezTo>
                    <a:pt x="228" y="256"/>
                    <a:pt x="228" y="256"/>
                    <a:pt x="228" y="256"/>
                  </a:cubicBezTo>
                  <a:cubicBezTo>
                    <a:pt x="229" y="256"/>
                    <a:pt x="230" y="256"/>
                    <a:pt x="230" y="256"/>
                  </a:cubicBezTo>
                  <a:cubicBezTo>
                    <a:pt x="230" y="256"/>
                    <a:pt x="230" y="256"/>
                    <a:pt x="230" y="256"/>
                  </a:cubicBezTo>
                  <a:cubicBezTo>
                    <a:pt x="231" y="256"/>
                    <a:pt x="231" y="256"/>
                    <a:pt x="231" y="256"/>
                  </a:cubicBezTo>
                  <a:cubicBezTo>
                    <a:pt x="233" y="256"/>
                    <a:pt x="233" y="256"/>
                    <a:pt x="233" y="256"/>
                  </a:cubicBezTo>
                  <a:cubicBezTo>
                    <a:pt x="235" y="256"/>
                    <a:pt x="235" y="256"/>
                    <a:pt x="235" y="256"/>
                  </a:cubicBezTo>
                  <a:cubicBezTo>
                    <a:pt x="237" y="257"/>
                    <a:pt x="237" y="257"/>
                    <a:pt x="237" y="257"/>
                  </a:cubicBezTo>
                  <a:cubicBezTo>
                    <a:pt x="239" y="256"/>
                    <a:pt x="239" y="256"/>
                    <a:pt x="239" y="256"/>
                  </a:cubicBezTo>
                  <a:cubicBezTo>
                    <a:pt x="241" y="259"/>
                    <a:pt x="241" y="259"/>
                    <a:pt x="241" y="259"/>
                  </a:cubicBezTo>
                  <a:cubicBezTo>
                    <a:pt x="242" y="262"/>
                    <a:pt x="242" y="263"/>
                    <a:pt x="242" y="264"/>
                  </a:cubicBezTo>
                  <a:cubicBezTo>
                    <a:pt x="242" y="264"/>
                    <a:pt x="242" y="265"/>
                    <a:pt x="243" y="265"/>
                  </a:cubicBezTo>
                  <a:cubicBezTo>
                    <a:pt x="243" y="266"/>
                    <a:pt x="243" y="266"/>
                    <a:pt x="243" y="266"/>
                  </a:cubicBezTo>
                  <a:cubicBezTo>
                    <a:pt x="243" y="266"/>
                    <a:pt x="243" y="266"/>
                    <a:pt x="243" y="266"/>
                  </a:cubicBezTo>
                  <a:cubicBezTo>
                    <a:pt x="243" y="267"/>
                    <a:pt x="243" y="268"/>
                    <a:pt x="243" y="268"/>
                  </a:cubicBezTo>
                  <a:cubicBezTo>
                    <a:pt x="244" y="269"/>
                    <a:pt x="244" y="269"/>
                    <a:pt x="244" y="269"/>
                  </a:cubicBezTo>
                  <a:cubicBezTo>
                    <a:pt x="244" y="269"/>
                    <a:pt x="244" y="269"/>
                    <a:pt x="244" y="269"/>
                  </a:cubicBezTo>
                  <a:cubicBezTo>
                    <a:pt x="244" y="270"/>
                    <a:pt x="244" y="270"/>
                    <a:pt x="244" y="270"/>
                  </a:cubicBezTo>
                  <a:cubicBezTo>
                    <a:pt x="243" y="270"/>
                    <a:pt x="243" y="270"/>
                    <a:pt x="243" y="270"/>
                  </a:cubicBezTo>
                  <a:cubicBezTo>
                    <a:pt x="245" y="272"/>
                    <a:pt x="245" y="272"/>
                    <a:pt x="245" y="272"/>
                  </a:cubicBezTo>
                  <a:cubicBezTo>
                    <a:pt x="246" y="272"/>
                    <a:pt x="246" y="272"/>
                    <a:pt x="246" y="272"/>
                  </a:cubicBezTo>
                  <a:cubicBezTo>
                    <a:pt x="247" y="272"/>
                    <a:pt x="247" y="272"/>
                    <a:pt x="247" y="272"/>
                  </a:cubicBezTo>
                  <a:cubicBezTo>
                    <a:pt x="247" y="272"/>
                    <a:pt x="247" y="272"/>
                    <a:pt x="247" y="272"/>
                  </a:cubicBezTo>
                  <a:cubicBezTo>
                    <a:pt x="250" y="272"/>
                    <a:pt x="251" y="273"/>
                    <a:pt x="252" y="275"/>
                  </a:cubicBezTo>
                  <a:cubicBezTo>
                    <a:pt x="252" y="277"/>
                    <a:pt x="249" y="278"/>
                    <a:pt x="247" y="278"/>
                  </a:cubicBezTo>
                  <a:cubicBezTo>
                    <a:pt x="246" y="279"/>
                    <a:pt x="245" y="279"/>
                    <a:pt x="245" y="279"/>
                  </a:cubicBezTo>
                  <a:cubicBezTo>
                    <a:pt x="244" y="281"/>
                    <a:pt x="244" y="281"/>
                    <a:pt x="244" y="281"/>
                  </a:cubicBezTo>
                  <a:cubicBezTo>
                    <a:pt x="239" y="282"/>
                    <a:pt x="239" y="282"/>
                    <a:pt x="239" y="282"/>
                  </a:cubicBezTo>
                  <a:cubicBezTo>
                    <a:pt x="238" y="280"/>
                    <a:pt x="238" y="280"/>
                    <a:pt x="238" y="280"/>
                  </a:cubicBezTo>
                  <a:cubicBezTo>
                    <a:pt x="238" y="280"/>
                    <a:pt x="238" y="280"/>
                    <a:pt x="238" y="280"/>
                  </a:cubicBezTo>
                  <a:cubicBezTo>
                    <a:pt x="238" y="280"/>
                    <a:pt x="238" y="280"/>
                    <a:pt x="238" y="280"/>
                  </a:cubicBezTo>
                  <a:cubicBezTo>
                    <a:pt x="238" y="281"/>
                    <a:pt x="237" y="282"/>
                    <a:pt x="235" y="283"/>
                  </a:cubicBezTo>
                  <a:cubicBezTo>
                    <a:pt x="234" y="283"/>
                    <a:pt x="234" y="283"/>
                    <a:pt x="234" y="283"/>
                  </a:cubicBezTo>
                  <a:cubicBezTo>
                    <a:pt x="233" y="283"/>
                    <a:pt x="233" y="283"/>
                    <a:pt x="233" y="283"/>
                  </a:cubicBezTo>
                  <a:cubicBezTo>
                    <a:pt x="232" y="282"/>
                    <a:pt x="232" y="282"/>
                    <a:pt x="232" y="282"/>
                  </a:cubicBezTo>
                  <a:cubicBezTo>
                    <a:pt x="232" y="282"/>
                    <a:pt x="232" y="282"/>
                    <a:pt x="232" y="282"/>
                  </a:cubicBezTo>
                  <a:cubicBezTo>
                    <a:pt x="231" y="282"/>
                    <a:pt x="231" y="282"/>
                    <a:pt x="231" y="282"/>
                  </a:cubicBezTo>
                  <a:cubicBezTo>
                    <a:pt x="230" y="282"/>
                    <a:pt x="230" y="282"/>
                    <a:pt x="230" y="282"/>
                  </a:cubicBezTo>
                  <a:cubicBezTo>
                    <a:pt x="230" y="282"/>
                    <a:pt x="230" y="282"/>
                    <a:pt x="230" y="282"/>
                  </a:cubicBezTo>
                  <a:cubicBezTo>
                    <a:pt x="230" y="282"/>
                    <a:pt x="230" y="282"/>
                    <a:pt x="230" y="282"/>
                  </a:cubicBezTo>
                  <a:cubicBezTo>
                    <a:pt x="229" y="282"/>
                    <a:pt x="229" y="283"/>
                    <a:pt x="229" y="283"/>
                  </a:cubicBezTo>
                  <a:cubicBezTo>
                    <a:pt x="229" y="283"/>
                    <a:pt x="229" y="283"/>
                    <a:pt x="229" y="283"/>
                  </a:cubicBezTo>
                  <a:cubicBezTo>
                    <a:pt x="228" y="283"/>
                    <a:pt x="228" y="283"/>
                    <a:pt x="228" y="283"/>
                  </a:cubicBezTo>
                  <a:cubicBezTo>
                    <a:pt x="228" y="283"/>
                    <a:pt x="227" y="283"/>
                    <a:pt x="227" y="283"/>
                  </a:cubicBezTo>
                  <a:cubicBezTo>
                    <a:pt x="227" y="283"/>
                    <a:pt x="227" y="283"/>
                    <a:pt x="227" y="283"/>
                  </a:cubicBezTo>
                  <a:cubicBezTo>
                    <a:pt x="226" y="283"/>
                    <a:pt x="226" y="283"/>
                    <a:pt x="226" y="283"/>
                  </a:cubicBezTo>
                  <a:cubicBezTo>
                    <a:pt x="226" y="284"/>
                    <a:pt x="226" y="284"/>
                    <a:pt x="226" y="284"/>
                  </a:cubicBezTo>
                  <a:cubicBezTo>
                    <a:pt x="225" y="285"/>
                    <a:pt x="225" y="286"/>
                    <a:pt x="223" y="287"/>
                  </a:cubicBezTo>
                  <a:cubicBezTo>
                    <a:pt x="223" y="287"/>
                    <a:pt x="223" y="287"/>
                    <a:pt x="223" y="287"/>
                  </a:cubicBezTo>
                  <a:cubicBezTo>
                    <a:pt x="223" y="287"/>
                    <a:pt x="223" y="287"/>
                    <a:pt x="223" y="287"/>
                  </a:cubicBezTo>
                  <a:cubicBezTo>
                    <a:pt x="222" y="287"/>
                    <a:pt x="221" y="287"/>
                    <a:pt x="220" y="286"/>
                  </a:cubicBezTo>
                  <a:cubicBezTo>
                    <a:pt x="220" y="285"/>
                    <a:pt x="220" y="284"/>
                    <a:pt x="220" y="283"/>
                  </a:cubicBezTo>
                  <a:cubicBezTo>
                    <a:pt x="219" y="280"/>
                    <a:pt x="219" y="280"/>
                    <a:pt x="219" y="280"/>
                  </a:cubicBezTo>
                  <a:cubicBezTo>
                    <a:pt x="218" y="281"/>
                    <a:pt x="218" y="281"/>
                    <a:pt x="218" y="281"/>
                  </a:cubicBezTo>
                  <a:cubicBezTo>
                    <a:pt x="218" y="281"/>
                    <a:pt x="218" y="282"/>
                    <a:pt x="218" y="282"/>
                  </a:cubicBezTo>
                  <a:cubicBezTo>
                    <a:pt x="217" y="283"/>
                    <a:pt x="217" y="284"/>
                    <a:pt x="216" y="285"/>
                  </a:cubicBezTo>
                  <a:cubicBezTo>
                    <a:pt x="216" y="285"/>
                    <a:pt x="216" y="285"/>
                    <a:pt x="216" y="285"/>
                  </a:cubicBezTo>
                  <a:cubicBezTo>
                    <a:pt x="218" y="287"/>
                    <a:pt x="218" y="287"/>
                    <a:pt x="218" y="287"/>
                  </a:cubicBezTo>
                  <a:cubicBezTo>
                    <a:pt x="218" y="289"/>
                    <a:pt x="218" y="289"/>
                    <a:pt x="218" y="289"/>
                  </a:cubicBezTo>
                  <a:cubicBezTo>
                    <a:pt x="219" y="290"/>
                    <a:pt x="219" y="290"/>
                    <a:pt x="219" y="290"/>
                  </a:cubicBezTo>
                  <a:cubicBezTo>
                    <a:pt x="219" y="290"/>
                    <a:pt x="219" y="290"/>
                    <a:pt x="219" y="290"/>
                  </a:cubicBezTo>
                  <a:cubicBezTo>
                    <a:pt x="219" y="290"/>
                    <a:pt x="220" y="290"/>
                    <a:pt x="221" y="290"/>
                  </a:cubicBezTo>
                  <a:cubicBezTo>
                    <a:pt x="221" y="291"/>
                    <a:pt x="221" y="291"/>
                    <a:pt x="221" y="291"/>
                  </a:cubicBezTo>
                  <a:cubicBezTo>
                    <a:pt x="221" y="291"/>
                    <a:pt x="221" y="291"/>
                    <a:pt x="221" y="291"/>
                  </a:cubicBezTo>
                  <a:cubicBezTo>
                    <a:pt x="222" y="293"/>
                    <a:pt x="222" y="294"/>
                    <a:pt x="222" y="295"/>
                  </a:cubicBezTo>
                  <a:cubicBezTo>
                    <a:pt x="221" y="297"/>
                    <a:pt x="221" y="297"/>
                    <a:pt x="221" y="297"/>
                  </a:cubicBezTo>
                  <a:cubicBezTo>
                    <a:pt x="222" y="298"/>
                    <a:pt x="222" y="299"/>
                    <a:pt x="222" y="299"/>
                  </a:cubicBezTo>
                  <a:cubicBezTo>
                    <a:pt x="223" y="300"/>
                    <a:pt x="222" y="302"/>
                    <a:pt x="220" y="303"/>
                  </a:cubicBezTo>
                  <a:cubicBezTo>
                    <a:pt x="220" y="304"/>
                    <a:pt x="217" y="306"/>
                    <a:pt x="217" y="306"/>
                  </a:cubicBezTo>
                  <a:cubicBezTo>
                    <a:pt x="217" y="306"/>
                    <a:pt x="217" y="306"/>
                    <a:pt x="217" y="306"/>
                  </a:cubicBezTo>
                  <a:cubicBezTo>
                    <a:pt x="218" y="310"/>
                    <a:pt x="218" y="310"/>
                    <a:pt x="218" y="310"/>
                  </a:cubicBezTo>
                  <a:cubicBezTo>
                    <a:pt x="218" y="311"/>
                    <a:pt x="218" y="311"/>
                    <a:pt x="218" y="311"/>
                  </a:cubicBezTo>
                  <a:cubicBezTo>
                    <a:pt x="218" y="311"/>
                    <a:pt x="217" y="312"/>
                    <a:pt x="216" y="312"/>
                  </a:cubicBezTo>
                  <a:cubicBezTo>
                    <a:pt x="216" y="312"/>
                    <a:pt x="216" y="314"/>
                    <a:pt x="216" y="314"/>
                  </a:cubicBezTo>
                  <a:cubicBezTo>
                    <a:pt x="214" y="315"/>
                    <a:pt x="214" y="315"/>
                    <a:pt x="214" y="315"/>
                  </a:cubicBezTo>
                  <a:cubicBezTo>
                    <a:pt x="214" y="315"/>
                    <a:pt x="214" y="315"/>
                    <a:pt x="214" y="315"/>
                  </a:cubicBezTo>
                  <a:cubicBezTo>
                    <a:pt x="214" y="316"/>
                    <a:pt x="214" y="317"/>
                    <a:pt x="214" y="317"/>
                  </a:cubicBezTo>
                  <a:cubicBezTo>
                    <a:pt x="213" y="318"/>
                    <a:pt x="213" y="318"/>
                    <a:pt x="213" y="318"/>
                  </a:cubicBezTo>
                  <a:cubicBezTo>
                    <a:pt x="213" y="318"/>
                    <a:pt x="213" y="318"/>
                    <a:pt x="213" y="318"/>
                  </a:cubicBezTo>
                  <a:cubicBezTo>
                    <a:pt x="213" y="319"/>
                    <a:pt x="213" y="319"/>
                    <a:pt x="213" y="319"/>
                  </a:cubicBezTo>
                  <a:cubicBezTo>
                    <a:pt x="216" y="320"/>
                    <a:pt x="216" y="320"/>
                    <a:pt x="216" y="320"/>
                  </a:cubicBezTo>
                  <a:cubicBezTo>
                    <a:pt x="215" y="323"/>
                    <a:pt x="215" y="323"/>
                    <a:pt x="215" y="323"/>
                  </a:cubicBezTo>
                  <a:cubicBezTo>
                    <a:pt x="215" y="325"/>
                    <a:pt x="215" y="325"/>
                    <a:pt x="215" y="325"/>
                  </a:cubicBezTo>
                  <a:cubicBezTo>
                    <a:pt x="215" y="326"/>
                    <a:pt x="215" y="326"/>
                    <a:pt x="215" y="326"/>
                  </a:cubicBezTo>
                  <a:cubicBezTo>
                    <a:pt x="214" y="327"/>
                    <a:pt x="212" y="328"/>
                    <a:pt x="212" y="328"/>
                  </a:cubicBezTo>
                  <a:cubicBezTo>
                    <a:pt x="211" y="328"/>
                    <a:pt x="211" y="328"/>
                    <a:pt x="210" y="328"/>
                  </a:cubicBezTo>
                  <a:cubicBezTo>
                    <a:pt x="209" y="328"/>
                    <a:pt x="209" y="328"/>
                    <a:pt x="209" y="328"/>
                  </a:cubicBezTo>
                  <a:cubicBezTo>
                    <a:pt x="207" y="329"/>
                    <a:pt x="207" y="329"/>
                    <a:pt x="207" y="329"/>
                  </a:cubicBezTo>
                  <a:cubicBezTo>
                    <a:pt x="206" y="332"/>
                    <a:pt x="206" y="332"/>
                    <a:pt x="206" y="332"/>
                  </a:cubicBezTo>
                  <a:cubicBezTo>
                    <a:pt x="210" y="335"/>
                    <a:pt x="215" y="336"/>
                    <a:pt x="221" y="337"/>
                  </a:cubicBezTo>
                  <a:cubicBezTo>
                    <a:pt x="223" y="337"/>
                    <a:pt x="223" y="337"/>
                    <a:pt x="223" y="337"/>
                  </a:cubicBezTo>
                  <a:cubicBezTo>
                    <a:pt x="226" y="333"/>
                    <a:pt x="226" y="333"/>
                    <a:pt x="226" y="333"/>
                  </a:cubicBezTo>
                  <a:cubicBezTo>
                    <a:pt x="227" y="331"/>
                    <a:pt x="232" y="322"/>
                    <a:pt x="238" y="320"/>
                  </a:cubicBezTo>
                  <a:cubicBezTo>
                    <a:pt x="238" y="319"/>
                    <a:pt x="238" y="319"/>
                    <a:pt x="238" y="319"/>
                  </a:cubicBezTo>
                  <a:cubicBezTo>
                    <a:pt x="240" y="320"/>
                    <a:pt x="240" y="320"/>
                    <a:pt x="240" y="320"/>
                  </a:cubicBezTo>
                  <a:cubicBezTo>
                    <a:pt x="248" y="322"/>
                    <a:pt x="248" y="322"/>
                    <a:pt x="248" y="322"/>
                  </a:cubicBezTo>
                  <a:cubicBezTo>
                    <a:pt x="250" y="322"/>
                    <a:pt x="250" y="322"/>
                    <a:pt x="250" y="322"/>
                  </a:cubicBezTo>
                  <a:cubicBezTo>
                    <a:pt x="247" y="317"/>
                    <a:pt x="241" y="311"/>
                    <a:pt x="242" y="309"/>
                  </a:cubicBezTo>
                  <a:cubicBezTo>
                    <a:pt x="244" y="307"/>
                    <a:pt x="248" y="302"/>
                    <a:pt x="250" y="298"/>
                  </a:cubicBezTo>
                  <a:cubicBezTo>
                    <a:pt x="252" y="295"/>
                    <a:pt x="260" y="292"/>
                    <a:pt x="260" y="292"/>
                  </a:cubicBezTo>
                  <a:cubicBezTo>
                    <a:pt x="266" y="281"/>
                    <a:pt x="266" y="281"/>
                    <a:pt x="266" y="281"/>
                  </a:cubicBezTo>
                  <a:cubicBezTo>
                    <a:pt x="264" y="262"/>
                    <a:pt x="263" y="257"/>
                    <a:pt x="282" y="255"/>
                  </a:cubicBezTo>
                  <a:cubicBezTo>
                    <a:pt x="286" y="254"/>
                    <a:pt x="289" y="252"/>
                    <a:pt x="289" y="252"/>
                  </a:cubicBezTo>
                  <a:cubicBezTo>
                    <a:pt x="296" y="250"/>
                    <a:pt x="296" y="250"/>
                    <a:pt x="296" y="250"/>
                  </a:cubicBezTo>
                  <a:cubicBezTo>
                    <a:pt x="308" y="248"/>
                    <a:pt x="308" y="248"/>
                    <a:pt x="308" y="248"/>
                  </a:cubicBezTo>
                  <a:cubicBezTo>
                    <a:pt x="298" y="253"/>
                    <a:pt x="298" y="253"/>
                    <a:pt x="298" y="253"/>
                  </a:cubicBezTo>
                  <a:cubicBezTo>
                    <a:pt x="292" y="262"/>
                    <a:pt x="292" y="262"/>
                    <a:pt x="292" y="262"/>
                  </a:cubicBezTo>
                  <a:cubicBezTo>
                    <a:pt x="301" y="264"/>
                    <a:pt x="301" y="264"/>
                    <a:pt x="301" y="264"/>
                  </a:cubicBezTo>
                  <a:cubicBezTo>
                    <a:pt x="301" y="264"/>
                    <a:pt x="301" y="271"/>
                    <a:pt x="306" y="270"/>
                  </a:cubicBezTo>
                  <a:cubicBezTo>
                    <a:pt x="310" y="268"/>
                    <a:pt x="320" y="264"/>
                    <a:pt x="321" y="263"/>
                  </a:cubicBezTo>
                  <a:cubicBezTo>
                    <a:pt x="323" y="263"/>
                    <a:pt x="331" y="260"/>
                    <a:pt x="334" y="261"/>
                  </a:cubicBezTo>
                  <a:cubicBezTo>
                    <a:pt x="336" y="261"/>
                    <a:pt x="349" y="259"/>
                    <a:pt x="349" y="259"/>
                  </a:cubicBezTo>
                  <a:cubicBezTo>
                    <a:pt x="351" y="267"/>
                    <a:pt x="351" y="267"/>
                    <a:pt x="351" y="267"/>
                  </a:cubicBezTo>
                  <a:cubicBezTo>
                    <a:pt x="345" y="274"/>
                    <a:pt x="345" y="274"/>
                    <a:pt x="345" y="274"/>
                  </a:cubicBezTo>
                  <a:cubicBezTo>
                    <a:pt x="338" y="281"/>
                    <a:pt x="338" y="281"/>
                    <a:pt x="338" y="281"/>
                  </a:cubicBezTo>
                  <a:cubicBezTo>
                    <a:pt x="327" y="291"/>
                    <a:pt x="327" y="291"/>
                    <a:pt x="327" y="291"/>
                  </a:cubicBezTo>
                  <a:cubicBezTo>
                    <a:pt x="327" y="291"/>
                    <a:pt x="323" y="297"/>
                    <a:pt x="325" y="298"/>
                  </a:cubicBezTo>
                  <a:cubicBezTo>
                    <a:pt x="326" y="298"/>
                    <a:pt x="338" y="297"/>
                    <a:pt x="338" y="297"/>
                  </a:cubicBezTo>
                  <a:cubicBezTo>
                    <a:pt x="353" y="298"/>
                    <a:pt x="353" y="298"/>
                    <a:pt x="353" y="298"/>
                  </a:cubicBezTo>
                  <a:cubicBezTo>
                    <a:pt x="353" y="298"/>
                    <a:pt x="355" y="298"/>
                    <a:pt x="357" y="304"/>
                  </a:cubicBezTo>
                  <a:cubicBezTo>
                    <a:pt x="358" y="309"/>
                    <a:pt x="361" y="311"/>
                    <a:pt x="362" y="313"/>
                  </a:cubicBezTo>
                  <a:cubicBezTo>
                    <a:pt x="362" y="315"/>
                    <a:pt x="366" y="320"/>
                    <a:pt x="366" y="320"/>
                  </a:cubicBezTo>
                  <a:cubicBezTo>
                    <a:pt x="366" y="320"/>
                    <a:pt x="362" y="323"/>
                    <a:pt x="367" y="323"/>
                  </a:cubicBezTo>
                  <a:cubicBezTo>
                    <a:pt x="371" y="323"/>
                    <a:pt x="375" y="322"/>
                    <a:pt x="375" y="322"/>
                  </a:cubicBezTo>
                  <a:cubicBezTo>
                    <a:pt x="375" y="322"/>
                    <a:pt x="375" y="316"/>
                    <a:pt x="377" y="315"/>
                  </a:cubicBezTo>
                  <a:cubicBezTo>
                    <a:pt x="379" y="314"/>
                    <a:pt x="382" y="312"/>
                    <a:pt x="382" y="312"/>
                  </a:cubicBezTo>
                  <a:cubicBezTo>
                    <a:pt x="382" y="312"/>
                    <a:pt x="382" y="307"/>
                    <a:pt x="384" y="306"/>
                  </a:cubicBezTo>
                  <a:cubicBezTo>
                    <a:pt x="386" y="305"/>
                    <a:pt x="389" y="304"/>
                    <a:pt x="392" y="303"/>
                  </a:cubicBezTo>
                  <a:cubicBezTo>
                    <a:pt x="396" y="302"/>
                    <a:pt x="399" y="296"/>
                    <a:pt x="399" y="296"/>
                  </a:cubicBezTo>
                  <a:cubicBezTo>
                    <a:pt x="403" y="293"/>
                    <a:pt x="403" y="293"/>
                    <a:pt x="403" y="293"/>
                  </a:cubicBezTo>
                  <a:cubicBezTo>
                    <a:pt x="412" y="289"/>
                    <a:pt x="412" y="289"/>
                    <a:pt x="412" y="289"/>
                  </a:cubicBezTo>
                  <a:cubicBezTo>
                    <a:pt x="411" y="282"/>
                    <a:pt x="411" y="282"/>
                    <a:pt x="411" y="282"/>
                  </a:cubicBezTo>
                  <a:cubicBezTo>
                    <a:pt x="411" y="282"/>
                    <a:pt x="413" y="280"/>
                    <a:pt x="415" y="280"/>
                  </a:cubicBezTo>
                  <a:cubicBezTo>
                    <a:pt x="417" y="279"/>
                    <a:pt x="434" y="274"/>
                    <a:pt x="434" y="274"/>
                  </a:cubicBezTo>
                  <a:cubicBezTo>
                    <a:pt x="438" y="266"/>
                    <a:pt x="438" y="266"/>
                    <a:pt x="438" y="266"/>
                  </a:cubicBezTo>
                  <a:cubicBezTo>
                    <a:pt x="438" y="262"/>
                    <a:pt x="438" y="262"/>
                    <a:pt x="438" y="262"/>
                  </a:cubicBezTo>
                  <a:lnTo>
                    <a:pt x="436" y="262"/>
                  </a:ln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0" name="Freeform 225"/>
            <p:cNvSpPr>
              <a:spLocks/>
            </p:cNvSpPr>
            <p:nvPr/>
          </p:nvSpPr>
          <p:spPr bwMode="auto">
            <a:xfrm>
              <a:off x="6246578" y="3220039"/>
              <a:ext cx="8665" cy="8170"/>
            </a:xfrm>
            <a:custGeom>
              <a:avLst/>
              <a:gdLst>
                <a:gd name="T0" fmla="*/ 1 w 3"/>
                <a:gd name="T1" fmla="*/ 1 h 3"/>
                <a:gd name="T2" fmla="*/ 1 w 3"/>
                <a:gd name="T3" fmla="*/ 1 h 3"/>
                <a:gd name="T4" fmla="*/ 0 w 3"/>
                <a:gd name="T5" fmla="*/ 2 h 3"/>
                <a:gd name="T6" fmla="*/ 2 w 3"/>
                <a:gd name="T7" fmla="*/ 2 h 3"/>
                <a:gd name="T8" fmla="*/ 3 w 3"/>
                <a:gd name="T9" fmla="*/ 2 h 3"/>
                <a:gd name="T10" fmla="*/ 2 w 3"/>
                <a:gd name="T11" fmla="*/ 1 h 3"/>
                <a:gd name="T12" fmla="*/ 1 w 3"/>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1" y="1"/>
                  </a:moveTo>
                  <a:cubicBezTo>
                    <a:pt x="1" y="1"/>
                    <a:pt x="1" y="1"/>
                    <a:pt x="1" y="1"/>
                  </a:cubicBezTo>
                  <a:cubicBezTo>
                    <a:pt x="1" y="1"/>
                    <a:pt x="0" y="2"/>
                    <a:pt x="0" y="2"/>
                  </a:cubicBezTo>
                  <a:cubicBezTo>
                    <a:pt x="0" y="3"/>
                    <a:pt x="2" y="2"/>
                    <a:pt x="2" y="2"/>
                  </a:cubicBezTo>
                  <a:cubicBezTo>
                    <a:pt x="3" y="2"/>
                    <a:pt x="3" y="2"/>
                    <a:pt x="3" y="2"/>
                  </a:cubicBezTo>
                  <a:cubicBezTo>
                    <a:pt x="3" y="1"/>
                    <a:pt x="2" y="1"/>
                    <a:pt x="2" y="1"/>
                  </a:cubicBezTo>
                  <a:cubicBezTo>
                    <a:pt x="2" y="0"/>
                    <a:pt x="1" y="1"/>
                    <a:pt x="1" y="1"/>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1" name="Freeform 226"/>
            <p:cNvSpPr>
              <a:spLocks/>
            </p:cNvSpPr>
            <p:nvPr/>
          </p:nvSpPr>
          <p:spPr bwMode="auto">
            <a:xfrm>
              <a:off x="6203254" y="3113835"/>
              <a:ext cx="66432" cy="43570"/>
            </a:xfrm>
            <a:custGeom>
              <a:avLst/>
              <a:gdLst>
                <a:gd name="T0" fmla="*/ 4 w 23"/>
                <a:gd name="T1" fmla="*/ 10 h 16"/>
                <a:gd name="T2" fmla="*/ 6 w 23"/>
                <a:gd name="T3" fmla="*/ 10 h 16"/>
                <a:gd name="T4" fmla="*/ 7 w 23"/>
                <a:gd name="T5" fmla="*/ 10 h 16"/>
                <a:gd name="T6" fmla="*/ 8 w 23"/>
                <a:gd name="T7" fmla="*/ 12 h 16"/>
                <a:gd name="T8" fmla="*/ 9 w 23"/>
                <a:gd name="T9" fmla="*/ 14 h 16"/>
                <a:gd name="T10" fmla="*/ 11 w 23"/>
                <a:gd name="T11" fmla="*/ 16 h 16"/>
                <a:gd name="T12" fmla="*/ 13 w 23"/>
                <a:gd name="T13" fmla="*/ 16 h 16"/>
                <a:gd name="T14" fmla="*/ 15 w 23"/>
                <a:gd name="T15" fmla="*/ 15 h 16"/>
                <a:gd name="T16" fmla="*/ 15 w 23"/>
                <a:gd name="T17" fmla="*/ 13 h 16"/>
                <a:gd name="T18" fmla="*/ 15 w 23"/>
                <a:gd name="T19" fmla="*/ 10 h 16"/>
                <a:gd name="T20" fmla="*/ 17 w 23"/>
                <a:gd name="T21" fmla="*/ 12 h 16"/>
                <a:gd name="T22" fmla="*/ 19 w 23"/>
                <a:gd name="T23" fmla="*/ 12 h 16"/>
                <a:gd name="T24" fmla="*/ 18 w 23"/>
                <a:gd name="T25" fmla="*/ 10 h 16"/>
                <a:gd name="T26" fmla="*/ 19 w 23"/>
                <a:gd name="T27" fmla="*/ 9 h 16"/>
                <a:gd name="T28" fmla="*/ 22 w 23"/>
                <a:gd name="T29" fmla="*/ 9 h 16"/>
                <a:gd name="T30" fmla="*/ 22 w 23"/>
                <a:gd name="T31" fmla="*/ 8 h 16"/>
                <a:gd name="T32" fmla="*/ 21 w 23"/>
                <a:gd name="T33" fmla="*/ 7 h 16"/>
                <a:gd name="T34" fmla="*/ 20 w 23"/>
                <a:gd name="T35" fmla="*/ 5 h 16"/>
                <a:gd name="T36" fmla="*/ 19 w 23"/>
                <a:gd name="T37" fmla="*/ 4 h 16"/>
                <a:gd name="T38" fmla="*/ 17 w 23"/>
                <a:gd name="T39" fmla="*/ 2 h 16"/>
                <a:gd name="T40" fmla="*/ 15 w 23"/>
                <a:gd name="T41" fmla="*/ 2 h 16"/>
                <a:gd name="T42" fmla="*/ 14 w 23"/>
                <a:gd name="T43" fmla="*/ 3 h 16"/>
                <a:gd name="T44" fmla="*/ 13 w 23"/>
                <a:gd name="T45" fmla="*/ 2 h 16"/>
                <a:gd name="T46" fmla="*/ 12 w 23"/>
                <a:gd name="T47" fmla="*/ 0 h 16"/>
                <a:gd name="T48" fmla="*/ 10 w 23"/>
                <a:gd name="T49" fmla="*/ 0 h 16"/>
                <a:gd name="T50" fmla="*/ 9 w 23"/>
                <a:gd name="T51" fmla="*/ 3 h 16"/>
                <a:gd name="T52" fmla="*/ 8 w 23"/>
                <a:gd name="T53" fmla="*/ 6 h 16"/>
                <a:gd name="T54" fmla="*/ 5 w 23"/>
                <a:gd name="T55" fmla="*/ 6 h 16"/>
                <a:gd name="T56" fmla="*/ 3 w 23"/>
                <a:gd name="T57" fmla="*/ 7 h 16"/>
                <a:gd name="T58" fmla="*/ 0 w 23"/>
                <a:gd name="T59" fmla="*/ 8 h 16"/>
                <a:gd name="T60" fmla="*/ 2 w 23"/>
                <a:gd name="T61" fmla="*/ 9 h 16"/>
                <a:gd name="T62" fmla="*/ 4 w 23"/>
                <a:gd name="T63"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 h="16">
                  <a:moveTo>
                    <a:pt x="4" y="10"/>
                  </a:moveTo>
                  <a:cubicBezTo>
                    <a:pt x="5" y="11"/>
                    <a:pt x="4" y="10"/>
                    <a:pt x="6" y="10"/>
                  </a:cubicBezTo>
                  <a:cubicBezTo>
                    <a:pt x="7" y="10"/>
                    <a:pt x="7" y="10"/>
                    <a:pt x="7" y="10"/>
                  </a:cubicBezTo>
                  <a:cubicBezTo>
                    <a:pt x="7" y="10"/>
                    <a:pt x="8" y="11"/>
                    <a:pt x="8" y="12"/>
                  </a:cubicBezTo>
                  <a:cubicBezTo>
                    <a:pt x="8" y="12"/>
                    <a:pt x="9" y="13"/>
                    <a:pt x="9" y="14"/>
                  </a:cubicBezTo>
                  <a:cubicBezTo>
                    <a:pt x="9" y="15"/>
                    <a:pt x="11" y="16"/>
                    <a:pt x="11" y="16"/>
                  </a:cubicBezTo>
                  <a:cubicBezTo>
                    <a:pt x="12" y="16"/>
                    <a:pt x="13" y="16"/>
                    <a:pt x="13" y="16"/>
                  </a:cubicBezTo>
                  <a:cubicBezTo>
                    <a:pt x="13" y="16"/>
                    <a:pt x="15" y="16"/>
                    <a:pt x="15" y="15"/>
                  </a:cubicBezTo>
                  <a:cubicBezTo>
                    <a:pt x="15" y="15"/>
                    <a:pt x="15" y="14"/>
                    <a:pt x="15" y="13"/>
                  </a:cubicBezTo>
                  <a:cubicBezTo>
                    <a:pt x="15" y="13"/>
                    <a:pt x="15" y="11"/>
                    <a:pt x="15" y="10"/>
                  </a:cubicBezTo>
                  <a:cubicBezTo>
                    <a:pt x="16" y="10"/>
                    <a:pt x="16" y="11"/>
                    <a:pt x="17" y="12"/>
                  </a:cubicBezTo>
                  <a:cubicBezTo>
                    <a:pt x="18" y="13"/>
                    <a:pt x="18" y="12"/>
                    <a:pt x="19" y="12"/>
                  </a:cubicBezTo>
                  <a:cubicBezTo>
                    <a:pt x="19" y="12"/>
                    <a:pt x="19" y="11"/>
                    <a:pt x="18" y="10"/>
                  </a:cubicBezTo>
                  <a:cubicBezTo>
                    <a:pt x="18" y="10"/>
                    <a:pt x="19" y="9"/>
                    <a:pt x="19" y="9"/>
                  </a:cubicBezTo>
                  <a:cubicBezTo>
                    <a:pt x="19" y="9"/>
                    <a:pt x="22" y="9"/>
                    <a:pt x="22" y="9"/>
                  </a:cubicBezTo>
                  <a:cubicBezTo>
                    <a:pt x="23" y="9"/>
                    <a:pt x="22" y="8"/>
                    <a:pt x="22" y="8"/>
                  </a:cubicBezTo>
                  <a:cubicBezTo>
                    <a:pt x="22" y="8"/>
                    <a:pt x="21" y="7"/>
                    <a:pt x="21" y="7"/>
                  </a:cubicBezTo>
                  <a:cubicBezTo>
                    <a:pt x="21" y="6"/>
                    <a:pt x="20" y="5"/>
                    <a:pt x="20" y="5"/>
                  </a:cubicBezTo>
                  <a:cubicBezTo>
                    <a:pt x="20" y="5"/>
                    <a:pt x="19" y="4"/>
                    <a:pt x="19" y="4"/>
                  </a:cubicBezTo>
                  <a:cubicBezTo>
                    <a:pt x="19" y="4"/>
                    <a:pt x="18" y="3"/>
                    <a:pt x="17" y="2"/>
                  </a:cubicBezTo>
                  <a:cubicBezTo>
                    <a:pt x="17" y="2"/>
                    <a:pt x="15" y="2"/>
                    <a:pt x="15" y="2"/>
                  </a:cubicBezTo>
                  <a:cubicBezTo>
                    <a:pt x="15" y="2"/>
                    <a:pt x="15" y="3"/>
                    <a:pt x="14" y="3"/>
                  </a:cubicBezTo>
                  <a:cubicBezTo>
                    <a:pt x="13" y="3"/>
                    <a:pt x="13" y="2"/>
                    <a:pt x="13" y="2"/>
                  </a:cubicBezTo>
                  <a:cubicBezTo>
                    <a:pt x="12" y="0"/>
                    <a:pt x="12" y="0"/>
                    <a:pt x="12" y="0"/>
                  </a:cubicBezTo>
                  <a:cubicBezTo>
                    <a:pt x="12" y="0"/>
                    <a:pt x="10" y="0"/>
                    <a:pt x="10" y="0"/>
                  </a:cubicBezTo>
                  <a:cubicBezTo>
                    <a:pt x="11" y="0"/>
                    <a:pt x="10" y="2"/>
                    <a:pt x="9" y="3"/>
                  </a:cubicBezTo>
                  <a:cubicBezTo>
                    <a:pt x="9" y="3"/>
                    <a:pt x="8" y="5"/>
                    <a:pt x="8" y="6"/>
                  </a:cubicBezTo>
                  <a:cubicBezTo>
                    <a:pt x="8" y="7"/>
                    <a:pt x="7" y="6"/>
                    <a:pt x="5" y="6"/>
                  </a:cubicBezTo>
                  <a:cubicBezTo>
                    <a:pt x="3" y="7"/>
                    <a:pt x="3" y="7"/>
                    <a:pt x="3" y="7"/>
                  </a:cubicBezTo>
                  <a:cubicBezTo>
                    <a:pt x="2" y="7"/>
                    <a:pt x="0" y="8"/>
                    <a:pt x="0" y="8"/>
                  </a:cubicBezTo>
                  <a:cubicBezTo>
                    <a:pt x="0" y="8"/>
                    <a:pt x="1" y="9"/>
                    <a:pt x="2" y="9"/>
                  </a:cubicBezTo>
                  <a:cubicBezTo>
                    <a:pt x="3" y="9"/>
                    <a:pt x="3" y="10"/>
                    <a:pt x="4" y="10"/>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2" name="Freeform 227"/>
            <p:cNvSpPr>
              <a:spLocks/>
            </p:cNvSpPr>
            <p:nvPr/>
          </p:nvSpPr>
          <p:spPr bwMode="auto">
            <a:xfrm>
              <a:off x="6266797" y="3111111"/>
              <a:ext cx="20218" cy="8170"/>
            </a:xfrm>
            <a:custGeom>
              <a:avLst/>
              <a:gdLst>
                <a:gd name="T0" fmla="*/ 3 w 7"/>
                <a:gd name="T1" fmla="*/ 3 h 3"/>
                <a:gd name="T2" fmla="*/ 6 w 7"/>
                <a:gd name="T3" fmla="*/ 3 h 3"/>
                <a:gd name="T4" fmla="*/ 7 w 7"/>
                <a:gd name="T5" fmla="*/ 2 h 3"/>
                <a:gd name="T6" fmla="*/ 6 w 7"/>
                <a:gd name="T7" fmla="*/ 0 h 3"/>
                <a:gd name="T8" fmla="*/ 4 w 7"/>
                <a:gd name="T9" fmla="*/ 0 h 3"/>
                <a:gd name="T10" fmla="*/ 4 w 7"/>
                <a:gd name="T11" fmla="*/ 0 h 3"/>
                <a:gd name="T12" fmla="*/ 1 w 7"/>
                <a:gd name="T13" fmla="*/ 0 h 3"/>
                <a:gd name="T14" fmla="*/ 0 w 7"/>
                <a:gd name="T15" fmla="*/ 2 h 3"/>
                <a:gd name="T16" fmla="*/ 1 w 7"/>
                <a:gd name="T17" fmla="*/ 3 h 3"/>
                <a:gd name="T18" fmla="*/ 3 w 7"/>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3">
                  <a:moveTo>
                    <a:pt x="3" y="3"/>
                  </a:moveTo>
                  <a:cubicBezTo>
                    <a:pt x="4" y="3"/>
                    <a:pt x="6" y="3"/>
                    <a:pt x="6" y="3"/>
                  </a:cubicBezTo>
                  <a:cubicBezTo>
                    <a:pt x="7" y="2"/>
                    <a:pt x="7" y="2"/>
                    <a:pt x="7" y="2"/>
                  </a:cubicBezTo>
                  <a:cubicBezTo>
                    <a:pt x="6" y="0"/>
                    <a:pt x="6" y="0"/>
                    <a:pt x="6" y="0"/>
                  </a:cubicBezTo>
                  <a:cubicBezTo>
                    <a:pt x="4" y="0"/>
                    <a:pt x="4" y="0"/>
                    <a:pt x="4" y="0"/>
                  </a:cubicBezTo>
                  <a:cubicBezTo>
                    <a:pt x="4" y="0"/>
                    <a:pt x="4" y="0"/>
                    <a:pt x="4" y="0"/>
                  </a:cubicBezTo>
                  <a:cubicBezTo>
                    <a:pt x="1" y="0"/>
                    <a:pt x="1" y="0"/>
                    <a:pt x="1" y="0"/>
                  </a:cubicBezTo>
                  <a:cubicBezTo>
                    <a:pt x="0" y="2"/>
                    <a:pt x="0" y="2"/>
                    <a:pt x="0" y="2"/>
                  </a:cubicBezTo>
                  <a:cubicBezTo>
                    <a:pt x="1" y="3"/>
                    <a:pt x="1" y="3"/>
                    <a:pt x="1" y="3"/>
                  </a:cubicBezTo>
                  <a:cubicBezTo>
                    <a:pt x="1" y="3"/>
                    <a:pt x="3" y="3"/>
                    <a:pt x="3" y="3"/>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3" name="Freeform 228"/>
            <p:cNvSpPr>
              <a:spLocks/>
            </p:cNvSpPr>
            <p:nvPr/>
          </p:nvSpPr>
          <p:spPr bwMode="auto">
            <a:xfrm>
              <a:off x="6341891" y="3203700"/>
              <a:ext cx="8665" cy="8170"/>
            </a:xfrm>
            <a:custGeom>
              <a:avLst/>
              <a:gdLst>
                <a:gd name="T0" fmla="*/ 0 w 3"/>
                <a:gd name="T1" fmla="*/ 1 h 3"/>
                <a:gd name="T2" fmla="*/ 1 w 3"/>
                <a:gd name="T3" fmla="*/ 3 h 3"/>
                <a:gd name="T4" fmla="*/ 2 w 3"/>
                <a:gd name="T5" fmla="*/ 2 h 3"/>
                <a:gd name="T6" fmla="*/ 3 w 3"/>
                <a:gd name="T7" fmla="*/ 2 h 3"/>
                <a:gd name="T8" fmla="*/ 3 w 3"/>
                <a:gd name="T9" fmla="*/ 0 h 3"/>
                <a:gd name="T10" fmla="*/ 0 w 3"/>
                <a:gd name="T11" fmla="*/ 1 h 3"/>
              </a:gdLst>
              <a:ahLst/>
              <a:cxnLst>
                <a:cxn ang="0">
                  <a:pos x="T0" y="T1"/>
                </a:cxn>
                <a:cxn ang="0">
                  <a:pos x="T2" y="T3"/>
                </a:cxn>
                <a:cxn ang="0">
                  <a:pos x="T4" y="T5"/>
                </a:cxn>
                <a:cxn ang="0">
                  <a:pos x="T6" y="T7"/>
                </a:cxn>
                <a:cxn ang="0">
                  <a:pos x="T8" y="T9"/>
                </a:cxn>
                <a:cxn ang="0">
                  <a:pos x="T10" y="T11"/>
                </a:cxn>
              </a:cxnLst>
              <a:rect l="0" t="0" r="r" b="b"/>
              <a:pathLst>
                <a:path w="3" h="3">
                  <a:moveTo>
                    <a:pt x="0" y="1"/>
                  </a:moveTo>
                  <a:cubicBezTo>
                    <a:pt x="0" y="1"/>
                    <a:pt x="0" y="2"/>
                    <a:pt x="1" y="3"/>
                  </a:cubicBezTo>
                  <a:cubicBezTo>
                    <a:pt x="1" y="3"/>
                    <a:pt x="1" y="3"/>
                    <a:pt x="2" y="2"/>
                  </a:cubicBezTo>
                  <a:cubicBezTo>
                    <a:pt x="3" y="2"/>
                    <a:pt x="3" y="2"/>
                    <a:pt x="3" y="2"/>
                  </a:cubicBezTo>
                  <a:cubicBezTo>
                    <a:pt x="3" y="1"/>
                    <a:pt x="3" y="0"/>
                    <a:pt x="3" y="0"/>
                  </a:cubicBezTo>
                  <a:lnTo>
                    <a:pt x="0" y="1"/>
                  </a:ln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4" name="Freeform 229"/>
            <p:cNvSpPr>
              <a:spLocks/>
            </p:cNvSpPr>
            <p:nvPr/>
          </p:nvSpPr>
          <p:spPr bwMode="auto">
            <a:xfrm>
              <a:off x="6284127" y="3000821"/>
              <a:ext cx="313381" cy="241003"/>
            </a:xfrm>
            <a:custGeom>
              <a:avLst/>
              <a:gdLst>
                <a:gd name="T0" fmla="*/ 99 w 108"/>
                <a:gd name="T1" fmla="*/ 77 h 88"/>
                <a:gd name="T2" fmla="*/ 107 w 108"/>
                <a:gd name="T3" fmla="*/ 67 h 88"/>
                <a:gd name="T4" fmla="*/ 105 w 108"/>
                <a:gd name="T5" fmla="*/ 64 h 88"/>
                <a:gd name="T6" fmla="*/ 101 w 108"/>
                <a:gd name="T7" fmla="*/ 58 h 88"/>
                <a:gd name="T8" fmla="*/ 96 w 108"/>
                <a:gd name="T9" fmla="*/ 53 h 88"/>
                <a:gd name="T10" fmla="*/ 91 w 108"/>
                <a:gd name="T11" fmla="*/ 38 h 88"/>
                <a:gd name="T12" fmla="*/ 89 w 108"/>
                <a:gd name="T13" fmla="*/ 26 h 88"/>
                <a:gd name="T14" fmla="*/ 94 w 108"/>
                <a:gd name="T15" fmla="*/ 3 h 88"/>
                <a:gd name="T16" fmla="*/ 95 w 108"/>
                <a:gd name="T17" fmla="*/ 0 h 88"/>
                <a:gd name="T18" fmla="*/ 87 w 108"/>
                <a:gd name="T19" fmla="*/ 1 h 88"/>
                <a:gd name="T20" fmla="*/ 76 w 108"/>
                <a:gd name="T21" fmla="*/ 3 h 88"/>
                <a:gd name="T22" fmla="*/ 65 w 108"/>
                <a:gd name="T23" fmla="*/ 1 h 88"/>
                <a:gd name="T24" fmla="*/ 57 w 108"/>
                <a:gd name="T25" fmla="*/ 1 h 88"/>
                <a:gd name="T26" fmla="*/ 52 w 108"/>
                <a:gd name="T27" fmla="*/ 1 h 88"/>
                <a:gd name="T28" fmla="*/ 45 w 108"/>
                <a:gd name="T29" fmla="*/ 1 h 88"/>
                <a:gd name="T30" fmla="*/ 43 w 108"/>
                <a:gd name="T31" fmla="*/ 5 h 88"/>
                <a:gd name="T32" fmla="*/ 42 w 108"/>
                <a:gd name="T33" fmla="*/ 7 h 88"/>
                <a:gd name="T34" fmla="*/ 34 w 108"/>
                <a:gd name="T35" fmla="*/ 10 h 88"/>
                <a:gd name="T36" fmla="*/ 28 w 108"/>
                <a:gd name="T37" fmla="*/ 13 h 88"/>
                <a:gd name="T38" fmla="*/ 27 w 108"/>
                <a:gd name="T39" fmla="*/ 14 h 88"/>
                <a:gd name="T40" fmla="*/ 19 w 108"/>
                <a:gd name="T41" fmla="*/ 16 h 88"/>
                <a:gd name="T42" fmla="*/ 14 w 108"/>
                <a:gd name="T43" fmla="*/ 20 h 88"/>
                <a:gd name="T44" fmla="*/ 10 w 108"/>
                <a:gd name="T45" fmla="*/ 21 h 88"/>
                <a:gd name="T46" fmla="*/ 11 w 108"/>
                <a:gd name="T47" fmla="*/ 26 h 88"/>
                <a:gd name="T48" fmla="*/ 5 w 108"/>
                <a:gd name="T49" fmla="*/ 29 h 88"/>
                <a:gd name="T50" fmla="*/ 0 w 108"/>
                <a:gd name="T51" fmla="*/ 32 h 88"/>
                <a:gd name="T52" fmla="*/ 2 w 108"/>
                <a:gd name="T53" fmla="*/ 36 h 88"/>
                <a:gd name="T54" fmla="*/ 1 w 108"/>
                <a:gd name="T55" fmla="*/ 41 h 88"/>
                <a:gd name="T56" fmla="*/ 6 w 108"/>
                <a:gd name="T57" fmla="*/ 39 h 88"/>
                <a:gd name="T58" fmla="*/ 3 w 108"/>
                <a:gd name="T59" fmla="*/ 43 h 88"/>
                <a:gd name="T60" fmla="*/ 3 w 108"/>
                <a:gd name="T61" fmla="*/ 47 h 88"/>
                <a:gd name="T62" fmla="*/ 6 w 108"/>
                <a:gd name="T63" fmla="*/ 50 h 88"/>
                <a:gd name="T64" fmla="*/ 12 w 108"/>
                <a:gd name="T65" fmla="*/ 51 h 88"/>
                <a:gd name="T66" fmla="*/ 8 w 108"/>
                <a:gd name="T67" fmla="*/ 52 h 88"/>
                <a:gd name="T68" fmla="*/ 6 w 108"/>
                <a:gd name="T69" fmla="*/ 58 h 88"/>
                <a:gd name="T70" fmla="*/ 9 w 108"/>
                <a:gd name="T71" fmla="*/ 60 h 88"/>
                <a:gd name="T72" fmla="*/ 16 w 108"/>
                <a:gd name="T73" fmla="*/ 67 h 88"/>
                <a:gd name="T74" fmla="*/ 24 w 108"/>
                <a:gd name="T75" fmla="*/ 71 h 88"/>
                <a:gd name="T76" fmla="*/ 26 w 108"/>
                <a:gd name="T77" fmla="*/ 65 h 88"/>
                <a:gd name="T78" fmla="*/ 32 w 108"/>
                <a:gd name="T79" fmla="*/ 63 h 88"/>
                <a:gd name="T80" fmla="*/ 32 w 108"/>
                <a:gd name="T81" fmla="*/ 72 h 88"/>
                <a:gd name="T82" fmla="*/ 31 w 108"/>
                <a:gd name="T83" fmla="*/ 83 h 88"/>
                <a:gd name="T84" fmla="*/ 40 w 108"/>
                <a:gd name="T85" fmla="*/ 77 h 88"/>
                <a:gd name="T86" fmla="*/ 51 w 108"/>
                <a:gd name="T87" fmla="*/ 74 h 88"/>
                <a:gd name="T88" fmla="*/ 62 w 108"/>
                <a:gd name="T89" fmla="*/ 75 h 88"/>
                <a:gd name="T90" fmla="*/ 76 w 108"/>
                <a:gd name="T91" fmla="*/ 82 h 88"/>
                <a:gd name="T92" fmla="*/ 85 w 108"/>
                <a:gd name="T93" fmla="*/ 87 h 88"/>
                <a:gd name="T94" fmla="*/ 90 w 108"/>
                <a:gd name="T95" fmla="*/ 83 h 88"/>
                <a:gd name="T96" fmla="*/ 102 w 108"/>
                <a:gd name="T97" fmla="*/ 8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 h="88">
                  <a:moveTo>
                    <a:pt x="101" y="81"/>
                  </a:moveTo>
                  <a:cubicBezTo>
                    <a:pt x="101" y="81"/>
                    <a:pt x="101" y="79"/>
                    <a:pt x="100" y="78"/>
                  </a:cubicBezTo>
                  <a:cubicBezTo>
                    <a:pt x="99" y="77"/>
                    <a:pt x="99" y="77"/>
                    <a:pt x="99" y="77"/>
                  </a:cubicBezTo>
                  <a:cubicBezTo>
                    <a:pt x="102" y="74"/>
                    <a:pt x="102" y="74"/>
                    <a:pt x="102" y="74"/>
                  </a:cubicBezTo>
                  <a:cubicBezTo>
                    <a:pt x="102" y="72"/>
                    <a:pt x="102" y="69"/>
                    <a:pt x="102" y="69"/>
                  </a:cubicBezTo>
                  <a:cubicBezTo>
                    <a:pt x="103" y="68"/>
                    <a:pt x="104" y="67"/>
                    <a:pt x="107" y="67"/>
                  </a:cubicBezTo>
                  <a:cubicBezTo>
                    <a:pt x="108" y="66"/>
                    <a:pt x="108" y="66"/>
                    <a:pt x="108" y="66"/>
                  </a:cubicBezTo>
                  <a:cubicBezTo>
                    <a:pt x="107" y="66"/>
                    <a:pt x="106" y="65"/>
                    <a:pt x="105" y="65"/>
                  </a:cubicBezTo>
                  <a:cubicBezTo>
                    <a:pt x="105" y="65"/>
                    <a:pt x="105" y="64"/>
                    <a:pt x="105" y="64"/>
                  </a:cubicBezTo>
                  <a:cubicBezTo>
                    <a:pt x="103" y="64"/>
                    <a:pt x="103" y="62"/>
                    <a:pt x="103" y="61"/>
                  </a:cubicBezTo>
                  <a:cubicBezTo>
                    <a:pt x="103" y="60"/>
                    <a:pt x="103" y="59"/>
                    <a:pt x="103" y="59"/>
                  </a:cubicBezTo>
                  <a:cubicBezTo>
                    <a:pt x="102" y="59"/>
                    <a:pt x="102" y="58"/>
                    <a:pt x="101" y="58"/>
                  </a:cubicBezTo>
                  <a:cubicBezTo>
                    <a:pt x="101" y="58"/>
                    <a:pt x="100" y="58"/>
                    <a:pt x="100" y="57"/>
                  </a:cubicBezTo>
                  <a:cubicBezTo>
                    <a:pt x="100" y="57"/>
                    <a:pt x="99" y="56"/>
                    <a:pt x="98" y="55"/>
                  </a:cubicBezTo>
                  <a:cubicBezTo>
                    <a:pt x="97" y="54"/>
                    <a:pt x="97" y="53"/>
                    <a:pt x="96" y="53"/>
                  </a:cubicBezTo>
                  <a:cubicBezTo>
                    <a:pt x="95" y="51"/>
                    <a:pt x="95" y="49"/>
                    <a:pt x="95" y="47"/>
                  </a:cubicBezTo>
                  <a:cubicBezTo>
                    <a:pt x="95" y="47"/>
                    <a:pt x="95" y="46"/>
                    <a:pt x="95" y="46"/>
                  </a:cubicBezTo>
                  <a:cubicBezTo>
                    <a:pt x="92" y="44"/>
                    <a:pt x="91" y="41"/>
                    <a:pt x="91" y="38"/>
                  </a:cubicBezTo>
                  <a:cubicBezTo>
                    <a:pt x="90" y="37"/>
                    <a:pt x="90" y="36"/>
                    <a:pt x="90" y="35"/>
                  </a:cubicBezTo>
                  <a:cubicBezTo>
                    <a:pt x="87" y="32"/>
                    <a:pt x="88" y="29"/>
                    <a:pt x="88" y="27"/>
                  </a:cubicBezTo>
                  <a:cubicBezTo>
                    <a:pt x="89" y="27"/>
                    <a:pt x="89" y="26"/>
                    <a:pt x="89" y="26"/>
                  </a:cubicBezTo>
                  <a:cubicBezTo>
                    <a:pt x="89" y="25"/>
                    <a:pt x="90" y="23"/>
                    <a:pt x="90" y="22"/>
                  </a:cubicBezTo>
                  <a:cubicBezTo>
                    <a:pt x="91" y="19"/>
                    <a:pt x="93" y="15"/>
                    <a:pt x="93" y="10"/>
                  </a:cubicBezTo>
                  <a:cubicBezTo>
                    <a:pt x="94" y="3"/>
                    <a:pt x="94" y="3"/>
                    <a:pt x="94" y="3"/>
                  </a:cubicBezTo>
                  <a:cubicBezTo>
                    <a:pt x="97" y="1"/>
                    <a:pt x="97" y="1"/>
                    <a:pt x="97" y="1"/>
                  </a:cubicBezTo>
                  <a:cubicBezTo>
                    <a:pt x="95" y="0"/>
                    <a:pt x="95" y="0"/>
                    <a:pt x="95" y="0"/>
                  </a:cubicBezTo>
                  <a:cubicBezTo>
                    <a:pt x="95" y="0"/>
                    <a:pt x="95" y="0"/>
                    <a:pt x="95" y="0"/>
                  </a:cubicBezTo>
                  <a:cubicBezTo>
                    <a:pt x="94" y="0"/>
                    <a:pt x="94" y="0"/>
                    <a:pt x="94" y="0"/>
                  </a:cubicBezTo>
                  <a:cubicBezTo>
                    <a:pt x="93" y="1"/>
                    <a:pt x="93" y="1"/>
                    <a:pt x="93" y="1"/>
                  </a:cubicBezTo>
                  <a:cubicBezTo>
                    <a:pt x="93" y="1"/>
                    <a:pt x="89" y="0"/>
                    <a:pt x="87" y="1"/>
                  </a:cubicBezTo>
                  <a:cubicBezTo>
                    <a:pt x="86" y="1"/>
                    <a:pt x="85" y="1"/>
                    <a:pt x="85" y="1"/>
                  </a:cubicBezTo>
                  <a:cubicBezTo>
                    <a:pt x="85" y="1"/>
                    <a:pt x="82" y="1"/>
                    <a:pt x="81" y="2"/>
                  </a:cubicBezTo>
                  <a:cubicBezTo>
                    <a:pt x="79" y="2"/>
                    <a:pt x="76" y="3"/>
                    <a:pt x="76" y="3"/>
                  </a:cubicBezTo>
                  <a:cubicBezTo>
                    <a:pt x="72" y="4"/>
                    <a:pt x="72" y="4"/>
                    <a:pt x="72" y="4"/>
                  </a:cubicBezTo>
                  <a:cubicBezTo>
                    <a:pt x="69" y="2"/>
                    <a:pt x="69" y="2"/>
                    <a:pt x="69" y="2"/>
                  </a:cubicBezTo>
                  <a:cubicBezTo>
                    <a:pt x="65" y="1"/>
                    <a:pt x="65" y="1"/>
                    <a:pt x="65" y="1"/>
                  </a:cubicBezTo>
                  <a:cubicBezTo>
                    <a:pt x="63" y="3"/>
                    <a:pt x="63" y="3"/>
                    <a:pt x="63" y="3"/>
                  </a:cubicBezTo>
                  <a:cubicBezTo>
                    <a:pt x="59" y="2"/>
                    <a:pt x="59" y="2"/>
                    <a:pt x="59" y="2"/>
                  </a:cubicBezTo>
                  <a:cubicBezTo>
                    <a:pt x="59" y="2"/>
                    <a:pt x="58" y="2"/>
                    <a:pt x="57" y="1"/>
                  </a:cubicBezTo>
                  <a:cubicBezTo>
                    <a:pt x="56" y="1"/>
                    <a:pt x="56" y="2"/>
                    <a:pt x="55" y="2"/>
                  </a:cubicBezTo>
                  <a:cubicBezTo>
                    <a:pt x="55" y="2"/>
                    <a:pt x="53" y="2"/>
                    <a:pt x="53" y="2"/>
                  </a:cubicBezTo>
                  <a:cubicBezTo>
                    <a:pt x="52" y="1"/>
                    <a:pt x="52" y="1"/>
                    <a:pt x="52" y="1"/>
                  </a:cubicBezTo>
                  <a:cubicBezTo>
                    <a:pt x="50" y="3"/>
                    <a:pt x="50" y="3"/>
                    <a:pt x="50" y="3"/>
                  </a:cubicBezTo>
                  <a:cubicBezTo>
                    <a:pt x="47" y="4"/>
                    <a:pt x="47" y="4"/>
                    <a:pt x="47" y="4"/>
                  </a:cubicBezTo>
                  <a:cubicBezTo>
                    <a:pt x="47" y="4"/>
                    <a:pt x="45" y="2"/>
                    <a:pt x="45" y="1"/>
                  </a:cubicBezTo>
                  <a:cubicBezTo>
                    <a:pt x="44" y="1"/>
                    <a:pt x="44" y="2"/>
                    <a:pt x="44" y="2"/>
                  </a:cubicBezTo>
                  <a:cubicBezTo>
                    <a:pt x="44" y="2"/>
                    <a:pt x="45" y="4"/>
                    <a:pt x="45" y="5"/>
                  </a:cubicBezTo>
                  <a:cubicBezTo>
                    <a:pt x="44" y="6"/>
                    <a:pt x="43" y="5"/>
                    <a:pt x="43" y="5"/>
                  </a:cubicBezTo>
                  <a:cubicBezTo>
                    <a:pt x="42" y="5"/>
                    <a:pt x="41" y="3"/>
                    <a:pt x="41" y="3"/>
                  </a:cubicBezTo>
                  <a:cubicBezTo>
                    <a:pt x="41" y="2"/>
                    <a:pt x="40" y="4"/>
                    <a:pt x="40" y="4"/>
                  </a:cubicBezTo>
                  <a:cubicBezTo>
                    <a:pt x="42" y="7"/>
                    <a:pt x="42" y="7"/>
                    <a:pt x="42" y="7"/>
                  </a:cubicBezTo>
                  <a:cubicBezTo>
                    <a:pt x="41" y="9"/>
                    <a:pt x="41" y="9"/>
                    <a:pt x="41" y="9"/>
                  </a:cubicBezTo>
                  <a:cubicBezTo>
                    <a:pt x="41" y="9"/>
                    <a:pt x="39" y="10"/>
                    <a:pt x="38" y="10"/>
                  </a:cubicBezTo>
                  <a:cubicBezTo>
                    <a:pt x="37" y="10"/>
                    <a:pt x="34" y="10"/>
                    <a:pt x="34" y="10"/>
                  </a:cubicBezTo>
                  <a:cubicBezTo>
                    <a:pt x="32" y="10"/>
                    <a:pt x="32" y="10"/>
                    <a:pt x="32" y="10"/>
                  </a:cubicBezTo>
                  <a:cubicBezTo>
                    <a:pt x="30" y="12"/>
                    <a:pt x="30" y="12"/>
                    <a:pt x="30" y="12"/>
                  </a:cubicBezTo>
                  <a:cubicBezTo>
                    <a:pt x="28" y="13"/>
                    <a:pt x="28" y="13"/>
                    <a:pt x="28" y="13"/>
                  </a:cubicBezTo>
                  <a:cubicBezTo>
                    <a:pt x="28" y="13"/>
                    <a:pt x="26" y="11"/>
                    <a:pt x="26" y="10"/>
                  </a:cubicBezTo>
                  <a:cubicBezTo>
                    <a:pt x="25" y="9"/>
                    <a:pt x="25" y="12"/>
                    <a:pt x="25" y="12"/>
                  </a:cubicBezTo>
                  <a:cubicBezTo>
                    <a:pt x="25" y="12"/>
                    <a:pt x="27" y="13"/>
                    <a:pt x="27" y="14"/>
                  </a:cubicBezTo>
                  <a:cubicBezTo>
                    <a:pt x="27" y="15"/>
                    <a:pt x="25" y="15"/>
                    <a:pt x="25" y="15"/>
                  </a:cubicBezTo>
                  <a:cubicBezTo>
                    <a:pt x="25" y="15"/>
                    <a:pt x="23" y="16"/>
                    <a:pt x="22" y="16"/>
                  </a:cubicBezTo>
                  <a:cubicBezTo>
                    <a:pt x="21" y="16"/>
                    <a:pt x="22" y="16"/>
                    <a:pt x="19" y="16"/>
                  </a:cubicBezTo>
                  <a:cubicBezTo>
                    <a:pt x="17" y="16"/>
                    <a:pt x="17" y="17"/>
                    <a:pt x="17" y="17"/>
                  </a:cubicBezTo>
                  <a:cubicBezTo>
                    <a:pt x="17" y="17"/>
                    <a:pt x="17" y="18"/>
                    <a:pt x="17" y="19"/>
                  </a:cubicBezTo>
                  <a:cubicBezTo>
                    <a:pt x="17" y="20"/>
                    <a:pt x="14" y="20"/>
                    <a:pt x="14" y="20"/>
                  </a:cubicBezTo>
                  <a:cubicBezTo>
                    <a:pt x="15" y="22"/>
                    <a:pt x="15" y="22"/>
                    <a:pt x="15" y="22"/>
                  </a:cubicBezTo>
                  <a:cubicBezTo>
                    <a:pt x="15" y="22"/>
                    <a:pt x="13" y="21"/>
                    <a:pt x="13" y="21"/>
                  </a:cubicBezTo>
                  <a:cubicBezTo>
                    <a:pt x="12" y="21"/>
                    <a:pt x="11" y="21"/>
                    <a:pt x="10" y="21"/>
                  </a:cubicBezTo>
                  <a:cubicBezTo>
                    <a:pt x="9" y="22"/>
                    <a:pt x="11" y="23"/>
                    <a:pt x="12" y="24"/>
                  </a:cubicBezTo>
                  <a:cubicBezTo>
                    <a:pt x="13" y="25"/>
                    <a:pt x="13" y="26"/>
                    <a:pt x="13" y="26"/>
                  </a:cubicBezTo>
                  <a:cubicBezTo>
                    <a:pt x="13" y="27"/>
                    <a:pt x="12" y="26"/>
                    <a:pt x="11" y="26"/>
                  </a:cubicBezTo>
                  <a:cubicBezTo>
                    <a:pt x="11" y="26"/>
                    <a:pt x="10" y="27"/>
                    <a:pt x="10" y="27"/>
                  </a:cubicBezTo>
                  <a:cubicBezTo>
                    <a:pt x="9" y="27"/>
                    <a:pt x="7" y="27"/>
                    <a:pt x="6" y="27"/>
                  </a:cubicBezTo>
                  <a:cubicBezTo>
                    <a:pt x="5" y="27"/>
                    <a:pt x="5" y="29"/>
                    <a:pt x="5" y="29"/>
                  </a:cubicBezTo>
                  <a:cubicBezTo>
                    <a:pt x="4" y="30"/>
                    <a:pt x="4" y="30"/>
                    <a:pt x="4" y="30"/>
                  </a:cubicBezTo>
                  <a:cubicBezTo>
                    <a:pt x="4" y="30"/>
                    <a:pt x="2" y="30"/>
                    <a:pt x="1" y="31"/>
                  </a:cubicBezTo>
                  <a:cubicBezTo>
                    <a:pt x="0" y="31"/>
                    <a:pt x="0" y="32"/>
                    <a:pt x="0" y="32"/>
                  </a:cubicBezTo>
                  <a:cubicBezTo>
                    <a:pt x="1" y="34"/>
                    <a:pt x="1" y="34"/>
                    <a:pt x="1" y="34"/>
                  </a:cubicBezTo>
                  <a:cubicBezTo>
                    <a:pt x="2" y="34"/>
                    <a:pt x="2" y="34"/>
                    <a:pt x="2" y="34"/>
                  </a:cubicBezTo>
                  <a:cubicBezTo>
                    <a:pt x="2" y="36"/>
                    <a:pt x="2" y="36"/>
                    <a:pt x="2" y="36"/>
                  </a:cubicBezTo>
                  <a:cubicBezTo>
                    <a:pt x="1" y="38"/>
                    <a:pt x="1" y="38"/>
                    <a:pt x="1" y="38"/>
                  </a:cubicBezTo>
                  <a:cubicBezTo>
                    <a:pt x="1" y="40"/>
                    <a:pt x="1" y="40"/>
                    <a:pt x="1" y="40"/>
                  </a:cubicBezTo>
                  <a:cubicBezTo>
                    <a:pt x="1" y="41"/>
                    <a:pt x="1" y="41"/>
                    <a:pt x="1" y="41"/>
                  </a:cubicBezTo>
                  <a:cubicBezTo>
                    <a:pt x="4" y="41"/>
                    <a:pt x="4" y="41"/>
                    <a:pt x="4" y="41"/>
                  </a:cubicBezTo>
                  <a:cubicBezTo>
                    <a:pt x="4" y="40"/>
                    <a:pt x="4" y="40"/>
                    <a:pt x="4" y="40"/>
                  </a:cubicBezTo>
                  <a:cubicBezTo>
                    <a:pt x="6" y="39"/>
                    <a:pt x="6" y="39"/>
                    <a:pt x="6" y="39"/>
                  </a:cubicBezTo>
                  <a:cubicBezTo>
                    <a:pt x="6" y="42"/>
                    <a:pt x="6" y="42"/>
                    <a:pt x="6" y="42"/>
                  </a:cubicBezTo>
                  <a:cubicBezTo>
                    <a:pt x="4" y="43"/>
                    <a:pt x="4" y="43"/>
                    <a:pt x="4" y="43"/>
                  </a:cubicBezTo>
                  <a:cubicBezTo>
                    <a:pt x="3" y="43"/>
                    <a:pt x="3" y="43"/>
                    <a:pt x="3" y="43"/>
                  </a:cubicBezTo>
                  <a:cubicBezTo>
                    <a:pt x="2" y="44"/>
                    <a:pt x="2" y="44"/>
                    <a:pt x="2" y="44"/>
                  </a:cubicBezTo>
                  <a:cubicBezTo>
                    <a:pt x="3" y="46"/>
                    <a:pt x="3" y="46"/>
                    <a:pt x="3" y="46"/>
                  </a:cubicBezTo>
                  <a:cubicBezTo>
                    <a:pt x="3" y="47"/>
                    <a:pt x="3" y="47"/>
                    <a:pt x="3" y="47"/>
                  </a:cubicBezTo>
                  <a:cubicBezTo>
                    <a:pt x="4" y="48"/>
                    <a:pt x="4" y="48"/>
                    <a:pt x="4" y="48"/>
                  </a:cubicBezTo>
                  <a:cubicBezTo>
                    <a:pt x="3" y="51"/>
                    <a:pt x="3" y="51"/>
                    <a:pt x="3" y="51"/>
                  </a:cubicBezTo>
                  <a:cubicBezTo>
                    <a:pt x="6" y="50"/>
                    <a:pt x="6" y="50"/>
                    <a:pt x="6" y="50"/>
                  </a:cubicBezTo>
                  <a:cubicBezTo>
                    <a:pt x="6" y="50"/>
                    <a:pt x="11" y="48"/>
                    <a:pt x="12" y="48"/>
                  </a:cubicBezTo>
                  <a:cubicBezTo>
                    <a:pt x="12" y="48"/>
                    <a:pt x="12" y="49"/>
                    <a:pt x="12" y="49"/>
                  </a:cubicBezTo>
                  <a:cubicBezTo>
                    <a:pt x="13" y="50"/>
                    <a:pt x="12" y="51"/>
                    <a:pt x="12" y="51"/>
                  </a:cubicBezTo>
                  <a:cubicBezTo>
                    <a:pt x="12" y="51"/>
                    <a:pt x="11" y="51"/>
                    <a:pt x="11" y="51"/>
                  </a:cubicBezTo>
                  <a:cubicBezTo>
                    <a:pt x="10" y="51"/>
                    <a:pt x="10" y="50"/>
                    <a:pt x="9" y="50"/>
                  </a:cubicBezTo>
                  <a:cubicBezTo>
                    <a:pt x="8" y="50"/>
                    <a:pt x="8" y="52"/>
                    <a:pt x="8" y="52"/>
                  </a:cubicBezTo>
                  <a:cubicBezTo>
                    <a:pt x="7" y="52"/>
                    <a:pt x="6" y="51"/>
                    <a:pt x="6" y="51"/>
                  </a:cubicBezTo>
                  <a:cubicBezTo>
                    <a:pt x="5" y="51"/>
                    <a:pt x="6" y="52"/>
                    <a:pt x="6" y="54"/>
                  </a:cubicBezTo>
                  <a:cubicBezTo>
                    <a:pt x="6" y="55"/>
                    <a:pt x="6" y="57"/>
                    <a:pt x="6" y="58"/>
                  </a:cubicBezTo>
                  <a:cubicBezTo>
                    <a:pt x="7" y="58"/>
                    <a:pt x="7" y="59"/>
                    <a:pt x="7" y="60"/>
                  </a:cubicBezTo>
                  <a:cubicBezTo>
                    <a:pt x="7" y="60"/>
                    <a:pt x="8" y="58"/>
                    <a:pt x="8" y="58"/>
                  </a:cubicBezTo>
                  <a:cubicBezTo>
                    <a:pt x="9" y="58"/>
                    <a:pt x="9" y="60"/>
                    <a:pt x="9" y="60"/>
                  </a:cubicBezTo>
                  <a:cubicBezTo>
                    <a:pt x="9" y="60"/>
                    <a:pt x="12" y="64"/>
                    <a:pt x="13" y="65"/>
                  </a:cubicBezTo>
                  <a:cubicBezTo>
                    <a:pt x="14" y="67"/>
                    <a:pt x="14" y="67"/>
                    <a:pt x="15" y="67"/>
                  </a:cubicBezTo>
                  <a:cubicBezTo>
                    <a:pt x="16" y="67"/>
                    <a:pt x="16" y="67"/>
                    <a:pt x="16" y="67"/>
                  </a:cubicBezTo>
                  <a:cubicBezTo>
                    <a:pt x="16" y="67"/>
                    <a:pt x="18" y="67"/>
                    <a:pt x="18" y="67"/>
                  </a:cubicBezTo>
                  <a:cubicBezTo>
                    <a:pt x="19" y="67"/>
                    <a:pt x="21" y="68"/>
                    <a:pt x="21" y="68"/>
                  </a:cubicBezTo>
                  <a:cubicBezTo>
                    <a:pt x="24" y="71"/>
                    <a:pt x="24" y="71"/>
                    <a:pt x="24" y="71"/>
                  </a:cubicBezTo>
                  <a:cubicBezTo>
                    <a:pt x="24" y="71"/>
                    <a:pt x="24" y="68"/>
                    <a:pt x="25" y="68"/>
                  </a:cubicBezTo>
                  <a:cubicBezTo>
                    <a:pt x="25" y="68"/>
                    <a:pt x="26" y="68"/>
                    <a:pt x="27" y="67"/>
                  </a:cubicBezTo>
                  <a:cubicBezTo>
                    <a:pt x="27" y="66"/>
                    <a:pt x="26" y="65"/>
                    <a:pt x="26" y="65"/>
                  </a:cubicBezTo>
                  <a:cubicBezTo>
                    <a:pt x="28" y="62"/>
                    <a:pt x="28" y="62"/>
                    <a:pt x="28" y="62"/>
                  </a:cubicBezTo>
                  <a:cubicBezTo>
                    <a:pt x="30" y="62"/>
                    <a:pt x="30" y="62"/>
                    <a:pt x="30" y="62"/>
                  </a:cubicBezTo>
                  <a:cubicBezTo>
                    <a:pt x="32" y="63"/>
                    <a:pt x="32" y="63"/>
                    <a:pt x="32" y="63"/>
                  </a:cubicBezTo>
                  <a:cubicBezTo>
                    <a:pt x="33" y="66"/>
                    <a:pt x="33" y="66"/>
                    <a:pt x="33" y="66"/>
                  </a:cubicBezTo>
                  <a:cubicBezTo>
                    <a:pt x="31" y="68"/>
                    <a:pt x="31" y="68"/>
                    <a:pt x="31" y="68"/>
                  </a:cubicBezTo>
                  <a:cubicBezTo>
                    <a:pt x="31" y="68"/>
                    <a:pt x="32" y="70"/>
                    <a:pt x="32" y="72"/>
                  </a:cubicBezTo>
                  <a:cubicBezTo>
                    <a:pt x="33" y="74"/>
                    <a:pt x="33" y="75"/>
                    <a:pt x="33" y="76"/>
                  </a:cubicBezTo>
                  <a:cubicBezTo>
                    <a:pt x="33" y="76"/>
                    <a:pt x="32" y="78"/>
                    <a:pt x="32" y="79"/>
                  </a:cubicBezTo>
                  <a:cubicBezTo>
                    <a:pt x="31" y="81"/>
                    <a:pt x="31" y="83"/>
                    <a:pt x="31" y="83"/>
                  </a:cubicBezTo>
                  <a:cubicBezTo>
                    <a:pt x="32" y="84"/>
                    <a:pt x="32" y="84"/>
                    <a:pt x="32" y="84"/>
                  </a:cubicBezTo>
                  <a:cubicBezTo>
                    <a:pt x="33" y="83"/>
                    <a:pt x="36" y="81"/>
                    <a:pt x="36" y="81"/>
                  </a:cubicBezTo>
                  <a:cubicBezTo>
                    <a:pt x="40" y="77"/>
                    <a:pt x="40" y="77"/>
                    <a:pt x="40" y="77"/>
                  </a:cubicBezTo>
                  <a:cubicBezTo>
                    <a:pt x="44" y="74"/>
                    <a:pt x="44" y="74"/>
                    <a:pt x="44" y="74"/>
                  </a:cubicBezTo>
                  <a:cubicBezTo>
                    <a:pt x="47" y="72"/>
                    <a:pt x="47" y="72"/>
                    <a:pt x="47" y="72"/>
                  </a:cubicBezTo>
                  <a:cubicBezTo>
                    <a:pt x="51" y="74"/>
                    <a:pt x="51" y="74"/>
                    <a:pt x="51" y="74"/>
                  </a:cubicBezTo>
                  <a:cubicBezTo>
                    <a:pt x="54" y="73"/>
                    <a:pt x="54" y="73"/>
                    <a:pt x="54" y="73"/>
                  </a:cubicBezTo>
                  <a:cubicBezTo>
                    <a:pt x="57" y="75"/>
                    <a:pt x="57" y="75"/>
                    <a:pt x="57" y="75"/>
                  </a:cubicBezTo>
                  <a:cubicBezTo>
                    <a:pt x="62" y="75"/>
                    <a:pt x="62" y="75"/>
                    <a:pt x="62" y="75"/>
                  </a:cubicBezTo>
                  <a:cubicBezTo>
                    <a:pt x="65" y="76"/>
                    <a:pt x="65" y="76"/>
                    <a:pt x="65" y="76"/>
                  </a:cubicBezTo>
                  <a:cubicBezTo>
                    <a:pt x="69" y="77"/>
                    <a:pt x="69" y="77"/>
                    <a:pt x="69" y="77"/>
                  </a:cubicBezTo>
                  <a:cubicBezTo>
                    <a:pt x="76" y="82"/>
                    <a:pt x="76" y="82"/>
                    <a:pt x="76" y="82"/>
                  </a:cubicBezTo>
                  <a:cubicBezTo>
                    <a:pt x="78" y="85"/>
                    <a:pt x="78" y="85"/>
                    <a:pt x="78" y="85"/>
                  </a:cubicBezTo>
                  <a:cubicBezTo>
                    <a:pt x="81" y="86"/>
                    <a:pt x="81" y="86"/>
                    <a:pt x="81" y="86"/>
                  </a:cubicBezTo>
                  <a:cubicBezTo>
                    <a:pt x="81" y="86"/>
                    <a:pt x="83" y="88"/>
                    <a:pt x="85" y="87"/>
                  </a:cubicBezTo>
                  <a:cubicBezTo>
                    <a:pt x="85" y="87"/>
                    <a:pt x="86" y="86"/>
                    <a:pt x="87" y="86"/>
                  </a:cubicBezTo>
                  <a:cubicBezTo>
                    <a:pt x="88" y="84"/>
                    <a:pt x="89" y="83"/>
                    <a:pt x="89" y="83"/>
                  </a:cubicBezTo>
                  <a:cubicBezTo>
                    <a:pt x="90" y="83"/>
                    <a:pt x="90" y="83"/>
                    <a:pt x="90" y="83"/>
                  </a:cubicBezTo>
                  <a:cubicBezTo>
                    <a:pt x="93" y="81"/>
                    <a:pt x="93" y="81"/>
                    <a:pt x="93" y="81"/>
                  </a:cubicBezTo>
                  <a:cubicBezTo>
                    <a:pt x="98" y="82"/>
                    <a:pt x="98" y="82"/>
                    <a:pt x="98" y="82"/>
                  </a:cubicBezTo>
                  <a:cubicBezTo>
                    <a:pt x="102" y="82"/>
                    <a:pt x="102" y="82"/>
                    <a:pt x="102" y="82"/>
                  </a:cubicBezTo>
                  <a:cubicBezTo>
                    <a:pt x="102" y="82"/>
                    <a:pt x="102" y="82"/>
                    <a:pt x="102" y="82"/>
                  </a:cubicBezTo>
                  <a:cubicBezTo>
                    <a:pt x="101" y="82"/>
                    <a:pt x="101" y="81"/>
                    <a:pt x="101" y="81"/>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5" name="Freeform 230"/>
            <p:cNvSpPr>
              <a:spLocks/>
            </p:cNvSpPr>
            <p:nvPr/>
          </p:nvSpPr>
          <p:spPr bwMode="auto">
            <a:xfrm>
              <a:off x="6197478" y="3165575"/>
              <a:ext cx="98202" cy="92589"/>
            </a:xfrm>
            <a:custGeom>
              <a:avLst/>
              <a:gdLst>
                <a:gd name="T0" fmla="*/ 32 w 34"/>
                <a:gd name="T1" fmla="*/ 3 h 34"/>
                <a:gd name="T2" fmla="*/ 27 w 34"/>
                <a:gd name="T3" fmla="*/ 1 h 34"/>
                <a:gd name="T4" fmla="*/ 23 w 34"/>
                <a:gd name="T5" fmla="*/ 0 h 34"/>
                <a:gd name="T6" fmla="*/ 20 w 34"/>
                <a:gd name="T7" fmla="*/ 1 h 34"/>
                <a:gd name="T8" fmla="*/ 17 w 34"/>
                <a:gd name="T9" fmla="*/ 1 h 34"/>
                <a:gd name="T10" fmla="*/ 15 w 34"/>
                <a:gd name="T11" fmla="*/ 3 h 34"/>
                <a:gd name="T12" fmla="*/ 10 w 34"/>
                <a:gd name="T13" fmla="*/ 4 h 34"/>
                <a:gd name="T14" fmla="*/ 10 w 34"/>
                <a:gd name="T15" fmla="*/ 7 h 34"/>
                <a:gd name="T16" fmla="*/ 8 w 34"/>
                <a:gd name="T17" fmla="*/ 6 h 34"/>
                <a:gd name="T18" fmla="*/ 6 w 34"/>
                <a:gd name="T19" fmla="*/ 9 h 34"/>
                <a:gd name="T20" fmla="*/ 6 w 34"/>
                <a:gd name="T21" fmla="*/ 12 h 34"/>
                <a:gd name="T22" fmla="*/ 3 w 34"/>
                <a:gd name="T23" fmla="*/ 8 h 34"/>
                <a:gd name="T24" fmla="*/ 1 w 34"/>
                <a:gd name="T25" fmla="*/ 9 h 34"/>
                <a:gd name="T26" fmla="*/ 0 w 34"/>
                <a:gd name="T27" fmla="*/ 9 h 34"/>
                <a:gd name="T28" fmla="*/ 2 w 34"/>
                <a:gd name="T29" fmla="*/ 11 h 34"/>
                <a:gd name="T30" fmla="*/ 5 w 34"/>
                <a:gd name="T31" fmla="*/ 13 h 34"/>
                <a:gd name="T32" fmla="*/ 3 w 34"/>
                <a:gd name="T33" fmla="*/ 16 h 34"/>
                <a:gd name="T34" fmla="*/ 2 w 34"/>
                <a:gd name="T35" fmla="*/ 17 h 34"/>
                <a:gd name="T36" fmla="*/ 5 w 34"/>
                <a:gd name="T37" fmla="*/ 20 h 34"/>
                <a:gd name="T38" fmla="*/ 7 w 34"/>
                <a:gd name="T39" fmla="*/ 21 h 34"/>
                <a:gd name="T40" fmla="*/ 8 w 34"/>
                <a:gd name="T41" fmla="*/ 22 h 34"/>
                <a:gd name="T42" fmla="*/ 10 w 34"/>
                <a:gd name="T43" fmla="*/ 24 h 34"/>
                <a:gd name="T44" fmla="*/ 9 w 34"/>
                <a:gd name="T45" fmla="*/ 27 h 34"/>
                <a:gd name="T46" fmla="*/ 8 w 34"/>
                <a:gd name="T47" fmla="*/ 30 h 34"/>
                <a:gd name="T48" fmla="*/ 9 w 34"/>
                <a:gd name="T49" fmla="*/ 34 h 34"/>
                <a:gd name="T50" fmla="*/ 13 w 34"/>
                <a:gd name="T51" fmla="*/ 30 h 34"/>
                <a:gd name="T52" fmla="*/ 13 w 34"/>
                <a:gd name="T53" fmla="*/ 27 h 34"/>
                <a:gd name="T54" fmla="*/ 12 w 34"/>
                <a:gd name="T55" fmla="*/ 22 h 34"/>
                <a:gd name="T56" fmla="*/ 15 w 34"/>
                <a:gd name="T57" fmla="*/ 19 h 34"/>
                <a:gd name="T58" fmla="*/ 18 w 34"/>
                <a:gd name="T59" fmla="*/ 17 h 34"/>
                <a:gd name="T60" fmla="*/ 21 w 34"/>
                <a:gd name="T61" fmla="*/ 18 h 34"/>
                <a:gd name="T62" fmla="*/ 23 w 34"/>
                <a:gd name="T63" fmla="*/ 17 h 34"/>
                <a:gd name="T64" fmla="*/ 22 w 34"/>
                <a:gd name="T65" fmla="*/ 15 h 34"/>
                <a:gd name="T66" fmla="*/ 25 w 34"/>
                <a:gd name="T67" fmla="*/ 12 h 34"/>
                <a:gd name="T68" fmla="*/ 26 w 34"/>
                <a:gd name="T69" fmla="*/ 10 h 34"/>
                <a:gd name="T70" fmla="*/ 28 w 34"/>
                <a:gd name="T71" fmla="*/ 8 h 34"/>
                <a:gd name="T72" fmla="*/ 30 w 34"/>
                <a:gd name="T73" fmla="*/ 7 h 34"/>
                <a:gd name="T74" fmla="*/ 30 w 34"/>
                <a:gd name="T75" fmla="*/ 4 h 34"/>
                <a:gd name="T76" fmla="*/ 34 w 34"/>
                <a:gd name="T77"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 h="34">
                  <a:moveTo>
                    <a:pt x="33" y="4"/>
                  </a:moveTo>
                  <a:cubicBezTo>
                    <a:pt x="32" y="3"/>
                    <a:pt x="32" y="3"/>
                    <a:pt x="32" y="3"/>
                  </a:cubicBezTo>
                  <a:cubicBezTo>
                    <a:pt x="30" y="2"/>
                    <a:pt x="30" y="2"/>
                    <a:pt x="30" y="2"/>
                  </a:cubicBezTo>
                  <a:cubicBezTo>
                    <a:pt x="27" y="1"/>
                    <a:pt x="27" y="1"/>
                    <a:pt x="27" y="1"/>
                  </a:cubicBezTo>
                  <a:cubicBezTo>
                    <a:pt x="27" y="1"/>
                    <a:pt x="24" y="0"/>
                    <a:pt x="24" y="0"/>
                  </a:cubicBezTo>
                  <a:cubicBezTo>
                    <a:pt x="24" y="0"/>
                    <a:pt x="23" y="0"/>
                    <a:pt x="23" y="0"/>
                  </a:cubicBezTo>
                  <a:cubicBezTo>
                    <a:pt x="23" y="0"/>
                    <a:pt x="22" y="0"/>
                    <a:pt x="22" y="0"/>
                  </a:cubicBezTo>
                  <a:cubicBezTo>
                    <a:pt x="21" y="0"/>
                    <a:pt x="20" y="1"/>
                    <a:pt x="20" y="1"/>
                  </a:cubicBezTo>
                  <a:cubicBezTo>
                    <a:pt x="19" y="2"/>
                    <a:pt x="19" y="2"/>
                    <a:pt x="18" y="2"/>
                  </a:cubicBezTo>
                  <a:cubicBezTo>
                    <a:pt x="18" y="2"/>
                    <a:pt x="17" y="1"/>
                    <a:pt x="17" y="1"/>
                  </a:cubicBezTo>
                  <a:cubicBezTo>
                    <a:pt x="16" y="1"/>
                    <a:pt x="16" y="1"/>
                    <a:pt x="16" y="1"/>
                  </a:cubicBezTo>
                  <a:cubicBezTo>
                    <a:pt x="16" y="1"/>
                    <a:pt x="15" y="2"/>
                    <a:pt x="15" y="3"/>
                  </a:cubicBezTo>
                  <a:cubicBezTo>
                    <a:pt x="15" y="3"/>
                    <a:pt x="13" y="3"/>
                    <a:pt x="12" y="3"/>
                  </a:cubicBezTo>
                  <a:cubicBezTo>
                    <a:pt x="12" y="4"/>
                    <a:pt x="11" y="4"/>
                    <a:pt x="10" y="4"/>
                  </a:cubicBezTo>
                  <a:cubicBezTo>
                    <a:pt x="9" y="4"/>
                    <a:pt x="10" y="5"/>
                    <a:pt x="10" y="5"/>
                  </a:cubicBezTo>
                  <a:cubicBezTo>
                    <a:pt x="10" y="7"/>
                    <a:pt x="10" y="7"/>
                    <a:pt x="10" y="7"/>
                  </a:cubicBezTo>
                  <a:cubicBezTo>
                    <a:pt x="9" y="7"/>
                    <a:pt x="9" y="7"/>
                    <a:pt x="9" y="7"/>
                  </a:cubicBezTo>
                  <a:cubicBezTo>
                    <a:pt x="8" y="6"/>
                    <a:pt x="8" y="6"/>
                    <a:pt x="8" y="6"/>
                  </a:cubicBezTo>
                  <a:cubicBezTo>
                    <a:pt x="7" y="8"/>
                    <a:pt x="7" y="8"/>
                    <a:pt x="7" y="8"/>
                  </a:cubicBezTo>
                  <a:cubicBezTo>
                    <a:pt x="6" y="9"/>
                    <a:pt x="6" y="9"/>
                    <a:pt x="6" y="9"/>
                  </a:cubicBezTo>
                  <a:cubicBezTo>
                    <a:pt x="6" y="9"/>
                    <a:pt x="6" y="11"/>
                    <a:pt x="6" y="11"/>
                  </a:cubicBezTo>
                  <a:cubicBezTo>
                    <a:pt x="6" y="12"/>
                    <a:pt x="6" y="12"/>
                    <a:pt x="6" y="12"/>
                  </a:cubicBezTo>
                  <a:cubicBezTo>
                    <a:pt x="6" y="12"/>
                    <a:pt x="5" y="10"/>
                    <a:pt x="5" y="9"/>
                  </a:cubicBezTo>
                  <a:cubicBezTo>
                    <a:pt x="5" y="8"/>
                    <a:pt x="3" y="8"/>
                    <a:pt x="3" y="8"/>
                  </a:cubicBezTo>
                  <a:cubicBezTo>
                    <a:pt x="3" y="8"/>
                    <a:pt x="2" y="8"/>
                    <a:pt x="2" y="8"/>
                  </a:cubicBezTo>
                  <a:cubicBezTo>
                    <a:pt x="2" y="8"/>
                    <a:pt x="2" y="9"/>
                    <a:pt x="1" y="9"/>
                  </a:cubicBezTo>
                  <a:cubicBezTo>
                    <a:pt x="1" y="9"/>
                    <a:pt x="1" y="8"/>
                    <a:pt x="1" y="8"/>
                  </a:cubicBezTo>
                  <a:cubicBezTo>
                    <a:pt x="1" y="8"/>
                    <a:pt x="0" y="9"/>
                    <a:pt x="0" y="9"/>
                  </a:cubicBezTo>
                  <a:cubicBezTo>
                    <a:pt x="0" y="9"/>
                    <a:pt x="0" y="10"/>
                    <a:pt x="0" y="10"/>
                  </a:cubicBezTo>
                  <a:cubicBezTo>
                    <a:pt x="0" y="10"/>
                    <a:pt x="1" y="11"/>
                    <a:pt x="2" y="11"/>
                  </a:cubicBezTo>
                  <a:cubicBezTo>
                    <a:pt x="3" y="11"/>
                    <a:pt x="2" y="11"/>
                    <a:pt x="2" y="11"/>
                  </a:cubicBezTo>
                  <a:cubicBezTo>
                    <a:pt x="2" y="11"/>
                    <a:pt x="4" y="13"/>
                    <a:pt x="5" y="13"/>
                  </a:cubicBezTo>
                  <a:cubicBezTo>
                    <a:pt x="5" y="14"/>
                    <a:pt x="5" y="15"/>
                    <a:pt x="5" y="15"/>
                  </a:cubicBezTo>
                  <a:cubicBezTo>
                    <a:pt x="3" y="16"/>
                    <a:pt x="3" y="16"/>
                    <a:pt x="3" y="16"/>
                  </a:cubicBezTo>
                  <a:cubicBezTo>
                    <a:pt x="3" y="16"/>
                    <a:pt x="3" y="16"/>
                    <a:pt x="3" y="17"/>
                  </a:cubicBezTo>
                  <a:cubicBezTo>
                    <a:pt x="4" y="17"/>
                    <a:pt x="3" y="17"/>
                    <a:pt x="2" y="17"/>
                  </a:cubicBezTo>
                  <a:cubicBezTo>
                    <a:pt x="2" y="18"/>
                    <a:pt x="3" y="19"/>
                    <a:pt x="3" y="19"/>
                  </a:cubicBezTo>
                  <a:cubicBezTo>
                    <a:pt x="3" y="19"/>
                    <a:pt x="4" y="20"/>
                    <a:pt x="5" y="20"/>
                  </a:cubicBezTo>
                  <a:cubicBezTo>
                    <a:pt x="6" y="20"/>
                    <a:pt x="6" y="20"/>
                    <a:pt x="6" y="20"/>
                  </a:cubicBezTo>
                  <a:cubicBezTo>
                    <a:pt x="7" y="21"/>
                    <a:pt x="7" y="21"/>
                    <a:pt x="7" y="21"/>
                  </a:cubicBezTo>
                  <a:cubicBezTo>
                    <a:pt x="8" y="22"/>
                    <a:pt x="8" y="22"/>
                    <a:pt x="8" y="22"/>
                  </a:cubicBezTo>
                  <a:cubicBezTo>
                    <a:pt x="8" y="22"/>
                    <a:pt x="8" y="22"/>
                    <a:pt x="8" y="22"/>
                  </a:cubicBezTo>
                  <a:cubicBezTo>
                    <a:pt x="10" y="23"/>
                    <a:pt x="10" y="23"/>
                    <a:pt x="10" y="23"/>
                  </a:cubicBezTo>
                  <a:cubicBezTo>
                    <a:pt x="10" y="24"/>
                    <a:pt x="10" y="24"/>
                    <a:pt x="10" y="24"/>
                  </a:cubicBezTo>
                  <a:cubicBezTo>
                    <a:pt x="11" y="26"/>
                    <a:pt x="11" y="26"/>
                    <a:pt x="11" y="26"/>
                  </a:cubicBezTo>
                  <a:cubicBezTo>
                    <a:pt x="11" y="26"/>
                    <a:pt x="10" y="26"/>
                    <a:pt x="9" y="27"/>
                  </a:cubicBezTo>
                  <a:cubicBezTo>
                    <a:pt x="9" y="27"/>
                    <a:pt x="9" y="28"/>
                    <a:pt x="8" y="28"/>
                  </a:cubicBezTo>
                  <a:cubicBezTo>
                    <a:pt x="8" y="28"/>
                    <a:pt x="8" y="29"/>
                    <a:pt x="8" y="30"/>
                  </a:cubicBezTo>
                  <a:cubicBezTo>
                    <a:pt x="7" y="31"/>
                    <a:pt x="8" y="32"/>
                    <a:pt x="8" y="33"/>
                  </a:cubicBezTo>
                  <a:cubicBezTo>
                    <a:pt x="9" y="34"/>
                    <a:pt x="9" y="34"/>
                    <a:pt x="9" y="34"/>
                  </a:cubicBezTo>
                  <a:cubicBezTo>
                    <a:pt x="10" y="34"/>
                    <a:pt x="11" y="33"/>
                    <a:pt x="11" y="33"/>
                  </a:cubicBezTo>
                  <a:cubicBezTo>
                    <a:pt x="11" y="32"/>
                    <a:pt x="12" y="31"/>
                    <a:pt x="13" y="30"/>
                  </a:cubicBezTo>
                  <a:cubicBezTo>
                    <a:pt x="13" y="30"/>
                    <a:pt x="13" y="29"/>
                    <a:pt x="13" y="28"/>
                  </a:cubicBezTo>
                  <a:cubicBezTo>
                    <a:pt x="12" y="28"/>
                    <a:pt x="13" y="27"/>
                    <a:pt x="13" y="27"/>
                  </a:cubicBezTo>
                  <a:cubicBezTo>
                    <a:pt x="13" y="25"/>
                    <a:pt x="13" y="25"/>
                    <a:pt x="13" y="25"/>
                  </a:cubicBezTo>
                  <a:cubicBezTo>
                    <a:pt x="12" y="22"/>
                    <a:pt x="12" y="22"/>
                    <a:pt x="12" y="22"/>
                  </a:cubicBezTo>
                  <a:cubicBezTo>
                    <a:pt x="14" y="19"/>
                    <a:pt x="14" y="19"/>
                    <a:pt x="14" y="19"/>
                  </a:cubicBezTo>
                  <a:cubicBezTo>
                    <a:pt x="15" y="19"/>
                    <a:pt x="15" y="19"/>
                    <a:pt x="15" y="19"/>
                  </a:cubicBezTo>
                  <a:cubicBezTo>
                    <a:pt x="17" y="17"/>
                    <a:pt x="17" y="17"/>
                    <a:pt x="17" y="17"/>
                  </a:cubicBezTo>
                  <a:cubicBezTo>
                    <a:pt x="18" y="17"/>
                    <a:pt x="18" y="17"/>
                    <a:pt x="18" y="17"/>
                  </a:cubicBezTo>
                  <a:cubicBezTo>
                    <a:pt x="18" y="17"/>
                    <a:pt x="18" y="17"/>
                    <a:pt x="20" y="17"/>
                  </a:cubicBezTo>
                  <a:cubicBezTo>
                    <a:pt x="21" y="17"/>
                    <a:pt x="21" y="17"/>
                    <a:pt x="21" y="18"/>
                  </a:cubicBezTo>
                  <a:cubicBezTo>
                    <a:pt x="21" y="18"/>
                    <a:pt x="22" y="18"/>
                    <a:pt x="23" y="18"/>
                  </a:cubicBezTo>
                  <a:cubicBezTo>
                    <a:pt x="23" y="18"/>
                    <a:pt x="23" y="17"/>
                    <a:pt x="23" y="17"/>
                  </a:cubicBezTo>
                  <a:cubicBezTo>
                    <a:pt x="23" y="16"/>
                    <a:pt x="22" y="16"/>
                    <a:pt x="22" y="16"/>
                  </a:cubicBezTo>
                  <a:cubicBezTo>
                    <a:pt x="22" y="15"/>
                    <a:pt x="22" y="15"/>
                    <a:pt x="22" y="15"/>
                  </a:cubicBezTo>
                  <a:cubicBezTo>
                    <a:pt x="24" y="14"/>
                    <a:pt x="24" y="14"/>
                    <a:pt x="24" y="14"/>
                  </a:cubicBezTo>
                  <a:cubicBezTo>
                    <a:pt x="25" y="12"/>
                    <a:pt x="25" y="12"/>
                    <a:pt x="25" y="12"/>
                  </a:cubicBezTo>
                  <a:cubicBezTo>
                    <a:pt x="26" y="11"/>
                    <a:pt x="26" y="11"/>
                    <a:pt x="26" y="11"/>
                  </a:cubicBezTo>
                  <a:cubicBezTo>
                    <a:pt x="26" y="10"/>
                    <a:pt x="26" y="10"/>
                    <a:pt x="26" y="10"/>
                  </a:cubicBezTo>
                  <a:cubicBezTo>
                    <a:pt x="26" y="10"/>
                    <a:pt x="27" y="10"/>
                    <a:pt x="28" y="9"/>
                  </a:cubicBezTo>
                  <a:cubicBezTo>
                    <a:pt x="29" y="9"/>
                    <a:pt x="28" y="8"/>
                    <a:pt x="28" y="8"/>
                  </a:cubicBezTo>
                  <a:cubicBezTo>
                    <a:pt x="28" y="7"/>
                    <a:pt x="28" y="7"/>
                    <a:pt x="28" y="7"/>
                  </a:cubicBezTo>
                  <a:cubicBezTo>
                    <a:pt x="28" y="7"/>
                    <a:pt x="29" y="7"/>
                    <a:pt x="30" y="7"/>
                  </a:cubicBezTo>
                  <a:cubicBezTo>
                    <a:pt x="30" y="6"/>
                    <a:pt x="29" y="6"/>
                    <a:pt x="29" y="5"/>
                  </a:cubicBezTo>
                  <a:cubicBezTo>
                    <a:pt x="29" y="5"/>
                    <a:pt x="30" y="4"/>
                    <a:pt x="30" y="4"/>
                  </a:cubicBezTo>
                  <a:cubicBezTo>
                    <a:pt x="30" y="4"/>
                    <a:pt x="32" y="6"/>
                    <a:pt x="32" y="6"/>
                  </a:cubicBezTo>
                  <a:cubicBezTo>
                    <a:pt x="33" y="6"/>
                    <a:pt x="33" y="5"/>
                    <a:pt x="34" y="5"/>
                  </a:cubicBezTo>
                  <a:cubicBezTo>
                    <a:pt x="34" y="5"/>
                    <a:pt x="33" y="4"/>
                    <a:pt x="33" y="4"/>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6" name="Freeform 231"/>
            <p:cNvSpPr>
              <a:spLocks/>
            </p:cNvSpPr>
            <p:nvPr/>
          </p:nvSpPr>
          <p:spPr bwMode="auto">
            <a:xfrm>
              <a:off x="6275462" y="3151959"/>
              <a:ext cx="23106" cy="19062"/>
            </a:xfrm>
            <a:custGeom>
              <a:avLst/>
              <a:gdLst>
                <a:gd name="T0" fmla="*/ 6 w 8"/>
                <a:gd name="T1" fmla="*/ 3 h 7"/>
                <a:gd name="T2" fmla="*/ 5 w 8"/>
                <a:gd name="T3" fmla="*/ 1 h 7"/>
                <a:gd name="T4" fmla="*/ 3 w 8"/>
                <a:gd name="T5" fmla="*/ 0 h 7"/>
                <a:gd name="T6" fmla="*/ 1 w 8"/>
                <a:gd name="T7" fmla="*/ 1 h 7"/>
                <a:gd name="T8" fmla="*/ 1 w 8"/>
                <a:gd name="T9" fmla="*/ 3 h 7"/>
                <a:gd name="T10" fmla="*/ 0 w 8"/>
                <a:gd name="T11" fmla="*/ 4 h 7"/>
                <a:gd name="T12" fmla="*/ 1 w 8"/>
                <a:gd name="T13" fmla="*/ 5 h 7"/>
                <a:gd name="T14" fmla="*/ 3 w 8"/>
                <a:gd name="T15" fmla="*/ 5 h 7"/>
                <a:gd name="T16" fmla="*/ 7 w 8"/>
                <a:gd name="T17" fmla="*/ 5 h 7"/>
                <a:gd name="T18" fmla="*/ 7 w 8"/>
                <a:gd name="T19" fmla="*/ 4 h 7"/>
                <a:gd name="T20" fmla="*/ 6 w 8"/>
                <a:gd name="T2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7">
                  <a:moveTo>
                    <a:pt x="6" y="3"/>
                  </a:moveTo>
                  <a:cubicBezTo>
                    <a:pt x="6" y="2"/>
                    <a:pt x="6" y="2"/>
                    <a:pt x="5" y="1"/>
                  </a:cubicBezTo>
                  <a:cubicBezTo>
                    <a:pt x="4" y="0"/>
                    <a:pt x="4" y="1"/>
                    <a:pt x="3" y="0"/>
                  </a:cubicBezTo>
                  <a:cubicBezTo>
                    <a:pt x="2" y="0"/>
                    <a:pt x="1" y="1"/>
                    <a:pt x="1" y="1"/>
                  </a:cubicBezTo>
                  <a:cubicBezTo>
                    <a:pt x="0" y="1"/>
                    <a:pt x="1" y="3"/>
                    <a:pt x="1" y="3"/>
                  </a:cubicBezTo>
                  <a:cubicBezTo>
                    <a:pt x="1" y="3"/>
                    <a:pt x="0" y="4"/>
                    <a:pt x="0" y="4"/>
                  </a:cubicBezTo>
                  <a:cubicBezTo>
                    <a:pt x="1" y="5"/>
                    <a:pt x="1" y="5"/>
                    <a:pt x="1" y="5"/>
                  </a:cubicBezTo>
                  <a:cubicBezTo>
                    <a:pt x="1" y="5"/>
                    <a:pt x="2" y="5"/>
                    <a:pt x="3" y="5"/>
                  </a:cubicBezTo>
                  <a:cubicBezTo>
                    <a:pt x="6" y="6"/>
                    <a:pt x="6" y="7"/>
                    <a:pt x="7" y="5"/>
                  </a:cubicBezTo>
                  <a:cubicBezTo>
                    <a:pt x="8" y="5"/>
                    <a:pt x="7" y="5"/>
                    <a:pt x="7" y="4"/>
                  </a:cubicBezTo>
                  <a:cubicBezTo>
                    <a:pt x="7" y="4"/>
                    <a:pt x="6" y="3"/>
                    <a:pt x="6" y="3"/>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7" name="Freeform 232"/>
            <p:cNvSpPr>
              <a:spLocks/>
            </p:cNvSpPr>
            <p:nvPr/>
          </p:nvSpPr>
          <p:spPr bwMode="auto">
            <a:xfrm>
              <a:off x="6183036" y="3203700"/>
              <a:ext cx="495342" cy="276405"/>
            </a:xfrm>
            <a:custGeom>
              <a:avLst/>
              <a:gdLst>
                <a:gd name="T0" fmla="*/ 168 w 171"/>
                <a:gd name="T1" fmla="*/ 52 h 101"/>
                <a:gd name="T2" fmla="*/ 166 w 171"/>
                <a:gd name="T3" fmla="*/ 48 h 101"/>
                <a:gd name="T4" fmla="*/ 163 w 171"/>
                <a:gd name="T5" fmla="*/ 43 h 101"/>
                <a:gd name="T6" fmla="*/ 157 w 171"/>
                <a:gd name="T7" fmla="*/ 35 h 101"/>
                <a:gd name="T8" fmla="*/ 152 w 171"/>
                <a:gd name="T9" fmla="*/ 31 h 101"/>
                <a:gd name="T10" fmla="*/ 151 w 171"/>
                <a:gd name="T11" fmla="*/ 16 h 101"/>
                <a:gd name="T12" fmla="*/ 143 w 171"/>
                <a:gd name="T13" fmla="*/ 13 h 101"/>
                <a:gd name="T14" fmla="*/ 140 w 171"/>
                <a:gd name="T15" fmla="*/ 10 h 101"/>
                <a:gd name="T16" fmla="*/ 137 w 171"/>
                <a:gd name="T17" fmla="*/ 10 h 101"/>
                <a:gd name="T18" fmla="*/ 128 w 171"/>
                <a:gd name="T19" fmla="*/ 9 h 101"/>
                <a:gd name="T20" fmla="*/ 123 w 171"/>
                <a:gd name="T21" fmla="*/ 13 h 101"/>
                <a:gd name="T22" fmla="*/ 115 w 171"/>
                <a:gd name="T23" fmla="*/ 14 h 101"/>
                <a:gd name="T24" fmla="*/ 103 w 171"/>
                <a:gd name="T25" fmla="*/ 5 h 101"/>
                <a:gd name="T26" fmla="*/ 92 w 171"/>
                <a:gd name="T27" fmla="*/ 3 h 101"/>
                <a:gd name="T28" fmla="*/ 83 w 171"/>
                <a:gd name="T29" fmla="*/ 0 h 101"/>
                <a:gd name="T30" fmla="*/ 72 w 171"/>
                <a:gd name="T31" fmla="*/ 8 h 101"/>
                <a:gd name="T32" fmla="*/ 66 w 171"/>
                <a:gd name="T33" fmla="*/ 12 h 101"/>
                <a:gd name="T34" fmla="*/ 70 w 171"/>
                <a:gd name="T35" fmla="*/ 28 h 101"/>
                <a:gd name="T36" fmla="*/ 70 w 171"/>
                <a:gd name="T37" fmla="*/ 45 h 101"/>
                <a:gd name="T38" fmla="*/ 65 w 171"/>
                <a:gd name="T39" fmla="*/ 51 h 101"/>
                <a:gd name="T40" fmla="*/ 53 w 171"/>
                <a:gd name="T41" fmla="*/ 53 h 101"/>
                <a:gd name="T42" fmla="*/ 45 w 171"/>
                <a:gd name="T43" fmla="*/ 45 h 101"/>
                <a:gd name="T44" fmla="*/ 36 w 171"/>
                <a:gd name="T45" fmla="*/ 35 h 101"/>
                <a:gd name="T46" fmla="*/ 28 w 171"/>
                <a:gd name="T47" fmla="*/ 24 h 101"/>
                <a:gd name="T48" fmla="*/ 19 w 171"/>
                <a:gd name="T49" fmla="*/ 31 h 101"/>
                <a:gd name="T50" fmla="*/ 8 w 171"/>
                <a:gd name="T51" fmla="*/ 39 h 101"/>
                <a:gd name="T52" fmla="*/ 5 w 171"/>
                <a:gd name="T53" fmla="*/ 64 h 101"/>
                <a:gd name="T54" fmla="*/ 0 w 171"/>
                <a:gd name="T55" fmla="*/ 75 h 101"/>
                <a:gd name="T56" fmla="*/ 1 w 171"/>
                <a:gd name="T57" fmla="*/ 92 h 101"/>
                <a:gd name="T58" fmla="*/ 6 w 171"/>
                <a:gd name="T59" fmla="*/ 99 h 101"/>
                <a:gd name="T60" fmla="*/ 10 w 171"/>
                <a:gd name="T61" fmla="*/ 92 h 101"/>
                <a:gd name="T62" fmla="*/ 19 w 171"/>
                <a:gd name="T63" fmla="*/ 87 h 101"/>
                <a:gd name="T64" fmla="*/ 32 w 171"/>
                <a:gd name="T65" fmla="*/ 81 h 101"/>
                <a:gd name="T66" fmla="*/ 46 w 171"/>
                <a:gd name="T67" fmla="*/ 76 h 101"/>
                <a:gd name="T68" fmla="*/ 52 w 171"/>
                <a:gd name="T69" fmla="*/ 80 h 101"/>
                <a:gd name="T70" fmla="*/ 62 w 171"/>
                <a:gd name="T71" fmla="*/ 76 h 101"/>
                <a:gd name="T72" fmla="*/ 65 w 171"/>
                <a:gd name="T73" fmla="*/ 75 h 101"/>
                <a:gd name="T74" fmla="*/ 75 w 171"/>
                <a:gd name="T75" fmla="*/ 76 h 101"/>
                <a:gd name="T76" fmla="*/ 80 w 171"/>
                <a:gd name="T77" fmla="*/ 73 h 101"/>
                <a:gd name="T78" fmla="*/ 89 w 171"/>
                <a:gd name="T79" fmla="*/ 68 h 101"/>
                <a:gd name="T80" fmla="*/ 97 w 171"/>
                <a:gd name="T81" fmla="*/ 71 h 101"/>
                <a:gd name="T82" fmla="*/ 107 w 171"/>
                <a:gd name="T83" fmla="*/ 74 h 101"/>
                <a:gd name="T84" fmla="*/ 118 w 171"/>
                <a:gd name="T85" fmla="*/ 76 h 101"/>
                <a:gd name="T86" fmla="*/ 127 w 171"/>
                <a:gd name="T87" fmla="*/ 80 h 101"/>
                <a:gd name="T88" fmla="*/ 133 w 171"/>
                <a:gd name="T89" fmla="*/ 87 h 101"/>
                <a:gd name="T90" fmla="*/ 146 w 171"/>
                <a:gd name="T91" fmla="*/ 86 h 101"/>
                <a:gd name="T92" fmla="*/ 153 w 171"/>
                <a:gd name="T93" fmla="*/ 78 h 101"/>
                <a:gd name="T94" fmla="*/ 158 w 171"/>
                <a:gd name="T95" fmla="*/ 78 h 101"/>
                <a:gd name="T96" fmla="*/ 162 w 171"/>
                <a:gd name="T97" fmla="*/ 74 h 101"/>
                <a:gd name="T98" fmla="*/ 171 w 171"/>
                <a:gd name="T99" fmla="*/ 6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1" h="101">
                  <a:moveTo>
                    <a:pt x="171" y="58"/>
                  </a:moveTo>
                  <a:cubicBezTo>
                    <a:pt x="171" y="55"/>
                    <a:pt x="171" y="55"/>
                    <a:pt x="171" y="55"/>
                  </a:cubicBezTo>
                  <a:cubicBezTo>
                    <a:pt x="170" y="54"/>
                    <a:pt x="168" y="52"/>
                    <a:pt x="168" y="52"/>
                  </a:cubicBezTo>
                  <a:cubicBezTo>
                    <a:pt x="168" y="51"/>
                    <a:pt x="168" y="50"/>
                    <a:pt x="167" y="48"/>
                  </a:cubicBezTo>
                  <a:cubicBezTo>
                    <a:pt x="167" y="48"/>
                    <a:pt x="167" y="48"/>
                    <a:pt x="167" y="48"/>
                  </a:cubicBezTo>
                  <a:cubicBezTo>
                    <a:pt x="167" y="48"/>
                    <a:pt x="166" y="48"/>
                    <a:pt x="166" y="48"/>
                  </a:cubicBezTo>
                  <a:cubicBezTo>
                    <a:pt x="165" y="47"/>
                    <a:pt x="164" y="46"/>
                    <a:pt x="164" y="46"/>
                  </a:cubicBezTo>
                  <a:cubicBezTo>
                    <a:pt x="163" y="45"/>
                    <a:pt x="163" y="45"/>
                    <a:pt x="163" y="45"/>
                  </a:cubicBezTo>
                  <a:cubicBezTo>
                    <a:pt x="163" y="43"/>
                    <a:pt x="163" y="43"/>
                    <a:pt x="163" y="43"/>
                  </a:cubicBezTo>
                  <a:cubicBezTo>
                    <a:pt x="162" y="43"/>
                    <a:pt x="162" y="43"/>
                    <a:pt x="162" y="43"/>
                  </a:cubicBezTo>
                  <a:cubicBezTo>
                    <a:pt x="156" y="38"/>
                    <a:pt x="156" y="38"/>
                    <a:pt x="156" y="38"/>
                  </a:cubicBezTo>
                  <a:cubicBezTo>
                    <a:pt x="157" y="35"/>
                    <a:pt x="157" y="35"/>
                    <a:pt x="157" y="35"/>
                  </a:cubicBezTo>
                  <a:cubicBezTo>
                    <a:pt x="157" y="35"/>
                    <a:pt x="157" y="35"/>
                    <a:pt x="157" y="35"/>
                  </a:cubicBezTo>
                  <a:cubicBezTo>
                    <a:pt x="152" y="38"/>
                    <a:pt x="152" y="38"/>
                    <a:pt x="152" y="38"/>
                  </a:cubicBezTo>
                  <a:cubicBezTo>
                    <a:pt x="152" y="31"/>
                    <a:pt x="152" y="31"/>
                    <a:pt x="152" y="31"/>
                  </a:cubicBezTo>
                  <a:cubicBezTo>
                    <a:pt x="150" y="25"/>
                    <a:pt x="150" y="25"/>
                    <a:pt x="150" y="25"/>
                  </a:cubicBezTo>
                  <a:cubicBezTo>
                    <a:pt x="152" y="22"/>
                    <a:pt x="152" y="22"/>
                    <a:pt x="152" y="22"/>
                  </a:cubicBezTo>
                  <a:cubicBezTo>
                    <a:pt x="151" y="16"/>
                    <a:pt x="151" y="16"/>
                    <a:pt x="151" y="16"/>
                  </a:cubicBezTo>
                  <a:cubicBezTo>
                    <a:pt x="151" y="16"/>
                    <a:pt x="150" y="16"/>
                    <a:pt x="150" y="16"/>
                  </a:cubicBezTo>
                  <a:cubicBezTo>
                    <a:pt x="149" y="16"/>
                    <a:pt x="148" y="16"/>
                    <a:pt x="146" y="14"/>
                  </a:cubicBezTo>
                  <a:cubicBezTo>
                    <a:pt x="143" y="13"/>
                    <a:pt x="143" y="13"/>
                    <a:pt x="143" y="13"/>
                  </a:cubicBezTo>
                  <a:cubicBezTo>
                    <a:pt x="142" y="10"/>
                    <a:pt x="142" y="10"/>
                    <a:pt x="142" y="10"/>
                  </a:cubicBezTo>
                  <a:cubicBezTo>
                    <a:pt x="141" y="9"/>
                    <a:pt x="141" y="9"/>
                    <a:pt x="141" y="9"/>
                  </a:cubicBezTo>
                  <a:cubicBezTo>
                    <a:pt x="140" y="10"/>
                    <a:pt x="140" y="10"/>
                    <a:pt x="140" y="10"/>
                  </a:cubicBezTo>
                  <a:cubicBezTo>
                    <a:pt x="139" y="10"/>
                    <a:pt x="139" y="10"/>
                    <a:pt x="139" y="10"/>
                  </a:cubicBezTo>
                  <a:cubicBezTo>
                    <a:pt x="139" y="10"/>
                    <a:pt x="139" y="10"/>
                    <a:pt x="139" y="10"/>
                  </a:cubicBezTo>
                  <a:cubicBezTo>
                    <a:pt x="137" y="10"/>
                    <a:pt x="137" y="10"/>
                    <a:pt x="137" y="10"/>
                  </a:cubicBezTo>
                  <a:cubicBezTo>
                    <a:pt x="137" y="10"/>
                    <a:pt x="137" y="10"/>
                    <a:pt x="137" y="10"/>
                  </a:cubicBezTo>
                  <a:cubicBezTo>
                    <a:pt x="133" y="10"/>
                    <a:pt x="133" y="10"/>
                    <a:pt x="133" y="10"/>
                  </a:cubicBezTo>
                  <a:cubicBezTo>
                    <a:pt x="128" y="9"/>
                    <a:pt x="128" y="9"/>
                    <a:pt x="128" y="9"/>
                  </a:cubicBezTo>
                  <a:cubicBezTo>
                    <a:pt x="126" y="11"/>
                    <a:pt x="126" y="11"/>
                    <a:pt x="126" y="11"/>
                  </a:cubicBezTo>
                  <a:cubicBezTo>
                    <a:pt x="125" y="11"/>
                    <a:pt x="125" y="11"/>
                    <a:pt x="125" y="11"/>
                  </a:cubicBezTo>
                  <a:cubicBezTo>
                    <a:pt x="124" y="12"/>
                    <a:pt x="124" y="12"/>
                    <a:pt x="123" y="13"/>
                  </a:cubicBezTo>
                  <a:cubicBezTo>
                    <a:pt x="123" y="14"/>
                    <a:pt x="121" y="14"/>
                    <a:pt x="121" y="15"/>
                  </a:cubicBezTo>
                  <a:cubicBezTo>
                    <a:pt x="120" y="15"/>
                    <a:pt x="119" y="15"/>
                    <a:pt x="118" y="15"/>
                  </a:cubicBezTo>
                  <a:cubicBezTo>
                    <a:pt x="117" y="15"/>
                    <a:pt x="116" y="15"/>
                    <a:pt x="115" y="14"/>
                  </a:cubicBezTo>
                  <a:cubicBezTo>
                    <a:pt x="112" y="13"/>
                    <a:pt x="112" y="13"/>
                    <a:pt x="112" y="13"/>
                  </a:cubicBezTo>
                  <a:cubicBezTo>
                    <a:pt x="110" y="9"/>
                    <a:pt x="110" y="9"/>
                    <a:pt x="110" y="9"/>
                  </a:cubicBezTo>
                  <a:cubicBezTo>
                    <a:pt x="103" y="5"/>
                    <a:pt x="103" y="5"/>
                    <a:pt x="103" y="5"/>
                  </a:cubicBezTo>
                  <a:cubicBezTo>
                    <a:pt x="100" y="4"/>
                    <a:pt x="100" y="4"/>
                    <a:pt x="100" y="4"/>
                  </a:cubicBezTo>
                  <a:cubicBezTo>
                    <a:pt x="96" y="3"/>
                    <a:pt x="96" y="3"/>
                    <a:pt x="96" y="3"/>
                  </a:cubicBezTo>
                  <a:cubicBezTo>
                    <a:pt x="92" y="3"/>
                    <a:pt x="92" y="3"/>
                    <a:pt x="92" y="3"/>
                  </a:cubicBezTo>
                  <a:cubicBezTo>
                    <a:pt x="89" y="1"/>
                    <a:pt x="89" y="1"/>
                    <a:pt x="89" y="1"/>
                  </a:cubicBezTo>
                  <a:cubicBezTo>
                    <a:pt x="86" y="2"/>
                    <a:pt x="86" y="2"/>
                    <a:pt x="86" y="2"/>
                  </a:cubicBezTo>
                  <a:cubicBezTo>
                    <a:pt x="83" y="0"/>
                    <a:pt x="83" y="0"/>
                    <a:pt x="83" y="0"/>
                  </a:cubicBezTo>
                  <a:cubicBezTo>
                    <a:pt x="80" y="2"/>
                    <a:pt x="80" y="2"/>
                    <a:pt x="80" y="2"/>
                  </a:cubicBezTo>
                  <a:cubicBezTo>
                    <a:pt x="77" y="5"/>
                    <a:pt x="77" y="5"/>
                    <a:pt x="77" y="5"/>
                  </a:cubicBezTo>
                  <a:cubicBezTo>
                    <a:pt x="72" y="8"/>
                    <a:pt x="72" y="8"/>
                    <a:pt x="72" y="8"/>
                  </a:cubicBezTo>
                  <a:cubicBezTo>
                    <a:pt x="72" y="9"/>
                    <a:pt x="70" y="11"/>
                    <a:pt x="68" y="12"/>
                  </a:cubicBezTo>
                  <a:cubicBezTo>
                    <a:pt x="66" y="13"/>
                    <a:pt x="66" y="13"/>
                    <a:pt x="66" y="13"/>
                  </a:cubicBezTo>
                  <a:cubicBezTo>
                    <a:pt x="66" y="12"/>
                    <a:pt x="66" y="12"/>
                    <a:pt x="66" y="12"/>
                  </a:cubicBezTo>
                  <a:cubicBezTo>
                    <a:pt x="66" y="13"/>
                    <a:pt x="66" y="14"/>
                    <a:pt x="66" y="15"/>
                  </a:cubicBezTo>
                  <a:cubicBezTo>
                    <a:pt x="69" y="21"/>
                    <a:pt x="69" y="21"/>
                    <a:pt x="69" y="21"/>
                  </a:cubicBezTo>
                  <a:cubicBezTo>
                    <a:pt x="69" y="21"/>
                    <a:pt x="70" y="26"/>
                    <a:pt x="70" y="28"/>
                  </a:cubicBezTo>
                  <a:cubicBezTo>
                    <a:pt x="70" y="29"/>
                    <a:pt x="71" y="30"/>
                    <a:pt x="72" y="32"/>
                  </a:cubicBezTo>
                  <a:cubicBezTo>
                    <a:pt x="73" y="35"/>
                    <a:pt x="74" y="36"/>
                    <a:pt x="74" y="37"/>
                  </a:cubicBezTo>
                  <a:cubicBezTo>
                    <a:pt x="74" y="38"/>
                    <a:pt x="71" y="44"/>
                    <a:pt x="70" y="45"/>
                  </a:cubicBezTo>
                  <a:cubicBezTo>
                    <a:pt x="70" y="45"/>
                    <a:pt x="69" y="46"/>
                    <a:pt x="68" y="48"/>
                  </a:cubicBezTo>
                  <a:cubicBezTo>
                    <a:pt x="67" y="49"/>
                    <a:pt x="67" y="49"/>
                    <a:pt x="67" y="49"/>
                  </a:cubicBezTo>
                  <a:cubicBezTo>
                    <a:pt x="67" y="50"/>
                    <a:pt x="66" y="50"/>
                    <a:pt x="65" y="51"/>
                  </a:cubicBezTo>
                  <a:cubicBezTo>
                    <a:pt x="64" y="52"/>
                    <a:pt x="62" y="54"/>
                    <a:pt x="62" y="54"/>
                  </a:cubicBezTo>
                  <a:cubicBezTo>
                    <a:pt x="61" y="55"/>
                    <a:pt x="57" y="54"/>
                    <a:pt x="56" y="54"/>
                  </a:cubicBezTo>
                  <a:cubicBezTo>
                    <a:pt x="53" y="53"/>
                    <a:pt x="53" y="53"/>
                    <a:pt x="53" y="53"/>
                  </a:cubicBezTo>
                  <a:cubicBezTo>
                    <a:pt x="53" y="53"/>
                    <a:pt x="49" y="51"/>
                    <a:pt x="48" y="49"/>
                  </a:cubicBezTo>
                  <a:cubicBezTo>
                    <a:pt x="48" y="48"/>
                    <a:pt x="47" y="47"/>
                    <a:pt x="46" y="47"/>
                  </a:cubicBezTo>
                  <a:cubicBezTo>
                    <a:pt x="46" y="46"/>
                    <a:pt x="45" y="45"/>
                    <a:pt x="45" y="45"/>
                  </a:cubicBezTo>
                  <a:cubicBezTo>
                    <a:pt x="43" y="42"/>
                    <a:pt x="44" y="41"/>
                    <a:pt x="44" y="41"/>
                  </a:cubicBezTo>
                  <a:cubicBezTo>
                    <a:pt x="42" y="38"/>
                    <a:pt x="42" y="38"/>
                    <a:pt x="42" y="38"/>
                  </a:cubicBezTo>
                  <a:cubicBezTo>
                    <a:pt x="36" y="35"/>
                    <a:pt x="36" y="35"/>
                    <a:pt x="36" y="35"/>
                  </a:cubicBezTo>
                  <a:cubicBezTo>
                    <a:pt x="33" y="33"/>
                    <a:pt x="33" y="33"/>
                    <a:pt x="33" y="33"/>
                  </a:cubicBezTo>
                  <a:cubicBezTo>
                    <a:pt x="29" y="31"/>
                    <a:pt x="29" y="31"/>
                    <a:pt x="29" y="31"/>
                  </a:cubicBezTo>
                  <a:cubicBezTo>
                    <a:pt x="29" y="29"/>
                    <a:pt x="28" y="25"/>
                    <a:pt x="28" y="24"/>
                  </a:cubicBezTo>
                  <a:cubicBezTo>
                    <a:pt x="28" y="24"/>
                    <a:pt x="27" y="25"/>
                    <a:pt x="27" y="25"/>
                  </a:cubicBezTo>
                  <a:cubicBezTo>
                    <a:pt x="26" y="26"/>
                    <a:pt x="25" y="26"/>
                    <a:pt x="25" y="26"/>
                  </a:cubicBezTo>
                  <a:cubicBezTo>
                    <a:pt x="24" y="26"/>
                    <a:pt x="21" y="29"/>
                    <a:pt x="19" y="31"/>
                  </a:cubicBezTo>
                  <a:cubicBezTo>
                    <a:pt x="15" y="35"/>
                    <a:pt x="15" y="35"/>
                    <a:pt x="15" y="35"/>
                  </a:cubicBezTo>
                  <a:cubicBezTo>
                    <a:pt x="15" y="35"/>
                    <a:pt x="10" y="35"/>
                    <a:pt x="9" y="36"/>
                  </a:cubicBezTo>
                  <a:cubicBezTo>
                    <a:pt x="9" y="36"/>
                    <a:pt x="8" y="37"/>
                    <a:pt x="8" y="39"/>
                  </a:cubicBezTo>
                  <a:cubicBezTo>
                    <a:pt x="5" y="53"/>
                    <a:pt x="5" y="53"/>
                    <a:pt x="5" y="53"/>
                  </a:cubicBezTo>
                  <a:cubicBezTo>
                    <a:pt x="6" y="58"/>
                    <a:pt x="6" y="58"/>
                    <a:pt x="6" y="58"/>
                  </a:cubicBezTo>
                  <a:cubicBezTo>
                    <a:pt x="6" y="58"/>
                    <a:pt x="5" y="64"/>
                    <a:pt x="5" y="64"/>
                  </a:cubicBezTo>
                  <a:cubicBezTo>
                    <a:pt x="5" y="65"/>
                    <a:pt x="5" y="65"/>
                    <a:pt x="3" y="67"/>
                  </a:cubicBezTo>
                  <a:cubicBezTo>
                    <a:pt x="2" y="69"/>
                    <a:pt x="0" y="71"/>
                    <a:pt x="0" y="71"/>
                  </a:cubicBezTo>
                  <a:cubicBezTo>
                    <a:pt x="0" y="72"/>
                    <a:pt x="0" y="75"/>
                    <a:pt x="0" y="75"/>
                  </a:cubicBezTo>
                  <a:cubicBezTo>
                    <a:pt x="0" y="75"/>
                    <a:pt x="1" y="83"/>
                    <a:pt x="2" y="84"/>
                  </a:cubicBezTo>
                  <a:cubicBezTo>
                    <a:pt x="3" y="86"/>
                    <a:pt x="3" y="89"/>
                    <a:pt x="3" y="89"/>
                  </a:cubicBezTo>
                  <a:cubicBezTo>
                    <a:pt x="1" y="92"/>
                    <a:pt x="1" y="92"/>
                    <a:pt x="1" y="92"/>
                  </a:cubicBezTo>
                  <a:cubicBezTo>
                    <a:pt x="1" y="95"/>
                    <a:pt x="3" y="100"/>
                    <a:pt x="3" y="101"/>
                  </a:cubicBezTo>
                  <a:cubicBezTo>
                    <a:pt x="4" y="101"/>
                    <a:pt x="4" y="101"/>
                    <a:pt x="4" y="101"/>
                  </a:cubicBezTo>
                  <a:cubicBezTo>
                    <a:pt x="4" y="100"/>
                    <a:pt x="6" y="100"/>
                    <a:pt x="6" y="99"/>
                  </a:cubicBezTo>
                  <a:cubicBezTo>
                    <a:pt x="6" y="99"/>
                    <a:pt x="7" y="99"/>
                    <a:pt x="8" y="99"/>
                  </a:cubicBezTo>
                  <a:cubicBezTo>
                    <a:pt x="8" y="95"/>
                    <a:pt x="8" y="95"/>
                    <a:pt x="8" y="95"/>
                  </a:cubicBezTo>
                  <a:cubicBezTo>
                    <a:pt x="10" y="92"/>
                    <a:pt x="10" y="92"/>
                    <a:pt x="10" y="92"/>
                  </a:cubicBezTo>
                  <a:cubicBezTo>
                    <a:pt x="13" y="91"/>
                    <a:pt x="13" y="91"/>
                    <a:pt x="13" y="91"/>
                  </a:cubicBezTo>
                  <a:cubicBezTo>
                    <a:pt x="15" y="87"/>
                    <a:pt x="15" y="87"/>
                    <a:pt x="15" y="87"/>
                  </a:cubicBezTo>
                  <a:cubicBezTo>
                    <a:pt x="19" y="87"/>
                    <a:pt x="19" y="87"/>
                    <a:pt x="19" y="87"/>
                  </a:cubicBezTo>
                  <a:cubicBezTo>
                    <a:pt x="23" y="84"/>
                    <a:pt x="23" y="84"/>
                    <a:pt x="23" y="84"/>
                  </a:cubicBezTo>
                  <a:cubicBezTo>
                    <a:pt x="26" y="81"/>
                    <a:pt x="26" y="81"/>
                    <a:pt x="26" y="81"/>
                  </a:cubicBezTo>
                  <a:cubicBezTo>
                    <a:pt x="32" y="81"/>
                    <a:pt x="32" y="81"/>
                    <a:pt x="32" y="81"/>
                  </a:cubicBezTo>
                  <a:cubicBezTo>
                    <a:pt x="33" y="81"/>
                    <a:pt x="34" y="81"/>
                    <a:pt x="37" y="80"/>
                  </a:cubicBezTo>
                  <a:cubicBezTo>
                    <a:pt x="37" y="80"/>
                    <a:pt x="41" y="79"/>
                    <a:pt x="43" y="79"/>
                  </a:cubicBezTo>
                  <a:cubicBezTo>
                    <a:pt x="46" y="76"/>
                    <a:pt x="46" y="76"/>
                    <a:pt x="46" y="76"/>
                  </a:cubicBezTo>
                  <a:cubicBezTo>
                    <a:pt x="47" y="77"/>
                    <a:pt x="47" y="77"/>
                    <a:pt x="47" y="77"/>
                  </a:cubicBezTo>
                  <a:cubicBezTo>
                    <a:pt x="48" y="77"/>
                    <a:pt x="51" y="78"/>
                    <a:pt x="51" y="79"/>
                  </a:cubicBezTo>
                  <a:cubicBezTo>
                    <a:pt x="52" y="80"/>
                    <a:pt x="52" y="80"/>
                    <a:pt x="52" y="80"/>
                  </a:cubicBezTo>
                  <a:cubicBezTo>
                    <a:pt x="52" y="80"/>
                    <a:pt x="53" y="79"/>
                    <a:pt x="53" y="79"/>
                  </a:cubicBezTo>
                  <a:cubicBezTo>
                    <a:pt x="53" y="78"/>
                    <a:pt x="53" y="78"/>
                    <a:pt x="53" y="78"/>
                  </a:cubicBezTo>
                  <a:cubicBezTo>
                    <a:pt x="62" y="76"/>
                    <a:pt x="62" y="76"/>
                    <a:pt x="62" y="76"/>
                  </a:cubicBezTo>
                  <a:cubicBezTo>
                    <a:pt x="63" y="76"/>
                    <a:pt x="64" y="75"/>
                    <a:pt x="65" y="75"/>
                  </a:cubicBezTo>
                  <a:cubicBezTo>
                    <a:pt x="65" y="75"/>
                    <a:pt x="65" y="75"/>
                    <a:pt x="65" y="75"/>
                  </a:cubicBezTo>
                  <a:cubicBezTo>
                    <a:pt x="65" y="75"/>
                    <a:pt x="65" y="75"/>
                    <a:pt x="65" y="75"/>
                  </a:cubicBezTo>
                  <a:cubicBezTo>
                    <a:pt x="66" y="75"/>
                    <a:pt x="68" y="76"/>
                    <a:pt x="71" y="76"/>
                  </a:cubicBezTo>
                  <a:cubicBezTo>
                    <a:pt x="75" y="76"/>
                    <a:pt x="75" y="76"/>
                    <a:pt x="75" y="76"/>
                  </a:cubicBezTo>
                  <a:cubicBezTo>
                    <a:pt x="75" y="76"/>
                    <a:pt x="75" y="76"/>
                    <a:pt x="75" y="76"/>
                  </a:cubicBezTo>
                  <a:cubicBezTo>
                    <a:pt x="77" y="77"/>
                    <a:pt x="77" y="77"/>
                    <a:pt x="78" y="77"/>
                  </a:cubicBezTo>
                  <a:cubicBezTo>
                    <a:pt x="78" y="76"/>
                    <a:pt x="79" y="75"/>
                    <a:pt x="80" y="74"/>
                  </a:cubicBezTo>
                  <a:cubicBezTo>
                    <a:pt x="80" y="73"/>
                    <a:pt x="80" y="73"/>
                    <a:pt x="80" y="73"/>
                  </a:cubicBezTo>
                  <a:cubicBezTo>
                    <a:pt x="85" y="74"/>
                    <a:pt x="85" y="74"/>
                    <a:pt x="85" y="74"/>
                  </a:cubicBezTo>
                  <a:cubicBezTo>
                    <a:pt x="85" y="74"/>
                    <a:pt x="85" y="74"/>
                    <a:pt x="85" y="74"/>
                  </a:cubicBezTo>
                  <a:cubicBezTo>
                    <a:pt x="88" y="69"/>
                    <a:pt x="88" y="68"/>
                    <a:pt x="89" y="68"/>
                  </a:cubicBezTo>
                  <a:cubicBezTo>
                    <a:pt x="89" y="68"/>
                    <a:pt x="92" y="66"/>
                    <a:pt x="92" y="66"/>
                  </a:cubicBezTo>
                  <a:cubicBezTo>
                    <a:pt x="94" y="65"/>
                    <a:pt x="94" y="65"/>
                    <a:pt x="94" y="65"/>
                  </a:cubicBezTo>
                  <a:cubicBezTo>
                    <a:pt x="97" y="71"/>
                    <a:pt x="97" y="71"/>
                    <a:pt x="97" y="71"/>
                  </a:cubicBezTo>
                  <a:cubicBezTo>
                    <a:pt x="101" y="74"/>
                    <a:pt x="101" y="74"/>
                    <a:pt x="101" y="74"/>
                  </a:cubicBezTo>
                  <a:cubicBezTo>
                    <a:pt x="103" y="76"/>
                    <a:pt x="103" y="76"/>
                    <a:pt x="103" y="76"/>
                  </a:cubicBezTo>
                  <a:cubicBezTo>
                    <a:pt x="107" y="74"/>
                    <a:pt x="107" y="74"/>
                    <a:pt x="107" y="74"/>
                  </a:cubicBezTo>
                  <a:cubicBezTo>
                    <a:pt x="114" y="74"/>
                    <a:pt x="114" y="74"/>
                    <a:pt x="114" y="74"/>
                  </a:cubicBezTo>
                  <a:cubicBezTo>
                    <a:pt x="116" y="76"/>
                    <a:pt x="116" y="76"/>
                    <a:pt x="116" y="76"/>
                  </a:cubicBezTo>
                  <a:cubicBezTo>
                    <a:pt x="118" y="76"/>
                    <a:pt x="118" y="76"/>
                    <a:pt x="118" y="76"/>
                  </a:cubicBezTo>
                  <a:cubicBezTo>
                    <a:pt x="122" y="77"/>
                    <a:pt x="122" y="77"/>
                    <a:pt x="122" y="77"/>
                  </a:cubicBezTo>
                  <a:cubicBezTo>
                    <a:pt x="124" y="80"/>
                    <a:pt x="124" y="80"/>
                    <a:pt x="124" y="80"/>
                  </a:cubicBezTo>
                  <a:cubicBezTo>
                    <a:pt x="127" y="80"/>
                    <a:pt x="127" y="80"/>
                    <a:pt x="127" y="80"/>
                  </a:cubicBezTo>
                  <a:cubicBezTo>
                    <a:pt x="130" y="84"/>
                    <a:pt x="130" y="84"/>
                    <a:pt x="130" y="84"/>
                  </a:cubicBezTo>
                  <a:cubicBezTo>
                    <a:pt x="132" y="84"/>
                    <a:pt x="132" y="84"/>
                    <a:pt x="132" y="84"/>
                  </a:cubicBezTo>
                  <a:cubicBezTo>
                    <a:pt x="133" y="87"/>
                    <a:pt x="133" y="87"/>
                    <a:pt x="133" y="87"/>
                  </a:cubicBezTo>
                  <a:cubicBezTo>
                    <a:pt x="141" y="88"/>
                    <a:pt x="141" y="88"/>
                    <a:pt x="141" y="88"/>
                  </a:cubicBezTo>
                  <a:cubicBezTo>
                    <a:pt x="141" y="88"/>
                    <a:pt x="142" y="87"/>
                    <a:pt x="143" y="87"/>
                  </a:cubicBezTo>
                  <a:cubicBezTo>
                    <a:pt x="144" y="86"/>
                    <a:pt x="145" y="86"/>
                    <a:pt x="146" y="86"/>
                  </a:cubicBezTo>
                  <a:cubicBezTo>
                    <a:pt x="147" y="82"/>
                    <a:pt x="147" y="82"/>
                    <a:pt x="147" y="82"/>
                  </a:cubicBezTo>
                  <a:cubicBezTo>
                    <a:pt x="149" y="80"/>
                    <a:pt x="149" y="80"/>
                    <a:pt x="149" y="80"/>
                  </a:cubicBezTo>
                  <a:cubicBezTo>
                    <a:pt x="149" y="79"/>
                    <a:pt x="151" y="78"/>
                    <a:pt x="153" y="78"/>
                  </a:cubicBezTo>
                  <a:cubicBezTo>
                    <a:pt x="155" y="78"/>
                    <a:pt x="155" y="78"/>
                    <a:pt x="155" y="78"/>
                  </a:cubicBezTo>
                  <a:cubicBezTo>
                    <a:pt x="157" y="78"/>
                    <a:pt x="157" y="78"/>
                    <a:pt x="157" y="78"/>
                  </a:cubicBezTo>
                  <a:cubicBezTo>
                    <a:pt x="158" y="78"/>
                    <a:pt x="158" y="78"/>
                    <a:pt x="158" y="78"/>
                  </a:cubicBezTo>
                  <a:cubicBezTo>
                    <a:pt x="163" y="78"/>
                    <a:pt x="163" y="78"/>
                    <a:pt x="163" y="78"/>
                  </a:cubicBezTo>
                  <a:cubicBezTo>
                    <a:pt x="163" y="78"/>
                    <a:pt x="163" y="78"/>
                    <a:pt x="163" y="78"/>
                  </a:cubicBezTo>
                  <a:cubicBezTo>
                    <a:pt x="162" y="74"/>
                    <a:pt x="162" y="74"/>
                    <a:pt x="162" y="74"/>
                  </a:cubicBezTo>
                  <a:cubicBezTo>
                    <a:pt x="166" y="69"/>
                    <a:pt x="166" y="69"/>
                    <a:pt x="166" y="69"/>
                  </a:cubicBezTo>
                  <a:cubicBezTo>
                    <a:pt x="167" y="63"/>
                    <a:pt x="167" y="63"/>
                    <a:pt x="167" y="63"/>
                  </a:cubicBezTo>
                  <a:cubicBezTo>
                    <a:pt x="171" y="61"/>
                    <a:pt x="171" y="61"/>
                    <a:pt x="171" y="61"/>
                  </a:cubicBezTo>
                  <a:cubicBezTo>
                    <a:pt x="171" y="60"/>
                    <a:pt x="171" y="59"/>
                    <a:pt x="171" y="58"/>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8" name="Freeform 233"/>
            <p:cNvSpPr>
              <a:spLocks/>
            </p:cNvSpPr>
            <p:nvPr/>
          </p:nvSpPr>
          <p:spPr bwMode="auto">
            <a:xfrm>
              <a:off x="8158628" y="4531258"/>
              <a:ext cx="194961" cy="104844"/>
            </a:xfrm>
            <a:custGeom>
              <a:avLst/>
              <a:gdLst>
                <a:gd name="T0" fmla="*/ 64 w 67"/>
                <a:gd name="T1" fmla="*/ 30 h 38"/>
                <a:gd name="T2" fmla="*/ 66 w 67"/>
                <a:gd name="T3" fmla="*/ 27 h 38"/>
                <a:gd name="T4" fmla="*/ 67 w 67"/>
                <a:gd name="T5" fmla="*/ 24 h 38"/>
                <a:gd name="T6" fmla="*/ 65 w 67"/>
                <a:gd name="T7" fmla="*/ 22 h 38"/>
                <a:gd name="T8" fmla="*/ 65 w 67"/>
                <a:gd name="T9" fmla="*/ 20 h 38"/>
                <a:gd name="T10" fmla="*/ 64 w 67"/>
                <a:gd name="T11" fmla="*/ 16 h 38"/>
                <a:gd name="T12" fmla="*/ 62 w 67"/>
                <a:gd name="T13" fmla="*/ 12 h 38"/>
                <a:gd name="T14" fmla="*/ 61 w 67"/>
                <a:gd name="T15" fmla="*/ 12 h 38"/>
                <a:gd name="T16" fmla="*/ 61 w 67"/>
                <a:gd name="T17" fmla="*/ 11 h 38"/>
                <a:gd name="T18" fmla="*/ 65 w 67"/>
                <a:gd name="T19" fmla="*/ 8 h 38"/>
                <a:gd name="T20" fmla="*/ 67 w 67"/>
                <a:gd name="T21" fmla="*/ 5 h 38"/>
                <a:gd name="T22" fmla="*/ 66 w 67"/>
                <a:gd name="T23" fmla="*/ 3 h 38"/>
                <a:gd name="T24" fmla="*/ 65 w 67"/>
                <a:gd name="T25" fmla="*/ 4 h 38"/>
                <a:gd name="T26" fmla="*/ 62 w 67"/>
                <a:gd name="T27" fmla="*/ 4 h 38"/>
                <a:gd name="T28" fmla="*/ 57 w 67"/>
                <a:gd name="T29" fmla="*/ 5 h 38"/>
                <a:gd name="T30" fmla="*/ 55 w 67"/>
                <a:gd name="T31" fmla="*/ 5 h 38"/>
                <a:gd name="T32" fmla="*/ 53 w 67"/>
                <a:gd name="T33" fmla="*/ 5 h 38"/>
                <a:gd name="T34" fmla="*/ 47 w 67"/>
                <a:gd name="T35" fmla="*/ 4 h 38"/>
                <a:gd name="T36" fmla="*/ 43 w 67"/>
                <a:gd name="T37" fmla="*/ 3 h 38"/>
                <a:gd name="T38" fmla="*/ 37 w 67"/>
                <a:gd name="T39" fmla="*/ 3 h 38"/>
                <a:gd name="T40" fmla="*/ 31 w 67"/>
                <a:gd name="T41" fmla="*/ 4 h 38"/>
                <a:gd name="T42" fmla="*/ 20 w 67"/>
                <a:gd name="T43" fmla="*/ 0 h 38"/>
                <a:gd name="T44" fmla="*/ 17 w 67"/>
                <a:gd name="T45" fmla="*/ 2 h 38"/>
                <a:gd name="T46" fmla="*/ 11 w 67"/>
                <a:gd name="T47" fmla="*/ 1 h 38"/>
                <a:gd name="T48" fmla="*/ 4 w 67"/>
                <a:gd name="T49" fmla="*/ 1 h 38"/>
                <a:gd name="T50" fmla="*/ 3 w 67"/>
                <a:gd name="T51" fmla="*/ 6 h 38"/>
                <a:gd name="T52" fmla="*/ 0 w 67"/>
                <a:gd name="T53" fmla="*/ 7 h 38"/>
                <a:gd name="T54" fmla="*/ 5 w 67"/>
                <a:gd name="T55" fmla="*/ 10 h 38"/>
                <a:gd name="T56" fmla="*/ 10 w 67"/>
                <a:gd name="T57" fmla="*/ 14 h 38"/>
                <a:gd name="T58" fmla="*/ 13 w 67"/>
                <a:gd name="T59" fmla="*/ 16 h 38"/>
                <a:gd name="T60" fmla="*/ 14 w 67"/>
                <a:gd name="T61" fmla="*/ 15 h 38"/>
                <a:gd name="T62" fmla="*/ 16 w 67"/>
                <a:gd name="T63" fmla="*/ 16 h 38"/>
                <a:gd name="T64" fmla="*/ 18 w 67"/>
                <a:gd name="T65" fmla="*/ 16 h 38"/>
                <a:gd name="T66" fmla="*/ 23 w 67"/>
                <a:gd name="T67" fmla="*/ 17 h 38"/>
                <a:gd name="T68" fmla="*/ 31 w 67"/>
                <a:gd name="T69" fmla="*/ 17 h 38"/>
                <a:gd name="T70" fmla="*/ 32 w 67"/>
                <a:gd name="T71" fmla="*/ 19 h 38"/>
                <a:gd name="T72" fmla="*/ 35 w 67"/>
                <a:gd name="T73" fmla="*/ 18 h 38"/>
                <a:gd name="T74" fmla="*/ 37 w 67"/>
                <a:gd name="T75" fmla="*/ 20 h 38"/>
                <a:gd name="T76" fmla="*/ 40 w 67"/>
                <a:gd name="T77" fmla="*/ 24 h 38"/>
                <a:gd name="T78" fmla="*/ 43 w 67"/>
                <a:gd name="T79" fmla="*/ 24 h 38"/>
                <a:gd name="T80" fmla="*/ 46 w 67"/>
                <a:gd name="T81" fmla="*/ 24 h 38"/>
                <a:gd name="T82" fmla="*/ 49 w 67"/>
                <a:gd name="T83" fmla="*/ 25 h 38"/>
                <a:gd name="T84" fmla="*/ 53 w 67"/>
                <a:gd name="T85" fmla="*/ 27 h 38"/>
                <a:gd name="T86" fmla="*/ 58 w 67"/>
                <a:gd name="T87" fmla="*/ 37 h 38"/>
                <a:gd name="T88" fmla="*/ 60 w 67"/>
                <a:gd name="T89" fmla="*/ 37 h 38"/>
                <a:gd name="T90" fmla="*/ 61 w 67"/>
                <a:gd name="T91" fmla="*/ 34 h 38"/>
                <a:gd name="T92" fmla="*/ 63 w 67"/>
                <a:gd name="T93" fmla="*/ 3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7" h="38">
                  <a:moveTo>
                    <a:pt x="63" y="32"/>
                  </a:moveTo>
                  <a:cubicBezTo>
                    <a:pt x="63" y="32"/>
                    <a:pt x="63" y="31"/>
                    <a:pt x="64" y="30"/>
                  </a:cubicBezTo>
                  <a:cubicBezTo>
                    <a:pt x="64" y="29"/>
                    <a:pt x="65" y="29"/>
                    <a:pt x="65" y="28"/>
                  </a:cubicBezTo>
                  <a:cubicBezTo>
                    <a:pt x="66" y="27"/>
                    <a:pt x="66" y="27"/>
                    <a:pt x="66" y="27"/>
                  </a:cubicBezTo>
                  <a:cubicBezTo>
                    <a:pt x="66" y="26"/>
                    <a:pt x="67" y="26"/>
                    <a:pt x="67" y="26"/>
                  </a:cubicBezTo>
                  <a:cubicBezTo>
                    <a:pt x="67" y="26"/>
                    <a:pt x="67" y="25"/>
                    <a:pt x="67" y="24"/>
                  </a:cubicBezTo>
                  <a:cubicBezTo>
                    <a:pt x="67" y="24"/>
                    <a:pt x="67" y="24"/>
                    <a:pt x="66" y="24"/>
                  </a:cubicBezTo>
                  <a:cubicBezTo>
                    <a:pt x="66" y="24"/>
                    <a:pt x="65" y="22"/>
                    <a:pt x="65" y="22"/>
                  </a:cubicBezTo>
                  <a:cubicBezTo>
                    <a:pt x="65" y="22"/>
                    <a:pt x="65" y="21"/>
                    <a:pt x="65" y="21"/>
                  </a:cubicBezTo>
                  <a:cubicBezTo>
                    <a:pt x="65" y="21"/>
                    <a:pt x="65" y="20"/>
                    <a:pt x="65" y="20"/>
                  </a:cubicBezTo>
                  <a:cubicBezTo>
                    <a:pt x="65" y="20"/>
                    <a:pt x="64" y="19"/>
                    <a:pt x="63" y="19"/>
                  </a:cubicBezTo>
                  <a:cubicBezTo>
                    <a:pt x="63" y="18"/>
                    <a:pt x="63" y="17"/>
                    <a:pt x="64" y="16"/>
                  </a:cubicBezTo>
                  <a:cubicBezTo>
                    <a:pt x="63" y="14"/>
                    <a:pt x="63" y="14"/>
                    <a:pt x="63" y="14"/>
                  </a:cubicBezTo>
                  <a:cubicBezTo>
                    <a:pt x="63" y="14"/>
                    <a:pt x="62" y="13"/>
                    <a:pt x="62" y="12"/>
                  </a:cubicBezTo>
                  <a:cubicBezTo>
                    <a:pt x="61" y="12"/>
                    <a:pt x="61" y="12"/>
                    <a:pt x="61" y="12"/>
                  </a:cubicBezTo>
                  <a:cubicBezTo>
                    <a:pt x="61" y="12"/>
                    <a:pt x="61" y="12"/>
                    <a:pt x="61" y="12"/>
                  </a:cubicBezTo>
                  <a:cubicBezTo>
                    <a:pt x="61" y="12"/>
                    <a:pt x="61" y="12"/>
                    <a:pt x="61" y="12"/>
                  </a:cubicBezTo>
                  <a:cubicBezTo>
                    <a:pt x="61" y="11"/>
                    <a:pt x="61" y="11"/>
                    <a:pt x="61" y="11"/>
                  </a:cubicBezTo>
                  <a:cubicBezTo>
                    <a:pt x="61" y="11"/>
                    <a:pt x="62" y="10"/>
                    <a:pt x="62" y="9"/>
                  </a:cubicBezTo>
                  <a:cubicBezTo>
                    <a:pt x="63" y="8"/>
                    <a:pt x="64" y="8"/>
                    <a:pt x="65" y="8"/>
                  </a:cubicBezTo>
                  <a:cubicBezTo>
                    <a:pt x="65" y="8"/>
                    <a:pt x="65" y="8"/>
                    <a:pt x="65" y="7"/>
                  </a:cubicBezTo>
                  <a:cubicBezTo>
                    <a:pt x="66" y="7"/>
                    <a:pt x="66" y="6"/>
                    <a:pt x="67" y="5"/>
                  </a:cubicBezTo>
                  <a:cubicBezTo>
                    <a:pt x="67" y="4"/>
                    <a:pt x="67" y="4"/>
                    <a:pt x="67" y="3"/>
                  </a:cubicBezTo>
                  <a:cubicBezTo>
                    <a:pt x="66" y="3"/>
                    <a:pt x="66" y="3"/>
                    <a:pt x="66" y="3"/>
                  </a:cubicBezTo>
                  <a:cubicBezTo>
                    <a:pt x="65" y="4"/>
                    <a:pt x="65" y="4"/>
                    <a:pt x="65" y="4"/>
                  </a:cubicBezTo>
                  <a:cubicBezTo>
                    <a:pt x="65" y="4"/>
                    <a:pt x="65" y="4"/>
                    <a:pt x="65" y="4"/>
                  </a:cubicBezTo>
                  <a:cubicBezTo>
                    <a:pt x="64" y="4"/>
                    <a:pt x="64" y="4"/>
                    <a:pt x="63" y="4"/>
                  </a:cubicBezTo>
                  <a:cubicBezTo>
                    <a:pt x="63" y="4"/>
                    <a:pt x="62" y="4"/>
                    <a:pt x="62" y="4"/>
                  </a:cubicBezTo>
                  <a:cubicBezTo>
                    <a:pt x="62" y="4"/>
                    <a:pt x="62" y="4"/>
                    <a:pt x="62" y="4"/>
                  </a:cubicBezTo>
                  <a:cubicBezTo>
                    <a:pt x="61" y="4"/>
                    <a:pt x="59" y="5"/>
                    <a:pt x="57" y="5"/>
                  </a:cubicBezTo>
                  <a:cubicBezTo>
                    <a:pt x="57" y="5"/>
                    <a:pt x="57" y="5"/>
                    <a:pt x="57" y="5"/>
                  </a:cubicBezTo>
                  <a:cubicBezTo>
                    <a:pt x="56" y="5"/>
                    <a:pt x="55" y="5"/>
                    <a:pt x="55" y="5"/>
                  </a:cubicBezTo>
                  <a:cubicBezTo>
                    <a:pt x="55" y="5"/>
                    <a:pt x="54" y="5"/>
                    <a:pt x="54" y="5"/>
                  </a:cubicBezTo>
                  <a:cubicBezTo>
                    <a:pt x="54" y="5"/>
                    <a:pt x="54" y="5"/>
                    <a:pt x="53" y="5"/>
                  </a:cubicBezTo>
                  <a:cubicBezTo>
                    <a:pt x="53" y="5"/>
                    <a:pt x="52" y="6"/>
                    <a:pt x="51" y="6"/>
                  </a:cubicBezTo>
                  <a:cubicBezTo>
                    <a:pt x="49" y="6"/>
                    <a:pt x="48" y="5"/>
                    <a:pt x="47" y="4"/>
                  </a:cubicBezTo>
                  <a:cubicBezTo>
                    <a:pt x="44" y="4"/>
                    <a:pt x="44" y="4"/>
                    <a:pt x="44" y="4"/>
                  </a:cubicBezTo>
                  <a:cubicBezTo>
                    <a:pt x="43" y="3"/>
                    <a:pt x="43" y="3"/>
                    <a:pt x="43" y="3"/>
                  </a:cubicBezTo>
                  <a:cubicBezTo>
                    <a:pt x="42" y="3"/>
                    <a:pt x="41" y="3"/>
                    <a:pt x="40" y="3"/>
                  </a:cubicBezTo>
                  <a:cubicBezTo>
                    <a:pt x="39" y="3"/>
                    <a:pt x="38" y="3"/>
                    <a:pt x="37" y="3"/>
                  </a:cubicBezTo>
                  <a:cubicBezTo>
                    <a:pt x="37" y="3"/>
                    <a:pt x="36" y="2"/>
                    <a:pt x="36" y="2"/>
                  </a:cubicBezTo>
                  <a:cubicBezTo>
                    <a:pt x="31" y="4"/>
                    <a:pt x="31" y="4"/>
                    <a:pt x="31" y="4"/>
                  </a:cubicBezTo>
                  <a:cubicBezTo>
                    <a:pt x="24" y="1"/>
                    <a:pt x="24" y="1"/>
                    <a:pt x="24" y="1"/>
                  </a:cubicBezTo>
                  <a:cubicBezTo>
                    <a:pt x="20" y="0"/>
                    <a:pt x="20" y="0"/>
                    <a:pt x="20" y="0"/>
                  </a:cubicBezTo>
                  <a:cubicBezTo>
                    <a:pt x="18" y="0"/>
                    <a:pt x="18" y="0"/>
                    <a:pt x="18" y="0"/>
                  </a:cubicBezTo>
                  <a:cubicBezTo>
                    <a:pt x="17" y="2"/>
                    <a:pt x="17" y="2"/>
                    <a:pt x="17" y="2"/>
                  </a:cubicBezTo>
                  <a:cubicBezTo>
                    <a:pt x="11" y="2"/>
                    <a:pt x="11" y="2"/>
                    <a:pt x="11" y="2"/>
                  </a:cubicBezTo>
                  <a:cubicBezTo>
                    <a:pt x="11" y="1"/>
                    <a:pt x="11" y="1"/>
                    <a:pt x="11" y="1"/>
                  </a:cubicBezTo>
                  <a:cubicBezTo>
                    <a:pt x="9" y="1"/>
                    <a:pt x="7" y="1"/>
                    <a:pt x="6" y="1"/>
                  </a:cubicBezTo>
                  <a:cubicBezTo>
                    <a:pt x="5" y="1"/>
                    <a:pt x="5" y="1"/>
                    <a:pt x="4" y="1"/>
                  </a:cubicBezTo>
                  <a:cubicBezTo>
                    <a:pt x="4" y="1"/>
                    <a:pt x="3" y="2"/>
                    <a:pt x="3" y="2"/>
                  </a:cubicBezTo>
                  <a:cubicBezTo>
                    <a:pt x="3" y="3"/>
                    <a:pt x="3" y="4"/>
                    <a:pt x="3" y="6"/>
                  </a:cubicBezTo>
                  <a:cubicBezTo>
                    <a:pt x="2" y="6"/>
                    <a:pt x="1" y="7"/>
                    <a:pt x="0" y="7"/>
                  </a:cubicBezTo>
                  <a:cubicBezTo>
                    <a:pt x="0" y="7"/>
                    <a:pt x="0" y="7"/>
                    <a:pt x="0" y="7"/>
                  </a:cubicBezTo>
                  <a:cubicBezTo>
                    <a:pt x="0" y="8"/>
                    <a:pt x="0" y="9"/>
                    <a:pt x="0" y="9"/>
                  </a:cubicBezTo>
                  <a:cubicBezTo>
                    <a:pt x="5" y="10"/>
                    <a:pt x="5" y="10"/>
                    <a:pt x="5" y="10"/>
                  </a:cubicBezTo>
                  <a:cubicBezTo>
                    <a:pt x="8" y="11"/>
                    <a:pt x="8" y="11"/>
                    <a:pt x="8" y="11"/>
                  </a:cubicBezTo>
                  <a:cubicBezTo>
                    <a:pt x="10" y="14"/>
                    <a:pt x="10" y="14"/>
                    <a:pt x="10" y="14"/>
                  </a:cubicBezTo>
                  <a:cubicBezTo>
                    <a:pt x="11" y="15"/>
                    <a:pt x="12" y="16"/>
                    <a:pt x="12" y="16"/>
                  </a:cubicBezTo>
                  <a:cubicBezTo>
                    <a:pt x="12" y="16"/>
                    <a:pt x="13" y="16"/>
                    <a:pt x="13" y="16"/>
                  </a:cubicBezTo>
                  <a:cubicBezTo>
                    <a:pt x="13" y="16"/>
                    <a:pt x="13" y="15"/>
                    <a:pt x="13" y="15"/>
                  </a:cubicBezTo>
                  <a:cubicBezTo>
                    <a:pt x="14" y="15"/>
                    <a:pt x="14" y="15"/>
                    <a:pt x="14" y="15"/>
                  </a:cubicBezTo>
                  <a:cubicBezTo>
                    <a:pt x="15" y="16"/>
                    <a:pt x="15" y="16"/>
                    <a:pt x="16" y="16"/>
                  </a:cubicBezTo>
                  <a:cubicBezTo>
                    <a:pt x="16" y="16"/>
                    <a:pt x="16" y="16"/>
                    <a:pt x="16" y="16"/>
                  </a:cubicBezTo>
                  <a:cubicBezTo>
                    <a:pt x="16" y="16"/>
                    <a:pt x="16" y="16"/>
                    <a:pt x="17" y="16"/>
                  </a:cubicBezTo>
                  <a:cubicBezTo>
                    <a:pt x="17" y="16"/>
                    <a:pt x="18" y="16"/>
                    <a:pt x="18" y="16"/>
                  </a:cubicBezTo>
                  <a:cubicBezTo>
                    <a:pt x="19" y="16"/>
                    <a:pt x="20" y="16"/>
                    <a:pt x="21" y="17"/>
                  </a:cubicBezTo>
                  <a:cubicBezTo>
                    <a:pt x="21" y="17"/>
                    <a:pt x="22" y="17"/>
                    <a:pt x="23" y="17"/>
                  </a:cubicBezTo>
                  <a:cubicBezTo>
                    <a:pt x="23" y="16"/>
                    <a:pt x="24" y="16"/>
                    <a:pt x="24" y="16"/>
                  </a:cubicBezTo>
                  <a:cubicBezTo>
                    <a:pt x="26" y="15"/>
                    <a:pt x="29" y="15"/>
                    <a:pt x="31" y="17"/>
                  </a:cubicBezTo>
                  <a:cubicBezTo>
                    <a:pt x="31" y="18"/>
                    <a:pt x="31" y="18"/>
                    <a:pt x="32" y="19"/>
                  </a:cubicBezTo>
                  <a:cubicBezTo>
                    <a:pt x="32" y="19"/>
                    <a:pt x="32" y="19"/>
                    <a:pt x="32" y="19"/>
                  </a:cubicBezTo>
                  <a:cubicBezTo>
                    <a:pt x="33" y="19"/>
                    <a:pt x="33" y="19"/>
                    <a:pt x="33" y="19"/>
                  </a:cubicBezTo>
                  <a:cubicBezTo>
                    <a:pt x="33" y="18"/>
                    <a:pt x="34" y="18"/>
                    <a:pt x="35" y="18"/>
                  </a:cubicBezTo>
                  <a:cubicBezTo>
                    <a:pt x="35" y="18"/>
                    <a:pt x="36" y="18"/>
                    <a:pt x="36" y="19"/>
                  </a:cubicBezTo>
                  <a:cubicBezTo>
                    <a:pt x="37" y="19"/>
                    <a:pt x="37" y="19"/>
                    <a:pt x="37" y="20"/>
                  </a:cubicBezTo>
                  <a:cubicBezTo>
                    <a:pt x="38" y="20"/>
                    <a:pt x="38" y="21"/>
                    <a:pt x="39" y="22"/>
                  </a:cubicBezTo>
                  <a:cubicBezTo>
                    <a:pt x="39" y="23"/>
                    <a:pt x="39" y="23"/>
                    <a:pt x="40" y="24"/>
                  </a:cubicBezTo>
                  <a:cubicBezTo>
                    <a:pt x="41" y="25"/>
                    <a:pt x="41" y="25"/>
                    <a:pt x="42" y="25"/>
                  </a:cubicBezTo>
                  <a:cubicBezTo>
                    <a:pt x="43" y="25"/>
                    <a:pt x="43" y="24"/>
                    <a:pt x="43" y="24"/>
                  </a:cubicBezTo>
                  <a:cubicBezTo>
                    <a:pt x="43" y="24"/>
                    <a:pt x="44" y="24"/>
                    <a:pt x="44" y="24"/>
                  </a:cubicBezTo>
                  <a:cubicBezTo>
                    <a:pt x="45" y="24"/>
                    <a:pt x="45" y="24"/>
                    <a:pt x="46" y="24"/>
                  </a:cubicBezTo>
                  <a:cubicBezTo>
                    <a:pt x="46" y="25"/>
                    <a:pt x="47" y="25"/>
                    <a:pt x="47" y="25"/>
                  </a:cubicBezTo>
                  <a:cubicBezTo>
                    <a:pt x="48" y="25"/>
                    <a:pt x="49" y="25"/>
                    <a:pt x="49" y="25"/>
                  </a:cubicBezTo>
                  <a:cubicBezTo>
                    <a:pt x="51" y="25"/>
                    <a:pt x="52" y="25"/>
                    <a:pt x="52" y="26"/>
                  </a:cubicBezTo>
                  <a:cubicBezTo>
                    <a:pt x="53" y="27"/>
                    <a:pt x="53" y="27"/>
                    <a:pt x="53" y="27"/>
                  </a:cubicBezTo>
                  <a:cubicBezTo>
                    <a:pt x="54" y="29"/>
                    <a:pt x="55" y="30"/>
                    <a:pt x="55" y="32"/>
                  </a:cubicBezTo>
                  <a:cubicBezTo>
                    <a:pt x="56" y="34"/>
                    <a:pt x="57" y="36"/>
                    <a:pt x="58" y="37"/>
                  </a:cubicBezTo>
                  <a:cubicBezTo>
                    <a:pt x="58" y="38"/>
                    <a:pt x="58" y="38"/>
                    <a:pt x="58" y="38"/>
                  </a:cubicBezTo>
                  <a:cubicBezTo>
                    <a:pt x="60" y="37"/>
                    <a:pt x="60" y="37"/>
                    <a:pt x="60" y="37"/>
                  </a:cubicBezTo>
                  <a:cubicBezTo>
                    <a:pt x="60" y="35"/>
                    <a:pt x="60" y="35"/>
                    <a:pt x="60" y="35"/>
                  </a:cubicBezTo>
                  <a:cubicBezTo>
                    <a:pt x="60" y="35"/>
                    <a:pt x="60" y="35"/>
                    <a:pt x="61" y="34"/>
                  </a:cubicBezTo>
                  <a:cubicBezTo>
                    <a:pt x="62" y="33"/>
                    <a:pt x="62" y="33"/>
                    <a:pt x="62" y="33"/>
                  </a:cubicBezTo>
                  <a:cubicBezTo>
                    <a:pt x="63" y="33"/>
                    <a:pt x="63" y="32"/>
                    <a:pt x="63" y="32"/>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9" name="Freeform 234"/>
            <p:cNvSpPr>
              <a:spLocks/>
            </p:cNvSpPr>
            <p:nvPr/>
          </p:nvSpPr>
          <p:spPr bwMode="auto">
            <a:xfrm>
              <a:off x="8503779" y="4553044"/>
              <a:ext cx="106867" cy="66718"/>
            </a:xfrm>
            <a:custGeom>
              <a:avLst/>
              <a:gdLst>
                <a:gd name="T0" fmla="*/ 13 w 37"/>
                <a:gd name="T1" fmla="*/ 24 h 24"/>
                <a:gd name="T2" fmla="*/ 14 w 37"/>
                <a:gd name="T3" fmla="*/ 21 h 24"/>
                <a:gd name="T4" fmla="*/ 15 w 37"/>
                <a:gd name="T5" fmla="*/ 19 h 24"/>
                <a:gd name="T6" fmla="*/ 18 w 37"/>
                <a:gd name="T7" fmla="*/ 18 h 24"/>
                <a:gd name="T8" fmla="*/ 22 w 37"/>
                <a:gd name="T9" fmla="*/ 18 h 24"/>
                <a:gd name="T10" fmla="*/ 23 w 37"/>
                <a:gd name="T11" fmla="*/ 20 h 24"/>
                <a:gd name="T12" fmla="*/ 24 w 37"/>
                <a:gd name="T13" fmla="*/ 21 h 24"/>
                <a:gd name="T14" fmla="*/ 25 w 37"/>
                <a:gd name="T15" fmla="*/ 20 h 24"/>
                <a:gd name="T16" fmla="*/ 27 w 37"/>
                <a:gd name="T17" fmla="*/ 22 h 24"/>
                <a:gd name="T18" fmla="*/ 30 w 37"/>
                <a:gd name="T19" fmla="*/ 23 h 24"/>
                <a:gd name="T20" fmla="*/ 32 w 37"/>
                <a:gd name="T21" fmla="*/ 22 h 24"/>
                <a:gd name="T22" fmla="*/ 36 w 37"/>
                <a:gd name="T23" fmla="*/ 21 h 24"/>
                <a:gd name="T24" fmla="*/ 37 w 37"/>
                <a:gd name="T25" fmla="*/ 17 h 24"/>
                <a:gd name="T26" fmla="*/ 37 w 37"/>
                <a:gd name="T27" fmla="*/ 13 h 24"/>
                <a:gd name="T28" fmla="*/ 35 w 37"/>
                <a:gd name="T29" fmla="*/ 10 h 24"/>
                <a:gd name="T30" fmla="*/ 34 w 37"/>
                <a:gd name="T31" fmla="*/ 7 h 24"/>
                <a:gd name="T32" fmla="*/ 33 w 37"/>
                <a:gd name="T33" fmla="*/ 7 h 24"/>
                <a:gd name="T34" fmla="*/ 31 w 37"/>
                <a:gd name="T35" fmla="*/ 5 h 24"/>
                <a:gd name="T36" fmla="*/ 30 w 37"/>
                <a:gd name="T37" fmla="*/ 5 h 24"/>
                <a:gd name="T38" fmla="*/ 29 w 37"/>
                <a:gd name="T39" fmla="*/ 5 h 24"/>
                <a:gd name="T40" fmla="*/ 26 w 37"/>
                <a:gd name="T41" fmla="*/ 4 h 24"/>
                <a:gd name="T42" fmla="*/ 25 w 37"/>
                <a:gd name="T43" fmla="*/ 2 h 24"/>
                <a:gd name="T44" fmla="*/ 24 w 37"/>
                <a:gd name="T45" fmla="*/ 1 h 24"/>
                <a:gd name="T46" fmla="*/ 21 w 37"/>
                <a:gd name="T47" fmla="*/ 0 h 24"/>
                <a:gd name="T48" fmla="*/ 20 w 37"/>
                <a:gd name="T49" fmla="*/ 1 h 24"/>
                <a:gd name="T50" fmla="*/ 17 w 37"/>
                <a:gd name="T51" fmla="*/ 2 h 24"/>
                <a:gd name="T52" fmla="*/ 12 w 37"/>
                <a:gd name="T53" fmla="*/ 6 h 24"/>
                <a:gd name="T54" fmla="*/ 5 w 37"/>
                <a:gd name="T55" fmla="*/ 6 h 24"/>
                <a:gd name="T56" fmla="*/ 2 w 37"/>
                <a:gd name="T57" fmla="*/ 4 h 24"/>
                <a:gd name="T58" fmla="*/ 0 w 37"/>
                <a:gd name="T59" fmla="*/ 7 h 24"/>
                <a:gd name="T60" fmla="*/ 2 w 37"/>
                <a:gd name="T61" fmla="*/ 12 h 24"/>
                <a:gd name="T62" fmla="*/ 4 w 37"/>
                <a:gd name="T63" fmla="*/ 16 h 24"/>
                <a:gd name="T64" fmla="*/ 5 w 37"/>
                <a:gd name="T65" fmla="*/ 19 h 24"/>
                <a:gd name="T66" fmla="*/ 5 w 37"/>
                <a:gd name="T67" fmla="*/ 21 h 24"/>
                <a:gd name="T68" fmla="*/ 7 w 37"/>
                <a:gd name="T69" fmla="*/ 23 h 24"/>
                <a:gd name="T70" fmla="*/ 9 w 37"/>
                <a:gd name="T71" fmla="*/ 24 h 24"/>
                <a:gd name="T72" fmla="*/ 11 w 37"/>
                <a:gd name="T73" fmla="*/ 23 h 24"/>
                <a:gd name="T74" fmla="*/ 13 w 37"/>
                <a:gd name="T75" fmla="*/ 24 h 24"/>
                <a:gd name="T76" fmla="*/ 13 w 37"/>
                <a:gd name="T7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 h="24">
                  <a:moveTo>
                    <a:pt x="13" y="24"/>
                  </a:moveTo>
                  <a:cubicBezTo>
                    <a:pt x="13" y="24"/>
                    <a:pt x="13" y="24"/>
                    <a:pt x="13" y="24"/>
                  </a:cubicBezTo>
                  <a:cubicBezTo>
                    <a:pt x="13" y="24"/>
                    <a:pt x="14" y="23"/>
                    <a:pt x="14" y="23"/>
                  </a:cubicBezTo>
                  <a:cubicBezTo>
                    <a:pt x="14" y="22"/>
                    <a:pt x="14" y="22"/>
                    <a:pt x="14" y="21"/>
                  </a:cubicBezTo>
                  <a:cubicBezTo>
                    <a:pt x="15" y="21"/>
                    <a:pt x="16" y="21"/>
                    <a:pt x="16" y="21"/>
                  </a:cubicBezTo>
                  <a:cubicBezTo>
                    <a:pt x="15" y="20"/>
                    <a:pt x="15" y="19"/>
                    <a:pt x="15" y="19"/>
                  </a:cubicBezTo>
                  <a:cubicBezTo>
                    <a:pt x="16" y="19"/>
                    <a:pt x="16" y="18"/>
                    <a:pt x="17" y="18"/>
                  </a:cubicBezTo>
                  <a:cubicBezTo>
                    <a:pt x="17" y="18"/>
                    <a:pt x="18" y="18"/>
                    <a:pt x="18" y="18"/>
                  </a:cubicBezTo>
                  <a:cubicBezTo>
                    <a:pt x="18" y="17"/>
                    <a:pt x="20" y="17"/>
                    <a:pt x="20" y="17"/>
                  </a:cubicBezTo>
                  <a:cubicBezTo>
                    <a:pt x="21" y="17"/>
                    <a:pt x="22" y="17"/>
                    <a:pt x="22" y="18"/>
                  </a:cubicBezTo>
                  <a:cubicBezTo>
                    <a:pt x="22" y="18"/>
                    <a:pt x="23" y="19"/>
                    <a:pt x="23" y="19"/>
                  </a:cubicBezTo>
                  <a:cubicBezTo>
                    <a:pt x="23" y="19"/>
                    <a:pt x="23" y="19"/>
                    <a:pt x="23" y="20"/>
                  </a:cubicBezTo>
                  <a:cubicBezTo>
                    <a:pt x="23" y="21"/>
                    <a:pt x="23" y="21"/>
                    <a:pt x="23" y="21"/>
                  </a:cubicBezTo>
                  <a:cubicBezTo>
                    <a:pt x="24" y="21"/>
                    <a:pt x="24" y="21"/>
                    <a:pt x="24" y="21"/>
                  </a:cubicBezTo>
                  <a:cubicBezTo>
                    <a:pt x="24" y="20"/>
                    <a:pt x="24" y="20"/>
                    <a:pt x="24" y="20"/>
                  </a:cubicBezTo>
                  <a:cubicBezTo>
                    <a:pt x="24" y="20"/>
                    <a:pt x="25" y="20"/>
                    <a:pt x="25" y="20"/>
                  </a:cubicBezTo>
                  <a:cubicBezTo>
                    <a:pt x="25" y="20"/>
                    <a:pt x="26" y="20"/>
                    <a:pt x="26" y="20"/>
                  </a:cubicBezTo>
                  <a:cubicBezTo>
                    <a:pt x="27" y="21"/>
                    <a:pt x="27" y="22"/>
                    <a:pt x="27" y="22"/>
                  </a:cubicBezTo>
                  <a:cubicBezTo>
                    <a:pt x="28" y="22"/>
                    <a:pt x="29" y="23"/>
                    <a:pt x="29" y="23"/>
                  </a:cubicBezTo>
                  <a:cubicBezTo>
                    <a:pt x="30" y="23"/>
                    <a:pt x="30" y="23"/>
                    <a:pt x="30" y="23"/>
                  </a:cubicBezTo>
                  <a:cubicBezTo>
                    <a:pt x="31" y="23"/>
                    <a:pt x="31" y="22"/>
                    <a:pt x="31" y="22"/>
                  </a:cubicBezTo>
                  <a:cubicBezTo>
                    <a:pt x="31" y="22"/>
                    <a:pt x="31" y="22"/>
                    <a:pt x="32" y="22"/>
                  </a:cubicBezTo>
                  <a:cubicBezTo>
                    <a:pt x="35" y="21"/>
                    <a:pt x="35" y="21"/>
                    <a:pt x="35" y="21"/>
                  </a:cubicBezTo>
                  <a:cubicBezTo>
                    <a:pt x="35" y="21"/>
                    <a:pt x="36" y="21"/>
                    <a:pt x="36" y="21"/>
                  </a:cubicBezTo>
                  <a:cubicBezTo>
                    <a:pt x="36" y="20"/>
                    <a:pt x="36" y="19"/>
                    <a:pt x="36" y="19"/>
                  </a:cubicBezTo>
                  <a:cubicBezTo>
                    <a:pt x="36" y="18"/>
                    <a:pt x="37" y="18"/>
                    <a:pt x="37" y="17"/>
                  </a:cubicBezTo>
                  <a:cubicBezTo>
                    <a:pt x="37" y="14"/>
                    <a:pt x="37" y="14"/>
                    <a:pt x="37" y="14"/>
                  </a:cubicBezTo>
                  <a:cubicBezTo>
                    <a:pt x="37" y="14"/>
                    <a:pt x="37" y="13"/>
                    <a:pt x="37" y="13"/>
                  </a:cubicBezTo>
                  <a:cubicBezTo>
                    <a:pt x="37" y="12"/>
                    <a:pt x="37" y="12"/>
                    <a:pt x="37" y="12"/>
                  </a:cubicBezTo>
                  <a:cubicBezTo>
                    <a:pt x="35" y="10"/>
                    <a:pt x="35" y="10"/>
                    <a:pt x="35" y="10"/>
                  </a:cubicBezTo>
                  <a:cubicBezTo>
                    <a:pt x="35" y="10"/>
                    <a:pt x="35" y="9"/>
                    <a:pt x="35" y="8"/>
                  </a:cubicBezTo>
                  <a:cubicBezTo>
                    <a:pt x="35" y="7"/>
                    <a:pt x="35" y="7"/>
                    <a:pt x="34" y="7"/>
                  </a:cubicBezTo>
                  <a:cubicBezTo>
                    <a:pt x="34" y="7"/>
                    <a:pt x="34" y="7"/>
                    <a:pt x="34" y="7"/>
                  </a:cubicBezTo>
                  <a:cubicBezTo>
                    <a:pt x="33" y="7"/>
                    <a:pt x="33" y="7"/>
                    <a:pt x="33" y="7"/>
                  </a:cubicBezTo>
                  <a:cubicBezTo>
                    <a:pt x="32" y="6"/>
                    <a:pt x="32" y="6"/>
                    <a:pt x="32" y="6"/>
                  </a:cubicBezTo>
                  <a:cubicBezTo>
                    <a:pt x="31" y="6"/>
                    <a:pt x="31" y="5"/>
                    <a:pt x="31" y="5"/>
                  </a:cubicBezTo>
                  <a:cubicBezTo>
                    <a:pt x="30" y="5"/>
                    <a:pt x="30" y="5"/>
                    <a:pt x="29" y="5"/>
                  </a:cubicBezTo>
                  <a:cubicBezTo>
                    <a:pt x="30" y="5"/>
                    <a:pt x="30" y="5"/>
                    <a:pt x="30" y="5"/>
                  </a:cubicBezTo>
                  <a:cubicBezTo>
                    <a:pt x="30" y="5"/>
                    <a:pt x="30" y="5"/>
                    <a:pt x="29" y="5"/>
                  </a:cubicBezTo>
                  <a:cubicBezTo>
                    <a:pt x="30" y="6"/>
                    <a:pt x="30" y="6"/>
                    <a:pt x="29" y="5"/>
                  </a:cubicBezTo>
                  <a:cubicBezTo>
                    <a:pt x="30" y="6"/>
                    <a:pt x="31" y="6"/>
                    <a:pt x="28" y="5"/>
                  </a:cubicBezTo>
                  <a:cubicBezTo>
                    <a:pt x="27" y="5"/>
                    <a:pt x="27" y="4"/>
                    <a:pt x="26" y="4"/>
                  </a:cubicBezTo>
                  <a:cubicBezTo>
                    <a:pt x="26" y="4"/>
                    <a:pt x="25" y="4"/>
                    <a:pt x="25" y="3"/>
                  </a:cubicBezTo>
                  <a:cubicBezTo>
                    <a:pt x="25" y="3"/>
                    <a:pt x="25" y="3"/>
                    <a:pt x="25" y="2"/>
                  </a:cubicBezTo>
                  <a:cubicBezTo>
                    <a:pt x="25" y="2"/>
                    <a:pt x="25" y="2"/>
                    <a:pt x="25" y="2"/>
                  </a:cubicBezTo>
                  <a:cubicBezTo>
                    <a:pt x="25" y="1"/>
                    <a:pt x="25" y="1"/>
                    <a:pt x="24" y="1"/>
                  </a:cubicBezTo>
                  <a:cubicBezTo>
                    <a:pt x="23" y="1"/>
                    <a:pt x="23" y="1"/>
                    <a:pt x="23" y="1"/>
                  </a:cubicBezTo>
                  <a:cubicBezTo>
                    <a:pt x="22" y="1"/>
                    <a:pt x="21" y="0"/>
                    <a:pt x="21" y="0"/>
                  </a:cubicBezTo>
                  <a:cubicBezTo>
                    <a:pt x="21" y="0"/>
                    <a:pt x="21" y="0"/>
                    <a:pt x="21" y="0"/>
                  </a:cubicBezTo>
                  <a:cubicBezTo>
                    <a:pt x="20" y="1"/>
                    <a:pt x="20" y="1"/>
                    <a:pt x="20" y="1"/>
                  </a:cubicBezTo>
                  <a:cubicBezTo>
                    <a:pt x="17" y="2"/>
                    <a:pt x="17" y="2"/>
                    <a:pt x="17" y="2"/>
                  </a:cubicBezTo>
                  <a:cubicBezTo>
                    <a:pt x="17" y="2"/>
                    <a:pt x="17" y="2"/>
                    <a:pt x="17" y="2"/>
                  </a:cubicBezTo>
                  <a:cubicBezTo>
                    <a:pt x="16" y="3"/>
                    <a:pt x="16" y="4"/>
                    <a:pt x="16" y="4"/>
                  </a:cubicBezTo>
                  <a:cubicBezTo>
                    <a:pt x="15" y="5"/>
                    <a:pt x="14" y="6"/>
                    <a:pt x="12" y="6"/>
                  </a:cubicBezTo>
                  <a:cubicBezTo>
                    <a:pt x="9" y="5"/>
                    <a:pt x="9" y="5"/>
                    <a:pt x="9" y="5"/>
                  </a:cubicBezTo>
                  <a:cubicBezTo>
                    <a:pt x="5" y="6"/>
                    <a:pt x="5" y="6"/>
                    <a:pt x="5" y="6"/>
                  </a:cubicBezTo>
                  <a:cubicBezTo>
                    <a:pt x="3" y="3"/>
                    <a:pt x="3" y="3"/>
                    <a:pt x="3" y="3"/>
                  </a:cubicBezTo>
                  <a:cubicBezTo>
                    <a:pt x="2" y="4"/>
                    <a:pt x="2" y="4"/>
                    <a:pt x="2" y="4"/>
                  </a:cubicBezTo>
                  <a:cubicBezTo>
                    <a:pt x="2" y="4"/>
                    <a:pt x="1" y="4"/>
                    <a:pt x="1" y="5"/>
                  </a:cubicBezTo>
                  <a:cubicBezTo>
                    <a:pt x="1" y="5"/>
                    <a:pt x="0" y="6"/>
                    <a:pt x="0" y="7"/>
                  </a:cubicBezTo>
                  <a:cubicBezTo>
                    <a:pt x="1" y="9"/>
                    <a:pt x="1" y="9"/>
                    <a:pt x="1" y="9"/>
                  </a:cubicBezTo>
                  <a:cubicBezTo>
                    <a:pt x="2" y="12"/>
                    <a:pt x="2" y="12"/>
                    <a:pt x="2" y="12"/>
                  </a:cubicBezTo>
                  <a:cubicBezTo>
                    <a:pt x="2" y="13"/>
                    <a:pt x="2" y="14"/>
                    <a:pt x="3" y="14"/>
                  </a:cubicBezTo>
                  <a:cubicBezTo>
                    <a:pt x="4" y="15"/>
                    <a:pt x="4" y="16"/>
                    <a:pt x="4" y="16"/>
                  </a:cubicBezTo>
                  <a:cubicBezTo>
                    <a:pt x="5" y="17"/>
                    <a:pt x="5" y="17"/>
                    <a:pt x="5" y="17"/>
                  </a:cubicBezTo>
                  <a:cubicBezTo>
                    <a:pt x="5" y="17"/>
                    <a:pt x="5" y="19"/>
                    <a:pt x="5" y="19"/>
                  </a:cubicBezTo>
                  <a:cubicBezTo>
                    <a:pt x="5" y="20"/>
                    <a:pt x="5" y="20"/>
                    <a:pt x="5" y="20"/>
                  </a:cubicBezTo>
                  <a:cubicBezTo>
                    <a:pt x="5" y="20"/>
                    <a:pt x="5" y="21"/>
                    <a:pt x="5" y="21"/>
                  </a:cubicBezTo>
                  <a:cubicBezTo>
                    <a:pt x="6" y="21"/>
                    <a:pt x="6" y="22"/>
                    <a:pt x="6" y="22"/>
                  </a:cubicBezTo>
                  <a:cubicBezTo>
                    <a:pt x="6" y="22"/>
                    <a:pt x="7" y="23"/>
                    <a:pt x="7" y="23"/>
                  </a:cubicBezTo>
                  <a:cubicBezTo>
                    <a:pt x="8" y="23"/>
                    <a:pt x="8" y="23"/>
                    <a:pt x="8" y="23"/>
                  </a:cubicBezTo>
                  <a:cubicBezTo>
                    <a:pt x="9" y="23"/>
                    <a:pt x="9" y="24"/>
                    <a:pt x="9" y="24"/>
                  </a:cubicBezTo>
                  <a:cubicBezTo>
                    <a:pt x="9" y="23"/>
                    <a:pt x="10" y="23"/>
                    <a:pt x="10" y="23"/>
                  </a:cubicBezTo>
                  <a:cubicBezTo>
                    <a:pt x="10" y="23"/>
                    <a:pt x="11" y="23"/>
                    <a:pt x="11" y="23"/>
                  </a:cubicBezTo>
                  <a:cubicBezTo>
                    <a:pt x="11" y="23"/>
                    <a:pt x="12" y="23"/>
                    <a:pt x="12" y="23"/>
                  </a:cubicBezTo>
                  <a:cubicBezTo>
                    <a:pt x="12" y="23"/>
                    <a:pt x="13" y="24"/>
                    <a:pt x="13" y="24"/>
                  </a:cubicBezTo>
                  <a:cubicBezTo>
                    <a:pt x="13" y="24"/>
                    <a:pt x="13" y="24"/>
                    <a:pt x="13" y="24"/>
                  </a:cubicBezTo>
                  <a:cubicBezTo>
                    <a:pt x="13" y="24"/>
                    <a:pt x="13" y="24"/>
                    <a:pt x="13" y="24"/>
                  </a:cubicBez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0" name="Freeform 235"/>
            <p:cNvSpPr>
              <a:spLocks/>
            </p:cNvSpPr>
            <p:nvPr/>
          </p:nvSpPr>
          <p:spPr bwMode="auto">
            <a:xfrm>
              <a:off x="6429986" y="3375260"/>
              <a:ext cx="657087" cy="580041"/>
            </a:xfrm>
            <a:custGeom>
              <a:avLst/>
              <a:gdLst>
                <a:gd name="T0" fmla="*/ 21 w 227"/>
                <a:gd name="T1" fmla="*/ 158 h 212"/>
                <a:gd name="T2" fmla="*/ 20 w 227"/>
                <a:gd name="T3" fmla="*/ 168 h 212"/>
                <a:gd name="T4" fmla="*/ 10 w 227"/>
                <a:gd name="T5" fmla="*/ 180 h 212"/>
                <a:gd name="T6" fmla="*/ 14 w 227"/>
                <a:gd name="T7" fmla="*/ 190 h 212"/>
                <a:gd name="T8" fmla="*/ 21 w 227"/>
                <a:gd name="T9" fmla="*/ 199 h 212"/>
                <a:gd name="T10" fmla="*/ 21 w 227"/>
                <a:gd name="T11" fmla="*/ 212 h 212"/>
                <a:gd name="T12" fmla="*/ 32 w 227"/>
                <a:gd name="T13" fmla="*/ 209 h 212"/>
                <a:gd name="T14" fmla="*/ 37 w 227"/>
                <a:gd name="T15" fmla="*/ 201 h 212"/>
                <a:gd name="T16" fmla="*/ 60 w 227"/>
                <a:gd name="T17" fmla="*/ 190 h 212"/>
                <a:gd name="T18" fmla="*/ 95 w 227"/>
                <a:gd name="T19" fmla="*/ 188 h 212"/>
                <a:gd name="T20" fmla="*/ 112 w 227"/>
                <a:gd name="T21" fmla="*/ 188 h 212"/>
                <a:gd name="T22" fmla="*/ 121 w 227"/>
                <a:gd name="T23" fmla="*/ 190 h 212"/>
                <a:gd name="T24" fmla="*/ 130 w 227"/>
                <a:gd name="T25" fmla="*/ 189 h 212"/>
                <a:gd name="T26" fmla="*/ 145 w 227"/>
                <a:gd name="T27" fmla="*/ 187 h 212"/>
                <a:gd name="T28" fmla="*/ 164 w 227"/>
                <a:gd name="T29" fmla="*/ 180 h 212"/>
                <a:gd name="T30" fmla="*/ 175 w 227"/>
                <a:gd name="T31" fmla="*/ 184 h 212"/>
                <a:gd name="T32" fmla="*/ 191 w 227"/>
                <a:gd name="T33" fmla="*/ 177 h 212"/>
                <a:gd name="T34" fmla="*/ 203 w 227"/>
                <a:gd name="T35" fmla="*/ 182 h 212"/>
                <a:gd name="T36" fmla="*/ 202 w 227"/>
                <a:gd name="T37" fmla="*/ 143 h 212"/>
                <a:gd name="T38" fmla="*/ 218 w 227"/>
                <a:gd name="T39" fmla="*/ 137 h 212"/>
                <a:gd name="T40" fmla="*/ 213 w 227"/>
                <a:gd name="T41" fmla="*/ 130 h 212"/>
                <a:gd name="T42" fmla="*/ 206 w 227"/>
                <a:gd name="T43" fmla="*/ 118 h 212"/>
                <a:gd name="T44" fmla="*/ 201 w 227"/>
                <a:gd name="T45" fmla="*/ 111 h 212"/>
                <a:gd name="T46" fmla="*/ 203 w 227"/>
                <a:gd name="T47" fmla="*/ 94 h 212"/>
                <a:gd name="T48" fmla="*/ 217 w 227"/>
                <a:gd name="T49" fmla="*/ 93 h 212"/>
                <a:gd name="T50" fmla="*/ 227 w 227"/>
                <a:gd name="T51" fmla="*/ 82 h 212"/>
                <a:gd name="T52" fmla="*/ 216 w 227"/>
                <a:gd name="T53" fmla="*/ 73 h 212"/>
                <a:gd name="T54" fmla="*/ 208 w 227"/>
                <a:gd name="T55" fmla="*/ 70 h 212"/>
                <a:gd name="T56" fmla="*/ 196 w 227"/>
                <a:gd name="T57" fmla="*/ 61 h 212"/>
                <a:gd name="T58" fmla="*/ 179 w 227"/>
                <a:gd name="T59" fmla="*/ 50 h 212"/>
                <a:gd name="T60" fmla="*/ 174 w 227"/>
                <a:gd name="T61" fmla="*/ 43 h 212"/>
                <a:gd name="T62" fmla="*/ 164 w 227"/>
                <a:gd name="T63" fmla="*/ 29 h 212"/>
                <a:gd name="T64" fmla="*/ 158 w 227"/>
                <a:gd name="T65" fmla="*/ 15 h 212"/>
                <a:gd name="T66" fmla="*/ 154 w 227"/>
                <a:gd name="T67" fmla="*/ 6 h 212"/>
                <a:gd name="T68" fmla="*/ 136 w 227"/>
                <a:gd name="T69" fmla="*/ 2 h 212"/>
                <a:gd name="T70" fmla="*/ 124 w 227"/>
                <a:gd name="T71" fmla="*/ 11 h 212"/>
                <a:gd name="T72" fmla="*/ 119 w 227"/>
                <a:gd name="T73" fmla="*/ 7 h 212"/>
                <a:gd name="T74" fmla="*/ 108 w 227"/>
                <a:gd name="T75" fmla="*/ 5 h 212"/>
                <a:gd name="T76" fmla="*/ 97 w 227"/>
                <a:gd name="T77" fmla="*/ 2 h 212"/>
                <a:gd name="T78" fmla="*/ 92 w 227"/>
                <a:gd name="T79" fmla="*/ 4 h 212"/>
                <a:gd name="T80" fmla="*/ 86 w 227"/>
                <a:gd name="T81" fmla="*/ 1 h 212"/>
                <a:gd name="T82" fmla="*/ 79 w 227"/>
                <a:gd name="T83" fmla="*/ 11 h 212"/>
                <a:gd name="T84" fmla="*/ 69 w 227"/>
                <a:gd name="T85" fmla="*/ 18 h 212"/>
                <a:gd name="T86" fmla="*/ 59 w 227"/>
                <a:gd name="T87" fmla="*/ 26 h 212"/>
                <a:gd name="T88" fmla="*/ 57 w 227"/>
                <a:gd name="T89" fmla="*/ 42 h 212"/>
                <a:gd name="T90" fmla="*/ 63 w 227"/>
                <a:gd name="T91" fmla="*/ 47 h 212"/>
                <a:gd name="T92" fmla="*/ 54 w 227"/>
                <a:gd name="T93" fmla="*/ 59 h 212"/>
                <a:gd name="T94" fmla="*/ 45 w 227"/>
                <a:gd name="T95" fmla="*/ 70 h 212"/>
                <a:gd name="T96" fmla="*/ 47 w 227"/>
                <a:gd name="T97" fmla="*/ 89 h 212"/>
                <a:gd name="T98" fmla="*/ 46 w 227"/>
                <a:gd name="T99" fmla="*/ 96 h 212"/>
                <a:gd name="T100" fmla="*/ 37 w 227"/>
                <a:gd name="T101" fmla="*/ 96 h 212"/>
                <a:gd name="T102" fmla="*/ 29 w 227"/>
                <a:gd name="T103" fmla="*/ 102 h 212"/>
                <a:gd name="T104" fmla="*/ 18 w 227"/>
                <a:gd name="T105" fmla="*/ 113 h 212"/>
                <a:gd name="T106" fmla="*/ 1 w 227"/>
                <a:gd name="T107" fmla="*/ 11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7" h="212">
                  <a:moveTo>
                    <a:pt x="11" y="138"/>
                  </a:moveTo>
                  <a:cubicBezTo>
                    <a:pt x="17" y="147"/>
                    <a:pt x="17" y="147"/>
                    <a:pt x="17" y="147"/>
                  </a:cubicBezTo>
                  <a:cubicBezTo>
                    <a:pt x="18" y="153"/>
                    <a:pt x="18" y="153"/>
                    <a:pt x="18" y="153"/>
                  </a:cubicBezTo>
                  <a:cubicBezTo>
                    <a:pt x="19" y="155"/>
                    <a:pt x="20" y="157"/>
                    <a:pt x="21" y="158"/>
                  </a:cubicBezTo>
                  <a:cubicBezTo>
                    <a:pt x="21" y="158"/>
                    <a:pt x="21" y="159"/>
                    <a:pt x="21" y="160"/>
                  </a:cubicBezTo>
                  <a:cubicBezTo>
                    <a:pt x="21" y="161"/>
                    <a:pt x="21" y="161"/>
                    <a:pt x="21" y="162"/>
                  </a:cubicBezTo>
                  <a:cubicBezTo>
                    <a:pt x="21" y="162"/>
                    <a:pt x="21" y="162"/>
                    <a:pt x="21" y="162"/>
                  </a:cubicBezTo>
                  <a:cubicBezTo>
                    <a:pt x="22" y="165"/>
                    <a:pt x="22" y="167"/>
                    <a:pt x="20" y="168"/>
                  </a:cubicBezTo>
                  <a:cubicBezTo>
                    <a:pt x="20" y="169"/>
                    <a:pt x="19" y="171"/>
                    <a:pt x="17" y="173"/>
                  </a:cubicBezTo>
                  <a:cubicBezTo>
                    <a:pt x="17" y="173"/>
                    <a:pt x="17" y="173"/>
                    <a:pt x="17" y="173"/>
                  </a:cubicBezTo>
                  <a:cubicBezTo>
                    <a:pt x="13" y="175"/>
                    <a:pt x="13" y="175"/>
                    <a:pt x="13" y="175"/>
                  </a:cubicBezTo>
                  <a:cubicBezTo>
                    <a:pt x="10" y="180"/>
                    <a:pt x="10" y="180"/>
                    <a:pt x="10" y="180"/>
                  </a:cubicBezTo>
                  <a:cubicBezTo>
                    <a:pt x="7" y="187"/>
                    <a:pt x="7" y="187"/>
                    <a:pt x="7" y="187"/>
                  </a:cubicBezTo>
                  <a:cubicBezTo>
                    <a:pt x="7" y="189"/>
                    <a:pt x="7" y="189"/>
                    <a:pt x="7" y="189"/>
                  </a:cubicBezTo>
                  <a:cubicBezTo>
                    <a:pt x="7" y="189"/>
                    <a:pt x="7" y="189"/>
                    <a:pt x="7" y="189"/>
                  </a:cubicBezTo>
                  <a:cubicBezTo>
                    <a:pt x="8" y="189"/>
                    <a:pt x="14" y="190"/>
                    <a:pt x="14" y="190"/>
                  </a:cubicBezTo>
                  <a:cubicBezTo>
                    <a:pt x="14" y="190"/>
                    <a:pt x="14" y="190"/>
                    <a:pt x="14" y="190"/>
                  </a:cubicBezTo>
                  <a:cubicBezTo>
                    <a:pt x="20" y="193"/>
                    <a:pt x="20" y="193"/>
                    <a:pt x="20" y="193"/>
                  </a:cubicBezTo>
                  <a:cubicBezTo>
                    <a:pt x="21" y="198"/>
                    <a:pt x="21" y="198"/>
                    <a:pt x="21" y="198"/>
                  </a:cubicBezTo>
                  <a:cubicBezTo>
                    <a:pt x="21" y="199"/>
                    <a:pt x="21" y="199"/>
                    <a:pt x="21" y="199"/>
                  </a:cubicBezTo>
                  <a:cubicBezTo>
                    <a:pt x="21" y="205"/>
                    <a:pt x="21" y="205"/>
                    <a:pt x="21" y="206"/>
                  </a:cubicBezTo>
                  <a:cubicBezTo>
                    <a:pt x="21" y="206"/>
                    <a:pt x="21" y="210"/>
                    <a:pt x="21" y="211"/>
                  </a:cubicBezTo>
                  <a:cubicBezTo>
                    <a:pt x="21" y="211"/>
                    <a:pt x="21" y="211"/>
                    <a:pt x="21" y="211"/>
                  </a:cubicBezTo>
                  <a:cubicBezTo>
                    <a:pt x="21" y="211"/>
                    <a:pt x="21" y="212"/>
                    <a:pt x="21" y="212"/>
                  </a:cubicBezTo>
                  <a:cubicBezTo>
                    <a:pt x="24" y="210"/>
                    <a:pt x="24" y="210"/>
                    <a:pt x="24" y="210"/>
                  </a:cubicBezTo>
                  <a:cubicBezTo>
                    <a:pt x="25" y="211"/>
                    <a:pt x="25" y="211"/>
                    <a:pt x="25" y="211"/>
                  </a:cubicBezTo>
                  <a:cubicBezTo>
                    <a:pt x="25" y="211"/>
                    <a:pt x="27" y="211"/>
                    <a:pt x="29" y="212"/>
                  </a:cubicBezTo>
                  <a:cubicBezTo>
                    <a:pt x="30" y="210"/>
                    <a:pt x="31" y="209"/>
                    <a:pt x="32" y="209"/>
                  </a:cubicBezTo>
                  <a:cubicBezTo>
                    <a:pt x="32" y="209"/>
                    <a:pt x="32" y="209"/>
                    <a:pt x="32" y="210"/>
                  </a:cubicBezTo>
                  <a:cubicBezTo>
                    <a:pt x="33" y="209"/>
                    <a:pt x="34" y="206"/>
                    <a:pt x="34" y="206"/>
                  </a:cubicBezTo>
                  <a:cubicBezTo>
                    <a:pt x="35" y="203"/>
                    <a:pt x="35" y="203"/>
                    <a:pt x="35" y="203"/>
                  </a:cubicBezTo>
                  <a:cubicBezTo>
                    <a:pt x="37" y="201"/>
                    <a:pt x="37" y="201"/>
                    <a:pt x="37" y="201"/>
                  </a:cubicBezTo>
                  <a:cubicBezTo>
                    <a:pt x="37" y="199"/>
                    <a:pt x="37" y="199"/>
                    <a:pt x="37" y="199"/>
                  </a:cubicBezTo>
                  <a:cubicBezTo>
                    <a:pt x="42" y="196"/>
                    <a:pt x="42" y="196"/>
                    <a:pt x="42" y="196"/>
                  </a:cubicBezTo>
                  <a:cubicBezTo>
                    <a:pt x="54" y="194"/>
                    <a:pt x="54" y="194"/>
                    <a:pt x="54" y="194"/>
                  </a:cubicBezTo>
                  <a:cubicBezTo>
                    <a:pt x="60" y="190"/>
                    <a:pt x="60" y="190"/>
                    <a:pt x="60" y="190"/>
                  </a:cubicBezTo>
                  <a:cubicBezTo>
                    <a:pt x="68" y="191"/>
                    <a:pt x="68" y="191"/>
                    <a:pt x="68" y="191"/>
                  </a:cubicBezTo>
                  <a:cubicBezTo>
                    <a:pt x="88" y="190"/>
                    <a:pt x="88" y="190"/>
                    <a:pt x="88" y="190"/>
                  </a:cubicBezTo>
                  <a:cubicBezTo>
                    <a:pt x="95" y="188"/>
                    <a:pt x="95" y="188"/>
                    <a:pt x="95" y="188"/>
                  </a:cubicBezTo>
                  <a:cubicBezTo>
                    <a:pt x="95" y="188"/>
                    <a:pt x="95" y="188"/>
                    <a:pt x="95" y="188"/>
                  </a:cubicBezTo>
                  <a:cubicBezTo>
                    <a:pt x="95" y="188"/>
                    <a:pt x="96" y="188"/>
                    <a:pt x="96" y="188"/>
                  </a:cubicBezTo>
                  <a:cubicBezTo>
                    <a:pt x="97" y="189"/>
                    <a:pt x="100" y="189"/>
                    <a:pt x="101" y="189"/>
                  </a:cubicBezTo>
                  <a:cubicBezTo>
                    <a:pt x="103" y="189"/>
                    <a:pt x="111" y="188"/>
                    <a:pt x="112" y="188"/>
                  </a:cubicBezTo>
                  <a:cubicBezTo>
                    <a:pt x="112" y="188"/>
                    <a:pt x="112" y="188"/>
                    <a:pt x="112" y="188"/>
                  </a:cubicBezTo>
                  <a:cubicBezTo>
                    <a:pt x="116" y="191"/>
                    <a:pt x="116" y="191"/>
                    <a:pt x="116" y="191"/>
                  </a:cubicBezTo>
                  <a:cubicBezTo>
                    <a:pt x="118" y="193"/>
                    <a:pt x="118" y="193"/>
                    <a:pt x="118" y="193"/>
                  </a:cubicBezTo>
                  <a:cubicBezTo>
                    <a:pt x="119" y="192"/>
                    <a:pt x="120" y="191"/>
                    <a:pt x="121" y="190"/>
                  </a:cubicBezTo>
                  <a:cubicBezTo>
                    <a:pt x="121" y="190"/>
                    <a:pt x="121" y="190"/>
                    <a:pt x="121" y="190"/>
                  </a:cubicBezTo>
                  <a:cubicBezTo>
                    <a:pt x="122" y="190"/>
                    <a:pt x="122" y="190"/>
                    <a:pt x="122" y="190"/>
                  </a:cubicBezTo>
                  <a:cubicBezTo>
                    <a:pt x="124" y="190"/>
                    <a:pt x="127" y="192"/>
                    <a:pt x="127" y="192"/>
                  </a:cubicBezTo>
                  <a:cubicBezTo>
                    <a:pt x="129" y="193"/>
                    <a:pt x="129" y="193"/>
                    <a:pt x="129" y="193"/>
                  </a:cubicBezTo>
                  <a:cubicBezTo>
                    <a:pt x="130" y="189"/>
                    <a:pt x="130" y="189"/>
                    <a:pt x="130" y="189"/>
                  </a:cubicBezTo>
                  <a:cubicBezTo>
                    <a:pt x="135" y="190"/>
                    <a:pt x="135" y="190"/>
                    <a:pt x="135" y="190"/>
                  </a:cubicBezTo>
                  <a:cubicBezTo>
                    <a:pt x="140" y="185"/>
                    <a:pt x="140" y="185"/>
                    <a:pt x="140" y="185"/>
                  </a:cubicBezTo>
                  <a:cubicBezTo>
                    <a:pt x="143" y="186"/>
                    <a:pt x="143" y="186"/>
                    <a:pt x="143" y="186"/>
                  </a:cubicBezTo>
                  <a:cubicBezTo>
                    <a:pt x="145" y="187"/>
                    <a:pt x="145" y="187"/>
                    <a:pt x="145" y="187"/>
                  </a:cubicBezTo>
                  <a:cubicBezTo>
                    <a:pt x="149" y="184"/>
                    <a:pt x="149" y="184"/>
                    <a:pt x="149" y="184"/>
                  </a:cubicBezTo>
                  <a:cubicBezTo>
                    <a:pt x="153" y="187"/>
                    <a:pt x="153" y="187"/>
                    <a:pt x="153" y="187"/>
                  </a:cubicBezTo>
                  <a:cubicBezTo>
                    <a:pt x="153" y="185"/>
                    <a:pt x="155" y="184"/>
                    <a:pt x="158" y="183"/>
                  </a:cubicBezTo>
                  <a:cubicBezTo>
                    <a:pt x="159" y="182"/>
                    <a:pt x="162" y="180"/>
                    <a:pt x="164" y="180"/>
                  </a:cubicBezTo>
                  <a:cubicBezTo>
                    <a:pt x="166" y="180"/>
                    <a:pt x="168" y="181"/>
                    <a:pt x="168" y="182"/>
                  </a:cubicBezTo>
                  <a:cubicBezTo>
                    <a:pt x="169" y="183"/>
                    <a:pt x="170" y="183"/>
                    <a:pt x="171" y="185"/>
                  </a:cubicBezTo>
                  <a:cubicBezTo>
                    <a:pt x="172" y="186"/>
                    <a:pt x="172" y="186"/>
                    <a:pt x="172" y="186"/>
                  </a:cubicBezTo>
                  <a:cubicBezTo>
                    <a:pt x="175" y="184"/>
                    <a:pt x="175" y="184"/>
                    <a:pt x="175" y="184"/>
                  </a:cubicBezTo>
                  <a:cubicBezTo>
                    <a:pt x="177" y="181"/>
                    <a:pt x="177" y="181"/>
                    <a:pt x="177" y="181"/>
                  </a:cubicBezTo>
                  <a:cubicBezTo>
                    <a:pt x="180" y="181"/>
                    <a:pt x="180" y="181"/>
                    <a:pt x="180" y="181"/>
                  </a:cubicBezTo>
                  <a:cubicBezTo>
                    <a:pt x="184" y="179"/>
                    <a:pt x="184" y="179"/>
                    <a:pt x="184" y="179"/>
                  </a:cubicBezTo>
                  <a:cubicBezTo>
                    <a:pt x="191" y="177"/>
                    <a:pt x="191" y="177"/>
                    <a:pt x="191" y="177"/>
                  </a:cubicBezTo>
                  <a:cubicBezTo>
                    <a:pt x="197" y="179"/>
                    <a:pt x="197" y="179"/>
                    <a:pt x="197" y="179"/>
                  </a:cubicBezTo>
                  <a:cubicBezTo>
                    <a:pt x="200" y="183"/>
                    <a:pt x="200" y="183"/>
                    <a:pt x="200" y="183"/>
                  </a:cubicBezTo>
                  <a:cubicBezTo>
                    <a:pt x="202" y="183"/>
                    <a:pt x="202" y="183"/>
                    <a:pt x="202" y="183"/>
                  </a:cubicBezTo>
                  <a:cubicBezTo>
                    <a:pt x="203" y="182"/>
                    <a:pt x="203" y="182"/>
                    <a:pt x="203" y="182"/>
                  </a:cubicBezTo>
                  <a:cubicBezTo>
                    <a:pt x="201" y="179"/>
                    <a:pt x="201" y="179"/>
                    <a:pt x="201" y="179"/>
                  </a:cubicBezTo>
                  <a:cubicBezTo>
                    <a:pt x="196" y="168"/>
                    <a:pt x="196" y="168"/>
                    <a:pt x="196" y="168"/>
                  </a:cubicBezTo>
                  <a:cubicBezTo>
                    <a:pt x="201" y="153"/>
                    <a:pt x="201" y="153"/>
                    <a:pt x="201" y="153"/>
                  </a:cubicBezTo>
                  <a:cubicBezTo>
                    <a:pt x="202" y="143"/>
                    <a:pt x="202" y="143"/>
                    <a:pt x="202" y="143"/>
                  </a:cubicBezTo>
                  <a:cubicBezTo>
                    <a:pt x="213" y="142"/>
                    <a:pt x="213" y="142"/>
                    <a:pt x="213" y="142"/>
                  </a:cubicBezTo>
                  <a:cubicBezTo>
                    <a:pt x="216" y="138"/>
                    <a:pt x="216" y="138"/>
                    <a:pt x="216" y="138"/>
                  </a:cubicBezTo>
                  <a:cubicBezTo>
                    <a:pt x="219" y="137"/>
                    <a:pt x="219" y="137"/>
                    <a:pt x="219" y="137"/>
                  </a:cubicBezTo>
                  <a:cubicBezTo>
                    <a:pt x="218" y="137"/>
                    <a:pt x="218" y="137"/>
                    <a:pt x="218" y="137"/>
                  </a:cubicBezTo>
                  <a:cubicBezTo>
                    <a:pt x="218" y="135"/>
                    <a:pt x="218" y="135"/>
                    <a:pt x="218" y="135"/>
                  </a:cubicBezTo>
                  <a:cubicBezTo>
                    <a:pt x="216" y="135"/>
                    <a:pt x="216" y="135"/>
                    <a:pt x="216" y="135"/>
                  </a:cubicBezTo>
                  <a:cubicBezTo>
                    <a:pt x="212" y="133"/>
                    <a:pt x="212" y="133"/>
                    <a:pt x="212" y="133"/>
                  </a:cubicBezTo>
                  <a:cubicBezTo>
                    <a:pt x="213" y="130"/>
                    <a:pt x="213" y="130"/>
                    <a:pt x="213" y="130"/>
                  </a:cubicBezTo>
                  <a:cubicBezTo>
                    <a:pt x="210" y="123"/>
                    <a:pt x="210" y="123"/>
                    <a:pt x="210" y="123"/>
                  </a:cubicBezTo>
                  <a:cubicBezTo>
                    <a:pt x="210" y="122"/>
                    <a:pt x="210" y="122"/>
                    <a:pt x="210" y="122"/>
                  </a:cubicBezTo>
                  <a:cubicBezTo>
                    <a:pt x="209" y="122"/>
                    <a:pt x="209" y="122"/>
                    <a:pt x="209" y="122"/>
                  </a:cubicBezTo>
                  <a:cubicBezTo>
                    <a:pt x="206" y="118"/>
                    <a:pt x="206" y="118"/>
                    <a:pt x="206" y="118"/>
                  </a:cubicBezTo>
                  <a:cubicBezTo>
                    <a:pt x="208" y="115"/>
                    <a:pt x="208" y="115"/>
                    <a:pt x="208" y="115"/>
                  </a:cubicBezTo>
                  <a:cubicBezTo>
                    <a:pt x="207" y="114"/>
                    <a:pt x="207" y="114"/>
                    <a:pt x="207" y="114"/>
                  </a:cubicBezTo>
                  <a:cubicBezTo>
                    <a:pt x="205" y="112"/>
                    <a:pt x="205" y="112"/>
                    <a:pt x="205" y="112"/>
                  </a:cubicBezTo>
                  <a:cubicBezTo>
                    <a:pt x="201" y="111"/>
                    <a:pt x="201" y="111"/>
                    <a:pt x="201" y="111"/>
                  </a:cubicBezTo>
                  <a:cubicBezTo>
                    <a:pt x="197" y="107"/>
                    <a:pt x="197" y="107"/>
                    <a:pt x="197" y="107"/>
                  </a:cubicBezTo>
                  <a:cubicBezTo>
                    <a:pt x="196" y="104"/>
                    <a:pt x="196" y="104"/>
                    <a:pt x="196" y="104"/>
                  </a:cubicBezTo>
                  <a:cubicBezTo>
                    <a:pt x="198" y="97"/>
                    <a:pt x="198" y="97"/>
                    <a:pt x="198" y="97"/>
                  </a:cubicBezTo>
                  <a:cubicBezTo>
                    <a:pt x="199" y="96"/>
                    <a:pt x="200" y="95"/>
                    <a:pt x="203" y="94"/>
                  </a:cubicBezTo>
                  <a:cubicBezTo>
                    <a:pt x="204" y="93"/>
                    <a:pt x="205" y="93"/>
                    <a:pt x="206" y="93"/>
                  </a:cubicBezTo>
                  <a:cubicBezTo>
                    <a:pt x="207" y="93"/>
                    <a:pt x="208" y="93"/>
                    <a:pt x="209" y="94"/>
                  </a:cubicBezTo>
                  <a:cubicBezTo>
                    <a:pt x="213" y="95"/>
                    <a:pt x="213" y="95"/>
                    <a:pt x="213" y="95"/>
                  </a:cubicBezTo>
                  <a:cubicBezTo>
                    <a:pt x="217" y="93"/>
                    <a:pt x="217" y="93"/>
                    <a:pt x="217" y="93"/>
                  </a:cubicBezTo>
                  <a:cubicBezTo>
                    <a:pt x="219" y="92"/>
                    <a:pt x="222" y="90"/>
                    <a:pt x="223" y="89"/>
                  </a:cubicBezTo>
                  <a:cubicBezTo>
                    <a:pt x="223" y="88"/>
                    <a:pt x="223" y="87"/>
                    <a:pt x="222" y="86"/>
                  </a:cubicBezTo>
                  <a:cubicBezTo>
                    <a:pt x="221" y="84"/>
                    <a:pt x="221" y="84"/>
                    <a:pt x="221" y="84"/>
                  </a:cubicBezTo>
                  <a:cubicBezTo>
                    <a:pt x="227" y="82"/>
                    <a:pt x="227" y="82"/>
                    <a:pt x="227" y="82"/>
                  </a:cubicBezTo>
                  <a:cubicBezTo>
                    <a:pt x="227" y="81"/>
                    <a:pt x="227" y="81"/>
                    <a:pt x="227" y="81"/>
                  </a:cubicBezTo>
                  <a:cubicBezTo>
                    <a:pt x="227" y="79"/>
                    <a:pt x="227" y="79"/>
                    <a:pt x="227" y="79"/>
                  </a:cubicBezTo>
                  <a:cubicBezTo>
                    <a:pt x="222" y="77"/>
                    <a:pt x="222" y="77"/>
                    <a:pt x="222" y="77"/>
                  </a:cubicBezTo>
                  <a:cubicBezTo>
                    <a:pt x="216" y="73"/>
                    <a:pt x="216" y="73"/>
                    <a:pt x="216" y="73"/>
                  </a:cubicBezTo>
                  <a:cubicBezTo>
                    <a:pt x="217" y="71"/>
                    <a:pt x="217" y="71"/>
                    <a:pt x="217" y="71"/>
                  </a:cubicBezTo>
                  <a:cubicBezTo>
                    <a:pt x="217" y="71"/>
                    <a:pt x="217" y="71"/>
                    <a:pt x="217" y="71"/>
                  </a:cubicBezTo>
                  <a:cubicBezTo>
                    <a:pt x="209" y="69"/>
                    <a:pt x="209" y="69"/>
                    <a:pt x="209" y="69"/>
                  </a:cubicBezTo>
                  <a:cubicBezTo>
                    <a:pt x="208" y="70"/>
                    <a:pt x="208" y="70"/>
                    <a:pt x="208" y="70"/>
                  </a:cubicBezTo>
                  <a:cubicBezTo>
                    <a:pt x="206" y="72"/>
                    <a:pt x="206" y="72"/>
                    <a:pt x="206" y="72"/>
                  </a:cubicBezTo>
                  <a:cubicBezTo>
                    <a:pt x="199" y="72"/>
                    <a:pt x="199" y="72"/>
                    <a:pt x="199" y="72"/>
                  </a:cubicBezTo>
                  <a:cubicBezTo>
                    <a:pt x="198" y="64"/>
                    <a:pt x="198" y="64"/>
                    <a:pt x="198" y="64"/>
                  </a:cubicBezTo>
                  <a:cubicBezTo>
                    <a:pt x="196" y="61"/>
                    <a:pt x="196" y="61"/>
                    <a:pt x="196" y="61"/>
                  </a:cubicBezTo>
                  <a:cubicBezTo>
                    <a:pt x="193" y="60"/>
                    <a:pt x="193" y="60"/>
                    <a:pt x="193" y="60"/>
                  </a:cubicBezTo>
                  <a:cubicBezTo>
                    <a:pt x="184" y="58"/>
                    <a:pt x="184" y="58"/>
                    <a:pt x="184" y="58"/>
                  </a:cubicBezTo>
                  <a:cubicBezTo>
                    <a:pt x="179" y="52"/>
                    <a:pt x="179" y="52"/>
                    <a:pt x="179" y="52"/>
                  </a:cubicBezTo>
                  <a:cubicBezTo>
                    <a:pt x="179" y="50"/>
                    <a:pt x="179" y="50"/>
                    <a:pt x="179" y="50"/>
                  </a:cubicBezTo>
                  <a:cubicBezTo>
                    <a:pt x="179" y="50"/>
                    <a:pt x="177" y="50"/>
                    <a:pt x="177" y="50"/>
                  </a:cubicBezTo>
                  <a:cubicBezTo>
                    <a:pt x="175" y="49"/>
                    <a:pt x="174" y="48"/>
                    <a:pt x="174" y="48"/>
                  </a:cubicBezTo>
                  <a:cubicBezTo>
                    <a:pt x="173" y="46"/>
                    <a:pt x="174" y="45"/>
                    <a:pt x="174" y="44"/>
                  </a:cubicBezTo>
                  <a:cubicBezTo>
                    <a:pt x="174" y="43"/>
                    <a:pt x="174" y="43"/>
                    <a:pt x="174" y="43"/>
                  </a:cubicBezTo>
                  <a:cubicBezTo>
                    <a:pt x="173" y="43"/>
                    <a:pt x="173" y="43"/>
                    <a:pt x="173" y="43"/>
                  </a:cubicBezTo>
                  <a:cubicBezTo>
                    <a:pt x="168" y="40"/>
                    <a:pt x="168" y="40"/>
                    <a:pt x="168" y="40"/>
                  </a:cubicBezTo>
                  <a:cubicBezTo>
                    <a:pt x="162" y="38"/>
                    <a:pt x="162" y="38"/>
                    <a:pt x="162" y="38"/>
                  </a:cubicBezTo>
                  <a:cubicBezTo>
                    <a:pt x="164" y="29"/>
                    <a:pt x="164" y="29"/>
                    <a:pt x="164" y="29"/>
                  </a:cubicBezTo>
                  <a:cubicBezTo>
                    <a:pt x="165" y="24"/>
                    <a:pt x="165" y="24"/>
                    <a:pt x="165" y="24"/>
                  </a:cubicBezTo>
                  <a:cubicBezTo>
                    <a:pt x="163" y="22"/>
                    <a:pt x="163" y="22"/>
                    <a:pt x="163" y="22"/>
                  </a:cubicBezTo>
                  <a:cubicBezTo>
                    <a:pt x="159" y="19"/>
                    <a:pt x="159" y="19"/>
                    <a:pt x="159" y="19"/>
                  </a:cubicBezTo>
                  <a:cubicBezTo>
                    <a:pt x="158" y="15"/>
                    <a:pt x="158" y="15"/>
                    <a:pt x="158" y="15"/>
                  </a:cubicBezTo>
                  <a:cubicBezTo>
                    <a:pt x="158" y="6"/>
                    <a:pt x="158" y="6"/>
                    <a:pt x="158" y="6"/>
                  </a:cubicBezTo>
                  <a:cubicBezTo>
                    <a:pt x="158" y="6"/>
                    <a:pt x="158" y="6"/>
                    <a:pt x="158" y="6"/>
                  </a:cubicBezTo>
                  <a:cubicBezTo>
                    <a:pt x="155" y="8"/>
                    <a:pt x="155" y="8"/>
                    <a:pt x="155" y="8"/>
                  </a:cubicBezTo>
                  <a:cubicBezTo>
                    <a:pt x="154" y="6"/>
                    <a:pt x="154" y="6"/>
                    <a:pt x="154" y="6"/>
                  </a:cubicBezTo>
                  <a:cubicBezTo>
                    <a:pt x="152" y="6"/>
                    <a:pt x="152" y="6"/>
                    <a:pt x="152" y="6"/>
                  </a:cubicBezTo>
                  <a:cubicBezTo>
                    <a:pt x="146" y="2"/>
                    <a:pt x="146" y="2"/>
                    <a:pt x="146" y="2"/>
                  </a:cubicBezTo>
                  <a:cubicBezTo>
                    <a:pt x="141" y="0"/>
                    <a:pt x="141" y="0"/>
                    <a:pt x="141" y="0"/>
                  </a:cubicBezTo>
                  <a:cubicBezTo>
                    <a:pt x="140" y="1"/>
                    <a:pt x="138" y="2"/>
                    <a:pt x="136" y="2"/>
                  </a:cubicBezTo>
                  <a:cubicBezTo>
                    <a:pt x="135" y="2"/>
                    <a:pt x="135" y="3"/>
                    <a:pt x="135" y="3"/>
                  </a:cubicBezTo>
                  <a:cubicBezTo>
                    <a:pt x="134" y="3"/>
                    <a:pt x="133" y="4"/>
                    <a:pt x="132" y="4"/>
                  </a:cubicBezTo>
                  <a:cubicBezTo>
                    <a:pt x="132" y="4"/>
                    <a:pt x="131" y="5"/>
                    <a:pt x="131" y="6"/>
                  </a:cubicBezTo>
                  <a:cubicBezTo>
                    <a:pt x="130" y="9"/>
                    <a:pt x="126" y="11"/>
                    <a:pt x="124" y="11"/>
                  </a:cubicBezTo>
                  <a:cubicBezTo>
                    <a:pt x="124" y="11"/>
                    <a:pt x="124" y="11"/>
                    <a:pt x="124" y="11"/>
                  </a:cubicBezTo>
                  <a:cubicBezTo>
                    <a:pt x="122" y="11"/>
                    <a:pt x="120" y="9"/>
                    <a:pt x="119" y="7"/>
                  </a:cubicBezTo>
                  <a:cubicBezTo>
                    <a:pt x="119" y="7"/>
                    <a:pt x="119" y="7"/>
                    <a:pt x="119" y="7"/>
                  </a:cubicBezTo>
                  <a:cubicBezTo>
                    <a:pt x="119" y="7"/>
                    <a:pt x="119" y="7"/>
                    <a:pt x="119" y="7"/>
                  </a:cubicBezTo>
                  <a:cubicBezTo>
                    <a:pt x="118" y="1"/>
                    <a:pt x="118" y="1"/>
                    <a:pt x="118" y="1"/>
                  </a:cubicBezTo>
                  <a:cubicBezTo>
                    <a:pt x="114" y="1"/>
                    <a:pt x="114" y="1"/>
                    <a:pt x="114" y="1"/>
                  </a:cubicBezTo>
                  <a:cubicBezTo>
                    <a:pt x="110" y="3"/>
                    <a:pt x="110" y="3"/>
                    <a:pt x="110" y="3"/>
                  </a:cubicBezTo>
                  <a:cubicBezTo>
                    <a:pt x="108" y="5"/>
                    <a:pt x="108" y="5"/>
                    <a:pt x="108" y="5"/>
                  </a:cubicBezTo>
                  <a:cubicBezTo>
                    <a:pt x="102" y="4"/>
                    <a:pt x="102" y="4"/>
                    <a:pt x="102" y="4"/>
                  </a:cubicBezTo>
                  <a:cubicBezTo>
                    <a:pt x="100" y="1"/>
                    <a:pt x="100" y="1"/>
                    <a:pt x="100" y="1"/>
                  </a:cubicBezTo>
                  <a:cubicBezTo>
                    <a:pt x="99" y="1"/>
                    <a:pt x="99" y="1"/>
                    <a:pt x="99" y="1"/>
                  </a:cubicBezTo>
                  <a:cubicBezTo>
                    <a:pt x="97" y="2"/>
                    <a:pt x="97" y="2"/>
                    <a:pt x="97" y="2"/>
                  </a:cubicBezTo>
                  <a:cubicBezTo>
                    <a:pt x="96" y="3"/>
                    <a:pt x="95" y="4"/>
                    <a:pt x="94" y="4"/>
                  </a:cubicBezTo>
                  <a:cubicBezTo>
                    <a:pt x="94" y="4"/>
                    <a:pt x="94" y="4"/>
                    <a:pt x="94" y="4"/>
                  </a:cubicBezTo>
                  <a:cubicBezTo>
                    <a:pt x="93" y="4"/>
                    <a:pt x="93" y="4"/>
                    <a:pt x="93" y="4"/>
                  </a:cubicBezTo>
                  <a:cubicBezTo>
                    <a:pt x="93" y="4"/>
                    <a:pt x="92" y="4"/>
                    <a:pt x="92" y="4"/>
                  </a:cubicBezTo>
                  <a:cubicBezTo>
                    <a:pt x="92" y="4"/>
                    <a:pt x="91" y="4"/>
                    <a:pt x="91" y="4"/>
                  </a:cubicBezTo>
                  <a:cubicBezTo>
                    <a:pt x="91" y="4"/>
                    <a:pt x="91" y="4"/>
                    <a:pt x="91" y="4"/>
                  </a:cubicBezTo>
                  <a:cubicBezTo>
                    <a:pt x="90" y="4"/>
                    <a:pt x="89" y="3"/>
                    <a:pt x="87" y="1"/>
                  </a:cubicBezTo>
                  <a:cubicBezTo>
                    <a:pt x="86" y="1"/>
                    <a:pt x="86" y="1"/>
                    <a:pt x="86" y="1"/>
                  </a:cubicBezTo>
                  <a:cubicBezTo>
                    <a:pt x="86" y="0"/>
                    <a:pt x="86" y="0"/>
                    <a:pt x="86" y="0"/>
                  </a:cubicBezTo>
                  <a:cubicBezTo>
                    <a:pt x="84" y="2"/>
                    <a:pt x="84" y="2"/>
                    <a:pt x="84" y="2"/>
                  </a:cubicBezTo>
                  <a:cubicBezTo>
                    <a:pt x="83" y="7"/>
                    <a:pt x="83" y="7"/>
                    <a:pt x="83" y="7"/>
                  </a:cubicBezTo>
                  <a:cubicBezTo>
                    <a:pt x="79" y="11"/>
                    <a:pt x="79" y="11"/>
                    <a:pt x="79" y="11"/>
                  </a:cubicBezTo>
                  <a:cubicBezTo>
                    <a:pt x="80" y="15"/>
                    <a:pt x="80" y="15"/>
                    <a:pt x="80" y="15"/>
                  </a:cubicBezTo>
                  <a:cubicBezTo>
                    <a:pt x="79" y="17"/>
                    <a:pt x="79" y="17"/>
                    <a:pt x="79" y="17"/>
                  </a:cubicBezTo>
                  <a:cubicBezTo>
                    <a:pt x="73" y="17"/>
                    <a:pt x="73" y="17"/>
                    <a:pt x="73" y="17"/>
                  </a:cubicBezTo>
                  <a:cubicBezTo>
                    <a:pt x="73" y="17"/>
                    <a:pt x="72" y="18"/>
                    <a:pt x="69" y="18"/>
                  </a:cubicBezTo>
                  <a:cubicBezTo>
                    <a:pt x="65" y="17"/>
                    <a:pt x="66" y="18"/>
                    <a:pt x="66" y="18"/>
                  </a:cubicBezTo>
                  <a:cubicBezTo>
                    <a:pt x="64" y="20"/>
                    <a:pt x="64" y="20"/>
                    <a:pt x="64" y="20"/>
                  </a:cubicBezTo>
                  <a:cubicBezTo>
                    <a:pt x="63" y="25"/>
                    <a:pt x="63" y="25"/>
                    <a:pt x="63" y="25"/>
                  </a:cubicBezTo>
                  <a:cubicBezTo>
                    <a:pt x="63" y="25"/>
                    <a:pt x="61" y="25"/>
                    <a:pt x="59" y="26"/>
                  </a:cubicBezTo>
                  <a:cubicBezTo>
                    <a:pt x="56" y="27"/>
                    <a:pt x="57" y="28"/>
                    <a:pt x="57" y="28"/>
                  </a:cubicBezTo>
                  <a:cubicBezTo>
                    <a:pt x="58" y="35"/>
                    <a:pt x="58" y="35"/>
                    <a:pt x="58" y="35"/>
                  </a:cubicBezTo>
                  <a:cubicBezTo>
                    <a:pt x="57" y="39"/>
                    <a:pt x="57" y="39"/>
                    <a:pt x="57" y="39"/>
                  </a:cubicBezTo>
                  <a:cubicBezTo>
                    <a:pt x="57" y="42"/>
                    <a:pt x="57" y="42"/>
                    <a:pt x="57" y="42"/>
                  </a:cubicBezTo>
                  <a:cubicBezTo>
                    <a:pt x="59" y="43"/>
                    <a:pt x="59" y="43"/>
                    <a:pt x="59" y="43"/>
                  </a:cubicBezTo>
                  <a:cubicBezTo>
                    <a:pt x="64" y="42"/>
                    <a:pt x="64" y="42"/>
                    <a:pt x="64" y="42"/>
                  </a:cubicBezTo>
                  <a:cubicBezTo>
                    <a:pt x="65" y="46"/>
                    <a:pt x="65" y="46"/>
                    <a:pt x="65" y="46"/>
                  </a:cubicBezTo>
                  <a:cubicBezTo>
                    <a:pt x="63" y="47"/>
                    <a:pt x="63" y="47"/>
                    <a:pt x="63" y="47"/>
                  </a:cubicBezTo>
                  <a:cubicBezTo>
                    <a:pt x="63" y="51"/>
                    <a:pt x="63" y="51"/>
                    <a:pt x="63" y="51"/>
                  </a:cubicBezTo>
                  <a:cubicBezTo>
                    <a:pt x="57" y="50"/>
                    <a:pt x="57" y="50"/>
                    <a:pt x="57" y="50"/>
                  </a:cubicBezTo>
                  <a:cubicBezTo>
                    <a:pt x="54" y="53"/>
                    <a:pt x="54" y="53"/>
                    <a:pt x="54" y="53"/>
                  </a:cubicBezTo>
                  <a:cubicBezTo>
                    <a:pt x="54" y="59"/>
                    <a:pt x="54" y="59"/>
                    <a:pt x="54" y="59"/>
                  </a:cubicBezTo>
                  <a:cubicBezTo>
                    <a:pt x="48" y="61"/>
                    <a:pt x="48" y="61"/>
                    <a:pt x="48" y="61"/>
                  </a:cubicBezTo>
                  <a:cubicBezTo>
                    <a:pt x="47" y="64"/>
                    <a:pt x="47" y="64"/>
                    <a:pt x="47" y="64"/>
                  </a:cubicBezTo>
                  <a:cubicBezTo>
                    <a:pt x="46" y="67"/>
                    <a:pt x="46" y="67"/>
                    <a:pt x="46" y="67"/>
                  </a:cubicBezTo>
                  <a:cubicBezTo>
                    <a:pt x="45" y="70"/>
                    <a:pt x="45" y="70"/>
                    <a:pt x="45" y="70"/>
                  </a:cubicBezTo>
                  <a:cubicBezTo>
                    <a:pt x="47" y="77"/>
                    <a:pt x="47" y="77"/>
                    <a:pt x="47" y="77"/>
                  </a:cubicBezTo>
                  <a:cubicBezTo>
                    <a:pt x="47" y="81"/>
                    <a:pt x="47" y="81"/>
                    <a:pt x="47" y="81"/>
                  </a:cubicBezTo>
                  <a:cubicBezTo>
                    <a:pt x="47" y="81"/>
                    <a:pt x="46" y="85"/>
                    <a:pt x="45" y="87"/>
                  </a:cubicBezTo>
                  <a:cubicBezTo>
                    <a:pt x="44" y="89"/>
                    <a:pt x="47" y="89"/>
                    <a:pt x="47" y="89"/>
                  </a:cubicBezTo>
                  <a:cubicBezTo>
                    <a:pt x="50" y="90"/>
                    <a:pt x="50" y="90"/>
                    <a:pt x="50" y="90"/>
                  </a:cubicBezTo>
                  <a:cubicBezTo>
                    <a:pt x="52" y="91"/>
                    <a:pt x="52" y="91"/>
                    <a:pt x="52" y="91"/>
                  </a:cubicBezTo>
                  <a:cubicBezTo>
                    <a:pt x="51" y="96"/>
                    <a:pt x="51" y="96"/>
                    <a:pt x="51" y="96"/>
                  </a:cubicBezTo>
                  <a:cubicBezTo>
                    <a:pt x="46" y="96"/>
                    <a:pt x="46" y="96"/>
                    <a:pt x="46" y="96"/>
                  </a:cubicBezTo>
                  <a:cubicBezTo>
                    <a:pt x="47" y="93"/>
                    <a:pt x="47" y="93"/>
                    <a:pt x="47" y="93"/>
                  </a:cubicBezTo>
                  <a:cubicBezTo>
                    <a:pt x="45" y="91"/>
                    <a:pt x="45" y="91"/>
                    <a:pt x="45" y="91"/>
                  </a:cubicBezTo>
                  <a:cubicBezTo>
                    <a:pt x="43" y="94"/>
                    <a:pt x="43" y="94"/>
                    <a:pt x="43" y="94"/>
                  </a:cubicBezTo>
                  <a:cubicBezTo>
                    <a:pt x="37" y="96"/>
                    <a:pt x="37" y="96"/>
                    <a:pt x="37" y="96"/>
                  </a:cubicBezTo>
                  <a:cubicBezTo>
                    <a:pt x="37" y="97"/>
                    <a:pt x="37" y="97"/>
                    <a:pt x="37" y="97"/>
                  </a:cubicBezTo>
                  <a:cubicBezTo>
                    <a:pt x="36" y="100"/>
                    <a:pt x="36" y="100"/>
                    <a:pt x="36" y="100"/>
                  </a:cubicBezTo>
                  <a:cubicBezTo>
                    <a:pt x="36" y="100"/>
                    <a:pt x="32" y="100"/>
                    <a:pt x="31" y="100"/>
                  </a:cubicBezTo>
                  <a:cubicBezTo>
                    <a:pt x="30" y="100"/>
                    <a:pt x="29" y="102"/>
                    <a:pt x="29" y="102"/>
                  </a:cubicBezTo>
                  <a:cubicBezTo>
                    <a:pt x="31" y="108"/>
                    <a:pt x="31" y="108"/>
                    <a:pt x="31" y="108"/>
                  </a:cubicBezTo>
                  <a:cubicBezTo>
                    <a:pt x="27" y="108"/>
                    <a:pt x="27" y="108"/>
                    <a:pt x="27" y="108"/>
                  </a:cubicBezTo>
                  <a:cubicBezTo>
                    <a:pt x="24" y="111"/>
                    <a:pt x="24" y="111"/>
                    <a:pt x="24" y="111"/>
                  </a:cubicBezTo>
                  <a:cubicBezTo>
                    <a:pt x="18" y="113"/>
                    <a:pt x="18" y="113"/>
                    <a:pt x="18" y="113"/>
                  </a:cubicBezTo>
                  <a:cubicBezTo>
                    <a:pt x="13" y="112"/>
                    <a:pt x="13" y="112"/>
                    <a:pt x="13" y="112"/>
                  </a:cubicBezTo>
                  <a:cubicBezTo>
                    <a:pt x="5" y="115"/>
                    <a:pt x="5" y="115"/>
                    <a:pt x="5" y="115"/>
                  </a:cubicBezTo>
                  <a:cubicBezTo>
                    <a:pt x="0" y="116"/>
                    <a:pt x="0" y="116"/>
                    <a:pt x="0" y="116"/>
                  </a:cubicBezTo>
                  <a:cubicBezTo>
                    <a:pt x="1" y="118"/>
                    <a:pt x="1" y="118"/>
                    <a:pt x="1" y="118"/>
                  </a:cubicBezTo>
                  <a:cubicBezTo>
                    <a:pt x="1" y="119"/>
                    <a:pt x="3" y="124"/>
                    <a:pt x="6" y="129"/>
                  </a:cubicBezTo>
                  <a:lnTo>
                    <a:pt x="11" y="138"/>
                  </a:ln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1" name="Freeform 236"/>
            <p:cNvSpPr>
              <a:spLocks/>
            </p:cNvSpPr>
            <p:nvPr/>
          </p:nvSpPr>
          <p:spPr bwMode="auto">
            <a:xfrm>
              <a:off x="5972191" y="1746789"/>
              <a:ext cx="34659" cy="32678"/>
            </a:xfrm>
            <a:custGeom>
              <a:avLst/>
              <a:gdLst>
                <a:gd name="T0" fmla="*/ 9 w 12"/>
                <a:gd name="T1" fmla="*/ 0 h 12"/>
                <a:gd name="T2" fmla="*/ 5 w 12"/>
                <a:gd name="T3" fmla="*/ 2 h 12"/>
                <a:gd name="T4" fmla="*/ 5 w 12"/>
                <a:gd name="T5" fmla="*/ 4 h 12"/>
                <a:gd name="T6" fmla="*/ 2 w 12"/>
                <a:gd name="T7" fmla="*/ 7 h 12"/>
                <a:gd name="T8" fmla="*/ 1 w 12"/>
                <a:gd name="T9" fmla="*/ 10 h 12"/>
                <a:gd name="T10" fmla="*/ 4 w 12"/>
                <a:gd name="T11" fmla="*/ 12 h 12"/>
                <a:gd name="T12" fmla="*/ 7 w 12"/>
                <a:gd name="T13" fmla="*/ 12 h 12"/>
                <a:gd name="T14" fmla="*/ 8 w 12"/>
                <a:gd name="T15" fmla="*/ 8 h 12"/>
                <a:gd name="T16" fmla="*/ 11 w 12"/>
                <a:gd name="T17" fmla="*/ 4 h 12"/>
                <a:gd name="T18" fmla="*/ 11 w 12"/>
                <a:gd name="T19" fmla="*/ 2 h 12"/>
                <a:gd name="T20" fmla="*/ 9 w 12"/>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2">
                  <a:moveTo>
                    <a:pt x="9" y="0"/>
                  </a:moveTo>
                  <a:cubicBezTo>
                    <a:pt x="7" y="0"/>
                    <a:pt x="6" y="1"/>
                    <a:pt x="5" y="2"/>
                  </a:cubicBezTo>
                  <a:cubicBezTo>
                    <a:pt x="4" y="2"/>
                    <a:pt x="5" y="4"/>
                    <a:pt x="5" y="4"/>
                  </a:cubicBezTo>
                  <a:cubicBezTo>
                    <a:pt x="5" y="5"/>
                    <a:pt x="3" y="6"/>
                    <a:pt x="2" y="7"/>
                  </a:cubicBezTo>
                  <a:cubicBezTo>
                    <a:pt x="0" y="8"/>
                    <a:pt x="1" y="10"/>
                    <a:pt x="1" y="10"/>
                  </a:cubicBezTo>
                  <a:cubicBezTo>
                    <a:pt x="4" y="12"/>
                    <a:pt x="4" y="12"/>
                    <a:pt x="4" y="12"/>
                  </a:cubicBezTo>
                  <a:cubicBezTo>
                    <a:pt x="4" y="12"/>
                    <a:pt x="6" y="12"/>
                    <a:pt x="7" y="12"/>
                  </a:cubicBezTo>
                  <a:cubicBezTo>
                    <a:pt x="7" y="12"/>
                    <a:pt x="7" y="10"/>
                    <a:pt x="8" y="8"/>
                  </a:cubicBezTo>
                  <a:cubicBezTo>
                    <a:pt x="8" y="6"/>
                    <a:pt x="10" y="5"/>
                    <a:pt x="11" y="4"/>
                  </a:cubicBezTo>
                  <a:cubicBezTo>
                    <a:pt x="12" y="4"/>
                    <a:pt x="11" y="4"/>
                    <a:pt x="11" y="2"/>
                  </a:cubicBezTo>
                  <a:cubicBezTo>
                    <a:pt x="11" y="1"/>
                    <a:pt x="11" y="0"/>
                    <a:pt x="9" y="0"/>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2" name="Freeform 237"/>
            <p:cNvSpPr>
              <a:spLocks/>
            </p:cNvSpPr>
            <p:nvPr/>
          </p:nvSpPr>
          <p:spPr bwMode="auto">
            <a:xfrm>
              <a:off x="5930310" y="1725003"/>
              <a:ext cx="79429" cy="46294"/>
            </a:xfrm>
            <a:custGeom>
              <a:avLst/>
              <a:gdLst>
                <a:gd name="T0" fmla="*/ 4 w 27"/>
                <a:gd name="T1" fmla="*/ 16 h 17"/>
                <a:gd name="T2" fmla="*/ 7 w 27"/>
                <a:gd name="T3" fmla="*/ 16 h 17"/>
                <a:gd name="T4" fmla="*/ 15 w 27"/>
                <a:gd name="T5" fmla="*/ 13 h 17"/>
                <a:gd name="T6" fmla="*/ 16 w 27"/>
                <a:gd name="T7" fmla="*/ 10 h 17"/>
                <a:gd name="T8" fmla="*/ 21 w 27"/>
                <a:gd name="T9" fmla="*/ 5 h 17"/>
                <a:gd name="T10" fmla="*/ 24 w 27"/>
                <a:gd name="T11" fmla="*/ 2 h 17"/>
                <a:gd name="T12" fmla="*/ 21 w 27"/>
                <a:gd name="T13" fmla="*/ 2 h 17"/>
                <a:gd name="T14" fmla="*/ 19 w 27"/>
                <a:gd name="T15" fmla="*/ 0 h 17"/>
                <a:gd name="T16" fmla="*/ 13 w 27"/>
                <a:gd name="T17" fmla="*/ 1 h 17"/>
                <a:gd name="T18" fmla="*/ 10 w 27"/>
                <a:gd name="T19" fmla="*/ 5 h 17"/>
                <a:gd name="T20" fmla="*/ 2 w 27"/>
                <a:gd name="T21" fmla="*/ 9 h 17"/>
                <a:gd name="T22" fmla="*/ 2 w 27"/>
                <a:gd name="T23" fmla="*/ 12 h 17"/>
                <a:gd name="T24" fmla="*/ 4 w 27"/>
                <a:gd name="T25"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17">
                  <a:moveTo>
                    <a:pt x="4" y="16"/>
                  </a:moveTo>
                  <a:cubicBezTo>
                    <a:pt x="4" y="17"/>
                    <a:pt x="6" y="16"/>
                    <a:pt x="7" y="16"/>
                  </a:cubicBezTo>
                  <a:cubicBezTo>
                    <a:pt x="9" y="16"/>
                    <a:pt x="14" y="13"/>
                    <a:pt x="15" y="13"/>
                  </a:cubicBezTo>
                  <a:cubicBezTo>
                    <a:pt x="16" y="12"/>
                    <a:pt x="15" y="11"/>
                    <a:pt x="16" y="10"/>
                  </a:cubicBezTo>
                  <a:cubicBezTo>
                    <a:pt x="16" y="8"/>
                    <a:pt x="20" y="5"/>
                    <a:pt x="21" y="5"/>
                  </a:cubicBezTo>
                  <a:cubicBezTo>
                    <a:pt x="21" y="4"/>
                    <a:pt x="22" y="4"/>
                    <a:pt x="24" y="2"/>
                  </a:cubicBezTo>
                  <a:cubicBezTo>
                    <a:pt x="27" y="0"/>
                    <a:pt x="23" y="2"/>
                    <a:pt x="21" y="2"/>
                  </a:cubicBezTo>
                  <a:cubicBezTo>
                    <a:pt x="19" y="1"/>
                    <a:pt x="19" y="0"/>
                    <a:pt x="19" y="0"/>
                  </a:cubicBezTo>
                  <a:cubicBezTo>
                    <a:pt x="19" y="0"/>
                    <a:pt x="14" y="0"/>
                    <a:pt x="13" y="1"/>
                  </a:cubicBezTo>
                  <a:cubicBezTo>
                    <a:pt x="12" y="1"/>
                    <a:pt x="10" y="5"/>
                    <a:pt x="10" y="5"/>
                  </a:cubicBezTo>
                  <a:cubicBezTo>
                    <a:pt x="10" y="5"/>
                    <a:pt x="4" y="8"/>
                    <a:pt x="2" y="9"/>
                  </a:cubicBezTo>
                  <a:cubicBezTo>
                    <a:pt x="0" y="10"/>
                    <a:pt x="2" y="12"/>
                    <a:pt x="2" y="12"/>
                  </a:cubicBezTo>
                  <a:cubicBezTo>
                    <a:pt x="2" y="13"/>
                    <a:pt x="3" y="15"/>
                    <a:pt x="4" y="16"/>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3" name="Freeform 238"/>
            <p:cNvSpPr>
              <a:spLocks/>
            </p:cNvSpPr>
            <p:nvPr/>
          </p:nvSpPr>
          <p:spPr bwMode="auto">
            <a:xfrm>
              <a:off x="5091262" y="1643307"/>
              <a:ext cx="1241965" cy="1669320"/>
            </a:xfrm>
            <a:custGeom>
              <a:avLst/>
              <a:gdLst>
                <a:gd name="T0" fmla="*/ 413 w 429"/>
                <a:gd name="T1" fmla="*/ 45 h 611"/>
                <a:gd name="T2" fmla="*/ 410 w 429"/>
                <a:gd name="T3" fmla="*/ 10 h 611"/>
                <a:gd name="T4" fmla="*/ 367 w 429"/>
                <a:gd name="T5" fmla="*/ 4 h 611"/>
                <a:gd name="T6" fmla="*/ 357 w 429"/>
                <a:gd name="T7" fmla="*/ 18 h 611"/>
                <a:gd name="T8" fmla="*/ 336 w 429"/>
                <a:gd name="T9" fmla="*/ 41 h 611"/>
                <a:gd name="T10" fmla="*/ 333 w 429"/>
                <a:gd name="T11" fmla="*/ 15 h 611"/>
                <a:gd name="T12" fmla="*/ 326 w 429"/>
                <a:gd name="T13" fmla="*/ 32 h 611"/>
                <a:gd name="T14" fmla="*/ 303 w 429"/>
                <a:gd name="T15" fmla="*/ 51 h 611"/>
                <a:gd name="T16" fmla="*/ 291 w 429"/>
                <a:gd name="T17" fmla="*/ 61 h 611"/>
                <a:gd name="T18" fmla="*/ 282 w 429"/>
                <a:gd name="T19" fmla="*/ 71 h 611"/>
                <a:gd name="T20" fmla="*/ 264 w 429"/>
                <a:gd name="T21" fmla="*/ 78 h 611"/>
                <a:gd name="T22" fmla="*/ 250 w 429"/>
                <a:gd name="T23" fmla="*/ 83 h 611"/>
                <a:gd name="T24" fmla="*/ 223 w 429"/>
                <a:gd name="T25" fmla="*/ 115 h 611"/>
                <a:gd name="T26" fmla="*/ 221 w 429"/>
                <a:gd name="T27" fmla="*/ 133 h 611"/>
                <a:gd name="T28" fmla="*/ 189 w 429"/>
                <a:gd name="T29" fmla="*/ 146 h 611"/>
                <a:gd name="T30" fmla="*/ 161 w 429"/>
                <a:gd name="T31" fmla="*/ 179 h 611"/>
                <a:gd name="T32" fmla="*/ 206 w 429"/>
                <a:gd name="T33" fmla="*/ 171 h 611"/>
                <a:gd name="T34" fmla="*/ 194 w 429"/>
                <a:gd name="T35" fmla="*/ 180 h 611"/>
                <a:gd name="T36" fmla="*/ 192 w 429"/>
                <a:gd name="T37" fmla="*/ 196 h 611"/>
                <a:gd name="T38" fmla="*/ 177 w 429"/>
                <a:gd name="T39" fmla="*/ 221 h 611"/>
                <a:gd name="T40" fmla="*/ 179 w 429"/>
                <a:gd name="T41" fmla="*/ 253 h 611"/>
                <a:gd name="T42" fmla="*/ 159 w 429"/>
                <a:gd name="T43" fmla="*/ 284 h 611"/>
                <a:gd name="T44" fmla="*/ 138 w 429"/>
                <a:gd name="T45" fmla="*/ 306 h 611"/>
                <a:gd name="T46" fmla="*/ 143 w 429"/>
                <a:gd name="T47" fmla="*/ 322 h 611"/>
                <a:gd name="T48" fmla="*/ 117 w 429"/>
                <a:gd name="T49" fmla="*/ 351 h 611"/>
                <a:gd name="T50" fmla="*/ 126 w 429"/>
                <a:gd name="T51" fmla="*/ 368 h 611"/>
                <a:gd name="T52" fmla="*/ 91 w 429"/>
                <a:gd name="T53" fmla="*/ 365 h 611"/>
                <a:gd name="T54" fmla="*/ 77 w 429"/>
                <a:gd name="T55" fmla="*/ 388 h 611"/>
                <a:gd name="T56" fmla="*/ 59 w 429"/>
                <a:gd name="T57" fmla="*/ 404 h 611"/>
                <a:gd name="T58" fmla="*/ 29 w 429"/>
                <a:gd name="T59" fmla="*/ 419 h 611"/>
                <a:gd name="T60" fmla="*/ 16 w 429"/>
                <a:gd name="T61" fmla="*/ 428 h 611"/>
                <a:gd name="T62" fmla="*/ 12 w 429"/>
                <a:gd name="T63" fmla="*/ 443 h 611"/>
                <a:gd name="T64" fmla="*/ 13 w 429"/>
                <a:gd name="T65" fmla="*/ 469 h 611"/>
                <a:gd name="T66" fmla="*/ 2 w 429"/>
                <a:gd name="T67" fmla="*/ 507 h 611"/>
                <a:gd name="T68" fmla="*/ 6 w 429"/>
                <a:gd name="T69" fmla="*/ 528 h 611"/>
                <a:gd name="T70" fmla="*/ 11 w 429"/>
                <a:gd name="T71" fmla="*/ 555 h 611"/>
                <a:gd name="T72" fmla="*/ 11 w 429"/>
                <a:gd name="T73" fmla="*/ 574 h 611"/>
                <a:gd name="T74" fmla="*/ 32 w 429"/>
                <a:gd name="T75" fmla="*/ 606 h 611"/>
                <a:gd name="T76" fmla="*/ 77 w 429"/>
                <a:gd name="T77" fmla="*/ 601 h 611"/>
                <a:gd name="T78" fmla="*/ 128 w 429"/>
                <a:gd name="T79" fmla="*/ 557 h 611"/>
                <a:gd name="T80" fmla="*/ 148 w 429"/>
                <a:gd name="T81" fmla="*/ 570 h 611"/>
                <a:gd name="T82" fmla="*/ 151 w 429"/>
                <a:gd name="T83" fmla="*/ 532 h 611"/>
                <a:gd name="T84" fmla="*/ 165 w 429"/>
                <a:gd name="T85" fmla="*/ 515 h 611"/>
                <a:gd name="T86" fmla="*/ 167 w 429"/>
                <a:gd name="T87" fmla="*/ 473 h 611"/>
                <a:gd name="T88" fmla="*/ 151 w 429"/>
                <a:gd name="T89" fmla="*/ 405 h 611"/>
                <a:gd name="T90" fmla="*/ 154 w 429"/>
                <a:gd name="T91" fmla="*/ 359 h 611"/>
                <a:gd name="T92" fmla="*/ 191 w 429"/>
                <a:gd name="T93" fmla="*/ 291 h 611"/>
                <a:gd name="T94" fmla="*/ 205 w 429"/>
                <a:gd name="T95" fmla="*/ 235 h 611"/>
                <a:gd name="T96" fmla="*/ 220 w 429"/>
                <a:gd name="T97" fmla="*/ 183 h 611"/>
                <a:gd name="T98" fmla="*/ 243 w 429"/>
                <a:gd name="T99" fmla="*/ 138 h 611"/>
                <a:gd name="T100" fmla="*/ 271 w 429"/>
                <a:gd name="T101" fmla="*/ 136 h 611"/>
                <a:gd name="T102" fmla="*/ 283 w 429"/>
                <a:gd name="T103" fmla="*/ 109 h 611"/>
                <a:gd name="T104" fmla="*/ 325 w 429"/>
                <a:gd name="T105" fmla="*/ 122 h 611"/>
                <a:gd name="T106" fmla="*/ 349 w 429"/>
                <a:gd name="T107" fmla="*/ 112 h 611"/>
                <a:gd name="T108" fmla="*/ 357 w 429"/>
                <a:gd name="T109" fmla="*/ 64 h 611"/>
                <a:gd name="T110" fmla="*/ 386 w 429"/>
                <a:gd name="T111" fmla="*/ 49 h 611"/>
                <a:gd name="T112" fmla="*/ 408 w 429"/>
                <a:gd name="T113" fmla="*/ 69 h 611"/>
                <a:gd name="T114" fmla="*/ 420 w 429"/>
                <a:gd name="T115" fmla="*/ 63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29" h="611">
                  <a:moveTo>
                    <a:pt x="429" y="54"/>
                  </a:moveTo>
                  <a:cubicBezTo>
                    <a:pt x="429" y="53"/>
                    <a:pt x="428" y="52"/>
                    <a:pt x="428" y="51"/>
                  </a:cubicBezTo>
                  <a:cubicBezTo>
                    <a:pt x="428" y="50"/>
                    <a:pt x="427" y="49"/>
                    <a:pt x="427" y="48"/>
                  </a:cubicBezTo>
                  <a:cubicBezTo>
                    <a:pt x="426" y="47"/>
                    <a:pt x="426" y="47"/>
                    <a:pt x="426" y="47"/>
                  </a:cubicBezTo>
                  <a:cubicBezTo>
                    <a:pt x="427" y="46"/>
                    <a:pt x="427" y="46"/>
                    <a:pt x="427" y="46"/>
                  </a:cubicBezTo>
                  <a:cubicBezTo>
                    <a:pt x="427" y="46"/>
                    <a:pt x="427" y="45"/>
                    <a:pt x="428" y="45"/>
                  </a:cubicBezTo>
                  <a:cubicBezTo>
                    <a:pt x="427" y="44"/>
                    <a:pt x="427" y="44"/>
                    <a:pt x="426" y="44"/>
                  </a:cubicBezTo>
                  <a:cubicBezTo>
                    <a:pt x="424" y="45"/>
                    <a:pt x="420" y="50"/>
                    <a:pt x="420" y="50"/>
                  </a:cubicBezTo>
                  <a:cubicBezTo>
                    <a:pt x="419" y="42"/>
                    <a:pt x="419" y="42"/>
                    <a:pt x="419" y="42"/>
                  </a:cubicBezTo>
                  <a:cubicBezTo>
                    <a:pt x="413" y="45"/>
                    <a:pt x="413" y="45"/>
                    <a:pt x="413" y="45"/>
                  </a:cubicBezTo>
                  <a:cubicBezTo>
                    <a:pt x="406" y="43"/>
                    <a:pt x="406" y="43"/>
                    <a:pt x="406" y="43"/>
                  </a:cubicBezTo>
                  <a:cubicBezTo>
                    <a:pt x="406" y="43"/>
                    <a:pt x="404" y="40"/>
                    <a:pt x="402" y="41"/>
                  </a:cubicBezTo>
                  <a:cubicBezTo>
                    <a:pt x="399" y="41"/>
                    <a:pt x="395" y="41"/>
                    <a:pt x="395" y="41"/>
                  </a:cubicBezTo>
                  <a:cubicBezTo>
                    <a:pt x="395" y="41"/>
                    <a:pt x="391" y="38"/>
                    <a:pt x="394" y="38"/>
                  </a:cubicBezTo>
                  <a:cubicBezTo>
                    <a:pt x="396" y="38"/>
                    <a:pt x="401" y="38"/>
                    <a:pt x="403" y="38"/>
                  </a:cubicBezTo>
                  <a:cubicBezTo>
                    <a:pt x="405" y="38"/>
                    <a:pt x="417" y="34"/>
                    <a:pt x="417" y="34"/>
                  </a:cubicBezTo>
                  <a:cubicBezTo>
                    <a:pt x="418" y="29"/>
                    <a:pt x="418" y="29"/>
                    <a:pt x="418" y="29"/>
                  </a:cubicBezTo>
                  <a:cubicBezTo>
                    <a:pt x="424" y="24"/>
                    <a:pt x="424" y="24"/>
                    <a:pt x="424" y="24"/>
                  </a:cubicBezTo>
                  <a:cubicBezTo>
                    <a:pt x="414" y="17"/>
                    <a:pt x="414" y="17"/>
                    <a:pt x="414" y="17"/>
                  </a:cubicBezTo>
                  <a:cubicBezTo>
                    <a:pt x="410" y="10"/>
                    <a:pt x="410" y="10"/>
                    <a:pt x="410" y="10"/>
                  </a:cubicBezTo>
                  <a:cubicBezTo>
                    <a:pt x="410" y="10"/>
                    <a:pt x="410" y="8"/>
                    <a:pt x="407" y="8"/>
                  </a:cubicBezTo>
                  <a:cubicBezTo>
                    <a:pt x="405" y="8"/>
                    <a:pt x="399" y="11"/>
                    <a:pt x="399" y="11"/>
                  </a:cubicBezTo>
                  <a:cubicBezTo>
                    <a:pt x="394" y="8"/>
                    <a:pt x="394" y="8"/>
                    <a:pt x="394" y="8"/>
                  </a:cubicBezTo>
                  <a:cubicBezTo>
                    <a:pt x="387" y="9"/>
                    <a:pt x="387" y="9"/>
                    <a:pt x="387" y="9"/>
                  </a:cubicBezTo>
                  <a:cubicBezTo>
                    <a:pt x="377" y="6"/>
                    <a:pt x="377" y="6"/>
                    <a:pt x="377" y="6"/>
                  </a:cubicBezTo>
                  <a:cubicBezTo>
                    <a:pt x="376" y="8"/>
                    <a:pt x="376" y="8"/>
                    <a:pt x="376" y="8"/>
                  </a:cubicBezTo>
                  <a:cubicBezTo>
                    <a:pt x="376" y="8"/>
                    <a:pt x="373" y="7"/>
                    <a:pt x="373" y="5"/>
                  </a:cubicBezTo>
                  <a:cubicBezTo>
                    <a:pt x="373" y="4"/>
                    <a:pt x="373" y="2"/>
                    <a:pt x="373" y="2"/>
                  </a:cubicBezTo>
                  <a:cubicBezTo>
                    <a:pt x="369" y="3"/>
                    <a:pt x="369" y="3"/>
                    <a:pt x="369" y="3"/>
                  </a:cubicBezTo>
                  <a:cubicBezTo>
                    <a:pt x="367" y="4"/>
                    <a:pt x="367" y="4"/>
                    <a:pt x="367" y="4"/>
                  </a:cubicBezTo>
                  <a:cubicBezTo>
                    <a:pt x="362" y="0"/>
                    <a:pt x="362" y="0"/>
                    <a:pt x="362" y="0"/>
                  </a:cubicBezTo>
                  <a:cubicBezTo>
                    <a:pt x="360" y="6"/>
                    <a:pt x="360" y="6"/>
                    <a:pt x="360" y="6"/>
                  </a:cubicBezTo>
                  <a:cubicBezTo>
                    <a:pt x="363" y="11"/>
                    <a:pt x="363" y="11"/>
                    <a:pt x="363" y="11"/>
                  </a:cubicBezTo>
                  <a:cubicBezTo>
                    <a:pt x="360" y="17"/>
                    <a:pt x="360" y="17"/>
                    <a:pt x="360" y="17"/>
                  </a:cubicBezTo>
                  <a:cubicBezTo>
                    <a:pt x="362" y="22"/>
                    <a:pt x="362" y="22"/>
                    <a:pt x="362" y="22"/>
                  </a:cubicBezTo>
                  <a:cubicBezTo>
                    <a:pt x="362" y="28"/>
                    <a:pt x="362" y="28"/>
                    <a:pt x="362" y="28"/>
                  </a:cubicBezTo>
                  <a:cubicBezTo>
                    <a:pt x="359" y="34"/>
                    <a:pt x="359" y="34"/>
                    <a:pt x="359" y="34"/>
                  </a:cubicBezTo>
                  <a:cubicBezTo>
                    <a:pt x="354" y="30"/>
                    <a:pt x="354" y="30"/>
                    <a:pt x="354" y="30"/>
                  </a:cubicBezTo>
                  <a:cubicBezTo>
                    <a:pt x="355" y="24"/>
                    <a:pt x="355" y="24"/>
                    <a:pt x="355" y="24"/>
                  </a:cubicBezTo>
                  <a:cubicBezTo>
                    <a:pt x="357" y="18"/>
                    <a:pt x="357" y="18"/>
                    <a:pt x="357" y="18"/>
                  </a:cubicBezTo>
                  <a:cubicBezTo>
                    <a:pt x="354" y="11"/>
                    <a:pt x="354" y="11"/>
                    <a:pt x="354" y="11"/>
                  </a:cubicBezTo>
                  <a:cubicBezTo>
                    <a:pt x="347" y="17"/>
                    <a:pt x="347" y="17"/>
                    <a:pt x="347" y="17"/>
                  </a:cubicBezTo>
                  <a:cubicBezTo>
                    <a:pt x="348" y="25"/>
                    <a:pt x="348" y="25"/>
                    <a:pt x="348" y="25"/>
                  </a:cubicBezTo>
                  <a:cubicBezTo>
                    <a:pt x="345" y="30"/>
                    <a:pt x="345" y="30"/>
                    <a:pt x="345" y="30"/>
                  </a:cubicBezTo>
                  <a:cubicBezTo>
                    <a:pt x="345" y="37"/>
                    <a:pt x="345" y="37"/>
                    <a:pt x="345" y="37"/>
                  </a:cubicBezTo>
                  <a:cubicBezTo>
                    <a:pt x="343" y="43"/>
                    <a:pt x="343" y="43"/>
                    <a:pt x="343" y="43"/>
                  </a:cubicBezTo>
                  <a:cubicBezTo>
                    <a:pt x="342" y="51"/>
                    <a:pt x="342" y="51"/>
                    <a:pt x="342" y="51"/>
                  </a:cubicBezTo>
                  <a:cubicBezTo>
                    <a:pt x="342" y="51"/>
                    <a:pt x="342" y="52"/>
                    <a:pt x="340" y="52"/>
                  </a:cubicBezTo>
                  <a:cubicBezTo>
                    <a:pt x="339" y="53"/>
                    <a:pt x="336" y="52"/>
                    <a:pt x="336" y="52"/>
                  </a:cubicBezTo>
                  <a:cubicBezTo>
                    <a:pt x="336" y="41"/>
                    <a:pt x="336" y="41"/>
                    <a:pt x="336" y="41"/>
                  </a:cubicBezTo>
                  <a:cubicBezTo>
                    <a:pt x="337" y="35"/>
                    <a:pt x="337" y="35"/>
                    <a:pt x="337" y="35"/>
                  </a:cubicBezTo>
                  <a:cubicBezTo>
                    <a:pt x="339" y="30"/>
                    <a:pt x="339" y="30"/>
                    <a:pt x="339" y="30"/>
                  </a:cubicBezTo>
                  <a:cubicBezTo>
                    <a:pt x="343" y="24"/>
                    <a:pt x="343" y="24"/>
                    <a:pt x="343" y="24"/>
                  </a:cubicBezTo>
                  <a:cubicBezTo>
                    <a:pt x="343" y="24"/>
                    <a:pt x="343" y="20"/>
                    <a:pt x="342" y="20"/>
                  </a:cubicBezTo>
                  <a:cubicBezTo>
                    <a:pt x="342" y="19"/>
                    <a:pt x="341" y="18"/>
                    <a:pt x="341" y="18"/>
                  </a:cubicBezTo>
                  <a:cubicBezTo>
                    <a:pt x="341" y="18"/>
                    <a:pt x="345" y="15"/>
                    <a:pt x="345" y="15"/>
                  </a:cubicBezTo>
                  <a:cubicBezTo>
                    <a:pt x="345" y="15"/>
                    <a:pt x="344" y="12"/>
                    <a:pt x="342" y="11"/>
                  </a:cubicBezTo>
                  <a:cubicBezTo>
                    <a:pt x="340" y="9"/>
                    <a:pt x="339" y="8"/>
                    <a:pt x="338" y="9"/>
                  </a:cubicBezTo>
                  <a:cubicBezTo>
                    <a:pt x="336" y="10"/>
                    <a:pt x="332" y="11"/>
                    <a:pt x="332" y="12"/>
                  </a:cubicBezTo>
                  <a:cubicBezTo>
                    <a:pt x="332" y="12"/>
                    <a:pt x="332" y="14"/>
                    <a:pt x="333" y="15"/>
                  </a:cubicBezTo>
                  <a:cubicBezTo>
                    <a:pt x="334" y="16"/>
                    <a:pt x="335" y="16"/>
                    <a:pt x="335" y="16"/>
                  </a:cubicBezTo>
                  <a:cubicBezTo>
                    <a:pt x="335" y="17"/>
                    <a:pt x="336" y="19"/>
                    <a:pt x="335" y="20"/>
                  </a:cubicBezTo>
                  <a:cubicBezTo>
                    <a:pt x="335" y="21"/>
                    <a:pt x="335" y="23"/>
                    <a:pt x="333" y="22"/>
                  </a:cubicBezTo>
                  <a:cubicBezTo>
                    <a:pt x="331" y="21"/>
                    <a:pt x="327" y="19"/>
                    <a:pt x="326" y="19"/>
                  </a:cubicBezTo>
                  <a:cubicBezTo>
                    <a:pt x="326" y="18"/>
                    <a:pt x="326" y="15"/>
                    <a:pt x="325" y="18"/>
                  </a:cubicBezTo>
                  <a:cubicBezTo>
                    <a:pt x="323" y="21"/>
                    <a:pt x="323" y="22"/>
                    <a:pt x="323" y="23"/>
                  </a:cubicBezTo>
                  <a:cubicBezTo>
                    <a:pt x="324" y="25"/>
                    <a:pt x="325" y="25"/>
                    <a:pt x="325" y="25"/>
                  </a:cubicBezTo>
                  <a:cubicBezTo>
                    <a:pt x="325" y="26"/>
                    <a:pt x="322" y="27"/>
                    <a:pt x="322" y="27"/>
                  </a:cubicBezTo>
                  <a:cubicBezTo>
                    <a:pt x="322" y="28"/>
                    <a:pt x="321" y="29"/>
                    <a:pt x="323" y="30"/>
                  </a:cubicBezTo>
                  <a:cubicBezTo>
                    <a:pt x="324" y="31"/>
                    <a:pt x="326" y="32"/>
                    <a:pt x="326" y="32"/>
                  </a:cubicBezTo>
                  <a:cubicBezTo>
                    <a:pt x="326" y="32"/>
                    <a:pt x="327" y="35"/>
                    <a:pt x="327" y="35"/>
                  </a:cubicBezTo>
                  <a:cubicBezTo>
                    <a:pt x="327" y="35"/>
                    <a:pt x="322" y="34"/>
                    <a:pt x="322" y="35"/>
                  </a:cubicBezTo>
                  <a:cubicBezTo>
                    <a:pt x="322" y="36"/>
                    <a:pt x="322" y="38"/>
                    <a:pt x="322" y="39"/>
                  </a:cubicBezTo>
                  <a:cubicBezTo>
                    <a:pt x="322" y="39"/>
                    <a:pt x="322" y="41"/>
                    <a:pt x="322" y="41"/>
                  </a:cubicBezTo>
                  <a:cubicBezTo>
                    <a:pt x="322" y="42"/>
                    <a:pt x="318" y="42"/>
                    <a:pt x="317" y="43"/>
                  </a:cubicBezTo>
                  <a:cubicBezTo>
                    <a:pt x="316" y="43"/>
                    <a:pt x="316" y="46"/>
                    <a:pt x="315" y="48"/>
                  </a:cubicBezTo>
                  <a:cubicBezTo>
                    <a:pt x="315" y="49"/>
                    <a:pt x="315" y="50"/>
                    <a:pt x="314" y="51"/>
                  </a:cubicBezTo>
                  <a:cubicBezTo>
                    <a:pt x="314" y="52"/>
                    <a:pt x="313" y="54"/>
                    <a:pt x="313" y="54"/>
                  </a:cubicBezTo>
                  <a:cubicBezTo>
                    <a:pt x="313" y="54"/>
                    <a:pt x="313" y="54"/>
                    <a:pt x="311" y="54"/>
                  </a:cubicBezTo>
                  <a:cubicBezTo>
                    <a:pt x="310" y="54"/>
                    <a:pt x="305" y="50"/>
                    <a:pt x="303" y="51"/>
                  </a:cubicBezTo>
                  <a:cubicBezTo>
                    <a:pt x="302" y="51"/>
                    <a:pt x="300" y="52"/>
                    <a:pt x="300" y="53"/>
                  </a:cubicBezTo>
                  <a:cubicBezTo>
                    <a:pt x="300" y="54"/>
                    <a:pt x="303" y="56"/>
                    <a:pt x="303" y="56"/>
                  </a:cubicBezTo>
                  <a:cubicBezTo>
                    <a:pt x="304" y="56"/>
                    <a:pt x="308" y="57"/>
                    <a:pt x="308" y="58"/>
                  </a:cubicBezTo>
                  <a:cubicBezTo>
                    <a:pt x="308" y="59"/>
                    <a:pt x="308" y="64"/>
                    <a:pt x="308" y="64"/>
                  </a:cubicBezTo>
                  <a:cubicBezTo>
                    <a:pt x="308" y="64"/>
                    <a:pt x="312" y="71"/>
                    <a:pt x="306" y="65"/>
                  </a:cubicBezTo>
                  <a:cubicBezTo>
                    <a:pt x="300" y="59"/>
                    <a:pt x="300" y="58"/>
                    <a:pt x="299" y="58"/>
                  </a:cubicBezTo>
                  <a:cubicBezTo>
                    <a:pt x="298" y="58"/>
                    <a:pt x="292" y="56"/>
                    <a:pt x="292" y="56"/>
                  </a:cubicBezTo>
                  <a:cubicBezTo>
                    <a:pt x="292" y="56"/>
                    <a:pt x="291" y="54"/>
                    <a:pt x="291" y="56"/>
                  </a:cubicBezTo>
                  <a:cubicBezTo>
                    <a:pt x="290" y="58"/>
                    <a:pt x="292" y="61"/>
                    <a:pt x="292" y="61"/>
                  </a:cubicBezTo>
                  <a:cubicBezTo>
                    <a:pt x="291" y="61"/>
                    <a:pt x="291" y="61"/>
                    <a:pt x="291" y="61"/>
                  </a:cubicBezTo>
                  <a:cubicBezTo>
                    <a:pt x="291" y="61"/>
                    <a:pt x="289" y="59"/>
                    <a:pt x="288" y="58"/>
                  </a:cubicBezTo>
                  <a:cubicBezTo>
                    <a:pt x="287" y="57"/>
                    <a:pt x="284" y="58"/>
                    <a:pt x="284" y="58"/>
                  </a:cubicBezTo>
                  <a:cubicBezTo>
                    <a:pt x="284" y="58"/>
                    <a:pt x="283" y="60"/>
                    <a:pt x="282" y="61"/>
                  </a:cubicBezTo>
                  <a:cubicBezTo>
                    <a:pt x="281" y="62"/>
                    <a:pt x="278" y="59"/>
                    <a:pt x="281" y="62"/>
                  </a:cubicBezTo>
                  <a:cubicBezTo>
                    <a:pt x="283" y="66"/>
                    <a:pt x="285" y="66"/>
                    <a:pt x="286" y="67"/>
                  </a:cubicBezTo>
                  <a:cubicBezTo>
                    <a:pt x="287" y="68"/>
                    <a:pt x="290" y="68"/>
                    <a:pt x="291" y="69"/>
                  </a:cubicBezTo>
                  <a:cubicBezTo>
                    <a:pt x="291" y="70"/>
                    <a:pt x="292" y="73"/>
                    <a:pt x="292" y="73"/>
                  </a:cubicBezTo>
                  <a:cubicBezTo>
                    <a:pt x="292" y="73"/>
                    <a:pt x="294" y="76"/>
                    <a:pt x="290" y="73"/>
                  </a:cubicBezTo>
                  <a:cubicBezTo>
                    <a:pt x="286" y="71"/>
                    <a:pt x="285" y="70"/>
                    <a:pt x="284" y="70"/>
                  </a:cubicBezTo>
                  <a:cubicBezTo>
                    <a:pt x="283" y="70"/>
                    <a:pt x="282" y="71"/>
                    <a:pt x="282" y="71"/>
                  </a:cubicBezTo>
                  <a:cubicBezTo>
                    <a:pt x="282" y="71"/>
                    <a:pt x="277" y="70"/>
                    <a:pt x="277" y="68"/>
                  </a:cubicBezTo>
                  <a:cubicBezTo>
                    <a:pt x="276" y="66"/>
                    <a:pt x="278" y="62"/>
                    <a:pt x="274" y="62"/>
                  </a:cubicBezTo>
                  <a:cubicBezTo>
                    <a:pt x="271" y="63"/>
                    <a:pt x="269" y="64"/>
                    <a:pt x="269" y="65"/>
                  </a:cubicBezTo>
                  <a:cubicBezTo>
                    <a:pt x="269" y="66"/>
                    <a:pt x="267" y="66"/>
                    <a:pt x="270" y="69"/>
                  </a:cubicBezTo>
                  <a:cubicBezTo>
                    <a:pt x="272" y="72"/>
                    <a:pt x="274" y="73"/>
                    <a:pt x="274" y="73"/>
                  </a:cubicBezTo>
                  <a:cubicBezTo>
                    <a:pt x="275" y="73"/>
                    <a:pt x="279" y="73"/>
                    <a:pt x="277" y="74"/>
                  </a:cubicBezTo>
                  <a:cubicBezTo>
                    <a:pt x="275" y="76"/>
                    <a:pt x="272" y="76"/>
                    <a:pt x="271" y="76"/>
                  </a:cubicBezTo>
                  <a:cubicBezTo>
                    <a:pt x="271" y="76"/>
                    <a:pt x="272" y="75"/>
                    <a:pt x="270" y="75"/>
                  </a:cubicBezTo>
                  <a:cubicBezTo>
                    <a:pt x="269" y="76"/>
                    <a:pt x="265" y="80"/>
                    <a:pt x="265" y="80"/>
                  </a:cubicBezTo>
                  <a:cubicBezTo>
                    <a:pt x="265" y="80"/>
                    <a:pt x="264" y="79"/>
                    <a:pt x="264" y="78"/>
                  </a:cubicBezTo>
                  <a:cubicBezTo>
                    <a:pt x="264" y="77"/>
                    <a:pt x="267" y="76"/>
                    <a:pt x="267" y="74"/>
                  </a:cubicBezTo>
                  <a:cubicBezTo>
                    <a:pt x="268" y="72"/>
                    <a:pt x="265" y="67"/>
                    <a:pt x="265" y="67"/>
                  </a:cubicBezTo>
                  <a:cubicBezTo>
                    <a:pt x="265" y="67"/>
                    <a:pt x="263" y="65"/>
                    <a:pt x="262" y="65"/>
                  </a:cubicBezTo>
                  <a:cubicBezTo>
                    <a:pt x="261" y="64"/>
                    <a:pt x="259" y="63"/>
                    <a:pt x="258" y="63"/>
                  </a:cubicBezTo>
                  <a:cubicBezTo>
                    <a:pt x="257" y="64"/>
                    <a:pt x="256" y="67"/>
                    <a:pt x="258" y="68"/>
                  </a:cubicBezTo>
                  <a:cubicBezTo>
                    <a:pt x="259" y="70"/>
                    <a:pt x="261" y="72"/>
                    <a:pt x="260" y="73"/>
                  </a:cubicBezTo>
                  <a:cubicBezTo>
                    <a:pt x="259" y="73"/>
                    <a:pt x="258" y="74"/>
                    <a:pt x="257" y="73"/>
                  </a:cubicBezTo>
                  <a:cubicBezTo>
                    <a:pt x="256" y="73"/>
                    <a:pt x="254" y="71"/>
                    <a:pt x="252" y="72"/>
                  </a:cubicBezTo>
                  <a:cubicBezTo>
                    <a:pt x="250" y="73"/>
                    <a:pt x="247" y="78"/>
                    <a:pt x="247" y="78"/>
                  </a:cubicBezTo>
                  <a:cubicBezTo>
                    <a:pt x="247" y="78"/>
                    <a:pt x="250" y="83"/>
                    <a:pt x="250" y="83"/>
                  </a:cubicBezTo>
                  <a:cubicBezTo>
                    <a:pt x="251" y="84"/>
                    <a:pt x="252" y="85"/>
                    <a:pt x="252" y="87"/>
                  </a:cubicBezTo>
                  <a:cubicBezTo>
                    <a:pt x="251" y="88"/>
                    <a:pt x="252" y="86"/>
                    <a:pt x="250" y="87"/>
                  </a:cubicBezTo>
                  <a:cubicBezTo>
                    <a:pt x="248" y="88"/>
                    <a:pt x="247" y="88"/>
                    <a:pt x="246" y="89"/>
                  </a:cubicBezTo>
                  <a:cubicBezTo>
                    <a:pt x="244" y="89"/>
                    <a:pt x="240" y="93"/>
                    <a:pt x="240" y="93"/>
                  </a:cubicBezTo>
                  <a:cubicBezTo>
                    <a:pt x="242" y="96"/>
                    <a:pt x="242" y="96"/>
                    <a:pt x="242" y="96"/>
                  </a:cubicBezTo>
                  <a:cubicBezTo>
                    <a:pt x="242" y="96"/>
                    <a:pt x="236" y="99"/>
                    <a:pt x="235" y="99"/>
                  </a:cubicBezTo>
                  <a:cubicBezTo>
                    <a:pt x="233" y="100"/>
                    <a:pt x="237" y="99"/>
                    <a:pt x="233" y="100"/>
                  </a:cubicBezTo>
                  <a:cubicBezTo>
                    <a:pt x="229" y="101"/>
                    <a:pt x="227" y="105"/>
                    <a:pt x="227" y="106"/>
                  </a:cubicBezTo>
                  <a:cubicBezTo>
                    <a:pt x="226" y="107"/>
                    <a:pt x="223" y="107"/>
                    <a:pt x="223" y="109"/>
                  </a:cubicBezTo>
                  <a:cubicBezTo>
                    <a:pt x="223" y="111"/>
                    <a:pt x="224" y="114"/>
                    <a:pt x="223" y="115"/>
                  </a:cubicBezTo>
                  <a:cubicBezTo>
                    <a:pt x="223" y="116"/>
                    <a:pt x="223" y="116"/>
                    <a:pt x="223" y="117"/>
                  </a:cubicBezTo>
                  <a:cubicBezTo>
                    <a:pt x="223" y="119"/>
                    <a:pt x="222" y="120"/>
                    <a:pt x="225" y="120"/>
                  </a:cubicBezTo>
                  <a:cubicBezTo>
                    <a:pt x="227" y="120"/>
                    <a:pt x="230" y="119"/>
                    <a:pt x="231" y="118"/>
                  </a:cubicBezTo>
                  <a:cubicBezTo>
                    <a:pt x="231" y="117"/>
                    <a:pt x="232" y="114"/>
                    <a:pt x="233" y="115"/>
                  </a:cubicBezTo>
                  <a:cubicBezTo>
                    <a:pt x="234" y="117"/>
                    <a:pt x="234" y="120"/>
                    <a:pt x="234" y="120"/>
                  </a:cubicBezTo>
                  <a:cubicBezTo>
                    <a:pt x="234" y="120"/>
                    <a:pt x="234" y="123"/>
                    <a:pt x="234" y="124"/>
                  </a:cubicBezTo>
                  <a:cubicBezTo>
                    <a:pt x="234" y="125"/>
                    <a:pt x="239" y="123"/>
                    <a:pt x="233" y="126"/>
                  </a:cubicBezTo>
                  <a:cubicBezTo>
                    <a:pt x="228" y="129"/>
                    <a:pt x="226" y="129"/>
                    <a:pt x="226" y="130"/>
                  </a:cubicBezTo>
                  <a:cubicBezTo>
                    <a:pt x="226" y="131"/>
                    <a:pt x="229" y="136"/>
                    <a:pt x="225" y="134"/>
                  </a:cubicBezTo>
                  <a:cubicBezTo>
                    <a:pt x="221" y="133"/>
                    <a:pt x="222" y="134"/>
                    <a:pt x="221" y="133"/>
                  </a:cubicBezTo>
                  <a:cubicBezTo>
                    <a:pt x="220" y="132"/>
                    <a:pt x="222" y="138"/>
                    <a:pt x="217" y="130"/>
                  </a:cubicBezTo>
                  <a:cubicBezTo>
                    <a:pt x="213" y="123"/>
                    <a:pt x="213" y="124"/>
                    <a:pt x="212" y="122"/>
                  </a:cubicBezTo>
                  <a:cubicBezTo>
                    <a:pt x="212" y="121"/>
                    <a:pt x="212" y="115"/>
                    <a:pt x="212" y="115"/>
                  </a:cubicBezTo>
                  <a:cubicBezTo>
                    <a:pt x="212" y="115"/>
                    <a:pt x="211" y="109"/>
                    <a:pt x="208" y="112"/>
                  </a:cubicBezTo>
                  <a:cubicBezTo>
                    <a:pt x="206" y="114"/>
                    <a:pt x="205" y="118"/>
                    <a:pt x="205" y="118"/>
                  </a:cubicBezTo>
                  <a:cubicBezTo>
                    <a:pt x="205" y="118"/>
                    <a:pt x="201" y="122"/>
                    <a:pt x="201" y="123"/>
                  </a:cubicBezTo>
                  <a:cubicBezTo>
                    <a:pt x="200" y="123"/>
                    <a:pt x="198" y="123"/>
                    <a:pt x="196" y="125"/>
                  </a:cubicBezTo>
                  <a:cubicBezTo>
                    <a:pt x="194" y="127"/>
                    <a:pt x="189" y="135"/>
                    <a:pt x="189" y="135"/>
                  </a:cubicBezTo>
                  <a:cubicBezTo>
                    <a:pt x="189" y="135"/>
                    <a:pt x="185" y="141"/>
                    <a:pt x="186" y="142"/>
                  </a:cubicBezTo>
                  <a:cubicBezTo>
                    <a:pt x="187" y="144"/>
                    <a:pt x="189" y="146"/>
                    <a:pt x="189" y="146"/>
                  </a:cubicBezTo>
                  <a:cubicBezTo>
                    <a:pt x="189" y="146"/>
                    <a:pt x="190" y="145"/>
                    <a:pt x="190" y="148"/>
                  </a:cubicBezTo>
                  <a:cubicBezTo>
                    <a:pt x="190" y="150"/>
                    <a:pt x="194" y="151"/>
                    <a:pt x="194" y="151"/>
                  </a:cubicBezTo>
                  <a:cubicBezTo>
                    <a:pt x="194" y="151"/>
                    <a:pt x="196" y="152"/>
                    <a:pt x="194" y="153"/>
                  </a:cubicBezTo>
                  <a:cubicBezTo>
                    <a:pt x="192" y="155"/>
                    <a:pt x="185" y="156"/>
                    <a:pt x="185" y="156"/>
                  </a:cubicBezTo>
                  <a:cubicBezTo>
                    <a:pt x="179" y="156"/>
                    <a:pt x="179" y="156"/>
                    <a:pt x="179" y="156"/>
                  </a:cubicBezTo>
                  <a:cubicBezTo>
                    <a:pt x="179" y="156"/>
                    <a:pt x="176" y="160"/>
                    <a:pt x="175" y="160"/>
                  </a:cubicBezTo>
                  <a:cubicBezTo>
                    <a:pt x="173" y="161"/>
                    <a:pt x="171" y="163"/>
                    <a:pt x="170" y="164"/>
                  </a:cubicBezTo>
                  <a:cubicBezTo>
                    <a:pt x="170" y="166"/>
                    <a:pt x="162" y="172"/>
                    <a:pt x="162" y="172"/>
                  </a:cubicBezTo>
                  <a:cubicBezTo>
                    <a:pt x="162" y="172"/>
                    <a:pt x="163" y="175"/>
                    <a:pt x="163" y="176"/>
                  </a:cubicBezTo>
                  <a:cubicBezTo>
                    <a:pt x="163" y="177"/>
                    <a:pt x="159" y="179"/>
                    <a:pt x="161" y="179"/>
                  </a:cubicBezTo>
                  <a:cubicBezTo>
                    <a:pt x="163" y="180"/>
                    <a:pt x="165" y="181"/>
                    <a:pt x="167" y="178"/>
                  </a:cubicBezTo>
                  <a:cubicBezTo>
                    <a:pt x="168" y="175"/>
                    <a:pt x="169" y="171"/>
                    <a:pt x="169" y="171"/>
                  </a:cubicBezTo>
                  <a:cubicBezTo>
                    <a:pt x="169" y="171"/>
                    <a:pt x="170" y="169"/>
                    <a:pt x="172" y="169"/>
                  </a:cubicBezTo>
                  <a:cubicBezTo>
                    <a:pt x="174" y="169"/>
                    <a:pt x="177" y="167"/>
                    <a:pt x="179" y="167"/>
                  </a:cubicBezTo>
                  <a:cubicBezTo>
                    <a:pt x="181" y="166"/>
                    <a:pt x="184" y="162"/>
                    <a:pt x="185" y="162"/>
                  </a:cubicBezTo>
                  <a:cubicBezTo>
                    <a:pt x="186" y="162"/>
                    <a:pt x="186" y="163"/>
                    <a:pt x="189" y="163"/>
                  </a:cubicBezTo>
                  <a:cubicBezTo>
                    <a:pt x="193" y="162"/>
                    <a:pt x="196" y="162"/>
                    <a:pt x="197" y="161"/>
                  </a:cubicBezTo>
                  <a:cubicBezTo>
                    <a:pt x="198" y="160"/>
                    <a:pt x="205" y="164"/>
                    <a:pt x="205" y="165"/>
                  </a:cubicBezTo>
                  <a:cubicBezTo>
                    <a:pt x="206" y="166"/>
                    <a:pt x="199" y="167"/>
                    <a:pt x="202" y="169"/>
                  </a:cubicBezTo>
                  <a:cubicBezTo>
                    <a:pt x="205" y="170"/>
                    <a:pt x="205" y="171"/>
                    <a:pt x="206" y="171"/>
                  </a:cubicBezTo>
                  <a:cubicBezTo>
                    <a:pt x="207" y="171"/>
                    <a:pt x="208" y="171"/>
                    <a:pt x="211" y="169"/>
                  </a:cubicBezTo>
                  <a:cubicBezTo>
                    <a:pt x="213" y="168"/>
                    <a:pt x="209" y="165"/>
                    <a:pt x="214" y="167"/>
                  </a:cubicBezTo>
                  <a:cubicBezTo>
                    <a:pt x="219" y="169"/>
                    <a:pt x="218" y="170"/>
                    <a:pt x="218" y="170"/>
                  </a:cubicBezTo>
                  <a:cubicBezTo>
                    <a:pt x="218" y="172"/>
                    <a:pt x="218" y="172"/>
                    <a:pt x="218" y="172"/>
                  </a:cubicBezTo>
                  <a:cubicBezTo>
                    <a:pt x="214" y="173"/>
                    <a:pt x="214" y="173"/>
                    <a:pt x="214" y="173"/>
                  </a:cubicBezTo>
                  <a:cubicBezTo>
                    <a:pt x="209" y="172"/>
                    <a:pt x="209" y="172"/>
                    <a:pt x="209" y="172"/>
                  </a:cubicBezTo>
                  <a:cubicBezTo>
                    <a:pt x="206" y="173"/>
                    <a:pt x="206" y="173"/>
                    <a:pt x="206" y="173"/>
                  </a:cubicBezTo>
                  <a:cubicBezTo>
                    <a:pt x="206" y="173"/>
                    <a:pt x="205" y="174"/>
                    <a:pt x="205" y="174"/>
                  </a:cubicBezTo>
                  <a:cubicBezTo>
                    <a:pt x="204" y="174"/>
                    <a:pt x="197" y="175"/>
                    <a:pt x="197" y="175"/>
                  </a:cubicBezTo>
                  <a:cubicBezTo>
                    <a:pt x="194" y="180"/>
                    <a:pt x="194" y="180"/>
                    <a:pt x="194" y="180"/>
                  </a:cubicBezTo>
                  <a:cubicBezTo>
                    <a:pt x="194" y="180"/>
                    <a:pt x="196" y="184"/>
                    <a:pt x="197" y="183"/>
                  </a:cubicBezTo>
                  <a:cubicBezTo>
                    <a:pt x="198" y="183"/>
                    <a:pt x="202" y="182"/>
                    <a:pt x="202" y="182"/>
                  </a:cubicBezTo>
                  <a:cubicBezTo>
                    <a:pt x="203" y="182"/>
                    <a:pt x="204" y="184"/>
                    <a:pt x="203" y="185"/>
                  </a:cubicBezTo>
                  <a:cubicBezTo>
                    <a:pt x="203" y="186"/>
                    <a:pt x="200" y="188"/>
                    <a:pt x="200" y="188"/>
                  </a:cubicBezTo>
                  <a:cubicBezTo>
                    <a:pt x="198" y="191"/>
                    <a:pt x="198" y="191"/>
                    <a:pt x="198" y="191"/>
                  </a:cubicBezTo>
                  <a:cubicBezTo>
                    <a:pt x="198" y="191"/>
                    <a:pt x="201" y="192"/>
                    <a:pt x="202" y="192"/>
                  </a:cubicBezTo>
                  <a:cubicBezTo>
                    <a:pt x="202" y="192"/>
                    <a:pt x="207" y="192"/>
                    <a:pt x="206" y="193"/>
                  </a:cubicBezTo>
                  <a:cubicBezTo>
                    <a:pt x="206" y="193"/>
                    <a:pt x="199" y="194"/>
                    <a:pt x="199" y="194"/>
                  </a:cubicBezTo>
                  <a:cubicBezTo>
                    <a:pt x="199" y="194"/>
                    <a:pt x="193" y="193"/>
                    <a:pt x="193" y="193"/>
                  </a:cubicBezTo>
                  <a:cubicBezTo>
                    <a:pt x="193" y="194"/>
                    <a:pt x="192" y="195"/>
                    <a:pt x="192" y="196"/>
                  </a:cubicBezTo>
                  <a:cubicBezTo>
                    <a:pt x="192" y="196"/>
                    <a:pt x="191" y="198"/>
                    <a:pt x="191" y="198"/>
                  </a:cubicBezTo>
                  <a:cubicBezTo>
                    <a:pt x="190" y="198"/>
                    <a:pt x="188" y="199"/>
                    <a:pt x="188" y="199"/>
                  </a:cubicBezTo>
                  <a:cubicBezTo>
                    <a:pt x="188" y="200"/>
                    <a:pt x="187" y="202"/>
                    <a:pt x="187" y="203"/>
                  </a:cubicBezTo>
                  <a:cubicBezTo>
                    <a:pt x="187" y="204"/>
                    <a:pt x="190" y="206"/>
                    <a:pt x="190" y="206"/>
                  </a:cubicBezTo>
                  <a:cubicBezTo>
                    <a:pt x="189" y="208"/>
                    <a:pt x="189" y="208"/>
                    <a:pt x="189" y="208"/>
                  </a:cubicBezTo>
                  <a:cubicBezTo>
                    <a:pt x="186" y="211"/>
                    <a:pt x="186" y="211"/>
                    <a:pt x="186" y="211"/>
                  </a:cubicBezTo>
                  <a:cubicBezTo>
                    <a:pt x="186" y="211"/>
                    <a:pt x="184" y="212"/>
                    <a:pt x="184" y="213"/>
                  </a:cubicBezTo>
                  <a:cubicBezTo>
                    <a:pt x="184" y="213"/>
                    <a:pt x="181" y="215"/>
                    <a:pt x="181" y="215"/>
                  </a:cubicBezTo>
                  <a:cubicBezTo>
                    <a:pt x="175" y="218"/>
                    <a:pt x="175" y="218"/>
                    <a:pt x="175" y="218"/>
                  </a:cubicBezTo>
                  <a:cubicBezTo>
                    <a:pt x="175" y="218"/>
                    <a:pt x="176" y="220"/>
                    <a:pt x="177" y="221"/>
                  </a:cubicBezTo>
                  <a:cubicBezTo>
                    <a:pt x="177" y="221"/>
                    <a:pt x="179" y="223"/>
                    <a:pt x="177" y="224"/>
                  </a:cubicBezTo>
                  <a:cubicBezTo>
                    <a:pt x="176" y="225"/>
                    <a:pt x="174" y="226"/>
                    <a:pt x="173" y="226"/>
                  </a:cubicBezTo>
                  <a:cubicBezTo>
                    <a:pt x="173" y="227"/>
                    <a:pt x="171" y="228"/>
                    <a:pt x="172" y="229"/>
                  </a:cubicBezTo>
                  <a:cubicBezTo>
                    <a:pt x="172" y="231"/>
                    <a:pt x="170" y="233"/>
                    <a:pt x="170" y="234"/>
                  </a:cubicBezTo>
                  <a:cubicBezTo>
                    <a:pt x="170" y="234"/>
                    <a:pt x="168" y="235"/>
                    <a:pt x="169" y="237"/>
                  </a:cubicBezTo>
                  <a:cubicBezTo>
                    <a:pt x="169" y="239"/>
                    <a:pt x="168" y="244"/>
                    <a:pt x="168" y="244"/>
                  </a:cubicBezTo>
                  <a:cubicBezTo>
                    <a:pt x="168" y="244"/>
                    <a:pt x="171" y="248"/>
                    <a:pt x="171" y="248"/>
                  </a:cubicBezTo>
                  <a:cubicBezTo>
                    <a:pt x="172" y="248"/>
                    <a:pt x="175" y="246"/>
                    <a:pt x="177" y="246"/>
                  </a:cubicBezTo>
                  <a:cubicBezTo>
                    <a:pt x="178" y="247"/>
                    <a:pt x="180" y="248"/>
                    <a:pt x="180" y="248"/>
                  </a:cubicBezTo>
                  <a:cubicBezTo>
                    <a:pt x="180" y="248"/>
                    <a:pt x="180" y="252"/>
                    <a:pt x="179" y="253"/>
                  </a:cubicBezTo>
                  <a:cubicBezTo>
                    <a:pt x="178" y="253"/>
                    <a:pt x="173" y="254"/>
                    <a:pt x="173" y="254"/>
                  </a:cubicBezTo>
                  <a:cubicBezTo>
                    <a:pt x="173" y="254"/>
                    <a:pt x="171" y="252"/>
                    <a:pt x="170" y="253"/>
                  </a:cubicBezTo>
                  <a:cubicBezTo>
                    <a:pt x="169" y="253"/>
                    <a:pt x="165" y="257"/>
                    <a:pt x="165" y="257"/>
                  </a:cubicBezTo>
                  <a:cubicBezTo>
                    <a:pt x="165" y="257"/>
                    <a:pt x="165" y="259"/>
                    <a:pt x="164" y="260"/>
                  </a:cubicBezTo>
                  <a:cubicBezTo>
                    <a:pt x="163" y="260"/>
                    <a:pt x="162" y="259"/>
                    <a:pt x="162" y="260"/>
                  </a:cubicBezTo>
                  <a:cubicBezTo>
                    <a:pt x="162" y="261"/>
                    <a:pt x="162" y="264"/>
                    <a:pt x="162" y="265"/>
                  </a:cubicBezTo>
                  <a:cubicBezTo>
                    <a:pt x="162" y="266"/>
                    <a:pt x="162" y="268"/>
                    <a:pt x="162" y="268"/>
                  </a:cubicBezTo>
                  <a:cubicBezTo>
                    <a:pt x="162" y="268"/>
                    <a:pt x="160" y="271"/>
                    <a:pt x="159" y="273"/>
                  </a:cubicBezTo>
                  <a:cubicBezTo>
                    <a:pt x="159" y="275"/>
                    <a:pt x="157" y="279"/>
                    <a:pt x="157" y="279"/>
                  </a:cubicBezTo>
                  <a:cubicBezTo>
                    <a:pt x="158" y="280"/>
                    <a:pt x="159" y="284"/>
                    <a:pt x="159" y="284"/>
                  </a:cubicBezTo>
                  <a:cubicBezTo>
                    <a:pt x="154" y="287"/>
                    <a:pt x="154" y="287"/>
                    <a:pt x="154" y="287"/>
                  </a:cubicBezTo>
                  <a:cubicBezTo>
                    <a:pt x="155" y="291"/>
                    <a:pt x="155" y="291"/>
                    <a:pt x="155" y="291"/>
                  </a:cubicBezTo>
                  <a:cubicBezTo>
                    <a:pt x="155" y="291"/>
                    <a:pt x="156" y="292"/>
                    <a:pt x="156" y="293"/>
                  </a:cubicBezTo>
                  <a:cubicBezTo>
                    <a:pt x="156" y="294"/>
                    <a:pt x="153" y="296"/>
                    <a:pt x="153" y="296"/>
                  </a:cubicBezTo>
                  <a:cubicBezTo>
                    <a:pt x="153" y="296"/>
                    <a:pt x="153" y="300"/>
                    <a:pt x="152" y="301"/>
                  </a:cubicBezTo>
                  <a:cubicBezTo>
                    <a:pt x="152" y="302"/>
                    <a:pt x="148" y="299"/>
                    <a:pt x="148" y="299"/>
                  </a:cubicBezTo>
                  <a:cubicBezTo>
                    <a:pt x="145" y="300"/>
                    <a:pt x="145" y="300"/>
                    <a:pt x="145" y="300"/>
                  </a:cubicBezTo>
                  <a:cubicBezTo>
                    <a:pt x="145" y="303"/>
                    <a:pt x="145" y="303"/>
                    <a:pt x="145" y="303"/>
                  </a:cubicBezTo>
                  <a:cubicBezTo>
                    <a:pt x="143" y="306"/>
                    <a:pt x="143" y="306"/>
                    <a:pt x="143" y="306"/>
                  </a:cubicBezTo>
                  <a:cubicBezTo>
                    <a:pt x="138" y="306"/>
                    <a:pt x="138" y="306"/>
                    <a:pt x="138" y="306"/>
                  </a:cubicBezTo>
                  <a:cubicBezTo>
                    <a:pt x="138" y="306"/>
                    <a:pt x="133" y="309"/>
                    <a:pt x="133" y="310"/>
                  </a:cubicBezTo>
                  <a:cubicBezTo>
                    <a:pt x="133" y="310"/>
                    <a:pt x="132" y="312"/>
                    <a:pt x="133" y="312"/>
                  </a:cubicBezTo>
                  <a:cubicBezTo>
                    <a:pt x="135" y="313"/>
                    <a:pt x="136" y="313"/>
                    <a:pt x="137" y="312"/>
                  </a:cubicBezTo>
                  <a:cubicBezTo>
                    <a:pt x="138" y="312"/>
                    <a:pt x="142" y="310"/>
                    <a:pt x="142" y="310"/>
                  </a:cubicBezTo>
                  <a:cubicBezTo>
                    <a:pt x="143" y="310"/>
                    <a:pt x="146" y="310"/>
                    <a:pt x="144" y="312"/>
                  </a:cubicBezTo>
                  <a:cubicBezTo>
                    <a:pt x="143" y="313"/>
                    <a:pt x="141" y="314"/>
                    <a:pt x="140" y="314"/>
                  </a:cubicBezTo>
                  <a:cubicBezTo>
                    <a:pt x="139" y="315"/>
                    <a:pt x="137" y="315"/>
                    <a:pt x="136" y="317"/>
                  </a:cubicBezTo>
                  <a:cubicBezTo>
                    <a:pt x="136" y="320"/>
                    <a:pt x="136" y="322"/>
                    <a:pt x="136" y="322"/>
                  </a:cubicBezTo>
                  <a:cubicBezTo>
                    <a:pt x="141" y="320"/>
                    <a:pt x="141" y="320"/>
                    <a:pt x="141" y="320"/>
                  </a:cubicBezTo>
                  <a:cubicBezTo>
                    <a:pt x="141" y="320"/>
                    <a:pt x="142" y="320"/>
                    <a:pt x="143" y="322"/>
                  </a:cubicBezTo>
                  <a:cubicBezTo>
                    <a:pt x="144" y="325"/>
                    <a:pt x="141" y="326"/>
                    <a:pt x="140" y="326"/>
                  </a:cubicBezTo>
                  <a:cubicBezTo>
                    <a:pt x="139" y="326"/>
                    <a:pt x="135" y="323"/>
                    <a:pt x="135" y="323"/>
                  </a:cubicBezTo>
                  <a:cubicBezTo>
                    <a:pt x="131" y="325"/>
                    <a:pt x="131" y="325"/>
                    <a:pt x="131" y="325"/>
                  </a:cubicBezTo>
                  <a:cubicBezTo>
                    <a:pt x="131" y="325"/>
                    <a:pt x="131" y="324"/>
                    <a:pt x="128" y="327"/>
                  </a:cubicBezTo>
                  <a:cubicBezTo>
                    <a:pt x="124" y="330"/>
                    <a:pt x="123" y="334"/>
                    <a:pt x="123" y="335"/>
                  </a:cubicBezTo>
                  <a:cubicBezTo>
                    <a:pt x="123" y="336"/>
                    <a:pt x="122" y="338"/>
                    <a:pt x="121" y="339"/>
                  </a:cubicBezTo>
                  <a:cubicBezTo>
                    <a:pt x="119" y="340"/>
                    <a:pt x="116" y="343"/>
                    <a:pt x="116" y="343"/>
                  </a:cubicBezTo>
                  <a:cubicBezTo>
                    <a:pt x="116" y="343"/>
                    <a:pt x="115" y="344"/>
                    <a:pt x="115" y="346"/>
                  </a:cubicBezTo>
                  <a:cubicBezTo>
                    <a:pt x="114" y="348"/>
                    <a:pt x="114" y="348"/>
                    <a:pt x="114" y="348"/>
                  </a:cubicBezTo>
                  <a:cubicBezTo>
                    <a:pt x="117" y="351"/>
                    <a:pt x="117" y="351"/>
                    <a:pt x="117" y="351"/>
                  </a:cubicBezTo>
                  <a:cubicBezTo>
                    <a:pt x="111" y="354"/>
                    <a:pt x="111" y="354"/>
                    <a:pt x="111" y="354"/>
                  </a:cubicBezTo>
                  <a:cubicBezTo>
                    <a:pt x="109" y="356"/>
                    <a:pt x="109" y="356"/>
                    <a:pt x="109" y="356"/>
                  </a:cubicBezTo>
                  <a:cubicBezTo>
                    <a:pt x="109" y="356"/>
                    <a:pt x="104" y="361"/>
                    <a:pt x="108" y="362"/>
                  </a:cubicBezTo>
                  <a:cubicBezTo>
                    <a:pt x="111" y="362"/>
                    <a:pt x="113" y="362"/>
                    <a:pt x="113" y="362"/>
                  </a:cubicBezTo>
                  <a:cubicBezTo>
                    <a:pt x="113" y="362"/>
                    <a:pt x="113" y="367"/>
                    <a:pt x="114" y="367"/>
                  </a:cubicBezTo>
                  <a:cubicBezTo>
                    <a:pt x="115" y="367"/>
                    <a:pt x="122" y="368"/>
                    <a:pt x="122" y="368"/>
                  </a:cubicBezTo>
                  <a:cubicBezTo>
                    <a:pt x="126" y="364"/>
                    <a:pt x="126" y="364"/>
                    <a:pt x="126" y="364"/>
                  </a:cubicBezTo>
                  <a:cubicBezTo>
                    <a:pt x="128" y="363"/>
                    <a:pt x="128" y="363"/>
                    <a:pt x="128" y="363"/>
                  </a:cubicBezTo>
                  <a:cubicBezTo>
                    <a:pt x="130" y="366"/>
                    <a:pt x="130" y="366"/>
                    <a:pt x="130" y="366"/>
                  </a:cubicBezTo>
                  <a:cubicBezTo>
                    <a:pt x="130" y="366"/>
                    <a:pt x="129" y="368"/>
                    <a:pt x="126" y="368"/>
                  </a:cubicBezTo>
                  <a:cubicBezTo>
                    <a:pt x="124" y="368"/>
                    <a:pt x="125" y="368"/>
                    <a:pt x="123" y="370"/>
                  </a:cubicBezTo>
                  <a:cubicBezTo>
                    <a:pt x="121" y="372"/>
                    <a:pt x="120" y="373"/>
                    <a:pt x="119" y="373"/>
                  </a:cubicBezTo>
                  <a:cubicBezTo>
                    <a:pt x="118" y="373"/>
                    <a:pt x="116" y="375"/>
                    <a:pt x="115" y="372"/>
                  </a:cubicBezTo>
                  <a:cubicBezTo>
                    <a:pt x="114" y="370"/>
                    <a:pt x="112" y="367"/>
                    <a:pt x="112" y="367"/>
                  </a:cubicBezTo>
                  <a:cubicBezTo>
                    <a:pt x="105" y="364"/>
                    <a:pt x="105" y="364"/>
                    <a:pt x="105" y="364"/>
                  </a:cubicBezTo>
                  <a:cubicBezTo>
                    <a:pt x="103" y="365"/>
                    <a:pt x="103" y="365"/>
                    <a:pt x="103" y="365"/>
                  </a:cubicBezTo>
                  <a:cubicBezTo>
                    <a:pt x="103" y="365"/>
                    <a:pt x="103" y="368"/>
                    <a:pt x="102" y="368"/>
                  </a:cubicBezTo>
                  <a:cubicBezTo>
                    <a:pt x="101" y="368"/>
                    <a:pt x="96" y="368"/>
                    <a:pt x="95" y="368"/>
                  </a:cubicBezTo>
                  <a:cubicBezTo>
                    <a:pt x="93" y="368"/>
                    <a:pt x="92" y="368"/>
                    <a:pt x="92" y="367"/>
                  </a:cubicBezTo>
                  <a:cubicBezTo>
                    <a:pt x="92" y="366"/>
                    <a:pt x="92" y="365"/>
                    <a:pt x="91" y="365"/>
                  </a:cubicBezTo>
                  <a:cubicBezTo>
                    <a:pt x="91" y="364"/>
                    <a:pt x="89" y="361"/>
                    <a:pt x="88" y="361"/>
                  </a:cubicBezTo>
                  <a:cubicBezTo>
                    <a:pt x="86" y="361"/>
                    <a:pt x="83" y="363"/>
                    <a:pt x="83" y="363"/>
                  </a:cubicBezTo>
                  <a:cubicBezTo>
                    <a:pt x="82" y="370"/>
                    <a:pt x="82" y="370"/>
                    <a:pt x="82" y="370"/>
                  </a:cubicBezTo>
                  <a:cubicBezTo>
                    <a:pt x="82" y="370"/>
                    <a:pt x="80" y="369"/>
                    <a:pt x="80" y="371"/>
                  </a:cubicBezTo>
                  <a:cubicBezTo>
                    <a:pt x="80" y="372"/>
                    <a:pt x="83" y="375"/>
                    <a:pt x="83" y="375"/>
                  </a:cubicBezTo>
                  <a:cubicBezTo>
                    <a:pt x="83" y="375"/>
                    <a:pt x="85" y="376"/>
                    <a:pt x="85" y="377"/>
                  </a:cubicBezTo>
                  <a:cubicBezTo>
                    <a:pt x="85" y="378"/>
                    <a:pt x="83" y="380"/>
                    <a:pt x="83" y="380"/>
                  </a:cubicBezTo>
                  <a:cubicBezTo>
                    <a:pt x="83" y="380"/>
                    <a:pt x="79" y="380"/>
                    <a:pt x="79" y="381"/>
                  </a:cubicBezTo>
                  <a:cubicBezTo>
                    <a:pt x="78" y="382"/>
                    <a:pt x="79" y="385"/>
                    <a:pt x="79" y="385"/>
                  </a:cubicBezTo>
                  <a:cubicBezTo>
                    <a:pt x="78" y="385"/>
                    <a:pt x="76" y="387"/>
                    <a:pt x="77" y="388"/>
                  </a:cubicBezTo>
                  <a:cubicBezTo>
                    <a:pt x="77" y="388"/>
                    <a:pt x="78" y="392"/>
                    <a:pt x="78" y="392"/>
                  </a:cubicBezTo>
                  <a:cubicBezTo>
                    <a:pt x="78" y="392"/>
                    <a:pt x="78" y="396"/>
                    <a:pt x="77" y="394"/>
                  </a:cubicBezTo>
                  <a:cubicBezTo>
                    <a:pt x="75" y="392"/>
                    <a:pt x="70" y="390"/>
                    <a:pt x="70" y="390"/>
                  </a:cubicBezTo>
                  <a:cubicBezTo>
                    <a:pt x="67" y="388"/>
                    <a:pt x="67" y="388"/>
                    <a:pt x="67" y="388"/>
                  </a:cubicBezTo>
                  <a:cubicBezTo>
                    <a:pt x="67" y="388"/>
                    <a:pt x="64" y="390"/>
                    <a:pt x="63" y="390"/>
                  </a:cubicBezTo>
                  <a:cubicBezTo>
                    <a:pt x="63" y="390"/>
                    <a:pt x="57" y="389"/>
                    <a:pt x="56" y="390"/>
                  </a:cubicBezTo>
                  <a:cubicBezTo>
                    <a:pt x="55" y="391"/>
                    <a:pt x="55" y="392"/>
                    <a:pt x="54" y="394"/>
                  </a:cubicBezTo>
                  <a:cubicBezTo>
                    <a:pt x="53" y="395"/>
                    <a:pt x="50" y="395"/>
                    <a:pt x="52" y="398"/>
                  </a:cubicBezTo>
                  <a:cubicBezTo>
                    <a:pt x="55" y="400"/>
                    <a:pt x="58" y="401"/>
                    <a:pt x="58" y="401"/>
                  </a:cubicBezTo>
                  <a:cubicBezTo>
                    <a:pt x="58" y="401"/>
                    <a:pt x="60" y="401"/>
                    <a:pt x="59" y="404"/>
                  </a:cubicBezTo>
                  <a:cubicBezTo>
                    <a:pt x="57" y="407"/>
                    <a:pt x="53" y="405"/>
                    <a:pt x="53" y="405"/>
                  </a:cubicBezTo>
                  <a:cubicBezTo>
                    <a:pt x="52" y="404"/>
                    <a:pt x="48" y="402"/>
                    <a:pt x="48" y="402"/>
                  </a:cubicBezTo>
                  <a:cubicBezTo>
                    <a:pt x="47" y="403"/>
                    <a:pt x="44" y="407"/>
                    <a:pt x="44" y="407"/>
                  </a:cubicBezTo>
                  <a:cubicBezTo>
                    <a:pt x="44" y="407"/>
                    <a:pt x="43" y="408"/>
                    <a:pt x="42" y="408"/>
                  </a:cubicBezTo>
                  <a:cubicBezTo>
                    <a:pt x="41" y="407"/>
                    <a:pt x="39" y="404"/>
                    <a:pt x="38" y="404"/>
                  </a:cubicBezTo>
                  <a:cubicBezTo>
                    <a:pt x="37" y="405"/>
                    <a:pt x="36" y="407"/>
                    <a:pt x="36" y="407"/>
                  </a:cubicBezTo>
                  <a:cubicBezTo>
                    <a:pt x="36" y="408"/>
                    <a:pt x="37" y="410"/>
                    <a:pt x="37" y="411"/>
                  </a:cubicBezTo>
                  <a:cubicBezTo>
                    <a:pt x="36" y="411"/>
                    <a:pt x="32" y="412"/>
                    <a:pt x="32" y="413"/>
                  </a:cubicBezTo>
                  <a:cubicBezTo>
                    <a:pt x="32" y="414"/>
                    <a:pt x="31" y="412"/>
                    <a:pt x="30" y="416"/>
                  </a:cubicBezTo>
                  <a:cubicBezTo>
                    <a:pt x="29" y="419"/>
                    <a:pt x="31" y="419"/>
                    <a:pt x="29" y="419"/>
                  </a:cubicBezTo>
                  <a:cubicBezTo>
                    <a:pt x="28" y="419"/>
                    <a:pt x="25" y="417"/>
                    <a:pt x="25" y="417"/>
                  </a:cubicBezTo>
                  <a:cubicBezTo>
                    <a:pt x="25" y="417"/>
                    <a:pt x="22" y="414"/>
                    <a:pt x="22" y="417"/>
                  </a:cubicBezTo>
                  <a:cubicBezTo>
                    <a:pt x="22" y="420"/>
                    <a:pt x="22" y="424"/>
                    <a:pt x="22" y="424"/>
                  </a:cubicBezTo>
                  <a:cubicBezTo>
                    <a:pt x="23" y="425"/>
                    <a:pt x="23" y="425"/>
                    <a:pt x="23" y="425"/>
                  </a:cubicBezTo>
                  <a:cubicBezTo>
                    <a:pt x="23" y="425"/>
                    <a:pt x="23" y="426"/>
                    <a:pt x="22" y="427"/>
                  </a:cubicBezTo>
                  <a:cubicBezTo>
                    <a:pt x="22" y="427"/>
                    <a:pt x="20" y="426"/>
                    <a:pt x="20" y="425"/>
                  </a:cubicBezTo>
                  <a:cubicBezTo>
                    <a:pt x="19" y="424"/>
                    <a:pt x="20" y="423"/>
                    <a:pt x="18" y="422"/>
                  </a:cubicBezTo>
                  <a:cubicBezTo>
                    <a:pt x="15" y="421"/>
                    <a:pt x="13" y="420"/>
                    <a:pt x="13" y="421"/>
                  </a:cubicBezTo>
                  <a:cubicBezTo>
                    <a:pt x="13" y="423"/>
                    <a:pt x="13" y="424"/>
                    <a:pt x="13" y="425"/>
                  </a:cubicBezTo>
                  <a:cubicBezTo>
                    <a:pt x="14" y="427"/>
                    <a:pt x="16" y="428"/>
                    <a:pt x="16" y="428"/>
                  </a:cubicBezTo>
                  <a:cubicBezTo>
                    <a:pt x="17" y="428"/>
                    <a:pt x="17" y="428"/>
                    <a:pt x="17" y="428"/>
                  </a:cubicBezTo>
                  <a:cubicBezTo>
                    <a:pt x="17" y="428"/>
                    <a:pt x="16" y="431"/>
                    <a:pt x="15" y="431"/>
                  </a:cubicBezTo>
                  <a:cubicBezTo>
                    <a:pt x="14" y="431"/>
                    <a:pt x="13" y="429"/>
                    <a:pt x="13" y="430"/>
                  </a:cubicBezTo>
                  <a:cubicBezTo>
                    <a:pt x="12" y="430"/>
                    <a:pt x="10" y="432"/>
                    <a:pt x="10" y="432"/>
                  </a:cubicBezTo>
                  <a:cubicBezTo>
                    <a:pt x="10" y="432"/>
                    <a:pt x="11" y="433"/>
                    <a:pt x="11" y="434"/>
                  </a:cubicBezTo>
                  <a:cubicBezTo>
                    <a:pt x="11" y="434"/>
                    <a:pt x="9" y="436"/>
                    <a:pt x="8" y="436"/>
                  </a:cubicBezTo>
                  <a:cubicBezTo>
                    <a:pt x="8" y="437"/>
                    <a:pt x="7" y="437"/>
                    <a:pt x="7" y="438"/>
                  </a:cubicBezTo>
                  <a:cubicBezTo>
                    <a:pt x="7" y="439"/>
                    <a:pt x="8" y="441"/>
                    <a:pt x="8" y="441"/>
                  </a:cubicBezTo>
                  <a:cubicBezTo>
                    <a:pt x="9" y="441"/>
                    <a:pt x="13" y="441"/>
                    <a:pt x="13" y="441"/>
                  </a:cubicBezTo>
                  <a:cubicBezTo>
                    <a:pt x="13" y="441"/>
                    <a:pt x="13" y="443"/>
                    <a:pt x="12" y="443"/>
                  </a:cubicBezTo>
                  <a:cubicBezTo>
                    <a:pt x="11" y="444"/>
                    <a:pt x="10" y="445"/>
                    <a:pt x="9" y="446"/>
                  </a:cubicBezTo>
                  <a:cubicBezTo>
                    <a:pt x="9" y="448"/>
                    <a:pt x="10" y="451"/>
                    <a:pt x="12" y="452"/>
                  </a:cubicBezTo>
                  <a:cubicBezTo>
                    <a:pt x="14" y="452"/>
                    <a:pt x="17" y="453"/>
                    <a:pt x="16" y="454"/>
                  </a:cubicBezTo>
                  <a:cubicBezTo>
                    <a:pt x="16" y="455"/>
                    <a:pt x="12" y="458"/>
                    <a:pt x="11" y="458"/>
                  </a:cubicBezTo>
                  <a:cubicBezTo>
                    <a:pt x="10" y="459"/>
                    <a:pt x="9" y="459"/>
                    <a:pt x="9" y="461"/>
                  </a:cubicBezTo>
                  <a:cubicBezTo>
                    <a:pt x="8" y="462"/>
                    <a:pt x="9" y="463"/>
                    <a:pt x="7" y="464"/>
                  </a:cubicBezTo>
                  <a:cubicBezTo>
                    <a:pt x="6" y="465"/>
                    <a:pt x="4" y="464"/>
                    <a:pt x="5" y="466"/>
                  </a:cubicBezTo>
                  <a:cubicBezTo>
                    <a:pt x="5" y="469"/>
                    <a:pt x="5" y="470"/>
                    <a:pt x="6" y="469"/>
                  </a:cubicBezTo>
                  <a:cubicBezTo>
                    <a:pt x="6" y="469"/>
                    <a:pt x="7" y="469"/>
                    <a:pt x="7" y="469"/>
                  </a:cubicBezTo>
                  <a:cubicBezTo>
                    <a:pt x="13" y="469"/>
                    <a:pt x="13" y="469"/>
                    <a:pt x="13" y="469"/>
                  </a:cubicBezTo>
                  <a:cubicBezTo>
                    <a:pt x="13" y="469"/>
                    <a:pt x="13" y="470"/>
                    <a:pt x="13" y="471"/>
                  </a:cubicBezTo>
                  <a:cubicBezTo>
                    <a:pt x="12" y="472"/>
                    <a:pt x="8" y="477"/>
                    <a:pt x="8" y="477"/>
                  </a:cubicBezTo>
                  <a:cubicBezTo>
                    <a:pt x="8" y="477"/>
                    <a:pt x="8" y="479"/>
                    <a:pt x="7" y="480"/>
                  </a:cubicBezTo>
                  <a:cubicBezTo>
                    <a:pt x="6" y="481"/>
                    <a:pt x="4" y="481"/>
                    <a:pt x="4" y="482"/>
                  </a:cubicBezTo>
                  <a:cubicBezTo>
                    <a:pt x="4" y="483"/>
                    <a:pt x="4" y="484"/>
                    <a:pt x="4" y="486"/>
                  </a:cubicBezTo>
                  <a:cubicBezTo>
                    <a:pt x="4" y="487"/>
                    <a:pt x="6" y="489"/>
                    <a:pt x="6" y="490"/>
                  </a:cubicBezTo>
                  <a:cubicBezTo>
                    <a:pt x="7" y="491"/>
                    <a:pt x="6" y="492"/>
                    <a:pt x="6" y="492"/>
                  </a:cubicBezTo>
                  <a:cubicBezTo>
                    <a:pt x="4" y="499"/>
                    <a:pt x="4" y="499"/>
                    <a:pt x="4" y="499"/>
                  </a:cubicBezTo>
                  <a:cubicBezTo>
                    <a:pt x="4" y="499"/>
                    <a:pt x="4" y="502"/>
                    <a:pt x="4" y="503"/>
                  </a:cubicBezTo>
                  <a:cubicBezTo>
                    <a:pt x="4" y="503"/>
                    <a:pt x="0" y="505"/>
                    <a:pt x="2" y="507"/>
                  </a:cubicBezTo>
                  <a:cubicBezTo>
                    <a:pt x="4" y="509"/>
                    <a:pt x="5" y="510"/>
                    <a:pt x="6" y="510"/>
                  </a:cubicBezTo>
                  <a:cubicBezTo>
                    <a:pt x="7" y="511"/>
                    <a:pt x="11" y="510"/>
                    <a:pt x="11" y="511"/>
                  </a:cubicBezTo>
                  <a:cubicBezTo>
                    <a:pt x="11" y="511"/>
                    <a:pt x="11" y="512"/>
                    <a:pt x="9" y="512"/>
                  </a:cubicBezTo>
                  <a:cubicBezTo>
                    <a:pt x="7" y="513"/>
                    <a:pt x="5" y="512"/>
                    <a:pt x="5" y="513"/>
                  </a:cubicBezTo>
                  <a:cubicBezTo>
                    <a:pt x="5" y="514"/>
                    <a:pt x="1" y="519"/>
                    <a:pt x="1" y="519"/>
                  </a:cubicBezTo>
                  <a:cubicBezTo>
                    <a:pt x="5" y="524"/>
                    <a:pt x="5" y="524"/>
                    <a:pt x="5" y="524"/>
                  </a:cubicBezTo>
                  <a:cubicBezTo>
                    <a:pt x="5" y="524"/>
                    <a:pt x="7" y="522"/>
                    <a:pt x="8" y="522"/>
                  </a:cubicBezTo>
                  <a:cubicBezTo>
                    <a:pt x="8" y="522"/>
                    <a:pt x="11" y="522"/>
                    <a:pt x="11" y="523"/>
                  </a:cubicBezTo>
                  <a:cubicBezTo>
                    <a:pt x="11" y="523"/>
                    <a:pt x="9" y="525"/>
                    <a:pt x="9" y="526"/>
                  </a:cubicBezTo>
                  <a:cubicBezTo>
                    <a:pt x="8" y="526"/>
                    <a:pt x="6" y="527"/>
                    <a:pt x="6" y="528"/>
                  </a:cubicBezTo>
                  <a:cubicBezTo>
                    <a:pt x="6" y="528"/>
                    <a:pt x="8" y="531"/>
                    <a:pt x="8" y="531"/>
                  </a:cubicBezTo>
                  <a:cubicBezTo>
                    <a:pt x="8" y="531"/>
                    <a:pt x="10" y="531"/>
                    <a:pt x="10" y="532"/>
                  </a:cubicBezTo>
                  <a:cubicBezTo>
                    <a:pt x="10" y="533"/>
                    <a:pt x="7" y="535"/>
                    <a:pt x="7" y="535"/>
                  </a:cubicBezTo>
                  <a:cubicBezTo>
                    <a:pt x="7" y="537"/>
                    <a:pt x="7" y="537"/>
                    <a:pt x="7" y="537"/>
                  </a:cubicBezTo>
                  <a:cubicBezTo>
                    <a:pt x="6" y="542"/>
                    <a:pt x="6" y="542"/>
                    <a:pt x="6" y="542"/>
                  </a:cubicBezTo>
                  <a:cubicBezTo>
                    <a:pt x="9" y="545"/>
                    <a:pt x="9" y="545"/>
                    <a:pt x="9" y="545"/>
                  </a:cubicBezTo>
                  <a:cubicBezTo>
                    <a:pt x="9" y="545"/>
                    <a:pt x="13" y="545"/>
                    <a:pt x="11" y="547"/>
                  </a:cubicBezTo>
                  <a:cubicBezTo>
                    <a:pt x="10" y="549"/>
                    <a:pt x="8" y="550"/>
                    <a:pt x="8" y="551"/>
                  </a:cubicBezTo>
                  <a:cubicBezTo>
                    <a:pt x="8" y="553"/>
                    <a:pt x="7" y="555"/>
                    <a:pt x="9" y="555"/>
                  </a:cubicBezTo>
                  <a:cubicBezTo>
                    <a:pt x="10" y="555"/>
                    <a:pt x="10" y="556"/>
                    <a:pt x="11" y="555"/>
                  </a:cubicBezTo>
                  <a:cubicBezTo>
                    <a:pt x="12" y="555"/>
                    <a:pt x="14" y="554"/>
                    <a:pt x="14" y="554"/>
                  </a:cubicBezTo>
                  <a:cubicBezTo>
                    <a:pt x="14" y="554"/>
                    <a:pt x="17" y="552"/>
                    <a:pt x="18" y="552"/>
                  </a:cubicBezTo>
                  <a:cubicBezTo>
                    <a:pt x="19" y="552"/>
                    <a:pt x="21" y="553"/>
                    <a:pt x="21" y="554"/>
                  </a:cubicBezTo>
                  <a:cubicBezTo>
                    <a:pt x="21" y="555"/>
                    <a:pt x="22" y="555"/>
                    <a:pt x="22" y="556"/>
                  </a:cubicBezTo>
                  <a:cubicBezTo>
                    <a:pt x="23" y="556"/>
                    <a:pt x="21" y="560"/>
                    <a:pt x="21" y="560"/>
                  </a:cubicBezTo>
                  <a:cubicBezTo>
                    <a:pt x="19" y="564"/>
                    <a:pt x="19" y="564"/>
                    <a:pt x="19" y="564"/>
                  </a:cubicBezTo>
                  <a:cubicBezTo>
                    <a:pt x="19" y="564"/>
                    <a:pt x="21" y="566"/>
                    <a:pt x="21" y="566"/>
                  </a:cubicBezTo>
                  <a:cubicBezTo>
                    <a:pt x="20" y="566"/>
                    <a:pt x="17" y="567"/>
                    <a:pt x="16" y="567"/>
                  </a:cubicBezTo>
                  <a:cubicBezTo>
                    <a:pt x="15" y="567"/>
                    <a:pt x="14" y="567"/>
                    <a:pt x="14" y="568"/>
                  </a:cubicBezTo>
                  <a:cubicBezTo>
                    <a:pt x="13" y="570"/>
                    <a:pt x="11" y="574"/>
                    <a:pt x="11" y="574"/>
                  </a:cubicBezTo>
                  <a:cubicBezTo>
                    <a:pt x="11" y="574"/>
                    <a:pt x="10" y="575"/>
                    <a:pt x="11" y="577"/>
                  </a:cubicBezTo>
                  <a:cubicBezTo>
                    <a:pt x="12" y="579"/>
                    <a:pt x="15" y="584"/>
                    <a:pt x="15" y="584"/>
                  </a:cubicBezTo>
                  <a:cubicBezTo>
                    <a:pt x="15" y="585"/>
                    <a:pt x="17" y="587"/>
                    <a:pt x="19" y="589"/>
                  </a:cubicBezTo>
                  <a:cubicBezTo>
                    <a:pt x="21" y="590"/>
                    <a:pt x="23" y="591"/>
                    <a:pt x="23" y="592"/>
                  </a:cubicBezTo>
                  <a:cubicBezTo>
                    <a:pt x="23" y="594"/>
                    <a:pt x="23" y="594"/>
                    <a:pt x="23" y="594"/>
                  </a:cubicBezTo>
                  <a:cubicBezTo>
                    <a:pt x="27" y="597"/>
                    <a:pt x="27" y="597"/>
                    <a:pt x="27" y="597"/>
                  </a:cubicBezTo>
                  <a:cubicBezTo>
                    <a:pt x="27" y="597"/>
                    <a:pt x="28" y="597"/>
                    <a:pt x="31" y="598"/>
                  </a:cubicBezTo>
                  <a:cubicBezTo>
                    <a:pt x="34" y="598"/>
                    <a:pt x="36" y="599"/>
                    <a:pt x="37" y="599"/>
                  </a:cubicBezTo>
                  <a:cubicBezTo>
                    <a:pt x="37" y="600"/>
                    <a:pt x="34" y="602"/>
                    <a:pt x="34" y="602"/>
                  </a:cubicBezTo>
                  <a:cubicBezTo>
                    <a:pt x="34" y="602"/>
                    <a:pt x="30" y="605"/>
                    <a:pt x="32" y="606"/>
                  </a:cubicBezTo>
                  <a:cubicBezTo>
                    <a:pt x="34" y="607"/>
                    <a:pt x="44" y="609"/>
                    <a:pt x="44" y="609"/>
                  </a:cubicBezTo>
                  <a:cubicBezTo>
                    <a:pt x="44" y="609"/>
                    <a:pt x="46" y="610"/>
                    <a:pt x="46" y="611"/>
                  </a:cubicBezTo>
                  <a:cubicBezTo>
                    <a:pt x="47" y="611"/>
                    <a:pt x="49" y="610"/>
                    <a:pt x="49" y="610"/>
                  </a:cubicBezTo>
                  <a:cubicBezTo>
                    <a:pt x="49" y="609"/>
                    <a:pt x="53" y="611"/>
                    <a:pt x="53" y="611"/>
                  </a:cubicBezTo>
                  <a:cubicBezTo>
                    <a:pt x="54" y="610"/>
                    <a:pt x="58" y="610"/>
                    <a:pt x="58" y="610"/>
                  </a:cubicBezTo>
                  <a:cubicBezTo>
                    <a:pt x="62" y="608"/>
                    <a:pt x="62" y="608"/>
                    <a:pt x="62" y="608"/>
                  </a:cubicBezTo>
                  <a:cubicBezTo>
                    <a:pt x="62" y="608"/>
                    <a:pt x="65" y="604"/>
                    <a:pt x="67" y="605"/>
                  </a:cubicBezTo>
                  <a:cubicBezTo>
                    <a:pt x="69" y="606"/>
                    <a:pt x="68" y="607"/>
                    <a:pt x="69" y="607"/>
                  </a:cubicBezTo>
                  <a:cubicBezTo>
                    <a:pt x="71" y="607"/>
                    <a:pt x="72" y="607"/>
                    <a:pt x="74" y="605"/>
                  </a:cubicBezTo>
                  <a:cubicBezTo>
                    <a:pt x="75" y="603"/>
                    <a:pt x="77" y="602"/>
                    <a:pt x="77" y="601"/>
                  </a:cubicBezTo>
                  <a:cubicBezTo>
                    <a:pt x="78" y="601"/>
                    <a:pt x="88" y="595"/>
                    <a:pt x="88" y="595"/>
                  </a:cubicBezTo>
                  <a:cubicBezTo>
                    <a:pt x="95" y="584"/>
                    <a:pt x="95" y="584"/>
                    <a:pt x="95" y="584"/>
                  </a:cubicBezTo>
                  <a:cubicBezTo>
                    <a:pt x="97" y="576"/>
                    <a:pt x="97" y="576"/>
                    <a:pt x="97" y="576"/>
                  </a:cubicBezTo>
                  <a:cubicBezTo>
                    <a:pt x="97" y="576"/>
                    <a:pt x="100" y="572"/>
                    <a:pt x="102" y="572"/>
                  </a:cubicBezTo>
                  <a:cubicBezTo>
                    <a:pt x="104" y="572"/>
                    <a:pt x="110" y="569"/>
                    <a:pt x="109" y="568"/>
                  </a:cubicBezTo>
                  <a:cubicBezTo>
                    <a:pt x="109" y="566"/>
                    <a:pt x="111" y="565"/>
                    <a:pt x="112" y="568"/>
                  </a:cubicBezTo>
                  <a:cubicBezTo>
                    <a:pt x="112" y="571"/>
                    <a:pt x="111" y="574"/>
                    <a:pt x="113" y="573"/>
                  </a:cubicBezTo>
                  <a:cubicBezTo>
                    <a:pt x="115" y="572"/>
                    <a:pt x="119" y="566"/>
                    <a:pt x="119" y="566"/>
                  </a:cubicBezTo>
                  <a:cubicBezTo>
                    <a:pt x="119" y="566"/>
                    <a:pt x="122" y="564"/>
                    <a:pt x="123" y="563"/>
                  </a:cubicBezTo>
                  <a:cubicBezTo>
                    <a:pt x="125" y="563"/>
                    <a:pt x="128" y="557"/>
                    <a:pt x="128" y="557"/>
                  </a:cubicBezTo>
                  <a:cubicBezTo>
                    <a:pt x="128" y="557"/>
                    <a:pt x="131" y="555"/>
                    <a:pt x="132" y="558"/>
                  </a:cubicBezTo>
                  <a:cubicBezTo>
                    <a:pt x="133" y="560"/>
                    <a:pt x="136" y="565"/>
                    <a:pt x="136" y="566"/>
                  </a:cubicBezTo>
                  <a:cubicBezTo>
                    <a:pt x="136" y="566"/>
                    <a:pt x="137" y="567"/>
                    <a:pt x="137" y="567"/>
                  </a:cubicBezTo>
                  <a:cubicBezTo>
                    <a:pt x="137" y="566"/>
                    <a:pt x="137" y="566"/>
                    <a:pt x="137" y="566"/>
                  </a:cubicBezTo>
                  <a:cubicBezTo>
                    <a:pt x="138" y="558"/>
                    <a:pt x="138" y="558"/>
                    <a:pt x="138" y="558"/>
                  </a:cubicBezTo>
                  <a:cubicBezTo>
                    <a:pt x="141" y="560"/>
                    <a:pt x="141" y="560"/>
                    <a:pt x="141" y="560"/>
                  </a:cubicBezTo>
                  <a:cubicBezTo>
                    <a:pt x="147" y="565"/>
                    <a:pt x="147" y="565"/>
                    <a:pt x="147" y="566"/>
                  </a:cubicBezTo>
                  <a:cubicBezTo>
                    <a:pt x="147" y="566"/>
                    <a:pt x="147" y="566"/>
                    <a:pt x="148" y="570"/>
                  </a:cubicBezTo>
                  <a:cubicBezTo>
                    <a:pt x="148" y="570"/>
                    <a:pt x="148" y="570"/>
                    <a:pt x="148" y="570"/>
                  </a:cubicBezTo>
                  <a:cubicBezTo>
                    <a:pt x="148" y="570"/>
                    <a:pt x="148" y="570"/>
                    <a:pt x="148" y="570"/>
                  </a:cubicBezTo>
                  <a:cubicBezTo>
                    <a:pt x="149" y="566"/>
                    <a:pt x="149" y="566"/>
                    <a:pt x="149" y="566"/>
                  </a:cubicBezTo>
                  <a:cubicBezTo>
                    <a:pt x="149" y="561"/>
                    <a:pt x="149" y="561"/>
                    <a:pt x="149" y="561"/>
                  </a:cubicBezTo>
                  <a:cubicBezTo>
                    <a:pt x="152" y="556"/>
                    <a:pt x="152" y="556"/>
                    <a:pt x="152" y="556"/>
                  </a:cubicBezTo>
                  <a:cubicBezTo>
                    <a:pt x="152" y="551"/>
                    <a:pt x="152" y="551"/>
                    <a:pt x="152" y="551"/>
                  </a:cubicBezTo>
                  <a:cubicBezTo>
                    <a:pt x="149" y="546"/>
                    <a:pt x="149" y="546"/>
                    <a:pt x="149" y="546"/>
                  </a:cubicBezTo>
                  <a:cubicBezTo>
                    <a:pt x="147" y="540"/>
                    <a:pt x="147" y="540"/>
                    <a:pt x="147" y="540"/>
                  </a:cubicBezTo>
                  <a:cubicBezTo>
                    <a:pt x="151" y="538"/>
                    <a:pt x="151" y="538"/>
                    <a:pt x="151" y="538"/>
                  </a:cubicBezTo>
                  <a:cubicBezTo>
                    <a:pt x="152" y="537"/>
                    <a:pt x="152" y="537"/>
                    <a:pt x="152" y="537"/>
                  </a:cubicBezTo>
                  <a:cubicBezTo>
                    <a:pt x="152" y="534"/>
                    <a:pt x="152" y="534"/>
                    <a:pt x="152" y="534"/>
                  </a:cubicBezTo>
                  <a:cubicBezTo>
                    <a:pt x="151" y="532"/>
                    <a:pt x="151" y="532"/>
                    <a:pt x="151" y="532"/>
                  </a:cubicBezTo>
                  <a:cubicBezTo>
                    <a:pt x="152" y="529"/>
                    <a:pt x="152" y="529"/>
                    <a:pt x="152" y="529"/>
                  </a:cubicBezTo>
                  <a:cubicBezTo>
                    <a:pt x="152" y="528"/>
                    <a:pt x="152" y="528"/>
                    <a:pt x="152" y="528"/>
                  </a:cubicBezTo>
                  <a:cubicBezTo>
                    <a:pt x="152" y="527"/>
                    <a:pt x="153" y="526"/>
                    <a:pt x="154" y="526"/>
                  </a:cubicBezTo>
                  <a:cubicBezTo>
                    <a:pt x="154" y="526"/>
                    <a:pt x="155" y="525"/>
                    <a:pt x="156" y="525"/>
                  </a:cubicBezTo>
                  <a:cubicBezTo>
                    <a:pt x="156" y="525"/>
                    <a:pt x="157" y="526"/>
                    <a:pt x="157" y="526"/>
                  </a:cubicBezTo>
                  <a:cubicBezTo>
                    <a:pt x="159" y="525"/>
                    <a:pt x="159" y="525"/>
                    <a:pt x="159" y="525"/>
                  </a:cubicBezTo>
                  <a:cubicBezTo>
                    <a:pt x="161" y="523"/>
                    <a:pt x="161" y="523"/>
                    <a:pt x="161" y="523"/>
                  </a:cubicBezTo>
                  <a:cubicBezTo>
                    <a:pt x="162" y="522"/>
                    <a:pt x="163" y="521"/>
                    <a:pt x="163" y="520"/>
                  </a:cubicBezTo>
                  <a:cubicBezTo>
                    <a:pt x="163" y="520"/>
                    <a:pt x="164" y="519"/>
                    <a:pt x="165" y="518"/>
                  </a:cubicBezTo>
                  <a:cubicBezTo>
                    <a:pt x="165" y="515"/>
                    <a:pt x="165" y="515"/>
                    <a:pt x="165" y="515"/>
                  </a:cubicBezTo>
                  <a:cubicBezTo>
                    <a:pt x="163" y="510"/>
                    <a:pt x="163" y="510"/>
                    <a:pt x="163" y="510"/>
                  </a:cubicBezTo>
                  <a:cubicBezTo>
                    <a:pt x="165" y="507"/>
                    <a:pt x="165" y="507"/>
                    <a:pt x="165" y="507"/>
                  </a:cubicBezTo>
                  <a:cubicBezTo>
                    <a:pt x="167" y="503"/>
                    <a:pt x="167" y="503"/>
                    <a:pt x="167" y="503"/>
                  </a:cubicBezTo>
                  <a:cubicBezTo>
                    <a:pt x="166" y="499"/>
                    <a:pt x="166" y="499"/>
                    <a:pt x="166" y="499"/>
                  </a:cubicBezTo>
                  <a:cubicBezTo>
                    <a:pt x="161" y="493"/>
                    <a:pt x="161" y="493"/>
                    <a:pt x="161" y="493"/>
                  </a:cubicBezTo>
                  <a:cubicBezTo>
                    <a:pt x="158" y="486"/>
                    <a:pt x="158" y="486"/>
                    <a:pt x="158" y="486"/>
                  </a:cubicBezTo>
                  <a:cubicBezTo>
                    <a:pt x="157" y="480"/>
                    <a:pt x="157" y="480"/>
                    <a:pt x="157" y="480"/>
                  </a:cubicBezTo>
                  <a:cubicBezTo>
                    <a:pt x="162" y="474"/>
                    <a:pt x="162" y="474"/>
                    <a:pt x="162" y="474"/>
                  </a:cubicBezTo>
                  <a:cubicBezTo>
                    <a:pt x="167" y="473"/>
                    <a:pt x="167" y="473"/>
                    <a:pt x="167" y="473"/>
                  </a:cubicBezTo>
                  <a:cubicBezTo>
                    <a:pt x="167" y="473"/>
                    <a:pt x="167" y="473"/>
                    <a:pt x="167" y="473"/>
                  </a:cubicBezTo>
                  <a:cubicBezTo>
                    <a:pt x="167" y="473"/>
                    <a:pt x="167" y="473"/>
                    <a:pt x="168" y="473"/>
                  </a:cubicBezTo>
                  <a:cubicBezTo>
                    <a:pt x="168" y="473"/>
                    <a:pt x="169" y="473"/>
                    <a:pt x="169" y="473"/>
                  </a:cubicBezTo>
                  <a:cubicBezTo>
                    <a:pt x="169" y="472"/>
                    <a:pt x="170" y="470"/>
                    <a:pt x="170" y="468"/>
                  </a:cubicBezTo>
                  <a:cubicBezTo>
                    <a:pt x="170" y="462"/>
                    <a:pt x="170" y="462"/>
                    <a:pt x="170" y="462"/>
                  </a:cubicBezTo>
                  <a:cubicBezTo>
                    <a:pt x="165" y="458"/>
                    <a:pt x="165" y="458"/>
                    <a:pt x="165" y="458"/>
                  </a:cubicBezTo>
                  <a:cubicBezTo>
                    <a:pt x="159" y="454"/>
                    <a:pt x="159" y="454"/>
                    <a:pt x="159" y="454"/>
                  </a:cubicBezTo>
                  <a:cubicBezTo>
                    <a:pt x="157" y="447"/>
                    <a:pt x="157" y="447"/>
                    <a:pt x="157" y="447"/>
                  </a:cubicBezTo>
                  <a:cubicBezTo>
                    <a:pt x="156" y="422"/>
                    <a:pt x="156" y="422"/>
                    <a:pt x="156" y="422"/>
                  </a:cubicBezTo>
                  <a:cubicBezTo>
                    <a:pt x="150" y="412"/>
                    <a:pt x="150" y="411"/>
                    <a:pt x="150" y="410"/>
                  </a:cubicBezTo>
                  <a:cubicBezTo>
                    <a:pt x="150" y="410"/>
                    <a:pt x="150" y="407"/>
                    <a:pt x="151" y="405"/>
                  </a:cubicBezTo>
                  <a:cubicBezTo>
                    <a:pt x="151" y="405"/>
                    <a:pt x="151" y="404"/>
                    <a:pt x="151" y="404"/>
                  </a:cubicBezTo>
                  <a:cubicBezTo>
                    <a:pt x="150" y="398"/>
                    <a:pt x="150" y="398"/>
                    <a:pt x="150" y="398"/>
                  </a:cubicBezTo>
                  <a:cubicBezTo>
                    <a:pt x="152" y="395"/>
                    <a:pt x="152" y="395"/>
                    <a:pt x="152" y="395"/>
                  </a:cubicBezTo>
                  <a:cubicBezTo>
                    <a:pt x="152" y="391"/>
                    <a:pt x="152" y="391"/>
                    <a:pt x="152" y="391"/>
                  </a:cubicBezTo>
                  <a:cubicBezTo>
                    <a:pt x="148" y="384"/>
                    <a:pt x="148" y="384"/>
                    <a:pt x="148" y="384"/>
                  </a:cubicBezTo>
                  <a:cubicBezTo>
                    <a:pt x="148" y="384"/>
                    <a:pt x="148" y="384"/>
                    <a:pt x="148" y="384"/>
                  </a:cubicBezTo>
                  <a:cubicBezTo>
                    <a:pt x="148" y="384"/>
                    <a:pt x="148" y="379"/>
                    <a:pt x="148" y="378"/>
                  </a:cubicBezTo>
                  <a:cubicBezTo>
                    <a:pt x="149" y="377"/>
                    <a:pt x="149" y="376"/>
                    <a:pt x="152" y="373"/>
                  </a:cubicBezTo>
                  <a:cubicBezTo>
                    <a:pt x="152" y="368"/>
                    <a:pt x="152" y="368"/>
                    <a:pt x="152" y="368"/>
                  </a:cubicBezTo>
                  <a:cubicBezTo>
                    <a:pt x="154" y="359"/>
                    <a:pt x="154" y="359"/>
                    <a:pt x="154" y="359"/>
                  </a:cubicBezTo>
                  <a:cubicBezTo>
                    <a:pt x="165" y="345"/>
                    <a:pt x="165" y="345"/>
                    <a:pt x="165" y="345"/>
                  </a:cubicBezTo>
                  <a:cubicBezTo>
                    <a:pt x="184" y="343"/>
                    <a:pt x="184" y="343"/>
                    <a:pt x="184" y="343"/>
                  </a:cubicBezTo>
                  <a:cubicBezTo>
                    <a:pt x="185" y="343"/>
                    <a:pt x="185" y="343"/>
                    <a:pt x="185" y="343"/>
                  </a:cubicBezTo>
                  <a:cubicBezTo>
                    <a:pt x="187" y="338"/>
                    <a:pt x="187" y="338"/>
                    <a:pt x="187" y="338"/>
                  </a:cubicBezTo>
                  <a:cubicBezTo>
                    <a:pt x="186" y="327"/>
                    <a:pt x="186" y="327"/>
                    <a:pt x="186" y="327"/>
                  </a:cubicBezTo>
                  <a:cubicBezTo>
                    <a:pt x="179" y="326"/>
                    <a:pt x="179" y="326"/>
                    <a:pt x="179" y="326"/>
                  </a:cubicBezTo>
                  <a:cubicBezTo>
                    <a:pt x="176" y="319"/>
                    <a:pt x="176" y="319"/>
                    <a:pt x="176" y="319"/>
                  </a:cubicBezTo>
                  <a:cubicBezTo>
                    <a:pt x="189" y="299"/>
                    <a:pt x="189" y="299"/>
                    <a:pt x="189" y="299"/>
                  </a:cubicBezTo>
                  <a:cubicBezTo>
                    <a:pt x="188" y="293"/>
                    <a:pt x="188" y="293"/>
                    <a:pt x="188" y="293"/>
                  </a:cubicBezTo>
                  <a:cubicBezTo>
                    <a:pt x="191" y="291"/>
                    <a:pt x="191" y="291"/>
                    <a:pt x="191" y="291"/>
                  </a:cubicBezTo>
                  <a:cubicBezTo>
                    <a:pt x="191" y="290"/>
                    <a:pt x="190" y="289"/>
                    <a:pt x="190" y="288"/>
                  </a:cubicBezTo>
                  <a:cubicBezTo>
                    <a:pt x="190" y="288"/>
                    <a:pt x="189" y="287"/>
                    <a:pt x="190" y="281"/>
                  </a:cubicBezTo>
                  <a:cubicBezTo>
                    <a:pt x="191" y="275"/>
                    <a:pt x="191" y="275"/>
                    <a:pt x="191" y="275"/>
                  </a:cubicBezTo>
                  <a:cubicBezTo>
                    <a:pt x="193" y="269"/>
                    <a:pt x="193" y="269"/>
                    <a:pt x="193" y="269"/>
                  </a:cubicBezTo>
                  <a:cubicBezTo>
                    <a:pt x="189" y="255"/>
                    <a:pt x="189" y="255"/>
                    <a:pt x="189" y="255"/>
                  </a:cubicBezTo>
                  <a:cubicBezTo>
                    <a:pt x="193" y="251"/>
                    <a:pt x="193" y="251"/>
                    <a:pt x="193" y="251"/>
                  </a:cubicBezTo>
                  <a:cubicBezTo>
                    <a:pt x="200" y="250"/>
                    <a:pt x="200" y="250"/>
                    <a:pt x="200" y="250"/>
                  </a:cubicBezTo>
                  <a:cubicBezTo>
                    <a:pt x="204" y="246"/>
                    <a:pt x="204" y="246"/>
                    <a:pt x="204" y="246"/>
                  </a:cubicBezTo>
                  <a:cubicBezTo>
                    <a:pt x="205" y="243"/>
                    <a:pt x="205" y="243"/>
                    <a:pt x="205" y="243"/>
                  </a:cubicBezTo>
                  <a:cubicBezTo>
                    <a:pt x="205" y="235"/>
                    <a:pt x="205" y="235"/>
                    <a:pt x="205" y="235"/>
                  </a:cubicBezTo>
                  <a:cubicBezTo>
                    <a:pt x="209" y="224"/>
                    <a:pt x="209" y="224"/>
                    <a:pt x="209" y="224"/>
                  </a:cubicBezTo>
                  <a:cubicBezTo>
                    <a:pt x="209" y="223"/>
                    <a:pt x="209" y="223"/>
                    <a:pt x="209" y="223"/>
                  </a:cubicBezTo>
                  <a:cubicBezTo>
                    <a:pt x="212" y="220"/>
                    <a:pt x="216" y="215"/>
                    <a:pt x="216" y="214"/>
                  </a:cubicBezTo>
                  <a:cubicBezTo>
                    <a:pt x="217" y="213"/>
                    <a:pt x="218" y="209"/>
                    <a:pt x="219" y="208"/>
                  </a:cubicBezTo>
                  <a:cubicBezTo>
                    <a:pt x="218" y="205"/>
                    <a:pt x="218" y="202"/>
                    <a:pt x="217" y="202"/>
                  </a:cubicBezTo>
                  <a:cubicBezTo>
                    <a:pt x="216" y="201"/>
                    <a:pt x="214" y="197"/>
                    <a:pt x="213" y="195"/>
                  </a:cubicBezTo>
                  <a:cubicBezTo>
                    <a:pt x="213" y="195"/>
                    <a:pt x="213" y="195"/>
                    <a:pt x="213" y="195"/>
                  </a:cubicBezTo>
                  <a:cubicBezTo>
                    <a:pt x="213" y="189"/>
                    <a:pt x="213" y="189"/>
                    <a:pt x="213" y="189"/>
                  </a:cubicBezTo>
                  <a:cubicBezTo>
                    <a:pt x="218" y="186"/>
                    <a:pt x="218" y="186"/>
                    <a:pt x="218" y="186"/>
                  </a:cubicBezTo>
                  <a:cubicBezTo>
                    <a:pt x="220" y="183"/>
                    <a:pt x="220" y="183"/>
                    <a:pt x="220" y="183"/>
                  </a:cubicBezTo>
                  <a:cubicBezTo>
                    <a:pt x="220" y="182"/>
                    <a:pt x="219" y="179"/>
                    <a:pt x="219" y="178"/>
                  </a:cubicBezTo>
                  <a:cubicBezTo>
                    <a:pt x="219" y="177"/>
                    <a:pt x="219" y="177"/>
                    <a:pt x="220" y="174"/>
                  </a:cubicBezTo>
                  <a:cubicBezTo>
                    <a:pt x="221" y="173"/>
                    <a:pt x="221" y="173"/>
                    <a:pt x="221" y="173"/>
                  </a:cubicBezTo>
                  <a:cubicBezTo>
                    <a:pt x="221" y="172"/>
                    <a:pt x="221" y="171"/>
                    <a:pt x="225" y="167"/>
                  </a:cubicBezTo>
                  <a:cubicBezTo>
                    <a:pt x="229" y="159"/>
                    <a:pt x="229" y="159"/>
                    <a:pt x="229" y="159"/>
                  </a:cubicBezTo>
                  <a:cubicBezTo>
                    <a:pt x="238" y="164"/>
                    <a:pt x="238" y="164"/>
                    <a:pt x="238" y="164"/>
                  </a:cubicBezTo>
                  <a:cubicBezTo>
                    <a:pt x="240" y="164"/>
                    <a:pt x="240" y="164"/>
                    <a:pt x="240" y="164"/>
                  </a:cubicBezTo>
                  <a:cubicBezTo>
                    <a:pt x="241" y="163"/>
                    <a:pt x="241" y="163"/>
                    <a:pt x="241" y="163"/>
                  </a:cubicBezTo>
                  <a:cubicBezTo>
                    <a:pt x="240" y="159"/>
                    <a:pt x="239" y="144"/>
                    <a:pt x="242" y="139"/>
                  </a:cubicBezTo>
                  <a:cubicBezTo>
                    <a:pt x="243" y="138"/>
                    <a:pt x="243" y="138"/>
                    <a:pt x="243" y="138"/>
                  </a:cubicBezTo>
                  <a:cubicBezTo>
                    <a:pt x="244" y="139"/>
                    <a:pt x="244" y="139"/>
                    <a:pt x="244" y="139"/>
                  </a:cubicBezTo>
                  <a:cubicBezTo>
                    <a:pt x="244" y="139"/>
                    <a:pt x="250" y="139"/>
                    <a:pt x="254" y="139"/>
                  </a:cubicBezTo>
                  <a:cubicBezTo>
                    <a:pt x="255" y="139"/>
                    <a:pt x="256" y="139"/>
                    <a:pt x="256" y="139"/>
                  </a:cubicBezTo>
                  <a:cubicBezTo>
                    <a:pt x="256" y="139"/>
                    <a:pt x="256" y="139"/>
                    <a:pt x="257" y="139"/>
                  </a:cubicBezTo>
                  <a:cubicBezTo>
                    <a:pt x="259" y="139"/>
                    <a:pt x="263" y="141"/>
                    <a:pt x="264" y="141"/>
                  </a:cubicBezTo>
                  <a:cubicBezTo>
                    <a:pt x="264" y="142"/>
                    <a:pt x="266" y="142"/>
                    <a:pt x="268" y="143"/>
                  </a:cubicBezTo>
                  <a:cubicBezTo>
                    <a:pt x="272" y="142"/>
                    <a:pt x="272" y="142"/>
                    <a:pt x="272" y="142"/>
                  </a:cubicBezTo>
                  <a:cubicBezTo>
                    <a:pt x="273" y="140"/>
                    <a:pt x="273" y="140"/>
                    <a:pt x="273" y="140"/>
                  </a:cubicBezTo>
                  <a:cubicBezTo>
                    <a:pt x="270" y="137"/>
                    <a:pt x="270" y="137"/>
                    <a:pt x="270" y="137"/>
                  </a:cubicBezTo>
                  <a:cubicBezTo>
                    <a:pt x="271" y="136"/>
                    <a:pt x="271" y="136"/>
                    <a:pt x="271" y="136"/>
                  </a:cubicBezTo>
                  <a:cubicBezTo>
                    <a:pt x="274" y="132"/>
                    <a:pt x="274" y="127"/>
                    <a:pt x="273" y="127"/>
                  </a:cubicBezTo>
                  <a:cubicBezTo>
                    <a:pt x="273" y="126"/>
                    <a:pt x="272" y="124"/>
                    <a:pt x="272" y="121"/>
                  </a:cubicBezTo>
                  <a:cubicBezTo>
                    <a:pt x="271" y="119"/>
                    <a:pt x="271" y="118"/>
                    <a:pt x="270" y="117"/>
                  </a:cubicBezTo>
                  <a:cubicBezTo>
                    <a:pt x="270" y="117"/>
                    <a:pt x="270" y="115"/>
                    <a:pt x="272" y="113"/>
                  </a:cubicBezTo>
                  <a:cubicBezTo>
                    <a:pt x="273" y="113"/>
                    <a:pt x="273" y="113"/>
                    <a:pt x="273" y="113"/>
                  </a:cubicBezTo>
                  <a:cubicBezTo>
                    <a:pt x="276" y="113"/>
                    <a:pt x="276" y="113"/>
                    <a:pt x="276" y="113"/>
                  </a:cubicBezTo>
                  <a:cubicBezTo>
                    <a:pt x="279" y="110"/>
                    <a:pt x="279" y="110"/>
                    <a:pt x="279" y="110"/>
                  </a:cubicBezTo>
                  <a:cubicBezTo>
                    <a:pt x="279" y="110"/>
                    <a:pt x="279" y="110"/>
                    <a:pt x="279" y="110"/>
                  </a:cubicBezTo>
                  <a:cubicBezTo>
                    <a:pt x="279" y="110"/>
                    <a:pt x="279" y="110"/>
                    <a:pt x="280" y="110"/>
                  </a:cubicBezTo>
                  <a:cubicBezTo>
                    <a:pt x="280" y="110"/>
                    <a:pt x="281" y="109"/>
                    <a:pt x="283" y="109"/>
                  </a:cubicBezTo>
                  <a:cubicBezTo>
                    <a:pt x="283" y="109"/>
                    <a:pt x="283" y="109"/>
                    <a:pt x="284" y="109"/>
                  </a:cubicBezTo>
                  <a:cubicBezTo>
                    <a:pt x="283" y="109"/>
                    <a:pt x="283" y="108"/>
                    <a:pt x="283" y="108"/>
                  </a:cubicBezTo>
                  <a:cubicBezTo>
                    <a:pt x="282" y="105"/>
                    <a:pt x="283" y="103"/>
                    <a:pt x="284" y="101"/>
                  </a:cubicBezTo>
                  <a:cubicBezTo>
                    <a:pt x="285" y="99"/>
                    <a:pt x="287" y="98"/>
                    <a:pt x="289" y="98"/>
                  </a:cubicBezTo>
                  <a:cubicBezTo>
                    <a:pt x="291" y="98"/>
                    <a:pt x="292" y="99"/>
                    <a:pt x="293" y="100"/>
                  </a:cubicBezTo>
                  <a:cubicBezTo>
                    <a:pt x="297" y="100"/>
                    <a:pt x="297" y="100"/>
                    <a:pt x="297" y="100"/>
                  </a:cubicBezTo>
                  <a:cubicBezTo>
                    <a:pt x="302" y="108"/>
                    <a:pt x="302" y="108"/>
                    <a:pt x="302" y="108"/>
                  </a:cubicBezTo>
                  <a:cubicBezTo>
                    <a:pt x="308" y="113"/>
                    <a:pt x="308" y="113"/>
                    <a:pt x="308" y="113"/>
                  </a:cubicBezTo>
                  <a:cubicBezTo>
                    <a:pt x="311" y="116"/>
                    <a:pt x="315" y="119"/>
                    <a:pt x="316" y="119"/>
                  </a:cubicBezTo>
                  <a:cubicBezTo>
                    <a:pt x="317" y="119"/>
                    <a:pt x="323" y="121"/>
                    <a:pt x="325" y="122"/>
                  </a:cubicBezTo>
                  <a:cubicBezTo>
                    <a:pt x="327" y="120"/>
                    <a:pt x="327" y="120"/>
                    <a:pt x="327" y="120"/>
                  </a:cubicBezTo>
                  <a:cubicBezTo>
                    <a:pt x="329" y="118"/>
                    <a:pt x="329" y="118"/>
                    <a:pt x="329" y="118"/>
                  </a:cubicBezTo>
                  <a:cubicBezTo>
                    <a:pt x="328" y="116"/>
                    <a:pt x="328" y="116"/>
                    <a:pt x="328" y="116"/>
                  </a:cubicBezTo>
                  <a:cubicBezTo>
                    <a:pt x="335" y="112"/>
                    <a:pt x="335" y="112"/>
                    <a:pt x="335" y="112"/>
                  </a:cubicBezTo>
                  <a:cubicBezTo>
                    <a:pt x="339" y="115"/>
                    <a:pt x="339" y="115"/>
                    <a:pt x="339" y="115"/>
                  </a:cubicBezTo>
                  <a:cubicBezTo>
                    <a:pt x="347" y="117"/>
                    <a:pt x="347" y="117"/>
                    <a:pt x="347" y="117"/>
                  </a:cubicBezTo>
                  <a:cubicBezTo>
                    <a:pt x="350" y="119"/>
                    <a:pt x="350" y="119"/>
                    <a:pt x="350" y="119"/>
                  </a:cubicBezTo>
                  <a:cubicBezTo>
                    <a:pt x="350" y="119"/>
                    <a:pt x="350" y="119"/>
                    <a:pt x="350" y="119"/>
                  </a:cubicBezTo>
                  <a:cubicBezTo>
                    <a:pt x="350" y="118"/>
                    <a:pt x="350" y="116"/>
                    <a:pt x="350" y="114"/>
                  </a:cubicBezTo>
                  <a:cubicBezTo>
                    <a:pt x="349" y="114"/>
                    <a:pt x="349" y="113"/>
                    <a:pt x="349" y="112"/>
                  </a:cubicBezTo>
                  <a:cubicBezTo>
                    <a:pt x="349" y="111"/>
                    <a:pt x="349" y="110"/>
                    <a:pt x="351" y="108"/>
                  </a:cubicBezTo>
                  <a:cubicBezTo>
                    <a:pt x="356" y="104"/>
                    <a:pt x="356" y="104"/>
                    <a:pt x="356" y="104"/>
                  </a:cubicBezTo>
                  <a:cubicBezTo>
                    <a:pt x="357" y="103"/>
                    <a:pt x="357" y="103"/>
                    <a:pt x="357" y="103"/>
                  </a:cubicBezTo>
                  <a:cubicBezTo>
                    <a:pt x="357" y="103"/>
                    <a:pt x="358" y="103"/>
                    <a:pt x="358" y="102"/>
                  </a:cubicBezTo>
                  <a:cubicBezTo>
                    <a:pt x="358" y="100"/>
                    <a:pt x="356" y="96"/>
                    <a:pt x="356" y="94"/>
                  </a:cubicBezTo>
                  <a:cubicBezTo>
                    <a:pt x="355" y="93"/>
                    <a:pt x="354" y="89"/>
                    <a:pt x="354" y="87"/>
                  </a:cubicBezTo>
                  <a:cubicBezTo>
                    <a:pt x="355" y="83"/>
                    <a:pt x="354" y="79"/>
                    <a:pt x="354" y="76"/>
                  </a:cubicBezTo>
                  <a:cubicBezTo>
                    <a:pt x="353" y="72"/>
                    <a:pt x="352" y="69"/>
                    <a:pt x="356" y="68"/>
                  </a:cubicBezTo>
                  <a:cubicBezTo>
                    <a:pt x="358" y="66"/>
                    <a:pt x="358" y="66"/>
                    <a:pt x="358" y="66"/>
                  </a:cubicBezTo>
                  <a:cubicBezTo>
                    <a:pt x="358" y="66"/>
                    <a:pt x="358" y="65"/>
                    <a:pt x="357" y="64"/>
                  </a:cubicBezTo>
                  <a:cubicBezTo>
                    <a:pt x="356" y="62"/>
                    <a:pt x="355" y="60"/>
                    <a:pt x="356" y="58"/>
                  </a:cubicBezTo>
                  <a:cubicBezTo>
                    <a:pt x="357" y="57"/>
                    <a:pt x="358" y="56"/>
                    <a:pt x="361" y="56"/>
                  </a:cubicBezTo>
                  <a:cubicBezTo>
                    <a:pt x="363" y="54"/>
                    <a:pt x="363" y="54"/>
                    <a:pt x="363" y="54"/>
                  </a:cubicBezTo>
                  <a:cubicBezTo>
                    <a:pt x="369" y="54"/>
                    <a:pt x="369" y="54"/>
                    <a:pt x="369" y="54"/>
                  </a:cubicBezTo>
                  <a:cubicBezTo>
                    <a:pt x="370" y="51"/>
                    <a:pt x="370" y="51"/>
                    <a:pt x="370" y="51"/>
                  </a:cubicBezTo>
                  <a:cubicBezTo>
                    <a:pt x="375" y="46"/>
                    <a:pt x="375" y="46"/>
                    <a:pt x="375" y="46"/>
                  </a:cubicBezTo>
                  <a:cubicBezTo>
                    <a:pt x="376" y="46"/>
                    <a:pt x="376" y="46"/>
                    <a:pt x="376" y="46"/>
                  </a:cubicBezTo>
                  <a:cubicBezTo>
                    <a:pt x="377" y="46"/>
                    <a:pt x="378" y="45"/>
                    <a:pt x="380" y="45"/>
                  </a:cubicBezTo>
                  <a:cubicBezTo>
                    <a:pt x="382" y="45"/>
                    <a:pt x="383" y="46"/>
                    <a:pt x="384" y="47"/>
                  </a:cubicBezTo>
                  <a:cubicBezTo>
                    <a:pt x="385" y="48"/>
                    <a:pt x="386" y="48"/>
                    <a:pt x="386" y="49"/>
                  </a:cubicBezTo>
                  <a:cubicBezTo>
                    <a:pt x="387" y="50"/>
                    <a:pt x="387" y="50"/>
                    <a:pt x="388" y="51"/>
                  </a:cubicBezTo>
                  <a:cubicBezTo>
                    <a:pt x="398" y="54"/>
                    <a:pt x="398" y="54"/>
                    <a:pt x="398" y="54"/>
                  </a:cubicBezTo>
                  <a:cubicBezTo>
                    <a:pt x="404" y="55"/>
                    <a:pt x="404" y="55"/>
                    <a:pt x="404" y="55"/>
                  </a:cubicBezTo>
                  <a:cubicBezTo>
                    <a:pt x="407" y="57"/>
                    <a:pt x="407" y="57"/>
                    <a:pt x="407" y="57"/>
                  </a:cubicBezTo>
                  <a:cubicBezTo>
                    <a:pt x="407" y="58"/>
                    <a:pt x="407" y="58"/>
                    <a:pt x="407" y="58"/>
                  </a:cubicBezTo>
                  <a:cubicBezTo>
                    <a:pt x="407" y="60"/>
                    <a:pt x="407" y="61"/>
                    <a:pt x="407" y="62"/>
                  </a:cubicBezTo>
                  <a:cubicBezTo>
                    <a:pt x="407" y="63"/>
                    <a:pt x="408" y="65"/>
                    <a:pt x="409" y="65"/>
                  </a:cubicBezTo>
                  <a:cubicBezTo>
                    <a:pt x="409" y="66"/>
                    <a:pt x="409" y="66"/>
                    <a:pt x="409" y="66"/>
                  </a:cubicBezTo>
                  <a:cubicBezTo>
                    <a:pt x="409" y="66"/>
                    <a:pt x="409" y="66"/>
                    <a:pt x="409" y="66"/>
                  </a:cubicBezTo>
                  <a:cubicBezTo>
                    <a:pt x="409" y="67"/>
                    <a:pt x="409" y="67"/>
                    <a:pt x="408" y="69"/>
                  </a:cubicBezTo>
                  <a:cubicBezTo>
                    <a:pt x="408" y="70"/>
                    <a:pt x="407" y="71"/>
                    <a:pt x="407" y="71"/>
                  </a:cubicBezTo>
                  <a:cubicBezTo>
                    <a:pt x="407" y="72"/>
                    <a:pt x="407" y="73"/>
                    <a:pt x="407" y="74"/>
                  </a:cubicBezTo>
                  <a:cubicBezTo>
                    <a:pt x="407" y="75"/>
                    <a:pt x="407" y="75"/>
                    <a:pt x="407" y="75"/>
                  </a:cubicBezTo>
                  <a:cubicBezTo>
                    <a:pt x="407" y="75"/>
                    <a:pt x="407" y="76"/>
                    <a:pt x="407" y="76"/>
                  </a:cubicBezTo>
                  <a:cubicBezTo>
                    <a:pt x="407" y="76"/>
                    <a:pt x="407" y="77"/>
                    <a:pt x="407" y="77"/>
                  </a:cubicBezTo>
                  <a:cubicBezTo>
                    <a:pt x="407" y="78"/>
                    <a:pt x="407" y="80"/>
                    <a:pt x="408" y="81"/>
                  </a:cubicBezTo>
                  <a:cubicBezTo>
                    <a:pt x="408" y="81"/>
                    <a:pt x="410" y="82"/>
                    <a:pt x="411" y="83"/>
                  </a:cubicBezTo>
                  <a:cubicBezTo>
                    <a:pt x="411" y="81"/>
                    <a:pt x="412" y="78"/>
                    <a:pt x="412" y="77"/>
                  </a:cubicBezTo>
                  <a:cubicBezTo>
                    <a:pt x="410" y="73"/>
                    <a:pt x="414" y="69"/>
                    <a:pt x="415" y="68"/>
                  </a:cubicBezTo>
                  <a:cubicBezTo>
                    <a:pt x="420" y="63"/>
                    <a:pt x="420" y="63"/>
                    <a:pt x="420" y="63"/>
                  </a:cubicBezTo>
                  <a:cubicBezTo>
                    <a:pt x="418" y="56"/>
                    <a:pt x="418" y="56"/>
                    <a:pt x="418" y="56"/>
                  </a:cubicBezTo>
                  <a:cubicBezTo>
                    <a:pt x="427" y="56"/>
                    <a:pt x="427" y="56"/>
                    <a:pt x="427" y="56"/>
                  </a:cubicBezTo>
                  <a:cubicBezTo>
                    <a:pt x="428" y="55"/>
                    <a:pt x="429" y="54"/>
                    <a:pt x="429" y="54"/>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4" name="Freeform 239"/>
            <p:cNvSpPr>
              <a:spLocks/>
            </p:cNvSpPr>
            <p:nvPr/>
          </p:nvSpPr>
          <p:spPr bwMode="auto">
            <a:xfrm>
              <a:off x="8330485" y="4520366"/>
              <a:ext cx="504006" cy="219218"/>
            </a:xfrm>
            <a:custGeom>
              <a:avLst/>
              <a:gdLst>
                <a:gd name="T0" fmla="*/ 81 w 174"/>
                <a:gd name="T1" fmla="*/ 66 h 80"/>
                <a:gd name="T2" fmla="*/ 91 w 174"/>
                <a:gd name="T3" fmla="*/ 60 h 80"/>
                <a:gd name="T4" fmla="*/ 103 w 174"/>
                <a:gd name="T5" fmla="*/ 57 h 80"/>
                <a:gd name="T6" fmla="*/ 110 w 174"/>
                <a:gd name="T7" fmla="*/ 51 h 80"/>
                <a:gd name="T8" fmla="*/ 120 w 174"/>
                <a:gd name="T9" fmla="*/ 47 h 80"/>
                <a:gd name="T10" fmla="*/ 128 w 174"/>
                <a:gd name="T11" fmla="*/ 51 h 80"/>
                <a:gd name="T12" fmla="*/ 132 w 174"/>
                <a:gd name="T13" fmla="*/ 51 h 80"/>
                <a:gd name="T14" fmla="*/ 133 w 174"/>
                <a:gd name="T15" fmla="*/ 51 h 80"/>
                <a:gd name="T16" fmla="*/ 133 w 174"/>
                <a:gd name="T17" fmla="*/ 51 h 80"/>
                <a:gd name="T18" fmla="*/ 134 w 174"/>
                <a:gd name="T19" fmla="*/ 51 h 80"/>
                <a:gd name="T20" fmla="*/ 134 w 174"/>
                <a:gd name="T21" fmla="*/ 51 h 80"/>
                <a:gd name="T22" fmla="*/ 136 w 174"/>
                <a:gd name="T23" fmla="*/ 51 h 80"/>
                <a:gd name="T24" fmla="*/ 137 w 174"/>
                <a:gd name="T25" fmla="*/ 51 h 80"/>
                <a:gd name="T26" fmla="*/ 138 w 174"/>
                <a:gd name="T27" fmla="*/ 51 h 80"/>
                <a:gd name="T28" fmla="*/ 139 w 174"/>
                <a:gd name="T29" fmla="*/ 51 h 80"/>
                <a:gd name="T30" fmla="*/ 140 w 174"/>
                <a:gd name="T31" fmla="*/ 51 h 80"/>
                <a:gd name="T32" fmla="*/ 140 w 174"/>
                <a:gd name="T33" fmla="*/ 50 h 80"/>
                <a:gd name="T34" fmla="*/ 156 w 174"/>
                <a:gd name="T35" fmla="*/ 54 h 80"/>
                <a:gd name="T36" fmla="*/ 156 w 174"/>
                <a:gd name="T37" fmla="*/ 54 h 80"/>
                <a:gd name="T38" fmla="*/ 156 w 174"/>
                <a:gd name="T39" fmla="*/ 54 h 80"/>
                <a:gd name="T40" fmla="*/ 157 w 174"/>
                <a:gd name="T41" fmla="*/ 54 h 80"/>
                <a:gd name="T42" fmla="*/ 158 w 174"/>
                <a:gd name="T43" fmla="*/ 53 h 80"/>
                <a:gd name="T44" fmla="*/ 158 w 174"/>
                <a:gd name="T45" fmla="*/ 53 h 80"/>
                <a:gd name="T46" fmla="*/ 158 w 174"/>
                <a:gd name="T47" fmla="*/ 53 h 80"/>
                <a:gd name="T48" fmla="*/ 159 w 174"/>
                <a:gd name="T49" fmla="*/ 53 h 80"/>
                <a:gd name="T50" fmla="*/ 159 w 174"/>
                <a:gd name="T51" fmla="*/ 53 h 80"/>
                <a:gd name="T52" fmla="*/ 159 w 174"/>
                <a:gd name="T53" fmla="*/ 52 h 80"/>
                <a:gd name="T54" fmla="*/ 159 w 174"/>
                <a:gd name="T55" fmla="*/ 52 h 80"/>
                <a:gd name="T56" fmla="*/ 160 w 174"/>
                <a:gd name="T57" fmla="*/ 52 h 80"/>
                <a:gd name="T58" fmla="*/ 160 w 174"/>
                <a:gd name="T59" fmla="*/ 52 h 80"/>
                <a:gd name="T60" fmla="*/ 160 w 174"/>
                <a:gd name="T61" fmla="*/ 52 h 80"/>
                <a:gd name="T62" fmla="*/ 161 w 174"/>
                <a:gd name="T63" fmla="*/ 52 h 80"/>
                <a:gd name="T64" fmla="*/ 173 w 174"/>
                <a:gd name="T65" fmla="*/ 55 h 80"/>
                <a:gd name="T66" fmla="*/ 162 w 174"/>
                <a:gd name="T67" fmla="*/ 42 h 80"/>
                <a:gd name="T68" fmla="*/ 153 w 174"/>
                <a:gd name="T69" fmla="*/ 21 h 80"/>
                <a:gd name="T70" fmla="*/ 127 w 174"/>
                <a:gd name="T71" fmla="*/ 9 h 80"/>
                <a:gd name="T72" fmla="*/ 107 w 174"/>
                <a:gd name="T73" fmla="*/ 1 h 80"/>
                <a:gd name="T74" fmla="*/ 83 w 174"/>
                <a:gd name="T75" fmla="*/ 8 h 80"/>
                <a:gd name="T76" fmla="*/ 87 w 174"/>
                <a:gd name="T77" fmla="*/ 14 h 80"/>
                <a:gd name="T78" fmla="*/ 94 w 174"/>
                <a:gd name="T79" fmla="*/ 17 h 80"/>
                <a:gd name="T80" fmla="*/ 99 w 174"/>
                <a:gd name="T81" fmla="*/ 29 h 80"/>
                <a:gd name="T82" fmla="*/ 91 w 174"/>
                <a:gd name="T83" fmla="*/ 37 h 80"/>
                <a:gd name="T84" fmla="*/ 85 w 174"/>
                <a:gd name="T85" fmla="*/ 34 h 80"/>
                <a:gd name="T86" fmla="*/ 79 w 174"/>
                <a:gd name="T87" fmla="*/ 31 h 80"/>
                <a:gd name="T88" fmla="*/ 74 w 174"/>
                <a:gd name="T89" fmla="*/ 38 h 80"/>
                <a:gd name="T90" fmla="*/ 66 w 174"/>
                <a:gd name="T91" fmla="*/ 37 h 80"/>
                <a:gd name="T92" fmla="*/ 62 w 174"/>
                <a:gd name="T93" fmla="*/ 29 h 80"/>
                <a:gd name="T94" fmla="*/ 57 w 174"/>
                <a:gd name="T95" fmla="*/ 18 h 80"/>
                <a:gd name="T96" fmla="*/ 46 w 174"/>
                <a:gd name="T97" fmla="*/ 8 h 80"/>
                <a:gd name="T98" fmla="*/ 11 w 174"/>
                <a:gd name="T99" fmla="*/ 5 h 80"/>
                <a:gd name="T100" fmla="*/ 6 w 174"/>
                <a:gd name="T101" fmla="*/ 14 h 80"/>
                <a:gd name="T102" fmla="*/ 6 w 174"/>
                <a:gd name="T103" fmla="*/ 22 h 80"/>
                <a:gd name="T104" fmla="*/ 9 w 174"/>
                <a:gd name="T105" fmla="*/ 32 h 80"/>
                <a:gd name="T106" fmla="*/ 2 w 174"/>
                <a:gd name="T107" fmla="*/ 42 h 80"/>
                <a:gd name="T108" fmla="*/ 7 w 174"/>
                <a:gd name="T109" fmla="*/ 77 h 80"/>
                <a:gd name="T110" fmla="*/ 38 w 174"/>
                <a:gd name="T111" fmla="*/ 73 h 80"/>
                <a:gd name="T112" fmla="*/ 61 w 174"/>
                <a:gd name="T113" fmla="*/ 7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4" h="80">
                  <a:moveTo>
                    <a:pt x="66" y="74"/>
                  </a:moveTo>
                  <a:cubicBezTo>
                    <a:pt x="71" y="70"/>
                    <a:pt x="71" y="70"/>
                    <a:pt x="71" y="70"/>
                  </a:cubicBezTo>
                  <a:cubicBezTo>
                    <a:pt x="71" y="70"/>
                    <a:pt x="71" y="70"/>
                    <a:pt x="71" y="70"/>
                  </a:cubicBezTo>
                  <a:cubicBezTo>
                    <a:pt x="72" y="70"/>
                    <a:pt x="72" y="70"/>
                    <a:pt x="72" y="70"/>
                  </a:cubicBezTo>
                  <a:cubicBezTo>
                    <a:pt x="73" y="70"/>
                    <a:pt x="74" y="69"/>
                    <a:pt x="74" y="69"/>
                  </a:cubicBezTo>
                  <a:cubicBezTo>
                    <a:pt x="75" y="69"/>
                    <a:pt x="78" y="68"/>
                    <a:pt x="80" y="68"/>
                  </a:cubicBezTo>
                  <a:cubicBezTo>
                    <a:pt x="81" y="66"/>
                    <a:pt x="81" y="66"/>
                    <a:pt x="81" y="66"/>
                  </a:cubicBezTo>
                  <a:cubicBezTo>
                    <a:pt x="81" y="66"/>
                    <a:pt x="81" y="66"/>
                    <a:pt x="81" y="66"/>
                  </a:cubicBezTo>
                  <a:cubicBezTo>
                    <a:pt x="81" y="66"/>
                    <a:pt x="83" y="65"/>
                    <a:pt x="84" y="64"/>
                  </a:cubicBezTo>
                  <a:cubicBezTo>
                    <a:pt x="84" y="64"/>
                    <a:pt x="86" y="64"/>
                    <a:pt x="86" y="64"/>
                  </a:cubicBezTo>
                  <a:cubicBezTo>
                    <a:pt x="86" y="64"/>
                    <a:pt x="86" y="63"/>
                    <a:pt x="86" y="63"/>
                  </a:cubicBezTo>
                  <a:cubicBezTo>
                    <a:pt x="87" y="62"/>
                    <a:pt x="88" y="62"/>
                    <a:pt x="88" y="61"/>
                  </a:cubicBezTo>
                  <a:cubicBezTo>
                    <a:pt x="89" y="61"/>
                    <a:pt x="89" y="61"/>
                    <a:pt x="90" y="61"/>
                  </a:cubicBezTo>
                  <a:cubicBezTo>
                    <a:pt x="90" y="61"/>
                    <a:pt x="90" y="61"/>
                    <a:pt x="90" y="61"/>
                  </a:cubicBezTo>
                  <a:cubicBezTo>
                    <a:pt x="90" y="61"/>
                    <a:pt x="90" y="61"/>
                    <a:pt x="90" y="61"/>
                  </a:cubicBezTo>
                  <a:cubicBezTo>
                    <a:pt x="90" y="61"/>
                    <a:pt x="91" y="60"/>
                    <a:pt x="91" y="60"/>
                  </a:cubicBezTo>
                  <a:cubicBezTo>
                    <a:pt x="91" y="60"/>
                    <a:pt x="91" y="60"/>
                    <a:pt x="91" y="60"/>
                  </a:cubicBezTo>
                  <a:cubicBezTo>
                    <a:pt x="91" y="58"/>
                    <a:pt x="94" y="58"/>
                    <a:pt x="94" y="58"/>
                  </a:cubicBezTo>
                  <a:cubicBezTo>
                    <a:pt x="94" y="58"/>
                    <a:pt x="95" y="58"/>
                    <a:pt x="96" y="58"/>
                  </a:cubicBezTo>
                  <a:cubicBezTo>
                    <a:pt x="96" y="58"/>
                    <a:pt x="96" y="58"/>
                    <a:pt x="97" y="58"/>
                  </a:cubicBezTo>
                  <a:cubicBezTo>
                    <a:pt x="97" y="58"/>
                    <a:pt x="97" y="58"/>
                    <a:pt x="97" y="58"/>
                  </a:cubicBezTo>
                  <a:cubicBezTo>
                    <a:pt x="98" y="57"/>
                    <a:pt x="99" y="57"/>
                    <a:pt x="99" y="57"/>
                  </a:cubicBezTo>
                  <a:cubicBezTo>
                    <a:pt x="100" y="57"/>
                    <a:pt x="101" y="57"/>
                    <a:pt x="101" y="57"/>
                  </a:cubicBezTo>
                  <a:cubicBezTo>
                    <a:pt x="101" y="57"/>
                    <a:pt x="103" y="57"/>
                    <a:pt x="103" y="57"/>
                  </a:cubicBezTo>
                  <a:cubicBezTo>
                    <a:pt x="103" y="57"/>
                    <a:pt x="103" y="56"/>
                    <a:pt x="104" y="56"/>
                  </a:cubicBezTo>
                  <a:cubicBezTo>
                    <a:pt x="104" y="56"/>
                    <a:pt x="105" y="56"/>
                    <a:pt x="105" y="56"/>
                  </a:cubicBezTo>
                  <a:cubicBezTo>
                    <a:pt x="105" y="56"/>
                    <a:pt x="105" y="56"/>
                    <a:pt x="105" y="56"/>
                  </a:cubicBezTo>
                  <a:cubicBezTo>
                    <a:pt x="105" y="55"/>
                    <a:pt x="105" y="55"/>
                    <a:pt x="105" y="55"/>
                  </a:cubicBezTo>
                  <a:cubicBezTo>
                    <a:pt x="106" y="55"/>
                    <a:pt x="106" y="55"/>
                    <a:pt x="106" y="55"/>
                  </a:cubicBezTo>
                  <a:cubicBezTo>
                    <a:pt x="107" y="54"/>
                    <a:pt x="108" y="54"/>
                    <a:pt x="109" y="54"/>
                  </a:cubicBezTo>
                  <a:cubicBezTo>
                    <a:pt x="110" y="54"/>
                    <a:pt x="110" y="54"/>
                    <a:pt x="111" y="53"/>
                  </a:cubicBezTo>
                  <a:cubicBezTo>
                    <a:pt x="110" y="52"/>
                    <a:pt x="110" y="51"/>
                    <a:pt x="110" y="51"/>
                  </a:cubicBezTo>
                  <a:cubicBezTo>
                    <a:pt x="111" y="49"/>
                    <a:pt x="113" y="49"/>
                    <a:pt x="113" y="49"/>
                  </a:cubicBezTo>
                  <a:cubicBezTo>
                    <a:pt x="113" y="49"/>
                    <a:pt x="114" y="49"/>
                    <a:pt x="114" y="49"/>
                  </a:cubicBezTo>
                  <a:cubicBezTo>
                    <a:pt x="114" y="49"/>
                    <a:pt x="116" y="49"/>
                    <a:pt x="116" y="49"/>
                  </a:cubicBezTo>
                  <a:cubicBezTo>
                    <a:pt x="116" y="49"/>
                    <a:pt x="117" y="49"/>
                    <a:pt x="117" y="49"/>
                  </a:cubicBezTo>
                  <a:cubicBezTo>
                    <a:pt x="118" y="48"/>
                    <a:pt x="118" y="48"/>
                    <a:pt x="118" y="48"/>
                  </a:cubicBezTo>
                  <a:cubicBezTo>
                    <a:pt x="118" y="48"/>
                    <a:pt x="119" y="48"/>
                    <a:pt x="119" y="47"/>
                  </a:cubicBezTo>
                  <a:cubicBezTo>
                    <a:pt x="120" y="47"/>
                    <a:pt x="120" y="47"/>
                    <a:pt x="120" y="47"/>
                  </a:cubicBezTo>
                  <a:cubicBezTo>
                    <a:pt x="120" y="47"/>
                    <a:pt x="120" y="47"/>
                    <a:pt x="120" y="47"/>
                  </a:cubicBezTo>
                  <a:cubicBezTo>
                    <a:pt x="122" y="47"/>
                    <a:pt x="123" y="49"/>
                    <a:pt x="124" y="49"/>
                  </a:cubicBezTo>
                  <a:cubicBezTo>
                    <a:pt x="125" y="50"/>
                    <a:pt x="125" y="50"/>
                    <a:pt x="125" y="50"/>
                  </a:cubicBezTo>
                  <a:cubicBezTo>
                    <a:pt x="125" y="50"/>
                    <a:pt x="125" y="50"/>
                    <a:pt x="125" y="50"/>
                  </a:cubicBezTo>
                  <a:cubicBezTo>
                    <a:pt x="125" y="50"/>
                    <a:pt x="126" y="50"/>
                    <a:pt x="126" y="50"/>
                  </a:cubicBezTo>
                  <a:cubicBezTo>
                    <a:pt x="126" y="50"/>
                    <a:pt x="126" y="50"/>
                    <a:pt x="126" y="50"/>
                  </a:cubicBezTo>
                  <a:cubicBezTo>
                    <a:pt x="127" y="50"/>
                    <a:pt x="127" y="50"/>
                    <a:pt x="127" y="50"/>
                  </a:cubicBezTo>
                  <a:cubicBezTo>
                    <a:pt x="129" y="50"/>
                    <a:pt x="129" y="50"/>
                    <a:pt x="129" y="50"/>
                  </a:cubicBezTo>
                  <a:cubicBezTo>
                    <a:pt x="128" y="51"/>
                    <a:pt x="128" y="51"/>
                    <a:pt x="128" y="51"/>
                  </a:cubicBezTo>
                  <a:cubicBezTo>
                    <a:pt x="129" y="51"/>
                    <a:pt x="130" y="51"/>
                    <a:pt x="131" y="51"/>
                  </a:cubicBezTo>
                  <a:cubicBezTo>
                    <a:pt x="131" y="51"/>
                    <a:pt x="131" y="51"/>
                    <a:pt x="131" y="51"/>
                  </a:cubicBezTo>
                  <a:cubicBezTo>
                    <a:pt x="131" y="51"/>
                    <a:pt x="131" y="51"/>
                    <a:pt x="131" y="51"/>
                  </a:cubicBezTo>
                  <a:cubicBezTo>
                    <a:pt x="131" y="51"/>
                    <a:pt x="131" y="51"/>
                    <a:pt x="131" y="51"/>
                  </a:cubicBezTo>
                  <a:cubicBezTo>
                    <a:pt x="131" y="51"/>
                    <a:pt x="131" y="51"/>
                    <a:pt x="131" y="51"/>
                  </a:cubicBezTo>
                  <a:cubicBezTo>
                    <a:pt x="131" y="51"/>
                    <a:pt x="131" y="51"/>
                    <a:pt x="131" y="51"/>
                  </a:cubicBezTo>
                  <a:cubicBezTo>
                    <a:pt x="132" y="51"/>
                    <a:pt x="132" y="51"/>
                    <a:pt x="132" y="51"/>
                  </a:cubicBezTo>
                  <a:cubicBezTo>
                    <a:pt x="132" y="51"/>
                    <a:pt x="132" y="51"/>
                    <a:pt x="132" y="51"/>
                  </a:cubicBezTo>
                  <a:cubicBezTo>
                    <a:pt x="132" y="51"/>
                    <a:pt x="132" y="51"/>
                    <a:pt x="132" y="51"/>
                  </a:cubicBezTo>
                  <a:cubicBezTo>
                    <a:pt x="132" y="51"/>
                    <a:pt x="132" y="51"/>
                    <a:pt x="132" y="51"/>
                  </a:cubicBezTo>
                  <a:cubicBezTo>
                    <a:pt x="132" y="51"/>
                    <a:pt x="132" y="51"/>
                    <a:pt x="132" y="51"/>
                  </a:cubicBezTo>
                  <a:cubicBezTo>
                    <a:pt x="132" y="51"/>
                    <a:pt x="132" y="51"/>
                    <a:pt x="132" y="51"/>
                  </a:cubicBezTo>
                  <a:cubicBezTo>
                    <a:pt x="132" y="51"/>
                    <a:pt x="132" y="51"/>
                    <a:pt x="132" y="51"/>
                  </a:cubicBezTo>
                  <a:cubicBezTo>
                    <a:pt x="132" y="51"/>
                    <a:pt x="132" y="51"/>
                    <a:pt x="132" y="51"/>
                  </a:cubicBezTo>
                  <a:cubicBezTo>
                    <a:pt x="132" y="51"/>
                    <a:pt x="132" y="51"/>
                    <a:pt x="132" y="51"/>
                  </a:cubicBezTo>
                  <a:cubicBezTo>
                    <a:pt x="133" y="51"/>
                    <a:pt x="133" y="51"/>
                    <a:pt x="133" y="51"/>
                  </a:cubicBezTo>
                  <a:cubicBezTo>
                    <a:pt x="133" y="51"/>
                    <a:pt x="133" y="51"/>
                    <a:pt x="133" y="51"/>
                  </a:cubicBezTo>
                  <a:cubicBezTo>
                    <a:pt x="133" y="51"/>
                    <a:pt x="133" y="51"/>
                    <a:pt x="133" y="51"/>
                  </a:cubicBezTo>
                  <a:cubicBezTo>
                    <a:pt x="133" y="51"/>
                    <a:pt x="133" y="51"/>
                    <a:pt x="133" y="51"/>
                  </a:cubicBezTo>
                  <a:cubicBezTo>
                    <a:pt x="133" y="51"/>
                    <a:pt x="133" y="51"/>
                    <a:pt x="133" y="51"/>
                  </a:cubicBezTo>
                  <a:cubicBezTo>
                    <a:pt x="133" y="51"/>
                    <a:pt x="133" y="51"/>
                    <a:pt x="133" y="51"/>
                  </a:cubicBezTo>
                  <a:cubicBezTo>
                    <a:pt x="133" y="51"/>
                    <a:pt x="133" y="51"/>
                    <a:pt x="133" y="51"/>
                  </a:cubicBezTo>
                  <a:cubicBezTo>
                    <a:pt x="133" y="51"/>
                    <a:pt x="133" y="51"/>
                    <a:pt x="133" y="51"/>
                  </a:cubicBezTo>
                  <a:cubicBezTo>
                    <a:pt x="133" y="51"/>
                    <a:pt x="133" y="51"/>
                    <a:pt x="133" y="51"/>
                  </a:cubicBezTo>
                  <a:cubicBezTo>
                    <a:pt x="133" y="51"/>
                    <a:pt x="133" y="51"/>
                    <a:pt x="133" y="51"/>
                  </a:cubicBezTo>
                  <a:cubicBezTo>
                    <a:pt x="133" y="51"/>
                    <a:pt x="133" y="51"/>
                    <a:pt x="133" y="51"/>
                  </a:cubicBezTo>
                  <a:cubicBezTo>
                    <a:pt x="133" y="51"/>
                    <a:pt x="133" y="51"/>
                    <a:pt x="133" y="51"/>
                  </a:cubicBezTo>
                  <a:cubicBezTo>
                    <a:pt x="133" y="51"/>
                    <a:pt x="133" y="51"/>
                    <a:pt x="133" y="51"/>
                  </a:cubicBezTo>
                  <a:cubicBezTo>
                    <a:pt x="133" y="51"/>
                    <a:pt x="133" y="51"/>
                    <a:pt x="133" y="51"/>
                  </a:cubicBezTo>
                  <a:cubicBezTo>
                    <a:pt x="133" y="51"/>
                    <a:pt x="133" y="51"/>
                    <a:pt x="133" y="51"/>
                  </a:cubicBezTo>
                  <a:cubicBezTo>
                    <a:pt x="133" y="51"/>
                    <a:pt x="133" y="51"/>
                    <a:pt x="133" y="51"/>
                  </a:cubicBezTo>
                  <a:cubicBezTo>
                    <a:pt x="134" y="51"/>
                    <a:pt x="134" y="51"/>
                    <a:pt x="134" y="51"/>
                  </a:cubicBezTo>
                  <a:cubicBezTo>
                    <a:pt x="134" y="51"/>
                    <a:pt x="134" y="51"/>
                    <a:pt x="134" y="51"/>
                  </a:cubicBezTo>
                  <a:cubicBezTo>
                    <a:pt x="134" y="51"/>
                    <a:pt x="134" y="51"/>
                    <a:pt x="134" y="51"/>
                  </a:cubicBezTo>
                  <a:cubicBezTo>
                    <a:pt x="134" y="51"/>
                    <a:pt x="134" y="51"/>
                    <a:pt x="134" y="51"/>
                  </a:cubicBezTo>
                  <a:cubicBezTo>
                    <a:pt x="134" y="51"/>
                    <a:pt x="134" y="51"/>
                    <a:pt x="134" y="51"/>
                  </a:cubicBezTo>
                  <a:cubicBezTo>
                    <a:pt x="134" y="51"/>
                    <a:pt x="134" y="51"/>
                    <a:pt x="134" y="51"/>
                  </a:cubicBezTo>
                  <a:cubicBezTo>
                    <a:pt x="134" y="51"/>
                    <a:pt x="134" y="51"/>
                    <a:pt x="134" y="51"/>
                  </a:cubicBezTo>
                  <a:cubicBezTo>
                    <a:pt x="134" y="51"/>
                    <a:pt x="134" y="51"/>
                    <a:pt x="134" y="51"/>
                  </a:cubicBezTo>
                  <a:cubicBezTo>
                    <a:pt x="134" y="51"/>
                    <a:pt x="134" y="51"/>
                    <a:pt x="134" y="51"/>
                  </a:cubicBezTo>
                  <a:cubicBezTo>
                    <a:pt x="135" y="51"/>
                    <a:pt x="135" y="51"/>
                    <a:pt x="135" y="51"/>
                  </a:cubicBezTo>
                  <a:cubicBezTo>
                    <a:pt x="135" y="51"/>
                    <a:pt x="135" y="51"/>
                    <a:pt x="135" y="51"/>
                  </a:cubicBezTo>
                  <a:cubicBezTo>
                    <a:pt x="135" y="51"/>
                    <a:pt x="135" y="51"/>
                    <a:pt x="135" y="51"/>
                  </a:cubicBezTo>
                  <a:cubicBezTo>
                    <a:pt x="135" y="51"/>
                    <a:pt x="135" y="51"/>
                    <a:pt x="135" y="51"/>
                  </a:cubicBezTo>
                  <a:cubicBezTo>
                    <a:pt x="135" y="51"/>
                    <a:pt x="135" y="51"/>
                    <a:pt x="135" y="51"/>
                  </a:cubicBezTo>
                  <a:cubicBezTo>
                    <a:pt x="135" y="51"/>
                    <a:pt x="135" y="51"/>
                    <a:pt x="135" y="51"/>
                  </a:cubicBezTo>
                  <a:cubicBezTo>
                    <a:pt x="135" y="51"/>
                    <a:pt x="135" y="51"/>
                    <a:pt x="135" y="51"/>
                  </a:cubicBezTo>
                  <a:cubicBezTo>
                    <a:pt x="136" y="51"/>
                    <a:pt x="136" y="51"/>
                    <a:pt x="136" y="51"/>
                  </a:cubicBezTo>
                  <a:cubicBezTo>
                    <a:pt x="136" y="51"/>
                    <a:pt x="136" y="51"/>
                    <a:pt x="136" y="51"/>
                  </a:cubicBezTo>
                  <a:cubicBezTo>
                    <a:pt x="136" y="51"/>
                    <a:pt x="136" y="51"/>
                    <a:pt x="136" y="51"/>
                  </a:cubicBezTo>
                  <a:cubicBezTo>
                    <a:pt x="136" y="51"/>
                    <a:pt x="136" y="51"/>
                    <a:pt x="136" y="51"/>
                  </a:cubicBezTo>
                  <a:cubicBezTo>
                    <a:pt x="136" y="51"/>
                    <a:pt x="136" y="51"/>
                    <a:pt x="136" y="51"/>
                  </a:cubicBezTo>
                  <a:cubicBezTo>
                    <a:pt x="136" y="51"/>
                    <a:pt x="136" y="51"/>
                    <a:pt x="136" y="51"/>
                  </a:cubicBezTo>
                  <a:cubicBezTo>
                    <a:pt x="136" y="51"/>
                    <a:pt x="136" y="51"/>
                    <a:pt x="136" y="51"/>
                  </a:cubicBezTo>
                  <a:cubicBezTo>
                    <a:pt x="137" y="51"/>
                    <a:pt x="137" y="51"/>
                    <a:pt x="137" y="51"/>
                  </a:cubicBezTo>
                  <a:cubicBezTo>
                    <a:pt x="137" y="51"/>
                    <a:pt x="137" y="51"/>
                    <a:pt x="137" y="51"/>
                  </a:cubicBezTo>
                  <a:cubicBezTo>
                    <a:pt x="137" y="51"/>
                    <a:pt x="137" y="51"/>
                    <a:pt x="137" y="51"/>
                  </a:cubicBezTo>
                  <a:cubicBezTo>
                    <a:pt x="137" y="51"/>
                    <a:pt x="137" y="51"/>
                    <a:pt x="137" y="51"/>
                  </a:cubicBezTo>
                  <a:cubicBezTo>
                    <a:pt x="137" y="51"/>
                    <a:pt x="137" y="51"/>
                    <a:pt x="137" y="51"/>
                  </a:cubicBezTo>
                  <a:cubicBezTo>
                    <a:pt x="137" y="51"/>
                    <a:pt x="137" y="51"/>
                    <a:pt x="137" y="51"/>
                  </a:cubicBezTo>
                  <a:cubicBezTo>
                    <a:pt x="138" y="51"/>
                    <a:pt x="138" y="51"/>
                    <a:pt x="138" y="51"/>
                  </a:cubicBezTo>
                  <a:cubicBezTo>
                    <a:pt x="138" y="51"/>
                    <a:pt x="138" y="51"/>
                    <a:pt x="138" y="51"/>
                  </a:cubicBezTo>
                  <a:cubicBezTo>
                    <a:pt x="138" y="51"/>
                    <a:pt x="138" y="51"/>
                    <a:pt x="138" y="51"/>
                  </a:cubicBezTo>
                  <a:cubicBezTo>
                    <a:pt x="138" y="51"/>
                    <a:pt x="138" y="51"/>
                    <a:pt x="138" y="51"/>
                  </a:cubicBezTo>
                  <a:cubicBezTo>
                    <a:pt x="138" y="51"/>
                    <a:pt x="138" y="51"/>
                    <a:pt x="138" y="51"/>
                  </a:cubicBezTo>
                  <a:cubicBezTo>
                    <a:pt x="138" y="51"/>
                    <a:pt x="138" y="51"/>
                    <a:pt x="138" y="51"/>
                  </a:cubicBezTo>
                  <a:cubicBezTo>
                    <a:pt x="138" y="51"/>
                    <a:pt x="138" y="51"/>
                    <a:pt x="138" y="51"/>
                  </a:cubicBezTo>
                  <a:cubicBezTo>
                    <a:pt x="139" y="51"/>
                    <a:pt x="139" y="51"/>
                    <a:pt x="139" y="51"/>
                  </a:cubicBezTo>
                  <a:cubicBezTo>
                    <a:pt x="139" y="51"/>
                    <a:pt x="139" y="51"/>
                    <a:pt x="139" y="51"/>
                  </a:cubicBezTo>
                  <a:cubicBezTo>
                    <a:pt x="139" y="51"/>
                    <a:pt x="139" y="51"/>
                    <a:pt x="139" y="51"/>
                  </a:cubicBezTo>
                  <a:cubicBezTo>
                    <a:pt x="139" y="51"/>
                    <a:pt x="139" y="51"/>
                    <a:pt x="139" y="51"/>
                  </a:cubicBezTo>
                  <a:cubicBezTo>
                    <a:pt x="139" y="51"/>
                    <a:pt x="139" y="51"/>
                    <a:pt x="139" y="51"/>
                  </a:cubicBezTo>
                  <a:cubicBezTo>
                    <a:pt x="139" y="51"/>
                    <a:pt x="139" y="51"/>
                    <a:pt x="139" y="51"/>
                  </a:cubicBezTo>
                  <a:cubicBezTo>
                    <a:pt x="139" y="51"/>
                    <a:pt x="139" y="51"/>
                    <a:pt x="139" y="51"/>
                  </a:cubicBezTo>
                  <a:cubicBezTo>
                    <a:pt x="139" y="51"/>
                    <a:pt x="139" y="51"/>
                    <a:pt x="139" y="51"/>
                  </a:cubicBezTo>
                  <a:cubicBezTo>
                    <a:pt x="140" y="51"/>
                    <a:pt x="140" y="51"/>
                    <a:pt x="140" y="51"/>
                  </a:cubicBezTo>
                  <a:cubicBezTo>
                    <a:pt x="140" y="51"/>
                    <a:pt x="140" y="51"/>
                    <a:pt x="140" y="51"/>
                  </a:cubicBezTo>
                  <a:cubicBezTo>
                    <a:pt x="140" y="51"/>
                    <a:pt x="140" y="51"/>
                    <a:pt x="140" y="51"/>
                  </a:cubicBezTo>
                  <a:cubicBezTo>
                    <a:pt x="140" y="51"/>
                    <a:pt x="140" y="51"/>
                    <a:pt x="140" y="51"/>
                  </a:cubicBezTo>
                  <a:cubicBezTo>
                    <a:pt x="140" y="51"/>
                    <a:pt x="140" y="51"/>
                    <a:pt x="140" y="51"/>
                  </a:cubicBezTo>
                  <a:cubicBezTo>
                    <a:pt x="140" y="51"/>
                    <a:pt x="140" y="51"/>
                    <a:pt x="140" y="51"/>
                  </a:cubicBezTo>
                  <a:cubicBezTo>
                    <a:pt x="140" y="51"/>
                    <a:pt x="140" y="51"/>
                    <a:pt x="140" y="51"/>
                  </a:cubicBezTo>
                  <a:cubicBezTo>
                    <a:pt x="140" y="51"/>
                    <a:pt x="140" y="51"/>
                    <a:pt x="140" y="51"/>
                  </a:cubicBezTo>
                  <a:cubicBezTo>
                    <a:pt x="140" y="51"/>
                    <a:pt x="140" y="51"/>
                    <a:pt x="140" y="51"/>
                  </a:cubicBezTo>
                  <a:cubicBezTo>
                    <a:pt x="140" y="50"/>
                    <a:pt x="140" y="50"/>
                    <a:pt x="140" y="50"/>
                  </a:cubicBezTo>
                  <a:cubicBezTo>
                    <a:pt x="140" y="50"/>
                    <a:pt x="140" y="50"/>
                    <a:pt x="140" y="50"/>
                  </a:cubicBezTo>
                  <a:cubicBezTo>
                    <a:pt x="140" y="50"/>
                    <a:pt x="140" y="50"/>
                    <a:pt x="140" y="50"/>
                  </a:cubicBezTo>
                  <a:cubicBezTo>
                    <a:pt x="140" y="50"/>
                    <a:pt x="140" y="50"/>
                    <a:pt x="140" y="50"/>
                  </a:cubicBezTo>
                  <a:cubicBezTo>
                    <a:pt x="141" y="50"/>
                    <a:pt x="141" y="50"/>
                    <a:pt x="141" y="50"/>
                  </a:cubicBezTo>
                  <a:cubicBezTo>
                    <a:pt x="141" y="50"/>
                    <a:pt x="141" y="50"/>
                    <a:pt x="141" y="50"/>
                  </a:cubicBezTo>
                  <a:cubicBezTo>
                    <a:pt x="141" y="50"/>
                    <a:pt x="141" y="50"/>
                    <a:pt x="141" y="50"/>
                  </a:cubicBezTo>
                  <a:cubicBezTo>
                    <a:pt x="141" y="50"/>
                    <a:pt x="141" y="50"/>
                    <a:pt x="141" y="50"/>
                  </a:cubicBezTo>
                  <a:cubicBezTo>
                    <a:pt x="141" y="50"/>
                    <a:pt x="141" y="50"/>
                    <a:pt x="141" y="50"/>
                  </a:cubicBezTo>
                  <a:cubicBezTo>
                    <a:pt x="142" y="53"/>
                    <a:pt x="142" y="53"/>
                    <a:pt x="142" y="53"/>
                  </a:cubicBezTo>
                  <a:cubicBezTo>
                    <a:pt x="156" y="54"/>
                    <a:pt x="156" y="54"/>
                    <a:pt x="156" y="54"/>
                  </a:cubicBezTo>
                  <a:cubicBezTo>
                    <a:pt x="156" y="54"/>
                    <a:pt x="156" y="54"/>
                    <a:pt x="156" y="54"/>
                  </a:cubicBezTo>
                  <a:cubicBezTo>
                    <a:pt x="156" y="54"/>
                    <a:pt x="156" y="54"/>
                    <a:pt x="156" y="54"/>
                  </a:cubicBezTo>
                  <a:cubicBezTo>
                    <a:pt x="156" y="54"/>
                    <a:pt x="156" y="54"/>
                    <a:pt x="156" y="54"/>
                  </a:cubicBezTo>
                  <a:cubicBezTo>
                    <a:pt x="156" y="54"/>
                    <a:pt x="156" y="54"/>
                    <a:pt x="156" y="54"/>
                  </a:cubicBezTo>
                  <a:cubicBezTo>
                    <a:pt x="156" y="54"/>
                    <a:pt x="156" y="54"/>
                    <a:pt x="156" y="54"/>
                  </a:cubicBezTo>
                  <a:cubicBezTo>
                    <a:pt x="156" y="54"/>
                    <a:pt x="156" y="54"/>
                    <a:pt x="156" y="54"/>
                  </a:cubicBezTo>
                  <a:cubicBezTo>
                    <a:pt x="156" y="54"/>
                    <a:pt x="156" y="54"/>
                    <a:pt x="156" y="54"/>
                  </a:cubicBezTo>
                  <a:cubicBezTo>
                    <a:pt x="156" y="54"/>
                    <a:pt x="156" y="54"/>
                    <a:pt x="156" y="54"/>
                  </a:cubicBezTo>
                  <a:cubicBezTo>
                    <a:pt x="156" y="54"/>
                    <a:pt x="156" y="54"/>
                    <a:pt x="156" y="54"/>
                  </a:cubicBezTo>
                  <a:cubicBezTo>
                    <a:pt x="156" y="54"/>
                    <a:pt x="156" y="54"/>
                    <a:pt x="156" y="54"/>
                  </a:cubicBezTo>
                  <a:cubicBezTo>
                    <a:pt x="156" y="54"/>
                    <a:pt x="156" y="54"/>
                    <a:pt x="156" y="54"/>
                  </a:cubicBezTo>
                  <a:cubicBezTo>
                    <a:pt x="156" y="54"/>
                    <a:pt x="156" y="54"/>
                    <a:pt x="156" y="54"/>
                  </a:cubicBezTo>
                  <a:cubicBezTo>
                    <a:pt x="156" y="54"/>
                    <a:pt x="156" y="54"/>
                    <a:pt x="156" y="54"/>
                  </a:cubicBezTo>
                  <a:cubicBezTo>
                    <a:pt x="156" y="54"/>
                    <a:pt x="156" y="54"/>
                    <a:pt x="156" y="54"/>
                  </a:cubicBezTo>
                  <a:cubicBezTo>
                    <a:pt x="156" y="54"/>
                    <a:pt x="156" y="54"/>
                    <a:pt x="156" y="54"/>
                  </a:cubicBezTo>
                  <a:cubicBezTo>
                    <a:pt x="156" y="54"/>
                    <a:pt x="156" y="54"/>
                    <a:pt x="156" y="54"/>
                  </a:cubicBezTo>
                  <a:cubicBezTo>
                    <a:pt x="156" y="54"/>
                    <a:pt x="156" y="54"/>
                    <a:pt x="156" y="54"/>
                  </a:cubicBezTo>
                  <a:cubicBezTo>
                    <a:pt x="156" y="54"/>
                    <a:pt x="156" y="54"/>
                    <a:pt x="156" y="54"/>
                  </a:cubicBezTo>
                  <a:cubicBezTo>
                    <a:pt x="157" y="54"/>
                    <a:pt x="157" y="54"/>
                    <a:pt x="157" y="54"/>
                  </a:cubicBezTo>
                  <a:cubicBezTo>
                    <a:pt x="157" y="54"/>
                    <a:pt x="157" y="54"/>
                    <a:pt x="157" y="54"/>
                  </a:cubicBezTo>
                  <a:cubicBezTo>
                    <a:pt x="157" y="54"/>
                    <a:pt x="157" y="54"/>
                    <a:pt x="157" y="54"/>
                  </a:cubicBezTo>
                  <a:cubicBezTo>
                    <a:pt x="157" y="54"/>
                    <a:pt x="157" y="54"/>
                    <a:pt x="157" y="54"/>
                  </a:cubicBezTo>
                  <a:cubicBezTo>
                    <a:pt x="157" y="54"/>
                    <a:pt x="157" y="54"/>
                    <a:pt x="157" y="54"/>
                  </a:cubicBezTo>
                  <a:cubicBezTo>
                    <a:pt x="157" y="54"/>
                    <a:pt x="157" y="54"/>
                    <a:pt x="157" y="54"/>
                  </a:cubicBezTo>
                  <a:cubicBezTo>
                    <a:pt x="157" y="54"/>
                    <a:pt x="157" y="54"/>
                    <a:pt x="157" y="54"/>
                  </a:cubicBezTo>
                  <a:cubicBezTo>
                    <a:pt x="157" y="54"/>
                    <a:pt x="157" y="54"/>
                    <a:pt x="157" y="54"/>
                  </a:cubicBezTo>
                  <a:cubicBezTo>
                    <a:pt x="157" y="54"/>
                    <a:pt x="157" y="54"/>
                    <a:pt x="157" y="54"/>
                  </a:cubicBezTo>
                  <a:cubicBezTo>
                    <a:pt x="157" y="54"/>
                    <a:pt x="157" y="54"/>
                    <a:pt x="157" y="54"/>
                  </a:cubicBezTo>
                  <a:cubicBezTo>
                    <a:pt x="157" y="54"/>
                    <a:pt x="157" y="54"/>
                    <a:pt x="157" y="54"/>
                  </a:cubicBezTo>
                  <a:cubicBezTo>
                    <a:pt x="157" y="54"/>
                    <a:pt x="157" y="54"/>
                    <a:pt x="157" y="54"/>
                  </a:cubicBezTo>
                  <a:cubicBezTo>
                    <a:pt x="157" y="54"/>
                    <a:pt x="157" y="54"/>
                    <a:pt x="157" y="54"/>
                  </a:cubicBezTo>
                  <a:cubicBezTo>
                    <a:pt x="157" y="54"/>
                    <a:pt x="157" y="54"/>
                    <a:pt x="157" y="54"/>
                  </a:cubicBezTo>
                  <a:cubicBezTo>
                    <a:pt x="158" y="53"/>
                    <a:pt x="158" y="53"/>
                    <a:pt x="158" y="53"/>
                  </a:cubicBezTo>
                  <a:cubicBezTo>
                    <a:pt x="158" y="53"/>
                    <a:pt x="158" y="53"/>
                    <a:pt x="158" y="53"/>
                  </a:cubicBezTo>
                  <a:cubicBezTo>
                    <a:pt x="158" y="53"/>
                    <a:pt x="158" y="53"/>
                    <a:pt x="158" y="53"/>
                  </a:cubicBezTo>
                  <a:cubicBezTo>
                    <a:pt x="158" y="53"/>
                    <a:pt x="158" y="53"/>
                    <a:pt x="158" y="53"/>
                  </a:cubicBezTo>
                  <a:cubicBezTo>
                    <a:pt x="158" y="53"/>
                    <a:pt x="158" y="53"/>
                    <a:pt x="158" y="53"/>
                  </a:cubicBezTo>
                  <a:cubicBezTo>
                    <a:pt x="158" y="53"/>
                    <a:pt x="158" y="53"/>
                    <a:pt x="158" y="53"/>
                  </a:cubicBezTo>
                  <a:cubicBezTo>
                    <a:pt x="158" y="53"/>
                    <a:pt x="158" y="53"/>
                    <a:pt x="158" y="53"/>
                  </a:cubicBezTo>
                  <a:cubicBezTo>
                    <a:pt x="158" y="53"/>
                    <a:pt x="158" y="53"/>
                    <a:pt x="158" y="53"/>
                  </a:cubicBezTo>
                  <a:cubicBezTo>
                    <a:pt x="158" y="53"/>
                    <a:pt x="158" y="53"/>
                    <a:pt x="158" y="53"/>
                  </a:cubicBezTo>
                  <a:cubicBezTo>
                    <a:pt x="158" y="53"/>
                    <a:pt x="158" y="53"/>
                    <a:pt x="158" y="53"/>
                  </a:cubicBezTo>
                  <a:cubicBezTo>
                    <a:pt x="158" y="53"/>
                    <a:pt x="158" y="53"/>
                    <a:pt x="158" y="53"/>
                  </a:cubicBezTo>
                  <a:cubicBezTo>
                    <a:pt x="158" y="53"/>
                    <a:pt x="158" y="53"/>
                    <a:pt x="158" y="53"/>
                  </a:cubicBezTo>
                  <a:cubicBezTo>
                    <a:pt x="158" y="53"/>
                    <a:pt x="158" y="53"/>
                    <a:pt x="158" y="53"/>
                  </a:cubicBezTo>
                  <a:cubicBezTo>
                    <a:pt x="158" y="53"/>
                    <a:pt x="158" y="53"/>
                    <a:pt x="158" y="53"/>
                  </a:cubicBezTo>
                  <a:cubicBezTo>
                    <a:pt x="158" y="53"/>
                    <a:pt x="158" y="53"/>
                    <a:pt x="158" y="53"/>
                  </a:cubicBezTo>
                  <a:cubicBezTo>
                    <a:pt x="158" y="53"/>
                    <a:pt x="158" y="53"/>
                    <a:pt x="158" y="53"/>
                  </a:cubicBezTo>
                  <a:cubicBezTo>
                    <a:pt x="158" y="53"/>
                    <a:pt x="158" y="53"/>
                    <a:pt x="158" y="53"/>
                  </a:cubicBezTo>
                  <a:cubicBezTo>
                    <a:pt x="158" y="53"/>
                    <a:pt x="158" y="53"/>
                    <a:pt x="158" y="53"/>
                  </a:cubicBezTo>
                  <a:cubicBezTo>
                    <a:pt x="158" y="53"/>
                    <a:pt x="158" y="53"/>
                    <a:pt x="158" y="53"/>
                  </a:cubicBezTo>
                  <a:cubicBezTo>
                    <a:pt x="158" y="53"/>
                    <a:pt x="158" y="53"/>
                    <a:pt x="158" y="53"/>
                  </a:cubicBezTo>
                  <a:cubicBezTo>
                    <a:pt x="158" y="53"/>
                    <a:pt x="158" y="53"/>
                    <a:pt x="158" y="53"/>
                  </a:cubicBezTo>
                  <a:cubicBezTo>
                    <a:pt x="159" y="53"/>
                    <a:pt x="159" y="53"/>
                    <a:pt x="159" y="53"/>
                  </a:cubicBezTo>
                  <a:cubicBezTo>
                    <a:pt x="159" y="53"/>
                    <a:pt x="159" y="53"/>
                    <a:pt x="159" y="53"/>
                  </a:cubicBezTo>
                  <a:cubicBezTo>
                    <a:pt x="159" y="53"/>
                    <a:pt x="159" y="53"/>
                    <a:pt x="159" y="53"/>
                  </a:cubicBezTo>
                  <a:cubicBezTo>
                    <a:pt x="159" y="53"/>
                    <a:pt x="159" y="53"/>
                    <a:pt x="159" y="53"/>
                  </a:cubicBezTo>
                  <a:cubicBezTo>
                    <a:pt x="159" y="53"/>
                    <a:pt x="159" y="53"/>
                    <a:pt x="159" y="53"/>
                  </a:cubicBezTo>
                  <a:cubicBezTo>
                    <a:pt x="159" y="53"/>
                    <a:pt x="159" y="53"/>
                    <a:pt x="159" y="53"/>
                  </a:cubicBezTo>
                  <a:cubicBezTo>
                    <a:pt x="159" y="53"/>
                    <a:pt x="159" y="53"/>
                    <a:pt x="159" y="53"/>
                  </a:cubicBezTo>
                  <a:cubicBezTo>
                    <a:pt x="159" y="53"/>
                    <a:pt x="159" y="53"/>
                    <a:pt x="159" y="53"/>
                  </a:cubicBezTo>
                  <a:cubicBezTo>
                    <a:pt x="159" y="53"/>
                    <a:pt x="159" y="53"/>
                    <a:pt x="159" y="53"/>
                  </a:cubicBezTo>
                  <a:cubicBezTo>
                    <a:pt x="159" y="53"/>
                    <a:pt x="159" y="53"/>
                    <a:pt x="159" y="53"/>
                  </a:cubicBezTo>
                  <a:cubicBezTo>
                    <a:pt x="159" y="53"/>
                    <a:pt x="159" y="53"/>
                    <a:pt x="159" y="53"/>
                  </a:cubicBezTo>
                  <a:cubicBezTo>
                    <a:pt x="159" y="53"/>
                    <a:pt x="159" y="53"/>
                    <a:pt x="159" y="53"/>
                  </a:cubicBezTo>
                  <a:cubicBezTo>
                    <a:pt x="159" y="53"/>
                    <a:pt x="159" y="53"/>
                    <a:pt x="159" y="53"/>
                  </a:cubicBezTo>
                  <a:cubicBezTo>
                    <a:pt x="159" y="53"/>
                    <a:pt x="159" y="53"/>
                    <a:pt x="159" y="53"/>
                  </a:cubicBezTo>
                  <a:cubicBezTo>
                    <a:pt x="159" y="53"/>
                    <a:pt x="159" y="53"/>
                    <a:pt x="159" y="53"/>
                  </a:cubicBezTo>
                  <a:cubicBezTo>
                    <a:pt x="159" y="53"/>
                    <a:pt x="159" y="53"/>
                    <a:pt x="159" y="53"/>
                  </a:cubicBezTo>
                  <a:cubicBezTo>
                    <a:pt x="159" y="53"/>
                    <a:pt x="159" y="53"/>
                    <a:pt x="159" y="53"/>
                  </a:cubicBezTo>
                  <a:cubicBezTo>
                    <a:pt x="159" y="53"/>
                    <a:pt x="159" y="53"/>
                    <a:pt x="159" y="53"/>
                  </a:cubicBezTo>
                  <a:cubicBezTo>
                    <a:pt x="159" y="53"/>
                    <a:pt x="159" y="53"/>
                    <a:pt x="159" y="53"/>
                  </a:cubicBezTo>
                  <a:cubicBezTo>
                    <a:pt x="159" y="52"/>
                    <a:pt x="159" y="52"/>
                    <a:pt x="159" y="52"/>
                  </a:cubicBezTo>
                  <a:cubicBezTo>
                    <a:pt x="159" y="52"/>
                    <a:pt x="159" y="52"/>
                    <a:pt x="159" y="52"/>
                  </a:cubicBezTo>
                  <a:cubicBezTo>
                    <a:pt x="159" y="52"/>
                    <a:pt x="159" y="52"/>
                    <a:pt x="159" y="52"/>
                  </a:cubicBezTo>
                  <a:cubicBezTo>
                    <a:pt x="159" y="52"/>
                    <a:pt x="159" y="52"/>
                    <a:pt x="159" y="52"/>
                  </a:cubicBezTo>
                  <a:cubicBezTo>
                    <a:pt x="159" y="52"/>
                    <a:pt x="159" y="52"/>
                    <a:pt x="159" y="52"/>
                  </a:cubicBezTo>
                  <a:cubicBezTo>
                    <a:pt x="159" y="52"/>
                    <a:pt x="159" y="52"/>
                    <a:pt x="159" y="52"/>
                  </a:cubicBezTo>
                  <a:cubicBezTo>
                    <a:pt x="159" y="52"/>
                    <a:pt x="159" y="52"/>
                    <a:pt x="159" y="52"/>
                  </a:cubicBezTo>
                  <a:cubicBezTo>
                    <a:pt x="159" y="52"/>
                    <a:pt x="159" y="52"/>
                    <a:pt x="159" y="52"/>
                  </a:cubicBezTo>
                  <a:cubicBezTo>
                    <a:pt x="159" y="52"/>
                    <a:pt x="159" y="52"/>
                    <a:pt x="159"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0" y="52"/>
                    <a:pt x="160" y="52"/>
                    <a:pt x="160" y="52"/>
                  </a:cubicBezTo>
                  <a:cubicBezTo>
                    <a:pt x="161" y="52"/>
                    <a:pt x="161" y="52"/>
                    <a:pt x="161" y="52"/>
                  </a:cubicBezTo>
                  <a:cubicBezTo>
                    <a:pt x="161" y="52"/>
                    <a:pt x="161" y="52"/>
                    <a:pt x="161" y="52"/>
                  </a:cubicBezTo>
                  <a:cubicBezTo>
                    <a:pt x="161" y="52"/>
                    <a:pt x="161" y="52"/>
                    <a:pt x="161" y="52"/>
                  </a:cubicBezTo>
                  <a:cubicBezTo>
                    <a:pt x="161" y="52"/>
                    <a:pt x="161" y="52"/>
                    <a:pt x="161" y="52"/>
                  </a:cubicBezTo>
                  <a:cubicBezTo>
                    <a:pt x="161" y="52"/>
                    <a:pt x="161" y="52"/>
                    <a:pt x="161" y="52"/>
                  </a:cubicBezTo>
                  <a:cubicBezTo>
                    <a:pt x="161" y="52"/>
                    <a:pt x="161" y="52"/>
                    <a:pt x="161" y="52"/>
                  </a:cubicBezTo>
                  <a:cubicBezTo>
                    <a:pt x="161" y="52"/>
                    <a:pt x="161" y="52"/>
                    <a:pt x="161" y="52"/>
                  </a:cubicBezTo>
                  <a:cubicBezTo>
                    <a:pt x="162" y="52"/>
                    <a:pt x="161" y="53"/>
                    <a:pt x="163" y="53"/>
                  </a:cubicBezTo>
                  <a:cubicBezTo>
                    <a:pt x="165" y="54"/>
                    <a:pt x="167" y="55"/>
                    <a:pt x="169" y="55"/>
                  </a:cubicBezTo>
                  <a:cubicBezTo>
                    <a:pt x="173" y="55"/>
                    <a:pt x="173" y="55"/>
                    <a:pt x="173" y="55"/>
                  </a:cubicBezTo>
                  <a:cubicBezTo>
                    <a:pt x="173" y="53"/>
                    <a:pt x="173" y="53"/>
                    <a:pt x="173" y="53"/>
                  </a:cubicBezTo>
                  <a:cubicBezTo>
                    <a:pt x="174" y="54"/>
                    <a:pt x="173" y="49"/>
                    <a:pt x="172" y="46"/>
                  </a:cubicBezTo>
                  <a:cubicBezTo>
                    <a:pt x="172" y="47"/>
                    <a:pt x="172" y="47"/>
                    <a:pt x="172" y="47"/>
                  </a:cubicBezTo>
                  <a:cubicBezTo>
                    <a:pt x="171" y="45"/>
                    <a:pt x="171" y="45"/>
                    <a:pt x="171" y="45"/>
                  </a:cubicBezTo>
                  <a:cubicBezTo>
                    <a:pt x="170" y="45"/>
                    <a:pt x="170" y="44"/>
                    <a:pt x="170" y="43"/>
                  </a:cubicBezTo>
                  <a:cubicBezTo>
                    <a:pt x="170" y="43"/>
                    <a:pt x="169" y="43"/>
                    <a:pt x="169" y="43"/>
                  </a:cubicBezTo>
                  <a:cubicBezTo>
                    <a:pt x="169" y="43"/>
                    <a:pt x="168" y="43"/>
                    <a:pt x="166" y="43"/>
                  </a:cubicBezTo>
                  <a:cubicBezTo>
                    <a:pt x="162" y="42"/>
                    <a:pt x="162" y="42"/>
                    <a:pt x="162" y="42"/>
                  </a:cubicBezTo>
                  <a:cubicBezTo>
                    <a:pt x="159" y="41"/>
                    <a:pt x="159" y="41"/>
                    <a:pt x="159" y="41"/>
                  </a:cubicBezTo>
                  <a:cubicBezTo>
                    <a:pt x="157" y="37"/>
                    <a:pt x="157" y="37"/>
                    <a:pt x="157" y="37"/>
                  </a:cubicBezTo>
                  <a:cubicBezTo>
                    <a:pt x="154" y="35"/>
                    <a:pt x="154" y="35"/>
                    <a:pt x="154" y="35"/>
                  </a:cubicBezTo>
                  <a:cubicBezTo>
                    <a:pt x="151" y="30"/>
                    <a:pt x="151" y="30"/>
                    <a:pt x="151" y="30"/>
                  </a:cubicBezTo>
                  <a:cubicBezTo>
                    <a:pt x="152" y="27"/>
                    <a:pt x="152" y="27"/>
                    <a:pt x="152" y="27"/>
                  </a:cubicBezTo>
                  <a:cubicBezTo>
                    <a:pt x="156" y="24"/>
                    <a:pt x="156" y="24"/>
                    <a:pt x="156" y="24"/>
                  </a:cubicBezTo>
                  <a:cubicBezTo>
                    <a:pt x="156" y="24"/>
                    <a:pt x="156" y="24"/>
                    <a:pt x="156" y="23"/>
                  </a:cubicBezTo>
                  <a:cubicBezTo>
                    <a:pt x="155" y="22"/>
                    <a:pt x="154" y="22"/>
                    <a:pt x="153" y="21"/>
                  </a:cubicBezTo>
                  <a:cubicBezTo>
                    <a:pt x="153" y="21"/>
                    <a:pt x="152" y="22"/>
                    <a:pt x="151" y="22"/>
                  </a:cubicBezTo>
                  <a:cubicBezTo>
                    <a:pt x="151" y="22"/>
                    <a:pt x="151" y="22"/>
                    <a:pt x="151" y="22"/>
                  </a:cubicBezTo>
                  <a:cubicBezTo>
                    <a:pt x="140" y="22"/>
                    <a:pt x="140" y="22"/>
                    <a:pt x="140" y="22"/>
                  </a:cubicBezTo>
                  <a:cubicBezTo>
                    <a:pt x="136" y="18"/>
                    <a:pt x="136" y="18"/>
                    <a:pt x="136" y="18"/>
                  </a:cubicBezTo>
                  <a:cubicBezTo>
                    <a:pt x="132" y="17"/>
                    <a:pt x="132" y="17"/>
                    <a:pt x="132" y="17"/>
                  </a:cubicBezTo>
                  <a:cubicBezTo>
                    <a:pt x="128" y="15"/>
                    <a:pt x="128" y="15"/>
                    <a:pt x="128" y="15"/>
                  </a:cubicBezTo>
                  <a:cubicBezTo>
                    <a:pt x="127" y="15"/>
                    <a:pt x="127" y="15"/>
                    <a:pt x="127" y="15"/>
                  </a:cubicBezTo>
                  <a:cubicBezTo>
                    <a:pt x="127" y="14"/>
                    <a:pt x="127" y="14"/>
                    <a:pt x="127" y="9"/>
                  </a:cubicBezTo>
                  <a:cubicBezTo>
                    <a:pt x="127" y="8"/>
                    <a:pt x="127" y="7"/>
                    <a:pt x="126" y="6"/>
                  </a:cubicBezTo>
                  <a:cubicBezTo>
                    <a:pt x="126" y="6"/>
                    <a:pt x="126" y="5"/>
                    <a:pt x="126" y="4"/>
                  </a:cubicBezTo>
                  <a:cubicBezTo>
                    <a:pt x="126" y="4"/>
                    <a:pt x="126" y="4"/>
                    <a:pt x="126" y="4"/>
                  </a:cubicBezTo>
                  <a:cubicBezTo>
                    <a:pt x="123" y="4"/>
                    <a:pt x="122" y="4"/>
                    <a:pt x="122" y="4"/>
                  </a:cubicBezTo>
                  <a:cubicBezTo>
                    <a:pt x="122" y="4"/>
                    <a:pt x="121" y="5"/>
                    <a:pt x="120" y="5"/>
                  </a:cubicBezTo>
                  <a:cubicBezTo>
                    <a:pt x="119" y="5"/>
                    <a:pt x="117" y="4"/>
                    <a:pt x="117" y="4"/>
                  </a:cubicBezTo>
                  <a:cubicBezTo>
                    <a:pt x="111" y="3"/>
                    <a:pt x="109" y="2"/>
                    <a:pt x="109" y="1"/>
                  </a:cubicBezTo>
                  <a:cubicBezTo>
                    <a:pt x="108" y="1"/>
                    <a:pt x="108" y="1"/>
                    <a:pt x="107" y="1"/>
                  </a:cubicBezTo>
                  <a:cubicBezTo>
                    <a:pt x="105" y="1"/>
                    <a:pt x="103" y="1"/>
                    <a:pt x="103" y="1"/>
                  </a:cubicBezTo>
                  <a:cubicBezTo>
                    <a:pt x="102" y="1"/>
                    <a:pt x="102" y="1"/>
                    <a:pt x="102" y="1"/>
                  </a:cubicBezTo>
                  <a:cubicBezTo>
                    <a:pt x="100" y="0"/>
                    <a:pt x="100" y="0"/>
                    <a:pt x="100" y="0"/>
                  </a:cubicBezTo>
                  <a:cubicBezTo>
                    <a:pt x="101" y="10"/>
                    <a:pt x="101" y="10"/>
                    <a:pt x="101" y="10"/>
                  </a:cubicBezTo>
                  <a:cubicBezTo>
                    <a:pt x="96" y="5"/>
                    <a:pt x="96" y="5"/>
                    <a:pt x="96" y="5"/>
                  </a:cubicBezTo>
                  <a:cubicBezTo>
                    <a:pt x="90" y="4"/>
                    <a:pt x="90" y="4"/>
                    <a:pt x="90" y="4"/>
                  </a:cubicBezTo>
                  <a:cubicBezTo>
                    <a:pt x="86" y="7"/>
                    <a:pt x="86" y="7"/>
                    <a:pt x="86" y="7"/>
                  </a:cubicBezTo>
                  <a:cubicBezTo>
                    <a:pt x="83" y="8"/>
                    <a:pt x="83" y="8"/>
                    <a:pt x="83" y="8"/>
                  </a:cubicBezTo>
                  <a:cubicBezTo>
                    <a:pt x="83" y="9"/>
                    <a:pt x="83" y="9"/>
                    <a:pt x="83" y="9"/>
                  </a:cubicBezTo>
                  <a:cubicBezTo>
                    <a:pt x="82" y="11"/>
                    <a:pt x="82" y="11"/>
                    <a:pt x="82" y="11"/>
                  </a:cubicBezTo>
                  <a:cubicBezTo>
                    <a:pt x="83" y="11"/>
                    <a:pt x="83" y="11"/>
                    <a:pt x="84" y="11"/>
                  </a:cubicBezTo>
                  <a:cubicBezTo>
                    <a:pt x="85" y="11"/>
                    <a:pt x="85" y="11"/>
                    <a:pt x="85" y="11"/>
                  </a:cubicBezTo>
                  <a:cubicBezTo>
                    <a:pt x="86" y="12"/>
                    <a:pt x="86" y="12"/>
                    <a:pt x="86" y="12"/>
                  </a:cubicBezTo>
                  <a:cubicBezTo>
                    <a:pt x="87" y="12"/>
                    <a:pt x="87" y="12"/>
                    <a:pt x="87" y="12"/>
                  </a:cubicBezTo>
                  <a:cubicBezTo>
                    <a:pt x="87" y="13"/>
                    <a:pt x="87" y="14"/>
                    <a:pt x="87" y="14"/>
                  </a:cubicBezTo>
                  <a:cubicBezTo>
                    <a:pt x="87" y="14"/>
                    <a:pt x="87" y="14"/>
                    <a:pt x="87" y="14"/>
                  </a:cubicBezTo>
                  <a:cubicBezTo>
                    <a:pt x="87" y="14"/>
                    <a:pt x="87" y="14"/>
                    <a:pt x="87" y="14"/>
                  </a:cubicBezTo>
                  <a:cubicBezTo>
                    <a:pt x="88" y="15"/>
                    <a:pt x="88" y="15"/>
                    <a:pt x="89" y="15"/>
                  </a:cubicBezTo>
                  <a:cubicBezTo>
                    <a:pt x="89" y="15"/>
                    <a:pt x="89" y="15"/>
                    <a:pt x="89" y="15"/>
                  </a:cubicBezTo>
                  <a:cubicBezTo>
                    <a:pt x="89" y="15"/>
                    <a:pt x="90" y="15"/>
                    <a:pt x="90" y="15"/>
                  </a:cubicBezTo>
                  <a:cubicBezTo>
                    <a:pt x="92" y="15"/>
                    <a:pt x="92" y="15"/>
                    <a:pt x="92" y="15"/>
                  </a:cubicBezTo>
                  <a:cubicBezTo>
                    <a:pt x="93" y="16"/>
                    <a:pt x="93" y="16"/>
                    <a:pt x="93" y="16"/>
                  </a:cubicBezTo>
                  <a:cubicBezTo>
                    <a:pt x="93" y="16"/>
                    <a:pt x="93" y="17"/>
                    <a:pt x="94" y="17"/>
                  </a:cubicBezTo>
                  <a:cubicBezTo>
                    <a:pt x="94" y="17"/>
                    <a:pt x="94" y="17"/>
                    <a:pt x="94" y="17"/>
                  </a:cubicBezTo>
                  <a:cubicBezTo>
                    <a:pt x="95" y="16"/>
                    <a:pt x="95" y="16"/>
                    <a:pt x="95" y="16"/>
                  </a:cubicBezTo>
                  <a:cubicBezTo>
                    <a:pt x="96" y="17"/>
                    <a:pt x="96" y="17"/>
                    <a:pt x="96" y="17"/>
                  </a:cubicBezTo>
                  <a:cubicBezTo>
                    <a:pt x="96" y="18"/>
                    <a:pt x="97" y="18"/>
                    <a:pt x="97" y="19"/>
                  </a:cubicBezTo>
                  <a:cubicBezTo>
                    <a:pt x="97" y="20"/>
                    <a:pt x="97" y="20"/>
                    <a:pt x="97" y="20"/>
                  </a:cubicBezTo>
                  <a:cubicBezTo>
                    <a:pt x="100" y="24"/>
                    <a:pt x="100" y="24"/>
                    <a:pt x="100" y="24"/>
                  </a:cubicBezTo>
                  <a:cubicBezTo>
                    <a:pt x="99" y="25"/>
                    <a:pt x="99" y="25"/>
                    <a:pt x="99" y="25"/>
                  </a:cubicBezTo>
                  <a:cubicBezTo>
                    <a:pt x="99" y="25"/>
                    <a:pt x="99" y="25"/>
                    <a:pt x="99" y="25"/>
                  </a:cubicBezTo>
                  <a:cubicBezTo>
                    <a:pt x="99" y="26"/>
                    <a:pt x="99" y="27"/>
                    <a:pt x="99" y="29"/>
                  </a:cubicBezTo>
                  <a:cubicBezTo>
                    <a:pt x="98" y="30"/>
                    <a:pt x="98" y="31"/>
                    <a:pt x="98" y="32"/>
                  </a:cubicBezTo>
                  <a:cubicBezTo>
                    <a:pt x="98" y="32"/>
                    <a:pt x="98" y="32"/>
                    <a:pt x="98" y="32"/>
                  </a:cubicBezTo>
                  <a:cubicBezTo>
                    <a:pt x="98" y="33"/>
                    <a:pt x="98" y="33"/>
                    <a:pt x="98" y="33"/>
                  </a:cubicBezTo>
                  <a:cubicBezTo>
                    <a:pt x="97" y="34"/>
                    <a:pt x="97" y="34"/>
                    <a:pt x="97" y="34"/>
                  </a:cubicBezTo>
                  <a:cubicBezTo>
                    <a:pt x="97" y="35"/>
                    <a:pt x="96" y="35"/>
                    <a:pt x="95" y="35"/>
                  </a:cubicBezTo>
                  <a:cubicBezTo>
                    <a:pt x="92" y="36"/>
                    <a:pt x="92" y="36"/>
                    <a:pt x="92" y="36"/>
                  </a:cubicBezTo>
                  <a:cubicBezTo>
                    <a:pt x="92" y="36"/>
                    <a:pt x="92" y="36"/>
                    <a:pt x="91" y="37"/>
                  </a:cubicBezTo>
                  <a:cubicBezTo>
                    <a:pt x="91" y="37"/>
                    <a:pt x="91" y="37"/>
                    <a:pt x="91" y="37"/>
                  </a:cubicBezTo>
                  <a:cubicBezTo>
                    <a:pt x="89" y="38"/>
                    <a:pt x="89" y="38"/>
                    <a:pt x="89" y="38"/>
                  </a:cubicBezTo>
                  <a:cubicBezTo>
                    <a:pt x="88" y="37"/>
                    <a:pt x="88" y="37"/>
                    <a:pt x="88" y="37"/>
                  </a:cubicBezTo>
                  <a:cubicBezTo>
                    <a:pt x="86" y="35"/>
                    <a:pt x="86" y="35"/>
                    <a:pt x="86" y="35"/>
                  </a:cubicBezTo>
                  <a:cubicBezTo>
                    <a:pt x="86" y="35"/>
                    <a:pt x="86" y="35"/>
                    <a:pt x="86" y="35"/>
                  </a:cubicBezTo>
                  <a:cubicBezTo>
                    <a:pt x="85" y="34"/>
                    <a:pt x="85" y="34"/>
                    <a:pt x="85" y="34"/>
                  </a:cubicBezTo>
                  <a:cubicBezTo>
                    <a:pt x="85" y="34"/>
                    <a:pt x="85" y="34"/>
                    <a:pt x="85" y="34"/>
                  </a:cubicBezTo>
                  <a:cubicBezTo>
                    <a:pt x="85" y="34"/>
                    <a:pt x="85" y="34"/>
                    <a:pt x="85" y="34"/>
                  </a:cubicBezTo>
                  <a:cubicBezTo>
                    <a:pt x="85" y="34"/>
                    <a:pt x="85" y="34"/>
                    <a:pt x="85" y="34"/>
                  </a:cubicBezTo>
                  <a:cubicBezTo>
                    <a:pt x="84" y="35"/>
                    <a:pt x="84" y="35"/>
                    <a:pt x="84" y="35"/>
                  </a:cubicBezTo>
                  <a:cubicBezTo>
                    <a:pt x="82" y="35"/>
                    <a:pt x="82" y="35"/>
                    <a:pt x="82" y="35"/>
                  </a:cubicBezTo>
                  <a:cubicBezTo>
                    <a:pt x="81" y="32"/>
                    <a:pt x="81" y="32"/>
                    <a:pt x="81" y="32"/>
                  </a:cubicBezTo>
                  <a:cubicBezTo>
                    <a:pt x="81" y="32"/>
                    <a:pt x="81" y="32"/>
                    <a:pt x="81" y="32"/>
                  </a:cubicBezTo>
                  <a:cubicBezTo>
                    <a:pt x="81" y="32"/>
                    <a:pt x="81" y="32"/>
                    <a:pt x="81" y="32"/>
                  </a:cubicBezTo>
                  <a:cubicBezTo>
                    <a:pt x="81" y="32"/>
                    <a:pt x="81" y="31"/>
                    <a:pt x="81" y="31"/>
                  </a:cubicBezTo>
                  <a:cubicBezTo>
                    <a:pt x="81" y="31"/>
                    <a:pt x="80" y="31"/>
                    <a:pt x="80" y="31"/>
                  </a:cubicBezTo>
                  <a:cubicBezTo>
                    <a:pt x="80" y="31"/>
                    <a:pt x="79" y="31"/>
                    <a:pt x="79" y="31"/>
                  </a:cubicBezTo>
                  <a:cubicBezTo>
                    <a:pt x="79" y="32"/>
                    <a:pt x="78" y="32"/>
                    <a:pt x="78" y="32"/>
                  </a:cubicBezTo>
                  <a:cubicBezTo>
                    <a:pt x="78" y="33"/>
                    <a:pt x="78" y="33"/>
                    <a:pt x="78" y="33"/>
                  </a:cubicBezTo>
                  <a:cubicBezTo>
                    <a:pt x="77" y="34"/>
                    <a:pt x="77" y="34"/>
                    <a:pt x="77" y="34"/>
                  </a:cubicBezTo>
                  <a:cubicBezTo>
                    <a:pt x="77" y="34"/>
                    <a:pt x="77" y="35"/>
                    <a:pt x="76" y="35"/>
                  </a:cubicBezTo>
                  <a:cubicBezTo>
                    <a:pt x="76" y="35"/>
                    <a:pt x="76" y="36"/>
                    <a:pt x="76" y="36"/>
                  </a:cubicBezTo>
                  <a:cubicBezTo>
                    <a:pt x="75" y="36"/>
                    <a:pt x="75" y="36"/>
                    <a:pt x="75" y="36"/>
                  </a:cubicBezTo>
                  <a:cubicBezTo>
                    <a:pt x="75" y="37"/>
                    <a:pt x="75" y="37"/>
                    <a:pt x="75" y="37"/>
                  </a:cubicBezTo>
                  <a:cubicBezTo>
                    <a:pt x="74" y="38"/>
                    <a:pt x="74" y="38"/>
                    <a:pt x="74" y="38"/>
                  </a:cubicBezTo>
                  <a:cubicBezTo>
                    <a:pt x="73" y="38"/>
                    <a:pt x="73" y="38"/>
                    <a:pt x="73" y="38"/>
                  </a:cubicBezTo>
                  <a:cubicBezTo>
                    <a:pt x="71" y="38"/>
                    <a:pt x="71" y="38"/>
                    <a:pt x="71" y="38"/>
                  </a:cubicBezTo>
                  <a:cubicBezTo>
                    <a:pt x="71" y="37"/>
                    <a:pt x="71" y="37"/>
                    <a:pt x="71" y="37"/>
                  </a:cubicBezTo>
                  <a:cubicBezTo>
                    <a:pt x="71" y="37"/>
                    <a:pt x="71" y="37"/>
                    <a:pt x="71" y="37"/>
                  </a:cubicBezTo>
                  <a:cubicBezTo>
                    <a:pt x="71" y="37"/>
                    <a:pt x="70" y="38"/>
                    <a:pt x="70" y="38"/>
                  </a:cubicBezTo>
                  <a:cubicBezTo>
                    <a:pt x="69" y="38"/>
                    <a:pt x="69" y="38"/>
                    <a:pt x="69" y="38"/>
                  </a:cubicBezTo>
                  <a:cubicBezTo>
                    <a:pt x="68" y="37"/>
                    <a:pt x="68" y="37"/>
                    <a:pt x="67" y="37"/>
                  </a:cubicBezTo>
                  <a:cubicBezTo>
                    <a:pt x="66" y="37"/>
                    <a:pt x="66" y="37"/>
                    <a:pt x="66" y="37"/>
                  </a:cubicBezTo>
                  <a:cubicBezTo>
                    <a:pt x="66" y="36"/>
                    <a:pt x="66" y="36"/>
                    <a:pt x="66" y="36"/>
                  </a:cubicBezTo>
                  <a:cubicBezTo>
                    <a:pt x="66" y="36"/>
                    <a:pt x="65" y="35"/>
                    <a:pt x="64" y="35"/>
                  </a:cubicBezTo>
                  <a:cubicBezTo>
                    <a:pt x="64" y="35"/>
                    <a:pt x="64" y="34"/>
                    <a:pt x="64" y="34"/>
                  </a:cubicBezTo>
                  <a:cubicBezTo>
                    <a:pt x="63" y="33"/>
                    <a:pt x="63" y="33"/>
                    <a:pt x="63" y="33"/>
                  </a:cubicBezTo>
                  <a:cubicBezTo>
                    <a:pt x="63" y="33"/>
                    <a:pt x="63" y="32"/>
                    <a:pt x="63" y="31"/>
                  </a:cubicBezTo>
                  <a:cubicBezTo>
                    <a:pt x="63" y="31"/>
                    <a:pt x="63" y="31"/>
                    <a:pt x="63" y="30"/>
                  </a:cubicBezTo>
                  <a:cubicBezTo>
                    <a:pt x="63" y="30"/>
                    <a:pt x="63" y="30"/>
                    <a:pt x="63" y="30"/>
                  </a:cubicBezTo>
                  <a:cubicBezTo>
                    <a:pt x="62" y="29"/>
                    <a:pt x="62" y="29"/>
                    <a:pt x="62" y="29"/>
                  </a:cubicBezTo>
                  <a:cubicBezTo>
                    <a:pt x="62" y="29"/>
                    <a:pt x="62" y="29"/>
                    <a:pt x="62" y="29"/>
                  </a:cubicBezTo>
                  <a:cubicBezTo>
                    <a:pt x="62" y="29"/>
                    <a:pt x="62" y="29"/>
                    <a:pt x="62" y="29"/>
                  </a:cubicBezTo>
                  <a:cubicBezTo>
                    <a:pt x="62" y="29"/>
                    <a:pt x="62" y="28"/>
                    <a:pt x="62" y="28"/>
                  </a:cubicBezTo>
                  <a:cubicBezTo>
                    <a:pt x="60" y="27"/>
                    <a:pt x="60" y="25"/>
                    <a:pt x="60" y="25"/>
                  </a:cubicBezTo>
                  <a:cubicBezTo>
                    <a:pt x="59" y="21"/>
                    <a:pt x="59" y="21"/>
                    <a:pt x="59" y="21"/>
                  </a:cubicBezTo>
                  <a:cubicBezTo>
                    <a:pt x="58" y="20"/>
                    <a:pt x="58" y="20"/>
                    <a:pt x="58" y="20"/>
                  </a:cubicBezTo>
                  <a:cubicBezTo>
                    <a:pt x="58" y="20"/>
                    <a:pt x="58" y="18"/>
                    <a:pt x="58" y="18"/>
                  </a:cubicBezTo>
                  <a:cubicBezTo>
                    <a:pt x="57" y="18"/>
                    <a:pt x="57" y="18"/>
                    <a:pt x="57" y="18"/>
                  </a:cubicBezTo>
                  <a:cubicBezTo>
                    <a:pt x="59" y="15"/>
                    <a:pt x="59" y="15"/>
                    <a:pt x="59" y="15"/>
                  </a:cubicBezTo>
                  <a:cubicBezTo>
                    <a:pt x="59" y="15"/>
                    <a:pt x="61" y="14"/>
                    <a:pt x="61" y="14"/>
                  </a:cubicBezTo>
                  <a:cubicBezTo>
                    <a:pt x="63" y="12"/>
                    <a:pt x="63" y="12"/>
                    <a:pt x="63" y="12"/>
                  </a:cubicBezTo>
                  <a:cubicBezTo>
                    <a:pt x="63" y="12"/>
                    <a:pt x="63" y="12"/>
                    <a:pt x="63" y="12"/>
                  </a:cubicBezTo>
                  <a:cubicBezTo>
                    <a:pt x="63" y="11"/>
                    <a:pt x="63" y="11"/>
                    <a:pt x="63" y="11"/>
                  </a:cubicBezTo>
                  <a:cubicBezTo>
                    <a:pt x="61" y="11"/>
                    <a:pt x="61" y="11"/>
                    <a:pt x="61" y="11"/>
                  </a:cubicBezTo>
                  <a:cubicBezTo>
                    <a:pt x="56" y="9"/>
                    <a:pt x="56" y="9"/>
                    <a:pt x="56" y="9"/>
                  </a:cubicBezTo>
                  <a:cubicBezTo>
                    <a:pt x="46" y="8"/>
                    <a:pt x="46" y="8"/>
                    <a:pt x="46" y="8"/>
                  </a:cubicBezTo>
                  <a:cubicBezTo>
                    <a:pt x="39" y="7"/>
                    <a:pt x="39" y="7"/>
                    <a:pt x="39" y="7"/>
                  </a:cubicBezTo>
                  <a:cubicBezTo>
                    <a:pt x="35" y="2"/>
                    <a:pt x="35" y="2"/>
                    <a:pt x="35" y="2"/>
                  </a:cubicBezTo>
                  <a:cubicBezTo>
                    <a:pt x="30" y="1"/>
                    <a:pt x="30" y="1"/>
                    <a:pt x="30" y="1"/>
                  </a:cubicBezTo>
                  <a:cubicBezTo>
                    <a:pt x="25" y="5"/>
                    <a:pt x="25" y="5"/>
                    <a:pt x="25" y="5"/>
                  </a:cubicBezTo>
                  <a:cubicBezTo>
                    <a:pt x="24" y="5"/>
                    <a:pt x="24" y="5"/>
                    <a:pt x="24" y="5"/>
                  </a:cubicBezTo>
                  <a:cubicBezTo>
                    <a:pt x="24" y="5"/>
                    <a:pt x="23" y="5"/>
                    <a:pt x="22" y="4"/>
                  </a:cubicBezTo>
                  <a:cubicBezTo>
                    <a:pt x="21" y="4"/>
                    <a:pt x="18" y="3"/>
                    <a:pt x="17" y="3"/>
                  </a:cubicBezTo>
                  <a:cubicBezTo>
                    <a:pt x="15" y="3"/>
                    <a:pt x="11" y="4"/>
                    <a:pt x="11" y="5"/>
                  </a:cubicBezTo>
                  <a:cubicBezTo>
                    <a:pt x="11" y="5"/>
                    <a:pt x="10" y="5"/>
                    <a:pt x="10" y="5"/>
                  </a:cubicBezTo>
                  <a:cubicBezTo>
                    <a:pt x="10" y="6"/>
                    <a:pt x="10" y="6"/>
                    <a:pt x="10" y="6"/>
                  </a:cubicBezTo>
                  <a:cubicBezTo>
                    <a:pt x="10" y="6"/>
                    <a:pt x="10" y="6"/>
                    <a:pt x="10" y="6"/>
                  </a:cubicBezTo>
                  <a:cubicBezTo>
                    <a:pt x="10" y="6"/>
                    <a:pt x="10" y="6"/>
                    <a:pt x="9" y="6"/>
                  </a:cubicBezTo>
                  <a:cubicBezTo>
                    <a:pt x="10" y="7"/>
                    <a:pt x="10" y="7"/>
                    <a:pt x="10" y="7"/>
                  </a:cubicBezTo>
                  <a:cubicBezTo>
                    <a:pt x="10" y="8"/>
                    <a:pt x="10" y="9"/>
                    <a:pt x="9" y="9"/>
                  </a:cubicBezTo>
                  <a:cubicBezTo>
                    <a:pt x="9" y="11"/>
                    <a:pt x="9" y="12"/>
                    <a:pt x="8" y="13"/>
                  </a:cubicBezTo>
                  <a:cubicBezTo>
                    <a:pt x="8" y="13"/>
                    <a:pt x="7" y="13"/>
                    <a:pt x="6" y="14"/>
                  </a:cubicBezTo>
                  <a:cubicBezTo>
                    <a:pt x="6" y="14"/>
                    <a:pt x="5" y="14"/>
                    <a:pt x="5" y="15"/>
                  </a:cubicBezTo>
                  <a:cubicBezTo>
                    <a:pt x="4" y="15"/>
                    <a:pt x="4" y="15"/>
                    <a:pt x="4" y="15"/>
                  </a:cubicBezTo>
                  <a:cubicBezTo>
                    <a:pt x="4" y="15"/>
                    <a:pt x="4" y="15"/>
                    <a:pt x="4" y="15"/>
                  </a:cubicBezTo>
                  <a:cubicBezTo>
                    <a:pt x="5" y="16"/>
                    <a:pt x="5" y="16"/>
                    <a:pt x="5" y="16"/>
                  </a:cubicBezTo>
                  <a:cubicBezTo>
                    <a:pt x="5" y="16"/>
                    <a:pt x="5" y="17"/>
                    <a:pt x="6" y="17"/>
                  </a:cubicBezTo>
                  <a:cubicBezTo>
                    <a:pt x="7" y="20"/>
                    <a:pt x="7" y="20"/>
                    <a:pt x="7" y="20"/>
                  </a:cubicBezTo>
                  <a:cubicBezTo>
                    <a:pt x="7" y="20"/>
                    <a:pt x="7" y="20"/>
                    <a:pt x="7" y="20"/>
                  </a:cubicBezTo>
                  <a:cubicBezTo>
                    <a:pt x="7" y="21"/>
                    <a:pt x="6" y="21"/>
                    <a:pt x="6" y="22"/>
                  </a:cubicBezTo>
                  <a:cubicBezTo>
                    <a:pt x="7" y="23"/>
                    <a:pt x="7" y="23"/>
                    <a:pt x="7" y="23"/>
                  </a:cubicBezTo>
                  <a:cubicBezTo>
                    <a:pt x="8" y="24"/>
                    <a:pt x="8" y="24"/>
                    <a:pt x="8" y="24"/>
                  </a:cubicBezTo>
                  <a:cubicBezTo>
                    <a:pt x="8" y="25"/>
                    <a:pt x="8" y="25"/>
                    <a:pt x="8" y="25"/>
                  </a:cubicBezTo>
                  <a:cubicBezTo>
                    <a:pt x="8" y="25"/>
                    <a:pt x="9" y="26"/>
                    <a:pt x="9" y="26"/>
                  </a:cubicBezTo>
                  <a:cubicBezTo>
                    <a:pt x="9" y="27"/>
                    <a:pt x="9" y="27"/>
                    <a:pt x="10" y="27"/>
                  </a:cubicBezTo>
                  <a:cubicBezTo>
                    <a:pt x="10" y="27"/>
                    <a:pt x="10" y="27"/>
                    <a:pt x="10" y="27"/>
                  </a:cubicBezTo>
                  <a:cubicBezTo>
                    <a:pt x="10" y="29"/>
                    <a:pt x="10" y="29"/>
                    <a:pt x="10" y="29"/>
                  </a:cubicBezTo>
                  <a:cubicBezTo>
                    <a:pt x="10" y="29"/>
                    <a:pt x="10" y="31"/>
                    <a:pt x="9" y="32"/>
                  </a:cubicBezTo>
                  <a:cubicBezTo>
                    <a:pt x="9" y="32"/>
                    <a:pt x="9" y="32"/>
                    <a:pt x="9" y="32"/>
                  </a:cubicBezTo>
                  <a:cubicBezTo>
                    <a:pt x="8" y="33"/>
                    <a:pt x="8" y="33"/>
                    <a:pt x="8" y="33"/>
                  </a:cubicBezTo>
                  <a:cubicBezTo>
                    <a:pt x="7" y="34"/>
                    <a:pt x="7" y="34"/>
                    <a:pt x="7" y="35"/>
                  </a:cubicBezTo>
                  <a:cubicBezTo>
                    <a:pt x="6" y="36"/>
                    <a:pt x="6" y="37"/>
                    <a:pt x="6" y="37"/>
                  </a:cubicBezTo>
                  <a:cubicBezTo>
                    <a:pt x="5" y="38"/>
                    <a:pt x="5" y="38"/>
                    <a:pt x="4" y="38"/>
                  </a:cubicBezTo>
                  <a:cubicBezTo>
                    <a:pt x="4" y="39"/>
                    <a:pt x="4" y="39"/>
                    <a:pt x="3" y="39"/>
                  </a:cubicBezTo>
                  <a:cubicBezTo>
                    <a:pt x="3" y="40"/>
                    <a:pt x="3" y="40"/>
                    <a:pt x="3" y="40"/>
                  </a:cubicBezTo>
                  <a:cubicBezTo>
                    <a:pt x="2" y="42"/>
                    <a:pt x="2" y="42"/>
                    <a:pt x="2" y="42"/>
                  </a:cubicBezTo>
                  <a:cubicBezTo>
                    <a:pt x="0" y="43"/>
                    <a:pt x="0" y="43"/>
                    <a:pt x="0" y="43"/>
                  </a:cubicBezTo>
                  <a:cubicBezTo>
                    <a:pt x="1" y="44"/>
                    <a:pt x="2" y="45"/>
                    <a:pt x="2" y="45"/>
                  </a:cubicBezTo>
                  <a:cubicBezTo>
                    <a:pt x="3" y="46"/>
                    <a:pt x="5" y="51"/>
                    <a:pt x="6" y="52"/>
                  </a:cubicBezTo>
                  <a:cubicBezTo>
                    <a:pt x="6" y="54"/>
                    <a:pt x="8" y="57"/>
                    <a:pt x="9" y="60"/>
                  </a:cubicBezTo>
                  <a:cubicBezTo>
                    <a:pt x="10" y="63"/>
                    <a:pt x="11" y="65"/>
                    <a:pt x="11" y="65"/>
                  </a:cubicBezTo>
                  <a:cubicBezTo>
                    <a:pt x="11" y="69"/>
                    <a:pt x="11" y="69"/>
                    <a:pt x="11" y="69"/>
                  </a:cubicBezTo>
                  <a:cubicBezTo>
                    <a:pt x="11" y="69"/>
                    <a:pt x="8" y="74"/>
                    <a:pt x="7" y="77"/>
                  </a:cubicBezTo>
                  <a:cubicBezTo>
                    <a:pt x="7" y="77"/>
                    <a:pt x="7" y="77"/>
                    <a:pt x="7" y="77"/>
                  </a:cubicBezTo>
                  <a:cubicBezTo>
                    <a:pt x="8" y="78"/>
                    <a:pt x="8" y="78"/>
                    <a:pt x="8" y="78"/>
                  </a:cubicBezTo>
                  <a:cubicBezTo>
                    <a:pt x="8" y="78"/>
                    <a:pt x="9" y="80"/>
                    <a:pt x="10" y="80"/>
                  </a:cubicBezTo>
                  <a:cubicBezTo>
                    <a:pt x="10" y="80"/>
                    <a:pt x="10" y="80"/>
                    <a:pt x="10" y="80"/>
                  </a:cubicBezTo>
                  <a:cubicBezTo>
                    <a:pt x="12" y="80"/>
                    <a:pt x="16" y="79"/>
                    <a:pt x="18" y="78"/>
                  </a:cubicBezTo>
                  <a:cubicBezTo>
                    <a:pt x="22" y="76"/>
                    <a:pt x="22" y="76"/>
                    <a:pt x="22" y="76"/>
                  </a:cubicBezTo>
                  <a:cubicBezTo>
                    <a:pt x="26" y="75"/>
                    <a:pt x="26" y="75"/>
                    <a:pt x="26" y="75"/>
                  </a:cubicBezTo>
                  <a:cubicBezTo>
                    <a:pt x="32" y="75"/>
                    <a:pt x="36" y="74"/>
                    <a:pt x="37" y="74"/>
                  </a:cubicBezTo>
                  <a:cubicBezTo>
                    <a:pt x="37" y="73"/>
                    <a:pt x="38" y="73"/>
                    <a:pt x="38" y="73"/>
                  </a:cubicBezTo>
                  <a:cubicBezTo>
                    <a:pt x="37" y="70"/>
                    <a:pt x="37" y="70"/>
                    <a:pt x="37" y="70"/>
                  </a:cubicBezTo>
                  <a:cubicBezTo>
                    <a:pt x="38" y="69"/>
                    <a:pt x="38" y="69"/>
                    <a:pt x="38" y="69"/>
                  </a:cubicBezTo>
                  <a:cubicBezTo>
                    <a:pt x="39" y="68"/>
                    <a:pt x="45" y="65"/>
                    <a:pt x="46" y="65"/>
                  </a:cubicBezTo>
                  <a:cubicBezTo>
                    <a:pt x="46" y="65"/>
                    <a:pt x="47" y="65"/>
                    <a:pt x="47" y="65"/>
                  </a:cubicBezTo>
                  <a:cubicBezTo>
                    <a:pt x="49" y="65"/>
                    <a:pt x="51" y="66"/>
                    <a:pt x="51" y="66"/>
                  </a:cubicBezTo>
                  <a:cubicBezTo>
                    <a:pt x="54" y="69"/>
                    <a:pt x="54" y="69"/>
                    <a:pt x="54" y="69"/>
                  </a:cubicBezTo>
                  <a:cubicBezTo>
                    <a:pt x="57" y="71"/>
                    <a:pt x="57" y="71"/>
                    <a:pt x="57" y="71"/>
                  </a:cubicBezTo>
                  <a:cubicBezTo>
                    <a:pt x="61" y="72"/>
                    <a:pt x="61" y="72"/>
                    <a:pt x="61" y="72"/>
                  </a:cubicBezTo>
                  <a:cubicBezTo>
                    <a:pt x="61" y="73"/>
                    <a:pt x="61" y="73"/>
                    <a:pt x="61" y="73"/>
                  </a:cubicBezTo>
                  <a:cubicBezTo>
                    <a:pt x="61" y="73"/>
                    <a:pt x="64" y="75"/>
                    <a:pt x="65" y="77"/>
                  </a:cubicBezTo>
                  <a:cubicBezTo>
                    <a:pt x="68" y="77"/>
                    <a:pt x="68" y="77"/>
                    <a:pt x="68" y="77"/>
                  </a:cubicBezTo>
                  <a:cubicBezTo>
                    <a:pt x="68" y="76"/>
                    <a:pt x="68" y="76"/>
                    <a:pt x="68" y="76"/>
                  </a:cubicBezTo>
                  <a:lnTo>
                    <a:pt x="66" y="74"/>
                  </a:ln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5" name="Freeform 240"/>
            <p:cNvSpPr>
              <a:spLocks/>
            </p:cNvSpPr>
            <p:nvPr/>
          </p:nvSpPr>
          <p:spPr bwMode="auto">
            <a:xfrm>
              <a:off x="8716071" y="4894809"/>
              <a:ext cx="190627" cy="104844"/>
            </a:xfrm>
            <a:custGeom>
              <a:avLst/>
              <a:gdLst>
                <a:gd name="T0" fmla="*/ 63 w 66"/>
                <a:gd name="T1" fmla="*/ 33 h 38"/>
                <a:gd name="T2" fmla="*/ 60 w 66"/>
                <a:gd name="T3" fmla="*/ 29 h 38"/>
                <a:gd name="T4" fmla="*/ 55 w 66"/>
                <a:gd name="T5" fmla="*/ 23 h 38"/>
                <a:gd name="T6" fmla="*/ 54 w 66"/>
                <a:gd name="T7" fmla="*/ 21 h 38"/>
                <a:gd name="T8" fmla="*/ 55 w 66"/>
                <a:gd name="T9" fmla="*/ 18 h 38"/>
                <a:gd name="T10" fmla="*/ 55 w 66"/>
                <a:gd name="T11" fmla="*/ 16 h 38"/>
                <a:gd name="T12" fmla="*/ 51 w 66"/>
                <a:gd name="T13" fmla="*/ 15 h 38"/>
                <a:gd name="T14" fmla="*/ 47 w 66"/>
                <a:gd name="T15" fmla="*/ 16 h 38"/>
                <a:gd name="T16" fmla="*/ 45 w 66"/>
                <a:gd name="T17" fmla="*/ 15 h 38"/>
                <a:gd name="T18" fmla="*/ 44 w 66"/>
                <a:gd name="T19" fmla="*/ 13 h 38"/>
                <a:gd name="T20" fmla="*/ 45 w 66"/>
                <a:gd name="T21" fmla="*/ 10 h 38"/>
                <a:gd name="T22" fmla="*/ 44 w 66"/>
                <a:gd name="T23" fmla="*/ 7 h 38"/>
                <a:gd name="T24" fmla="*/ 41 w 66"/>
                <a:gd name="T25" fmla="*/ 4 h 38"/>
                <a:gd name="T26" fmla="*/ 34 w 66"/>
                <a:gd name="T27" fmla="*/ 7 h 38"/>
                <a:gd name="T28" fmla="*/ 30 w 66"/>
                <a:gd name="T29" fmla="*/ 11 h 38"/>
                <a:gd name="T30" fmla="*/ 27 w 66"/>
                <a:gd name="T31" fmla="*/ 8 h 38"/>
                <a:gd name="T32" fmla="*/ 21 w 66"/>
                <a:gd name="T33" fmla="*/ 7 h 38"/>
                <a:gd name="T34" fmla="*/ 19 w 66"/>
                <a:gd name="T35" fmla="*/ 9 h 38"/>
                <a:gd name="T36" fmla="*/ 17 w 66"/>
                <a:gd name="T37" fmla="*/ 8 h 38"/>
                <a:gd name="T38" fmla="*/ 18 w 66"/>
                <a:gd name="T39" fmla="*/ 4 h 38"/>
                <a:gd name="T40" fmla="*/ 13 w 66"/>
                <a:gd name="T41" fmla="*/ 1 h 38"/>
                <a:gd name="T42" fmla="*/ 10 w 66"/>
                <a:gd name="T43" fmla="*/ 0 h 38"/>
                <a:gd name="T44" fmla="*/ 6 w 66"/>
                <a:gd name="T45" fmla="*/ 4 h 38"/>
                <a:gd name="T46" fmla="*/ 0 w 66"/>
                <a:gd name="T47" fmla="*/ 5 h 38"/>
                <a:gd name="T48" fmla="*/ 0 w 66"/>
                <a:gd name="T49" fmla="*/ 8 h 38"/>
                <a:gd name="T50" fmla="*/ 5 w 66"/>
                <a:gd name="T51" fmla="*/ 9 h 38"/>
                <a:gd name="T52" fmla="*/ 8 w 66"/>
                <a:gd name="T53" fmla="*/ 12 h 38"/>
                <a:gd name="T54" fmla="*/ 10 w 66"/>
                <a:gd name="T55" fmla="*/ 17 h 38"/>
                <a:gd name="T56" fmla="*/ 12 w 66"/>
                <a:gd name="T57" fmla="*/ 18 h 38"/>
                <a:gd name="T58" fmla="*/ 15 w 66"/>
                <a:gd name="T59" fmla="*/ 19 h 38"/>
                <a:gd name="T60" fmla="*/ 18 w 66"/>
                <a:gd name="T61" fmla="*/ 22 h 38"/>
                <a:gd name="T62" fmla="*/ 18 w 66"/>
                <a:gd name="T63" fmla="*/ 24 h 38"/>
                <a:gd name="T64" fmla="*/ 21 w 66"/>
                <a:gd name="T65" fmla="*/ 27 h 38"/>
                <a:gd name="T66" fmla="*/ 27 w 66"/>
                <a:gd name="T67" fmla="*/ 28 h 38"/>
                <a:gd name="T68" fmla="*/ 33 w 66"/>
                <a:gd name="T69" fmla="*/ 33 h 38"/>
                <a:gd name="T70" fmla="*/ 37 w 66"/>
                <a:gd name="T71" fmla="*/ 37 h 38"/>
                <a:gd name="T72" fmla="*/ 43 w 66"/>
                <a:gd name="T73" fmla="*/ 37 h 38"/>
                <a:gd name="T74" fmla="*/ 49 w 66"/>
                <a:gd name="T75" fmla="*/ 37 h 38"/>
                <a:gd name="T76" fmla="*/ 53 w 66"/>
                <a:gd name="T77" fmla="*/ 38 h 38"/>
                <a:gd name="T78" fmla="*/ 56 w 66"/>
                <a:gd name="T79" fmla="*/ 38 h 38"/>
                <a:gd name="T80" fmla="*/ 66 w 66"/>
                <a:gd name="T81" fmla="*/ 36 h 38"/>
                <a:gd name="T82" fmla="*/ 63 w 66"/>
                <a:gd name="T83" fmla="*/ 3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 h="38">
                  <a:moveTo>
                    <a:pt x="63" y="33"/>
                  </a:moveTo>
                  <a:cubicBezTo>
                    <a:pt x="63" y="33"/>
                    <a:pt x="60" y="29"/>
                    <a:pt x="60" y="29"/>
                  </a:cubicBezTo>
                  <a:cubicBezTo>
                    <a:pt x="60" y="29"/>
                    <a:pt x="55" y="23"/>
                    <a:pt x="55" y="23"/>
                  </a:cubicBezTo>
                  <a:cubicBezTo>
                    <a:pt x="54" y="23"/>
                    <a:pt x="54" y="22"/>
                    <a:pt x="54" y="21"/>
                  </a:cubicBezTo>
                  <a:cubicBezTo>
                    <a:pt x="53" y="20"/>
                    <a:pt x="54" y="19"/>
                    <a:pt x="55" y="18"/>
                  </a:cubicBezTo>
                  <a:cubicBezTo>
                    <a:pt x="55" y="16"/>
                    <a:pt x="55" y="16"/>
                    <a:pt x="55" y="16"/>
                  </a:cubicBezTo>
                  <a:cubicBezTo>
                    <a:pt x="55" y="16"/>
                    <a:pt x="53" y="15"/>
                    <a:pt x="51" y="15"/>
                  </a:cubicBezTo>
                  <a:cubicBezTo>
                    <a:pt x="50" y="15"/>
                    <a:pt x="48" y="16"/>
                    <a:pt x="47" y="16"/>
                  </a:cubicBezTo>
                  <a:cubicBezTo>
                    <a:pt x="46" y="16"/>
                    <a:pt x="45" y="15"/>
                    <a:pt x="45" y="15"/>
                  </a:cubicBezTo>
                  <a:cubicBezTo>
                    <a:pt x="44" y="16"/>
                    <a:pt x="44" y="13"/>
                    <a:pt x="44" y="13"/>
                  </a:cubicBezTo>
                  <a:cubicBezTo>
                    <a:pt x="45" y="10"/>
                    <a:pt x="45" y="10"/>
                    <a:pt x="45" y="10"/>
                  </a:cubicBezTo>
                  <a:cubicBezTo>
                    <a:pt x="44" y="7"/>
                    <a:pt x="44" y="7"/>
                    <a:pt x="44" y="7"/>
                  </a:cubicBezTo>
                  <a:cubicBezTo>
                    <a:pt x="41" y="4"/>
                    <a:pt x="41" y="4"/>
                    <a:pt x="41" y="4"/>
                  </a:cubicBezTo>
                  <a:cubicBezTo>
                    <a:pt x="41" y="4"/>
                    <a:pt x="35" y="6"/>
                    <a:pt x="34" y="7"/>
                  </a:cubicBezTo>
                  <a:cubicBezTo>
                    <a:pt x="34" y="7"/>
                    <a:pt x="30" y="10"/>
                    <a:pt x="30" y="11"/>
                  </a:cubicBezTo>
                  <a:cubicBezTo>
                    <a:pt x="29" y="11"/>
                    <a:pt x="27" y="8"/>
                    <a:pt x="27" y="8"/>
                  </a:cubicBezTo>
                  <a:cubicBezTo>
                    <a:pt x="21" y="7"/>
                    <a:pt x="21" y="7"/>
                    <a:pt x="21" y="7"/>
                  </a:cubicBezTo>
                  <a:cubicBezTo>
                    <a:pt x="21" y="7"/>
                    <a:pt x="20" y="8"/>
                    <a:pt x="19" y="9"/>
                  </a:cubicBezTo>
                  <a:cubicBezTo>
                    <a:pt x="18" y="9"/>
                    <a:pt x="17" y="9"/>
                    <a:pt x="17" y="8"/>
                  </a:cubicBezTo>
                  <a:cubicBezTo>
                    <a:pt x="17" y="7"/>
                    <a:pt x="18" y="4"/>
                    <a:pt x="18" y="4"/>
                  </a:cubicBezTo>
                  <a:cubicBezTo>
                    <a:pt x="13" y="1"/>
                    <a:pt x="13" y="1"/>
                    <a:pt x="13" y="1"/>
                  </a:cubicBezTo>
                  <a:cubicBezTo>
                    <a:pt x="10" y="0"/>
                    <a:pt x="10" y="0"/>
                    <a:pt x="10" y="0"/>
                  </a:cubicBezTo>
                  <a:cubicBezTo>
                    <a:pt x="6" y="4"/>
                    <a:pt x="6" y="4"/>
                    <a:pt x="6" y="4"/>
                  </a:cubicBezTo>
                  <a:cubicBezTo>
                    <a:pt x="6" y="4"/>
                    <a:pt x="1" y="5"/>
                    <a:pt x="0" y="5"/>
                  </a:cubicBezTo>
                  <a:cubicBezTo>
                    <a:pt x="0" y="8"/>
                    <a:pt x="0" y="8"/>
                    <a:pt x="0" y="8"/>
                  </a:cubicBezTo>
                  <a:cubicBezTo>
                    <a:pt x="5" y="9"/>
                    <a:pt x="5" y="9"/>
                    <a:pt x="5" y="9"/>
                  </a:cubicBezTo>
                  <a:cubicBezTo>
                    <a:pt x="8" y="12"/>
                    <a:pt x="8" y="12"/>
                    <a:pt x="8" y="12"/>
                  </a:cubicBezTo>
                  <a:cubicBezTo>
                    <a:pt x="8" y="12"/>
                    <a:pt x="9" y="16"/>
                    <a:pt x="10" y="17"/>
                  </a:cubicBezTo>
                  <a:cubicBezTo>
                    <a:pt x="10" y="18"/>
                    <a:pt x="12" y="18"/>
                    <a:pt x="12" y="18"/>
                  </a:cubicBezTo>
                  <a:cubicBezTo>
                    <a:pt x="13" y="18"/>
                    <a:pt x="15" y="19"/>
                    <a:pt x="15" y="19"/>
                  </a:cubicBezTo>
                  <a:cubicBezTo>
                    <a:pt x="15" y="19"/>
                    <a:pt x="17" y="21"/>
                    <a:pt x="18" y="22"/>
                  </a:cubicBezTo>
                  <a:cubicBezTo>
                    <a:pt x="18" y="22"/>
                    <a:pt x="18" y="24"/>
                    <a:pt x="18" y="24"/>
                  </a:cubicBezTo>
                  <a:cubicBezTo>
                    <a:pt x="21" y="27"/>
                    <a:pt x="21" y="27"/>
                    <a:pt x="21" y="27"/>
                  </a:cubicBezTo>
                  <a:cubicBezTo>
                    <a:pt x="27" y="28"/>
                    <a:pt x="27" y="28"/>
                    <a:pt x="27" y="28"/>
                  </a:cubicBezTo>
                  <a:cubicBezTo>
                    <a:pt x="27" y="28"/>
                    <a:pt x="33" y="32"/>
                    <a:pt x="33" y="33"/>
                  </a:cubicBezTo>
                  <a:cubicBezTo>
                    <a:pt x="34" y="34"/>
                    <a:pt x="37" y="37"/>
                    <a:pt x="37" y="37"/>
                  </a:cubicBezTo>
                  <a:cubicBezTo>
                    <a:pt x="37" y="37"/>
                    <a:pt x="42" y="37"/>
                    <a:pt x="43" y="37"/>
                  </a:cubicBezTo>
                  <a:cubicBezTo>
                    <a:pt x="43" y="37"/>
                    <a:pt x="49" y="37"/>
                    <a:pt x="49" y="37"/>
                  </a:cubicBezTo>
                  <a:cubicBezTo>
                    <a:pt x="53" y="38"/>
                    <a:pt x="53" y="38"/>
                    <a:pt x="53" y="38"/>
                  </a:cubicBezTo>
                  <a:cubicBezTo>
                    <a:pt x="56" y="38"/>
                    <a:pt x="56" y="38"/>
                    <a:pt x="56" y="38"/>
                  </a:cubicBezTo>
                  <a:cubicBezTo>
                    <a:pt x="66" y="36"/>
                    <a:pt x="66" y="36"/>
                    <a:pt x="66" y="36"/>
                  </a:cubicBezTo>
                  <a:cubicBezTo>
                    <a:pt x="66" y="36"/>
                    <a:pt x="64" y="34"/>
                    <a:pt x="63" y="33"/>
                  </a:cubicBez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6" name="Freeform 241"/>
            <p:cNvSpPr>
              <a:spLocks/>
            </p:cNvSpPr>
            <p:nvPr/>
          </p:nvSpPr>
          <p:spPr bwMode="auto">
            <a:xfrm>
              <a:off x="8707404" y="4509480"/>
              <a:ext cx="619540" cy="484730"/>
            </a:xfrm>
            <a:custGeom>
              <a:avLst/>
              <a:gdLst>
                <a:gd name="T0" fmla="*/ 191 w 214"/>
                <a:gd name="T1" fmla="*/ 51 h 177"/>
                <a:gd name="T2" fmla="*/ 173 w 214"/>
                <a:gd name="T3" fmla="*/ 43 h 177"/>
                <a:gd name="T4" fmla="*/ 155 w 214"/>
                <a:gd name="T5" fmla="*/ 27 h 177"/>
                <a:gd name="T6" fmla="*/ 120 w 214"/>
                <a:gd name="T7" fmla="*/ 9 h 177"/>
                <a:gd name="T8" fmla="*/ 120 w 214"/>
                <a:gd name="T9" fmla="*/ 19 h 177"/>
                <a:gd name="T10" fmla="*/ 107 w 214"/>
                <a:gd name="T11" fmla="*/ 41 h 177"/>
                <a:gd name="T12" fmla="*/ 86 w 214"/>
                <a:gd name="T13" fmla="*/ 44 h 177"/>
                <a:gd name="T14" fmla="*/ 76 w 214"/>
                <a:gd name="T15" fmla="*/ 39 h 177"/>
                <a:gd name="T16" fmla="*/ 67 w 214"/>
                <a:gd name="T17" fmla="*/ 32 h 177"/>
                <a:gd name="T18" fmla="*/ 55 w 214"/>
                <a:gd name="T19" fmla="*/ 24 h 177"/>
                <a:gd name="T20" fmla="*/ 48 w 214"/>
                <a:gd name="T21" fmla="*/ 25 h 177"/>
                <a:gd name="T22" fmla="*/ 37 w 214"/>
                <a:gd name="T23" fmla="*/ 30 h 177"/>
                <a:gd name="T24" fmla="*/ 45 w 214"/>
                <a:gd name="T25" fmla="*/ 40 h 177"/>
                <a:gd name="T26" fmla="*/ 61 w 214"/>
                <a:gd name="T27" fmla="*/ 46 h 177"/>
                <a:gd name="T28" fmla="*/ 60 w 214"/>
                <a:gd name="T29" fmla="*/ 52 h 177"/>
                <a:gd name="T30" fmla="*/ 45 w 214"/>
                <a:gd name="T31" fmla="*/ 50 h 177"/>
                <a:gd name="T32" fmla="*/ 44 w 214"/>
                <a:gd name="T33" fmla="*/ 61 h 177"/>
                <a:gd name="T34" fmla="*/ 30 w 214"/>
                <a:gd name="T35" fmla="*/ 58 h 177"/>
                <a:gd name="T36" fmla="*/ 29 w 214"/>
                <a:gd name="T37" fmla="*/ 59 h 177"/>
                <a:gd name="T38" fmla="*/ 28 w 214"/>
                <a:gd name="T39" fmla="*/ 60 h 177"/>
                <a:gd name="T40" fmla="*/ 26 w 214"/>
                <a:gd name="T41" fmla="*/ 60 h 177"/>
                <a:gd name="T42" fmla="*/ 8 w 214"/>
                <a:gd name="T43" fmla="*/ 55 h 177"/>
                <a:gd name="T44" fmla="*/ 6 w 214"/>
                <a:gd name="T45" fmla="*/ 57 h 177"/>
                <a:gd name="T46" fmla="*/ 4 w 214"/>
                <a:gd name="T47" fmla="*/ 55 h 177"/>
                <a:gd name="T48" fmla="*/ 2 w 214"/>
                <a:gd name="T49" fmla="*/ 57 h 177"/>
                <a:gd name="T50" fmla="*/ 4 w 214"/>
                <a:gd name="T51" fmla="*/ 60 h 177"/>
                <a:gd name="T52" fmla="*/ 7 w 214"/>
                <a:gd name="T53" fmla="*/ 59 h 177"/>
                <a:gd name="T54" fmla="*/ 15 w 214"/>
                <a:gd name="T55" fmla="*/ 64 h 177"/>
                <a:gd name="T56" fmla="*/ 20 w 214"/>
                <a:gd name="T57" fmla="*/ 66 h 177"/>
                <a:gd name="T58" fmla="*/ 17 w 214"/>
                <a:gd name="T59" fmla="*/ 72 h 177"/>
                <a:gd name="T60" fmla="*/ 15 w 214"/>
                <a:gd name="T61" fmla="*/ 78 h 177"/>
                <a:gd name="T62" fmla="*/ 28 w 214"/>
                <a:gd name="T63" fmla="*/ 85 h 177"/>
                <a:gd name="T64" fmla="*/ 37 w 214"/>
                <a:gd name="T65" fmla="*/ 88 h 177"/>
                <a:gd name="T66" fmla="*/ 41 w 214"/>
                <a:gd name="T67" fmla="*/ 95 h 177"/>
                <a:gd name="T68" fmla="*/ 38 w 214"/>
                <a:gd name="T69" fmla="*/ 102 h 177"/>
                <a:gd name="T70" fmla="*/ 36 w 214"/>
                <a:gd name="T71" fmla="*/ 104 h 177"/>
                <a:gd name="T72" fmla="*/ 53 w 214"/>
                <a:gd name="T73" fmla="*/ 112 h 177"/>
                <a:gd name="T74" fmla="*/ 61 w 214"/>
                <a:gd name="T75" fmla="*/ 112 h 177"/>
                <a:gd name="T76" fmla="*/ 68 w 214"/>
                <a:gd name="T77" fmla="*/ 111 h 177"/>
                <a:gd name="T78" fmla="*/ 69 w 214"/>
                <a:gd name="T79" fmla="*/ 122 h 177"/>
                <a:gd name="T80" fmla="*/ 76 w 214"/>
                <a:gd name="T81" fmla="*/ 129 h 177"/>
                <a:gd name="T82" fmla="*/ 77 w 214"/>
                <a:gd name="T83" fmla="*/ 139 h 177"/>
                <a:gd name="T84" fmla="*/ 73 w 214"/>
                <a:gd name="T85" fmla="*/ 147 h 177"/>
                <a:gd name="T86" fmla="*/ 74 w 214"/>
                <a:gd name="T87" fmla="*/ 157 h 177"/>
                <a:gd name="T88" fmla="*/ 94 w 214"/>
                <a:gd name="T89" fmla="*/ 156 h 177"/>
                <a:gd name="T90" fmla="*/ 117 w 214"/>
                <a:gd name="T91" fmla="*/ 126 h 177"/>
                <a:gd name="T92" fmla="*/ 147 w 214"/>
                <a:gd name="T93" fmla="*/ 124 h 177"/>
                <a:gd name="T94" fmla="*/ 150 w 214"/>
                <a:gd name="T95" fmla="*/ 143 h 177"/>
                <a:gd name="T96" fmla="*/ 152 w 214"/>
                <a:gd name="T97" fmla="*/ 161 h 177"/>
                <a:gd name="T98" fmla="*/ 165 w 214"/>
                <a:gd name="T99" fmla="*/ 167 h 177"/>
                <a:gd name="T100" fmla="*/ 180 w 214"/>
                <a:gd name="T101" fmla="*/ 162 h 177"/>
                <a:gd name="T102" fmla="*/ 174 w 214"/>
                <a:gd name="T103" fmla="*/ 143 h 177"/>
                <a:gd name="T104" fmla="*/ 179 w 214"/>
                <a:gd name="T105" fmla="*/ 130 h 177"/>
                <a:gd name="T106" fmla="*/ 185 w 214"/>
                <a:gd name="T107" fmla="*/ 138 h 177"/>
                <a:gd name="T108" fmla="*/ 190 w 214"/>
                <a:gd name="T109" fmla="*/ 119 h 177"/>
                <a:gd name="T110" fmla="*/ 185 w 214"/>
                <a:gd name="T111" fmla="*/ 101 h 177"/>
                <a:gd name="T112" fmla="*/ 182 w 214"/>
                <a:gd name="T113" fmla="*/ 85 h 177"/>
                <a:gd name="T114" fmla="*/ 188 w 214"/>
                <a:gd name="T115" fmla="*/ 69 h 177"/>
                <a:gd name="T116" fmla="*/ 205 w 214"/>
                <a:gd name="T117" fmla="*/ 5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4" h="177">
                  <a:moveTo>
                    <a:pt x="213" y="58"/>
                  </a:moveTo>
                  <a:cubicBezTo>
                    <a:pt x="209" y="54"/>
                    <a:pt x="209" y="54"/>
                    <a:pt x="209" y="54"/>
                  </a:cubicBezTo>
                  <a:cubicBezTo>
                    <a:pt x="204" y="52"/>
                    <a:pt x="204" y="52"/>
                    <a:pt x="204" y="52"/>
                  </a:cubicBezTo>
                  <a:cubicBezTo>
                    <a:pt x="199" y="50"/>
                    <a:pt x="199" y="50"/>
                    <a:pt x="199" y="50"/>
                  </a:cubicBezTo>
                  <a:cubicBezTo>
                    <a:pt x="199" y="50"/>
                    <a:pt x="193" y="51"/>
                    <a:pt x="191" y="51"/>
                  </a:cubicBezTo>
                  <a:cubicBezTo>
                    <a:pt x="190" y="52"/>
                    <a:pt x="189" y="52"/>
                    <a:pt x="187" y="52"/>
                  </a:cubicBezTo>
                  <a:cubicBezTo>
                    <a:pt x="184" y="52"/>
                    <a:pt x="183" y="51"/>
                    <a:pt x="183" y="51"/>
                  </a:cubicBezTo>
                  <a:cubicBezTo>
                    <a:pt x="183" y="51"/>
                    <a:pt x="178" y="51"/>
                    <a:pt x="177" y="51"/>
                  </a:cubicBezTo>
                  <a:cubicBezTo>
                    <a:pt x="176" y="52"/>
                    <a:pt x="175" y="49"/>
                    <a:pt x="175" y="48"/>
                  </a:cubicBezTo>
                  <a:cubicBezTo>
                    <a:pt x="174" y="47"/>
                    <a:pt x="174" y="44"/>
                    <a:pt x="173" y="43"/>
                  </a:cubicBezTo>
                  <a:cubicBezTo>
                    <a:pt x="172" y="42"/>
                    <a:pt x="172" y="43"/>
                    <a:pt x="172" y="43"/>
                  </a:cubicBezTo>
                  <a:cubicBezTo>
                    <a:pt x="172" y="43"/>
                    <a:pt x="165" y="40"/>
                    <a:pt x="164" y="39"/>
                  </a:cubicBezTo>
                  <a:cubicBezTo>
                    <a:pt x="162" y="39"/>
                    <a:pt x="158" y="35"/>
                    <a:pt x="157" y="35"/>
                  </a:cubicBezTo>
                  <a:cubicBezTo>
                    <a:pt x="155" y="34"/>
                    <a:pt x="155" y="31"/>
                    <a:pt x="155" y="31"/>
                  </a:cubicBezTo>
                  <a:cubicBezTo>
                    <a:pt x="155" y="27"/>
                    <a:pt x="155" y="27"/>
                    <a:pt x="155" y="27"/>
                  </a:cubicBezTo>
                  <a:cubicBezTo>
                    <a:pt x="155" y="27"/>
                    <a:pt x="150" y="21"/>
                    <a:pt x="149" y="20"/>
                  </a:cubicBezTo>
                  <a:cubicBezTo>
                    <a:pt x="148" y="19"/>
                    <a:pt x="142" y="15"/>
                    <a:pt x="141" y="15"/>
                  </a:cubicBezTo>
                  <a:cubicBezTo>
                    <a:pt x="140" y="15"/>
                    <a:pt x="124" y="0"/>
                    <a:pt x="124" y="0"/>
                  </a:cubicBezTo>
                  <a:cubicBezTo>
                    <a:pt x="123" y="2"/>
                    <a:pt x="123" y="2"/>
                    <a:pt x="123" y="2"/>
                  </a:cubicBezTo>
                  <a:cubicBezTo>
                    <a:pt x="123" y="2"/>
                    <a:pt x="121" y="9"/>
                    <a:pt x="120" y="9"/>
                  </a:cubicBezTo>
                  <a:cubicBezTo>
                    <a:pt x="119" y="10"/>
                    <a:pt x="119" y="15"/>
                    <a:pt x="119" y="15"/>
                  </a:cubicBezTo>
                  <a:cubicBezTo>
                    <a:pt x="119" y="16"/>
                    <a:pt x="119" y="16"/>
                    <a:pt x="119" y="16"/>
                  </a:cubicBezTo>
                  <a:cubicBezTo>
                    <a:pt x="119" y="17"/>
                    <a:pt x="119" y="17"/>
                    <a:pt x="119" y="17"/>
                  </a:cubicBezTo>
                  <a:cubicBezTo>
                    <a:pt x="120" y="18"/>
                    <a:pt x="120" y="18"/>
                    <a:pt x="120" y="18"/>
                  </a:cubicBezTo>
                  <a:cubicBezTo>
                    <a:pt x="120" y="19"/>
                    <a:pt x="120" y="19"/>
                    <a:pt x="120" y="19"/>
                  </a:cubicBezTo>
                  <a:cubicBezTo>
                    <a:pt x="119" y="21"/>
                    <a:pt x="114" y="26"/>
                    <a:pt x="113" y="27"/>
                  </a:cubicBezTo>
                  <a:cubicBezTo>
                    <a:pt x="112" y="27"/>
                    <a:pt x="111" y="27"/>
                    <a:pt x="111" y="28"/>
                  </a:cubicBezTo>
                  <a:cubicBezTo>
                    <a:pt x="112" y="31"/>
                    <a:pt x="111" y="32"/>
                    <a:pt x="110" y="32"/>
                  </a:cubicBezTo>
                  <a:cubicBezTo>
                    <a:pt x="109" y="33"/>
                    <a:pt x="108" y="35"/>
                    <a:pt x="108" y="35"/>
                  </a:cubicBezTo>
                  <a:cubicBezTo>
                    <a:pt x="109" y="37"/>
                    <a:pt x="107" y="40"/>
                    <a:pt x="107" y="41"/>
                  </a:cubicBezTo>
                  <a:cubicBezTo>
                    <a:pt x="106" y="41"/>
                    <a:pt x="102" y="46"/>
                    <a:pt x="98" y="46"/>
                  </a:cubicBezTo>
                  <a:cubicBezTo>
                    <a:pt x="97" y="46"/>
                    <a:pt x="97" y="46"/>
                    <a:pt x="97" y="46"/>
                  </a:cubicBezTo>
                  <a:cubicBezTo>
                    <a:pt x="94" y="46"/>
                    <a:pt x="91" y="46"/>
                    <a:pt x="89" y="45"/>
                  </a:cubicBezTo>
                  <a:cubicBezTo>
                    <a:pt x="88" y="44"/>
                    <a:pt x="88" y="44"/>
                    <a:pt x="88" y="44"/>
                  </a:cubicBezTo>
                  <a:cubicBezTo>
                    <a:pt x="87" y="44"/>
                    <a:pt x="87" y="44"/>
                    <a:pt x="86" y="44"/>
                  </a:cubicBezTo>
                  <a:cubicBezTo>
                    <a:pt x="86" y="44"/>
                    <a:pt x="86" y="44"/>
                    <a:pt x="86" y="44"/>
                  </a:cubicBezTo>
                  <a:cubicBezTo>
                    <a:pt x="85" y="44"/>
                    <a:pt x="85" y="44"/>
                    <a:pt x="85" y="44"/>
                  </a:cubicBezTo>
                  <a:cubicBezTo>
                    <a:pt x="85" y="44"/>
                    <a:pt x="82" y="44"/>
                    <a:pt x="79" y="43"/>
                  </a:cubicBezTo>
                  <a:cubicBezTo>
                    <a:pt x="78" y="42"/>
                    <a:pt x="76" y="41"/>
                    <a:pt x="76" y="39"/>
                  </a:cubicBezTo>
                  <a:cubicBezTo>
                    <a:pt x="76" y="39"/>
                    <a:pt x="76" y="39"/>
                    <a:pt x="76" y="39"/>
                  </a:cubicBezTo>
                  <a:cubicBezTo>
                    <a:pt x="74" y="37"/>
                    <a:pt x="74" y="37"/>
                    <a:pt x="74" y="37"/>
                  </a:cubicBezTo>
                  <a:cubicBezTo>
                    <a:pt x="71" y="33"/>
                    <a:pt x="71" y="33"/>
                    <a:pt x="71" y="33"/>
                  </a:cubicBezTo>
                  <a:cubicBezTo>
                    <a:pt x="71" y="33"/>
                    <a:pt x="70" y="32"/>
                    <a:pt x="70" y="32"/>
                  </a:cubicBezTo>
                  <a:cubicBezTo>
                    <a:pt x="70" y="32"/>
                    <a:pt x="69" y="32"/>
                    <a:pt x="69" y="32"/>
                  </a:cubicBezTo>
                  <a:cubicBezTo>
                    <a:pt x="68" y="32"/>
                    <a:pt x="68" y="32"/>
                    <a:pt x="67" y="32"/>
                  </a:cubicBezTo>
                  <a:cubicBezTo>
                    <a:pt x="66" y="32"/>
                    <a:pt x="66" y="32"/>
                    <a:pt x="65" y="31"/>
                  </a:cubicBezTo>
                  <a:cubicBezTo>
                    <a:pt x="63" y="30"/>
                    <a:pt x="63" y="29"/>
                    <a:pt x="62" y="28"/>
                  </a:cubicBezTo>
                  <a:cubicBezTo>
                    <a:pt x="62" y="27"/>
                    <a:pt x="61" y="27"/>
                    <a:pt x="59" y="26"/>
                  </a:cubicBezTo>
                  <a:cubicBezTo>
                    <a:pt x="57" y="26"/>
                    <a:pt x="57" y="25"/>
                    <a:pt x="56" y="25"/>
                  </a:cubicBezTo>
                  <a:cubicBezTo>
                    <a:pt x="56" y="25"/>
                    <a:pt x="56" y="25"/>
                    <a:pt x="55" y="24"/>
                  </a:cubicBezTo>
                  <a:cubicBezTo>
                    <a:pt x="53" y="24"/>
                    <a:pt x="52" y="24"/>
                    <a:pt x="52" y="23"/>
                  </a:cubicBezTo>
                  <a:cubicBezTo>
                    <a:pt x="52" y="23"/>
                    <a:pt x="52" y="23"/>
                    <a:pt x="52" y="23"/>
                  </a:cubicBezTo>
                  <a:cubicBezTo>
                    <a:pt x="51" y="23"/>
                    <a:pt x="51" y="23"/>
                    <a:pt x="51" y="23"/>
                  </a:cubicBezTo>
                  <a:cubicBezTo>
                    <a:pt x="51" y="24"/>
                    <a:pt x="50" y="25"/>
                    <a:pt x="48" y="25"/>
                  </a:cubicBezTo>
                  <a:cubicBezTo>
                    <a:pt x="48" y="25"/>
                    <a:pt x="48" y="25"/>
                    <a:pt x="48" y="25"/>
                  </a:cubicBezTo>
                  <a:cubicBezTo>
                    <a:pt x="47" y="25"/>
                    <a:pt x="47" y="25"/>
                    <a:pt x="47" y="25"/>
                  </a:cubicBezTo>
                  <a:cubicBezTo>
                    <a:pt x="45" y="25"/>
                    <a:pt x="44" y="23"/>
                    <a:pt x="44" y="21"/>
                  </a:cubicBezTo>
                  <a:cubicBezTo>
                    <a:pt x="43" y="21"/>
                    <a:pt x="43" y="21"/>
                    <a:pt x="43" y="21"/>
                  </a:cubicBezTo>
                  <a:cubicBezTo>
                    <a:pt x="40" y="28"/>
                    <a:pt x="40" y="28"/>
                    <a:pt x="40" y="28"/>
                  </a:cubicBezTo>
                  <a:cubicBezTo>
                    <a:pt x="37" y="30"/>
                    <a:pt x="37" y="30"/>
                    <a:pt x="37" y="30"/>
                  </a:cubicBezTo>
                  <a:cubicBezTo>
                    <a:pt x="38" y="33"/>
                    <a:pt x="38" y="33"/>
                    <a:pt x="38" y="33"/>
                  </a:cubicBezTo>
                  <a:cubicBezTo>
                    <a:pt x="38" y="33"/>
                    <a:pt x="38" y="34"/>
                    <a:pt x="39" y="34"/>
                  </a:cubicBezTo>
                  <a:cubicBezTo>
                    <a:pt x="40" y="34"/>
                    <a:pt x="42" y="36"/>
                    <a:pt x="44" y="37"/>
                  </a:cubicBezTo>
                  <a:cubicBezTo>
                    <a:pt x="45" y="38"/>
                    <a:pt x="45" y="38"/>
                    <a:pt x="46" y="38"/>
                  </a:cubicBezTo>
                  <a:cubicBezTo>
                    <a:pt x="45" y="40"/>
                    <a:pt x="45" y="40"/>
                    <a:pt x="45" y="40"/>
                  </a:cubicBezTo>
                  <a:cubicBezTo>
                    <a:pt x="46" y="39"/>
                    <a:pt x="46" y="39"/>
                    <a:pt x="46" y="39"/>
                  </a:cubicBezTo>
                  <a:cubicBezTo>
                    <a:pt x="48" y="39"/>
                    <a:pt x="49" y="39"/>
                    <a:pt x="51" y="40"/>
                  </a:cubicBezTo>
                  <a:cubicBezTo>
                    <a:pt x="54" y="41"/>
                    <a:pt x="54" y="41"/>
                    <a:pt x="54" y="41"/>
                  </a:cubicBezTo>
                  <a:cubicBezTo>
                    <a:pt x="56" y="42"/>
                    <a:pt x="57" y="42"/>
                    <a:pt x="58" y="43"/>
                  </a:cubicBezTo>
                  <a:cubicBezTo>
                    <a:pt x="59" y="44"/>
                    <a:pt x="59" y="45"/>
                    <a:pt x="61" y="46"/>
                  </a:cubicBezTo>
                  <a:cubicBezTo>
                    <a:pt x="63" y="47"/>
                    <a:pt x="64" y="48"/>
                    <a:pt x="64" y="50"/>
                  </a:cubicBezTo>
                  <a:cubicBezTo>
                    <a:pt x="63" y="51"/>
                    <a:pt x="63" y="51"/>
                    <a:pt x="63" y="51"/>
                  </a:cubicBezTo>
                  <a:cubicBezTo>
                    <a:pt x="61" y="52"/>
                    <a:pt x="61" y="52"/>
                    <a:pt x="61" y="52"/>
                  </a:cubicBezTo>
                  <a:cubicBezTo>
                    <a:pt x="61" y="52"/>
                    <a:pt x="61" y="52"/>
                    <a:pt x="61" y="52"/>
                  </a:cubicBezTo>
                  <a:cubicBezTo>
                    <a:pt x="60" y="52"/>
                    <a:pt x="60" y="52"/>
                    <a:pt x="60" y="52"/>
                  </a:cubicBezTo>
                  <a:cubicBezTo>
                    <a:pt x="59" y="53"/>
                    <a:pt x="58" y="53"/>
                    <a:pt x="57" y="53"/>
                  </a:cubicBezTo>
                  <a:cubicBezTo>
                    <a:pt x="56" y="53"/>
                    <a:pt x="55" y="53"/>
                    <a:pt x="53" y="52"/>
                  </a:cubicBezTo>
                  <a:cubicBezTo>
                    <a:pt x="53" y="52"/>
                    <a:pt x="51" y="51"/>
                    <a:pt x="50" y="51"/>
                  </a:cubicBezTo>
                  <a:cubicBezTo>
                    <a:pt x="50" y="51"/>
                    <a:pt x="49" y="51"/>
                    <a:pt x="48" y="51"/>
                  </a:cubicBezTo>
                  <a:cubicBezTo>
                    <a:pt x="47" y="51"/>
                    <a:pt x="46" y="50"/>
                    <a:pt x="45" y="50"/>
                  </a:cubicBezTo>
                  <a:cubicBezTo>
                    <a:pt x="45" y="50"/>
                    <a:pt x="45" y="50"/>
                    <a:pt x="44" y="50"/>
                  </a:cubicBezTo>
                  <a:cubicBezTo>
                    <a:pt x="44" y="50"/>
                    <a:pt x="44" y="50"/>
                    <a:pt x="44" y="50"/>
                  </a:cubicBezTo>
                  <a:cubicBezTo>
                    <a:pt x="45" y="51"/>
                    <a:pt x="45" y="53"/>
                    <a:pt x="45" y="54"/>
                  </a:cubicBezTo>
                  <a:cubicBezTo>
                    <a:pt x="45" y="56"/>
                    <a:pt x="45" y="57"/>
                    <a:pt x="45" y="58"/>
                  </a:cubicBezTo>
                  <a:cubicBezTo>
                    <a:pt x="44" y="61"/>
                    <a:pt x="44" y="61"/>
                    <a:pt x="44" y="61"/>
                  </a:cubicBezTo>
                  <a:cubicBezTo>
                    <a:pt x="39" y="61"/>
                    <a:pt x="39" y="61"/>
                    <a:pt x="39" y="61"/>
                  </a:cubicBezTo>
                  <a:cubicBezTo>
                    <a:pt x="32" y="59"/>
                    <a:pt x="32" y="59"/>
                    <a:pt x="32" y="59"/>
                  </a:cubicBezTo>
                  <a:cubicBezTo>
                    <a:pt x="32" y="59"/>
                    <a:pt x="31" y="59"/>
                    <a:pt x="31" y="58"/>
                  </a:cubicBezTo>
                  <a:cubicBezTo>
                    <a:pt x="30" y="58"/>
                    <a:pt x="30" y="58"/>
                    <a:pt x="30" y="58"/>
                  </a:cubicBezTo>
                  <a:cubicBezTo>
                    <a:pt x="30" y="58"/>
                    <a:pt x="30" y="58"/>
                    <a:pt x="30" y="58"/>
                  </a:cubicBezTo>
                  <a:cubicBezTo>
                    <a:pt x="30" y="58"/>
                    <a:pt x="30" y="58"/>
                    <a:pt x="30" y="58"/>
                  </a:cubicBezTo>
                  <a:cubicBezTo>
                    <a:pt x="30" y="58"/>
                    <a:pt x="30" y="58"/>
                    <a:pt x="30" y="58"/>
                  </a:cubicBezTo>
                  <a:cubicBezTo>
                    <a:pt x="30" y="59"/>
                    <a:pt x="30" y="59"/>
                    <a:pt x="30" y="59"/>
                  </a:cubicBezTo>
                  <a:cubicBezTo>
                    <a:pt x="29" y="59"/>
                    <a:pt x="29" y="59"/>
                    <a:pt x="29" y="59"/>
                  </a:cubicBezTo>
                  <a:cubicBezTo>
                    <a:pt x="29" y="59"/>
                    <a:pt x="29" y="59"/>
                    <a:pt x="29" y="59"/>
                  </a:cubicBezTo>
                  <a:cubicBezTo>
                    <a:pt x="29" y="59"/>
                    <a:pt x="29" y="59"/>
                    <a:pt x="29" y="59"/>
                  </a:cubicBezTo>
                  <a:cubicBezTo>
                    <a:pt x="29" y="59"/>
                    <a:pt x="29" y="59"/>
                    <a:pt x="29" y="59"/>
                  </a:cubicBezTo>
                  <a:cubicBezTo>
                    <a:pt x="29" y="59"/>
                    <a:pt x="29" y="59"/>
                    <a:pt x="29" y="59"/>
                  </a:cubicBezTo>
                  <a:cubicBezTo>
                    <a:pt x="29" y="59"/>
                    <a:pt x="29" y="59"/>
                    <a:pt x="29" y="59"/>
                  </a:cubicBezTo>
                  <a:cubicBezTo>
                    <a:pt x="28" y="60"/>
                    <a:pt x="28" y="60"/>
                    <a:pt x="28" y="60"/>
                  </a:cubicBezTo>
                  <a:cubicBezTo>
                    <a:pt x="27" y="60"/>
                    <a:pt x="27" y="60"/>
                    <a:pt x="27" y="60"/>
                  </a:cubicBezTo>
                  <a:cubicBezTo>
                    <a:pt x="27" y="60"/>
                    <a:pt x="27" y="60"/>
                    <a:pt x="27" y="60"/>
                  </a:cubicBezTo>
                  <a:cubicBezTo>
                    <a:pt x="27" y="60"/>
                    <a:pt x="27" y="60"/>
                    <a:pt x="27" y="60"/>
                  </a:cubicBezTo>
                  <a:cubicBezTo>
                    <a:pt x="26" y="60"/>
                    <a:pt x="26" y="60"/>
                    <a:pt x="26" y="60"/>
                  </a:cubicBezTo>
                  <a:cubicBezTo>
                    <a:pt x="26" y="60"/>
                    <a:pt x="26" y="60"/>
                    <a:pt x="26" y="60"/>
                  </a:cubicBezTo>
                  <a:cubicBezTo>
                    <a:pt x="11" y="59"/>
                    <a:pt x="11" y="59"/>
                    <a:pt x="11" y="59"/>
                  </a:cubicBezTo>
                  <a:cubicBezTo>
                    <a:pt x="9" y="56"/>
                    <a:pt x="9" y="56"/>
                    <a:pt x="9" y="56"/>
                  </a:cubicBezTo>
                  <a:cubicBezTo>
                    <a:pt x="9" y="57"/>
                    <a:pt x="9" y="57"/>
                    <a:pt x="9" y="57"/>
                  </a:cubicBezTo>
                  <a:cubicBezTo>
                    <a:pt x="8" y="57"/>
                    <a:pt x="8" y="57"/>
                    <a:pt x="8" y="57"/>
                  </a:cubicBezTo>
                  <a:cubicBezTo>
                    <a:pt x="8" y="55"/>
                    <a:pt x="8" y="55"/>
                    <a:pt x="8" y="55"/>
                  </a:cubicBezTo>
                  <a:cubicBezTo>
                    <a:pt x="8" y="57"/>
                    <a:pt x="8" y="57"/>
                    <a:pt x="8" y="57"/>
                  </a:cubicBezTo>
                  <a:cubicBezTo>
                    <a:pt x="7" y="57"/>
                    <a:pt x="7" y="57"/>
                    <a:pt x="7" y="57"/>
                  </a:cubicBezTo>
                  <a:cubicBezTo>
                    <a:pt x="7" y="55"/>
                    <a:pt x="7" y="55"/>
                    <a:pt x="7" y="55"/>
                  </a:cubicBezTo>
                  <a:cubicBezTo>
                    <a:pt x="7" y="57"/>
                    <a:pt x="7" y="57"/>
                    <a:pt x="7" y="57"/>
                  </a:cubicBezTo>
                  <a:cubicBezTo>
                    <a:pt x="6" y="57"/>
                    <a:pt x="6" y="57"/>
                    <a:pt x="6" y="57"/>
                  </a:cubicBezTo>
                  <a:cubicBezTo>
                    <a:pt x="5" y="55"/>
                    <a:pt x="5" y="55"/>
                    <a:pt x="5" y="55"/>
                  </a:cubicBezTo>
                  <a:cubicBezTo>
                    <a:pt x="5" y="57"/>
                    <a:pt x="5" y="57"/>
                    <a:pt x="5" y="57"/>
                  </a:cubicBezTo>
                  <a:cubicBezTo>
                    <a:pt x="5" y="57"/>
                    <a:pt x="5" y="57"/>
                    <a:pt x="5" y="57"/>
                  </a:cubicBezTo>
                  <a:cubicBezTo>
                    <a:pt x="4" y="57"/>
                    <a:pt x="4" y="57"/>
                    <a:pt x="4" y="57"/>
                  </a:cubicBezTo>
                  <a:cubicBezTo>
                    <a:pt x="4" y="55"/>
                    <a:pt x="4" y="55"/>
                    <a:pt x="4" y="55"/>
                  </a:cubicBezTo>
                  <a:cubicBezTo>
                    <a:pt x="4" y="57"/>
                    <a:pt x="4" y="57"/>
                    <a:pt x="4" y="57"/>
                  </a:cubicBezTo>
                  <a:cubicBezTo>
                    <a:pt x="2" y="57"/>
                    <a:pt x="2" y="57"/>
                    <a:pt x="2" y="57"/>
                  </a:cubicBezTo>
                  <a:cubicBezTo>
                    <a:pt x="2" y="57"/>
                    <a:pt x="2" y="57"/>
                    <a:pt x="2" y="57"/>
                  </a:cubicBezTo>
                  <a:cubicBezTo>
                    <a:pt x="2" y="57"/>
                    <a:pt x="2" y="57"/>
                    <a:pt x="2" y="57"/>
                  </a:cubicBezTo>
                  <a:cubicBezTo>
                    <a:pt x="2" y="57"/>
                    <a:pt x="2" y="57"/>
                    <a:pt x="2" y="57"/>
                  </a:cubicBezTo>
                  <a:cubicBezTo>
                    <a:pt x="2" y="57"/>
                    <a:pt x="2" y="57"/>
                    <a:pt x="2" y="57"/>
                  </a:cubicBezTo>
                  <a:cubicBezTo>
                    <a:pt x="0" y="60"/>
                    <a:pt x="0" y="60"/>
                    <a:pt x="0" y="60"/>
                  </a:cubicBezTo>
                  <a:cubicBezTo>
                    <a:pt x="1" y="60"/>
                    <a:pt x="1" y="60"/>
                    <a:pt x="2" y="60"/>
                  </a:cubicBezTo>
                  <a:cubicBezTo>
                    <a:pt x="2" y="60"/>
                    <a:pt x="2" y="60"/>
                    <a:pt x="2" y="60"/>
                  </a:cubicBezTo>
                  <a:cubicBezTo>
                    <a:pt x="3" y="60"/>
                    <a:pt x="3" y="60"/>
                    <a:pt x="4" y="60"/>
                  </a:cubicBezTo>
                  <a:cubicBezTo>
                    <a:pt x="4" y="60"/>
                    <a:pt x="4" y="60"/>
                    <a:pt x="4" y="60"/>
                  </a:cubicBezTo>
                  <a:cubicBezTo>
                    <a:pt x="4" y="60"/>
                    <a:pt x="4" y="60"/>
                    <a:pt x="4" y="60"/>
                  </a:cubicBezTo>
                  <a:cubicBezTo>
                    <a:pt x="5" y="60"/>
                    <a:pt x="5" y="60"/>
                    <a:pt x="6" y="60"/>
                  </a:cubicBezTo>
                  <a:cubicBezTo>
                    <a:pt x="6" y="60"/>
                    <a:pt x="6" y="60"/>
                    <a:pt x="6" y="60"/>
                  </a:cubicBezTo>
                  <a:cubicBezTo>
                    <a:pt x="7" y="59"/>
                    <a:pt x="7" y="59"/>
                    <a:pt x="7" y="59"/>
                  </a:cubicBezTo>
                  <a:cubicBezTo>
                    <a:pt x="8" y="59"/>
                    <a:pt x="8" y="59"/>
                    <a:pt x="8" y="59"/>
                  </a:cubicBezTo>
                  <a:cubicBezTo>
                    <a:pt x="9" y="59"/>
                    <a:pt x="10" y="60"/>
                    <a:pt x="11" y="61"/>
                  </a:cubicBezTo>
                  <a:cubicBezTo>
                    <a:pt x="11" y="62"/>
                    <a:pt x="11" y="62"/>
                    <a:pt x="11" y="62"/>
                  </a:cubicBezTo>
                  <a:cubicBezTo>
                    <a:pt x="12" y="62"/>
                    <a:pt x="14" y="63"/>
                    <a:pt x="14" y="64"/>
                  </a:cubicBezTo>
                  <a:cubicBezTo>
                    <a:pt x="15" y="64"/>
                    <a:pt x="15" y="64"/>
                    <a:pt x="15" y="64"/>
                  </a:cubicBezTo>
                  <a:cubicBezTo>
                    <a:pt x="16" y="64"/>
                    <a:pt x="16" y="64"/>
                    <a:pt x="16" y="64"/>
                  </a:cubicBezTo>
                  <a:cubicBezTo>
                    <a:pt x="16" y="64"/>
                    <a:pt x="17" y="64"/>
                    <a:pt x="17" y="64"/>
                  </a:cubicBezTo>
                  <a:cubicBezTo>
                    <a:pt x="17" y="64"/>
                    <a:pt x="19" y="64"/>
                    <a:pt x="19" y="65"/>
                  </a:cubicBezTo>
                  <a:cubicBezTo>
                    <a:pt x="20" y="66"/>
                    <a:pt x="20" y="66"/>
                    <a:pt x="20" y="66"/>
                  </a:cubicBezTo>
                  <a:cubicBezTo>
                    <a:pt x="20" y="66"/>
                    <a:pt x="20" y="66"/>
                    <a:pt x="20" y="66"/>
                  </a:cubicBezTo>
                  <a:cubicBezTo>
                    <a:pt x="20" y="68"/>
                    <a:pt x="19" y="70"/>
                    <a:pt x="19" y="70"/>
                  </a:cubicBezTo>
                  <a:cubicBezTo>
                    <a:pt x="19" y="71"/>
                    <a:pt x="18" y="72"/>
                    <a:pt x="17" y="72"/>
                  </a:cubicBezTo>
                  <a:cubicBezTo>
                    <a:pt x="17" y="72"/>
                    <a:pt x="17" y="72"/>
                    <a:pt x="17" y="72"/>
                  </a:cubicBezTo>
                  <a:cubicBezTo>
                    <a:pt x="17" y="72"/>
                    <a:pt x="17" y="72"/>
                    <a:pt x="17" y="72"/>
                  </a:cubicBezTo>
                  <a:cubicBezTo>
                    <a:pt x="17" y="72"/>
                    <a:pt x="17" y="72"/>
                    <a:pt x="17" y="72"/>
                  </a:cubicBezTo>
                  <a:cubicBezTo>
                    <a:pt x="16" y="73"/>
                    <a:pt x="16" y="73"/>
                    <a:pt x="16" y="73"/>
                  </a:cubicBezTo>
                  <a:cubicBezTo>
                    <a:pt x="16" y="73"/>
                    <a:pt x="16" y="73"/>
                    <a:pt x="16" y="73"/>
                  </a:cubicBezTo>
                  <a:cubicBezTo>
                    <a:pt x="16" y="73"/>
                    <a:pt x="15" y="74"/>
                    <a:pt x="15" y="74"/>
                  </a:cubicBezTo>
                  <a:cubicBezTo>
                    <a:pt x="15" y="75"/>
                    <a:pt x="15" y="76"/>
                    <a:pt x="14" y="76"/>
                  </a:cubicBezTo>
                  <a:cubicBezTo>
                    <a:pt x="15" y="77"/>
                    <a:pt x="15" y="77"/>
                    <a:pt x="15" y="78"/>
                  </a:cubicBezTo>
                  <a:cubicBezTo>
                    <a:pt x="17" y="79"/>
                    <a:pt x="17" y="79"/>
                    <a:pt x="17" y="79"/>
                  </a:cubicBezTo>
                  <a:cubicBezTo>
                    <a:pt x="18" y="80"/>
                    <a:pt x="18" y="80"/>
                    <a:pt x="18" y="80"/>
                  </a:cubicBezTo>
                  <a:cubicBezTo>
                    <a:pt x="22" y="83"/>
                    <a:pt x="22" y="83"/>
                    <a:pt x="22" y="83"/>
                  </a:cubicBezTo>
                  <a:cubicBezTo>
                    <a:pt x="23" y="84"/>
                    <a:pt x="24" y="84"/>
                    <a:pt x="25" y="84"/>
                  </a:cubicBezTo>
                  <a:cubicBezTo>
                    <a:pt x="26" y="85"/>
                    <a:pt x="28" y="85"/>
                    <a:pt x="28" y="85"/>
                  </a:cubicBezTo>
                  <a:cubicBezTo>
                    <a:pt x="29" y="85"/>
                    <a:pt x="29" y="85"/>
                    <a:pt x="29" y="85"/>
                  </a:cubicBezTo>
                  <a:cubicBezTo>
                    <a:pt x="31" y="87"/>
                    <a:pt x="31" y="87"/>
                    <a:pt x="31" y="87"/>
                  </a:cubicBezTo>
                  <a:cubicBezTo>
                    <a:pt x="32" y="87"/>
                    <a:pt x="32" y="87"/>
                    <a:pt x="33" y="88"/>
                  </a:cubicBezTo>
                  <a:cubicBezTo>
                    <a:pt x="33" y="88"/>
                    <a:pt x="34" y="88"/>
                    <a:pt x="35" y="88"/>
                  </a:cubicBezTo>
                  <a:cubicBezTo>
                    <a:pt x="37" y="88"/>
                    <a:pt x="37" y="88"/>
                    <a:pt x="37" y="88"/>
                  </a:cubicBezTo>
                  <a:cubicBezTo>
                    <a:pt x="37" y="88"/>
                    <a:pt x="37" y="88"/>
                    <a:pt x="37" y="88"/>
                  </a:cubicBezTo>
                  <a:cubicBezTo>
                    <a:pt x="38" y="88"/>
                    <a:pt x="39" y="88"/>
                    <a:pt x="40" y="90"/>
                  </a:cubicBezTo>
                  <a:cubicBezTo>
                    <a:pt x="40" y="91"/>
                    <a:pt x="41" y="92"/>
                    <a:pt x="41" y="93"/>
                  </a:cubicBezTo>
                  <a:cubicBezTo>
                    <a:pt x="41" y="93"/>
                    <a:pt x="41" y="94"/>
                    <a:pt x="41" y="94"/>
                  </a:cubicBezTo>
                  <a:cubicBezTo>
                    <a:pt x="41" y="95"/>
                    <a:pt x="41" y="95"/>
                    <a:pt x="41" y="95"/>
                  </a:cubicBezTo>
                  <a:cubicBezTo>
                    <a:pt x="41" y="96"/>
                    <a:pt x="41" y="96"/>
                    <a:pt x="41" y="96"/>
                  </a:cubicBezTo>
                  <a:cubicBezTo>
                    <a:pt x="41" y="96"/>
                    <a:pt x="40" y="98"/>
                    <a:pt x="40" y="99"/>
                  </a:cubicBezTo>
                  <a:cubicBezTo>
                    <a:pt x="40" y="99"/>
                    <a:pt x="40" y="99"/>
                    <a:pt x="40" y="99"/>
                  </a:cubicBezTo>
                  <a:cubicBezTo>
                    <a:pt x="40" y="100"/>
                    <a:pt x="40" y="100"/>
                    <a:pt x="40" y="100"/>
                  </a:cubicBezTo>
                  <a:cubicBezTo>
                    <a:pt x="40" y="101"/>
                    <a:pt x="39" y="102"/>
                    <a:pt x="38" y="102"/>
                  </a:cubicBezTo>
                  <a:cubicBezTo>
                    <a:pt x="38" y="102"/>
                    <a:pt x="31" y="104"/>
                    <a:pt x="31" y="104"/>
                  </a:cubicBezTo>
                  <a:cubicBezTo>
                    <a:pt x="31" y="104"/>
                    <a:pt x="31" y="104"/>
                    <a:pt x="31" y="104"/>
                  </a:cubicBezTo>
                  <a:cubicBezTo>
                    <a:pt x="31" y="104"/>
                    <a:pt x="32" y="104"/>
                    <a:pt x="32" y="104"/>
                  </a:cubicBezTo>
                  <a:cubicBezTo>
                    <a:pt x="32" y="104"/>
                    <a:pt x="33" y="104"/>
                    <a:pt x="34" y="104"/>
                  </a:cubicBezTo>
                  <a:cubicBezTo>
                    <a:pt x="35" y="104"/>
                    <a:pt x="35" y="104"/>
                    <a:pt x="36" y="104"/>
                  </a:cubicBezTo>
                  <a:cubicBezTo>
                    <a:pt x="37" y="105"/>
                    <a:pt x="38" y="106"/>
                    <a:pt x="38" y="106"/>
                  </a:cubicBezTo>
                  <a:cubicBezTo>
                    <a:pt x="41" y="108"/>
                    <a:pt x="41" y="108"/>
                    <a:pt x="41" y="108"/>
                  </a:cubicBezTo>
                  <a:cubicBezTo>
                    <a:pt x="46" y="108"/>
                    <a:pt x="46" y="108"/>
                    <a:pt x="46" y="108"/>
                  </a:cubicBezTo>
                  <a:cubicBezTo>
                    <a:pt x="49" y="112"/>
                    <a:pt x="49" y="112"/>
                    <a:pt x="49" y="112"/>
                  </a:cubicBezTo>
                  <a:cubicBezTo>
                    <a:pt x="53" y="112"/>
                    <a:pt x="53" y="112"/>
                    <a:pt x="53" y="112"/>
                  </a:cubicBezTo>
                  <a:cubicBezTo>
                    <a:pt x="54" y="114"/>
                    <a:pt x="54" y="114"/>
                    <a:pt x="54" y="114"/>
                  </a:cubicBezTo>
                  <a:cubicBezTo>
                    <a:pt x="54" y="114"/>
                    <a:pt x="54" y="114"/>
                    <a:pt x="54" y="114"/>
                  </a:cubicBezTo>
                  <a:cubicBezTo>
                    <a:pt x="55" y="113"/>
                    <a:pt x="56" y="113"/>
                    <a:pt x="56" y="112"/>
                  </a:cubicBezTo>
                  <a:cubicBezTo>
                    <a:pt x="57" y="112"/>
                    <a:pt x="58" y="111"/>
                    <a:pt x="59" y="111"/>
                  </a:cubicBezTo>
                  <a:cubicBezTo>
                    <a:pt x="60" y="111"/>
                    <a:pt x="60" y="111"/>
                    <a:pt x="61" y="112"/>
                  </a:cubicBezTo>
                  <a:cubicBezTo>
                    <a:pt x="61" y="112"/>
                    <a:pt x="61" y="112"/>
                    <a:pt x="61" y="112"/>
                  </a:cubicBezTo>
                  <a:cubicBezTo>
                    <a:pt x="61" y="112"/>
                    <a:pt x="61" y="112"/>
                    <a:pt x="61" y="112"/>
                  </a:cubicBezTo>
                  <a:cubicBezTo>
                    <a:pt x="62" y="112"/>
                    <a:pt x="63" y="112"/>
                    <a:pt x="63" y="112"/>
                  </a:cubicBezTo>
                  <a:cubicBezTo>
                    <a:pt x="64" y="111"/>
                    <a:pt x="64" y="111"/>
                    <a:pt x="64" y="111"/>
                  </a:cubicBezTo>
                  <a:cubicBezTo>
                    <a:pt x="68" y="111"/>
                    <a:pt x="68" y="111"/>
                    <a:pt x="68" y="111"/>
                  </a:cubicBezTo>
                  <a:cubicBezTo>
                    <a:pt x="69" y="116"/>
                    <a:pt x="69" y="116"/>
                    <a:pt x="69" y="116"/>
                  </a:cubicBezTo>
                  <a:cubicBezTo>
                    <a:pt x="68" y="120"/>
                    <a:pt x="68" y="120"/>
                    <a:pt x="68" y="120"/>
                  </a:cubicBezTo>
                  <a:cubicBezTo>
                    <a:pt x="66" y="121"/>
                    <a:pt x="66" y="121"/>
                    <a:pt x="66" y="121"/>
                  </a:cubicBezTo>
                  <a:cubicBezTo>
                    <a:pt x="66" y="121"/>
                    <a:pt x="66" y="121"/>
                    <a:pt x="66" y="121"/>
                  </a:cubicBezTo>
                  <a:cubicBezTo>
                    <a:pt x="69" y="122"/>
                    <a:pt x="69" y="122"/>
                    <a:pt x="69" y="122"/>
                  </a:cubicBezTo>
                  <a:cubicBezTo>
                    <a:pt x="72" y="124"/>
                    <a:pt x="72" y="124"/>
                    <a:pt x="72" y="124"/>
                  </a:cubicBezTo>
                  <a:cubicBezTo>
                    <a:pt x="72" y="125"/>
                    <a:pt x="72" y="125"/>
                    <a:pt x="72" y="125"/>
                  </a:cubicBezTo>
                  <a:cubicBezTo>
                    <a:pt x="72" y="125"/>
                    <a:pt x="72" y="126"/>
                    <a:pt x="72" y="126"/>
                  </a:cubicBezTo>
                  <a:cubicBezTo>
                    <a:pt x="76" y="127"/>
                    <a:pt x="76" y="127"/>
                    <a:pt x="76" y="127"/>
                  </a:cubicBezTo>
                  <a:cubicBezTo>
                    <a:pt x="76" y="129"/>
                    <a:pt x="76" y="129"/>
                    <a:pt x="76" y="129"/>
                  </a:cubicBezTo>
                  <a:cubicBezTo>
                    <a:pt x="75" y="130"/>
                    <a:pt x="74" y="132"/>
                    <a:pt x="72" y="133"/>
                  </a:cubicBezTo>
                  <a:cubicBezTo>
                    <a:pt x="72" y="133"/>
                    <a:pt x="73" y="133"/>
                    <a:pt x="73" y="133"/>
                  </a:cubicBezTo>
                  <a:cubicBezTo>
                    <a:pt x="73" y="133"/>
                    <a:pt x="73" y="134"/>
                    <a:pt x="73" y="134"/>
                  </a:cubicBezTo>
                  <a:cubicBezTo>
                    <a:pt x="74" y="134"/>
                    <a:pt x="75" y="134"/>
                    <a:pt x="76" y="135"/>
                  </a:cubicBezTo>
                  <a:cubicBezTo>
                    <a:pt x="77" y="136"/>
                    <a:pt x="77" y="137"/>
                    <a:pt x="77" y="139"/>
                  </a:cubicBezTo>
                  <a:cubicBezTo>
                    <a:pt x="77" y="139"/>
                    <a:pt x="77" y="140"/>
                    <a:pt x="76" y="141"/>
                  </a:cubicBezTo>
                  <a:cubicBezTo>
                    <a:pt x="76" y="141"/>
                    <a:pt x="76" y="141"/>
                    <a:pt x="76" y="142"/>
                  </a:cubicBezTo>
                  <a:cubicBezTo>
                    <a:pt x="77" y="143"/>
                    <a:pt x="77" y="143"/>
                    <a:pt x="77" y="143"/>
                  </a:cubicBezTo>
                  <a:cubicBezTo>
                    <a:pt x="74" y="147"/>
                    <a:pt x="74" y="147"/>
                    <a:pt x="74" y="147"/>
                  </a:cubicBezTo>
                  <a:cubicBezTo>
                    <a:pt x="73" y="147"/>
                    <a:pt x="73" y="147"/>
                    <a:pt x="73" y="147"/>
                  </a:cubicBezTo>
                  <a:cubicBezTo>
                    <a:pt x="73" y="148"/>
                    <a:pt x="74" y="148"/>
                    <a:pt x="76" y="150"/>
                  </a:cubicBezTo>
                  <a:cubicBezTo>
                    <a:pt x="79" y="152"/>
                    <a:pt x="77" y="150"/>
                    <a:pt x="81" y="151"/>
                  </a:cubicBezTo>
                  <a:cubicBezTo>
                    <a:pt x="84" y="152"/>
                    <a:pt x="83" y="152"/>
                    <a:pt x="81" y="154"/>
                  </a:cubicBezTo>
                  <a:cubicBezTo>
                    <a:pt x="79" y="156"/>
                    <a:pt x="78" y="154"/>
                    <a:pt x="75" y="154"/>
                  </a:cubicBezTo>
                  <a:cubicBezTo>
                    <a:pt x="72" y="154"/>
                    <a:pt x="74" y="157"/>
                    <a:pt x="74" y="157"/>
                  </a:cubicBezTo>
                  <a:cubicBezTo>
                    <a:pt x="74" y="157"/>
                    <a:pt x="75" y="158"/>
                    <a:pt x="77" y="159"/>
                  </a:cubicBezTo>
                  <a:cubicBezTo>
                    <a:pt x="79" y="160"/>
                    <a:pt x="79" y="161"/>
                    <a:pt x="81" y="167"/>
                  </a:cubicBezTo>
                  <a:cubicBezTo>
                    <a:pt x="83" y="177"/>
                    <a:pt x="85" y="166"/>
                    <a:pt x="88" y="163"/>
                  </a:cubicBezTo>
                  <a:cubicBezTo>
                    <a:pt x="91" y="161"/>
                    <a:pt x="88" y="160"/>
                    <a:pt x="88" y="159"/>
                  </a:cubicBezTo>
                  <a:cubicBezTo>
                    <a:pt x="88" y="157"/>
                    <a:pt x="93" y="156"/>
                    <a:pt x="94" y="156"/>
                  </a:cubicBezTo>
                  <a:cubicBezTo>
                    <a:pt x="95" y="155"/>
                    <a:pt x="97" y="153"/>
                    <a:pt x="98" y="152"/>
                  </a:cubicBezTo>
                  <a:cubicBezTo>
                    <a:pt x="98" y="151"/>
                    <a:pt x="99" y="149"/>
                    <a:pt x="99" y="148"/>
                  </a:cubicBezTo>
                  <a:cubicBezTo>
                    <a:pt x="98" y="147"/>
                    <a:pt x="103" y="144"/>
                    <a:pt x="104" y="141"/>
                  </a:cubicBezTo>
                  <a:cubicBezTo>
                    <a:pt x="106" y="138"/>
                    <a:pt x="108" y="132"/>
                    <a:pt x="108" y="132"/>
                  </a:cubicBezTo>
                  <a:cubicBezTo>
                    <a:pt x="108" y="132"/>
                    <a:pt x="116" y="126"/>
                    <a:pt x="117" y="126"/>
                  </a:cubicBezTo>
                  <a:cubicBezTo>
                    <a:pt x="117" y="126"/>
                    <a:pt x="121" y="122"/>
                    <a:pt x="123" y="121"/>
                  </a:cubicBezTo>
                  <a:cubicBezTo>
                    <a:pt x="124" y="120"/>
                    <a:pt x="127" y="116"/>
                    <a:pt x="128" y="115"/>
                  </a:cubicBezTo>
                  <a:cubicBezTo>
                    <a:pt x="129" y="114"/>
                    <a:pt x="131" y="116"/>
                    <a:pt x="131" y="116"/>
                  </a:cubicBezTo>
                  <a:cubicBezTo>
                    <a:pt x="132" y="116"/>
                    <a:pt x="134" y="118"/>
                    <a:pt x="139" y="121"/>
                  </a:cubicBezTo>
                  <a:cubicBezTo>
                    <a:pt x="144" y="124"/>
                    <a:pt x="144" y="123"/>
                    <a:pt x="147" y="124"/>
                  </a:cubicBezTo>
                  <a:cubicBezTo>
                    <a:pt x="149" y="126"/>
                    <a:pt x="147" y="128"/>
                    <a:pt x="145" y="130"/>
                  </a:cubicBezTo>
                  <a:cubicBezTo>
                    <a:pt x="143" y="131"/>
                    <a:pt x="143" y="129"/>
                    <a:pt x="142" y="133"/>
                  </a:cubicBezTo>
                  <a:cubicBezTo>
                    <a:pt x="141" y="136"/>
                    <a:pt x="141" y="137"/>
                    <a:pt x="142" y="138"/>
                  </a:cubicBezTo>
                  <a:cubicBezTo>
                    <a:pt x="142" y="140"/>
                    <a:pt x="146" y="142"/>
                    <a:pt x="147" y="142"/>
                  </a:cubicBezTo>
                  <a:cubicBezTo>
                    <a:pt x="148" y="143"/>
                    <a:pt x="149" y="143"/>
                    <a:pt x="150" y="143"/>
                  </a:cubicBezTo>
                  <a:cubicBezTo>
                    <a:pt x="150" y="143"/>
                    <a:pt x="153" y="145"/>
                    <a:pt x="152" y="147"/>
                  </a:cubicBezTo>
                  <a:cubicBezTo>
                    <a:pt x="151" y="148"/>
                    <a:pt x="146" y="150"/>
                    <a:pt x="146" y="150"/>
                  </a:cubicBezTo>
                  <a:cubicBezTo>
                    <a:pt x="142" y="152"/>
                    <a:pt x="144" y="154"/>
                    <a:pt x="143" y="156"/>
                  </a:cubicBezTo>
                  <a:cubicBezTo>
                    <a:pt x="139" y="161"/>
                    <a:pt x="145" y="161"/>
                    <a:pt x="148" y="161"/>
                  </a:cubicBezTo>
                  <a:cubicBezTo>
                    <a:pt x="151" y="160"/>
                    <a:pt x="151" y="161"/>
                    <a:pt x="152" y="161"/>
                  </a:cubicBezTo>
                  <a:cubicBezTo>
                    <a:pt x="152" y="161"/>
                    <a:pt x="153" y="163"/>
                    <a:pt x="154" y="164"/>
                  </a:cubicBezTo>
                  <a:cubicBezTo>
                    <a:pt x="156" y="165"/>
                    <a:pt x="157" y="166"/>
                    <a:pt x="158" y="166"/>
                  </a:cubicBezTo>
                  <a:cubicBezTo>
                    <a:pt x="158" y="166"/>
                    <a:pt x="159" y="167"/>
                    <a:pt x="160" y="167"/>
                  </a:cubicBezTo>
                  <a:cubicBezTo>
                    <a:pt x="161" y="167"/>
                    <a:pt x="162" y="165"/>
                    <a:pt x="162" y="165"/>
                  </a:cubicBezTo>
                  <a:cubicBezTo>
                    <a:pt x="162" y="165"/>
                    <a:pt x="164" y="166"/>
                    <a:pt x="165" y="167"/>
                  </a:cubicBezTo>
                  <a:cubicBezTo>
                    <a:pt x="165" y="168"/>
                    <a:pt x="169" y="171"/>
                    <a:pt x="170" y="171"/>
                  </a:cubicBezTo>
                  <a:cubicBezTo>
                    <a:pt x="171" y="172"/>
                    <a:pt x="173" y="174"/>
                    <a:pt x="174" y="175"/>
                  </a:cubicBezTo>
                  <a:cubicBezTo>
                    <a:pt x="174" y="175"/>
                    <a:pt x="175" y="174"/>
                    <a:pt x="176" y="173"/>
                  </a:cubicBezTo>
                  <a:cubicBezTo>
                    <a:pt x="177" y="172"/>
                    <a:pt x="181" y="168"/>
                    <a:pt x="181" y="168"/>
                  </a:cubicBezTo>
                  <a:cubicBezTo>
                    <a:pt x="181" y="168"/>
                    <a:pt x="180" y="162"/>
                    <a:pt x="180" y="162"/>
                  </a:cubicBezTo>
                  <a:cubicBezTo>
                    <a:pt x="179" y="161"/>
                    <a:pt x="177" y="155"/>
                    <a:pt x="177" y="155"/>
                  </a:cubicBezTo>
                  <a:cubicBezTo>
                    <a:pt x="175" y="152"/>
                    <a:pt x="175" y="152"/>
                    <a:pt x="175" y="152"/>
                  </a:cubicBezTo>
                  <a:cubicBezTo>
                    <a:pt x="175" y="152"/>
                    <a:pt x="175" y="148"/>
                    <a:pt x="175" y="148"/>
                  </a:cubicBezTo>
                  <a:cubicBezTo>
                    <a:pt x="175" y="147"/>
                    <a:pt x="174" y="146"/>
                    <a:pt x="173" y="145"/>
                  </a:cubicBezTo>
                  <a:cubicBezTo>
                    <a:pt x="172" y="144"/>
                    <a:pt x="174" y="143"/>
                    <a:pt x="174" y="143"/>
                  </a:cubicBezTo>
                  <a:cubicBezTo>
                    <a:pt x="175" y="143"/>
                    <a:pt x="176" y="143"/>
                    <a:pt x="176" y="143"/>
                  </a:cubicBezTo>
                  <a:cubicBezTo>
                    <a:pt x="175" y="140"/>
                    <a:pt x="175" y="140"/>
                    <a:pt x="175" y="140"/>
                  </a:cubicBezTo>
                  <a:cubicBezTo>
                    <a:pt x="174" y="135"/>
                    <a:pt x="174" y="135"/>
                    <a:pt x="174" y="135"/>
                  </a:cubicBezTo>
                  <a:cubicBezTo>
                    <a:pt x="176" y="131"/>
                    <a:pt x="176" y="131"/>
                    <a:pt x="176" y="131"/>
                  </a:cubicBezTo>
                  <a:cubicBezTo>
                    <a:pt x="179" y="130"/>
                    <a:pt x="179" y="130"/>
                    <a:pt x="179" y="130"/>
                  </a:cubicBezTo>
                  <a:cubicBezTo>
                    <a:pt x="181" y="134"/>
                    <a:pt x="181" y="134"/>
                    <a:pt x="181" y="134"/>
                  </a:cubicBezTo>
                  <a:cubicBezTo>
                    <a:pt x="183" y="133"/>
                    <a:pt x="183" y="133"/>
                    <a:pt x="183" y="133"/>
                  </a:cubicBezTo>
                  <a:cubicBezTo>
                    <a:pt x="184" y="136"/>
                    <a:pt x="184" y="136"/>
                    <a:pt x="184" y="136"/>
                  </a:cubicBezTo>
                  <a:cubicBezTo>
                    <a:pt x="180" y="139"/>
                    <a:pt x="180" y="139"/>
                    <a:pt x="180" y="139"/>
                  </a:cubicBezTo>
                  <a:cubicBezTo>
                    <a:pt x="182" y="141"/>
                    <a:pt x="183" y="140"/>
                    <a:pt x="185" y="138"/>
                  </a:cubicBezTo>
                  <a:cubicBezTo>
                    <a:pt x="187" y="137"/>
                    <a:pt x="186" y="134"/>
                    <a:pt x="186" y="134"/>
                  </a:cubicBezTo>
                  <a:cubicBezTo>
                    <a:pt x="185" y="129"/>
                    <a:pt x="185" y="129"/>
                    <a:pt x="185" y="129"/>
                  </a:cubicBezTo>
                  <a:cubicBezTo>
                    <a:pt x="185" y="129"/>
                    <a:pt x="184" y="125"/>
                    <a:pt x="184" y="124"/>
                  </a:cubicBezTo>
                  <a:cubicBezTo>
                    <a:pt x="184" y="123"/>
                    <a:pt x="184" y="121"/>
                    <a:pt x="184" y="121"/>
                  </a:cubicBezTo>
                  <a:cubicBezTo>
                    <a:pt x="184" y="121"/>
                    <a:pt x="189" y="120"/>
                    <a:pt x="190" y="119"/>
                  </a:cubicBezTo>
                  <a:cubicBezTo>
                    <a:pt x="190" y="118"/>
                    <a:pt x="189" y="116"/>
                    <a:pt x="189" y="116"/>
                  </a:cubicBezTo>
                  <a:cubicBezTo>
                    <a:pt x="189" y="116"/>
                    <a:pt x="184" y="114"/>
                    <a:pt x="183" y="113"/>
                  </a:cubicBezTo>
                  <a:cubicBezTo>
                    <a:pt x="182" y="112"/>
                    <a:pt x="183" y="110"/>
                    <a:pt x="183" y="110"/>
                  </a:cubicBezTo>
                  <a:cubicBezTo>
                    <a:pt x="183" y="110"/>
                    <a:pt x="182" y="106"/>
                    <a:pt x="181" y="105"/>
                  </a:cubicBezTo>
                  <a:cubicBezTo>
                    <a:pt x="181" y="104"/>
                    <a:pt x="182" y="104"/>
                    <a:pt x="185" y="101"/>
                  </a:cubicBezTo>
                  <a:cubicBezTo>
                    <a:pt x="187" y="98"/>
                    <a:pt x="184" y="98"/>
                    <a:pt x="184" y="98"/>
                  </a:cubicBezTo>
                  <a:cubicBezTo>
                    <a:pt x="183" y="95"/>
                    <a:pt x="183" y="95"/>
                    <a:pt x="183" y="95"/>
                  </a:cubicBezTo>
                  <a:cubicBezTo>
                    <a:pt x="185" y="92"/>
                    <a:pt x="185" y="92"/>
                    <a:pt x="185" y="92"/>
                  </a:cubicBezTo>
                  <a:cubicBezTo>
                    <a:pt x="181" y="89"/>
                    <a:pt x="181" y="89"/>
                    <a:pt x="181" y="89"/>
                  </a:cubicBezTo>
                  <a:cubicBezTo>
                    <a:pt x="182" y="85"/>
                    <a:pt x="182" y="85"/>
                    <a:pt x="182" y="85"/>
                  </a:cubicBezTo>
                  <a:cubicBezTo>
                    <a:pt x="180" y="83"/>
                    <a:pt x="180" y="83"/>
                    <a:pt x="180" y="83"/>
                  </a:cubicBezTo>
                  <a:cubicBezTo>
                    <a:pt x="180" y="83"/>
                    <a:pt x="182" y="81"/>
                    <a:pt x="183" y="81"/>
                  </a:cubicBezTo>
                  <a:cubicBezTo>
                    <a:pt x="184" y="80"/>
                    <a:pt x="181" y="78"/>
                    <a:pt x="181" y="78"/>
                  </a:cubicBezTo>
                  <a:cubicBezTo>
                    <a:pt x="182" y="73"/>
                    <a:pt x="182" y="73"/>
                    <a:pt x="182" y="73"/>
                  </a:cubicBezTo>
                  <a:cubicBezTo>
                    <a:pt x="188" y="69"/>
                    <a:pt x="188" y="69"/>
                    <a:pt x="188" y="69"/>
                  </a:cubicBezTo>
                  <a:cubicBezTo>
                    <a:pt x="192" y="65"/>
                    <a:pt x="192" y="65"/>
                    <a:pt x="192" y="65"/>
                  </a:cubicBezTo>
                  <a:cubicBezTo>
                    <a:pt x="194" y="62"/>
                    <a:pt x="194" y="62"/>
                    <a:pt x="194" y="62"/>
                  </a:cubicBezTo>
                  <a:cubicBezTo>
                    <a:pt x="197" y="61"/>
                    <a:pt x="197" y="61"/>
                    <a:pt x="197" y="61"/>
                  </a:cubicBezTo>
                  <a:cubicBezTo>
                    <a:pt x="200" y="60"/>
                    <a:pt x="200" y="60"/>
                    <a:pt x="200" y="60"/>
                  </a:cubicBezTo>
                  <a:cubicBezTo>
                    <a:pt x="200" y="60"/>
                    <a:pt x="204" y="59"/>
                    <a:pt x="205" y="58"/>
                  </a:cubicBezTo>
                  <a:cubicBezTo>
                    <a:pt x="206" y="58"/>
                    <a:pt x="207" y="58"/>
                    <a:pt x="208" y="58"/>
                  </a:cubicBezTo>
                  <a:cubicBezTo>
                    <a:pt x="209" y="57"/>
                    <a:pt x="214" y="61"/>
                    <a:pt x="214" y="61"/>
                  </a:cubicBezTo>
                  <a:lnTo>
                    <a:pt x="213" y="58"/>
                  </a:lnTo>
                  <a:close/>
                </a:path>
              </a:pathLst>
            </a:custGeom>
            <a:solidFill>
              <a:schemeClr val="bg2"/>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7" name="Freeform 130"/>
            <p:cNvSpPr>
              <a:spLocks/>
            </p:cNvSpPr>
            <p:nvPr/>
          </p:nvSpPr>
          <p:spPr bwMode="auto">
            <a:xfrm>
              <a:off x="5126276" y="3678503"/>
              <a:ext cx="714852" cy="908186"/>
            </a:xfrm>
            <a:custGeom>
              <a:avLst/>
              <a:gdLst>
                <a:gd name="T0" fmla="*/ 233 w 247"/>
                <a:gd name="T1" fmla="*/ 133 h 332"/>
                <a:gd name="T2" fmla="*/ 230 w 247"/>
                <a:gd name="T3" fmla="*/ 100 h 332"/>
                <a:gd name="T4" fmla="*/ 219 w 247"/>
                <a:gd name="T5" fmla="*/ 59 h 332"/>
                <a:gd name="T6" fmla="*/ 211 w 247"/>
                <a:gd name="T7" fmla="*/ 41 h 332"/>
                <a:gd name="T8" fmla="*/ 190 w 247"/>
                <a:gd name="T9" fmla="*/ 29 h 332"/>
                <a:gd name="T10" fmla="*/ 195 w 247"/>
                <a:gd name="T11" fmla="*/ 17 h 332"/>
                <a:gd name="T12" fmla="*/ 189 w 247"/>
                <a:gd name="T13" fmla="*/ 13 h 332"/>
                <a:gd name="T14" fmla="*/ 184 w 247"/>
                <a:gd name="T15" fmla="*/ 15 h 332"/>
                <a:gd name="T16" fmla="*/ 170 w 247"/>
                <a:gd name="T17" fmla="*/ 23 h 332"/>
                <a:gd name="T18" fmla="*/ 166 w 247"/>
                <a:gd name="T19" fmla="*/ 24 h 332"/>
                <a:gd name="T20" fmla="*/ 143 w 247"/>
                <a:gd name="T21" fmla="*/ 40 h 332"/>
                <a:gd name="T22" fmla="*/ 126 w 247"/>
                <a:gd name="T23" fmla="*/ 40 h 332"/>
                <a:gd name="T24" fmla="*/ 134 w 247"/>
                <a:gd name="T25" fmla="*/ 25 h 332"/>
                <a:gd name="T26" fmla="*/ 133 w 247"/>
                <a:gd name="T27" fmla="*/ 24 h 332"/>
                <a:gd name="T28" fmla="*/ 114 w 247"/>
                <a:gd name="T29" fmla="*/ 23 h 332"/>
                <a:gd name="T30" fmla="*/ 106 w 247"/>
                <a:gd name="T31" fmla="*/ 8 h 332"/>
                <a:gd name="T32" fmla="*/ 86 w 247"/>
                <a:gd name="T33" fmla="*/ 4 h 332"/>
                <a:gd name="T34" fmla="*/ 75 w 247"/>
                <a:gd name="T35" fmla="*/ 12 h 332"/>
                <a:gd name="T36" fmla="*/ 81 w 247"/>
                <a:gd name="T37" fmla="*/ 19 h 332"/>
                <a:gd name="T38" fmla="*/ 78 w 247"/>
                <a:gd name="T39" fmla="*/ 33 h 332"/>
                <a:gd name="T40" fmla="*/ 85 w 247"/>
                <a:gd name="T41" fmla="*/ 44 h 332"/>
                <a:gd name="T42" fmla="*/ 69 w 247"/>
                <a:gd name="T43" fmla="*/ 52 h 332"/>
                <a:gd name="T44" fmla="*/ 62 w 247"/>
                <a:gd name="T45" fmla="*/ 63 h 332"/>
                <a:gd name="T46" fmla="*/ 52 w 247"/>
                <a:gd name="T47" fmla="*/ 49 h 332"/>
                <a:gd name="T48" fmla="*/ 33 w 247"/>
                <a:gd name="T49" fmla="*/ 54 h 332"/>
                <a:gd name="T50" fmla="*/ 33 w 247"/>
                <a:gd name="T51" fmla="*/ 70 h 332"/>
                <a:gd name="T52" fmla="*/ 36 w 247"/>
                <a:gd name="T53" fmla="*/ 86 h 332"/>
                <a:gd name="T54" fmla="*/ 23 w 247"/>
                <a:gd name="T55" fmla="*/ 104 h 332"/>
                <a:gd name="T56" fmla="*/ 31 w 247"/>
                <a:gd name="T57" fmla="*/ 119 h 332"/>
                <a:gd name="T58" fmla="*/ 25 w 247"/>
                <a:gd name="T59" fmla="*/ 126 h 332"/>
                <a:gd name="T60" fmla="*/ 6 w 247"/>
                <a:gd name="T61" fmla="*/ 133 h 332"/>
                <a:gd name="T62" fmla="*/ 7 w 247"/>
                <a:gd name="T63" fmla="*/ 143 h 332"/>
                <a:gd name="T64" fmla="*/ 4 w 247"/>
                <a:gd name="T65" fmla="*/ 158 h 332"/>
                <a:gd name="T66" fmla="*/ 2 w 247"/>
                <a:gd name="T67" fmla="*/ 169 h 332"/>
                <a:gd name="T68" fmla="*/ 3 w 247"/>
                <a:gd name="T69" fmla="*/ 178 h 332"/>
                <a:gd name="T70" fmla="*/ 10 w 247"/>
                <a:gd name="T71" fmla="*/ 189 h 332"/>
                <a:gd name="T72" fmla="*/ 4 w 247"/>
                <a:gd name="T73" fmla="*/ 201 h 332"/>
                <a:gd name="T74" fmla="*/ 11 w 247"/>
                <a:gd name="T75" fmla="*/ 217 h 332"/>
                <a:gd name="T76" fmla="*/ 15 w 247"/>
                <a:gd name="T77" fmla="*/ 241 h 332"/>
                <a:gd name="T78" fmla="*/ 43 w 247"/>
                <a:gd name="T79" fmla="*/ 252 h 332"/>
                <a:gd name="T80" fmla="*/ 45 w 247"/>
                <a:gd name="T81" fmla="*/ 277 h 332"/>
                <a:gd name="T82" fmla="*/ 38 w 247"/>
                <a:gd name="T83" fmla="*/ 311 h 332"/>
                <a:gd name="T84" fmla="*/ 51 w 247"/>
                <a:gd name="T85" fmla="*/ 316 h 332"/>
                <a:gd name="T86" fmla="*/ 60 w 247"/>
                <a:gd name="T87" fmla="*/ 313 h 332"/>
                <a:gd name="T88" fmla="*/ 74 w 247"/>
                <a:gd name="T89" fmla="*/ 307 h 332"/>
                <a:gd name="T90" fmla="*/ 87 w 247"/>
                <a:gd name="T91" fmla="*/ 311 h 332"/>
                <a:gd name="T92" fmla="*/ 99 w 247"/>
                <a:gd name="T93" fmla="*/ 318 h 332"/>
                <a:gd name="T94" fmla="*/ 113 w 247"/>
                <a:gd name="T95" fmla="*/ 327 h 332"/>
                <a:gd name="T96" fmla="*/ 122 w 247"/>
                <a:gd name="T97" fmla="*/ 321 h 332"/>
                <a:gd name="T98" fmla="*/ 141 w 247"/>
                <a:gd name="T99" fmla="*/ 325 h 332"/>
                <a:gd name="T100" fmla="*/ 165 w 247"/>
                <a:gd name="T101" fmla="*/ 316 h 332"/>
                <a:gd name="T102" fmla="*/ 185 w 247"/>
                <a:gd name="T103" fmla="*/ 313 h 332"/>
                <a:gd name="T104" fmla="*/ 199 w 247"/>
                <a:gd name="T105" fmla="*/ 313 h 332"/>
                <a:gd name="T106" fmla="*/ 190 w 247"/>
                <a:gd name="T107" fmla="*/ 296 h 332"/>
                <a:gd name="T108" fmla="*/ 203 w 247"/>
                <a:gd name="T109" fmla="*/ 283 h 332"/>
                <a:gd name="T110" fmla="*/ 218 w 247"/>
                <a:gd name="T111" fmla="*/ 270 h 332"/>
                <a:gd name="T112" fmla="*/ 206 w 247"/>
                <a:gd name="T113" fmla="*/ 254 h 332"/>
                <a:gd name="T114" fmla="*/ 183 w 247"/>
                <a:gd name="T115" fmla="*/ 234 h 332"/>
                <a:gd name="T116" fmla="*/ 167 w 247"/>
                <a:gd name="T117" fmla="*/ 200 h 332"/>
                <a:gd name="T118" fmla="*/ 190 w 247"/>
                <a:gd name="T119" fmla="*/ 193 h 332"/>
                <a:gd name="T120" fmla="*/ 216 w 247"/>
                <a:gd name="T121" fmla="*/ 172 h 332"/>
                <a:gd name="T122" fmla="*/ 236 w 247"/>
                <a:gd name="T123" fmla="*/ 171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32">
                  <a:moveTo>
                    <a:pt x="247" y="154"/>
                  </a:moveTo>
                  <a:cubicBezTo>
                    <a:pt x="247" y="154"/>
                    <a:pt x="245" y="151"/>
                    <a:pt x="244" y="151"/>
                  </a:cubicBezTo>
                  <a:cubicBezTo>
                    <a:pt x="244" y="151"/>
                    <a:pt x="242" y="148"/>
                    <a:pt x="242" y="147"/>
                  </a:cubicBezTo>
                  <a:cubicBezTo>
                    <a:pt x="242" y="147"/>
                    <a:pt x="242" y="145"/>
                    <a:pt x="242" y="145"/>
                  </a:cubicBezTo>
                  <a:cubicBezTo>
                    <a:pt x="242" y="145"/>
                    <a:pt x="240" y="144"/>
                    <a:pt x="239" y="144"/>
                  </a:cubicBezTo>
                  <a:cubicBezTo>
                    <a:pt x="239" y="143"/>
                    <a:pt x="236" y="143"/>
                    <a:pt x="236" y="143"/>
                  </a:cubicBezTo>
                  <a:cubicBezTo>
                    <a:pt x="236" y="140"/>
                    <a:pt x="236" y="140"/>
                    <a:pt x="236" y="140"/>
                  </a:cubicBezTo>
                  <a:cubicBezTo>
                    <a:pt x="237" y="136"/>
                    <a:pt x="237" y="136"/>
                    <a:pt x="237" y="136"/>
                  </a:cubicBezTo>
                  <a:cubicBezTo>
                    <a:pt x="233" y="133"/>
                    <a:pt x="233" y="133"/>
                    <a:pt x="233" y="133"/>
                  </a:cubicBezTo>
                  <a:cubicBezTo>
                    <a:pt x="232" y="130"/>
                    <a:pt x="232" y="130"/>
                    <a:pt x="232" y="130"/>
                  </a:cubicBezTo>
                  <a:cubicBezTo>
                    <a:pt x="232" y="130"/>
                    <a:pt x="233" y="128"/>
                    <a:pt x="233" y="127"/>
                  </a:cubicBezTo>
                  <a:cubicBezTo>
                    <a:pt x="234" y="126"/>
                    <a:pt x="235" y="123"/>
                    <a:pt x="235" y="123"/>
                  </a:cubicBezTo>
                  <a:cubicBezTo>
                    <a:pt x="233" y="120"/>
                    <a:pt x="233" y="120"/>
                    <a:pt x="233" y="120"/>
                  </a:cubicBezTo>
                  <a:cubicBezTo>
                    <a:pt x="233" y="120"/>
                    <a:pt x="232" y="119"/>
                    <a:pt x="233" y="118"/>
                  </a:cubicBezTo>
                  <a:cubicBezTo>
                    <a:pt x="233" y="118"/>
                    <a:pt x="232" y="113"/>
                    <a:pt x="232" y="113"/>
                  </a:cubicBezTo>
                  <a:cubicBezTo>
                    <a:pt x="232" y="113"/>
                    <a:pt x="232" y="109"/>
                    <a:pt x="230" y="109"/>
                  </a:cubicBezTo>
                  <a:cubicBezTo>
                    <a:pt x="229" y="109"/>
                    <a:pt x="228" y="106"/>
                    <a:pt x="228" y="106"/>
                  </a:cubicBezTo>
                  <a:cubicBezTo>
                    <a:pt x="230" y="100"/>
                    <a:pt x="230" y="100"/>
                    <a:pt x="230" y="100"/>
                  </a:cubicBezTo>
                  <a:cubicBezTo>
                    <a:pt x="230" y="100"/>
                    <a:pt x="231" y="96"/>
                    <a:pt x="228" y="95"/>
                  </a:cubicBezTo>
                  <a:cubicBezTo>
                    <a:pt x="225" y="94"/>
                    <a:pt x="221" y="92"/>
                    <a:pt x="220" y="91"/>
                  </a:cubicBezTo>
                  <a:cubicBezTo>
                    <a:pt x="220" y="90"/>
                    <a:pt x="218" y="88"/>
                    <a:pt x="217" y="87"/>
                  </a:cubicBezTo>
                  <a:cubicBezTo>
                    <a:pt x="216" y="87"/>
                    <a:pt x="216" y="87"/>
                    <a:pt x="216" y="87"/>
                  </a:cubicBezTo>
                  <a:cubicBezTo>
                    <a:pt x="217" y="80"/>
                    <a:pt x="217" y="80"/>
                    <a:pt x="217" y="80"/>
                  </a:cubicBezTo>
                  <a:cubicBezTo>
                    <a:pt x="221" y="77"/>
                    <a:pt x="221" y="77"/>
                    <a:pt x="221" y="77"/>
                  </a:cubicBezTo>
                  <a:cubicBezTo>
                    <a:pt x="221" y="70"/>
                    <a:pt x="221" y="70"/>
                    <a:pt x="221" y="70"/>
                  </a:cubicBezTo>
                  <a:cubicBezTo>
                    <a:pt x="221" y="63"/>
                    <a:pt x="221" y="63"/>
                    <a:pt x="221" y="63"/>
                  </a:cubicBezTo>
                  <a:cubicBezTo>
                    <a:pt x="221" y="63"/>
                    <a:pt x="222" y="61"/>
                    <a:pt x="219" y="59"/>
                  </a:cubicBezTo>
                  <a:cubicBezTo>
                    <a:pt x="217" y="56"/>
                    <a:pt x="217" y="53"/>
                    <a:pt x="217" y="52"/>
                  </a:cubicBezTo>
                  <a:cubicBezTo>
                    <a:pt x="217" y="52"/>
                    <a:pt x="216" y="49"/>
                    <a:pt x="216" y="48"/>
                  </a:cubicBezTo>
                  <a:cubicBezTo>
                    <a:pt x="216" y="47"/>
                    <a:pt x="215" y="47"/>
                    <a:pt x="215" y="46"/>
                  </a:cubicBezTo>
                  <a:cubicBezTo>
                    <a:pt x="212" y="46"/>
                    <a:pt x="208" y="47"/>
                    <a:pt x="208" y="47"/>
                  </a:cubicBezTo>
                  <a:cubicBezTo>
                    <a:pt x="208" y="47"/>
                    <a:pt x="207" y="46"/>
                    <a:pt x="206" y="46"/>
                  </a:cubicBezTo>
                  <a:cubicBezTo>
                    <a:pt x="206" y="46"/>
                    <a:pt x="204" y="44"/>
                    <a:pt x="204" y="44"/>
                  </a:cubicBezTo>
                  <a:cubicBezTo>
                    <a:pt x="206" y="44"/>
                    <a:pt x="206" y="44"/>
                    <a:pt x="206" y="44"/>
                  </a:cubicBezTo>
                  <a:cubicBezTo>
                    <a:pt x="209" y="43"/>
                    <a:pt x="209" y="43"/>
                    <a:pt x="209" y="43"/>
                  </a:cubicBezTo>
                  <a:cubicBezTo>
                    <a:pt x="211" y="41"/>
                    <a:pt x="211" y="41"/>
                    <a:pt x="211" y="41"/>
                  </a:cubicBezTo>
                  <a:cubicBezTo>
                    <a:pt x="212" y="40"/>
                    <a:pt x="212" y="40"/>
                    <a:pt x="212" y="40"/>
                  </a:cubicBezTo>
                  <a:cubicBezTo>
                    <a:pt x="211" y="36"/>
                    <a:pt x="211" y="36"/>
                    <a:pt x="211" y="36"/>
                  </a:cubicBezTo>
                  <a:cubicBezTo>
                    <a:pt x="210" y="36"/>
                    <a:pt x="210" y="36"/>
                    <a:pt x="210" y="36"/>
                  </a:cubicBezTo>
                  <a:cubicBezTo>
                    <a:pt x="210" y="36"/>
                    <a:pt x="206" y="34"/>
                    <a:pt x="206" y="33"/>
                  </a:cubicBezTo>
                  <a:cubicBezTo>
                    <a:pt x="206" y="33"/>
                    <a:pt x="205" y="31"/>
                    <a:pt x="205" y="31"/>
                  </a:cubicBezTo>
                  <a:cubicBezTo>
                    <a:pt x="203" y="31"/>
                    <a:pt x="203" y="31"/>
                    <a:pt x="203" y="31"/>
                  </a:cubicBezTo>
                  <a:cubicBezTo>
                    <a:pt x="203" y="31"/>
                    <a:pt x="197" y="31"/>
                    <a:pt x="197" y="31"/>
                  </a:cubicBezTo>
                  <a:cubicBezTo>
                    <a:pt x="197" y="32"/>
                    <a:pt x="193" y="31"/>
                    <a:pt x="193" y="31"/>
                  </a:cubicBezTo>
                  <a:cubicBezTo>
                    <a:pt x="193" y="31"/>
                    <a:pt x="191" y="30"/>
                    <a:pt x="190" y="29"/>
                  </a:cubicBezTo>
                  <a:cubicBezTo>
                    <a:pt x="190" y="28"/>
                    <a:pt x="190" y="27"/>
                    <a:pt x="190" y="26"/>
                  </a:cubicBezTo>
                  <a:cubicBezTo>
                    <a:pt x="190" y="25"/>
                    <a:pt x="190" y="26"/>
                    <a:pt x="192" y="25"/>
                  </a:cubicBezTo>
                  <a:cubicBezTo>
                    <a:pt x="193" y="24"/>
                    <a:pt x="194" y="24"/>
                    <a:pt x="195" y="24"/>
                  </a:cubicBezTo>
                  <a:cubicBezTo>
                    <a:pt x="195" y="23"/>
                    <a:pt x="195" y="23"/>
                    <a:pt x="195" y="23"/>
                  </a:cubicBezTo>
                  <a:cubicBezTo>
                    <a:pt x="195" y="23"/>
                    <a:pt x="199" y="23"/>
                    <a:pt x="199" y="23"/>
                  </a:cubicBezTo>
                  <a:cubicBezTo>
                    <a:pt x="199" y="23"/>
                    <a:pt x="199" y="21"/>
                    <a:pt x="199" y="21"/>
                  </a:cubicBezTo>
                  <a:cubicBezTo>
                    <a:pt x="197" y="20"/>
                    <a:pt x="197" y="20"/>
                    <a:pt x="197" y="20"/>
                  </a:cubicBezTo>
                  <a:cubicBezTo>
                    <a:pt x="197" y="20"/>
                    <a:pt x="195" y="18"/>
                    <a:pt x="195" y="18"/>
                  </a:cubicBezTo>
                  <a:cubicBezTo>
                    <a:pt x="195" y="17"/>
                    <a:pt x="195" y="17"/>
                    <a:pt x="195" y="17"/>
                  </a:cubicBezTo>
                  <a:cubicBezTo>
                    <a:pt x="195" y="17"/>
                    <a:pt x="197" y="15"/>
                    <a:pt x="197" y="15"/>
                  </a:cubicBezTo>
                  <a:cubicBezTo>
                    <a:pt x="198" y="14"/>
                    <a:pt x="197" y="13"/>
                    <a:pt x="197" y="13"/>
                  </a:cubicBezTo>
                  <a:cubicBezTo>
                    <a:pt x="197" y="13"/>
                    <a:pt x="196" y="12"/>
                    <a:pt x="195" y="12"/>
                  </a:cubicBezTo>
                  <a:cubicBezTo>
                    <a:pt x="195" y="12"/>
                    <a:pt x="194" y="14"/>
                    <a:pt x="194" y="14"/>
                  </a:cubicBezTo>
                  <a:cubicBezTo>
                    <a:pt x="193" y="14"/>
                    <a:pt x="193" y="16"/>
                    <a:pt x="193" y="16"/>
                  </a:cubicBezTo>
                  <a:cubicBezTo>
                    <a:pt x="193" y="16"/>
                    <a:pt x="191" y="17"/>
                    <a:pt x="191" y="17"/>
                  </a:cubicBezTo>
                  <a:cubicBezTo>
                    <a:pt x="190" y="16"/>
                    <a:pt x="191" y="16"/>
                    <a:pt x="191" y="15"/>
                  </a:cubicBezTo>
                  <a:cubicBezTo>
                    <a:pt x="191" y="15"/>
                    <a:pt x="190" y="14"/>
                    <a:pt x="190" y="14"/>
                  </a:cubicBezTo>
                  <a:cubicBezTo>
                    <a:pt x="190" y="14"/>
                    <a:pt x="189" y="13"/>
                    <a:pt x="189" y="13"/>
                  </a:cubicBezTo>
                  <a:cubicBezTo>
                    <a:pt x="189" y="12"/>
                    <a:pt x="190" y="12"/>
                    <a:pt x="191" y="12"/>
                  </a:cubicBezTo>
                  <a:cubicBezTo>
                    <a:pt x="191" y="11"/>
                    <a:pt x="191" y="10"/>
                    <a:pt x="191" y="10"/>
                  </a:cubicBezTo>
                  <a:cubicBezTo>
                    <a:pt x="191" y="10"/>
                    <a:pt x="191" y="9"/>
                    <a:pt x="190" y="9"/>
                  </a:cubicBezTo>
                  <a:cubicBezTo>
                    <a:pt x="190" y="8"/>
                    <a:pt x="189" y="9"/>
                    <a:pt x="189" y="9"/>
                  </a:cubicBezTo>
                  <a:cubicBezTo>
                    <a:pt x="189" y="9"/>
                    <a:pt x="187" y="11"/>
                    <a:pt x="187" y="11"/>
                  </a:cubicBezTo>
                  <a:cubicBezTo>
                    <a:pt x="187" y="11"/>
                    <a:pt x="186" y="12"/>
                    <a:pt x="186" y="12"/>
                  </a:cubicBezTo>
                  <a:cubicBezTo>
                    <a:pt x="186" y="12"/>
                    <a:pt x="186" y="14"/>
                    <a:pt x="186" y="14"/>
                  </a:cubicBezTo>
                  <a:cubicBezTo>
                    <a:pt x="186" y="14"/>
                    <a:pt x="184" y="15"/>
                    <a:pt x="184" y="15"/>
                  </a:cubicBezTo>
                  <a:cubicBezTo>
                    <a:pt x="184" y="15"/>
                    <a:pt x="184" y="15"/>
                    <a:pt x="184" y="15"/>
                  </a:cubicBezTo>
                  <a:cubicBezTo>
                    <a:pt x="184" y="15"/>
                    <a:pt x="183" y="17"/>
                    <a:pt x="183" y="17"/>
                  </a:cubicBezTo>
                  <a:cubicBezTo>
                    <a:pt x="183" y="17"/>
                    <a:pt x="183" y="19"/>
                    <a:pt x="183" y="19"/>
                  </a:cubicBezTo>
                  <a:cubicBezTo>
                    <a:pt x="183" y="19"/>
                    <a:pt x="182" y="20"/>
                    <a:pt x="181" y="21"/>
                  </a:cubicBezTo>
                  <a:cubicBezTo>
                    <a:pt x="180" y="21"/>
                    <a:pt x="180" y="22"/>
                    <a:pt x="180" y="22"/>
                  </a:cubicBezTo>
                  <a:cubicBezTo>
                    <a:pt x="180" y="23"/>
                    <a:pt x="180" y="23"/>
                    <a:pt x="180" y="23"/>
                  </a:cubicBezTo>
                  <a:cubicBezTo>
                    <a:pt x="177" y="24"/>
                    <a:pt x="177" y="24"/>
                    <a:pt x="177" y="24"/>
                  </a:cubicBezTo>
                  <a:cubicBezTo>
                    <a:pt x="177" y="24"/>
                    <a:pt x="175" y="23"/>
                    <a:pt x="175" y="23"/>
                  </a:cubicBezTo>
                  <a:cubicBezTo>
                    <a:pt x="175" y="23"/>
                    <a:pt x="173" y="23"/>
                    <a:pt x="173" y="23"/>
                  </a:cubicBezTo>
                  <a:cubicBezTo>
                    <a:pt x="173" y="23"/>
                    <a:pt x="170" y="23"/>
                    <a:pt x="170" y="23"/>
                  </a:cubicBezTo>
                  <a:cubicBezTo>
                    <a:pt x="170" y="23"/>
                    <a:pt x="169" y="24"/>
                    <a:pt x="169" y="24"/>
                  </a:cubicBezTo>
                  <a:cubicBezTo>
                    <a:pt x="168" y="26"/>
                    <a:pt x="168" y="26"/>
                    <a:pt x="168" y="26"/>
                  </a:cubicBezTo>
                  <a:cubicBezTo>
                    <a:pt x="168" y="26"/>
                    <a:pt x="168" y="24"/>
                    <a:pt x="168" y="24"/>
                  </a:cubicBezTo>
                  <a:cubicBezTo>
                    <a:pt x="169" y="23"/>
                    <a:pt x="170" y="22"/>
                    <a:pt x="170" y="22"/>
                  </a:cubicBezTo>
                  <a:cubicBezTo>
                    <a:pt x="171" y="22"/>
                    <a:pt x="171" y="21"/>
                    <a:pt x="171" y="20"/>
                  </a:cubicBezTo>
                  <a:cubicBezTo>
                    <a:pt x="171" y="20"/>
                    <a:pt x="170" y="19"/>
                    <a:pt x="170" y="19"/>
                  </a:cubicBezTo>
                  <a:cubicBezTo>
                    <a:pt x="168" y="20"/>
                    <a:pt x="168" y="20"/>
                    <a:pt x="168" y="20"/>
                  </a:cubicBezTo>
                  <a:cubicBezTo>
                    <a:pt x="168" y="20"/>
                    <a:pt x="167" y="22"/>
                    <a:pt x="167" y="23"/>
                  </a:cubicBezTo>
                  <a:cubicBezTo>
                    <a:pt x="167" y="24"/>
                    <a:pt x="166" y="24"/>
                    <a:pt x="166" y="24"/>
                  </a:cubicBezTo>
                  <a:cubicBezTo>
                    <a:pt x="164" y="26"/>
                    <a:pt x="164" y="26"/>
                    <a:pt x="164" y="26"/>
                  </a:cubicBezTo>
                  <a:cubicBezTo>
                    <a:pt x="163" y="28"/>
                    <a:pt x="163" y="28"/>
                    <a:pt x="163" y="28"/>
                  </a:cubicBezTo>
                  <a:cubicBezTo>
                    <a:pt x="163" y="28"/>
                    <a:pt x="160" y="31"/>
                    <a:pt x="159" y="31"/>
                  </a:cubicBezTo>
                  <a:cubicBezTo>
                    <a:pt x="159" y="32"/>
                    <a:pt x="156" y="33"/>
                    <a:pt x="156" y="33"/>
                  </a:cubicBezTo>
                  <a:cubicBezTo>
                    <a:pt x="156" y="33"/>
                    <a:pt x="151" y="33"/>
                    <a:pt x="150" y="33"/>
                  </a:cubicBezTo>
                  <a:cubicBezTo>
                    <a:pt x="149" y="33"/>
                    <a:pt x="148" y="35"/>
                    <a:pt x="148" y="35"/>
                  </a:cubicBezTo>
                  <a:cubicBezTo>
                    <a:pt x="148" y="35"/>
                    <a:pt x="147" y="36"/>
                    <a:pt x="147" y="37"/>
                  </a:cubicBezTo>
                  <a:cubicBezTo>
                    <a:pt x="146" y="37"/>
                    <a:pt x="145" y="38"/>
                    <a:pt x="145" y="38"/>
                  </a:cubicBezTo>
                  <a:cubicBezTo>
                    <a:pt x="144" y="39"/>
                    <a:pt x="143" y="40"/>
                    <a:pt x="143" y="40"/>
                  </a:cubicBezTo>
                  <a:cubicBezTo>
                    <a:pt x="143" y="40"/>
                    <a:pt x="142" y="42"/>
                    <a:pt x="142" y="42"/>
                  </a:cubicBezTo>
                  <a:cubicBezTo>
                    <a:pt x="142" y="43"/>
                    <a:pt x="139" y="42"/>
                    <a:pt x="139" y="42"/>
                  </a:cubicBezTo>
                  <a:cubicBezTo>
                    <a:pt x="138" y="41"/>
                    <a:pt x="138" y="41"/>
                    <a:pt x="138" y="41"/>
                  </a:cubicBezTo>
                  <a:cubicBezTo>
                    <a:pt x="135" y="40"/>
                    <a:pt x="135" y="40"/>
                    <a:pt x="135" y="40"/>
                  </a:cubicBezTo>
                  <a:cubicBezTo>
                    <a:pt x="132" y="40"/>
                    <a:pt x="132" y="40"/>
                    <a:pt x="132" y="40"/>
                  </a:cubicBezTo>
                  <a:cubicBezTo>
                    <a:pt x="131" y="41"/>
                    <a:pt x="131" y="41"/>
                    <a:pt x="131" y="41"/>
                  </a:cubicBezTo>
                  <a:cubicBezTo>
                    <a:pt x="130" y="42"/>
                    <a:pt x="130" y="42"/>
                    <a:pt x="130" y="42"/>
                  </a:cubicBezTo>
                  <a:cubicBezTo>
                    <a:pt x="128" y="42"/>
                    <a:pt x="128" y="42"/>
                    <a:pt x="128" y="42"/>
                  </a:cubicBezTo>
                  <a:cubicBezTo>
                    <a:pt x="126" y="40"/>
                    <a:pt x="126" y="40"/>
                    <a:pt x="126" y="40"/>
                  </a:cubicBezTo>
                  <a:cubicBezTo>
                    <a:pt x="125" y="38"/>
                    <a:pt x="125" y="38"/>
                    <a:pt x="125" y="38"/>
                  </a:cubicBezTo>
                  <a:cubicBezTo>
                    <a:pt x="126" y="37"/>
                    <a:pt x="126" y="37"/>
                    <a:pt x="126" y="37"/>
                  </a:cubicBezTo>
                  <a:cubicBezTo>
                    <a:pt x="129" y="37"/>
                    <a:pt x="129" y="37"/>
                    <a:pt x="129" y="37"/>
                  </a:cubicBezTo>
                  <a:cubicBezTo>
                    <a:pt x="131" y="35"/>
                    <a:pt x="131" y="35"/>
                    <a:pt x="131" y="35"/>
                  </a:cubicBezTo>
                  <a:cubicBezTo>
                    <a:pt x="131" y="34"/>
                    <a:pt x="131" y="34"/>
                    <a:pt x="131" y="34"/>
                  </a:cubicBezTo>
                  <a:cubicBezTo>
                    <a:pt x="131" y="34"/>
                    <a:pt x="133" y="33"/>
                    <a:pt x="133" y="33"/>
                  </a:cubicBezTo>
                  <a:cubicBezTo>
                    <a:pt x="134" y="33"/>
                    <a:pt x="134" y="31"/>
                    <a:pt x="134" y="31"/>
                  </a:cubicBezTo>
                  <a:cubicBezTo>
                    <a:pt x="134" y="28"/>
                    <a:pt x="134" y="28"/>
                    <a:pt x="134" y="28"/>
                  </a:cubicBezTo>
                  <a:cubicBezTo>
                    <a:pt x="134" y="25"/>
                    <a:pt x="134" y="25"/>
                    <a:pt x="134" y="25"/>
                  </a:cubicBezTo>
                  <a:cubicBezTo>
                    <a:pt x="135" y="23"/>
                    <a:pt x="135" y="23"/>
                    <a:pt x="135" y="23"/>
                  </a:cubicBezTo>
                  <a:cubicBezTo>
                    <a:pt x="138" y="22"/>
                    <a:pt x="138" y="22"/>
                    <a:pt x="138" y="22"/>
                  </a:cubicBezTo>
                  <a:cubicBezTo>
                    <a:pt x="138" y="20"/>
                    <a:pt x="138" y="20"/>
                    <a:pt x="138" y="20"/>
                  </a:cubicBezTo>
                  <a:cubicBezTo>
                    <a:pt x="137" y="17"/>
                    <a:pt x="137" y="17"/>
                    <a:pt x="137" y="17"/>
                  </a:cubicBezTo>
                  <a:cubicBezTo>
                    <a:pt x="137" y="17"/>
                    <a:pt x="133" y="17"/>
                    <a:pt x="133" y="17"/>
                  </a:cubicBezTo>
                  <a:cubicBezTo>
                    <a:pt x="132" y="17"/>
                    <a:pt x="131" y="18"/>
                    <a:pt x="131" y="18"/>
                  </a:cubicBezTo>
                  <a:cubicBezTo>
                    <a:pt x="131" y="21"/>
                    <a:pt x="131" y="21"/>
                    <a:pt x="131" y="21"/>
                  </a:cubicBezTo>
                  <a:cubicBezTo>
                    <a:pt x="133" y="23"/>
                    <a:pt x="133" y="23"/>
                    <a:pt x="133" y="23"/>
                  </a:cubicBezTo>
                  <a:cubicBezTo>
                    <a:pt x="133" y="24"/>
                    <a:pt x="133" y="24"/>
                    <a:pt x="133" y="24"/>
                  </a:cubicBezTo>
                  <a:cubicBezTo>
                    <a:pt x="131" y="25"/>
                    <a:pt x="131" y="25"/>
                    <a:pt x="131" y="25"/>
                  </a:cubicBezTo>
                  <a:cubicBezTo>
                    <a:pt x="129" y="24"/>
                    <a:pt x="129" y="24"/>
                    <a:pt x="129" y="24"/>
                  </a:cubicBezTo>
                  <a:cubicBezTo>
                    <a:pt x="128" y="26"/>
                    <a:pt x="128" y="26"/>
                    <a:pt x="128" y="26"/>
                  </a:cubicBezTo>
                  <a:cubicBezTo>
                    <a:pt x="127" y="28"/>
                    <a:pt x="127" y="28"/>
                    <a:pt x="127" y="28"/>
                  </a:cubicBezTo>
                  <a:cubicBezTo>
                    <a:pt x="123" y="27"/>
                    <a:pt x="123" y="27"/>
                    <a:pt x="123" y="27"/>
                  </a:cubicBezTo>
                  <a:cubicBezTo>
                    <a:pt x="120" y="25"/>
                    <a:pt x="120" y="25"/>
                    <a:pt x="120" y="25"/>
                  </a:cubicBezTo>
                  <a:cubicBezTo>
                    <a:pt x="118" y="23"/>
                    <a:pt x="118" y="23"/>
                    <a:pt x="118" y="23"/>
                  </a:cubicBezTo>
                  <a:cubicBezTo>
                    <a:pt x="115" y="23"/>
                    <a:pt x="115" y="23"/>
                    <a:pt x="115" y="23"/>
                  </a:cubicBezTo>
                  <a:cubicBezTo>
                    <a:pt x="114" y="23"/>
                    <a:pt x="114" y="23"/>
                    <a:pt x="114" y="23"/>
                  </a:cubicBezTo>
                  <a:cubicBezTo>
                    <a:pt x="111" y="23"/>
                    <a:pt x="111" y="23"/>
                    <a:pt x="111" y="23"/>
                  </a:cubicBezTo>
                  <a:cubicBezTo>
                    <a:pt x="110" y="22"/>
                    <a:pt x="110" y="22"/>
                    <a:pt x="110" y="22"/>
                  </a:cubicBezTo>
                  <a:cubicBezTo>
                    <a:pt x="109" y="21"/>
                    <a:pt x="109" y="21"/>
                    <a:pt x="109" y="21"/>
                  </a:cubicBezTo>
                  <a:cubicBezTo>
                    <a:pt x="107" y="21"/>
                    <a:pt x="107" y="21"/>
                    <a:pt x="107" y="21"/>
                  </a:cubicBezTo>
                  <a:cubicBezTo>
                    <a:pt x="105" y="20"/>
                    <a:pt x="105" y="20"/>
                    <a:pt x="105" y="20"/>
                  </a:cubicBezTo>
                  <a:cubicBezTo>
                    <a:pt x="105" y="18"/>
                    <a:pt x="105" y="18"/>
                    <a:pt x="105" y="18"/>
                  </a:cubicBezTo>
                  <a:cubicBezTo>
                    <a:pt x="105" y="18"/>
                    <a:pt x="106" y="15"/>
                    <a:pt x="106" y="14"/>
                  </a:cubicBezTo>
                  <a:cubicBezTo>
                    <a:pt x="107" y="14"/>
                    <a:pt x="107" y="12"/>
                    <a:pt x="107" y="12"/>
                  </a:cubicBezTo>
                  <a:cubicBezTo>
                    <a:pt x="106" y="8"/>
                    <a:pt x="106" y="8"/>
                    <a:pt x="106" y="8"/>
                  </a:cubicBezTo>
                  <a:cubicBezTo>
                    <a:pt x="99" y="1"/>
                    <a:pt x="99" y="1"/>
                    <a:pt x="99" y="1"/>
                  </a:cubicBezTo>
                  <a:cubicBezTo>
                    <a:pt x="99" y="3"/>
                    <a:pt x="99" y="3"/>
                    <a:pt x="99" y="3"/>
                  </a:cubicBezTo>
                  <a:cubicBezTo>
                    <a:pt x="97" y="4"/>
                    <a:pt x="97" y="4"/>
                    <a:pt x="97" y="4"/>
                  </a:cubicBezTo>
                  <a:cubicBezTo>
                    <a:pt x="96" y="2"/>
                    <a:pt x="96" y="2"/>
                    <a:pt x="96" y="2"/>
                  </a:cubicBezTo>
                  <a:cubicBezTo>
                    <a:pt x="96" y="2"/>
                    <a:pt x="95" y="1"/>
                    <a:pt x="95" y="2"/>
                  </a:cubicBezTo>
                  <a:cubicBezTo>
                    <a:pt x="94" y="2"/>
                    <a:pt x="91" y="4"/>
                    <a:pt x="91" y="4"/>
                  </a:cubicBezTo>
                  <a:cubicBezTo>
                    <a:pt x="91" y="4"/>
                    <a:pt x="90" y="4"/>
                    <a:pt x="89" y="4"/>
                  </a:cubicBezTo>
                  <a:cubicBezTo>
                    <a:pt x="89" y="4"/>
                    <a:pt x="88" y="5"/>
                    <a:pt x="88" y="5"/>
                  </a:cubicBezTo>
                  <a:cubicBezTo>
                    <a:pt x="86" y="4"/>
                    <a:pt x="86" y="4"/>
                    <a:pt x="86" y="4"/>
                  </a:cubicBezTo>
                  <a:cubicBezTo>
                    <a:pt x="83" y="2"/>
                    <a:pt x="83" y="2"/>
                    <a:pt x="83" y="2"/>
                  </a:cubicBezTo>
                  <a:cubicBezTo>
                    <a:pt x="83" y="2"/>
                    <a:pt x="81" y="2"/>
                    <a:pt x="80" y="2"/>
                  </a:cubicBezTo>
                  <a:cubicBezTo>
                    <a:pt x="79" y="2"/>
                    <a:pt x="76" y="0"/>
                    <a:pt x="76" y="0"/>
                  </a:cubicBezTo>
                  <a:cubicBezTo>
                    <a:pt x="74" y="0"/>
                    <a:pt x="74" y="0"/>
                    <a:pt x="74" y="0"/>
                  </a:cubicBezTo>
                  <a:cubicBezTo>
                    <a:pt x="71" y="1"/>
                    <a:pt x="71" y="1"/>
                    <a:pt x="71" y="1"/>
                  </a:cubicBezTo>
                  <a:cubicBezTo>
                    <a:pt x="72" y="7"/>
                    <a:pt x="72" y="7"/>
                    <a:pt x="72" y="7"/>
                  </a:cubicBezTo>
                  <a:cubicBezTo>
                    <a:pt x="73" y="9"/>
                    <a:pt x="73" y="9"/>
                    <a:pt x="73" y="9"/>
                  </a:cubicBezTo>
                  <a:cubicBezTo>
                    <a:pt x="74" y="11"/>
                    <a:pt x="74" y="11"/>
                    <a:pt x="74" y="11"/>
                  </a:cubicBezTo>
                  <a:cubicBezTo>
                    <a:pt x="75" y="12"/>
                    <a:pt x="75" y="12"/>
                    <a:pt x="75" y="12"/>
                  </a:cubicBezTo>
                  <a:cubicBezTo>
                    <a:pt x="77" y="14"/>
                    <a:pt x="77" y="14"/>
                    <a:pt x="77" y="14"/>
                  </a:cubicBezTo>
                  <a:cubicBezTo>
                    <a:pt x="79" y="17"/>
                    <a:pt x="79" y="17"/>
                    <a:pt x="79" y="17"/>
                  </a:cubicBezTo>
                  <a:cubicBezTo>
                    <a:pt x="80" y="19"/>
                    <a:pt x="80" y="19"/>
                    <a:pt x="80" y="19"/>
                  </a:cubicBezTo>
                  <a:cubicBezTo>
                    <a:pt x="79" y="19"/>
                    <a:pt x="79" y="19"/>
                    <a:pt x="79" y="19"/>
                  </a:cubicBezTo>
                  <a:cubicBezTo>
                    <a:pt x="77" y="19"/>
                    <a:pt x="77" y="19"/>
                    <a:pt x="77" y="19"/>
                  </a:cubicBezTo>
                  <a:cubicBezTo>
                    <a:pt x="77" y="21"/>
                    <a:pt x="77" y="21"/>
                    <a:pt x="77" y="21"/>
                  </a:cubicBezTo>
                  <a:cubicBezTo>
                    <a:pt x="77" y="21"/>
                    <a:pt x="78" y="21"/>
                    <a:pt x="78" y="21"/>
                  </a:cubicBezTo>
                  <a:cubicBezTo>
                    <a:pt x="79" y="21"/>
                    <a:pt x="80" y="20"/>
                    <a:pt x="80" y="20"/>
                  </a:cubicBezTo>
                  <a:cubicBezTo>
                    <a:pt x="81" y="19"/>
                    <a:pt x="81" y="19"/>
                    <a:pt x="81" y="19"/>
                  </a:cubicBezTo>
                  <a:cubicBezTo>
                    <a:pt x="82" y="21"/>
                    <a:pt x="82" y="21"/>
                    <a:pt x="82" y="21"/>
                  </a:cubicBezTo>
                  <a:cubicBezTo>
                    <a:pt x="76" y="23"/>
                    <a:pt x="76" y="23"/>
                    <a:pt x="76" y="23"/>
                  </a:cubicBezTo>
                  <a:cubicBezTo>
                    <a:pt x="72" y="24"/>
                    <a:pt x="72" y="24"/>
                    <a:pt x="72" y="24"/>
                  </a:cubicBezTo>
                  <a:cubicBezTo>
                    <a:pt x="71" y="27"/>
                    <a:pt x="71" y="27"/>
                    <a:pt x="71" y="27"/>
                  </a:cubicBezTo>
                  <a:cubicBezTo>
                    <a:pt x="73" y="29"/>
                    <a:pt x="73" y="29"/>
                    <a:pt x="73" y="29"/>
                  </a:cubicBezTo>
                  <a:cubicBezTo>
                    <a:pt x="75" y="29"/>
                    <a:pt x="75" y="29"/>
                    <a:pt x="75" y="29"/>
                  </a:cubicBezTo>
                  <a:cubicBezTo>
                    <a:pt x="78" y="29"/>
                    <a:pt x="78" y="29"/>
                    <a:pt x="78" y="29"/>
                  </a:cubicBezTo>
                  <a:cubicBezTo>
                    <a:pt x="78" y="29"/>
                    <a:pt x="78" y="30"/>
                    <a:pt x="77" y="31"/>
                  </a:cubicBezTo>
                  <a:cubicBezTo>
                    <a:pt x="77" y="33"/>
                    <a:pt x="78" y="33"/>
                    <a:pt x="78" y="33"/>
                  </a:cubicBezTo>
                  <a:cubicBezTo>
                    <a:pt x="80" y="33"/>
                    <a:pt x="80" y="33"/>
                    <a:pt x="80" y="33"/>
                  </a:cubicBezTo>
                  <a:cubicBezTo>
                    <a:pt x="80" y="33"/>
                    <a:pt x="80" y="34"/>
                    <a:pt x="79" y="35"/>
                  </a:cubicBezTo>
                  <a:cubicBezTo>
                    <a:pt x="78" y="35"/>
                    <a:pt x="78" y="38"/>
                    <a:pt x="78" y="38"/>
                  </a:cubicBezTo>
                  <a:cubicBezTo>
                    <a:pt x="81" y="40"/>
                    <a:pt x="81" y="40"/>
                    <a:pt x="81" y="40"/>
                  </a:cubicBezTo>
                  <a:cubicBezTo>
                    <a:pt x="80" y="41"/>
                    <a:pt x="80" y="41"/>
                    <a:pt x="80" y="41"/>
                  </a:cubicBezTo>
                  <a:cubicBezTo>
                    <a:pt x="79" y="43"/>
                    <a:pt x="79" y="43"/>
                    <a:pt x="79" y="43"/>
                  </a:cubicBezTo>
                  <a:cubicBezTo>
                    <a:pt x="79" y="43"/>
                    <a:pt x="81" y="45"/>
                    <a:pt x="81" y="46"/>
                  </a:cubicBezTo>
                  <a:cubicBezTo>
                    <a:pt x="81" y="46"/>
                    <a:pt x="84" y="46"/>
                    <a:pt x="84" y="46"/>
                  </a:cubicBezTo>
                  <a:cubicBezTo>
                    <a:pt x="84" y="46"/>
                    <a:pt x="85" y="44"/>
                    <a:pt x="85" y="44"/>
                  </a:cubicBezTo>
                  <a:cubicBezTo>
                    <a:pt x="85" y="44"/>
                    <a:pt x="87" y="45"/>
                    <a:pt x="87" y="45"/>
                  </a:cubicBezTo>
                  <a:cubicBezTo>
                    <a:pt x="88" y="45"/>
                    <a:pt x="89" y="47"/>
                    <a:pt x="89" y="47"/>
                  </a:cubicBezTo>
                  <a:cubicBezTo>
                    <a:pt x="86" y="47"/>
                    <a:pt x="86" y="47"/>
                    <a:pt x="86" y="47"/>
                  </a:cubicBezTo>
                  <a:cubicBezTo>
                    <a:pt x="84" y="48"/>
                    <a:pt x="84" y="48"/>
                    <a:pt x="84" y="48"/>
                  </a:cubicBezTo>
                  <a:cubicBezTo>
                    <a:pt x="79" y="48"/>
                    <a:pt x="79" y="48"/>
                    <a:pt x="79" y="48"/>
                  </a:cubicBezTo>
                  <a:cubicBezTo>
                    <a:pt x="75" y="48"/>
                    <a:pt x="75" y="48"/>
                    <a:pt x="75" y="48"/>
                  </a:cubicBezTo>
                  <a:cubicBezTo>
                    <a:pt x="73" y="47"/>
                    <a:pt x="73" y="47"/>
                    <a:pt x="73" y="47"/>
                  </a:cubicBezTo>
                  <a:cubicBezTo>
                    <a:pt x="70" y="49"/>
                    <a:pt x="70" y="49"/>
                    <a:pt x="70" y="49"/>
                  </a:cubicBezTo>
                  <a:cubicBezTo>
                    <a:pt x="69" y="52"/>
                    <a:pt x="69" y="52"/>
                    <a:pt x="69" y="52"/>
                  </a:cubicBezTo>
                  <a:cubicBezTo>
                    <a:pt x="68" y="56"/>
                    <a:pt x="68" y="56"/>
                    <a:pt x="68" y="56"/>
                  </a:cubicBezTo>
                  <a:cubicBezTo>
                    <a:pt x="68" y="56"/>
                    <a:pt x="70" y="60"/>
                    <a:pt x="71" y="60"/>
                  </a:cubicBezTo>
                  <a:cubicBezTo>
                    <a:pt x="71" y="60"/>
                    <a:pt x="68" y="61"/>
                    <a:pt x="68" y="61"/>
                  </a:cubicBezTo>
                  <a:cubicBezTo>
                    <a:pt x="66" y="60"/>
                    <a:pt x="66" y="60"/>
                    <a:pt x="66" y="60"/>
                  </a:cubicBezTo>
                  <a:cubicBezTo>
                    <a:pt x="66" y="60"/>
                    <a:pt x="64" y="58"/>
                    <a:pt x="63" y="58"/>
                  </a:cubicBezTo>
                  <a:cubicBezTo>
                    <a:pt x="62" y="57"/>
                    <a:pt x="61" y="58"/>
                    <a:pt x="61" y="58"/>
                  </a:cubicBezTo>
                  <a:cubicBezTo>
                    <a:pt x="60" y="61"/>
                    <a:pt x="60" y="61"/>
                    <a:pt x="60" y="61"/>
                  </a:cubicBezTo>
                  <a:cubicBezTo>
                    <a:pt x="61" y="61"/>
                    <a:pt x="61" y="61"/>
                    <a:pt x="61" y="61"/>
                  </a:cubicBezTo>
                  <a:cubicBezTo>
                    <a:pt x="62" y="63"/>
                    <a:pt x="62" y="63"/>
                    <a:pt x="62" y="63"/>
                  </a:cubicBezTo>
                  <a:cubicBezTo>
                    <a:pt x="62" y="65"/>
                    <a:pt x="62" y="65"/>
                    <a:pt x="62" y="65"/>
                  </a:cubicBezTo>
                  <a:cubicBezTo>
                    <a:pt x="60" y="66"/>
                    <a:pt x="60" y="66"/>
                    <a:pt x="60" y="66"/>
                  </a:cubicBezTo>
                  <a:cubicBezTo>
                    <a:pt x="60" y="66"/>
                    <a:pt x="59" y="65"/>
                    <a:pt x="59" y="64"/>
                  </a:cubicBezTo>
                  <a:cubicBezTo>
                    <a:pt x="59" y="64"/>
                    <a:pt x="58" y="61"/>
                    <a:pt x="58" y="61"/>
                  </a:cubicBezTo>
                  <a:cubicBezTo>
                    <a:pt x="58" y="60"/>
                    <a:pt x="58" y="58"/>
                    <a:pt x="58" y="58"/>
                  </a:cubicBezTo>
                  <a:cubicBezTo>
                    <a:pt x="58" y="58"/>
                    <a:pt x="57" y="56"/>
                    <a:pt x="57" y="56"/>
                  </a:cubicBezTo>
                  <a:cubicBezTo>
                    <a:pt x="58" y="55"/>
                    <a:pt x="56" y="54"/>
                    <a:pt x="56" y="53"/>
                  </a:cubicBezTo>
                  <a:cubicBezTo>
                    <a:pt x="56" y="53"/>
                    <a:pt x="54" y="51"/>
                    <a:pt x="54" y="51"/>
                  </a:cubicBezTo>
                  <a:cubicBezTo>
                    <a:pt x="52" y="49"/>
                    <a:pt x="52" y="49"/>
                    <a:pt x="52" y="49"/>
                  </a:cubicBezTo>
                  <a:cubicBezTo>
                    <a:pt x="49" y="51"/>
                    <a:pt x="49" y="51"/>
                    <a:pt x="49" y="51"/>
                  </a:cubicBezTo>
                  <a:cubicBezTo>
                    <a:pt x="44" y="50"/>
                    <a:pt x="44" y="50"/>
                    <a:pt x="44" y="50"/>
                  </a:cubicBezTo>
                  <a:cubicBezTo>
                    <a:pt x="41" y="52"/>
                    <a:pt x="41" y="52"/>
                    <a:pt x="41" y="52"/>
                  </a:cubicBezTo>
                  <a:cubicBezTo>
                    <a:pt x="41" y="53"/>
                    <a:pt x="41" y="53"/>
                    <a:pt x="41" y="53"/>
                  </a:cubicBezTo>
                  <a:cubicBezTo>
                    <a:pt x="37" y="54"/>
                    <a:pt x="37" y="54"/>
                    <a:pt x="37" y="54"/>
                  </a:cubicBezTo>
                  <a:cubicBezTo>
                    <a:pt x="37" y="54"/>
                    <a:pt x="36" y="54"/>
                    <a:pt x="36" y="54"/>
                  </a:cubicBezTo>
                  <a:cubicBezTo>
                    <a:pt x="35" y="54"/>
                    <a:pt x="35" y="54"/>
                    <a:pt x="34" y="54"/>
                  </a:cubicBezTo>
                  <a:cubicBezTo>
                    <a:pt x="33" y="54"/>
                    <a:pt x="33" y="54"/>
                    <a:pt x="33" y="54"/>
                  </a:cubicBezTo>
                  <a:cubicBezTo>
                    <a:pt x="33" y="54"/>
                    <a:pt x="33" y="54"/>
                    <a:pt x="33" y="54"/>
                  </a:cubicBezTo>
                  <a:cubicBezTo>
                    <a:pt x="32" y="54"/>
                    <a:pt x="32" y="54"/>
                    <a:pt x="32" y="54"/>
                  </a:cubicBezTo>
                  <a:cubicBezTo>
                    <a:pt x="32" y="54"/>
                    <a:pt x="32" y="54"/>
                    <a:pt x="32" y="54"/>
                  </a:cubicBezTo>
                  <a:cubicBezTo>
                    <a:pt x="30" y="56"/>
                    <a:pt x="30" y="56"/>
                    <a:pt x="30" y="56"/>
                  </a:cubicBezTo>
                  <a:cubicBezTo>
                    <a:pt x="32" y="59"/>
                    <a:pt x="32" y="59"/>
                    <a:pt x="32" y="59"/>
                  </a:cubicBezTo>
                  <a:cubicBezTo>
                    <a:pt x="32" y="62"/>
                    <a:pt x="32" y="62"/>
                    <a:pt x="32" y="62"/>
                  </a:cubicBezTo>
                  <a:cubicBezTo>
                    <a:pt x="32" y="62"/>
                    <a:pt x="30" y="64"/>
                    <a:pt x="29" y="64"/>
                  </a:cubicBezTo>
                  <a:cubicBezTo>
                    <a:pt x="29" y="64"/>
                    <a:pt x="29" y="65"/>
                    <a:pt x="28" y="67"/>
                  </a:cubicBezTo>
                  <a:cubicBezTo>
                    <a:pt x="29" y="68"/>
                    <a:pt x="29" y="68"/>
                    <a:pt x="29" y="68"/>
                  </a:cubicBezTo>
                  <a:cubicBezTo>
                    <a:pt x="33" y="70"/>
                    <a:pt x="33" y="70"/>
                    <a:pt x="33" y="70"/>
                  </a:cubicBezTo>
                  <a:cubicBezTo>
                    <a:pt x="33" y="70"/>
                    <a:pt x="33" y="72"/>
                    <a:pt x="33" y="72"/>
                  </a:cubicBezTo>
                  <a:cubicBezTo>
                    <a:pt x="34" y="72"/>
                    <a:pt x="36" y="73"/>
                    <a:pt x="36" y="73"/>
                  </a:cubicBezTo>
                  <a:cubicBezTo>
                    <a:pt x="36" y="75"/>
                    <a:pt x="36" y="75"/>
                    <a:pt x="36" y="75"/>
                  </a:cubicBezTo>
                  <a:cubicBezTo>
                    <a:pt x="36" y="76"/>
                    <a:pt x="36" y="76"/>
                    <a:pt x="36" y="76"/>
                  </a:cubicBezTo>
                  <a:cubicBezTo>
                    <a:pt x="36" y="76"/>
                    <a:pt x="36" y="76"/>
                    <a:pt x="36" y="77"/>
                  </a:cubicBezTo>
                  <a:cubicBezTo>
                    <a:pt x="36" y="77"/>
                    <a:pt x="36" y="79"/>
                    <a:pt x="36" y="79"/>
                  </a:cubicBezTo>
                  <a:cubicBezTo>
                    <a:pt x="36" y="80"/>
                    <a:pt x="36" y="85"/>
                    <a:pt x="36" y="85"/>
                  </a:cubicBezTo>
                  <a:cubicBezTo>
                    <a:pt x="36" y="86"/>
                    <a:pt x="36" y="86"/>
                    <a:pt x="36" y="86"/>
                  </a:cubicBezTo>
                  <a:cubicBezTo>
                    <a:pt x="36" y="86"/>
                    <a:pt x="36" y="86"/>
                    <a:pt x="36" y="86"/>
                  </a:cubicBezTo>
                  <a:cubicBezTo>
                    <a:pt x="36" y="86"/>
                    <a:pt x="34" y="89"/>
                    <a:pt x="33" y="91"/>
                  </a:cubicBezTo>
                  <a:cubicBezTo>
                    <a:pt x="33" y="92"/>
                    <a:pt x="33" y="92"/>
                    <a:pt x="33" y="93"/>
                  </a:cubicBezTo>
                  <a:cubicBezTo>
                    <a:pt x="33" y="93"/>
                    <a:pt x="33" y="93"/>
                    <a:pt x="33" y="93"/>
                  </a:cubicBezTo>
                  <a:cubicBezTo>
                    <a:pt x="32" y="98"/>
                    <a:pt x="32" y="98"/>
                    <a:pt x="32" y="98"/>
                  </a:cubicBezTo>
                  <a:cubicBezTo>
                    <a:pt x="32" y="99"/>
                    <a:pt x="31" y="103"/>
                    <a:pt x="29" y="103"/>
                  </a:cubicBezTo>
                  <a:cubicBezTo>
                    <a:pt x="28" y="103"/>
                    <a:pt x="28" y="103"/>
                    <a:pt x="28" y="103"/>
                  </a:cubicBezTo>
                  <a:cubicBezTo>
                    <a:pt x="28" y="103"/>
                    <a:pt x="28" y="103"/>
                    <a:pt x="28" y="103"/>
                  </a:cubicBezTo>
                  <a:cubicBezTo>
                    <a:pt x="28" y="103"/>
                    <a:pt x="27" y="103"/>
                    <a:pt x="27" y="102"/>
                  </a:cubicBezTo>
                  <a:cubicBezTo>
                    <a:pt x="23" y="104"/>
                    <a:pt x="23" y="104"/>
                    <a:pt x="23" y="104"/>
                  </a:cubicBezTo>
                  <a:cubicBezTo>
                    <a:pt x="23" y="105"/>
                    <a:pt x="23" y="105"/>
                    <a:pt x="23" y="105"/>
                  </a:cubicBezTo>
                  <a:cubicBezTo>
                    <a:pt x="23" y="105"/>
                    <a:pt x="24" y="105"/>
                    <a:pt x="24" y="105"/>
                  </a:cubicBezTo>
                  <a:cubicBezTo>
                    <a:pt x="25" y="105"/>
                    <a:pt x="25" y="105"/>
                    <a:pt x="25" y="105"/>
                  </a:cubicBezTo>
                  <a:cubicBezTo>
                    <a:pt x="27" y="106"/>
                    <a:pt x="27" y="106"/>
                    <a:pt x="27" y="106"/>
                  </a:cubicBezTo>
                  <a:cubicBezTo>
                    <a:pt x="28" y="106"/>
                    <a:pt x="28" y="106"/>
                    <a:pt x="28" y="106"/>
                  </a:cubicBezTo>
                  <a:cubicBezTo>
                    <a:pt x="32" y="111"/>
                    <a:pt x="32" y="111"/>
                    <a:pt x="32" y="111"/>
                  </a:cubicBezTo>
                  <a:cubicBezTo>
                    <a:pt x="31" y="114"/>
                    <a:pt x="31" y="114"/>
                    <a:pt x="31" y="114"/>
                  </a:cubicBezTo>
                  <a:cubicBezTo>
                    <a:pt x="31" y="114"/>
                    <a:pt x="31" y="115"/>
                    <a:pt x="31" y="116"/>
                  </a:cubicBezTo>
                  <a:cubicBezTo>
                    <a:pt x="32" y="117"/>
                    <a:pt x="32" y="118"/>
                    <a:pt x="31" y="119"/>
                  </a:cubicBezTo>
                  <a:cubicBezTo>
                    <a:pt x="31" y="119"/>
                    <a:pt x="31" y="119"/>
                    <a:pt x="31" y="119"/>
                  </a:cubicBezTo>
                  <a:cubicBezTo>
                    <a:pt x="30" y="119"/>
                    <a:pt x="30" y="119"/>
                    <a:pt x="30" y="119"/>
                  </a:cubicBezTo>
                  <a:cubicBezTo>
                    <a:pt x="29" y="119"/>
                    <a:pt x="29" y="120"/>
                    <a:pt x="29" y="120"/>
                  </a:cubicBezTo>
                  <a:cubicBezTo>
                    <a:pt x="29" y="120"/>
                    <a:pt x="29" y="120"/>
                    <a:pt x="29" y="120"/>
                  </a:cubicBezTo>
                  <a:cubicBezTo>
                    <a:pt x="28" y="121"/>
                    <a:pt x="28" y="121"/>
                    <a:pt x="28" y="121"/>
                  </a:cubicBezTo>
                  <a:cubicBezTo>
                    <a:pt x="28" y="121"/>
                    <a:pt x="27" y="122"/>
                    <a:pt x="25" y="123"/>
                  </a:cubicBezTo>
                  <a:cubicBezTo>
                    <a:pt x="25" y="123"/>
                    <a:pt x="24" y="124"/>
                    <a:pt x="22" y="124"/>
                  </a:cubicBezTo>
                  <a:cubicBezTo>
                    <a:pt x="22" y="124"/>
                    <a:pt x="22" y="124"/>
                    <a:pt x="22" y="124"/>
                  </a:cubicBezTo>
                  <a:cubicBezTo>
                    <a:pt x="25" y="126"/>
                    <a:pt x="25" y="126"/>
                    <a:pt x="25" y="126"/>
                  </a:cubicBezTo>
                  <a:cubicBezTo>
                    <a:pt x="24" y="130"/>
                    <a:pt x="24" y="130"/>
                    <a:pt x="24" y="130"/>
                  </a:cubicBezTo>
                  <a:cubicBezTo>
                    <a:pt x="21" y="131"/>
                    <a:pt x="21" y="131"/>
                    <a:pt x="21" y="131"/>
                  </a:cubicBezTo>
                  <a:cubicBezTo>
                    <a:pt x="20" y="133"/>
                    <a:pt x="20" y="133"/>
                    <a:pt x="20" y="133"/>
                  </a:cubicBezTo>
                  <a:cubicBezTo>
                    <a:pt x="17" y="133"/>
                    <a:pt x="17" y="133"/>
                    <a:pt x="17" y="133"/>
                  </a:cubicBezTo>
                  <a:cubicBezTo>
                    <a:pt x="14" y="134"/>
                    <a:pt x="14" y="134"/>
                    <a:pt x="14" y="134"/>
                  </a:cubicBezTo>
                  <a:cubicBezTo>
                    <a:pt x="13" y="134"/>
                    <a:pt x="13" y="134"/>
                    <a:pt x="13" y="134"/>
                  </a:cubicBezTo>
                  <a:cubicBezTo>
                    <a:pt x="12" y="137"/>
                    <a:pt x="12" y="137"/>
                    <a:pt x="12" y="137"/>
                  </a:cubicBezTo>
                  <a:cubicBezTo>
                    <a:pt x="8" y="134"/>
                    <a:pt x="8" y="134"/>
                    <a:pt x="8" y="134"/>
                  </a:cubicBezTo>
                  <a:cubicBezTo>
                    <a:pt x="6" y="133"/>
                    <a:pt x="6" y="133"/>
                    <a:pt x="6" y="133"/>
                  </a:cubicBezTo>
                  <a:cubicBezTo>
                    <a:pt x="4" y="134"/>
                    <a:pt x="4" y="134"/>
                    <a:pt x="4" y="134"/>
                  </a:cubicBezTo>
                  <a:cubicBezTo>
                    <a:pt x="3" y="134"/>
                    <a:pt x="3" y="134"/>
                    <a:pt x="3" y="134"/>
                  </a:cubicBezTo>
                  <a:cubicBezTo>
                    <a:pt x="3" y="134"/>
                    <a:pt x="3" y="134"/>
                    <a:pt x="3" y="134"/>
                  </a:cubicBezTo>
                  <a:cubicBezTo>
                    <a:pt x="3" y="135"/>
                    <a:pt x="4" y="135"/>
                    <a:pt x="4" y="135"/>
                  </a:cubicBezTo>
                  <a:cubicBezTo>
                    <a:pt x="5" y="136"/>
                    <a:pt x="5" y="136"/>
                    <a:pt x="5" y="136"/>
                  </a:cubicBezTo>
                  <a:cubicBezTo>
                    <a:pt x="4" y="138"/>
                    <a:pt x="4" y="138"/>
                    <a:pt x="4" y="138"/>
                  </a:cubicBezTo>
                  <a:cubicBezTo>
                    <a:pt x="6" y="140"/>
                    <a:pt x="6" y="140"/>
                    <a:pt x="6" y="140"/>
                  </a:cubicBezTo>
                  <a:cubicBezTo>
                    <a:pt x="6" y="141"/>
                    <a:pt x="6" y="141"/>
                    <a:pt x="6" y="141"/>
                  </a:cubicBezTo>
                  <a:cubicBezTo>
                    <a:pt x="7" y="143"/>
                    <a:pt x="7" y="143"/>
                    <a:pt x="7" y="143"/>
                  </a:cubicBezTo>
                  <a:cubicBezTo>
                    <a:pt x="7" y="145"/>
                    <a:pt x="7" y="145"/>
                    <a:pt x="7" y="145"/>
                  </a:cubicBezTo>
                  <a:cubicBezTo>
                    <a:pt x="9" y="148"/>
                    <a:pt x="9" y="148"/>
                    <a:pt x="9" y="148"/>
                  </a:cubicBezTo>
                  <a:cubicBezTo>
                    <a:pt x="8" y="151"/>
                    <a:pt x="8" y="151"/>
                    <a:pt x="8" y="151"/>
                  </a:cubicBezTo>
                  <a:cubicBezTo>
                    <a:pt x="8" y="152"/>
                    <a:pt x="8" y="153"/>
                    <a:pt x="8" y="154"/>
                  </a:cubicBezTo>
                  <a:cubicBezTo>
                    <a:pt x="8" y="154"/>
                    <a:pt x="8" y="154"/>
                    <a:pt x="8" y="154"/>
                  </a:cubicBezTo>
                  <a:cubicBezTo>
                    <a:pt x="7" y="154"/>
                    <a:pt x="7" y="154"/>
                    <a:pt x="7" y="154"/>
                  </a:cubicBezTo>
                  <a:cubicBezTo>
                    <a:pt x="7" y="155"/>
                    <a:pt x="6" y="156"/>
                    <a:pt x="6" y="156"/>
                  </a:cubicBezTo>
                  <a:cubicBezTo>
                    <a:pt x="4" y="158"/>
                    <a:pt x="4" y="158"/>
                    <a:pt x="4" y="158"/>
                  </a:cubicBezTo>
                  <a:cubicBezTo>
                    <a:pt x="4" y="158"/>
                    <a:pt x="4" y="158"/>
                    <a:pt x="4" y="158"/>
                  </a:cubicBezTo>
                  <a:cubicBezTo>
                    <a:pt x="6" y="159"/>
                    <a:pt x="8" y="160"/>
                    <a:pt x="7" y="162"/>
                  </a:cubicBezTo>
                  <a:cubicBezTo>
                    <a:pt x="7" y="163"/>
                    <a:pt x="7" y="163"/>
                    <a:pt x="7" y="163"/>
                  </a:cubicBezTo>
                  <a:cubicBezTo>
                    <a:pt x="7" y="163"/>
                    <a:pt x="7" y="163"/>
                    <a:pt x="7" y="163"/>
                  </a:cubicBezTo>
                  <a:cubicBezTo>
                    <a:pt x="5" y="164"/>
                    <a:pt x="4" y="164"/>
                    <a:pt x="2" y="164"/>
                  </a:cubicBezTo>
                  <a:cubicBezTo>
                    <a:pt x="1" y="164"/>
                    <a:pt x="1" y="164"/>
                    <a:pt x="1" y="164"/>
                  </a:cubicBezTo>
                  <a:cubicBezTo>
                    <a:pt x="1" y="165"/>
                    <a:pt x="1" y="165"/>
                    <a:pt x="1" y="165"/>
                  </a:cubicBezTo>
                  <a:cubicBezTo>
                    <a:pt x="0" y="166"/>
                    <a:pt x="0" y="166"/>
                    <a:pt x="0" y="166"/>
                  </a:cubicBezTo>
                  <a:cubicBezTo>
                    <a:pt x="0" y="166"/>
                    <a:pt x="2" y="167"/>
                    <a:pt x="2" y="167"/>
                  </a:cubicBezTo>
                  <a:cubicBezTo>
                    <a:pt x="2" y="167"/>
                    <a:pt x="2" y="169"/>
                    <a:pt x="2" y="169"/>
                  </a:cubicBezTo>
                  <a:cubicBezTo>
                    <a:pt x="3" y="169"/>
                    <a:pt x="3" y="170"/>
                    <a:pt x="3" y="170"/>
                  </a:cubicBezTo>
                  <a:cubicBezTo>
                    <a:pt x="4" y="170"/>
                    <a:pt x="4" y="170"/>
                    <a:pt x="4" y="170"/>
                  </a:cubicBezTo>
                  <a:cubicBezTo>
                    <a:pt x="4" y="171"/>
                    <a:pt x="4" y="171"/>
                    <a:pt x="4" y="171"/>
                  </a:cubicBezTo>
                  <a:cubicBezTo>
                    <a:pt x="4" y="171"/>
                    <a:pt x="4" y="173"/>
                    <a:pt x="3" y="174"/>
                  </a:cubicBezTo>
                  <a:cubicBezTo>
                    <a:pt x="3" y="175"/>
                    <a:pt x="3" y="176"/>
                    <a:pt x="1" y="177"/>
                  </a:cubicBezTo>
                  <a:cubicBezTo>
                    <a:pt x="1" y="177"/>
                    <a:pt x="1" y="177"/>
                    <a:pt x="1" y="177"/>
                  </a:cubicBezTo>
                  <a:cubicBezTo>
                    <a:pt x="1" y="177"/>
                    <a:pt x="1" y="177"/>
                    <a:pt x="1" y="177"/>
                  </a:cubicBezTo>
                  <a:cubicBezTo>
                    <a:pt x="2" y="177"/>
                    <a:pt x="2" y="178"/>
                    <a:pt x="3" y="178"/>
                  </a:cubicBezTo>
                  <a:cubicBezTo>
                    <a:pt x="3" y="178"/>
                    <a:pt x="3" y="178"/>
                    <a:pt x="3" y="178"/>
                  </a:cubicBezTo>
                  <a:cubicBezTo>
                    <a:pt x="4" y="180"/>
                    <a:pt x="4" y="180"/>
                    <a:pt x="4" y="180"/>
                  </a:cubicBezTo>
                  <a:cubicBezTo>
                    <a:pt x="4" y="180"/>
                    <a:pt x="4" y="180"/>
                    <a:pt x="4" y="180"/>
                  </a:cubicBezTo>
                  <a:cubicBezTo>
                    <a:pt x="4" y="180"/>
                    <a:pt x="6" y="181"/>
                    <a:pt x="6" y="181"/>
                  </a:cubicBezTo>
                  <a:cubicBezTo>
                    <a:pt x="7" y="182"/>
                    <a:pt x="7" y="182"/>
                    <a:pt x="7" y="182"/>
                  </a:cubicBezTo>
                  <a:cubicBezTo>
                    <a:pt x="7" y="183"/>
                    <a:pt x="7" y="183"/>
                    <a:pt x="7" y="183"/>
                  </a:cubicBezTo>
                  <a:cubicBezTo>
                    <a:pt x="7" y="183"/>
                    <a:pt x="7" y="185"/>
                    <a:pt x="6" y="186"/>
                  </a:cubicBezTo>
                  <a:cubicBezTo>
                    <a:pt x="7" y="187"/>
                    <a:pt x="7" y="187"/>
                    <a:pt x="7" y="187"/>
                  </a:cubicBezTo>
                  <a:cubicBezTo>
                    <a:pt x="7" y="187"/>
                    <a:pt x="8" y="187"/>
                    <a:pt x="10" y="188"/>
                  </a:cubicBezTo>
                  <a:cubicBezTo>
                    <a:pt x="10" y="189"/>
                    <a:pt x="10" y="189"/>
                    <a:pt x="10" y="189"/>
                  </a:cubicBezTo>
                  <a:cubicBezTo>
                    <a:pt x="10" y="189"/>
                    <a:pt x="10" y="189"/>
                    <a:pt x="10" y="189"/>
                  </a:cubicBezTo>
                  <a:cubicBezTo>
                    <a:pt x="10" y="189"/>
                    <a:pt x="11" y="191"/>
                    <a:pt x="11" y="192"/>
                  </a:cubicBezTo>
                  <a:cubicBezTo>
                    <a:pt x="11" y="193"/>
                    <a:pt x="10" y="194"/>
                    <a:pt x="10" y="195"/>
                  </a:cubicBezTo>
                  <a:cubicBezTo>
                    <a:pt x="10" y="196"/>
                    <a:pt x="10" y="196"/>
                    <a:pt x="10" y="196"/>
                  </a:cubicBezTo>
                  <a:cubicBezTo>
                    <a:pt x="10" y="197"/>
                    <a:pt x="10" y="198"/>
                    <a:pt x="8" y="199"/>
                  </a:cubicBezTo>
                  <a:cubicBezTo>
                    <a:pt x="8" y="199"/>
                    <a:pt x="7" y="200"/>
                    <a:pt x="7" y="200"/>
                  </a:cubicBezTo>
                  <a:cubicBezTo>
                    <a:pt x="7" y="201"/>
                    <a:pt x="6" y="201"/>
                    <a:pt x="5" y="201"/>
                  </a:cubicBezTo>
                  <a:cubicBezTo>
                    <a:pt x="5" y="201"/>
                    <a:pt x="5" y="201"/>
                    <a:pt x="5" y="201"/>
                  </a:cubicBezTo>
                  <a:cubicBezTo>
                    <a:pt x="5" y="201"/>
                    <a:pt x="5" y="201"/>
                    <a:pt x="4" y="201"/>
                  </a:cubicBezTo>
                  <a:cubicBezTo>
                    <a:pt x="4" y="203"/>
                    <a:pt x="4" y="203"/>
                    <a:pt x="4" y="203"/>
                  </a:cubicBezTo>
                  <a:cubicBezTo>
                    <a:pt x="3" y="204"/>
                    <a:pt x="3" y="204"/>
                    <a:pt x="3" y="204"/>
                  </a:cubicBezTo>
                  <a:cubicBezTo>
                    <a:pt x="3" y="204"/>
                    <a:pt x="3" y="204"/>
                    <a:pt x="3" y="204"/>
                  </a:cubicBezTo>
                  <a:cubicBezTo>
                    <a:pt x="2" y="207"/>
                    <a:pt x="2" y="207"/>
                    <a:pt x="2" y="207"/>
                  </a:cubicBezTo>
                  <a:cubicBezTo>
                    <a:pt x="3" y="210"/>
                    <a:pt x="3" y="210"/>
                    <a:pt x="3" y="210"/>
                  </a:cubicBezTo>
                  <a:cubicBezTo>
                    <a:pt x="5" y="215"/>
                    <a:pt x="5" y="215"/>
                    <a:pt x="5" y="215"/>
                  </a:cubicBezTo>
                  <a:cubicBezTo>
                    <a:pt x="5" y="215"/>
                    <a:pt x="6" y="215"/>
                    <a:pt x="6" y="216"/>
                  </a:cubicBezTo>
                  <a:cubicBezTo>
                    <a:pt x="7" y="216"/>
                    <a:pt x="7" y="216"/>
                    <a:pt x="8" y="217"/>
                  </a:cubicBezTo>
                  <a:cubicBezTo>
                    <a:pt x="8" y="217"/>
                    <a:pt x="9" y="217"/>
                    <a:pt x="11" y="217"/>
                  </a:cubicBezTo>
                  <a:cubicBezTo>
                    <a:pt x="12" y="218"/>
                    <a:pt x="12" y="218"/>
                    <a:pt x="12" y="218"/>
                  </a:cubicBezTo>
                  <a:cubicBezTo>
                    <a:pt x="13" y="222"/>
                    <a:pt x="13" y="222"/>
                    <a:pt x="13" y="222"/>
                  </a:cubicBezTo>
                  <a:cubicBezTo>
                    <a:pt x="12" y="226"/>
                    <a:pt x="12" y="226"/>
                    <a:pt x="12" y="226"/>
                  </a:cubicBezTo>
                  <a:cubicBezTo>
                    <a:pt x="10" y="228"/>
                    <a:pt x="10" y="228"/>
                    <a:pt x="10" y="228"/>
                  </a:cubicBezTo>
                  <a:cubicBezTo>
                    <a:pt x="8" y="230"/>
                    <a:pt x="8" y="230"/>
                    <a:pt x="8" y="230"/>
                  </a:cubicBezTo>
                  <a:cubicBezTo>
                    <a:pt x="9" y="232"/>
                    <a:pt x="9" y="232"/>
                    <a:pt x="9" y="232"/>
                  </a:cubicBezTo>
                  <a:cubicBezTo>
                    <a:pt x="9" y="232"/>
                    <a:pt x="9" y="232"/>
                    <a:pt x="9" y="232"/>
                  </a:cubicBezTo>
                  <a:cubicBezTo>
                    <a:pt x="14" y="237"/>
                    <a:pt x="14" y="237"/>
                    <a:pt x="14" y="237"/>
                  </a:cubicBezTo>
                  <a:cubicBezTo>
                    <a:pt x="15" y="241"/>
                    <a:pt x="15" y="241"/>
                    <a:pt x="15" y="241"/>
                  </a:cubicBezTo>
                  <a:cubicBezTo>
                    <a:pt x="17" y="244"/>
                    <a:pt x="17" y="244"/>
                    <a:pt x="17" y="244"/>
                  </a:cubicBezTo>
                  <a:cubicBezTo>
                    <a:pt x="18" y="245"/>
                    <a:pt x="18" y="245"/>
                    <a:pt x="18" y="245"/>
                  </a:cubicBezTo>
                  <a:cubicBezTo>
                    <a:pt x="21" y="243"/>
                    <a:pt x="21" y="243"/>
                    <a:pt x="21" y="243"/>
                  </a:cubicBezTo>
                  <a:cubicBezTo>
                    <a:pt x="27" y="247"/>
                    <a:pt x="27" y="247"/>
                    <a:pt x="27" y="247"/>
                  </a:cubicBezTo>
                  <a:cubicBezTo>
                    <a:pt x="30" y="248"/>
                    <a:pt x="30" y="248"/>
                    <a:pt x="30" y="248"/>
                  </a:cubicBezTo>
                  <a:cubicBezTo>
                    <a:pt x="32" y="247"/>
                    <a:pt x="32" y="247"/>
                    <a:pt x="32" y="247"/>
                  </a:cubicBezTo>
                  <a:cubicBezTo>
                    <a:pt x="37" y="245"/>
                    <a:pt x="37" y="245"/>
                    <a:pt x="37" y="245"/>
                  </a:cubicBezTo>
                  <a:cubicBezTo>
                    <a:pt x="40" y="250"/>
                    <a:pt x="40" y="250"/>
                    <a:pt x="40" y="250"/>
                  </a:cubicBezTo>
                  <a:cubicBezTo>
                    <a:pt x="43" y="252"/>
                    <a:pt x="43" y="252"/>
                    <a:pt x="43" y="252"/>
                  </a:cubicBezTo>
                  <a:cubicBezTo>
                    <a:pt x="49" y="252"/>
                    <a:pt x="49" y="252"/>
                    <a:pt x="49" y="252"/>
                  </a:cubicBezTo>
                  <a:cubicBezTo>
                    <a:pt x="62" y="256"/>
                    <a:pt x="62" y="256"/>
                    <a:pt x="62" y="256"/>
                  </a:cubicBezTo>
                  <a:cubicBezTo>
                    <a:pt x="54" y="265"/>
                    <a:pt x="54" y="265"/>
                    <a:pt x="54" y="265"/>
                  </a:cubicBezTo>
                  <a:cubicBezTo>
                    <a:pt x="54" y="265"/>
                    <a:pt x="48" y="273"/>
                    <a:pt x="45" y="275"/>
                  </a:cubicBezTo>
                  <a:cubicBezTo>
                    <a:pt x="44" y="275"/>
                    <a:pt x="44" y="275"/>
                    <a:pt x="44" y="275"/>
                  </a:cubicBezTo>
                  <a:cubicBezTo>
                    <a:pt x="44" y="275"/>
                    <a:pt x="44" y="275"/>
                    <a:pt x="44" y="275"/>
                  </a:cubicBezTo>
                  <a:cubicBezTo>
                    <a:pt x="44" y="275"/>
                    <a:pt x="44" y="275"/>
                    <a:pt x="44" y="276"/>
                  </a:cubicBezTo>
                  <a:cubicBezTo>
                    <a:pt x="45" y="276"/>
                    <a:pt x="45" y="276"/>
                    <a:pt x="45" y="276"/>
                  </a:cubicBezTo>
                  <a:cubicBezTo>
                    <a:pt x="45" y="277"/>
                    <a:pt x="45" y="277"/>
                    <a:pt x="45" y="277"/>
                  </a:cubicBezTo>
                  <a:cubicBezTo>
                    <a:pt x="45" y="286"/>
                    <a:pt x="45" y="286"/>
                    <a:pt x="45" y="286"/>
                  </a:cubicBezTo>
                  <a:cubicBezTo>
                    <a:pt x="44" y="286"/>
                    <a:pt x="44" y="286"/>
                    <a:pt x="44" y="286"/>
                  </a:cubicBezTo>
                  <a:cubicBezTo>
                    <a:pt x="44" y="286"/>
                    <a:pt x="42" y="291"/>
                    <a:pt x="40" y="294"/>
                  </a:cubicBezTo>
                  <a:cubicBezTo>
                    <a:pt x="40" y="294"/>
                    <a:pt x="40" y="294"/>
                    <a:pt x="39" y="294"/>
                  </a:cubicBezTo>
                  <a:cubicBezTo>
                    <a:pt x="40" y="294"/>
                    <a:pt x="40" y="294"/>
                    <a:pt x="40" y="294"/>
                  </a:cubicBezTo>
                  <a:cubicBezTo>
                    <a:pt x="41" y="295"/>
                    <a:pt x="41" y="301"/>
                    <a:pt x="41" y="301"/>
                  </a:cubicBezTo>
                  <a:cubicBezTo>
                    <a:pt x="41" y="303"/>
                    <a:pt x="40" y="308"/>
                    <a:pt x="40" y="309"/>
                  </a:cubicBezTo>
                  <a:cubicBezTo>
                    <a:pt x="40" y="309"/>
                    <a:pt x="40" y="309"/>
                    <a:pt x="40" y="309"/>
                  </a:cubicBezTo>
                  <a:cubicBezTo>
                    <a:pt x="38" y="311"/>
                    <a:pt x="38" y="311"/>
                    <a:pt x="38" y="311"/>
                  </a:cubicBezTo>
                  <a:cubicBezTo>
                    <a:pt x="39" y="312"/>
                    <a:pt x="41" y="313"/>
                    <a:pt x="42" y="315"/>
                  </a:cubicBezTo>
                  <a:cubicBezTo>
                    <a:pt x="42" y="315"/>
                    <a:pt x="42" y="315"/>
                    <a:pt x="42" y="315"/>
                  </a:cubicBezTo>
                  <a:cubicBezTo>
                    <a:pt x="42" y="316"/>
                    <a:pt x="42" y="316"/>
                    <a:pt x="42" y="316"/>
                  </a:cubicBezTo>
                  <a:cubicBezTo>
                    <a:pt x="43" y="315"/>
                    <a:pt x="43" y="315"/>
                    <a:pt x="44" y="315"/>
                  </a:cubicBezTo>
                  <a:cubicBezTo>
                    <a:pt x="45" y="314"/>
                    <a:pt x="46" y="313"/>
                    <a:pt x="47" y="313"/>
                  </a:cubicBezTo>
                  <a:cubicBezTo>
                    <a:pt x="48" y="313"/>
                    <a:pt x="48" y="313"/>
                    <a:pt x="48" y="313"/>
                  </a:cubicBezTo>
                  <a:cubicBezTo>
                    <a:pt x="48" y="314"/>
                    <a:pt x="48" y="314"/>
                    <a:pt x="48" y="314"/>
                  </a:cubicBezTo>
                  <a:cubicBezTo>
                    <a:pt x="49" y="314"/>
                    <a:pt x="49" y="315"/>
                    <a:pt x="50" y="316"/>
                  </a:cubicBezTo>
                  <a:cubicBezTo>
                    <a:pt x="51" y="316"/>
                    <a:pt x="51" y="316"/>
                    <a:pt x="51" y="316"/>
                  </a:cubicBezTo>
                  <a:cubicBezTo>
                    <a:pt x="52" y="316"/>
                    <a:pt x="52" y="316"/>
                    <a:pt x="52" y="316"/>
                  </a:cubicBezTo>
                  <a:cubicBezTo>
                    <a:pt x="53" y="316"/>
                    <a:pt x="53" y="316"/>
                    <a:pt x="53" y="316"/>
                  </a:cubicBezTo>
                  <a:cubicBezTo>
                    <a:pt x="54" y="315"/>
                    <a:pt x="54" y="315"/>
                    <a:pt x="55" y="314"/>
                  </a:cubicBezTo>
                  <a:cubicBezTo>
                    <a:pt x="55" y="314"/>
                    <a:pt x="56" y="313"/>
                    <a:pt x="57" y="313"/>
                  </a:cubicBezTo>
                  <a:cubicBezTo>
                    <a:pt x="58" y="313"/>
                    <a:pt x="59" y="314"/>
                    <a:pt x="59" y="314"/>
                  </a:cubicBezTo>
                  <a:cubicBezTo>
                    <a:pt x="60" y="314"/>
                    <a:pt x="60" y="314"/>
                    <a:pt x="60" y="314"/>
                  </a:cubicBezTo>
                  <a:cubicBezTo>
                    <a:pt x="60" y="314"/>
                    <a:pt x="60" y="314"/>
                    <a:pt x="60" y="314"/>
                  </a:cubicBezTo>
                  <a:cubicBezTo>
                    <a:pt x="61" y="315"/>
                    <a:pt x="61" y="315"/>
                    <a:pt x="61" y="315"/>
                  </a:cubicBezTo>
                  <a:cubicBezTo>
                    <a:pt x="61" y="314"/>
                    <a:pt x="60" y="314"/>
                    <a:pt x="60" y="313"/>
                  </a:cubicBezTo>
                  <a:cubicBezTo>
                    <a:pt x="60" y="312"/>
                    <a:pt x="59" y="311"/>
                    <a:pt x="61" y="310"/>
                  </a:cubicBezTo>
                  <a:cubicBezTo>
                    <a:pt x="61" y="310"/>
                    <a:pt x="61" y="310"/>
                    <a:pt x="61" y="310"/>
                  </a:cubicBezTo>
                  <a:cubicBezTo>
                    <a:pt x="61" y="309"/>
                    <a:pt x="62" y="308"/>
                    <a:pt x="63" y="307"/>
                  </a:cubicBezTo>
                  <a:cubicBezTo>
                    <a:pt x="63" y="307"/>
                    <a:pt x="64" y="307"/>
                    <a:pt x="64" y="307"/>
                  </a:cubicBezTo>
                  <a:cubicBezTo>
                    <a:pt x="64" y="306"/>
                    <a:pt x="64" y="306"/>
                    <a:pt x="64" y="306"/>
                  </a:cubicBezTo>
                  <a:cubicBezTo>
                    <a:pt x="70" y="305"/>
                    <a:pt x="70" y="305"/>
                    <a:pt x="70" y="305"/>
                  </a:cubicBezTo>
                  <a:cubicBezTo>
                    <a:pt x="70" y="306"/>
                    <a:pt x="70" y="306"/>
                    <a:pt x="70" y="306"/>
                  </a:cubicBezTo>
                  <a:cubicBezTo>
                    <a:pt x="71" y="306"/>
                    <a:pt x="72" y="306"/>
                    <a:pt x="73" y="307"/>
                  </a:cubicBezTo>
                  <a:cubicBezTo>
                    <a:pt x="73" y="307"/>
                    <a:pt x="74" y="307"/>
                    <a:pt x="74" y="307"/>
                  </a:cubicBezTo>
                  <a:cubicBezTo>
                    <a:pt x="74" y="307"/>
                    <a:pt x="74" y="308"/>
                    <a:pt x="74" y="308"/>
                  </a:cubicBezTo>
                  <a:cubicBezTo>
                    <a:pt x="74" y="308"/>
                    <a:pt x="74" y="308"/>
                    <a:pt x="74" y="308"/>
                  </a:cubicBezTo>
                  <a:cubicBezTo>
                    <a:pt x="75" y="308"/>
                    <a:pt x="75" y="309"/>
                    <a:pt x="76" y="309"/>
                  </a:cubicBezTo>
                  <a:cubicBezTo>
                    <a:pt x="76" y="309"/>
                    <a:pt x="77" y="310"/>
                    <a:pt x="78" y="311"/>
                  </a:cubicBezTo>
                  <a:cubicBezTo>
                    <a:pt x="79" y="311"/>
                    <a:pt x="79" y="311"/>
                    <a:pt x="80" y="310"/>
                  </a:cubicBezTo>
                  <a:cubicBezTo>
                    <a:pt x="81" y="310"/>
                    <a:pt x="81" y="310"/>
                    <a:pt x="81" y="310"/>
                  </a:cubicBezTo>
                  <a:cubicBezTo>
                    <a:pt x="82" y="310"/>
                    <a:pt x="83" y="310"/>
                    <a:pt x="83" y="311"/>
                  </a:cubicBezTo>
                  <a:cubicBezTo>
                    <a:pt x="84" y="311"/>
                    <a:pt x="84" y="311"/>
                    <a:pt x="85" y="311"/>
                  </a:cubicBezTo>
                  <a:cubicBezTo>
                    <a:pt x="87" y="311"/>
                    <a:pt x="87" y="311"/>
                    <a:pt x="87" y="311"/>
                  </a:cubicBezTo>
                  <a:cubicBezTo>
                    <a:pt x="87" y="311"/>
                    <a:pt x="88" y="311"/>
                    <a:pt x="88" y="311"/>
                  </a:cubicBezTo>
                  <a:cubicBezTo>
                    <a:pt x="89" y="311"/>
                    <a:pt x="89" y="312"/>
                    <a:pt x="90" y="312"/>
                  </a:cubicBezTo>
                  <a:cubicBezTo>
                    <a:pt x="91" y="313"/>
                    <a:pt x="91" y="313"/>
                    <a:pt x="91" y="313"/>
                  </a:cubicBezTo>
                  <a:cubicBezTo>
                    <a:pt x="91" y="313"/>
                    <a:pt x="92" y="313"/>
                    <a:pt x="92" y="313"/>
                  </a:cubicBezTo>
                  <a:cubicBezTo>
                    <a:pt x="93" y="314"/>
                    <a:pt x="93" y="314"/>
                    <a:pt x="94" y="314"/>
                  </a:cubicBezTo>
                  <a:cubicBezTo>
                    <a:pt x="94" y="314"/>
                    <a:pt x="94" y="314"/>
                    <a:pt x="95" y="315"/>
                  </a:cubicBezTo>
                  <a:cubicBezTo>
                    <a:pt x="96" y="315"/>
                    <a:pt x="96" y="315"/>
                    <a:pt x="96" y="315"/>
                  </a:cubicBezTo>
                  <a:cubicBezTo>
                    <a:pt x="97" y="316"/>
                    <a:pt x="97" y="316"/>
                    <a:pt x="98" y="316"/>
                  </a:cubicBezTo>
                  <a:cubicBezTo>
                    <a:pt x="99" y="317"/>
                    <a:pt x="99" y="318"/>
                    <a:pt x="99" y="318"/>
                  </a:cubicBezTo>
                  <a:cubicBezTo>
                    <a:pt x="99" y="319"/>
                    <a:pt x="100" y="319"/>
                    <a:pt x="100" y="319"/>
                  </a:cubicBezTo>
                  <a:cubicBezTo>
                    <a:pt x="100" y="319"/>
                    <a:pt x="100" y="319"/>
                    <a:pt x="100" y="319"/>
                  </a:cubicBezTo>
                  <a:cubicBezTo>
                    <a:pt x="101" y="318"/>
                    <a:pt x="102" y="318"/>
                    <a:pt x="102" y="318"/>
                  </a:cubicBezTo>
                  <a:cubicBezTo>
                    <a:pt x="102" y="318"/>
                    <a:pt x="104" y="316"/>
                    <a:pt x="105" y="317"/>
                  </a:cubicBezTo>
                  <a:cubicBezTo>
                    <a:pt x="106" y="318"/>
                    <a:pt x="108" y="320"/>
                    <a:pt x="108" y="320"/>
                  </a:cubicBezTo>
                  <a:cubicBezTo>
                    <a:pt x="108" y="320"/>
                    <a:pt x="109" y="321"/>
                    <a:pt x="110" y="321"/>
                  </a:cubicBezTo>
                  <a:cubicBezTo>
                    <a:pt x="110" y="321"/>
                    <a:pt x="111" y="322"/>
                    <a:pt x="112" y="322"/>
                  </a:cubicBezTo>
                  <a:cubicBezTo>
                    <a:pt x="112" y="323"/>
                    <a:pt x="112" y="322"/>
                    <a:pt x="112" y="324"/>
                  </a:cubicBezTo>
                  <a:cubicBezTo>
                    <a:pt x="112" y="325"/>
                    <a:pt x="111" y="327"/>
                    <a:pt x="113" y="327"/>
                  </a:cubicBezTo>
                  <a:cubicBezTo>
                    <a:pt x="114" y="326"/>
                    <a:pt x="114" y="326"/>
                    <a:pt x="115" y="326"/>
                  </a:cubicBezTo>
                  <a:cubicBezTo>
                    <a:pt x="115" y="327"/>
                    <a:pt x="116" y="326"/>
                    <a:pt x="115" y="328"/>
                  </a:cubicBezTo>
                  <a:cubicBezTo>
                    <a:pt x="115" y="330"/>
                    <a:pt x="114" y="330"/>
                    <a:pt x="115" y="330"/>
                  </a:cubicBezTo>
                  <a:cubicBezTo>
                    <a:pt x="117" y="331"/>
                    <a:pt x="118" y="332"/>
                    <a:pt x="119" y="331"/>
                  </a:cubicBezTo>
                  <a:cubicBezTo>
                    <a:pt x="119" y="329"/>
                    <a:pt x="119" y="331"/>
                    <a:pt x="120" y="329"/>
                  </a:cubicBezTo>
                  <a:cubicBezTo>
                    <a:pt x="121" y="327"/>
                    <a:pt x="120" y="327"/>
                    <a:pt x="121" y="327"/>
                  </a:cubicBezTo>
                  <a:cubicBezTo>
                    <a:pt x="122" y="326"/>
                    <a:pt x="121" y="326"/>
                    <a:pt x="122" y="325"/>
                  </a:cubicBezTo>
                  <a:cubicBezTo>
                    <a:pt x="122" y="323"/>
                    <a:pt x="123" y="324"/>
                    <a:pt x="122" y="323"/>
                  </a:cubicBezTo>
                  <a:cubicBezTo>
                    <a:pt x="122" y="323"/>
                    <a:pt x="122" y="322"/>
                    <a:pt x="122" y="321"/>
                  </a:cubicBezTo>
                  <a:cubicBezTo>
                    <a:pt x="121" y="320"/>
                    <a:pt x="120" y="320"/>
                    <a:pt x="122" y="320"/>
                  </a:cubicBezTo>
                  <a:cubicBezTo>
                    <a:pt x="124" y="319"/>
                    <a:pt x="124" y="319"/>
                    <a:pt x="124" y="319"/>
                  </a:cubicBezTo>
                  <a:cubicBezTo>
                    <a:pt x="125" y="318"/>
                    <a:pt x="127" y="318"/>
                    <a:pt x="127" y="318"/>
                  </a:cubicBezTo>
                  <a:cubicBezTo>
                    <a:pt x="127" y="318"/>
                    <a:pt x="129" y="318"/>
                    <a:pt x="130" y="318"/>
                  </a:cubicBezTo>
                  <a:cubicBezTo>
                    <a:pt x="130" y="318"/>
                    <a:pt x="133" y="318"/>
                    <a:pt x="133" y="319"/>
                  </a:cubicBezTo>
                  <a:cubicBezTo>
                    <a:pt x="133" y="320"/>
                    <a:pt x="135" y="320"/>
                    <a:pt x="135" y="320"/>
                  </a:cubicBezTo>
                  <a:cubicBezTo>
                    <a:pt x="135" y="320"/>
                    <a:pt x="137" y="320"/>
                    <a:pt x="137" y="322"/>
                  </a:cubicBezTo>
                  <a:cubicBezTo>
                    <a:pt x="138" y="323"/>
                    <a:pt x="138" y="325"/>
                    <a:pt x="138" y="325"/>
                  </a:cubicBezTo>
                  <a:cubicBezTo>
                    <a:pt x="139" y="325"/>
                    <a:pt x="140" y="326"/>
                    <a:pt x="141" y="325"/>
                  </a:cubicBezTo>
                  <a:cubicBezTo>
                    <a:pt x="142" y="324"/>
                    <a:pt x="142" y="324"/>
                    <a:pt x="143" y="324"/>
                  </a:cubicBezTo>
                  <a:cubicBezTo>
                    <a:pt x="144" y="323"/>
                    <a:pt x="142" y="323"/>
                    <a:pt x="145" y="323"/>
                  </a:cubicBezTo>
                  <a:cubicBezTo>
                    <a:pt x="148" y="324"/>
                    <a:pt x="147" y="324"/>
                    <a:pt x="148" y="323"/>
                  </a:cubicBezTo>
                  <a:cubicBezTo>
                    <a:pt x="150" y="321"/>
                    <a:pt x="150" y="321"/>
                    <a:pt x="151" y="320"/>
                  </a:cubicBezTo>
                  <a:cubicBezTo>
                    <a:pt x="152" y="320"/>
                    <a:pt x="152" y="319"/>
                    <a:pt x="152" y="319"/>
                  </a:cubicBezTo>
                  <a:cubicBezTo>
                    <a:pt x="153" y="319"/>
                    <a:pt x="155" y="319"/>
                    <a:pt x="156" y="319"/>
                  </a:cubicBezTo>
                  <a:cubicBezTo>
                    <a:pt x="157" y="318"/>
                    <a:pt x="157" y="316"/>
                    <a:pt x="158" y="316"/>
                  </a:cubicBezTo>
                  <a:cubicBezTo>
                    <a:pt x="158" y="316"/>
                    <a:pt x="161" y="316"/>
                    <a:pt x="162" y="316"/>
                  </a:cubicBezTo>
                  <a:cubicBezTo>
                    <a:pt x="163" y="316"/>
                    <a:pt x="165" y="316"/>
                    <a:pt x="165" y="316"/>
                  </a:cubicBezTo>
                  <a:cubicBezTo>
                    <a:pt x="165" y="315"/>
                    <a:pt x="165" y="314"/>
                    <a:pt x="167" y="314"/>
                  </a:cubicBezTo>
                  <a:cubicBezTo>
                    <a:pt x="168" y="314"/>
                    <a:pt x="169" y="314"/>
                    <a:pt x="170" y="314"/>
                  </a:cubicBezTo>
                  <a:cubicBezTo>
                    <a:pt x="172" y="314"/>
                    <a:pt x="172" y="314"/>
                    <a:pt x="172" y="314"/>
                  </a:cubicBezTo>
                  <a:cubicBezTo>
                    <a:pt x="173" y="314"/>
                    <a:pt x="174" y="316"/>
                    <a:pt x="174" y="313"/>
                  </a:cubicBezTo>
                  <a:cubicBezTo>
                    <a:pt x="173" y="311"/>
                    <a:pt x="173" y="311"/>
                    <a:pt x="174" y="310"/>
                  </a:cubicBezTo>
                  <a:cubicBezTo>
                    <a:pt x="175" y="310"/>
                    <a:pt x="177" y="310"/>
                    <a:pt x="177" y="310"/>
                  </a:cubicBezTo>
                  <a:cubicBezTo>
                    <a:pt x="177" y="310"/>
                    <a:pt x="181" y="311"/>
                    <a:pt x="181" y="311"/>
                  </a:cubicBezTo>
                  <a:cubicBezTo>
                    <a:pt x="181" y="311"/>
                    <a:pt x="182" y="312"/>
                    <a:pt x="183" y="312"/>
                  </a:cubicBezTo>
                  <a:cubicBezTo>
                    <a:pt x="183" y="312"/>
                    <a:pt x="184" y="313"/>
                    <a:pt x="185" y="313"/>
                  </a:cubicBezTo>
                  <a:cubicBezTo>
                    <a:pt x="185" y="312"/>
                    <a:pt x="186" y="311"/>
                    <a:pt x="186" y="311"/>
                  </a:cubicBezTo>
                  <a:cubicBezTo>
                    <a:pt x="187" y="311"/>
                    <a:pt x="190" y="310"/>
                    <a:pt x="190" y="311"/>
                  </a:cubicBezTo>
                  <a:cubicBezTo>
                    <a:pt x="190" y="311"/>
                    <a:pt x="193" y="312"/>
                    <a:pt x="193" y="312"/>
                  </a:cubicBezTo>
                  <a:cubicBezTo>
                    <a:pt x="192" y="312"/>
                    <a:pt x="192" y="313"/>
                    <a:pt x="192" y="314"/>
                  </a:cubicBezTo>
                  <a:cubicBezTo>
                    <a:pt x="192" y="315"/>
                    <a:pt x="192" y="316"/>
                    <a:pt x="192" y="316"/>
                  </a:cubicBezTo>
                  <a:cubicBezTo>
                    <a:pt x="193" y="317"/>
                    <a:pt x="194" y="318"/>
                    <a:pt x="194" y="318"/>
                  </a:cubicBezTo>
                  <a:cubicBezTo>
                    <a:pt x="195" y="318"/>
                    <a:pt x="198" y="319"/>
                    <a:pt x="198" y="319"/>
                  </a:cubicBezTo>
                  <a:cubicBezTo>
                    <a:pt x="198" y="319"/>
                    <a:pt x="199" y="321"/>
                    <a:pt x="199" y="317"/>
                  </a:cubicBezTo>
                  <a:cubicBezTo>
                    <a:pt x="199" y="314"/>
                    <a:pt x="199" y="313"/>
                    <a:pt x="199" y="313"/>
                  </a:cubicBezTo>
                  <a:cubicBezTo>
                    <a:pt x="199" y="310"/>
                    <a:pt x="199" y="310"/>
                    <a:pt x="199" y="310"/>
                  </a:cubicBezTo>
                  <a:cubicBezTo>
                    <a:pt x="199" y="310"/>
                    <a:pt x="199" y="309"/>
                    <a:pt x="199" y="309"/>
                  </a:cubicBezTo>
                  <a:cubicBezTo>
                    <a:pt x="198" y="309"/>
                    <a:pt x="198" y="309"/>
                    <a:pt x="198" y="309"/>
                  </a:cubicBezTo>
                  <a:cubicBezTo>
                    <a:pt x="197" y="309"/>
                    <a:pt x="194" y="309"/>
                    <a:pt x="194" y="308"/>
                  </a:cubicBezTo>
                  <a:cubicBezTo>
                    <a:pt x="193" y="308"/>
                    <a:pt x="193" y="307"/>
                    <a:pt x="193" y="306"/>
                  </a:cubicBezTo>
                  <a:cubicBezTo>
                    <a:pt x="193" y="306"/>
                    <a:pt x="195" y="304"/>
                    <a:pt x="195" y="304"/>
                  </a:cubicBezTo>
                  <a:cubicBezTo>
                    <a:pt x="195" y="302"/>
                    <a:pt x="195" y="302"/>
                    <a:pt x="195" y="302"/>
                  </a:cubicBezTo>
                  <a:cubicBezTo>
                    <a:pt x="193" y="298"/>
                    <a:pt x="193" y="298"/>
                    <a:pt x="193" y="298"/>
                  </a:cubicBezTo>
                  <a:cubicBezTo>
                    <a:pt x="190" y="296"/>
                    <a:pt x="190" y="296"/>
                    <a:pt x="190" y="296"/>
                  </a:cubicBezTo>
                  <a:cubicBezTo>
                    <a:pt x="189" y="292"/>
                    <a:pt x="189" y="292"/>
                    <a:pt x="189" y="292"/>
                  </a:cubicBezTo>
                  <a:cubicBezTo>
                    <a:pt x="189" y="292"/>
                    <a:pt x="189" y="292"/>
                    <a:pt x="189" y="292"/>
                  </a:cubicBezTo>
                  <a:cubicBezTo>
                    <a:pt x="189" y="291"/>
                    <a:pt x="189" y="291"/>
                    <a:pt x="189" y="291"/>
                  </a:cubicBezTo>
                  <a:cubicBezTo>
                    <a:pt x="191" y="290"/>
                    <a:pt x="191" y="290"/>
                    <a:pt x="191" y="290"/>
                  </a:cubicBezTo>
                  <a:cubicBezTo>
                    <a:pt x="193" y="289"/>
                    <a:pt x="195" y="287"/>
                    <a:pt x="195" y="287"/>
                  </a:cubicBezTo>
                  <a:cubicBezTo>
                    <a:pt x="195" y="287"/>
                    <a:pt x="195" y="287"/>
                    <a:pt x="196" y="286"/>
                  </a:cubicBezTo>
                  <a:cubicBezTo>
                    <a:pt x="197" y="285"/>
                    <a:pt x="197" y="285"/>
                    <a:pt x="197" y="285"/>
                  </a:cubicBezTo>
                  <a:cubicBezTo>
                    <a:pt x="197" y="285"/>
                    <a:pt x="201" y="283"/>
                    <a:pt x="202" y="283"/>
                  </a:cubicBezTo>
                  <a:cubicBezTo>
                    <a:pt x="202" y="283"/>
                    <a:pt x="202" y="283"/>
                    <a:pt x="203" y="283"/>
                  </a:cubicBezTo>
                  <a:cubicBezTo>
                    <a:pt x="203" y="283"/>
                    <a:pt x="203" y="283"/>
                    <a:pt x="203" y="283"/>
                  </a:cubicBezTo>
                  <a:cubicBezTo>
                    <a:pt x="207" y="279"/>
                    <a:pt x="207" y="279"/>
                    <a:pt x="207" y="279"/>
                  </a:cubicBezTo>
                  <a:cubicBezTo>
                    <a:pt x="207" y="275"/>
                    <a:pt x="207" y="275"/>
                    <a:pt x="207" y="275"/>
                  </a:cubicBezTo>
                  <a:cubicBezTo>
                    <a:pt x="208" y="273"/>
                    <a:pt x="208" y="273"/>
                    <a:pt x="208" y="273"/>
                  </a:cubicBezTo>
                  <a:cubicBezTo>
                    <a:pt x="208" y="272"/>
                    <a:pt x="208" y="271"/>
                    <a:pt x="208" y="271"/>
                  </a:cubicBezTo>
                  <a:cubicBezTo>
                    <a:pt x="213" y="270"/>
                    <a:pt x="213" y="270"/>
                    <a:pt x="213" y="270"/>
                  </a:cubicBezTo>
                  <a:cubicBezTo>
                    <a:pt x="213" y="270"/>
                    <a:pt x="213" y="271"/>
                    <a:pt x="214" y="272"/>
                  </a:cubicBezTo>
                  <a:cubicBezTo>
                    <a:pt x="215" y="272"/>
                    <a:pt x="216" y="271"/>
                    <a:pt x="216" y="271"/>
                  </a:cubicBezTo>
                  <a:cubicBezTo>
                    <a:pt x="217" y="271"/>
                    <a:pt x="218" y="270"/>
                    <a:pt x="218" y="270"/>
                  </a:cubicBezTo>
                  <a:cubicBezTo>
                    <a:pt x="218" y="267"/>
                    <a:pt x="218" y="267"/>
                    <a:pt x="218" y="267"/>
                  </a:cubicBezTo>
                  <a:cubicBezTo>
                    <a:pt x="217" y="263"/>
                    <a:pt x="217" y="263"/>
                    <a:pt x="217" y="263"/>
                  </a:cubicBezTo>
                  <a:cubicBezTo>
                    <a:pt x="217" y="261"/>
                    <a:pt x="217" y="261"/>
                    <a:pt x="217" y="261"/>
                  </a:cubicBezTo>
                  <a:cubicBezTo>
                    <a:pt x="217" y="261"/>
                    <a:pt x="217" y="261"/>
                    <a:pt x="217" y="261"/>
                  </a:cubicBezTo>
                  <a:cubicBezTo>
                    <a:pt x="217" y="261"/>
                    <a:pt x="217" y="260"/>
                    <a:pt x="217" y="260"/>
                  </a:cubicBezTo>
                  <a:cubicBezTo>
                    <a:pt x="215" y="258"/>
                    <a:pt x="216" y="259"/>
                    <a:pt x="215" y="258"/>
                  </a:cubicBezTo>
                  <a:cubicBezTo>
                    <a:pt x="213" y="257"/>
                    <a:pt x="212" y="257"/>
                    <a:pt x="211" y="256"/>
                  </a:cubicBezTo>
                  <a:cubicBezTo>
                    <a:pt x="211" y="255"/>
                    <a:pt x="212" y="254"/>
                    <a:pt x="210" y="254"/>
                  </a:cubicBezTo>
                  <a:cubicBezTo>
                    <a:pt x="208" y="254"/>
                    <a:pt x="207" y="255"/>
                    <a:pt x="206" y="254"/>
                  </a:cubicBezTo>
                  <a:cubicBezTo>
                    <a:pt x="205" y="253"/>
                    <a:pt x="205" y="253"/>
                    <a:pt x="204" y="252"/>
                  </a:cubicBezTo>
                  <a:cubicBezTo>
                    <a:pt x="204" y="250"/>
                    <a:pt x="204" y="248"/>
                    <a:pt x="203" y="248"/>
                  </a:cubicBezTo>
                  <a:cubicBezTo>
                    <a:pt x="201" y="248"/>
                    <a:pt x="200" y="248"/>
                    <a:pt x="200" y="248"/>
                  </a:cubicBezTo>
                  <a:cubicBezTo>
                    <a:pt x="200" y="248"/>
                    <a:pt x="199" y="248"/>
                    <a:pt x="199" y="246"/>
                  </a:cubicBezTo>
                  <a:cubicBezTo>
                    <a:pt x="198" y="244"/>
                    <a:pt x="200" y="245"/>
                    <a:pt x="197" y="243"/>
                  </a:cubicBezTo>
                  <a:cubicBezTo>
                    <a:pt x="195" y="240"/>
                    <a:pt x="196" y="241"/>
                    <a:pt x="194" y="239"/>
                  </a:cubicBezTo>
                  <a:cubicBezTo>
                    <a:pt x="192" y="238"/>
                    <a:pt x="187" y="239"/>
                    <a:pt x="187" y="239"/>
                  </a:cubicBezTo>
                  <a:cubicBezTo>
                    <a:pt x="187" y="239"/>
                    <a:pt x="187" y="238"/>
                    <a:pt x="186" y="237"/>
                  </a:cubicBezTo>
                  <a:cubicBezTo>
                    <a:pt x="184" y="235"/>
                    <a:pt x="185" y="236"/>
                    <a:pt x="183" y="234"/>
                  </a:cubicBezTo>
                  <a:cubicBezTo>
                    <a:pt x="181" y="232"/>
                    <a:pt x="182" y="233"/>
                    <a:pt x="181" y="231"/>
                  </a:cubicBezTo>
                  <a:cubicBezTo>
                    <a:pt x="181" y="228"/>
                    <a:pt x="181" y="227"/>
                    <a:pt x="180" y="226"/>
                  </a:cubicBezTo>
                  <a:cubicBezTo>
                    <a:pt x="178" y="224"/>
                    <a:pt x="177" y="223"/>
                    <a:pt x="177" y="223"/>
                  </a:cubicBezTo>
                  <a:cubicBezTo>
                    <a:pt x="177" y="223"/>
                    <a:pt x="176" y="220"/>
                    <a:pt x="177" y="219"/>
                  </a:cubicBezTo>
                  <a:cubicBezTo>
                    <a:pt x="179" y="217"/>
                    <a:pt x="179" y="216"/>
                    <a:pt x="179" y="216"/>
                  </a:cubicBezTo>
                  <a:cubicBezTo>
                    <a:pt x="179" y="215"/>
                    <a:pt x="180" y="213"/>
                    <a:pt x="178" y="211"/>
                  </a:cubicBezTo>
                  <a:cubicBezTo>
                    <a:pt x="175" y="210"/>
                    <a:pt x="175" y="209"/>
                    <a:pt x="173" y="208"/>
                  </a:cubicBezTo>
                  <a:cubicBezTo>
                    <a:pt x="171" y="207"/>
                    <a:pt x="170" y="207"/>
                    <a:pt x="169" y="206"/>
                  </a:cubicBezTo>
                  <a:cubicBezTo>
                    <a:pt x="169" y="205"/>
                    <a:pt x="167" y="200"/>
                    <a:pt x="167" y="200"/>
                  </a:cubicBezTo>
                  <a:cubicBezTo>
                    <a:pt x="166" y="198"/>
                    <a:pt x="166" y="198"/>
                    <a:pt x="166" y="198"/>
                  </a:cubicBezTo>
                  <a:cubicBezTo>
                    <a:pt x="170" y="198"/>
                    <a:pt x="170" y="198"/>
                    <a:pt x="170" y="198"/>
                  </a:cubicBezTo>
                  <a:cubicBezTo>
                    <a:pt x="171" y="200"/>
                    <a:pt x="171" y="200"/>
                    <a:pt x="171" y="200"/>
                  </a:cubicBezTo>
                  <a:cubicBezTo>
                    <a:pt x="172" y="203"/>
                    <a:pt x="172" y="203"/>
                    <a:pt x="172" y="203"/>
                  </a:cubicBezTo>
                  <a:cubicBezTo>
                    <a:pt x="174" y="198"/>
                    <a:pt x="174" y="198"/>
                    <a:pt x="174" y="198"/>
                  </a:cubicBezTo>
                  <a:cubicBezTo>
                    <a:pt x="178" y="195"/>
                    <a:pt x="178" y="195"/>
                    <a:pt x="178" y="195"/>
                  </a:cubicBezTo>
                  <a:cubicBezTo>
                    <a:pt x="178" y="195"/>
                    <a:pt x="177" y="195"/>
                    <a:pt x="180" y="194"/>
                  </a:cubicBezTo>
                  <a:cubicBezTo>
                    <a:pt x="182" y="194"/>
                    <a:pt x="184" y="193"/>
                    <a:pt x="185" y="193"/>
                  </a:cubicBezTo>
                  <a:cubicBezTo>
                    <a:pt x="186" y="193"/>
                    <a:pt x="188" y="194"/>
                    <a:pt x="190" y="193"/>
                  </a:cubicBezTo>
                  <a:cubicBezTo>
                    <a:pt x="191" y="193"/>
                    <a:pt x="192" y="193"/>
                    <a:pt x="192" y="191"/>
                  </a:cubicBezTo>
                  <a:cubicBezTo>
                    <a:pt x="192" y="190"/>
                    <a:pt x="191" y="189"/>
                    <a:pt x="194" y="188"/>
                  </a:cubicBezTo>
                  <a:cubicBezTo>
                    <a:pt x="197" y="187"/>
                    <a:pt x="197" y="186"/>
                    <a:pt x="197" y="186"/>
                  </a:cubicBezTo>
                  <a:cubicBezTo>
                    <a:pt x="200" y="184"/>
                    <a:pt x="200" y="184"/>
                    <a:pt x="200" y="184"/>
                  </a:cubicBezTo>
                  <a:cubicBezTo>
                    <a:pt x="202" y="184"/>
                    <a:pt x="206" y="180"/>
                    <a:pt x="206" y="180"/>
                  </a:cubicBezTo>
                  <a:cubicBezTo>
                    <a:pt x="211" y="178"/>
                    <a:pt x="211" y="178"/>
                    <a:pt x="211" y="178"/>
                  </a:cubicBezTo>
                  <a:cubicBezTo>
                    <a:pt x="213" y="177"/>
                    <a:pt x="213" y="177"/>
                    <a:pt x="213" y="177"/>
                  </a:cubicBezTo>
                  <a:cubicBezTo>
                    <a:pt x="214" y="173"/>
                    <a:pt x="214" y="173"/>
                    <a:pt x="214" y="173"/>
                  </a:cubicBezTo>
                  <a:cubicBezTo>
                    <a:pt x="214" y="173"/>
                    <a:pt x="213" y="172"/>
                    <a:pt x="216" y="172"/>
                  </a:cubicBezTo>
                  <a:cubicBezTo>
                    <a:pt x="218" y="172"/>
                    <a:pt x="226" y="170"/>
                    <a:pt x="226" y="170"/>
                  </a:cubicBezTo>
                  <a:cubicBezTo>
                    <a:pt x="227" y="168"/>
                    <a:pt x="227" y="168"/>
                    <a:pt x="227" y="168"/>
                  </a:cubicBezTo>
                  <a:cubicBezTo>
                    <a:pt x="224" y="166"/>
                    <a:pt x="224" y="166"/>
                    <a:pt x="224" y="166"/>
                  </a:cubicBezTo>
                  <a:cubicBezTo>
                    <a:pt x="224" y="166"/>
                    <a:pt x="225" y="163"/>
                    <a:pt x="225" y="163"/>
                  </a:cubicBezTo>
                  <a:cubicBezTo>
                    <a:pt x="226" y="163"/>
                    <a:pt x="229" y="162"/>
                    <a:pt x="230" y="162"/>
                  </a:cubicBezTo>
                  <a:cubicBezTo>
                    <a:pt x="232" y="163"/>
                    <a:pt x="234" y="164"/>
                    <a:pt x="234" y="165"/>
                  </a:cubicBezTo>
                  <a:cubicBezTo>
                    <a:pt x="234" y="166"/>
                    <a:pt x="235" y="165"/>
                    <a:pt x="235" y="166"/>
                  </a:cubicBezTo>
                  <a:cubicBezTo>
                    <a:pt x="234" y="168"/>
                    <a:pt x="235" y="169"/>
                    <a:pt x="235" y="169"/>
                  </a:cubicBezTo>
                  <a:cubicBezTo>
                    <a:pt x="235" y="169"/>
                    <a:pt x="235" y="170"/>
                    <a:pt x="236" y="171"/>
                  </a:cubicBezTo>
                  <a:cubicBezTo>
                    <a:pt x="237" y="171"/>
                    <a:pt x="238" y="171"/>
                    <a:pt x="238" y="171"/>
                  </a:cubicBezTo>
                  <a:cubicBezTo>
                    <a:pt x="238" y="171"/>
                    <a:pt x="239" y="171"/>
                    <a:pt x="239" y="171"/>
                  </a:cubicBezTo>
                  <a:cubicBezTo>
                    <a:pt x="241" y="168"/>
                    <a:pt x="241" y="168"/>
                    <a:pt x="241" y="168"/>
                  </a:cubicBezTo>
                  <a:cubicBezTo>
                    <a:pt x="242" y="167"/>
                    <a:pt x="243" y="165"/>
                    <a:pt x="243" y="165"/>
                  </a:cubicBezTo>
                  <a:cubicBezTo>
                    <a:pt x="243" y="165"/>
                    <a:pt x="244" y="164"/>
                    <a:pt x="244" y="164"/>
                  </a:cubicBezTo>
                  <a:cubicBezTo>
                    <a:pt x="244" y="164"/>
                    <a:pt x="244" y="162"/>
                    <a:pt x="244" y="161"/>
                  </a:cubicBezTo>
                  <a:cubicBezTo>
                    <a:pt x="244" y="161"/>
                    <a:pt x="242" y="160"/>
                    <a:pt x="244" y="158"/>
                  </a:cubicBezTo>
                  <a:cubicBezTo>
                    <a:pt x="247" y="156"/>
                    <a:pt x="247" y="154"/>
                    <a:pt x="247" y="154"/>
                  </a:cubicBezTo>
                  <a:close/>
                </a:path>
              </a:pathLst>
            </a:custGeom>
            <a:solidFill>
              <a:schemeClr val="accent1"/>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 name="Freeform 72"/>
            <p:cNvSpPr>
              <a:spLocks noEditPoints="1"/>
            </p:cNvSpPr>
            <p:nvPr/>
          </p:nvSpPr>
          <p:spPr bwMode="auto">
            <a:xfrm>
              <a:off x="4202262" y="4105828"/>
              <a:ext cx="1094663" cy="1041623"/>
            </a:xfrm>
            <a:custGeom>
              <a:avLst/>
              <a:gdLst>
                <a:gd name="T0" fmla="*/ 335 w 378"/>
                <a:gd name="T1" fmla="*/ 89 h 381"/>
                <a:gd name="T2" fmla="*/ 321 w 378"/>
                <a:gd name="T3" fmla="*/ 75 h 381"/>
                <a:gd name="T4" fmla="*/ 314 w 378"/>
                <a:gd name="T5" fmla="*/ 76 h 381"/>
                <a:gd name="T6" fmla="*/ 311 w 378"/>
                <a:gd name="T7" fmla="*/ 72 h 381"/>
                <a:gd name="T8" fmla="*/ 300 w 378"/>
                <a:gd name="T9" fmla="*/ 69 h 381"/>
                <a:gd name="T10" fmla="*/ 288 w 378"/>
                <a:gd name="T11" fmla="*/ 61 h 381"/>
                <a:gd name="T12" fmla="*/ 284 w 378"/>
                <a:gd name="T13" fmla="*/ 44 h 381"/>
                <a:gd name="T14" fmla="*/ 269 w 378"/>
                <a:gd name="T15" fmla="*/ 52 h 381"/>
                <a:gd name="T16" fmla="*/ 268 w 378"/>
                <a:gd name="T17" fmla="*/ 39 h 381"/>
                <a:gd name="T18" fmla="*/ 253 w 378"/>
                <a:gd name="T19" fmla="*/ 34 h 381"/>
                <a:gd name="T20" fmla="*/ 243 w 378"/>
                <a:gd name="T21" fmla="*/ 23 h 381"/>
                <a:gd name="T22" fmla="*/ 229 w 378"/>
                <a:gd name="T23" fmla="*/ 14 h 381"/>
                <a:gd name="T24" fmla="*/ 227 w 378"/>
                <a:gd name="T25" fmla="*/ 0 h 381"/>
                <a:gd name="T26" fmla="*/ 190 w 378"/>
                <a:gd name="T27" fmla="*/ 37 h 381"/>
                <a:gd name="T28" fmla="*/ 138 w 378"/>
                <a:gd name="T29" fmla="*/ 70 h 381"/>
                <a:gd name="T30" fmla="*/ 99 w 378"/>
                <a:gd name="T31" fmla="*/ 48 h 381"/>
                <a:gd name="T32" fmla="*/ 97 w 378"/>
                <a:gd name="T33" fmla="*/ 67 h 381"/>
                <a:gd name="T34" fmla="*/ 71 w 378"/>
                <a:gd name="T35" fmla="*/ 89 h 381"/>
                <a:gd name="T36" fmla="*/ 37 w 378"/>
                <a:gd name="T37" fmla="*/ 79 h 381"/>
                <a:gd name="T38" fmla="*/ 3 w 378"/>
                <a:gd name="T39" fmla="*/ 90 h 381"/>
                <a:gd name="T40" fmla="*/ 4 w 378"/>
                <a:gd name="T41" fmla="*/ 106 h 381"/>
                <a:gd name="T42" fmla="*/ 28 w 378"/>
                <a:gd name="T43" fmla="*/ 121 h 381"/>
                <a:gd name="T44" fmla="*/ 65 w 378"/>
                <a:gd name="T45" fmla="*/ 138 h 381"/>
                <a:gd name="T46" fmla="*/ 72 w 378"/>
                <a:gd name="T47" fmla="*/ 162 h 381"/>
                <a:gd name="T48" fmla="*/ 75 w 378"/>
                <a:gd name="T49" fmla="*/ 181 h 381"/>
                <a:gd name="T50" fmla="*/ 83 w 378"/>
                <a:gd name="T51" fmla="*/ 195 h 381"/>
                <a:gd name="T52" fmla="*/ 89 w 378"/>
                <a:gd name="T53" fmla="*/ 208 h 381"/>
                <a:gd name="T54" fmla="*/ 93 w 378"/>
                <a:gd name="T55" fmla="*/ 224 h 381"/>
                <a:gd name="T56" fmla="*/ 89 w 378"/>
                <a:gd name="T57" fmla="*/ 232 h 381"/>
                <a:gd name="T58" fmla="*/ 74 w 378"/>
                <a:gd name="T59" fmla="*/ 297 h 381"/>
                <a:gd name="T60" fmla="*/ 108 w 378"/>
                <a:gd name="T61" fmla="*/ 354 h 381"/>
                <a:gd name="T62" fmla="*/ 154 w 378"/>
                <a:gd name="T63" fmla="*/ 366 h 381"/>
                <a:gd name="T64" fmla="*/ 154 w 378"/>
                <a:gd name="T65" fmla="*/ 370 h 381"/>
                <a:gd name="T66" fmla="*/ 158 w 378"/>
                <a:gd name="T67" fmla="*/ 371 h 381"/>
                <a:gd name="T68" fmla="*/ 209 w 378"/>
                <a:gd name="T69" fmla="*/ 375 h 381"/>
                <a:gd name="T70" fmla="*/ 216 w 378"/>
                <a:gd name="T71" fmla="*/ 341 h 381"/>
                <a:gd name="T72" fmla="*/ 256 w 378"/>
                <a:gd name="T73" fmla="*/ 335 h 381"/>
                <a:gd name="T74" fmla="*/ 298 w 378"/>
                <a:gd name="T75" fmla="*/ 351 h 381"/>
                <a:gd name="T76" fmla="*/ 339 w 378"/>
                <a:gd name="T77" fmla="*/ 332 h 381"/>
                <a:gd name="T78" fmla="*/ 347 w 378"/>
                <a:gd name="T79" fmla="*/ 327 h 381"/>
                <a:gd name="T80" fmla="*/ 349 w 378"/>
                <a:gd name="T81" fmla="*/ 327 h 381"/>
                <a:gd name="T82" fmla="*/ 350 w 378"/>
                <a:gd name="T83" fmla="*/ 326 h 381"/>
                <a:gd name="T84" fmla="*/ 351 w 378"/>
                <a:gd name="T85" fmla="*/ 326 h 381"/>
                <a:gd name="T86" fmla="*/ 349 w 378"/>
                <a:gd name="T87" fmla="*/ 310 h 381"/>
                <a:gd name="T88" fmla="*/ 328 w 378"/>
                <a:gd name="T89" fmla="*/ 271 h 381"/>
                <a:gd name="T90" fmla="*/ 332 w 378"/>
                <a:gd name="T91" fmla="*/ 238 h 381"/>
                <a:gd name="T92" fmla="*/ 336 w 378"/>
                <a:gd name="T93" fmla="*/ 224 h 381"/>
                <a:gd name="T94" fmla="*/ 334 w 378"/>
                <a:gd name="T95" fmla="*/ 213 h 381"/>
                <a:gd name="T96" fmla="*/ 318 w 378"/>
                <a:gd name="T97" fmla="*/ 212 h 381"/>
                <a:gd name="T98" fmla="*/ 313 w 378"/>
                <a:gd name="T99" fmla="*/ 223 h 381"/>
                <a:gd name="T100" fmla="*/ 313 w 378"/>
                <a:gd name="T101" fmla="*/ 218 h 381"/>
                <a:gd name="T102" fmla="*/ 313 w 378"/>
                <a:gd name="T103" fmla="*/ 206 h 381"/>
                <a:gd name="T104" fmla="*/ 323 w 378"/>
                <a:gd name="T105" fmla="*/ 195 h 381"/>
                <a:gd name="T106" fmla="*/ 328 w 378"/>
                <a:gd name="T107" fmla="*/ 187 h 381"/>
                <a:gd name="T108" fmla="*/ 335 w 378"/>
                <a:gd name="T109" fmla="*/ 179 h 381"/>
                <a:gd name="T110" fmla="*/ 342 w 378"/>
                <a:gd name="T111" fmla="*/ 169 h 381"/>
                <a:gd name="T112" fmla="*/ 341 w 378"/>
                <a:gd name="T113" fmla="*/ 166 h 381"/>
                <a:gd name="T114" fmla="*/ 349 w 378"/>
                <a:gd name="T115" fmla="*/ 167 h 381"/>
                <a:gd name="T116" fmla="*/ 356 w 378"/>
                <a:gd name="T117" fmla="*/ 162 h 381"/>
                <a:gd name="T118" fmla="*/ 357 w 378"/>
                <a:gd name="T119" fmla="*/ 151 h 381"/>
                <a:gd name="T120" fmla="*/ 368 w 378"/>
                <a:gd name="T121" fmla="*/ 97 h 381"/>
                <a:gd name="T122" fmla="*/ 158 w 378"/>
                <a:gd name="T123" fmla="*/ 371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8" h="381">
                  <a:moveTo>
                    <a:pt x="362" y="97"/>
                  </a:moveTo>
                  <a:cubicBezTo>
                    <a:pt x="359" y="95"/>
                    <a:pt x="359" y="95"/>
                    <a:pt x="359" y="95"/>
                  </a:cubicBezTo>
                  <a:cubicBezTo>
                    <a:pt x="356" y="91"/>
                    <a:pt x="356" y="91"/>
                    <a:pt x="356" y="91"/>
                  </a:cubicBezTo>
                  <a:cubicBezTo>
                    <a:pt x="353" y="92"/>
                    <a:pt x="353" y="92"/>
                    <a:pt x="353" y="92"/>
                  </a:cubicBezTo>
                  <a:cubicBezTo>
                    <a:pt x="351" y="94"/>
                    <a:pt x="351" y="94"/>
                    <a:pt x="351" y="94"/>
                  </a:cubicBezTo>
                  <a:cubicBezTo>
                    <a:pt x="345" y="92"/>
                    <a:pt x="345" y="92"/>
                    <a:pt x="345" y="92"/>
                  </a:cubicBezTo>
                  <a:cubicBezTo>
                    <a:pt x="341" y="89"/>
                    <a:pt x="341" y="89"/>
                    <a:pt x="341" y="89"/>
                  </a:cubicBezTo>
                  <a:cubicBezTo>
                    <a:pt x="338" y="91"/>
                    <a:pt x="338" y="91"/>
                    <a:pt x="338" y="91"/>
                  </a:cubicBezTo>
                  <a:cubicBezTo>
                    <a:pt x="335" y="89"/>
                    <a:pt x="335" y="89"/>
                    <a:pt x="335" y="89"/>
                  </a:cubicBezTo>
                  <a:cubicBezTo>
                    <a:pt x="333" y="85"/>
                    <a:pt x="333" y="85"/>
                    <a:pt x="333" y="85"/>
                  </a:cubicBezTo>
                  <a:cubicBezTo>
                    <a:pt x="332" y="81"/>
                    <a:pt x="332" y="81"/>
                    <a:pt x="332" y="81"/>
                  </a:cubicBezTo>
                  <a:cubicBezTo>
                    <a:pt x="328" y="77"/>
                    <a:pt x="328" y="77"/>
                    <a:pt x="328" y="77"/>
                  </a:cubicBezTo>
                  <a:cubicBezTo>
                    <a:pt x="326" y="78"/>
                    <a:pt x="326" y="78"/>
                    <a:pt x="326" y="78"/>
                  </a:cubicBezTo>
                  <a:cubicBezTo>
                    <a:pt x="326" y="78"/>
                    <a:pt x="326" y="78"/>
                    <a:pt x="326" y="78"/>
                  </a:cubicBezTo>
                  <a:cubicBezTo>
                    <a:pt x="325" y="78"/>
                    <a:pt x="323" y="77"/>
                    <a:pt x="323" y="77"/>
                  </a:cubicBezTo>
                  <a:cubicBezTo>
                    <a:pt x="323" y="76"/>
                    <a:pt x="323" y="76"/>
                    <a:pt x="323" y="76"/>
                  </a:cubicBezTo>
                  <a:cubicBezTo>
                    <a:pt x="322" y="75"/>
                    <a:pt x="322" y="75"/>
                    <a:pt x="322" y="75"/>
                  </a:cubicBezTo>
                  <a:cubicBezTo>
                    <a:pt x="321" y="75"/>
                    <a:pt x="321" y="75"/>
                    <a:pt x="321" y="75"/>
                  </a:cubicBezTo>
                  <a:cubicBezTo>
                    <a:pt x="319" y="76"/>
                    <a:pt x="319" y="76"/>
                    <a:pt x="319" y="76"/>
                  </a:cubicBezTo>
                  <a:cubicBezTo>
                    <a:pt x="319" y="77"/>
                    <a:pt x="319" y="77"/>
                    <a:pt x="319" y="77"/>
                  </a:cubicBezTo>
                  <a:cubicBezTo>
                    <a:pt x="318" y="77"/>
                    <a:pt x="318" y="77"/>
                    <a:pt x="318" y="77"/>
                  </a:cubicBezTo>
                  <a:cubicBezTo>
                    <a:pt x="317" y="78"/>
                    <a:pt x="317" y="78"/>
                    <a:pt x="317" y="78"/>
                  </a:cubicBezTo>
                  <a:cubicBezTo>
                    <a:pt x="317" y="77"/>
                    <a:pt x="317" y="77"/>
                    <a:pt x="317" y="77"/>
                  </a:cubicBezTo>
                  <a:cubicBezTo>
                    <a:pt x="317" y="77"/>
                    <a:pt x="317" y="78"/>
                    <a:pt x="317" y="78"/>
                  </a:cubicBezTo>
                  <a:cubicBezTo>
                    <a:pt x="316" y="78"/>
                    <a:pt x="315" y="78"/>
                    <a:pt x="315" y="78"/>
                  </a:cubicBezTo>
                  <a:cubicBezTo>
                    <a:pt x="314" y="78"/>
                    <a:pt x="314" y="78"/>
                    <a:pt x="314" y="78"/>
                  </a:cubicBezTo>
                  <a:cubicBezTo>
                    <a:pt x="314" y="76"/>
                    <a:pt x="314" y="76"/>
                    <a:pt x="314" y="76"/>
                  </a:cubicBezTo>
                  <a:cubicBezTo>
                    <a:pt x="314" y="76"/>
                    <a:pt x="314" y="76"/>
                    <a:pt x="314" y="76"/>
                  </a:cubicBezTo>
                  <a:cubicBezTo>
                    <a:pt x="313" y="75"/>
                    <a:pt x="313" y="75"/>
                    <a:pt x="313" y="75"/>
                  </a:cubicBezTo>
                  <a:cubicBezTo>
                    <a:pt x="312" y="75"/>
                    <a:pt x="312" y="75"/>
                    <a:pt x="312" y="75"/>
                  </a:cubicBezTo>
                  <a:cubicBezTo>
                    <a:pt x="312" y="75"/>
                    <a:pt x="311" y="74"/>
                    <a:pt x="311" y="74"/>
                  </a:cubicBezTo>
                  <a:cubicBezTo>
                    <a:pt x="311" y="74"/>
                    <a:pt x="310" y="74"/>
                    <a:pt x="310" y="74"/>
                  </a:cubicBezTo>
                  <a:cubicBezTo>
                    <a:pt x="309" y="73"/>
                    <a:pt x="309" y="73"/>
                    <a:pt x="309" y="73"/>
                  </a:cubicBezTo>
                  <a:cubicBezTo>
                    <a:pt x="311" y="73"/>
                    <a:pt x="311" y="73"/>
                    <a:pt x="311" y="73"/>
                  </a:cubicBezTo>
                  <a:cubicBezTo>
                    <a:pt x="311" y="73"/>
                    <a:pt x="311" y="72"/>
                    <a:pt x="311" y="72"/>
                  </a:cubicBezTo>
                  <a:cubicBezTo>
                    <a:pt x="311" y="72"/>
                    <a:pt x="311" y="72"/>
                    <a:pt x="311" y="72"/>
                  </a:cubicBezTo>
                  <a:cubicBezTo>
                    <a:pt x="311" y="72"/>
                    <a:pt x="310" y="72"/>
                    <a:pt x="310" y="72"/>
                  </a:cubicBezTo>
                  <a:cubicBezTo>
                    <a:pt x="308" y="72"/>
                    <a:pt x="308" y="72"/>
                    <a:pt x="308" y="72"/>
                  </a:cubicBezTo>
                  <a:cubicBezTo>
                    <a:pt x="308" y="73"/>
                    <a:pt x="308" y="73"/>
                    <a:pt x="308" y="73"/>
                  </a:cubicBezTo>
                  <a:cubicBezTo>
                    <a:pt x="306" y="73"/>
                    <a:pt x="306" y="73"/>
                    <a:pt x="306" y="73"/>
                  </a:cubicBezTo>
                  <a:cubicBezTo>
                    <a:pt x="305" y="73"/>
                    <a:pt x="305" y="73"/>
                    <a:pt x="305" y="73"/>
                  </a:cubicBezTo>
                  <a:cubicBezTo>
                    <a:pt x="302" y="73"/>
                    <a:pt x="302" y="73"/>
                    <a:pt x="302" y="73"/>
                  </a:cubicBezTo>
                  <a:cubicBezTo>
                    <a:pt x="301" y="72"/>
                    <a:pt x="301" y="72"/>
                    <a:pt x="301" y="72"/>
                  </a:cubicBezTo>
                  <a:cubicBezTo>
                    <a:pt x="301" y="70"/>
                    <a:pt x="301" y="70"/>
                    <a:pt x="301" y="70"/>
                  </a:cubicBezTo>
                  <a:cubicBezTo>
                    <a:pt x="300" y="69"/>
                    <a:pt x="300" y="69"/>
                    <a:pt x="300" y="69"/>
                  </a:cubicBezTo>
                  <a:cubicBezTo>
                    <a:pt x="299" y="69"/>
                    <a:pt x="299" y="69"/>
                    <a:pt x="299" y="69"/>
                  </a:cubicBezTo>
                  <a:cubicBezTo>
                    <a:pt x="297" y="69"/>
                    <a:pt x="297" y="69"/>
                    <a:pt x="297" y="69"/>
                  </a:cubicBezTo>
                  <a:cubicBezTo>
                    <a:pt x="297" y="67"/>
                    <a:pt x="297" y="67"/>
                    <a:pt x="297" y="67"/>
                  </a:cubicBezTo>
                  <a:cubicBezTo>
                    <a:pt x="297" y="67"/>
                    <a:pt x="297" y="65"/>
                    <a:pt x="296" y="65"/>
                  </a:cubicBezTo>
                  <a:cubicBezTo>
                    <a:pt x="296" y="65"/>
                    <a:pt x="295" y="66"/>
                    <a:pt x="295" y="66"/>
                  </a:cubicBezTo>
                  <a:cubicBezTo>
                    <a:pt x="293" y="63"/>
                    <a:pt x="293" y="63"/>
                    <a:pt x="293" y="63"/>
                  </a:cubicBezTo>
                  <a:cubicBezTo>
                    <a:pt x="293" y="63"/>
                    <a:pt x="293" y="63"/>
                    <a:pt x="293" y="63"/>
                  </a:cubicBezTo>
                  <a:cubicBezTo>
                    <a:pt x="292" y="62"/>
                    <a:pt x="291" y="61"/>
                    <a:pt x="291" y="61"/>
                  </a:cubicBezTo>
                  <a:cubicBezTo>
                    <a:pt x="290" y="61"/>
                    <a:pt x="288" y="61"/>
                    <a:pt x="288" y="61"/>
                  </a:cubicBezTo>
                  <a:cubicBezTo>
                    <a:pt x="288" y="61"/>
                    <a:pt x="288" y="60"/>
                    <a:pt x="287" y="60"/>
                  </a:cubicBezTo>
                  <a:cubicBezTo>
                    <a:pt x="287" y="60"/>
                    <a:pt x="284" y="60"/>
                    <a:pt x="284" y="60"/>
                  </a:cubicBezTo>
                  <a:cubicBezTo>
                    <a:pt x="284" y="60"/>
                    <a:pt x="284" y="58"/>
                    <a:pt x="285" y="57"/>
                  </a:cubicBezTo>
                  <a:cubicBezTo>
                    <a:pt x="285" y="57"/>
                    <a:pt x="285" y="54"/>
                    <a:pt x="285" y="54"/>
                  </a:cubicBezTo>
                  <a:cubicBezTo>
                    <a:pt x="284" y="53"/>
                    <a:pt x="284" y="53"/>
                    <a:pt x="284" y="53"/>
                  </a:cubicBezTo>
                  <a:cubicBezTo>
                    <a:pt x="284" y="53"/>
                    <a:pt x="284" y="53"/>
                    <a:pt x="284" y="51"/>
                  </a:cubicBezTo>
                  <a:cubicBezTo>
                    <a:pt x="285" y="50"/>
                    <a:pt x="285" y="50"/>
                    <a:pt x="285" y="48"/>
                  </a:cubicBezTo>
                  <a:cubicBezTo>
                    <a:pt x="286" y="46"/>
                    <a:pt x="286" y="45"/>
                    <a:pt x="286" y="45"/>
                  </a:cubicBezTo>
                  <a:cubicBezTo>
                    <a:pt x="284" y="44"/>
                    <a:pt x="284" y="44"/>
                    <a:pt x="284" y="44"/>
                  </a:cubicBezTo>
                  <a:cubicBezTo>
                    <a:pt x="284" y="44"/>
                    <a:pt x="284" y="44"/>
                    <a:pt x="283" y="45"/>
                  </a:cubicBezTo>
                  <a:cubicBezTo>
                    <a:pt x="283" y="46"/>
                    <a:pt x="282" y="46"/>
                    <a:pt x="282" y="46"/>
                  </a:cubicBezTo>
                  <a:cubicBezTo>
                    <a:pt x="281" y="48"/>
                    <a:pt x="281" y="48"/>
                    <a:pt x="281" y="48"/>
                  </a:cubicBezTo>
                  <a:cubicBezTo>
                    <a:pt x="280" y="51"/>
                    <a:pt x="280" y="51"/>
                    <a:pt x="280" y="51"/>
                  </a:cubicBezTo>
                  <a:cubicBezTo>
                    <a:pt x="280" y="51"/>
                    <a:pt x="281" y="52"/>
                    <a:pt x="279" y="52"/>
                  </a:cubicBezTo>
                  <a:cubicBezTo>
                    <a:pt x="277" y="52"/>
                    <a:pt x="276" y="52"/>
                    <a:pt x="276" y="52"/>
                  </a:cubicBezTo>
                  <a:cubicBezTo>
                    <a:pt x="276" y="52"/>
                    <a:pt x="277" y="53"/>
                    <a:pt x="275" y="53"/>
                  </a:cubicBezTo>
                  <a:cubicBezTo>
                    <a:pt x="273" y="53"/>
                    <a:pt x="271" y="53"/>
                    <a:pt x="271" y="53"/>
                  </a:cubicBezTo>
                  <a:cubicBezTo>
                    <a:pt x="269" y="52"/>
                    <a:pt x="269" y="52"/>
                    <a:pt x="269" y="52"/>
                  </a:cubicBezTo>
                  <a:cubicBezTo>
                    <a:pt x="266" y="52"/>
                    <a:pt x="266" y="52"/>
                    <a:pt x="266" y="52"/>
                  </a:cubicBezTo>
                  <a:cubicBezTo>
                    <a:pt x="266" y="52"/>
                    <a:pt x="266" y="52"/>
                    <a:pt x="266" y="50"/>
                  </a:cubicBezTo>
                  <a:cubicBezTo>
                    <a:pt x="266" y="49"/>
                    <a:pt x="265" y="48"/>
                    <a:pt x="266" y="48"/>
                  </a:cubicBezTo>
                  <a:cubicBezTo>
                    <a:pt x="267" y="48"/>
                    <a:pt x="268" y="47"/>
                    <a:pt x="268" y="47"/>
                  </a:cubicBezTo>
                  <a:cubicBezTo>
                    <a:pt x="267" y="45"/>
                    <a:pt x="267" y="45"/>
                    <a:pt x="267" y="45"/>
                  </a:cubicBezTo>
                  <a:cubicBezTo>
                    <a:pt x="267" y="45"/>
                    <a:pt x="267" y="45"/>
                    <a:pt x="267" y="45"/>
                  </a:cubicBezTo>
                  <a:cubicBezTo>
                    <a:pt x="267" y="45"/>
                    <a:pt x="266" y="44"/>
                    <a:pt x="266" y="44"/>
                  </a:cubicBezTo>
                  <a:cubicBezTo>
                    <a:pt x="266" y="43"/>
                    <a:pt x="267" y="41"/>
                    <a:pt x="267" y="41"/>
                  </a:cubicBezTo>
                  <a:cubicBezTo>
                    <a:pt x="268" y="41"/>
                    <a:pt x="268" y="39"/>
                    <a:pt x="268" y="39"/>
                  </a:cubicBezTo>
                  <a:cubicBezTo>
                    <a:pt x="267" y="39"/>
                    <a:pt x="267" y="39"/>
                    <a:pt x="267" y="39"/>
                  </a:cubicBezTo>
                  <a:cubicBezTo>
                    <a:pt x="267" y="39"/>
                    <a:pt x="266" y="40"/>
                    <a:pt x="265" y="38"/>
                  </a:cubicBezTo>
                  <a:cubicBezTo>
                    <a:pt x="265" y="37"/>
                    <a:pt x="264" y="35"/>
                    <a:pt x="264" y="35"/>
                  </a:cubicBezTo>
                  <a:cubicBezTo>
                    <a:pt x="264" y="35"/>
                    <a:pt x="263" y="35"/>
                    <a:pt x="263" y="35"/>
                  </a:cubicBezTo>
                  <a:cubicBezTo>
                    <a:pt x="262" y="35"/>
                    <a:pt x="262" y="35"/>
                    <a:pt x="261" y="35"/>
                  </a:cubicBezTo>
                  <a:cubicBezTo>
                    <a:pt x="261" y="36"/>
                    <a:pt x="258" y="35"/>
                    <a:pt x="258" y="35"/>
                  </a:cubicBezTo>
                  <a:cubicBezTo>
                    <a:pt x="258" y="35"/>
                    <a:pt x="257" y="35"/>
                    <a:pt x="256" y="35"/>
                  </a:cubicBezTo>
                  <a:cubicBezTo>
                    <a:pt x="256" y="35"/>
                    <a:pt x="255" y="36"/>
                    <a:pt x="255" y="36"/>
                  </a:cubicBezTo>
                  <a:cubicBezTo>
                    <a:pt x="253" y="34"/>
                    <a:pt x="253" y="34"/>
                    <a:pt x="253" y="34"/>
                  </a:cubicBezTo>
                  <a:cubicBezTo>
                    <a:pt x="254" y="32"/>
                    <a:pt x="254" y="32"/>
                    <a:pt x="254" y="32"/>
                  </a:cubicBezTo>
                  <a:cubicBezTo>
                    <a:pt x="254" y="32"/>
                    <a:pt x="252" y="30"/>
                    <a:pt x="252" y="30"/>
                  </a:cubicBezTo>
                  <a:cubicBezTo>
                    <a:pt x="252" y="29"/>
                    <a:pt x="251" y="28"/>
                    <a:pt x="251" y="28"/>
                  </a:cubicBezTo>
                  <a:cubicBezTo>
                    <a:pt x="250" y="28"/>
                    <a:pt x="250" y="28"/>
                    <a:pt x="250" y="28"/>
                  </a:cubicBezTo>
                  <a:cubicBezTo>
                    <a:pt x="249" y="26"/>
                    <a:pt x="249" y="26"/>
                    <a:pt x="249" y="26"/>
                  </a:cubicBezTo>
                  <a:cubicBezTo>
                    <a:pt x="249" y="26"/>
                    <a:pt x="247" y="27"/>
                    <a:pt x="247" y="27"/>
                  </a:cubicBezTo>
                  <a:cubicBezTo>
                    <a:pt x="246" y="27"/>
                    <a:pt x="246" y="27"/>
                    <a:pt x="245" y="27"/>
                  </a:cubicBezTo>
                  <a:cubicBezTo>
                    <a:pt x="245" y="27"/>
                    <a:pt x="244" y="26"/>
                    <a:pt x="244" y="25"/>
                  </a:cubicBezTo>
                  <a:cubicBezTo>
                    <a:pt x="244" y="24"/>
                    <a:pt x="244" y="24"/>
                    <a:pt x="243" y="23"/>
                  </a:cubicBezTo>
                  <a:cubicBezTo>
                    <a:pt x="243" y="22"/>
                    <a:pt x="242" y="20"/>
                    <a:pt x="242" y="20"/>
                  </a:cubicBezTo>
                  <a:cubicBezTo>
                    <a:pt x="242" y="19"/>
                    <a:pt x="243" y="18"/>
                    <a:pt x="242" y="18"/>
                  </a:cubicBezTo>
                  <a:cubicBezTo>
                    <a:pt x="242" y="17"/>
                    <a:pt x="241" y="16"/>
                    <a:pt x="241" y="16"/>
                  </a:cubicBezTo>
                  <a:cubicBezTo>
                    <a:pt x="239" y="14"/>
                    <a:pt x="239" y="14"/>
                    <a:pt x="239" y="14"/>
                  </a:cubicBezTo>
                  <a:cubicBezTo>
                    <a:pt x="239" y="14"/>
                    <a:pt x="237" y="15"/>
                    <a:pt x="236" y="15"/>
                  </a:cubicBezTo>
                  <a:cubicBezTo>
                    <a:pt x="236" y="15"/>
                    <a:pt x="234" y="15"/>
                    <a:pt x="234" y="15"/>
                  </a:cubicBezTo>
                  <a:cubicBezTo>
                    <a:pt x="234" y="16"/>
                    <a:pt x="234" y="17"/>
                    <a:pt x="234" y="17"/>
                  </a:cubicBezTo>
                  <a:cubicBezTo>
                    <a:pt x="233" y="18"/>
                    <a:pt x="231" y="17"/>
                    <a:pt x="231" y="16"/>
                  </a:cubicBezTo>
                  <a:cubicBezTo>
                    <a:pt x="230" y="16"/>
                    <a:pt x="230" y="15"/>
                    <a:pt x="229" y="14"/>
                  </a:cubicBezTo>
                  <a:cubicBezTo>
                    <a:pt x="229" y="14"/>
                    <a:pt x="229" y="13"/>
                    <a:pt x="228" y="13"/>
                  </a:cubicBezTo>
                  <a:cubicBezTo>
                    <a:pt x="228" y="13"/>
                    <a:pt x="226" y="13"/>
                    <a:pt x="226" y="12"/>
                  </a:cubicBezTo>
                  <a:cubicBezTo>
                    <a:pt x="226" y="11"/>
                    <a:pt x="227" y="9"/>
                    <a:pt x="227" y="9"/>
                  </a:cubicBezTo>
                  <a:cubicBezTo>
                    <a:pt x="226" y="7"/>
                    <a:pt x="226" y="7"/>
                    <a:pt x="226" y="7"/>
                  </a:cubicBezTo>
                  <a:cubicBezTo>
                    <a:pt x="226" y="7"/>
                    <a:pt x="227" y="5"/>
                    <a:pt x="226" y="5"/>
                  </a:cubicBezTo>
                  <a:cubicBezTo>
                    <a:pt x="226" y="4"/>
                    <a:pt x="225" y="3"/>
                    <a:pt x="225" y="3"/>
                  </a:cubicBezTo>
                  <a:cubicBezTo>
                    <a:pt x="225" y="1"/>
                    <a:pt x="225" y="1"/>
                    <a:pt x="225" y="1"/>
                  </a:cubicBezTo>
                  <a:cubicBezTo>
                    <a:pt x="226" y="0"/>
                    <a:pt x="226" y="0"/>
                    <a:pt x="226" y="0"/>
                  </a:cubicBezTo>
                  <a:cubicBezTo>
                    <a:pt x="226" y="0"/>
                    <a:pt x="226" y="0"/>
                    <a:pt x="227" y="0"/>
                  </a:cubicBezTo>
                  <a:cubicBezTo>
                    <a:pt x="209" y="3"/>
                    <a:pt x="209" y="3"/>
                    <a:pt x="209" y="3"/>
                  </a:cubicBezTo>
                  <a:cubicBezTo>
                    <a:pt x="200" y="3"/>
                    <a:pt x="200" y="3"/>
                    <a:pt x="200" y="3"/>
                  </a:cubicBezTo>
                  <a:cubicBezTo>
                    <a:pt x="197" y="7"/>
                    <a:pt x="197" y="7"/>
                    <a:pt x="197" y="7"/>
                  </a:cubicBezTo>
                  <a:cubicBezTo>
                    <a:pt x="196" y="11"/>
                    <a:pt x="196" y="11"/>
                    <a:pt x="196" y="11"/>
                  </a:cubicBezTo>
                  <a:cubicBezTo>
                    <a:pt x="196" y="18"/>
                    <a:pt x="196" y="18"/>
                    <a:pt x="196" y="18"/>
                  </a:cubicBezTo>
                  <a:cubicBezTo>
                    <a:pt x="194" y="22"/>
                    <a:pt x="194" y="22"/>
                    <a:pt x="194" y="22"/>
                  </a:cubicBezTo>
                  <a:cubicBezTo>
                    <a:pt x="194" y="27"/>
                    <a:pt x="194" y="27"/>
                    <a:pt x="194" y="27"/>
                  </a:cubicBezTo>
                  <a:cubicBezTo>
                    <a:pt x="193" y="34"/>
                    <a:pt x="193" y="34"/>
                    <a:pt x="193" y="34"/>
                  </a:cubicBezTo>
                  <a:cubicBezTo>
                    <a:pt x="190" y="37"/>
                    <a:pt x="190" y="37"/>
                    <a:pt x="190" y="37"/>
                  </a:cubicBezTo>
                  <a:cubicBezTo>
                    <a:pt x="184" y="42"/>
                    <a:pt x="184" y="42"/>
                    <a:pt x="184" y="42"/>
                  </a:cubicBezTo>
                  <a:cubicBezTo>
                    <a:pt x="176" y="45"/>
                    <a:pt x="176" y="45"/>
                    <a:pt x="176" y="45"/>
                  </a:cubicBezTo>
                  <a:cubicBezTo>
                    <a:pt x="166" y="48"/>
                    <a:pt x="166" y="48"/>
                    <a:pt x="166" y="48"/>
                  </a:cubicBezTo>
                  <a:cubicBezTo>
                    <a:pt x="157" y="50"/>
                    <a:pt x="157" y="50"/>
                    <a:pt x="157" y="50"/>
                  </a:cubicBezTo>
                  <a:cubicBezTo>
                    <a:pt x="151" y="54"/>
                    <a:pt x="151" y="54"/>
                    <a:pt x="151" y="54"/>
                  </a:cubicBezTo>
                  <a:cubicBezTo>
                    <a:pt x="149" y="60"/>
                    <a:pt x="149" y="60"/>
                    <a:pt x="149" y="60"/>
                  </a:cubicBezTo>
                  <a:cubicBezTo>
                    <a:pt x="148" y="67"/>
                    <a:pt x="148" y="67"/>
                    <a:pt x="148" y="67"/>
                  </a:cubicBezTo>
                  <a:cubicBezTo>
                    <a:pt x="143" y="69"/>
                    <a:pt x="143" y="69"/>
                    <a:pt x="143" y="69"/>
                  </a:cubicBezTo>
                  <a:cubicBezTo>
                    <a:pt x="143" y="69"/>
                    <a:pt x="140" y="71"/>
                    <a:pt x="138" y="70"/>
                  </a:cubicBezTo>
                  <a:cubicBezTo>
                    <a:pt x="136" y="70"/>
                    <a:pt x="131" y="68"/>
                    <a:pt x="131" y="68"/>
                  </a:cubicBezTo>
                  <a:cubicBezTo>
                    <a:pt x="131" y="68"/>
                    <a:pt x="125" y="65"/>
                    <a:pt x="123" y="65"/>
                  </a:cubicBezTo>
                  <a:cubicBezTo>
                    <a:pt x="121" y="65"/>
                    <a:pt x="117" y="60"/>
                    <a:pt x="117" y="60"/>
                  </a:cubicBezTo>
                  <a:cubicBezTo>
                    <a:pt x="113" y="64"/>
                    <a:pt x="113" y="64"/>
                    <a:pt x="113" y="64"/>
                  </a:cubicBezTo>
                  <a:cubicBezTo>
                    <a:pt x="113" y="64"/>
                    <a:pt x="110" y="62"/>
                    <a:pt x="110" y="60"/>
                  </a:cubicBezTo>
                  <a:cubicBezTo>
                    <a:pt x="110" y="59"/>
                    <a:pt x="110" y="59"/>
                    <a:pt x="110" y="57"/>
                  </a:cubicBezTo>
                  <a:cubicBezTo>
                    <a:pt x="110" y="55"/>
                    <a:pt x="110" y="51"/>
                    <a:pt x="110" y="51"/>
                  </a:cubicBezTo>
                  <a:cubicBezTo>
                    <a:pt x="104" y="49"/>
                    <a:pt x="104" y="49"/>
                    <a:pt x="104" y="49"/>
                  </a:cubicBezTo>
                  <a:cubicBezTo>
                    <a:pt x="99" y="48"/>
                    <a:pt x="99" y="48"/>
                    <a:pt x="99" y="48"/>
                  </a:cubicBezTo>
                  <a:cubicBezTo>
                    <a:pt x="99" y="48"/>
                    <a:pt x="99" y="49"/>
                    <a:pt x="97" y="48"/>
                  </a:cubicBezTo>
                  <a:cubicBezTo>
                    <a:pt x="95" y="46"/>
                    <a:pt x="95" y="43"/>
                    <a:pt x="95" y="43"/>
                  </a:cubicBezTo>
                  <a:cubicBezTo>
                    <a:pt x="90" y="41"/>
                    <a:pt x="90" y="41"/>
                    <a:pt x="90" y="41"/>
                  </a:cubicBezTo>
                  <a:cubicBezTo>
                    <a:pt x="88" y="47"/>
                    <a:pt x="88" y="47"/>
                    <a:pt x="88" y="47"/>
                  </a:cubicBezTo>
                  <a:cubicBezTo>
                    <a:pt x="94" y="52"/>
                    <a:pt x="94" y="52"/>
                    <a:pt x="94" y="52"/>
                  </a:cubicBezTo>
                  <a:cubicBezTo>
                    <a:pt x="96" y="55"/>
                    <a:pt x="96" y="55"/>
                    <a:pt x="96" y="55"/>
                  </a:cubicBezTo>
                  <a:cubicBezTo>
                    <a:pt x="94" y="60"/>
                    <a:pt x="94" y="60"/>
                    <a:pt x="94" y="60"/>
                  </a:cubicBezTo>
                  <a:cubicBezTo>
                    <a:pt x="96" y="64"/>
                    <a:pt x="96" y="64"/>
                    <a:pt x="96" y="64"/>
                  </a:cubicBezTo>
                  <a:cubicBezTo>
                    <a:pt x="97" y="67"/>
                    <a:pt x="97" y="67"/>
                    <a:pt x="97" y="67"/>
                  </a:cubicBezTo>
                  <a:cubicBezTo>
                    <a:pt x="97" y="67"/>
                    <a:pt x="98" y="67"/>
                    <a:pt x="97" y="69"/>
                  </a:cubicBezTo>
                  <a:cubicBezTo>
                    <a:pt x="97" y="71"/>
                    <a:pt x="96" y="79"/>
                    <a:pt x="96" y="79"/>
                  </a:cubicBezTo>
                  <a:cubicBezTo>
                    <a:pt x="97" y="86"/>
                    <a:pt x="97" y="86"/>
                    <a:pt x="97" y="86"/>
                  </a:cubicBezTo>
                  <a:cubicBezTo>
                    <a:pt x="99" y="92"/>
                    <a:pt x="99" y="92"/>
                    <a:pt x="99" y="92"/>
                  </a:cubicBezTo>
                  <a:cubicBezTo>
                    <a:pt x="99" y="92"/>
                    <a:pt x="95" y="94"/>
                    <a:pt x="93" y="94"/>
                  </a:cubicBezTo>
                  <a:cubicBezTo>
                    <a:pt x="92" y="94"/>
                    <a:pt x="88" y="93"/>
                    <a:pt x="88" y="93"/>
                  </a:cubicBezTo>
                  <a:cubicBezTo>
                    <a:pt x="86" y="88"/>
                    <a:pt x="86" y="88"/>
                    <a:pt x="86" y="88"/>
                  </a:cubicBezTo>
                  <a:cubicBezTo>
                    <a:pt x="77" y="89"/>
                    <a:pt x="77" y="89"/>
                    <a:pt x="77" y="89"/>
                  </a:cubicBezTo>
                  <a:cubicBezTo>
                    <a:pt x="71" y="89"/>
                    <a:pt x="71" y="89"/>
                    <a:pt x="71" y="89"/>
                  </a:cubicBezTo>
                  <a:cubicBezTo>
                    <a:pt x="66" y="92"/>
                    <a:pt x="66" y="92"/>
                    <a:pt x="66" y="92"/>
                  </a:cubicBezTo>
                  <a:cubicBezTo>
                    <a:pt x="63" y="91"/>
                    <a:pt x="63" y="91"/>
                    <a:pt x="63" y="91"/>
                  </a:cubicBezTo>
                  <a:cubicBezTo>
                    <a:pt x="60" y="88"/>
                    <a:pt x="60" y="88"/>
                    <a:pt x="60" y="88"/>
                  </a:cubicBezTo>
                  <a:cubicBezTo>
                    <a:pt x="59" y="83"/>
                    <a:pt x="59" y="83"/>
                    <a:pt x="59" y="83"/>
                  </a:cubicBezTo>
                  <a:cubicBezTo>
                    <a:pt x="57" y="79"/>
                    <a:pt x="57" y="79"/>
                    <a:pt x="57" y="79"/>
                  </a:cubicBezTo>
                  <a:cubicBezTo>
                    <a:pt x="54" y="75"/>
                    <a:pt x="54" y="75"/>
                    <a:pt x="54" y="75"/>
                  </a:cubicBezTo>
                  <a:cubicBezTo>
                    <a:pt x="43" y="76"/>
                    <a:pt x="43" y="76"/>
                    <a:pt x="43" y="76"/>
                  </a:cubicBezTo>
                  <a:cubicBezTo>
                    <a:pt x="40" y="76"/>
                    <a:pt x="40" y="76"/>
                    <a:pt x="40" y="76"/>
                  </a:cubicBezTo>
                  <a:cubicBezTo>
                    <a:pt x="37" y="79"/>
                    <a:pt x="37" y="79"/>
                    <a:pt x="37" y="79"/>
                  </a:cubicBezTo>
                  <a:cubicBezTo>
                    <a:pt x="32" y="78"/>
                    <a:pt x="32" y="78"/>
                    <a:pt x="32" y="78"/>
                  </a:cubicBezTo>
                  <a:cubicBezTo>
                    <a:pt x="31" y="81"/>
                    <a:pt x="31" y="81"/>
                    <a:pt x="31" y="81"/>
                  </a:cubicBezTo>
                  <a:cubicBezTo>
                    <a:pt x="25" y="79"/>
                    <a:pt x="25" y="79"/>
                    <a:pt x="25" y="79"/>
                  </a:cubicBezTo>
                  <a:cubicBezTo>
                    <a:pt x="20" y="79"/>
                    <a:pt x="20" y="79"/>
                    <a:pt x="20" y="79"/>
                  </a:cubicBezTo>
                  <a:cubicBezTo>
                    <a:pt x="15" y="79"/>
                    <a:pt x="15" y="79"/>
                    <a:pt x="15" y="79"/>
                  </a:cubicBezTo>
                  <a:cubicBezTo>
                    <a:pt x="8" y="81"/>
                    <a:pt x="8" y="81"/>
                    <a:pt x="8" y="81"/>
                  </a:cubicBezTo>
                  <a:cubicBezTo>
                    <a:pt x="4" y="84"/>
                    <a:pt x="4" y="84"/>
                    <a:pt x="4" y="84"/>
                  </a:cubicBezTo>
                  <a:cubicBezTo>
                    <a:pt x="0" y="90"/>
                    <a:pt x="0" y="90"/>
                    <a:pt x="0" y="90"/>
                  </a:cubicBezTo>
                  <a:cubicBezTo>
                    <a:pt x="0" y="90"/>
                    <a:pt x="2" y="90"/>
                    <a:pt x="3" y="90"/>
                  </a:cubicBezTo>
                  <a:cubicBezTo>
                    <a:pt x="4" y="91"/>
                    <a:pt x="11" y="91"/>
                    <a:pt x="11" y="91"/>
                  </a:cubicBezTo>
                  <a:cubicBezTo>
                    <a:pt x="13" y="93"/>
                    <a:pt x="13" y="93"/>
                    <a:pt x="13" y="93"/>
                  </a:cubicBezTo>
                  <a:cubicBezTo>
                    <a:pt x="8" y="96"/>
                    <a:pt x="8" y="96"/>
                    <a:pt x="8" y="96"/>
                  </a:cubicBezTo>
                  <a:cubicBezTo>
                    <a:pt x="12" y="97"/>
                    <a:pt x="12" y="97"/>
                    <a:pt x="12" y="97"/>
                  </a:cubicBezTo>
                  <a:cubicBezTo>
                    <a:pt x="13" y="99"/>
                    <a:pt x="13" y="99"/>
                    <a:pt x="13" y="99"/>
                  </a:cubicBezTo>
                  <a:cubicBezTo>
                    <a:pt x="13" y="102"/>
                    <a:pt x="13" y="102"/>
                    <a:pt x="13" y="102"/>
                  </a:cubicBezTo>
                  <a:cubicBezTo>
                    <a:pt x="4" y="103"/>
                    <a:pt x="4" y="103"/>
                    <a:pt x="4" y="103"/>
                  </a:cubicBezTo>
                  <a:cubicBezTo>
                    <a:pt x="4" y="103"/>
                    <a:pt x="2" y="102"/>
                    <a:pt x="1" y="103"/>
                  </a:cubicBezTo>
                  <a:cubicBezTo>
                    <a:pt x="1" y="105"/>
                    <a:pt x="4" y="106"/>
                    <a:pt x="4" y="106"/>
                  </a:cubicBezTo>
                  <a:cubicBezTo>
                    <a:pt x="8" y="108"/>
                    <a:pt x="8" y="108"/>
                    <a:pt x="8" y="108"/>
                  </a:cubicBezTo>
                  <a:cubicBezTo>
                    <a:pt x="7" y="116"/>
                    <a:pt x="7" y="116"/>
                    <a:pt x="7" y="116"/>
                  </a:cubicBezTo>
                  <a:cubicBezTo>
                    <a:pt x="11" y="116"/>
                    <a:pt x="11" y="116"/>
                    <a:pt x="11" y="116"/>
                  </a:cubicBezTo>
                  <a:cubicBezTo>
                    <a:pt x="15" y="116"/>
                    <a:pt x="15" y="116"/>
                    <a:pt x="15" y="116"/>
                  </a:cubicBezTo>
                  <a:cubicBezTo>
                    <a:pt x="15" y="116"/>
                    <a:pt x="16" y="114"/>
                    <a:pt x="18" y="114"/>
                  </a:cubicBezTo>
                  <a:cubicBezTo>
                    <a:pt x="21" y="113"/>
                    <a:pt x="23" y="114"/>
                    <a:pt x="23" y="114"/>
                  </a:cubicBezTo>
                  <a:cubicBezTo>
                    <a:pt x="23" y="114"/>
                    <a:pt x="23" y="113"/>
                    <a:pt x="24" y="117"/>
                  </a:cubicBezTo>
                  <a:cubicBezTo>
                    <a:pt x="25" y="120"/>
                    <a:pt x="25" y="120"/>
                    <a:pt x="25" y="120"/>
                  </a:cubicBezTo>
                  <a:cubicBezTo>
                    <a:pt x="28" y="121"/>
                    <a:pt x="28" y="121"/>
                    <a:pt x="28" y="121"/>
                  </a:cubicBezTo>
                  <a:cubicBezTo>
                    <a:pt x="30" y="121"/>
                    <a:pt x="30" y="121"/>
                    <a:pt x="30" y="121"/>
                  </a:cubicBezTo>
                  <a:cubicBezTo>
                    <a:pt x="30" y="121"/>
                    <a:pt x="33" y="124"/>
                    <a:pt x="34" y="124"/>
                  </a:cubicBezTo>
                  <a:cubicBezTo>
                    <a:pt x="36" y="125"/>
                    <a:pt x="40" y="128"/>
                    <a:pt x="40" y="128"/>
                  </a:cubicBezTo>
                  <a:cubicBezTo>
                    <a:pt x="41" y="129"/>
                    <a:pt x="41" y="129"/>
                    <a:pt x="41" y="129"/>
                  </a:cubicBezTo>
                  <a:cubicBezTo>
                    <a:pt x="41" y="133"/>
                    <a:pt x="41" y="133"/>
                    <a:pt x="41" y="133"/>
                  </a:cubicBezTo>
                  <a:cubicBezTo>
                    <a:pt x="41" y="133"/>
                    <a:pt x="45" y="134"/>
                    <a:pt x="47" y="134"/>
                  </a:cubicBezTo>
                  <a:cubicBezTo>
                    <a:pt x="49" y="134"/>
                    <a:pt x="54" y="133"/>
                    <a:pt x="54" y="133"/>
                  </a:cubicBezTo>
                  <a:cubicBezTo>
                    <a:pt x="56" y="136"/>
                    <a:pt x="56" y="136"/>
                    <a:pt x="56" y="136"/>
                  </a:cubicBezTo>
                  <a:cubicBezTo>
                    <a:pt x="58" y="136"/>
                    <a:pt x="65" y="138"/>
                    <a:pt x="65" y="138"/>
                  </a:cubicBezTo>
                  <a:cubicBezTo>
                    <a:pt x="63" y="141"/>
                    <a:pt x="63" y="141"/>
                    <a:pt x="63" y="141"/>
                  </a:cubicBezTo>
                  <a:cubicBezTo>
                    <a:pt x="60" y="144"/>
                    <a:pt x="60" y="144"/>
                    <a:pt x="60" y="144"/>
                  </a:cubicBezTo>
                  <a:cubicBezTo>
                    <a:pt x="60" y="147"/>
                    <a:pt x="60" y="147"/>
                    <a:pt x="60" y="147"/>
                  </a:cubicBezTo>
                  <a:cubicBezTo>
                    <a:pt x="60" y="147"/>
                    <a:pt x="60" y="146"/>
                    <a:pt x="63" y="147"/>
                  </a:cubicBezTo>
                  <a:cubicBezTo>
                    <a:pt x="66" y="148"/>
                    <a:pt x="69" y="150"/>
                    <a:pt x="69" y="150"/>
                  </a:cubicBezTo>
                  <a:cubicBezTo>
                    <a:pt x="68" y="154"/>
                    <a:pt x="68" y="154"/>
                    <a:pt x="68" y="154"/>
                  </a:cubicBezTo>
                  <a:cubicBezTo>
                    <a:pt x="71" y="157"/>
                    <a:pt x="71" y="157"/>
                    <a:pt x="71" y="157"/>
                  </a:cubicBezTo>
                  <a:cubicBezTo>
                    <a:pt x="71" y="157"/>
                    <a:pt x="73" y="159"/>
                    <a:pt x="73" y="160"/>
                  </a:cubicBezTo>
                  <a:cubicBezTo>
                    <a:pt x="73" y="161"/>
                    <a:pt x="72" y="162"/>
                    <a:pt x="72" y="162"/>
                  </a:cubicBezTo>
                  <a:cubicBezTo>
                    <a:pt x="70" y="162"/>
                    <a:pt x="70" y="162"/>
                    <a:pt x="70" y="162"/>
                  </a:cubicBezTo>
                  <a:cubicBezTo>
                    <a:pt x="70" y="162"/>
                    <a:pt x="70" y="163"/>
                    <a:pt x="69" y="162"/>
                  </a:cubicBezTo>
                  <a:cubicBezTo>
                    <a:pt x="68" y="160"/>
                    <a:pt x="66" y="159"/>
                    <a:pt x="66" y="159"/>
                  </a:cubicBezTo>
                  <a:cubicBezTo>
                    <a:pt x="66" y="161"/>
                    <a:pt x="66" y="161"/>
                    <a:pt x="66" y="161"/>
                  </a:cubicBezTo>
                  <a:cubicBezTo>
                    <a:pt x="66" y="161"/>
                    <a:pt x="67" y="165"/>
                    <a:pt x="68" y="166"/>
                  </a:cubicBezTo>
                  <a:cubicBezTo>
                    <a:pt x="69" y="166"/>
                    <a:pt x="70" y="165"/>
                    <a:pt x="69" y="167"/>
                  </a:cubicBezTo>
                  <a:cubicBezTo>
                    <a:pt x="69" y="169"/>
                    <a:pt x="70" y="173"/>
                    <a:pt x="71" y="174"/>
                  </a:cubicBezTo>
                  <a:cubicBezTo>
                    <a:pt x="71" y="176"/>
                    <a:pt x="71" y="179"/>
                    <a:pt x="73" y="180"/>
                  </a:cubicBezTo>
                  <a:cubicBezTo>
                    <a:pt x="74" y="180"/>
                    <a:pt x="75" y="181"/>
                    <a:pt x="75" y="181"/>
                  </a:cubicBezTo>
                  <a:cubicBezTo>
                    <a:pt x="76" y="183"/>
                    <a:pt x="76" y="183"/>
                    <a:pt x="76" y="183"/>
                  </a:cubicBezTo>
                  <a:cubicBezTo>
                    <a:pt x="81" y="187"/>
                    <a:pt x="81" y="187"/>
                    <a:pt x="81" y="187"/>
                  </a:cubicBezTo>
                  <a:cubicBezTo>
                    <a:pt x="81" y="187"/>
                    <a:pt x="84" y="189"/>
                    <a:pt x="86" y="190"/>
                  </a:cubicBezTo>
                  <a:cubicBezTo>
                    <a:pt x="88" y="191"/>
                    <a:pt x="89" y="191"/>
                    <a:pt x="89" y="191"/>
                  </a:cubicBezTo>
                  <a:cubicBezTo>
                    <a:pt x="92" y="195"/>
                    <a:pt x="92" y="195"/>
                    <a:pt x="92" y="195"/>
                  </a:cubicBezTo>
                  <a:cubicBezTo>
                    <a:pt x="92" y="195"/>
                    <a:pt x="95" y="199"/>
                    <a:pt x="94" y="199"/>
                  </a:cubicBezTo>
                  <a:cubicBezTo>
                    <a:pt x="93" y="199"/>
                    <a:pt x="94" y="199"/>
                    <a:pt x="92" y="199"/>
                  </a:cubicBezTo>
                  <a:cubicBezTo>
                    <a:pt x="90" y="200"/>
                    <a:pt x="91" y="201"/>
                    <a:pt x="89" y="200"/>
                  </a:cubicBezTo>
                  <a:cubicBezTo>
                    <a:pt x="87" y="198"/>
                    <a:pt x="86" y="195"/>
                    <a:pt x="83" y="195"/>
                  </a:cubicBezTo>
                  <a:cubicBezTo>
                    <a:pt x="81" y="196"/>
                    <a:pt x="81" y="196"/>
                    <a:pt x="81" y="196"/>
                  </a:cubicBezTo>
                  <a:cubicBezTo>
                    <a:pt x="85" y="200"/>
                    <a:pt x="85" y="200"/>
                    <a:pt x="85" y="200"/>
                  </a:cubicBezTo>
                  <a:cubicBezTo>
                    <a:pt x="87" y="201"/>
                    <a:pt x="87" y="201"/>
                    <a:pt x="87" y="201"/>
                  </a:cubicBezTo>
                  <a:cubicBezTo>
                    <a:pt x="91" y="203"/>
                    <a:pt x="91" y="203"/>
                    <a:pt x="91" y="203"/>
                  </a:cubicBezTo>
                  <a:cubicBezTo>
                    <a:pt x="92" y="203"/>
                    <a:pt x="92" y="203"/>
                    <a:pt x="92" y="203"/>
                  </a:cubicBezTo>
                  <a:cubicBezTo>
                    <a:pt x="92" y="203"/>
                    <a:pt x="92" y="206"/>
                    <a:pt x="92" y="206"/>
                  </a:cubicBezTo>
                  <a:cubicBezTo>
                    <a:pt x="92" y="207"/>
                    <a:pt x="91" y="209"/>
                    <a:pt x="91" y="210"/>
                  </a:cubicBezTo>
                  <a:cubicBezTo>
                    <a:pt x="91" y="212"/>
                    <a:pt x="91" y="213"/>
                    <a:pt x="91" y="213"/>
                  </a:cubicBezTo>
                  <a:cubicBezTo>
                    <a:pt x="89" y="208"/>
                    <a:pt x="89" y="208"/>
                    <a:pt x="89" y="208"/>
                  </a:cubicBezTo>
                  <a:cubicBezTo>
                    <a:pt x="89" y="208"/>
                    <a:pt x="89" y="206"/>
                    <a:pt x="87" y="206"/>
                  </a:cubicBezTo>
                  <a:cubicBezTo>
                    <a:pt x="86" y="205"/>
                    <a:pt x="84" y="206"/>
                    <a:pt x="84" y="206"/>
                  </a:cubicBezTo>
                  <a:cubicBezTo>
                    <a:pt x="84" y="206"/>
                    <a:pt x="84" y="208"/>
                    <a:pt x="85" y="209"/>
                  </a:cubicBezTo>
                  <a:cubicBezTo>
                    <a:pt x="86" y="209"/>
                    <a:pt x="87" y="210"/>
                    <a:pt x="87" y="211"/>
                  </a:cubicBezTo>
                  <a:cubicBezTo>
                    <a:pt x="87" y="212"/>
                    <a:pt x="88" y="212"/>
                    <a:pt x="88" y="212"/>
                  </a:cubicBezTo>
                  <a:cubicBezTo>
                    <a:pt x="88" y="212"/>
                    <a:pt x="89" y="213"/>
                    <a:pt x="89" y="214"/>
                  </a:cubicBezTo>
                  <a:cubicBezTo>
                    <a:pt x="90" y="216"/>
                    <a:pt x="89" y="219"/>
                    <a:pt x="89" y="219"/>
                  </a:cubicBezTo>
                  <a:cubicBezTo>
                    <a:pt x="89" y="219"/>
                    <a:pt x="87" y="219"/>
                    <a:pt x="89" y="220"/>
                  </a:cubicBezTo>
                  <a:cubicBezTo>
                    <a:pt x="91" y="222"/>
                    <a:pt x="92" y="223"/>
                    <a:pt x="93" y="224"/>
                  </a:cubicBezTo>
                  <a:cubicBezTo>
                    <a:pt x="94" y="224"/>
                    <a:pt x="97" y="228"/>
                    <a:pt x="97" y="228"/>
                  </a:cubicBezTo>
                  <a:cubicBezTo>
                    <a:pt x="100" y="232"/>
                    <a:pt x="100" y="232"/>
                    <a:pt x="100" y="232"/>
                  </a:cubicBezTo>
                  <a:cubicBezTo>
                    <a:pt x="100" y="232"/>
                    <a:pt x="100" y="233"/>
                    <a:pt x="99" y="233"/>
                  </a:cubicBezTo>
                  <a:cubicBezTo>
                    <a:pt x="99" y="233"/>
                    <a:pt x="98" y="234"/>
                    <a:pt x="98" y="234"/>
                  </a:cubicBezTo>
                  <a:cubicBezTo>
                    <a:pt x="98" y="234"/>
                    <a:pt x="96" y="233"/>
                    <a:pt x="96" y="232"/>
                  </a:cubicBezTo>
                  <a:cubicBezTo>
                    <a:pt x="95" y="231"/>
                    <a:pt x="93" y="228"/>
                    <a:pt x="93" y="228"/>
                  </a:cubicBezTo>
                  <a:cubicBezTo>
                    <a:pt x="91" y="228"/>
                    <a:pt x="91" y="228"/>
                    <a:pt x="91" y="228"/>
                  </a:cubicBezTo>
                  <a:cubicBezTo>
                    <a:pt x="90" y="228"/>
                    <a:pt x="90" y="228"/>
                    <a:pt x="90" y="228"/>
                  </a:cubicBezTo>
                  <a:cubicBezTo>
                    <a:pt x="90" y="228"/>
                    <a:pt x="89" y="231"/>
                    <a:pt x="89" y="232"/>
                  </a:cubicBezTo>
                  <a:cubicBezTo>
                    <a:pt x="89" y="233"/>
                    <a:pt x="86" y="237"/>
                    <a:pt x="86" y="237"/>
                  </a:cubicBezTo>
                  <a:cubicBezTo>
                    <a:pt x="84" y="247"/>
                    <a:pt x="84" y="247"/>
                    <a:pt x="84" y="247"/>
                  </a:cubicBezTo>
                  <a:cubicBezTo>
                    <a:pt x="84" y="247"/>
                    <a:pt x="84" y="258"/>
                    <a:pt x="84" y="259"/>
                  </a:cubicBezTo>
                  <a:cubicBezTo>
                    <a:pt x="84" y="260"/>
                    <a:pt x="81" y="268"/>
                    <a:pt x="81" y="268"/>
                  </a:cubicBezTo>
                  <a:cubicBezTo>
                    <a:pt x="81" y="268"/>
                    <a:pt x="80" y="268"/>
                    <a:pt x="80" y="271"/>
                  </a:cubicBezTo>
                  <a:cubicBezTo>
                    <a:pt x="80" y="273"/>
                    <a:pt x="79" y="278"/>
                    <a:pt x="79" y="278"/>
                  </a:cubicBezTo>
                  <a:cubicBezTo>
                    <a:pt x="79" y="278"/>
                    <a:pt x="78" y="281"/>
                    <a:pt x="78" y="282"/>
                  </a:cubicBezTo>
                  <a:cubicBezTo>
                    <a:pt x="78" y="284"/>
                    <a:pt x="75" y="290"/>
                    <a:pt x="75" y="290"/>
                  </a:cubicBezTo>
                  <a:cubicBezTo>
                    <a:pt x="74" y="297"/>
                    <a:pt x="74" y="297"/>
                    <a:pt x="74" y="297"/>
                  </a:cubicBezTo>
                  <a:cubicBezTo>
                    <a:pt x="68" y="311"/>
                    <a:pt x="68" y="311"/>
                    <a:pt x="68" y="311"/>
                  </a:cubicBezTo>
                  <a:cubicBezTo>
                    <a:pt x="63" y="315"/>
                    <a:pt x="63" y="315"/>
                    <a:pt x="63" y="315"/>
                  </a:cubicBezTo>
                  <a:cubicBezTo>
                    <a:pt x="60" y="317"/>
                    <a:pt x="60" y="317"/>
                    <a:pt x="60" y="317"/>
                  </a:cubicBezTo>
                  <a:cubicBezTo>
                    <a:pt x="62" y="318"/>
                    <a:pt x="65" y="319"/>
                    <a:pt x="65" y="321"/>
                  </a:cubicBezTo>
                  <a:cubicBezTo>
                    <a:pt x="67" y="325"/>
                    <a:pt x="70" y="332"/>
                    <a:pt x="70" y="332"/>
                  </a:cubicBezTo>
                  <a:cubicBezTo>
                    <a:pt x="80" y="335"/>
                    <a:pt x="80" y="335"/>
                    <a:pt x="80" y="335"/>
                  </a:cubicBezTo>
                  <a:cubicBezTo>
                    <a:pt x="80" y="335"/>
                    <a:pt x="86" y="340"/>
                    <a:pt x="87" y="341"/>
                  </a:cubicBezTo>
                  <a:cubicBezTo>
                    <a:pt x="88" y="342"/>
                    <a:pt x="100" y="347"/>
                    <a:pt x="100" y="347"/>
                  </a:cubicBezTo>
                  <a:cubicBezTo>
                    <a:pt x="108" y="354"/>
                    <a:pt x="108" y="354"/>
                    <a:pt x="108" y="354"/>
                  </a:cubicBezTo>
                  <a:cubicBezTo>
                    <a:pt x="120" y="354"/>
                    <a:pt x="120" y="354"/>
                    <a:pt x="120" y="354"/>
                  </a:cubicBezTo>
                  <a:cubicBezTo>
                    <a:pt x="128" y="356"/>
                    <a:pt x="128" y="356"/>
                    <a:pt x="128" y="356"/>
                  </a:cubicBezTo>
                  <a:cubicBezTo>
                    <a:pt x="132" y="351"/>
                    <a:pt x="132" y="351"/>
                    <a:pt x="132" y="351"/>
                  </a:cubicBezTo>
                  <a:cubicBezTo>
                    <a:pt x="132" y="351"/>
                    <a:pt x="152" y="360"/>
                    <a:pt x="153" y="360"/>
                  </a:cubicBezTo>
                  <a:cubicBezTo>
                    <a:pt x="153" y="360"/>
                    <a:pt x="154" y="363"/>
                    <a:pt x="154" y="365"/>
                  </a:cubicBezTo>
                  <a:cubicBezTo>
                    <a:pt x="154" y="365"/>
                    <a:pt x="154" y="365"/>
                    <a:pt x="154" y="365"/>
                  </a:cubicBezTo>
                  <a:cubicBezTo>
                    <a:pt x="154" y="366"/>
                    <a:pt x="154" y="366"/>
                    <a:pt x="154" y="366"/>
                  </a:cubicBezTo>
                  <a:cubicBezTo>
                    <a:pt x="154" y="366"/>
                    <a:pt x="154" y="366"/>
                    <a:pt x="154" y="366"/>
                  </a:cubicBezTo>
                  <a:cubicBezTo>
                    <a:pt x="154" y="366"/>
                    <a:pt x="154" y="366"/>
                    <a:pt x="154" y="366"/>
                  </a:cubicBezTo>
                  <a:cubicBezTo>
                    <a:pt x="155" y="368"/>
                    <a:pt x="155" y="368"/>
                    <a:pt x="155" y="368"/>
                  </a:cubicBezTo>
                  <a:cubicBezTo>
                    <a:pt x="154" y="368"/>
                    <a:pt x="154" y="368"/>
                    <a:pt x="154" y="368"/>
                  </a:cubicBezTo>
                  <a:cubicBezTo>
                    <a:pt x="154" y="368"/>
                    <a:pt x="154" y="368"/>
                    <a:pt x="154" y="368"/>
                  </a:cubicBezTo>
                  <a:cubicBezTo>
                    <a:pt x="154" y="368"/>
                    <a:pt x="153" y="369"/>
                    <a:pt x="154" y="369"/>
                  </a:cubicBezTo>
                  <a:cubicBezTo>
                    <a:pt x="154" y="369"/>
                    <a:pt x="154" y="369"/>
                    <a:pt x="154" y="369"/>
                  </a:cubicBezTo>
                  <a:cubicBezTo>
                    <a:pt x="154" y="369"/>
                    <a:pt x="154" y="369"/>
                    <a:pt x="154" y="369"/>
                  </a:cubicBezTo>
                  <a:cubicBezTo>
                    <a:pt x="154" y="369"/>
                    <a:pt x="154" y="369"/>
                    <a:pt x="154" y="369"/>
                  </a:cubicBezTo>
                  <a:cubicBezTo>
                    <a:pt x="154" y="370"/>
                    <a:pt x="154" y="370"/>
                    <a:pt x="154" y="370"/>
                  </a:cubicBezTo>
                  <a:cubicBezTo>
                    <a:pt x="154" y="370"/>
                    <a:pt x="154" y="370"/>
                    <a:pt x="154" y="370"/>
                  </a:cubicBezTo>
                  <a:cubicBezTo>
                    <a:pt x="154" y="371"/>
                    <a:pt x="154" y="371"/>
                    <a:pt x="154" y="371"/>
                  </a:cubicBezTo>
                  <a:cubicBezTo>
                    <a:pt x="154" y="371"/>
                    <a:pt x="155" y="371"/>
                    <a:pt x="155" y="371"/>
                  </a:cubicBezTo>
                  <a:cubicBezTo>
                    <a:pt x="155" y="371"/>
                    <a:pt x="156" y="372"/>
                    <a:pt x="156" y="372"/>
                  </a:cubicBezTo>
                  <a:cubicBezTo>
                    <a:pt x="156" y="372"/>
                    <a:pt x="157" y="372"/>
                    <a:pt x="157" y="372"/>
                  </a:cubicBezTo>
                  <a:cubicBezTo>
                    <a:pt x="157" y="372"/>
                    <a:pt x="157" y="372"/>
                    <a:pt x="157" y="372"/>
                  </a:cubicBezTo>
                  <a:cubicBezTo>
                    <a:pt x="157" y="372"/>
                    <a:pt x="157" y="372"/>
                    <a:pt x="157" y="372"/>
                  </a:cubicBezTo>
                  <a:cubicBezTo>
                    <a:pt x="158" y="372"/>
                    <a:pt x="158" y="372"/>
                    <a:pt x="158" y="372"/>
                  </a:cubicBezTo>
                  <a:cubicBezTo>
                    <a:pt x="158" y="372"/>
                    <a:pt x="158" y="371"/>
                    <a:pt x="158" y="371"/>
                  </a:cubicBezTo>
                  <a:cubicBezTo>
                    <a:pt x="158" y="371"/>
                    <a:pt x="158" y="371"/>
                    <a:pt x="158" y="371"/>
                  </a:cubicBezTo>
                  <a:cubicBezTo>
                    <a:pt x="169" y="373"/>
                    <a:pt x="169" y="373"/>
                    <a:pt x="169" y="373"/>
                  </a:cubicBezTo>
                  <a:cubicBezTo>
                    <a:pt x="171" y="374"/>
                    <a:pt x="171" y="376"/>
                    <a:pt x="174" y="377"/>
                  </a:cubicBezTo>
                  <a:cubicBezTo>
                    <a:pt x="180" y="375"/>
                    <a:pt x="180" y="375"/>
                    <a:pt x="180" y="375"/>
                  </a:cubicBezTo>
                  <a:cubicBezTo>
                    <a:pt x="188" y="381"/>
                    <a:pt x="188" y="381"/>
                    <a:pt x="188" y="381"/>
                  </a:cubicBezTo>
                  <a:cubicBezTo>
                    <a:pt x="195" y="378"/>
                    <a:pt x="195" y="378"/>
                    <a:pt x="195" y="378"/>
                  </a:cubicBezTo>
                  <a:cubicBezTo>
                    <a:pt x="203" y="378"/>
                    <a:pt x="203" y="378"/>
                    <a:pt x="203" y="378"/>
                  </a:cubicBezTo>
                  <a:cubicBezTo>
                    <a:pt x="203" y="377"/>
                    <a:pt x="206" y="377"/>
                    <a:pt x="208" y="378"/>
                  </a:cubicBezTo>
                  <a:cubicBezTo>
                    <a:pt x="208" y="378"/>
                    <a:pt x="208" y="378"/>
                    <a:pt x="208" y="378"/>
                  </a:cubicBezTo>
                  <a:cubicBezTo>
                    <a:pt x="209" y="375"/>
                    <a:pt x="209" y="375"/>
                    <a:pt x="209" y="375"/>
                  </a:cubicBezTo>
                  <a:cubicBezTo>
                    <a:pt x="209" y="375"/>
                    <a:pt x="209" y="371"/>
                    <a:pt x="208" y="370"/>
                  </a:cubicBezTo>
                  <a:cubicBezTo>
                    <a:pt x="208" y="369"/>
                    <a:pt x="206" y="368"/>
                    <a:pt x="206" y="368"/>
                  </a:cubicBezTo>
                  <a:cubicBezTo>
                    <a:pt x="206" y="368"/>
                    <a:pt x="207" y="365"/>
                    <a:pt x="207" y="364"/>
                  </a:cubicBezTo>
                  <a:cubicBezTo>
                    <a:pt x="207" y="362"/>
                    <a:pt x="207" y="359"/>
                    <a:pt x="207" y="359"/>
                  </a:cubicBezTo>
                  <a:cubicBezTo>
                    <a:pt x="207" y="358"/>
                    <a:pt x="207" y="355"/>
                    <a:pt x="208" y="354"/>
                  </a:cubicBezTo>
                  <a:cubicBezTo>
                    <a:pt x="208" y="354"/>
                    <a:pt x="207" y="354"/>
                    <a:pt x="208" y="352"/>
                  </a:cubicBezTo>
                  <a:cubicBezTo>
                    <a:pt x="210" y="350"/>
                    <a:pt x="210" y="349"/>
                    <a:pt x="210" y="349"/>
                  </a:cubicBezTo>
                  <a:cubicBezTo>
                    <a:pt x="213" y="344"/>
                    <a:pt x="213" y="344"/>
                    <a:pt x="213" y="344"/>
                  </a:cubicBezTo>
                  <a:cubicBezTo>
                    <a:pt x="213" y="344"/>
                    <a:pt x="215" y="341"/>
                    <a:pt x="216" y="341"/>
                  </a:cubicBezTo>
                  <a:cubicBezTo>
                    <a:pt x="217" y="341"/>
                    <a:pt x="220" y="340"/>
                    <a:pt x="221" y="340"/>
                  </a:cubicBezTo>
                  <a:cubicBezTo>
                    <a:pt x="222" y="340"/>
                    <a:pt x="225" y="343"/>
                    <a:pt x="227" y="340"/>
                  </a:cubicBezTo>
                  <a:cubicBezTo>
                    <a:pt x="228" y="338"/>
                    <a:pt x="229" y="336"/>
                    <a:pt x="229" y="335"/>
                  </a:cubicBezTo>
                  <a:cubicBezTo>
                    <a:pt x="230" y="334"/>
                    <a:pt x="231" y="332"/>
                    <a:pt x="233" y="332"/>
                  </a:cubicBezTo>
                  <a:cubicBezTo>
                    <a:pt x="235" y="332"/>
                    <a:pt x="241" y="331"/>
                    <a:pt x="241" y="331"/>
                  </a:cubicBezTo>
                  <a:cubicBezTo>
                    <a:pt x="244" y="332"/>
                    <a:pt x="244" y="332"/>
                    <a:pt x="244" y="332"/>
                  </a:cubicBezTo>
                  <a:cubicBezTo>
                    <a:pt x="250" y="335"/>
                    <a:pt x="250" y="335"/>
                    <a:pt x="250" y="335"/>
                  </a:cubicBezTo>
                  <a:cubicBezTo>
                    <a:pt x="250" y="335"/>
                    <a:pt x="253" y="335"/>
                    <a:pt x="254" y="335"/>
                  </a:cubicBezTo>
                  <a:cubicBezTo>
                    <a:pt x="255" y="335"/>
                    <a:pt x="256" y="335"/>
                    <a:pt x="256" y="335"/>
                  </a:cubicBezTo>
                  <a:cubicBezTo>
                    <a:pt x="258" y="338"/>
                    <a:pt x="258" y="338"/>
                    <a:pt x="258" y="338"/>
                  </a:cubicBezTo>
                  <a:cubicBezTo>
                    <a:pt x="258" y="338"/>
                    <a:pt x="261" y="339"/>
                    <a:pt x="262" y="339"/>
                  </a:cubicBezTo>
                  <a:cubicBezTo>
                    <a:pt x="263" y="339"/>
                    <a:pt x="269" y="338"/>
                    <a:pt x="269" y="338"/>
                  </a:cubicBezTo>
                  <a:cubicBezTo>
                    <a:pt x="269" y="338"/>
                    <a:pt x="272" y="337"/>
                    <a:pt x="272" y="338"/>
                  </a:cubicBezTo>
                  <a:cubicBezTo>
                    <a:pt x="273" y="338"/>
                    <a:pt x="276" y="340"/>
                    <a:pt x="276" y="340"/>
                  </a:cubicBezTo>
                  <a:cubicBezTo>
                    <a:pt x="276" y="341"/>
                    <a:pt x="283" y="344"/>
                    <a:pt x="284" y="345"/>
                  </a:cubicBezTo>
                  <a:cubicBezTo>
                    <a:pt x="285" y="346"/>
                    <a:pt x="288" y="345"/>
                    <a:pt x="288" y="345"/>
                  </a:cubicBezTo>
                  <a:cubicBezTo>
                    <a:pt x="290" y="349"/>
                    <a:pt x="290" y="349"/>
                    <a:pt x="290" y="349"/>
                  </a:cubicBezTo>
                  <a:cubicBezTo>
                    <a:pt x="298" y="351"/>
                    <a:pt x="298" y="351"/>
                    <a:pt x="298" y="351"/>
                  </a:cubicBezTo>
                  <a:cubicBezTo>
                    <a:pt x="302" y="351"/>
                    <a:pt x="302" y="351"/>
                    <a:pt x="302" y="351"/>
                  </a:cubicBezTo>
                  <a:cubicBezTo>
                    <a:pt x="313" y="356"/>
                    <a:pt x="313" y="356"/>
                    <a:pt x="313" y="356"/>
                  </a:cubicBezTo>
                  <a:cubicBezTo>
                    <a:pt x="320" y="350"/>
                    <a:pt x="320" y="350"/>
                    <a:pt x="320" y="350"/>
                  </a:cubicBezTo>
                  <a:cubicBezTo>
                    <a:pt x="320" y="350"/>
                    <a:pt x="322" y="350"/>
                    <a:pt x="323" y="350"/>
                  </a:cubicBezTo>
                  <a:cubicBezTo>
                    <a:pt x="323" y="351"/>
                    <a:pt x="325" y="344"/>
                    <a:pt x="325" y="344"/>
                  </a:cubicBezTo>
                  <a:cubicBezTo>
                    <a:pt x="325" y="344"/>
                    <a:pt x="324" y="343"/>
                    <a:pt x="326" y="343"/>
                  </a:cubicBezTo>
                  <a:cubicBezTo>
                    <a:pt x="327" y="343"/>
                    <a:pt x="333" y="341"/>
                    <a:pt x="333" y="340"/>
                  </a:cubicBezTo>
                  <a:cubicBezTo>
                    <a:pt x="333" y="339"/>
                    <a:pt x="332" y="336"/>
                    <a:pt x="334" y="335"/>
                  </a:cubicBezTo>
                  <a:cubicBezTo>
                    <a:pt x="336" y="335"/>
                    <a:pt x="339" y="332"/>
                    <a:pt x="339" y="332"/>
                  </a:cubicBezTo>
                  <a:cubicBezTo>
                    <a:pt x="340" y="331"/>
                    <a:pt x="339" y="330"/>
                    <a:pt x="341" y="329"/>
                  </a:cubicBezTo>
                  <a:cubicBezTo>
                    <a:pt x="342" y="329"/>
                    <a:pt x="345" y="328"/>
                    <a:pt x="346" y="328"/>
                  </a:cubicBezTo>
                  <a:cubicBezTo>
                    <a:pt x="346" y="328"/>
                    <a:pt x="346" y="328"/>
                    <a:pt x="346" y="328"/>
                  </a:cubicBezTo>
                  <a:cubicBezTo>
                    <a:pt x="347" y="328"/>
                    <a:pt x="347" y="328"/>
                    <a:pt x="347" y="328"/>
                  </a:cubicBezTo>
                  <a:cubicBezTo>
                    <a:pt x="347" y="328"/>
                    <a:pt x="347" y="328"/>
                    <a:pt x="347" y="328"/>
                  </a:cubicBezTo>
                  <a:cubicBezTo>
                    <a:pt x="347" y="328"/>
                    <a:pt x="347" y="328"/>
                    <a:pt x="347" y="328"/>
                  </a:cubicBezTo>
                  <a:cubicBezTo>
                    <a:pt x="347" y="328"/>
                    <a:pt x="347" y="328"/>
                    <a:pt x="347" y="328"/>
                  </a:cubicBezTo>
                  <a:cubicBezTo>
                    <a:pt x="347" y="328"/>
                    <a:pt x="347" y="328"/>
                    <a:pt x="347" y="327"/>
                  </a:cubicBezTo>
                  <a:cubicBezTo>
                    <a:pt x="347" y="327"/>
                    <a:pt x="347" y="327"/>
                    <a:pt x="347" y="327"/>
                  </a:cubicBezTo>
                  <a:cubicBezTo>
                    <a:pt x="347" y="327"/>
                    <a:pt x="347" y="327"/>
                    <a:pt x="347" y="327"/>
                  </a:cubicBezTo>
                  <a:cubicBezTo>
                    <a:pt x="347" y="327"/>
                    <a:pt x="347" y="327"/>
                    <a:pt x="347" y="327"/>
                  </a:cubicBezTo>
                  <a:cubicBezTo>
                    <a:pt x="348" y="327"/>
                    <a:pt x="348" y="327"/>
                    <a:pt x="348" y="327"/>
                  </a:cubicBezTo>
                  <a:cubicBezTo>
                    <a:pt x="348" y="327"/>
                    <a:pt x="348" y="327"/>
                    <a:pt x="348" y="327"/>
                  </a:cubicBezTo>
                  <a:cubicBezTo>
                    <a:pt x="348" y="327"/>
                    <a:pt x="348" y="327"/>
                    <a:pt x="348" y="327"/>
                  </a:cubicBezTo>
                  <a:cubicBezTo>
                    <a:pt x="348" y="327"/>
                    <a:pt x="348" y="327"/>
                    <a:pt x="348" y="327"/>
                  </a:cubicBezTo>
                  <a:cubicBezTo>
                    <a:pt x="348" y="327"/>
                    <a:pt x="349" y="327"/>
                    <a:pt x="349" y="327"/>
                  </a:cubicBezTo>
                  <a:cubicBezTo>
                    <a:pt x="349" y="327"/>
                    <a:pt x="349" y="327"/>
                    <a:pt x="349" y="327"/>
                  </a:cubicBezTo>
                  <a:cubicBezTo>
                    <a:pt x="349" y="327"/>
                    <a:pt x="349" y="327"/>
                    <a:pt x="349" y="327"/>
                  </a:cubicBezTo>
                  <a:cubicBezTo>
                    <a:pt x="349" y="327"/>
                    <a:pt x="349" y="327"/>
                    <a:pt x="349" y="327"/>
                  </a:cubicBezTo>
                  <a:cubicBezTo>
                    <a:pt x="349" y="327"/>
                    <a:pt x="349" y="327"/>
                    <a:pt x="349" y="327"/>
                  </a:cubicBezTo>
                  <a:cubicBezTo>
                    <a:pt x="349" y="327"/>
                    <a:pt x="349" y="327"/>
                    <a:pt x="349" y="327"/>
                  </a:cubicBezTo>
                  <a:cubicBezTo>
                    <a:pt x="349" y="327"/>
                    <a:pt x="349" y="327"/>
                    <a:pt x="349" y="327"/>
                  </a:cubicBezTo>
                  <a:cubicBezTo>
                    <a:pt x="349" y="326"/>
                    <a:pt x="349" y="326"/>
                    <a:pt x="349" y="326"/>
                  </a:cubicBezTo>
                  <a:cubicBezTo>
                    <a:pt x="349" y="326"/>
                    <a:pt x="349" y="326"/>
                    <a:pt x="349" y="326"/>
                  </a:cubicBezTo>
                  <a:cubicBezTo>
                    <a:pt x="349" y="326"/>
                    <a:pt x="349" y="326"/>
                    <a:pt x="349" y="326"/>
                  </a:cubicBezTo>
                  <a:cubicBezTo>
                    <a:pt x="349" y="326"/>
                    <a:pt x="349" y="326"/>
                    <a:pt x="349" y="326"/>
                  </a:cubicBezTo>
                  <a:cubicBezTo>
                    <a:pt x="350" y="326"/>
                    <a:pt x="350" y="326"/>
                    <a:pt x="350" y="326"/>
                  </a:cubicBezTo>
                  <a:cubicBezTo>
                    <a:pt x="350" y="326"/>
                    <a:pt x="350" y="326"/>
                    <a:pt x="350" y="326"/>
                  </a:cubicBezTo>
                  <a:cubicBezTo>
                    <a:pt x="350" y="326"/>
                    <a:pt x="350" y="326"/>
                    <a:pt x="350" y="326"/>
                  </a:cubicBezTo>
                  <a:cubicBezTo>
                    <a:pt x="350" y="326"/>
                    <a:pt x="350" y="326"/>
                    <a:pt x="350" y="326"/>
                  </a:cubicBezTo>
                  <a:cubicBezTo>
                    <a:pt x="350" y="326"/>
                    <a:pt x="350" y="326"/>
                    <a:pt x="350" y="326"/>
                  </a:cubicBezTo>
                  <a:cubicBezTo>
                    <a:pt x="350" y="326"/>
                    <a:pt x="350" y="326"/>
                    <a:pt x="350" y="326"/>
                  </a:cubicBezTo>
                  <a:cubicBezTo>
                    <a:pt x="350" y="326"/>
                    <a:pt x="350" y="326"/>
                    <a:pt x="350" y="326"/>
                  </a:cubicBezTo>
                  <a:cubicBezTo>
                    <a:pt x="350" y="326"/>
                    <a:pt x="350" y="326"/>
                    <a:pt x="350" y="326"/>
                  </a:cubicBezTo>
                  <a:cubicBezTo>
                    <a:pt x="350" y="326"/>
                    <a:pt x="350" y="326"/>
                    <a:pt x="350" y="326"/>
                  </a:cubicBezTo>
                  <a:cubicBezTo>
                    <a:pt x="351" y="326"/>
                    <a:pt x="351" y="326"/>
                    <a:pt x="351" y="326"/>
                  </a:cubicBezTo>
                  <a:cubicBezTo>
                    <a:pt x="351" y="326"/>
                    <a:pt x="351" y="326"/>
                    <a:pt x="351" y="326"/>
                  </a:cubicBezTo>
                  <a:cubicBezTo>
                    <a:pt x="351" y="326"/>
                    <a:pt x="351" y="326"/>
                    <a:pt x="351" y="326"/>
                  </a:cubicBezTo>
                  <a:cubicBezTo>
                    <a:pt x="351" y="326"/>
                    <a:pt x="351" y="326"/>
                    <a:pt x="351" y="326"/>
                  </a:cubicBezTo>
                  <a:cubicBezTo>
                    <a:pt x="351" y="326"/>
                    <a:pt x="351" y="326"/>
                    <a:pt x="351" y="326"/>
                  </a:cubicBezTo>
                  <a:cubicBezTo>
                    <a:pt x="352" y="325"/>
                    <a:pt x="352" y="325"/>
                    <a:pt x="352" y="325"/>
                  </a:cubicBezTo>
                  <a:cubicBezTo>
                    <a:pt x="357" y="321"/>
                    <a:pt x="357" y="321"/>
                    <a:pt x="357" y="321"/>
                  </a:cubicBezTo>
                  <a:cubicBezTo>
                    <a:pt x="359" y="312"/>
                    <a:pt x="359" y="312"/>
                    <a:pt x="359" y="312"/>
                  </a:cubicBezTo>
                  <a:cubicBezTo>
                    <a:pt x="356" y="309"/>
                    <a:pt x="356" y="309"/>
                    <a:pt x="356" y="309"/>
                  </a:cubicBezTo>
                  <a:cubicBezTo>
                    <a:pt x="349" y="310"/>
                    <a:pt x="349" y="310"/>
                    <a:pt x="349" y="310"/>
                  </a:cubicBezTo>
                  <a:cubicBezTo>
                    <a:pt x="341" y="306"/>
                    <a:pt x="341" y="306"/>
                    <a:pt x="341" y="306"/>
                  </a:cubicBezTo>
                  <a:cubicBezTo>
                    <a:pt x="337" y="300"/>
                    <a:pt x="337" y="300"/>
                    <a:pt x="337" y="300"/>
                  </a:cubicBezTo>
                  <a:cubicBezTo>
                    <a:pt x="334" y="300"/>
                    <a:pt x="334" y="300"/>
                    <a:pt x="334" y="300"/>
                  </a:cubicBezTo>
                  <a:cubicBezTo>
                    <a:pt x="334" y="294"/>
                    <a:pt x="332" y="297"/>
                    <a:pt x="335" y="293"/>
                  </a:cubicBezTo>
                  <a:cubicBezTo>
                    <a:pt x="338" y="288"/>
                    <a:pt x="338" y="288"/>
                    <a:pt x="338" y="288"/>
                  </a:cubicBezTo>
                  <a:cubicBezTo>
                    <a:pt x="338" y="280"/>
                    <a:pt x="338" y="280"/>
                    <a:pt x="338" y="280"/>
                  </a:cubicBezTo>
                  <a:cubicBezTo>
                    <a:pt x="335" y="277"/>
                    <a:pt x="335" y="277"/>
                    <a:pt x="335" y="277"/>
                  </a:cubicBezTo>
                  <a:cubicBezTo>
                    <a:pt x="331" y="276"/>
                    <a:pt x="331" y="276"/>
                    <a:pt x="331" y="276"/>
                  </a:cubicBezTo>
                  <a:cubicBezTo>
                    <a:pt x="331" y="276"/>
                    <a:pt x="328" y="272"/>
                    <a:pt x="328" y="271"/>
                  </a:cubicBezTo>
                  <a:cubicBezTo>
                    <a:pt x="328" y="271"/>
                    <a:pt x="328" y="270"/>
                    <a:pt x="328" y="269"/>
                  </a:cubicBezTo>
                  <a:cubicBezTo>
                    <a:pt x="327" y="269"/>
                    <a:pt x="330" y="269"/>
                    <a:pt x="331" y="269"/>
                  </a:cubicBezTo>
                  <a:cubicBezTo>
                    <a:pt x="331" y="269"/>
                    <a:pt x="334" y="268"/>
                    <a:pt x="334" y="268"/>
                  </a:cubicBezTo>
                  <a:cubicBezTo>
                    <a:pt x="335" y="268"/>
                    <a:pt x="338" y="265"/>
                    <a:pt x="338" y="265"/>
                  </a:cubicBezTo>
                  <a:cubicBezTo>
                    <a:pt x="338" y="265"/>
                    <a:pt x="340" y="262"/>
                    <a:pt x="342" y="261"/>
                  </a:cubicBezTo>
                  <a:cubicBezTo>
                    <a:pt x="343" y="260"/>
                    <a:pt x="344" y="253"/>
                    <a:pt x="344" y="253"/>
                  </a:cubicBezTo>
                  <a:cubicBezTo>
                    <a:pt x="344" y="252"/>
                    <a:pt x="342" y="249"/>
                    <a:pt x="342" y="249"/>
                  </a:cubicBezTo>
                  <a:cubicBezTo>
                    <a:pt x="335" y="245"/>
                    <a:pt x="336" y="244"/>
                    <a:pt x="332" y="242"/>
                  </a:cubicBezTo>
                  <a:cubicBezTo>
                    <a:pt x="332" y="238"/>
                    <a:pt x="332" y="238"/>
                    <a:pt x="332" y="238"/>
                  </a:cubicBezTo>
                  <a:cubicBezTo>
                    <a:pt x="337" y="235"/>
                    <a:pt x="337" y="235"/>
                    <a:pt x="337" y="235"/>
                  </a:cubicBezTo>
                  <a:cubicBezTo>
                    <a:pt x="338" y="234"/>
                    <a:pt x="339" y="234"/>
                    <a:pt x="340" y="233"/>
                  </a:cubicBezTo>
                  <a:cubicBezTo>
                    <a:pt x="340" y="232"/>
                    <a:pt x="340" y="232"/>
                    <a:pt x="340" y="232"/>
                  </a:cubicBezTo>
                  <a:cubicBezTo>
                    <a:pt x="340" y="232"/>
                    <a:pt x="339" y="230"/>
                    <a:pt x="339" y="230"/>
                  </a:cubicBezTo>
                  <a:cubicBezTo>
                    <a:pt x="339" y="230"/>
                    <a:pt x="338" y="229"/>
                    <a:pt x="338" y="229"/>
                  </a:cubicBezTo>
                  <a:cubicBezTo>
                    <a:pt x="337" y="229"/>
                    <a:pt x="337" y="228"/>
                    <a:pt x="337" y="228"/>
                  </a:cubicBezTo>
                  <a:cubicBezTo>
                    <a:pt x="337" y="228"/>
                    <a:pt x="336" y="228"/>
                    <a:pt x="335" y="228"/>
                  </a:cubicBezTo>
                  <a:cubicBezTo>
                    <a:pt x="335" y="228"/>
                    <a:pt x="336" y="226"/>
                    <a:pt x="336" y="226"/>
                  </a:cubicBezTo>
                  <a:cubicBezTo>
                    <a:pt x="336" y="226"/>
                    <a:pt x="336" y="224"/>
                    <a:pt x="336" y="224"/>
                  </a:cubicBezTo>
                  <a:cubicBezTo>
                    <a:pt x="336" y="224"/>
                    <a:pt x="334" y="224"/>
                    <a:pt x="333" y="223"/>
                  </a:cubicBezTo>
                  <a:cubicBezTo>
                    <a:pt x="333" y="223"/>
                    <a:pt x="333" y="223"/>
                    <a:pt x="333" y="223"/>
                  </a:cubicBezTo>
                  <a:cubicBezTo>
                    <a:pt x="333" y="223"/>
                    <a:pt x="333" y="221"/>
                    <a:pt x="334" y="220"/>
                  </a:cubicBezTo>
                  <a:cubicBezTo>
                    <a:pt x="335" y="220"/>
                    <a:pt x="334" y="219"/>
                    <a:pt x="334" y="219"/>
                  </a:cubicBezTo>
                  <a:cubicBezTo>
                    <a:pt x="334" y="219"/>
                    <a:pt x="334" y="218"/>
                    <a:pt x="335" y="217"/>
                  </a:cubicBezTo>
                  <a:cubicBezTo>
                    <a:pt x="335" y="216"/>
                    <a:pt x="335" y="216"/>
                    <a:pt x="335" y="216"/>
                  </a:cubicBezTo>
                  <a:cubicBezTo>
                    <a:pt x="335" y="216"/>
                    <a:pt x="333" y="215"/>
                    <a:pt x="333" y="215"/>
                  </a:cubicBezTo>
                  <a:cubicBezTo>
                    <a:pt x="332" y="215"/>
                    <a:pt x="332" y="215"/>
                    <a:pt x="333" y="214"/>
                  </a:cubicBezTo>
                  <a:cubicBezTo>
                    <a:pt x="334" y="213"/>
                    <a:pt x="334" y="213"/>
                    <a:pt x="334" y="213"/>
                  </a:cubicBezTo>
                  <a:cubicBezTo>
                    <a:pt x="334" y="211"/>
                    <a:pt x="334" y="211"/>
                    <a:pt x="334" y="211"/>
                  </a:cubicBezTo>
                  <a:cubicBezTo>
                    <a:pt x="332" y="211"/>
                    <a:pt x="332" y="211"/>
                    <a:pt x="332" y="211"/>
                  </a:cubicBezTo>
                  <a:cubicBezTo>
                    <a:pt x="330" y="210"/>
                    <a:pt x="330" y="210"/>
                    <a:pt x="330" y="210"/>
                  </a:cubicBezTo>
                  <a:cubicBezTo>
                    <a:pt x="330" y="210"/>
                    <a:pt x="327" y="210"/>
                    <a:pt x="327" y="210"/>
                  </a:cubicBezTo>
                  <a:cubicBezTo>
                    <a:pt x="327" y="210"/>
                    <a:pt x="325" y="210"/>
                    <a:pt x="325" y="210"/>
                  </a:cubicBezTo>
                  <a:cubicBezTo>
                    <a:pt x="323" y="210"/>
                    <a:pt x="323" y="210"/>
                    <a:pt x="323" y="210"/>
                  </a:cubicBezTo>
                  <a:cubicBezTo>
                    <a:pt x="322" y="211"/>
                    <a:pt x="322" y="211"/>
                    <a:pt x="322" y="211"/>
                  </a:cubicBezTo>
                  <a:cubicBezTo>
                    <a:pt x="320" y="212"/>
                    <a:pt x="320" y="212"/>
                    <a:pt x="320" y="212"/>
                  </a:cubicBezTo>
                  <a:cubicBezTo>
                    <a:pt x="318" y="212"/>
                    <a:pt x="318" y="212"/>
                    <a:pt x="318" y="212"/>
                  </a:cubicBezTo>
                  <a:cubicBezTo>
                    <a:pt x="318" y="212"/>
                    <a:pt x="317" y="214"/>
                    <a:pt x="316" y="214"/>
                  </a:cubicBezTo>
                  <a:cubicBezTo>
                    <a:pt x="316" y="215"/>
                    <a:pt x="316" y="216"/>
                    <a:pt x="316" y="216"/>
                  </a:cubicBezTo>
                  <a:cubicBezTo>
                    <a:pt x="317" y="217"/>
                    <a:pt x="317" y="217"/>
                    <a:pt x="317" y="217"/>
                  </a:cubicBezTo>
                  <a:cubicBezTo>
                    <a:pt x="317" y="218"/>
                    <a:pt x="317" y="218"/>
                    <a:pt x="317" y="218"/>
                  </a:cubicBezTo>
                  <a:cubicBezTo>
                    <a:pt x="318" y="218"/>
                    <a:pt x="318" y="218"/>
                    <a:pt x="318" y="218"/>
                  </a:cubicBezTo>
                  <a:cubicBezTo>
                    <a:pt x="318" y="219"/>
                    <a:pt x="318" y="219"/>
                    <a:pt x="318" y="219"/>
                  </a:cubicBezTo>
                  <a:cubicBezTo>
                    <a:pt x="318" y="219"/>
                    <a:pt x="316" y="220"/>
                    <a:pt x="316" y="221"/>
                  </a:cubicBezTo>
                  <a:cubicBezTo>
                    <a:pt x="315" y="221"/>
                    <a:pt x="315" y="222"/>
                    <a:pt x="315" y="222"/>
                  </a:cubicBezTo>
                  <a:cubicBezTo>
                    <a:pt x="313" y="223"/>
                    <a:pt x="313" y="223"/>
                    <a:pt x="313" y="223"/>
                  </a:cubicBezTo>
                  <a:cubicBezTo>
                    <a:pt x="311" y="222"/>
                    <a:pt x="311" y="222"/>
                    <a:pt x="311" y="222"/>
                  </a:cubicBezTo>
                  <a:cubicBezTo>
                    <a:pt x="310" y="223"/>
                    <a:pt x="310" y="223"/>
                    <a:pt x="310" y="223"/>
                  </a:cubicBezTo>
                  <a:cubicBezTo>
                    <a:pt x="309" y="223"/>
                    <a:pt x="309" y="223"/>
                    <a:pt x="309" y="223"/>
                  </a:cubicBezTo>
                  <a:cubicBezTo>
                    <a:pt x="309" y="221"/>
                    <a:pt x="309" y="221"/>
                    <a:pt x="309" y="221"/>
                  </a:cubicBezTo>
                  <a:cubicBezTo>
                    <a:pt x="308" y="221"/>
                    <a:pt x="308" y="221"/>
                    <a:pt x="308" y="221"/>
                  </a:cubicBezTo>
                  <a:cubicBezTo>
                    <a:pt x="308" y="220"/>
                    <a:pt x="308" y="220"/>
                    <a:pt x="308" y="220"/>
                  </a:cubicBezTo>
                  <a:cubicBezTo>
                    <a:pt x="308" y="220"/>
                    <a:pt x="309" y="219"/>
                    <a:pt x="310" y="219"/>
                  </a:cubicBezTo>
                  <a:cubicBezTo>
                    <a:pt x="310" y="219"/>
                    <a:pt x="311" y="218"/>
                    <a:pt x="311" y="218"/>
                  </a:cubicBezTo>
                  <a:cubicBezTo>
                    <a:pt x="313" y="218"/>
                    <a:pt x="313" y="218"/>
                    <a:pt x="313" y="218"/>
                  </a:cubicBezTo>
                  <a:cubicBezTo>
                    <a:pt x="313" y="217"/>
                    <a:pt x="313" y="217"/>
                    <a:pt x="313" y="217"/>
                  </a:cubicBezTo>
                  <a:cubicBezTo>
                    <a:pt x="313" y="215"/>
                    <a:pt x="313" y="215"/>
                    <a:pt x="313" y="215"/>
                  </a:cubicBezTo>
                  <a:cubicBezTo>
                    <a:pt x="314" y="213"/>
                    <a:pt x="314" y="213"/>
                    <a:pt x="314" y="213"/>
                  </a:cubicBezTo>
                  <a:cubicBezTo>
                    <a:pt x="313" y="212"/>
                    <a:pt x="313" y="212"/>
                    <a:pt x="313" y="212"/>
                  </a:cubicBezTo>
                  <a:cubicBezTo>
                    <a:pt x="312" y="211"/>
                    <a:pt x="312" y="211"/>
                    <a:pt x="312" y="211"/>
                  </a:cubicBezTo>
                  <a:cubicBezTo>
                    <a:pt x="312" y="210"/>
                    <a:pt x="312" y="210"/>
                    <a:pt x="312" y="210"/>
                  </a:cubicBezTo>
                  <a:cubicBezTo>
                    <a:pt x="312" y="208"/>
                    <a:pt x="312" y="208"/>
                    <a:pt x="312" y="208"/>
                  </a:cubicBezTo>
                  <a:cubicBezTo>
                    <a:pt x="312" y="207"/>
                    <a:pt x="312" y="207"/>
                    <a:pt x="312" y="207"/>
                  </a:cubicBezTo>
                  <a:cubicBezTo>
                    <a:pt x="312" y="207"/>
                    <a:pt x="313" y="207"/>
                    <a:pt x="313" y="206"/>
                  </a:cubicBezTo>
                  <a:cubicBezTo>
                    <a:pt x="314" y="206"/>
                    <a:pt x="314" y="205"/>
                    <a:pt x="314" y="204"/>
                  </a:cubicBezTo>
                  <a:cubicBezTo>
                    <a:pt x="314" y="204"/>
                    <a:pt x="313" y="204"/>
                    <a:pt x="313" y="204"/>
                  </a:cubicBezTo>
                  <a:cubicBezTo>
                    <a:pt x="316" y="201"/>
                    <a:pt x="316" y="201"/>
                    <a:pt x="316" y="201"/>
                  </a:cubicBezTo>
                  <a:cubicBezTo>
                    <a:pt x="319" y="199"/>
                    <a:pt x="319" y="199"/>
                    <a:pt x="319" y="199"/>
                  </a:cubicBezTo>
                  <a:cubicBezTo>
                    <a:pt x="319" y="199"/>
                    <a:pt x="320" y="198"/>
                    <a:pt x="320" y="198"/>
                  </a:cubicBezTo>
                  <a:cubicBezTo>
                    <a:pt x="320" y="198"/>
                    <a:pt x="322" y="198"/>
                    <a:pt x="322" y="198"/>
                  </a:cubicBezTo>
                  <a:cubicBezTo>
                    <a:pt x="322" y="198"/>
                    <a:pt x="322" y="197"/>
                    <a:pt x="323" y="197"/>
                  </a:cubicBezTo>
                  <a:cubicBezTo>
                    <a:pt x="323" y="197"/>
                    <a:pt x="323" y="196"/>
                    <a:pt x="323" y="196"/>
                  </a:cubicBezTo>
                  <a:cubicBezTo>
                    <a:pt x="323" y="196"/>
                    <a:pt x="323" y="195"/>
                    <a:pt x="323" y="195"/>
                  </a:cubicBezTo>
                  <a:cubicBezTo>
                    <a:pt x="323" y="195"/>
                    <a:pt x="323" y="194"/>
                    <a:pt x="323" y="194"/>
                  </a:cubicBezTo>
                  <a:cubicBezTo>
                    <a:pt x="323" y="194"/>
                    <a:pt x="323" y="193"/>
                    <a:pt x="323" y="193"/>
                  </a:cubicBezTo>
                  <a:cubicBezTo>
                    <a:pt x="323" y="193"/>
                    <a:pt x="324" y="192"/>
                    <a:pt x="324" y="192"/>
                  </a:cubicBezTo>
                  <a:cubicBezTo>
                    <a:pt x="324" y="191"/>
                    <a:pt x="324" y="191"/>
                    <a:pt x="324" y="191"/>
                  </a:cubicBezTo>
                  <a:cubicBezTo>
                    <a:pt x="324" y="191"/>
                    <a:pt x="323" y="190"/>
                    <a:pt x="323" y="189"/>
                  </a:cubicBezTo>
                  <a:cubicBezTo>
                    <a:pt x="323" y="189"/>
                    <a:pt x="323" y="189"/>
                    <a:pt x="323" y="188"/>
                  </a:cubicBezTo>
                  <a:cubicBezTo>
                    <a:pt x="324" y="188"/>
                    <a:pt x="324" y="187"/>
                    <a:pt x="324" y="187"/>
                  </a:cubicBezTo>
                  <a:cubicBezTo>
                    <a:pt x="326" y="187"/>
                    <a:pt x="326" y="187"/>
                    <a:pt x="326" y="187"/>
                  </a:cubicBezTo>
                  <a:cubicBezTo>
                    <a:pt x="326" y="187"/>
                    <a:pt x="327" y="187"/>
                    <a:pt x="328" y="187"/>
                  </a:cubicBezTo>
                  <a:cubicBezTo>
                    <a:pt x="328" y="186"/>
                    <a:pt x="329" y="186"/>
                    <a:pt x="329" y="186"/>
                  </a:cubicBezTo>
                  <a:cubicBezTo>
                    <a:pt x="330" y="185"/>
                    <a:pt x="330" y="185"/>
                    <a:pt x="330" y="185"/>
                  </a:cubicBezTo>
                  <a:cubicBezTo>
                    <a:pt x="331" y="184"/>
                    <a:pt x="331" y="184"/>
                    <a:pt x="331" y="184"/>
                  </a:cubicBezTo>
                  <a:cubicBezTo>
                    <a:pt x="331" y="183"/>
                    <a:pt x="331" y="183"/>
                    <a:pt x="331" y="183"/>
                  </a:cubicBezTo>
                  <a:cubicBezTo>
                    <a:pt x="331" y="182"/>
                    <a:pt x="331" y="182"/>
                    <a:pt x="331" y="182"/>
                  </a:cubicBezTo>
                  <a:cubicBezTo>
                    <a:pt x="333" y="181"/>
                    <a:pt x="333" y="181"/>
                    <a:pt x="333" y="181"/>
                  </a:cubicBezTo>
                  <a:cubicBezTo>
                    <a:pt x="333" y="180"/>
                    <a:pt x="333" y="180"/>
                    <a:pt x="333" y="180"/>
                  </a:cubicBezTo>
                  <a:cubicBezTo>
                    <a:pt x="334" y="180"/>
                    <a:pt x="334" y="180"/>
                    <a:pt x="334" y="180"/>
                  </a:cubicBezTo>
                  <a:cubicBezTo>
                    <a:pt x="335" y="179"/>
                    <a:pt x="335" y="179"/>
                    <a:pt x="335" y="179"/>
                  </a:cubicBezTo>
                  <a:cubicBezTo>
                    <a:pt x="336" y="178"/>
                    <a:pt x="336" y="178"/>
                    <a:pt x="336" y="178"/>
                  </a:cubicBezTo>
                  <a:cubicBezTo>
                    <a:pt x="337" y="177"/>
                    <a:pt x="337" y="177"/>
                    <a:pt x="337" y="177"/>
                  </a:cubicBezTo>
                  <a:cubicBezTo>
                    <a:pt x="337" y="177"/>
                    <a:pt x="339" y="175"/>
                    <a:pt x="339" y="175"/>
                  </a:cubicBezTo>
                  <a:cubicBezTo>
                    <a:pt x="339" y="174"/>
                    <a:pt x="339" y="174"/>
                    <a:pt x="339" y="173"/>
                  </a:cubicBezTo>
                  <a:cubicBezTo>
                    <a:pt x="339" y="173"/>
                    <a:pt x="340" y="173"/>
                    <a:pt x="340" y="172"/>
                  </a:cubicBezTo>
                  <a:cubicBezTo>
                    <a:pt x="341" y="172"/>
                    <a:pt x="341" y="171"/>
                    <a:pt x="341" y="171"/>
                  </a:cubicBezTo>
                  <a:cubicBezTo>
                    <a:pt x="342" y="171"/>
                    <a:pt x="342" y="171"/>
                    <a:pt x="342" y="171"/>
                  </a:cubicBezTo>
                  <a:cubicBezTo>
                    <a:pt x="342" y="170"/>
                    <a:pt x="342" y="170"/>
                    <a:pt x="342" y="170"/>
                  </a:cubicBezTo>
                  <a:cubicBezTo>
                    <a:pt x="342" y="169"/>
                    <a:pt x="342" y="169"/>
                    <a:pt x="342" y="169"/>
                  </a:cubicBezTo>
                  <a:cubicBezTo>
                    <a:pt x="342" y="169"/>
                    <a:pt x="340" y="170"/>
                    <a:pt x="340" y="170"/>
                  </a:cubicBezTo>
                  <a:cubicBezTo>
                    <a:pt x="340" y="170"/>
                    <a:pt x="339" y="170"/>
                    <a:pt x="339" y="170"/>
                  </a:cubicBezTo>
                  <a:cubicBezTo>
                    <a:pt x="338" y="170"/>
                    <a:pt x="337" y="170"/>
                    <a:pt x="337" y="170"/>
                  </a:cubicBezTo>
                  <a:cubicBezTo>
                    <a:pt x="336" y="169"/>
                    <a:pt x="337" y="169"/>
                    <a:pt x="337" y="169"/>
                  </a:cubicBezTo>
                  <a:cubicBezTo>
                    <a:pt x="337" y="169"/>
                    <a:pt x="338" y="169"/>
                    <a:pt x="338" y="168"/>
                  </a:cubicBezTo>
                  <a:cubicBezTo>
                    <a:pt x="338" y="168"/>
                    <a:pt x="338" y="167"/>
                    <a:pt x="338" y="167"/>
                  </a:cubicBezTo>
                  <a:cubicBezTo>
                    <a:pt x="339" y="167"/>
                    <a:pt x="339" y="167"/>
                    <a:pt x="339" y="167"/>
                  </a:cubicBezTo>
                  <a:cubicBezTo>
                    <a:pt x="340" y="166"/>
                    <a:pt x="340" y="166"/>
                    <a:pt x="340" y="166"/>
                  </a:cubicBezTo>
                  <a:cubicBezTo>
                    <a:pt x="340" y="166"/>
                    <a:pt x="340" y="166"/>
                    <a:pt x="341" y="166"/>
                  </a:cubicBezTo>
                  <a:cubicBezTo>
                    <a:pt x="341" y="166"/>
                    <a:pt x="340" y="165"/>
                    <a:pt x="340" y="165"/>
                  </a:cubicBezTo>
                  <a:cubicBezTo>
                    <a:pt x="340" y="164"/>
                    <a:pt x="340" y="164"/>
                    <a:pt x="340" y="164"/>
                  </a:cubicBezTo>
                  <a:cubicBezTo>
                    <a:pt x="342" y="164"/>
                    <a:pt x="342" y="164"/>
                    <a:pt x="342" y="164"/>
                  </a:cubicBezTo>
                  <a:cubicBezTo>
                    <a:pt x="344" y="164"/>
                    <a:pt x="344" y="164"/>
                    <a:pt x="344" y="164"/>
                  </a:cubicBezTo>
                  <a:cubicBezTo>
                    <a:pt x="345" y="164"/>
                    <a:pt x="345" y="164"/>
                    <a:pt x="345" y="164"/>
                  </a:cubicBezTo>
                  <a:cubicBezTo>
                    <a:pt x="345" y="164"/>
                    <a:pt x="346" y="165"/>
                    <a:pt x="346" y="165"/>
                  </a:cubicBezTo>
                  <a:cubicBezTo>
                    <a:pt x="345" y="166"/>
                    <a:pt x="346" y="166"/>
                    <a:pt x="346" y="166"/>
                  </a:cubicBezTo>
                  <a:cubicBezTo>
                    <a:pt x="346" y="167"/>
                    <a:pt x="348" y="167"/>
                    <a:pt x="348" y="167"/>
                  </a:cubicBezTo>
                  <a:cubicBezTo>
                    <a:pt x="348" y="167"/>
                    <a:pt x="348" y="167"/>
                    <a:pt x="349" y="167"/>
                  </a:cubicBezTo>
                  <a:cubicBezTo>
                    <a:pt x="349" y="167"/>
                    <a:pt x="350" y="167"/>
                    <a:pt x="350" y="167"/>
                  </a:cubicBezTo>
                  <a:cubicBezTo>
                    <a:pt x="350" y="167"/>
                    <a:pt x="351" y="167"/>
                    <a:pt x="351" y="167"/>
                  </a:cubicBezTo>
                  <a:cubicBezTo>
                    <a:pt x="351" y="167"/>
                    <a:pt x="352" y="166"/>
                    <a:pt x="353" y="166"/>
                  </a:cubicBezTo>
                  <a:cubicBezTo>
                    <a:pt x="353" y="166"/>
                    <a:pt x="353" y="166"/>
                    <a:pt x="353" y="166"/>
                  </a:cubicBezTo>
                  <a:cubicBezTo>
                    <a:pt x="353" y="166"/>
                    <a:pt x="353" y="165"/>
                    <a:pt x="353" y="165"/>
                  </a:cubicBezTo>
                  <a:cubicBezTo>
                    <a:pt x="353" y="165"/>
                    <a:pt x="354" y="164"/>
                    <a:pt x="354" y="164"/>
                  </a:cubicBezTo>
                  <a:cubicBezTo>
                    <a:pt x="354" y="164"/>
                    <a:pt x="355" y="164"/>
                    <a:pt x="355" y="164"/>
                  </a:cubicBezTo>
                  <a:cubicBezTo>
                    <a:pt x="355" y="164"/>
                    <a:pt x="355" y="164"/>
                    <a:pt x="355" y="163"/>
                  </a:cubicBezTo>
                  <a:cubicBezTo>
                    <a:pt x="355" y="163"/>
                    <a:pt x="356" y="163"/>
                    <a:pt x="356" y="162"/>
                  </a:cubicBezTo>
                  <a:cubicBezTo>
                    <a:pt x="356" y="162"/>
                    <a:pt x="355" y="162"/>
                    <a:pt x="355" y="162"/>
                  </a:cubicBezTo>
                  <a:cubicBezTo>
                    <a:pt x="355" y="162"/>
                    <a:pt x="356" y="162"/>
                    <a:pt x="356" y="162"/>
                  </a:cubicBezTo>
                  <a:cubicBezTo>
                    <a:pt x="356" y="161"/>
                    <a:pt x="356" y="161"/>
                    <a:pt x="356" y="161"/>
                  </a:cubicBezTo>
                  <a:cubicBezTo>
                    <a:pt x="356" y="161"/>
                    <a:pt x="358" y="160"/>
                    <a:pt x="358" y="160"/>
                  </a:cubicBezTo>
                  <a:cubicBezTo>
                    <a:pt x="358" y="160"/>
                    <a:pt x="358" y="160"/>
                    <a:pt x="358" y="160"/>
                  </a:cubicBezTo>
                  <a:cubicBezTo>
                    <a:pt x="360" y="159"/>
                    <a:pt x="360" y="159"/>
                    <a:pt x="360" y="159"/>
                  </a:cubicBezTo>
                  <a:cubicBezTo>
                    <a:pt x="360" y="159"/>
                    <a:pt x="360" y="160"/>
                    <a:pt x="360" y="160"/>
                  </a:cubicBezTo>
                  <a:cubicBezTo>
                    <a:pt x="359" y="158"/>
                    <a:pt x="356" y="155"/>
                    <a:pt x="356" y="155"/>
                  </a:cubicBezTo>
                  <a:cubicBezTo>
                    <a:pt x="357" y="151"/>
                    <a:pt x="357" y="151"/>
                    <a:pt x="357" y="151"/>
                  </a:cubicBezTo>
                  <a:cubicBezTo>
                    <a:pt x="357" y="151"/>
                    <a:pt x="359" y="145"/>
                    <a:pt x="359" y="144"/>
                  </a:cubicBezTo>
                  <a:cubicBezTo>
                    <a:pt x="359" y="143"/>
                    <a:pt x="358" y="139"/>
                    <a:pt x="358" y="139"/>
                  </a:cubicBezTo>
                  <a:cubicBezTo>
                    <a:pt x="358" y="139"/>
                    <a:pt x="356" y="138"/>
                    <a:pt x="358" y="135"/>
                  </a:cubicBezTo>
                  <a:cubicBezTo>
                    <a:pt x="360" y="132"/>
                    <a:pt x="362" y="128"/>
                    <a:pt x="362" y="128"/>
                  </a:cubicBezTo>
                  <a:cubicBezTo>
                    <a:pt x="363" y="120"/>
                    <a:pt x="363" y="120"/>
                    <a:pt x="363" y="120"/>
                  </a:cubicBezTo>
                  <a:cubicBezTo>
                    <a:pt x="363" y="120"/>
                    <a:pt x="360" y="118"/>
                    <a:pt x="363" y="116"/>
                  </a:cubicBezTo>
                  <a:cubicBezTo>
                    <a:pt x="366" y="114"/>
                    <a:pt x="372" y="106"/>
                    <a:pt x="372" y="106"/>
                  </a:cubicBezTo>
                  <a:cubicBezTo>
                    <a:pt x="378" y="100"/>
                    <a:pt x="378" y="100"/>
                    <a:pt x="378" y="100"/>
                  </a:cubicBezTo>
                  <a:cubicBezTo>
                    <a:pt x="368" y="97"/>
                    <a:pt x="368" y="97"/>
                    <a:pt x="368" y="97"/>
                  </a:cubicBezTo>
                  <a:lnTo>
                    <a:pt x="362" y="97"/>
                  </a:lnTo>
                  <a:close/>
                  <a:moveTo>
                    <a:pt x="157" y="372"/>
                  </a:moveTo>
                  <a:cubicBezTo>
                    <a:pt x="157" y="372"/>
                    <a:pt x="157" y="372"/>
                    <a:pt x="157" y="372"/>
                  </a:cubicBezTo>
                  <a:cubicBezTo>
                    <a:pt x="157" y="372"/>
                    <a:pt x="157" y="372"/>
                    <a:pt x="157" y="372"/>
                  </a:cubicBezTo>
                  <a:close/>
                  <a:moveTo>
                    <a:pt x="158" y="371"/>
                  </a:moveTo>
                  <a:cubicBezTo>
                    <a:pt x="158" y="371"/>
                    <a:pt x="158" y="371"/>
                    <a:pt x="158" y="371"/>
                  </a:cubicBezTo>
                  <a:cubicBezTo>
                    <a:pt x="158" y="371"/>
                    <a:pt x="158" y="371"/>
                    <a:pt x="158" y="371"/>
                  </a:cubicBezTo>
                  <a:cubicBezTo>
                    <a:pt x="158" y="371"/>
                    <a:pt x="158" y="371"/>
                    <a:pt x="158" y="371"/>
                  </a:cubicBezTo>
                  <a:cubicBezTo>
                    <a:pt x="158" y="371"/>
                    <a:pt x="158" y="371"/>
                    <a:pt x="158" y="371"/>
                  </a:cubicBezTo>
                  <a:close/>
                </a:path>
              </a:pathLst>
            </a:custGeom>
            <a:solidFill>
              <a:schemeClr val="accent6">
                <a:lumMod val="75000"/>
              </a:schemeClr>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9" name="Freeform 7"/>
            <p:cNvSpPr>
              <a:spLocks/>
            </p:cNvSpPr>
            <p:nvPr/>
          </p:nvSpPr>
          <p:spPr bwMode="auto">
            <a:xfrm>
              <a:off x="5524815" y="1963129"/>
              <a:ext cx="652754" cy="1672043"/>
            </a:xfrm>
            <a:custGeom>
              <a:avLst/>
              <a:gdLst>
                <a:gd name="T0" fmla="*/ 169 w 225"/>
                <a:gd name="T1" fmla="*/ 413 h 612"/>
                <a:gd name="T2" fmla="*/ 175 w 225"/>
                <a:gd name="T3" fmla="*/ 405 h 612"/>
                <a:gd name="T4" fmla="*/ 160 w 225"/>
                <a:gd name="T5" fmla="*/ 389 h 612"/>
                <a:gd name="T6" fmla="*/ 140 w 225"/>
                <a:gd name="T7" fmla="*/ 374 h 612"/>
                <a:gd name="T8" fmla="*/ 129 w 225"/>
                <a:gd name="T9" fmla="*/ 366 h 612"/>
                <a:gd name="T10" fmla="*/ 121 w 225"/>
                <a:gd name="T11" fmla="*/ 341 h 612"/>
                <a:gd name="T12" fmla="*/ 128 w 225"/>
                <a:gd name="T13" fmla="*/ 329 h 612"/>
                <a:gd name="T14" fmla="*/ 125 w 225"/>
                <a:gd name="T15" fmla="*/ 302 h 612"/>
                <a:gd name="T16" fmla="*/ 131 w 225"/>
                <a:gd name="T17" fmla="*/ 283 h 612"/>
                <a:gd name="T18" fmla="*/ 141 w 225"/>
                <a:gd name="T19" fmla="*/ 268 h 612"/>
                <a:gd name="T20" fmla="*/ 150 w 225"/>
                <a:gd name="T21" fmla="*/ 255 h 612"/>
                <a:gd name="T22" fmla="*/ 159 w 225"/>
                <a:gd name="T23" fmla="*/ 245 h 612"/>
                <a:gd name="T24" fmla="*/ 170 w 225"/>
                <a:gd name="T25" fmla="*/ 233 h 612"/>
                <a:gd name="T26" fmla="*/ 180 w 225"/>
                <a:gd name="T27" fmla="*/ 211 h 612"/>
                <a:gd name="T28" fmla="*/ 187 w 225"/>
                <a:gd name="T29" fmla="*/ 191 h 612"/>
                <a:gd name="T30" fmla="*/ 178 w 225"/>
                <a:gd name="T31" fmla="*/ 177 h 612"/>
                <a:gd name="T32" fmla="*/ 185 w 225"/>
                <a:gd name="T33" fmla="*/ 161 h 612"/>
                <a:gd name="T34" fmla="*/ 188 w 225"/>
                <a:gd name="T35" fmla="*/ 148 h 612"/>
                <a:gd name="T36" fmla="*/ 196 w 225"/>
                <a:gd name="T37" fmla="*/ 140 h 612"/>
                <a:gd name="T38" fmla="*/ 210 w 225"/>
                <a:gd name="T39" fmla="*/ 133 h 612"/>
                <a:gd name="T40" fmla="*/ 216 w 225"/>
                <a:gd name="T41" fmla="*/ 138 h 612"/>
                <a:gd name="T42" fmla="*/ 221 w 225"/>
                <a:gd name="T43" fmla="*/ 133 h 612"/>
                <a:gd name="T44" fmla="*/ 224 w 225"/>
                <a:gd name="T45" fmla="*/ 130 h 612"/>
                <a:gd name="T46" fmla="*/ 212 w 225"/>
                <a:gd name="T47" fmla="*/ 97 h 612"/>
                <a:gd name="T48" fmla="*/ 199 w 225"/>
                <a:gd name="T49" fmla="*/ 63 h 612"/>
                <a:gd name="T50" fmla="*/ 188 w 225"/>
                <a:gd name="T51" fmla="*/ 34 h 612"/>
                <a:gd name="T52" fmla="*/ 162 w 225"/>
                <a:gd name="T53" fmla="*/ 21 h 612"/>
                <a:gd name="T54" fmla="*/ 145 w 225"/>
                <a:gd name="T55" fmla="*/ 4 h 612"/>
                <a:gd name="T56" fmla="*/ 134 w 225"/>
                <a:gd name="T57" fmla="*/ 23 h 612"/>
                <a:gd name="T58" fmla="*/ 103 w 225"/>
                <a:gd name="T59" fmla="*/ 52 h 612"/>
                <a:gd name="T60" fmla="*/ 76 w 225"/>
                <a:gd name="T61" fmla="*/ 76 h 612"/>
                <a:gd name="T62" fmla="*/ 67 w 225"/>
                <a:gd name="T63" fmla="*/ 133 h 612"/>
                <a:gd name="T64" fmla="*/ 54 w 225"/>
                <a:gd name="T65" fmla="*/ 178 h 612"/>
                <a:gd name="T66" fmla="*/ 46 w 225"/>
                <a:gd name="T67" fmla="*/ 231 h 612"/>
                <a:gd name="T68" fmla="*/ 15 w 225"/>
                <a:gd name="T69" fmla="*/ 281 h 612"/>
                <a:gd name="T70" fmla="*/ 28 w 225"/>
                <a:gd name="T71" fmla="*/ 343 h 612"/>
                <a:gd name="T72" fmla="*/ 24 w 225"/>
                <a:gd name="T73" fmla="*/ 378 h 612"/>
                <a:gd name="T74" fmla="*/ 23 w 225"/>
                <a:gd name="T75" fmla="*/ 410 h 612"/>
                <a:gd name="T76" fmla="*/ 13 w 225"/>
                <a:gd name="T77" fmla="*/ 426 h 612"/>
                <a:gd name="T78" fmla="*/ 10 w 225"/>
                <a:gd name="T79" fmla="*/ 458 h 612"/>
                <a:gd name="T80" fmla="*/ 2 w 225"/>
                <a:gd name="T81" fmla="*/ 474 h 612"/>
                <a:gd name="T82" fmla="*/ 11 w 225"/>
                <a:gd name="T83" fmla="*/ 483 h 612"/>
                <a:gd name="T84" fmla="*/ 13 w 225"/>
                <a:gd name="T85" fmla="*/ 498 h 612"/>
                <a:gd name="T86" fmla="*/ 18 w 225"/>
                <a:gd name="T87" fmla="*/ 510 h 612"/>
                <a:gd name="T88" fmla="*/ 24 w 225"/>
                <a:gd name="T89" fmla="*/ 523 h 612"/>
                <a:gd name="T90" fmla="*/ 40 w 225"/>
                <a:gd name="T91" fmla="*/ 553 h 612"/>
                <a:gd name="T92" fmla="*/ 40 w 225"/>
                <a:gd name="T93" fmla="*/ 563 h 612"/>
                <a:gd name="T94" fmla="*/ 45 w 225"/>
                <a:gd name="T95" fmla="*/ 586 h 612"/>
                <a:gd name="T96" fmla="*/ 49 w 225"/>
                <a:gd name="T97" fmla="*/ 608 h 612"/>
                <a:gd name="T98" fmla="*/ 67 w 225"/>
                <a:gd name="T99" fmla="*/ 606 h 612"/>
                <a:gd name="T100" fmla="*/ 84 w 225"/>
                <a:gd name="T101" fmla="*/ 604 h 612"/>
                <a:gd name="T102" fmla="*/ 82 w 225"/>
                <a:gd name="T103" fmla="*/ 588 h 612"/>
                <a:gd name="T104" fmla="*/ 96 w 225"/>
                <a:gd name="T105" fmla="*/ 583 h 612"/>
                <a:gd name="T106" fmla="*/ 105 w 225"/>
                <a:gd name="T107" fmla="*/ 573 h 612"/>
                <a:gd name="T108" fmla="*/ 129 w 225"/>
                <a:gd name="T109" fmla="*/ 547 h 612"/>
                <a:gd name="T110" fmla="*/ 132 w 225"/>
                <a:gd name="T111" fmla="*/ 502 h 612"/>
                <a:gd name="T112" fmla="*/ 129 w 225"/>
                <a:gd name="T113" fmla="*/ 472 h 612"/>
                <a:gd name="T114" fmla="*/ 145 w 225"/>
                <a:gd name="T115" fmla="*/ 452 h 612"/>
                <a:gd name="T116" fmla="*/ 151 w 225"/>
                <a:gd name="T117" fmla="*/ 449 h 612"/>
                <a:gd name="T118" fmla="*/ 164 w 225"/>
                <a:gd name="T119" fmla="*/ 433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5" h="612">
                  <a:moveTo>
                    <a:pt x="162" y="432"/>
                  </a:moveTo>
                  <a:cubicBezTo>
                    <a:pt x="161" y="430"/>
                    <a:pt x="161" y="430"/>
                    <a:pt x="161" y="430"/>
                  </a:cubicBezTo>
                  <a:cubicBezTo>
                    <a:pt x="161" y="430"/>
                    <a:pt x="162" y="428"/>
                    <a:pt x="162" y="429"/>
                  </a:cubicBezTo>
                  <a:cubicBezTo>
                    <a:pt x="163" y="430"/>
                    <a:pt x="164" y="432"/>
                    <a:pt x="164" y="432"/>
                  </a:cubicBezTo>
                  <a:cubicBezTo>
                    <a:pt x="165" y="431"/>
                    <a:pt x="167" y="429"/>
                    <a:pt x="167" y="429"/>
                  </a:cubicBezTo>
                  <a:cubicBezTo>
                    <a:pt x="168" y="427"/>
                    <a:pt x="162" y="424"/>
                    <a:pt x="160" y="423"/>
                  </a:cubicBezTo>
                  <a:cubicBezTo>
                    <a:pt x="160" y="420"/>
                    <a:pt x="168" y="416"/>
                    <a:pt x="169" y="415"/>
                  </a:cubicBezTo>
                  <a:cubicBezTo>
                    <a:pt x="169" y="414"/>
                    <a:pt x="169" y="413"/>
                    <a:pt x="169" y="413"/>
                  </a:cubicBezTo>
                  <a:cubicBezTo>
                    <a:pt x="169" y="412"/>
                    <a:pt x="168" y="412"/>
                    <a:pt x="168" y="412"/>
                  </a:cubicBezTo>
                  <a:cubicBezTo>
                    <a:pt x="167" y="413"/>
                    <a:pt x="167" y="414"/>
                    <a:pt x="166" y="414"/>
                  </a:cubicBezTo>
                  <a:cubicBezTo>
                    <a:pt x="166" y="414"/>
                    <a:pt x="165" y="414"/>
                    <a:pt x="165" y="414"/>
                  </a:cubicBezTo>
                  <a:cubicBezTo>
                    <a:pt x="165" y="414"/>
                    <a:pt x="164" y="412"/>
                    <a:pt x="165" y="412"/>
                  </a:cubicBezTo>
                  <a:cubicBezTo>
                    <a:pt x="165" y="411"/>
                    <a:pt x="164" y="411"/>
                    <a:pt x="166" y="410"/>
                  </a:cubicBezTo>
                  <a:cubicBezTo>
                    <a:pt x="167" y="409"/>
                    <a:pt x="167" y="409"/>
                    <a:pt x="168" y="409"/>
                  </a:cubicBezTo>
                  <a:cubicBezTo>
                    <a:pt x="169" y="408"/>
                    <a:pt x="169" y="408"/>
                    <a:pt x="170" y="408"/>
                  </a:cubicBezTo>
                  <a:cubicBezTo>
                    <a:pt x="171" y="408"/>
                    <a:pt x="175" y="405"/>
                    <a:pt x="175" y="405"/>
                  </a:cubicBezTo>
                  <a:cubicBezTo>
                    <a:pt x="175" y="403"/>
                    <a:pt x="175" y="403"/>
                    <a:pt x="175" y="403"/>
                  </a:cubicBezTo>
                  <a:cubicBezTo>
                    <a:pt x="175" y="403"/>
                    <a:pt x="174" y="401"/>
                    <a:pt x="173" y="401"/>
                  </a:cubicBezTo>
                  <a:cubicBezTo>
                    <a:pt x="173" y="401"/>
                    <a:pt x="169" y="398"/>
                    <a:pt x="169" y="398"/>
                  </a:cubicBezTo>
                  <a:cubicBezTo>
                    <a:pt x="169" y="398"/>
                    <a:pt x="168" y="398"/>
                    <a:pt x="168" y="397"/>
                  </a:cubicBezTo>
                  <a:cubicBezTo>
                    <a:pt x="167" y="397"/>
                    <a:pt x="166" y="395"/>
                    <a:pt x="166" y="395"/>
                  </a:cubicBezTo>
                  <a:cubicBezTo>
                    <a:pt x="164" y="392"/>
                    <a:pt x="163" y="394"/>
                    <a:pt x="160" y="393"/>
                  </a:cubicBezTo>
                  <a:cubicBezTo>
                    <a:pt x="159" y="393"/>
                    <a:pt x="158" y="390"/>
                    <a:pt x="158" y="390"/>
                  </a:cubicBezTo>
                  <a:cubicBezTo>
                    <a:pt x="158" y="390"/>
                    <a:pt x="160" y="390"/>
                    <a:pt x="160" y="389"/>
                  </a:cubicBezTo>
                  <a:cubicBezTo>
                    <a:pt x="160" y="388"/>
                    <a:pt x="158" y="386"/>
                    <a:pt x="158" y="386"/>
                  </a:cubicBezTo>
                  <a:cubicBezTo>
                    <a:pt x="156" y="384"/>
                    <a:pt x="156" y="384"/>
                    <a:pt x="156" y="384"/>
                  </a:cubicBezTo>
                  <a:cubicBezTo>
                    <a:pt x="154" y="381"/>
                    <a:pt x="154" y="388"/>
                    <a:pt x="151" y="382"/>
                  </a:cubicBezTo>
                  <a:cubicBezTo>
                    <a:pt x="151" y="382"/>
                    <a:pt x="151" y="382"/>
                    <a:pt x="150" y="380"/>
                  </a:cubicBezTo>
                  <a:cubicBezTo>
                    <a:pt x="149" y="379"/>
                    <a:pt x="146" y="377"/>
                    <a:pt x="146" y="377"/>
                  </a:cubicBezTo>
                  <a:cubicBezTo>
                    <a:pt x="146" y="377"/>
                    <a:pt x="146" y="375"/>
                    <a:pt x="145" y="374"/>
                  </a:cubicBezTo>
                  <a:cubicBezTo>
                    <a:pt x="145" y="374"/>
                    <a:pt x="144" y="372"/>
                    <a:pt x="144" y="372"/>
                  </a:cubicBezTo>
                  <a:cubicBezTo>
                    <a:pt x="140" y="374"/>
                    <a:pt x="140" y="374"/>
                    <a:pt x="140" y="374"/>
                  </a:cubicBezTo>
                  <a:cubicBezTo>
                    <a:pt x="138" y="377"/>
                    <a:pt x="138" y="377"/>
                    <a:pt x="138" y="377"/>
                  </a:cubicBezTo>
                  <a:cubicBezTo>
                    <a:pt x="138" y="377"/>
                    <a:pt x="137" y="376"/>
                    <a:pt x="137" y="375"/>
                  </a:cubicBezTo>
                  <a:cubicBezTo>
                    <a:pt x="137" y="375"/>
                    <a:pt x="137" y="372"/>
                    <a:pt x="137" y="372"/>
                  </a:cubicBezTo>
                  <a:cubicBezTo>
                    <a:pt x="137" y="372"/>
                    <a:pt x="135" y="371"/>
                    <a:pt x="134" y="371"/>
                  </a:cubicBezTo>
                  <a:cubicBezTo>
                    <a:pt x="134" y="371"/>
                    <a:pt x="131" y="371"/>
                    <a:pt x="131" y="371"/>
                  </a:cubicBezTo>
                  <a:cubicBezTo>
                    <a:pt x="128" y="370"/>
                    <a:pt x="128" y="370"/>
                    <a:pt x="128" y="370"/>
                  </a:cubicBezTo>
                  <a:cubicBezTo>
                    <a:pt x="128" y="368"/>
                    <a:pt x="128" y="368"/>
                    <a:pt x="128" y="368"/>
                  </a:cubicBezTo>
                  <a:cubicBezTo>
                    <a:pt x="128" y="368"/>
                    <a:pt x="129" y="367"/>
                    <a:pt x="129" y="366"/>
                  </a:cubicBezTo>
                  <a:cubicBezTo>
                    <a:pt x="129" y="365"/>
                    <a:pt x="127" y="363"/>
                    <a:pt x="127" y="363"/>
                  </a:cubicBezTo>
                  <a:cubicBezTo>
                    <a:pt x="127" y="361"/>
                    <a:pt x="127" y="361"/>
                    <a:pt x="127" y="361"/>
                  </a:cubicBezTo>
                  <a:cubicBezTo>
                    <a:pt x="124" y="359"/>
                    <a:pt x="124" y="359"/>
                    <a:pt x="124" y="359"/>
                  </a:cubicBezTo>
                  <a:cubicBezTo>
                    <a:pt x="124" y="359"/>
                    <a:pt x="125" y="356"/>
                    <a:pt x="125" y="356"/>
                  </a:cubicBezTo>
                  <a:cubicBezTo>
                    <a:pt x="125" y="355"/>
                    <a:pt x="123" y="348"/>
                    <a:pt x="123" y="348"/>
                  </a:cubicBezTo>
                  <a:cubicBezTo>
                    <a:pt x="123" y="348"/>
                    <a:pt x="124" y="344"/>
                    <a:pt x="124" y="344"/>
                  </a:cubicBezTo>
                  <a:cubicBezTo>
                    <a:pt x="124" y="344"/>
                    <a:pt x="123" y="341"/>
                    <a:pt x="123" y="341"/>
                  </a:cubicBezTo>
                  <a:cubicBezTo>
                    <a:pt x="121" y="341"/>
                    <a:pt x="121" y="341"/>
                    <a:pt x="121" y="341"/>
                  </a:cubicBezTo>
                  <a:cubicBezTo>
                    <a:pt x="121" y="337"/>
                    <a:pt x="121" y="337"/>
                    <a:pt x="121" y="337"/>
                  </a:cubicBezTo>
                  <a:cubicBezTo>
                    <a:pt x="121" y="335"/>
                    <a:pt x="121" y="335"/>
                    <a:pt x="121" y="335"/>
                  </a:cubicBezTo>
                  <a:cubicBezTo>
                    <a:pt x="120" y="333"/>
                    <a:pt x="120" y="333"/>
                    <a:pt x="120" y="333"/>
                  </a:cubicBezTo>
                  <a:cubicBezTo>
                    <a:pt x="120" y="333"/>
                    <a:pt x="121" y="332"/>
                    <a:pt x="122" y="332"/>
                  </a:cubicBezTo>
                  <a:cubicBezTo>
                    <a:pt x="122" y="332"/>
                    <a:pt x="122" y="329"/>
                    <a:pt x="122" y="329"/>
                  </a:cubicBezTo>
                  <a:cubicBezTo>
                    <a:pt x="122" y="329"/>
                    <a:pt x="123" y="327"/>
                    <a:pt x="123" y="327"/>
                  </a:cubicBezTo>
                  <a:cubicBezTo>
                    <a:pt x="123" y="327"/>
                    <a:pt x="126" y="329"/>
                    <a:pt x="126" y="329"/>
                  </a:cubicBezTo>
                  <a:cubicBezTo>
                    <a:pt x="126" y="329"/>
                    <a:pt x="128" y="330"/>
                    <a:pt x="128" y="329"/>
                  </a:cubicBezTo>
                  <a:cubicBezTo>
                    <a:pt x="128" y="328"/>
                    <a:pt x="128" y="326"/>
                    <a:pt x="128" y="326"/>
                  </a:cubicBezTo>
                  <a:cubicBezTo>
                    <a:pt x="128" y="326"/>
                    <a:pt x="126" y="324"/>
                    <a:pt x="125" y="324"/>
                  </a:cubicBezTo>
                  <a:cubicBezTo>
                    <a:pt x="125" y="323"/>
                    <a:pt x="125" y="319"/>
                    <a:pt x="125" y="319"/>
                  </a:cubicBezTo>
                  <a:cubicBezTo>
                    <a:pt x="125" y="319"/>
                    <a:pt x="124" y="316"/>
                    <a:pt x="124" y="316"/>
                  </a:cubicBezTo>
                  <a:cubicBezTo>
                    <a:pt x="124" y="316"/>
                    <a:pt x="125" y="314"/>
                    <a:pt x="125" y="314"/>
                  </a:cubicBezTo>
                  <a:cubicBezTo>
                    <a:pt x="126" y="308"/>
                    <a:pt x="126" y="308"/>
                    <a:pt x="126" y="308"/>
                  </a:cubicBezTo>
                  <a:cubicBezTo>
                    <a:pt x="126" y="304"/>
                    <a:pt x="126" y="304"/>
                    <a:pt x="126" y="304"/>
                  </a:cubicBezTo>
                  <a:cubicBezTo>
                    <a:pt x="125" y="302"/>
                    <a:pt x="125" y="302"/>
                    <a:pt x="125" y="302"/>
                  </a:cubicBezTo>
                  <a:cubicBezTo>
                    <a:pt x="124" y="300"/>
                    <a:pt x="124" y="300"/>
                    <a:pt x="124" y="300"/>
                  </a:cubicBezTo>
                  <a:cubicBezTo>
                    <a:pt x="122" y="298"/>
                    <a:pt x="122" y="298"/>
                    <a:pt x="122" y="298"/>
                  </a:cubicBezTo>
                  <a:cubicBezTo>
                    <a:pt x="124" y="294"/>
                    <a:pt x="124" y="294"/>
                    <a:pt x="124" y="294"/>
                  </a:cubicBezTo>
                  <a:cubicBezTo>
                    <a:pt x="126" y="293"/>
                    <a:pt x="126" y="293"/>
                    <a:pt x="126" y="293"/>
                  </a:cubicBezTo>
                  <a:cubicBezTo>
                    <a:pt x="128" y="291"/>
                    <a:pt x="128" y="291"/>
                    <a:pt x="128" y="291"/>
                  </a:cubicBezTo>
                  <a:cubicBezTo>
                    <a:pt x="128" y="291"/>
                    <a:pt x="131" y="289"/>
                    <a:pt x="131" y="289"/>
                  </a:cubicBezTo>
                  <a:cubicBezTo>
                    <a:pt x="131" y="288"/>
                    <a:pt x="131" y="285"/>
                    <a:pt x="131" y="285"/>
                  </a:cubicBezTo>
                  <a:cubicBezTo>
                    <a:pt x="131" y="283"/>
                    <a:pt x="131" y="283"/>
                    <a:pt x="131" y="283"/>
                  </a:cubicBezTo>
                  <a:cubicBezTo>
                    <a:pt x="133" y="284"/>
                    <a:pt x="133" y="284"/>
                    <a:pt x="133" y="284"/>
                  </a:cubicBezTo>
                  <a:cubicBezTo>
                    <a:pt x="132" y="281"/>
                    <a:pt x="132" y="281"/>
                    <a:pt x="132" y="281"/>
                  </a:cubicBezTo>
                  <a:cubicBezTo>
                    <a:pt x="132" y="281"/>
                    <a:pt x="133" y="279"/>
                    <a:pt x="133" y="279"/>
                  </a:cubicBezTo>
                  <a:cubicBezTo>
                    <a:pt x="134" y="279"/>
                    <a:pt x="135" y="278"/>
                    <a:pt x="135" y="278"/>
                  </a:cubicBezTo>
                  <a:cubicBezTo>
                    <a:pt x="135" y="278"/>
                    <a:pt x="136" y="275"/>
                    <a:pt x="136" y="275"/>
                  </a:cubicBezTo>
                  <a:cubicBezTo>
                    <a:pt x="136" y="275"/>
                    <a:pt x="137" y="276"/>
                    <a:pt x="138" y="275"/>
                  </a:cubicBezTo>
                  <a:cubicBezTo>
                    <a:pt x="139" y="274"/>
                    <a:pt x="139" y="274"/>
                    <a:pt x="139" y="273"/>
                  </a:cubicBezTo>
                  <a:cubicBezTo>
                    <a:pt x="139" y="272"/>
                    <a:pt x="141" y="268"/>
                    <a:pt x="141" y="268"/>
                  </a:cubicBezTo>
                  <a:cubicBezTo>
                    <a:pt x="141" y="268"/>
                    <a:pt x="141" y="267"/>
                    <a:pt x="141" y="267"/>
                  </a:cubicBezTo>
                  <a:cubicBezTo>
                    <a:pt x="142" y="267"/>
                    <a:pt x="144" y="267"/>
                    <a:pt x="143" y="266"/>
                  </a:cubicBezTo>
                  <a:cubicBezTo>
                    <a:pt x="143" y="265"/>
                    <a:pt x="141" y="263"/>
                    <a:pt x="141" y="263"/>
                  </a:cubicBezTo>
                  <a:cubicBezTo>
                    <a:pt x="143" y="260"/>
                    <a:pt x="143" y="260"/>
                    <a:pt x="143" y="260"/>
                  </a:cubicBezTo>
                  <a:cubicBezTo>
                    <a:pt x="143" y="260"/>
                    <a:pt x="146" y="258"/>
                    <a:pt x="146" y="258"/>
                  </a:cubicBezTo>
                  <a:cubicBezTo>
                    <a:pt x="146" y="258"/>
                    <a:pt x="147" y="259"/>
                    <a:pt x="147" y="258"/>
                  </a:cubicBezTo>
                  <a:cubicBezTo>
                    <a:pt x="148" y="258"/>
                    <a:pt x="148" y="257"/>
                    <a:pt x="149" y="257"/>
                  </a:cubicBezTo>
                  <a:cubicBezTo>
                    <a:pt x="149" y="257"/>
                    <a:pt x="150" y="256"/>
                    <a:pt x="150" y="255"/>
                  </a:cubicBezTo>
                  <a:cubicBezTo>
                    <a:pt x="151" y="255"/>
                    <a:pt x="152" y="253"/>
                    <a:pt x="152" y="253"/>
                  </a:cubicBezTo>
                  <a:cubicBezTo>
                    <a:pt x="152" y="252"/>
                    <a:pt x="153" y="248"/>
                    <a:pt x="153" y="248"/>
                  </a:cubicBezTo>
                  <a:cubicBezTo>
                    <a:pt x="153" y="246"/>
                    <a:pt x="153" y="246"/>
                    <a:pt x="153" y="246"/>
                  </a:cubicBezTo>
                  <a:cubicBezTo>
                    <a:pt x="154" y="245"/>
                    <a:pt x="154" y="245"/>
                    <a:pt x="154" y="245"/>
                  </a:cubicBezTo>
                  <a:cubicBezTo>
                    <a:pt x="156" y="243"/>
                    <a:pt x="156" y="243"/>
                    <a:pt x="156" y="243"/>
                  </a:cubicBezTo>
                  <a:cubicBezTo>
                    <a:pt x="156" y="243"/>
                    <a:pt x="157" y="243"/>
                    <a:pt x="157" y="243"/>
                  </a:cubicBezTo>
                  <a:cubicBezTo>
                    <a:pt x="157" y="244"/>
                    <a:pt x="157" y="245"/>
                    <a:pt x="157" y="245"/>
                  </a:cubicBezTo>
                  <a:cubicBezTo>
                    <a:pt x="159" y="245"/>
                    <a:pt x="159" y="245"/>
                    <a:pt x="159" y="245"/>
                  </a:cubicBezTo>
                  <a:cubicBezTo>
                    <a:pt x="159" y="245"/>
                    <a:pt x="159" y="244"/>
                    <a:pt x="159" y="244"/>
                  </a:cubicBezTo>
                  <a:cubicBezTo>
                    <a:pt x="159" y="245"/>
                    <a:pt x="160" y="245"/>
                    <a:pt x="160" y="245"/>
                  </a:cubicBezTo>
                  <a:cubicBezTo>
                    <a:pt x="160" y="245"/>
                    <a:pt x="161" y="243"/>
                    <a:pt x="161" y="243"/>
                  </a:cubicBezTo>
                  <a:cubicBezTo>
                    <a:pt x="161" y="240"/>
                    <a:pt x="161" y="240"/>
                    <a:pt x="161" y="240"/>
                  </a:cubicBezTo>
                  <a:cubicBezTo>
                    <a:pt x="161" y="240"/>
                    <a:pt x="163" y="239"/>
                    <a:pt x="163" y="238"/>
                  </a:cubicBezTo>
                  <a:cubicBezTo>
                    <a:pt x="164" y="237"/>
                    <a:pt x="166" y="234"/>
                    <a:pt x="166" y="234"/>
                  </a:cubicBezTo>
                  <a:cubicBezTo>
                    <a:pt x="168" y="234"/>
                    <a:pt x="168" y="234"/>
                    <a:pt x="168" y="234"/>
                  </a:cubicBezTo>
                  <a:cubicBezTo>
                    <a:pt x="168" y="234"/>
                    <a:pt x="169" y="233"/>
                    <a:pt x="170" y="233"/>
                  </a:cubicBezTo>
                  <a:cubicBezTo>
                    <a:pt x="170" y="233"/>
                    <a:pt x="173" y="230"/>
                    <a:pt x="173" y="230"/>
                  </a:cubicBezTo>
                  <a:cubicBezTo>
                    <a:pt x="173" y="230"/>
                    <a:pt x="173" y="229"/>
                    <a:pt x="173" y="228"/>
                  </a:cubicBezTo>
                  <a:cubicBezTo>
                    <a:pt x="174" y="228"/>
                    <a:pt x="175" y="227"/>
                    <a:pt x="175" y="227"/>
                  </a:cubicBezTo>
                  <a:cubicBezTo>
                    <a:pt x="175" y="227"/>
                    <a:pt x="177" y="223"/>
                    <a:pt x="177" y="223"/>
                  </a:cubicBezTo>
                  <a:cubicBezTo>
                    <a:pt x="178" y="223"/>
                    <a:pt x="178" y="223"/>
                    <a:pt x="178" y="222"/>
                  </a:cubicBezTo>
                  <a:cubicBezTo>
                    <a:pt x="178" y="221"/>
                    <a:pt x="179" y="218"/>
                    <a:pt x="179" y="218"/>
                  </a:cubicBezTo>
                  <a:cubicBezTo>
                    <a:pt x="180" y="216"/>
                    <a:pt x="180" y="216"/>
                    <a:pt x="180" y="216"/>
                  </a:cubicBezTo>
                  <a:cubicBezTo>
                    <a:pt x="180" y="211"/>
                    <a:pt x="180" y="211"/>
                    <a:pt x="180" y="211"/>
                  </a:cubicBezTo>
                  <a:cubicBezTo>
                    <a:pt x="182" y="207"/>
                    <a:pt x="182" y="207"/>
                    <a:pt x="182" y="207"/>
                  </a:cubicBezTo>
                  <a:cubicBezTo>
                    <a:pt x="182" y="207"/>
                    <a:pt x="183" y="205"/>
                    <a:pt x="183" y="205"/>
                  </a:cubicBezTo>
                  <a:cubicBezTo>
                    <a:pt x="183" y="205"/>
                    <a:pt x="184" y="203"/>
                    <a:pt x="185" y="203"/>
                  </a:cubicBezTo>
                  <a:cubicBezTo>
                    <a:pt x="185" y="202"/>
                    <a:pt x="187" y="199"/>
                    <a:pt x="187" y="199"/>
                  </a:cubicBezTo>
                  <a:cubicBezTo>
                    <a:pt x="187" y="199"/>
                    <a:pt x="188" y="197"/>
                    <a:pt x="188" y="196"/>
                  </a:cubicBezTo>
                  <a:cubicBezTo>
                    <a:pt x="188" y="196"/>
                    <a:pt x="188" y="196"/>
                    <a:pt x="188" y="196"/>
                  </a:cubicBezTo>
                  <a:cubicBezTo>
                    <a:pt x="188" y="194"/>
                    <a:pt x="188" y="194"/>
                    <a:pt x="188" y="194"/>
                  </a:cubicBezTo>
                  <a:cubicBezTo>
                    <a:pt x="187" y="191"/>
                    <a:pt x="187" y="191"/>
                    <a:pt x="187" y="191"/>
                  </a:cubicBezTo>
                  <a:cubicBezTo>
                    <a:pt x="183" y="188"/>
                    <a:pt x="183" y="188"/>
                    <a:pt x="183" y="188"/>
                  </a:cubicBezTo>
                  <a:cubicBezTo>
                    <a:pt x="181" y="188"/>
                    <a:pt x="181" y="188"/>
                    <a:pt x="181" y="188"/>
                  </a:cubicBezTo>
                  <a:cubicBezTo>
                    <a:pt x="180" y="186"/>
                    <a:pt x="180" y="186"/>
                    <a:pt x="180" y="186"/>
                  </a:cubicBezTo>
                  <a:cubicBezTo>
                    <a:pt x="181" y="185"/>
                    <a:pt x="181" y="185"/>
                    <a:pt x="181" y="185"/>
                  </a:cubicBezTo>
                  <a:cubicBezTo>
                    <a:pt x="179" y="182"/>
                    <a:pt x="179" y="182"/>
                    <a:pt x="179" y="182"/>
                  </a:cubicBezTo>
                  <a:cubicBezTo>
                    <a:pt x="178" y="181"/>
                    <a:pt x="178" y="181"/>
                    <a:pt x="178" y="181"/>
                  </a:cubicBezTo>
                  <a:cubicBezTo>
                    <a:pt x="177" y="179"/>
                    <a:pt x="177" y="179"/>
                    <a:pt x="177" y="179"/>
                  </a:cubicBezTo>
                  <a:cubicBezTo>
                    <a:pt x="177" y="179"/>
                    <a:pt x="178" y="177"/>
                    <a:pt x="178" y="177"/>
                  </a:cubicBezTo>
                  <a:cubicBezTo>
                    <a:pt x="178" y="177"/>
                    <a:pt x="179" y="176"/>
                    <a:pt x="179" y="175"/>
                  </a:cubicBezTo>
                  <a:cubicBezTo>
                    <a:pt x="179" y="175"/>
                    <a:pt x="181" y="173"/>
                    <a:pt x="181" y="173"/>
                  </a:cubicBezTo>
                  <a:cubicBezTo>
                    <a:pt x="181" y="173"/>
                    <a:pt x="182" y="171"/>
                    <a:pt x="182" y="170"/>
                  </a:cubicBezTo>
                  <a:cubicBezTo>
                    <a:pt x="182" y="170"/>
                    <a:pt x="183" y="170"/>
                    <a:pt x="183" y="169"/>
                  </a:cubicBezTo>
                  <a:cubicBezTo>
                    <a:pt x="183" y="168"/>
                    <a:pt x="182" y="165"/>
                    <a:pt x="182" y="165"/>
                  </a:cubicBezTo>
                  <a:cubicBezTo>
                    <a:pt x="182" y="165"/>
                    <a:pt x="182" y="163"/>
                    <a:pt x="183" y="162"/>
                  </a:cubicBezTo>
                  <a:cubicBezTo>
                    <a:pt x="183" y="162"/>
                    <a:pt x="183" y="161"/>
                    <a:pt x="183" y="161"/>
                  </a:cubicBezTo>
                  <a:cubicBezTo>
                    <a:pt x="183" y="161"/>
                    <a:pt x="185" y="161"/>
                    <a:pt x="185" y="161"/>
                  </a:cubicBezTo>
                  <a:cubicBezTo>
                    <a:pt x="186" y="162"/>
                    <a:pt x="186" y="160"/>
                    <a:pt x="186" y="160"/>
                  </a:cubicBezTo>
                  <a:cubicBezTo>
                    <a:pt x="186" y="160"/>
                    <a:pt x="186" y="157"/>
                    <a:pt x="185" y="157"/>
                  </a:cubicBezTo>
                  <a:cubicBezTo>
                    <a:pt x="185" y="157"/>
                    <a:pt x="184" y="156"/>
                    <a:pt x="184" y="156"/>
                  </a:cubicBezTo>
                  <a:cubicBezTo>
                    <a:pt x="184" y="156"/>
                    <a:pt x="184" y="155"/>
                    <a:pt x="184" y="155"/>
                  </a:cubicBezTo>
                  <a:cubicBezTo>
                    <a:pt x="185" y="155"/>
                    <a:pt x="186" y="154"/>
                    <a:pt x="186" y="154"/>
                  </a:cubicBezTo>
                  <a:cubicBezTo>
                    <a:pt x="189" y="153"/>
                    <a:pt x="189" y="153"/>
                    <a:pt x="189" y="153"/>
                  </a:cubicBezTo>
                  <a:cubicBezTo>
                    <a:pt x="188" y="150"/>
                    <a:pt x="188" y="150"/>
                    <a:pt x="188" y="150"/>
                  </a:cubicBezTo>
                  <a:cubicBezTo>
                    <a:pt x="188" y="148"/>
                    <a:pt x="188" y="148"/>
                    <a:pt x="188" y="148"/>
                  </a:cubicBezTo>
                  <a:cubicBezTo>
                    <a:pt x="188" y="148"/>
                    <a:pt x="191" y="149"/>
                    <a:pt x="191" y="149"/>
                  </a:cubicBezTo>
                  <a:cubicBezTo>
                    <a:pt x="191" y="149"/>
                    <a:pt x="191" y="151"/>
                    <a:pt x="192" y="151"/>
                  </a:cubicBezTo>
                  <a:cubicBezTo>
                    <a:pt x="193" y="150"/>
                    <a:pt x="193" y="149"/>
                    <a:pt x="193" y="149"/>
                  </a:cubicBezTo>
                  <a:cubicBezTo>
                    <a:pt x="193" y="149"/>
                    <a:pt x="193" y="147"/>
                    <a:pt x="194" y="147"/>
                  </a:cubicBezTo>
                  <a:cubicBezTo>
                    <a:pt x="196" y="148"/>
                    <a:pt x="197" y="146"/>
                    <a:pt x="197" y="146"/>
                  </a:cubicBezTo>
                  <a:cubicBezTo>
                    <a:pt x="197" y="146"/>
                    <a:pt x="199" y="144"/>
                    <a:pt x="199" y="144"/>
                  </a:cubicBezTo>
                  <a:cubicBezTo>
                    <a:pt x="199" y="144"/>
                    <a:pt x="199" y="141"/>
                    <a:pt x="198" y="141"/>
                  </a:cubicBezTo>
                  <a:cubicBezTo>
                    <a:pt x="197" y="141"/>
                    <a:pt x="197" y="141"/>
                    <a:pt x="196" y="140"/>
                  </a:cubicBezTo>
                  <a:cubicBezTo>
                    <a:pt x="196" y="139"/>
                    <a:pt x="197" y="139"/>
                    <a:pt x="198" y="138"/>
                  </a:cubicBezTo>
                  <a:cubicBezTo>
                    <a:pt x="199" y="138"/>
                    <a:pt x="199" y="139"/>
                    <a:pt x="200" y="138"/>
                  </a:cubicBezTo>
                  <a:cubicBezTo>
                    <a:pt x="201" y="137"/>
                    <a:pt x="202" y="136"/>
                    <a:pt x="202" y="136"/>
                  </a:cubicBezTo>
                  <a:cubicBezTo>
                    <a:pt x="202" y="135"/>
                    <a:pt x="204" y="135"/>
                    <a:pt x="204" y="135"/>
                  </a:cubicBezTo>
                  <a:cubicBezTo>
                    <a:pt x="207" y="134"/>
                    <a:pt x="207" y="134"/>
                    <a:pt x="207" y="134"/>
                  </a:cubicBezTo>
                  <a:cubicBezTo>
                    <a:pt x="207" y="132"/>
                    <a:pt x="207" y="132"/>
                    <a:pt x="207" y="132"/>
                  </a:cubicBezTo>
                  <a:cubicBezTo>
                    <a:pt x="207" y="132"/>
                    <a:pt x="209" y="132"/>
                    <a:pt x="209" y="132"/>
                  </a:cubicBezTo>
                  <a:cubicBezTo>
                    <a:pt x="209" y="132"/>
                    <a:pt x="210" y="133"/>
                    <a:pt x="210" y="133"/>
                  </a:cubicBezTo>
                  <a:cubicBezTo>
                    <a:pt x="210" y="133"/>
                    <a:pt x="211" y="133"/>
                    <a:pt x="212" y="132"/>
                  </a:cubicBezTo>
                  <a:cubicBezTo>
                    <a:pt x="212" y="132"/>
                    <a:pt x="211" y="131"/>
                    <a:pt x="212" y="131"/>
                  </a:cubicBezTo>
                  <a:cubicBezTo>
                    <a:pt x="213" y="132"/>
                    <a:pt x="213" y="132"/>
                    <a:pt x="213" y="132"/>
                  </a:cubicBezTo>
                  <a:cubicBezTo>
                    <a:pt x="213" y="133"/>
                    <a:pt x="214" y="133"/>
                    <a:pt x="214" y="133"/>
                  </a:cubicBezTo>
                  <a:cubicBezTo>
                    <a:pt x="214" y="133"/>
                    <a:pt x="215" y="134"/>
                    <a:pt x="215" y="134"/>
                  </a:cubicBezTo>
                  <a:cubicBezTo>
                    <a:pt x="216" y="134"/>
                    <a:pt x="216" y="135"/>
                    <a:pt x="216" y="136"/>
                  </a:cubicBezTo>
                  <a:cubicBezTo>
                    <a:pt x="216" y="136"/>
                    <a:pt x="216" y="136"/>
                    <a:pt x="216" y="137"/>
                  </a:cubicBezTo>
                  <a:cubicBezTo>
                    <a:pt x="216" y="138"/>
                    <a:pt x="216" y="138"/>
                    <a:pt x="216" y="138"/>
                  </a:cubicBezTo>
                  <a:cubicBezTo>
                    <a:pt x="216" y="138"/>
                    <a:pt x="218" y="140"/>
                    <a:pt x="218" y="139"/>
                  </a:cubicBezTo>
                  <a:cubicBezTo>
                    <a:pt x="218" y="139"/>
                    <a:pt x="218" y="139"/>
                    <a:pt x="218" y="138"/>
                  </a:cubicBezTo>
                  <a:cubicBezTo>
                    <a:pt x="218" y="136"/>
                    <a:pt x="218" y="136"/>
                    <a:pt x="218" y="135"/>
                  </a:cubicBezTo>
                  <a:cubicBezTo>
                    <a:pt x="218" y="134"/>
                    <a:pt x="216" y="132"/>
                    <a:pt x="217" y="132"/>
                  </a:cubicBezTo>
                  <a:cubicBezTo>
                    <a:pt x="217" y="132"/>
                    <a:pt x="217" y="131"/>
                    <a:pt x="218" y="131"/>
                  </a:cubicBezTo>
                  <a:cubicBezTo>
                    <a:pt x="219" y="131"/>
                    <a:pt x="218" y="130"/>
                    <a:pt x="219" y="131"/>
                  </a:cubicBezTo>
                  <a:cubicBezTo>
                    <a:pt x="220" y="132"/>
                    <a:pt x="220" y="132"/>
                    <a:pt x="221" y="133"/>
                  </a:cubicBezTo>
                  <a:cubicBezTo>
                    <a:pt x="221" y="133"/>
                    <a:pt x="221" y="132"/>
                    <a:pt x="221" y="133"/>
                  </a:cubicBezTo>
                  <a:cubicBezTo>
                    <a:pt x="222" y="133"/>
                    <a:pt x="222" y="134"/>
                    <a:pt x="222" y="135"/>
                  </a:cubicBezTo>
                  <a:cubicBezTo>
                    <a:pt x="222" y="135"/>
                    <a:pt x="222" y="136"/>
                    <a:pt x="222" y="136"/>
                  </a:cubicBezTo>
                  <a:cubicBezTo>
                    <a:pt x="222" y="137"/>
                    <a:pt x="224" y="139"/>
                    <a:pt x="224" y="139"/>
                  </a:cubicBezTo>
                  <a:cubicBezTo>
                    <a:pt x="224" y="139"/>
                    <a:pt x="225" y="137"/>
                    <a:pt x="225" y="137"/>
                  </a:cubicBezTo>
                  <a:cubicBezTo>
                    <a:pt x="225" y="137"/>
                    <a:pt x="225" y="136"/>
                    <a:pt x="225" y="135"/>
                  </a:cubicBezTo>
                  <a:cubicBezTo>
                    <a:pt x="225" y="135"/>
                    <a:pt x="225" y="134"/>
                    <a:pt x="225" y="134"/>
                  </a:cubicBezTo>
                  <a:cubicBezTo>
                    <a:pt x="225" y="134"/>
                    <a:pt x="223" y="131"/>
                    <a:pt x="223" y="131"/>
                  </a:cubicBezTo>
                  <a:cubicBezTo>
                    <a:pt x="223" y="131"/>
                    <a:pt x="223" y="131"/>
                    <a:pt x="224" y="130"/>
                  </a:cubicBezTo>
                  <a:cubicBezTo>
                    <a:pt x="224" y="130"/>
                    <a:pt x="224" y="129"/>
                    <a:pt x="225" y="129"/>
                  </a:cubicBezTo>
                  <a:cubicBezTo>
                    <a:pt x="219" y="119"/>
                    <a:pt x="219" y="119"/>
                    <a:pt x="219" y="119"/>
                  </a:cubicBezTo>
                  <a:cubicBezTo>
                    <a:pt x="211" y="113"/>
                    <a:pt x="211" y="113"/>
                    <a:pt x="211" y="113"/>
                  </a:cubicBezTo>
                  <a:cubicBezTo>
                    <a:pt x="211" y="108"/>
                    <a:pt x="211" y="108"/>
                    <a:pt x="211" y="108"/>
                  </a:cubicBezTo>
                  <a:cubicBezTo>
                    <a:pt x="209" y="105"/>
                    <a:pt x="209" y="105"/>
                    <a:pt x="209" y="105"/>
                  </a:cubicBezTo>
                  <a:cubicBezTo>
                    <a:pt x="209" y="105"/>
                    <a:pt x="209" y="105"/>
                    <a:pt x="209" y="105"/>
                  </a:cubicBezTo>
                  <a:cubicBezTo>
                    <a:pt x="209" y="105"/>
                    <a:pt x="209" y="101"/>
                    <a:pt x="210" y="100"/>
                  </a:cubicBezTo>
                  <a:cubicBezTo>
                    <a:pt x="211" y="100"/>
                    <a:pt x="211" y="98"/>
                    <a:pt x="212" y="97"/>
                  </a:cubicBezTo>
                  <a:cubicBezTo>
                    <a:pt x="211" y="96"/>
                    <a:pt x="211" y="94"/>
                    <a:pt x="211" y="92"/>
                  </a:cubicBezTo>
                  <a:cubicBezTo>
                    <a:pt x="211" y="92"/>
                    <a:pt x="212" y="88"/>
                    <a:pt x="212" y="88"/>
                  </a:cubicBezTo>
                  <a:cubicBezTo>
                    <a:pt x="211" y="85"/>
                    <a:pt x="211" y="85"/>
                    <a:pt x="211" y="85"/>
                  </a:cubicBezTo>
                  <a:cubicBezTo>
                    <a:pt x="202" y="73"/>
                    <a:pt x="202" y="73"/>
                    <a:pt x="202" y="73"/>
                  </a:cubicBezTo>
                  <a:cubicBezTo>
                    <a:pt x="202" y="67"/>
                    <a:pt x="202" y="67"/>
                    <a:pt x="202" y="67"/>
                  </a:cubicBezTo>
                  <a:cubicBezTo>
                    <a:pt x="201" y="66"/>
                    <a:pt x="201" y="66"/>
                    <a:pt x="201" y="66"/>
                  </a:cubicBezTo>
                  <a:cubicBezTo>
                    <a:pt x="201" y="65"/>
                    <a:pt x="201" y="64"/>
                    <a:pt x="201" y="63"/>
                  </a:cubicBezTo>
                  <a:cubicBezTo>
                    <a:pt x="199" y="63"/>
                    <a:pt x="199" y="63"/>
                    <a:pt x="199" y="63"/>
                  </a:cubicBezTo>
                  <a:cubicBezTo>
                    <a:pt x="196" y="59"/>
                    <a:pt x="196" y="59"/>
                    <a:pt x="196" y="59"/>
                  </a:cubicBezTo>
                  <a:cubicBezTo>
                    <a:pt x="197" y="54"/>
                    <a:pt x="197" y="54"/>
                    <a:pt x="197" y="54"/>
                  </a:cubicBezTo>
                  <a:cubicBezTo>
                    <a:pt x="195" y="44"/>
                    <a:pt x="195" y="44"/>
                    <a:pt x="195" y="44"/>
                  </a:cubicBezTo>
                  <a:cubicBezTo>
                    <a:pt x="196" y="40"/>
                    <a:pt x="196" y="40"/>
                    <a:pt x="196" y="40"/>
                  </a:cubicBezTo>
                  <a:cubicBezTo>
                    <a:pt x="193" y="39"/>
                    <a:pt x="193" y="39"/>
                    <a:pt x="193" y="39"/>
                  </a:cubicBezTo>
                  <a:cubicBezTo>
                    <a:pt x="190" y="35"/>
                    <a:pt x="190" y="35"/>
                    <a:pt x="190" y="35"/>
                  </a:cubicBezTo>
                  <a:cubicBezTo>
                    <a:pt x="190" y="35"/>
                    <a:pt x="190" y="35"/>
                    <a:pt x="190" y="35"/>
                  </a:cubicBezTo>
                  <a:cubicBezTo>
                    <a:pt x="189" y="35"/>
                    <a:pt x="188" y="35"/>
                    <a:pt x="188" y="34"/>
                  </a:cubicBezTo>
                  <a:cubicBezTo>
                    <a:pt x="188" y="34"/>
                    <a:pt x="187" y="33"/>
                    <a:pt x="183" y="27"/>
                  </a:cubicBezTo>
                  <a:cubicBezTo>
                    <a:pt x="177" y="25"/>
                    <a:pt x="177" y="25"/>
                    <a:pt x="177" y="25"/>
                  </a:cubicBezTo>
                  <a:cubicBezTo>
                    <a:pt x="173" y="24"/>
                    <a:pt x="173" y="24"/>
                    <a:pt x="173" y="24"/>
                  </a:cubicBezTo>
                  <a:cubicBezTo>
                    <a:pt x="171" y="23"/>
                    <a:pt x="171" y="23"/>
                    <a:pt x="171" y="23"/>
                  </a:cubicBezTo>
                  <a:cubicBezTo>
                    <a:pt x="170" y="24"/>
                    <a:pt x="170" y="24"/>
                    <a:pt x="169" y="24"/>
                  </a:cubicBezTo>
                  <a:cubicBezTo>
                    <a:pt x="168" y="24"/>
                    <a:pt x="167" y="24"/>
                    <a:pt x="166" y="22"/>
                  </a:cubicBezTo>
                  <a:cubicBezTo>
                    <a:pt x="166" y="21"/>
                    <a:pt x="165" y="21"/>
                    <a:pt x="165" y="20"/>
                  </a:cubicBezTo>
                  <a:cubicBezTo>
                    <a:pt x="162" y="21"/>
                    <a:pt x="162" y="21"/>
                    <a:pt x="162" y="21"/>
                  </a:cubicBezTo>
                  <a:cubicBezTo>
                    <a:pt x="159" y="18"/>
                    <a:pt x="159" y="18"/>
                    <a:pt x="159" y="18"/>
                  </a:cubicBezTo>
                  <a:cubicBezTo>
                    <a:pt x="159" y="17"/>
                    <a:pt x="159" y="17"/>
                    <a:pt x="158" y="17"/>
                  </a:cubicBezTo>
                  <a:cubicBezTo>
                    <a:pt x="157" y="17"/>
                    <a:pt x="155" y="16"/>
                    <a:pt x="155" y="15"/>
                  </a:cubicBezTo>
                  <a:cubicBezTo>
                    <a:pt x="155" y="15"/>
                    <a:pt x="155" y="15"/>
                    <a:pt x="155" y="15"/>
                  </a:cubicBezTo>
                  <a:cubicBezTo>
                    <a:pt x="153" y="11"/>
                    <a:pt x="153" y="11"/>
                    <a:pt x="153" y="11"/>
                  </a:cubicBezTo>
                  <a:cubicBezTo>
                    <a:pt x="150" y="11"/>
                    <a:pt x="150" y="11"/>
                    <a:pt x="150" y="11"/>
                  </a:cubicBezTo>
                  <a:cubicBezTo>
                    <a:pt x="145" y="8"/>
                    <a:pt x="145" y="8"/>
                    <a:pt x="145" y="8"/>
                  </a:cubicBezTo>
                  <a:cubicBezTo>
                    <a:pt x="145" y="4"/>
                    <a:pt x="145" y="4"/>
                    <a:pt x="145" y="4"/>
                  </a:cubicBezTo>
                  <a:cubicBezTo>
                    <a:pt x="140" y="2"/>
                    <a:pt x="140" y="2"/>
                    <a:pt x="140" y="2"/>
                  </a:cubicBezTo>
                  <a:cubicBezTo>
                    <a:pt x="140" y="2"/>
                    <a:pt x="140" y="2"/>
                    <a:pt x="140" y="2"/>
                  </a:cubicBezTo>
                  <a:cubicBezTo>
                    <a:pt x="140" y="2"/>
                    <a:pt x="139" y="1"/>
                    <a:pt x="139" y="0"/>
                  </a:cubicBezTo>
                  <a:cubicBezTo>
                    <a:pt x="137" y="1"/>
                    <a:pt x="137" y="1"/>
                    <a:pt x="137" y="1"/>
                  </a:cubicBezTo>
                  <a:cubicBezTo>
                    <a:pt x="134" y="1"/>
                    <a:pt x="134" y="1"/>
                    <a:pt x="134" y="1"/>
                  </a:cubicBezTo>
                  <a:cubicBezTo>
                    <a:pt x="134" y="1"/>
                    <a:pt x="133" y="2"/>
                    <a:pt x="133" y="2"/>
                  </a:cubicBezTo>
                  <a:cubicBezTo>
                    <a:pt x="133" y="3"/>
                    <a:pt x="136" y="10"/>
                    <a:pt x="136" y="12"/>
                  </a:cubicBezTo>
                  <a:cubicBezTo>
                    <a:pt x="137" y="13"/>
                    <a:pt x="137" y="18"/>
                    <a:pt x="134" y="23"/>
                  </a:cubicBezTo>
                  <a:cubicBezTo>
                    <a:pt x="137" y="25"/>
                    <a:pt x="137" y="25"/>
                    <a:pt x="137" y="25"/>
                  </a:cubicBezTo>
                  <a:cubicBezTo>
                    <a:pt x="134" y="30"/>
                    <a:pt x="134" y="30"/>
                    <a:pt x="134" y="30"/>
                  </a:cubicBezTo>
                  <a:cubicBezTo>
                    <a:pt x="129" y="31"/>
                    <a:pt x="129" y="31"/>
                    <a:pt x="129" y="31"/>
                  </a:cubicBezTo>
                  <a:cubicBezTo>
                    <a:pt x="129" y="31"/>
                    <a:pt x="124" y="30"/>
                    <a:pt x="123" y="29"/>
                  </a:cubicBezTo>
                  <a:cubicBezTo>
                    <a:pt x="122" y="28"/>
                    <a:pt x="119" y="26"/>
                    <a:pt x="117" y="27"/>
                  </a:cubicBezTo>
                  <a:cubicBezTo>
                    <a:pt x="116" y="27"/>
                    <a:pt x="105" y="27"/>
                    <a:pt x="105" y="27"/>
                  </a:cubicBezTo>
                  <a:cubicBezTo>
                    <a:pt x="102" y="30"/>
                    <a:pt x="104" y="47"/>
                    <a:pt x="104" y="49"/>
                  </a:cubicBezTo>
                  <a:cubicBezTo>
                    <a:pt x="103" y="52"/>
                    <a:pt x="103" y="52"/>
                    <a:pt x="103" y="52"/>
                  </a:cubicBezTo>
                  <a:cubicBezTo>
                    <a:pt x="98" y="52"/>
                    <a:pt x="98" y="52"/>
                    <a:pt x="98" y="52"/>
                  </a:cubicBezTo>
                  <a:cubicBezTo>
                    <a:pt x="91" y="48"/>
                    <a:pt x="91" y="48"/>
                    <a:pt x="91" y="48"/>
                  </a:cubicBezTo>
                  <a:cubicBezTo>
                    <a:pt x="87" y="55"/>
                    <a:pt x="87" y="55"/>
                    <a:pt x="87" y="55"/>
                  </a:cubicBezTo>
                  <a:cubicBezTo>
                    <a:pt x="87" y="55"/>
                    <a:pt x="84" y="58"/>
                    <a:pt x="84" y="59"/>
                  </a:cubicBezTo>
                  <a:cubicBezTo>
                    <a:pt x="84" y="60"/>
                    <a:pt x="82" y="63"/>
                    <a:pt x="82" y="64"/>
                  </a:cubicBezTo>
                  <a:cubicBezTo>
                    <a:pt x="82" y="64"/>
                    <a:pt x="83" y="70"/>
                    <a:pt x="83" y="70"/>
                  </a:cubicBezTo>
                  <a:cubicBezTo>
                    <a:pt x="81" y="73"/>
                    <a:pt x="81" y="73"/>
                    <a:pt x="81" y="73"/>
                  </a:cubicBezTo>
                  <a:cubicBezTo>
                    <a:pt x="76" y="76"/>
                    <a:pt x="76" y="76"/>
                    <a:pt x="76" y="76"/>
                  </a:cubicBezTo>
                  <a:cubicBezTo>
                    <a:pt x="76" y="80"/>
                    <a:pt x="76" y="80"/>
                    <a:pt x="76" y="80"/>
                  </a:cubicBezTo>
                  <a:cubicBezTo>
                    <a:pt x="76" y="80"/>
                    <a:pt x="79" y="85"/>
                    <a:pt x="80" y="86"/>
                  </a:cubicBezTo>
                  <a:cubicBezTo>
                    <a:pt x="81" y="87"/>
                    <a:pt x="82" y="94"/>
                    <a:pt x="82" y="94"/>
                  </a:cubicBezTo>
                  <a:cubicBezTo>
                    <a:pt x="82" y="94"/>
                    <a:pt x="80" y="99"/>
                    <a:pt x="79" y="101"/>
                  </a:cubicBezTo>
                  <a:cubicBezTo>
                    <a:pt x="78" y="103"/>
                    <a:pt x="72" y="111"/>
                    <a:pt x="72" y="111"/>
                  </a:cubicBezTo>
                  <a:cubicBezTo>
                    <a:pt x="68" y="121"/>
                    <a:pt x="68" y="121"/>
                    <a:pt x="68" y="121"/>
                  </a:cubicBezTo>
                  <a:cubicBezTo>
                    <a:pt x="68" y="129"/>
                    <a:pt x="68" y="129"/>
                    <a:pt x="68" y="129"/>
                  </a:cubicBezTo>
                  <a:cubicBezTo>
                    <a:pt x="67" y="133"/>
                    <a:pt x="67" y="133"/>
                    <a:pt x="67" y="133"/>
                  </a:cubicBezTo>
                  <a:cubicBezTo>
                    <a:pt x="62" y="138"/>
                    <a:pt x="62" y="138"/>
                    <a:pt x="62" y="138"/>
                  </a:cubicBezTo>
                  <a:cubicBezTo>
                    <a:pt x="54" y="139"/>
                    <a:pt x="54" y="139"/>
                    <a:pt x="54" y="139"/>
                  </a:cubicBezTo>
                  <a:cubicBezTo>
                    <a:pt x="52" y="142"/>
                    <a:pt x="52" y="142"/>
                    <a:pt x="52" y="142"/>
                  </a:cubicBezTo>
                  <a:cubicBezTo>
                    <a:pt x="56" y="155"/>
                    <a:pt x="56" y="155"/>
                    <a:pt x="56" y="155"/>
                  </a:cubicBezTo>
                  <a:cubicBezTo>
                    <a:pt x="54" y="161"/>
                    <a:pt x="54" y="161"/>
                    <a:pt x="54" y="161"/>
                  </a:cubicBezTo>
                  <a:cubicBezTo>
                    <a:pt x="53" y="167"/>
                    <a:pt x="53" y="167"/>
                    <a:pt x="53" y="167"/>
                  </a:cubicBezTo>
                  <a:cubicBezTo>
                    <a:pt x="53" y="167"/>
                    <a:pt x="52" y="172"/>
                    <a:pt x="53" y="173"/>
                  </a:cubicBezTo>
                  <a:cubicBezTo>
                    <a:pt x="54" y="174"/>
                    <a:pt x="54" y="178"/>
                    <a:pt x="54" y="178"/>
                  </a:cubicBezTo>
                  <a:cubicBezTo>
                    <a:pt x="51" y="180"/>
                    <a:pt x="51" y="180"/>
                    <a:pt x="51" y="180"/>
                  </a:cubicBezTo>
                  <a:cubicBezTo>
                    <a:pt x="52" y="185"/>
                    <a:pt x="52" y="185"/>
                    <a:pt x="52" y="185"/>
                  </a:cubicBezTo>
                  <a:cubicBezTo>
                    <a:pt x="39" y="205"/>
                    <a:pt x="39" y="205"/>
                    <a:pt x="39" y="205"/>
                  </a:cubicBezTo>
                  <a:cubicBezTo>
                    <a:pt x="42" y="210"/>
                    <a:pt x="42" y="210"/>
                    <a:pt x="42" y="210"/>
                  </a:cubicBezTo>
                  <a:cubicBezTo>
                    <a:pt x="49" y="211"/>
                    <a:pt x="49" y="211"/>
                    <a:pt x="49" y="211"/>
                  </a:cubicBezTo>
                  <a:cubicBezTo>
                    <a:pt x="50" y="224"/>
                    <a:pt x="50" y="224"/>
                    <a:pt x="50" y="224"/>
                  </a:cubicBezTo>
                  <a:cubicBezTo>
                    <a:pt x="47" y="230"/>
                    <a:pt x="47" y="230"/>
                    <a:pt x="47" y="230"/>
                  </a:cubicBezTo>
                  <a:cubicBezTo>
                    <a:pt x="46" y="231"/>
                    <a:pt x="46" y="231"/>
                    <a:pt x="46" y="231"/>
                  </a:cubicBezTo>
                  <a:cubicBezTo>
                    <a:pt x="27" y="233"/>
                    <a:pt x="27" y="233"/>
                    <a:pt x="27" y="233"/>
                  </a:cubicBezTo>
                  <a:cubicBezTo>
                    <a:pt x="16" y="246"/>
                    <a:pt x="16" y="246"/>
                    <a:pt x="16" y="246"/>
                  </a:cubicBezTo>
                  <a:cubicBezTo>
                    <a:pt x="15" y="254"/>
                    <a:pt x="15" y="254"/>
                    <a:pt x="15" y="254"/>
                  </a:cubicBezTo>
                  <a:cubicBezTo>
                    <a:pt x="15" y="259"/>
                    <a:pt x="15" y="259"/>
                    <a:pt x="15" y="259"/>
                  </a:cubicBezTo>
                  <a:cubicBezTo>
                    <a:pt x="15" y="259"/>
                    <a:pt x="12" y="263"/>
                    <a:pt x="11" y="264"/>
                  </a:cubicBezTo>
                  <a:cubicBezTo>
                    <a:pt x="11" y="265"/>
                    <a:pt x="11" y="270"/>
                    <a:pt x="11" y="270"/>
                  </a:cubicBezTo>
                  <a:cubicBezTo>
                    <a:pt x="15" y="276"/>
                    <a:pt x="15" y="276"/>
                    <a:pt x="15" y="276"/>
                  </a:cubicBezTo>
                  <a:cubicBezTo>
                    <a:pt x="15" y="281"/>
                    <a:pt x="15" y="281"/>
                    <a:pt x="15" y="281"/>
                  </a:cubicBezTo>
                  <a:cubicBezTo>
                    <a:pt x="13" y="284"/>
                    <a:pt x="13" y="284"/>
                    <a:pt x="13" y="284"/>
                  </a:cubicBezTo>
                  <a:cubicBezTo>
                    <a:pt x="14" y="289"/>
                    <a:pt x="14" y="289"/>
                    <a:pt x="14" y="289"/>
                  </a:cubicBezTo>
                  <a:cubicBezTo>
                    <a:pt x="14" y="289"/>
                    <a:pt x="15" y="291"/>
                    <a:pt x="14" y="292"/>
                  </a:cubicBezTo>
                  <a:cubicBezTo>
                    <a:pt x="13" y="293"/>
                    <a:pt x="13" y="295"/>
                    <a:pt x="13" y="296"/>
                  </a:cubicBezTo>
                  <a:cubicBezTo>
                    <a:pt x="13" y="297"/>
                    <a:pt x="19" y="308"/>
                    <a:pt x="19" y="308"/>
                  </a:cubicBezTo>
                  <a:cubicBezTo>
                    <a:pt x="20" y="333"/>
                    <a:pt x="20" y="333"/>
                    <a:pt x="20" y="333"/>
                  </a:cubicBezTo>
                  <a:cubicBezTo>
                    <a:pt x="22" y="339"/>
                    <a:pt x="22" y="339"/>
                    <a:pt x="22" y="339"/>
                  </a:cubicBezTo>
                  <a:cubicBezTo>
                    <a:pt x="28" y="343"/>
                    <a:pt x="28" y="343"/>
                    <a:pt x="28" y="343"/>
                  </a:cubicBezTo>
                  <a:cubicBezTo>
                    <a:pt x="32" y="348"/>
                    <a:pt x="32" y="348"/>
                    <a:pt x="32" y="348"/>
                  </a:cubicBezTo>
                  <a:cubicBezTo>
                    <a:pt x="33" y="354"/>
                    <a:pt x="33" y="354"/>
                    <a:pt x="33" y="354"/>
                  </a:cubicBezTo>
                  <a:cubicBezTo>
                    <a:pt x="33" y="354"/>
                    <a:pt x="32" y="360"/>
                    <a:pt x="32" y="361"/>
                  </a:cubicBezTo>
                  <a:cubicBezTo>
                    <a:pt x="32" y="362"/>
                    <a:pt x="28" y="361"/>
                    <a:pt x="28" y="361"/>
                  </a:cubicBezTo>
                  <a:cubicBezTo>
                    <a:pt x="24" y="362"/>
                    <a:pt x="24" y="362"/>
                    <a:pt x="24" y="362"/>
                  </a:cubicBezTo>
                  <a:cubicBezTo>
                    <a:pt x="20" y="366"/>
                    <a:pt x="20" y="366"/>
                    <a:pt x="20" y="366"/>
                  </a:cubicBezTo>
                  <a:cubicBezTo>
                    <a:pt x="21" y="371"/>
                    <a:pt x="21" y="371"/>
                    <a:pt x="21" y="371"/>
                  </a:cubicBezTo>
                  <a:cubicBezTo>
                    <a:pt x="24" y="378"/>
                    <a:pt x="24" y="378"/>
                    <a:pt x="24" y="378"/>
                  </a:cubicBezTo>
                  <a:cubicBezTo>
                    <a:pt x="29" y="384"/>
                    <a:pt x="29" y="384"/>
                    <a:pt x="29" y="384"/>
                  </a:cubicBezTo>
                  <a:cubicBezTo>
                    <a:pt x="30" y="389"/>
                    <a:pt x="30" y="389"/>
                    <a:pt x="30" y="389"/>
                  </a:cubicBezTo>
                  <a:cubicBezTo>
                    <a:pt x="28" y="394"/>
                    <a:pt x="28" y="394"/>
                    <a:pt x="28" y="394"/>
                  </a:cubicBezTo>
                  <a:cubicBezTo>
                    <a:pt x="26" y="396"/>
                    <a:pt x="26" y="396"/>
                    <a:pt x="26" y="396"/>
                  </a:cubicBezTo>
                  <a:cubicBezTo>
                    <a:pt x="28" y="400"/>
                    <a:pt x="28" y="400"/>
                    <a:pt x="28" y="400"/>
                  </a:cubicBezTo>
                  <a:cubicBezTo>
                    <a:pt x="28" y="404"/>
                    <a:pt x="28" y="404"/>
                    <a:pt x="28" y="404"/>
                  </a:cubicBezTo>
                  <a:cubicBezTo>
                    <a:pt x="28" y="404"/>
                    <a:pt x="26" y="407"/>
                    <a:pt x="26" y="407"/>
                  </a:cubicBezTo>
                  <a:cubicBezTo>
                    <a:pt x="26" y="408"/>
                    <a:pt x="23" y="410"/>
                    <a:pt x="23" y="410"/>
                  </a:cubicBezTo>
                  <a:cubicBezTo>
                    <a:pt x="21" y="413"/>
                    <a:pt x="21" y="413"/>
                    <a:pt x="21" y="413"/>
                  </a:cubicBezTo>
                  <a:cubicBezTo>
                    <a:pt x="18" y="414"/>
                    <a:pt x="18" y="414"/>
                    <a:pt x="18" y="414"/>
                  </a:cubicBezTo>
                  <a:cubicBezTo>
                    <a:pt x="18" y="414"/>
                    <a:pt x="17" y="413"/>
                    <a:pt x="16" y="413"/>
                  </a:cubicBezTo>
                  <a:cubicBezTo>
                    <a:pt x="15" y="414"/>
                    <a:pt x="14" y="415"/>
                    <a:pt x="14" y="415"/>
                  </a:cubicBezTo>
                  <a:cubicBezTo>
                    <a:pt x="14" y="418"/>
                    <a:pt x="14" y="418"/>
                    <a:pt x="14" y="418"/>
                  </a:cubicBezTo>
                  <a:cubicBezTo>
                    <a:pt x="16" y="420"/>
                    <a:pt x="16" y="420"/>
                    <a:pt x="16" y="420"/>
                  </a:cubicBezTo>
                  <a:cubicBezTo>
                    <a:pt x="15" y="424"/>
                    <a:pt x="15" y="424"/>
                    <a:pt x="15" y="424"/>
                  </a:cubicBezTo>
                  <a:cubicBezTo>
                    <a:pt x="13" y="426"/>
                    <a:pt x="13" y="426"/>
                    <a:pt x="13" y="426"/>
                  </a:cubicBezTo>
                  <a:cubicBezTo>
                    <a:pt x="10" y="427"/>
                    <a:pt x="10" y="427"/>
                    <a:pt x="10" y="427"/>
                  </a:cubicBezTo>
                  <a:cubicBezTo>
                    <a:pt x="11" y="432"/>
                    <a:pt x="11" y="432"/>
                    <a:pt x="11" y="432"/>
                  </a:cubicBezTo>
                  <a:cubicBezTo>
                    <a:pt x="15" y="437"/>
                    <a:pt x="15" y="437"/>
                    <a:pt x="15" y="437"/>
                  </a:cubicBezTo>
                  <a:cubicBezTo>
                    <a:pt x="15" y="442"/>
                    <a:pt x="15" y="442"/>
                    <a:pt x="15" y="442"/>
                  </a:cubicBezTo>
                  <a:cubicBezTo>
                    <a:pt x="12" y="447"/>
                    <a:pt x="12" y="447"/>
                    <a:pt x="12" y="447"/>
                  </a:cubicBezTo>
                  <a:cubicBezTo>
                    <a:pt x="12" y="453"/>
                    <a:pt x="12" y="453"/>
                    <a:pt x="12" y="453"/>
                  </a:cubicBezTo>
                  <a:cubicBezTo>
                    <a:pt x="11" y="457"/>
                    <a:pt x="11" y="457"/>
                    <a:pt x="11" y="457"/>
                  </a:cubicBezTo>
                  <a:cubicBezTo>
                    <a:pt x="10" y="458"/>
                    <a:pt x="10" y="458"/>
                    <a:pt x="10" y="458"/>
                  </a:cubicBezTo>
                  <a:cubicBezTo>
                    <a:pt x="7" y="458"/>
                    <a:pt x="7" y="458"/>
                    <a:pt x="7" y="458"/>
                  </a:cubicBezTo>
                  <a:cubicBezTo>
                    <a:pt x="7" y="458"/>
                    <a:pt x="7" y="453"/>
                    <a:pt x="6" y="453"/>
                  </a:cubicBezTo>
                  <a:cubicBezTo>
                    <a:pt x="6" y="452"/>
                    <a:pt x="1" y="448"/>
                    <a:pt x="1" y="448"/>
                  </a:cubicBezTo>
                  <a:cubicBezTo>
                    <a:pt x="0" y="452"/>
                    <a:pt x="0" y="452"/>
                    <a:pt x="0" y="452"/>
                  </a:cubicBezTo>
                  <a:cubicBezTo>
                    <a:pt x="0" y="458"/>
                    <a:pt x="0" y="458"/>
                    <a:pt x="0" y="458"/>
                  </a:cubicBezTo>
                  <a:cubicBezTo>
                    <a:pt x="0" y="458"/>
                    <a:pt x="1" y="461"/>
                    <a:pt x="1" y="462"/>
                  </a:cubicBezTo>
                  <a:cubicBezTo>
                    <a:pt x="2" y="463"/>
                    <a:pt x="3" y="468"/>
                    <a:pt x="3" y="468"/>
                  </a:cubicBezTo>
                  <a:cubicBezTo>
                    <a:pt x="2" y="474"/>
                    <a:pt x="2" y="474"/>
                    <a:pt x="2" y="474"/>
                  </a:cubicBezTo>
                  <a:cubicBezTo>
                    <a:pt x="2" y="474"/>
                    <a:pt x="3" y="478"/>
                    <a:pt x="4" y="478"/>
                  </a:cubicBezTo>
                  <a:cubicBezTo>
                    <a:pt x="4" y="479"/>
                    <a:pt x="4" y="482"/>
                    <a:pt x="4" y="482"/>
                  </a:cubicBezTo>
                  <a:cubicBezTo>
                    <a:pt x="7" y="481"/>
                    <a:pt x="7" y="481"/>
                    <a:pt x="7" y="481"/>
                  </a:cubicBezTo>
                  <a:cubicBezTo>
                    <a:pt x="7" y="479"/>
                    <a:pt x="7" y="479"/>
                    <a:pt x="7" y="479"/>
                  </a:cubicBezTo>
                  <a:cubicBezTo>
                    <a:pt x="9" y="482"/>
                    <a:pt x="9" y="482"/>
                    <a:pt x="9" y="482"/>
                  </a:cubicBezTo>
                  <a:cubicBezTo>
                    <a:pt x="9" y="482"/>
                    <a:pt x="8" y="483"/>
                    <a:pt x="9" y="483"/>
                  </a:cubicBezTo>
                  <a:cubicBezTo>
                    <a:pt x="10" y="482"/>
                    <a:pt x="12" y="481"/>
                    <a:pt x="12" y="481"/>
                  </a:cubicBezTo>
                  <a:cubicBezTo>
                    <a:pt x="11" y="483"/>
                    <a:pt x="11" y="483"/>
                    <a:pt x="11" y="483"/>
                  </a:cubicBezTo>
                  <a:cubicBezTo>
                    <a:pt x="9" y="486"/>
                    <a:pt x="9" y="486"/>
                    <a:pt x="9" y="486"/>
                  </a:cubicBezTo>
                  <a:cubicBezTo>
                    <a:pt x="10" y="487"/>
                    <a:pt x="10" y="487"/>
                    <a:pt x="10" y="487"/>
                  </a:cubicBezTo>
                  <a:cubicBezTo>
                    <a:pt x="12" y="488"/>
                    <a:pt x="12" y="488"/>
                    <a:pt x="12" y="488"/>
                  </a:cubicBezTo>
                  <a:cubicBezTo>
                    <a:pt x="9" y="492"/>
                    <a:pt x="9" y="492"/>
                    <a:pt x="9" y="492"/>
                  </a:cubicBezTo>
                  <a:cubicBezTo>
                    <a:pt x="9" y="492"/>
                    <a:pt x="11" y="494"/>
                    <a:pt x="11" y="495"/>
                  </a:cubicBezTo>
                  <a:cubicBezTo>
                    <a:pt x="11" y="495"/>
                    <a:pt x="15" y="492"/>
                    <a:pt x="15" y="492"/>
                  </a:cubicBezTo>
                  <a:cubicBezTo>
                    <a:pt x="15" y="492"/>
                    <a:pt x="15" y="493"/>
                    <a:pt x="15" y="494"/>
                  </a:cubicBezTo>
                  <a:cubicBezTo>
                    <a:pt x="15" y="495"/>
                    <a:pt x="12" y="497"/>
                    <a:pt x="13" y="498"/>
                  </a:cubicBezTo>
                  <a:cubicBezTo>
                    <a:pt x="13" y="499"/>
                    <a:pt x="18" y="498"/>
                    <a:pt x="17" y="498"/>
                  </a:cubicBezTo>
                  <a:cubicBezTo>
                    <a:pt x="16" y="499"/>
                    <a:pt x="16" y="501"/>
                    <a:pt x="16" y="501"/>
                  </a:cubicBezTo>
                  <a:cubicBezTo>
                    <a:pt x="16" y="501"/>
                    <a:pt x="14" y="503"/>
                    <a:pt x="15" y="504"/>
                  </a:cubicBezTo>
                  <a:cubicBezTo>
                    <a:pt x="16" y="504"/>
                    <a:pt x="18" y="505"/>
                    <a:pt x="18" y="506"/>
                  </a:cubicBezTo>
                  <a:cubicBezTo>
                    <a:pt x="17" y="506"/>
                    <a:pt x="15" y="508"/>
                    <a:pt x="15" y="508"/>
                  </a:cubicBezTo>
                  <a:cubicBezTo>
                    <a:pt x="15" y="508"/>
                    <a:pt x="14" y="510"/>
                    <a:pt x="15" y="510"/>
                  </a:cubicBezTo>
                  <a:cubicBezTo>
                    <a:pt x="16" y="511"/>
                    <a:pt x="18" y="511"/>
                    <a:pt x="18" y="511"/>
                  </a:cubicBezTo>
                  <a:cubicBezTo>
                    <a:pt x="18" y="511"/>
                    <a:pt x="18" y="510"/>
                    <a:pt x="18" y="510"/>
                  </a:cubicBezTo>
                  <a:cubicBezTo>
                    <a:pt x="18" y="511"/>
                    <a:pt x="17" y="513"/>
                    <a:pt x="17" y="513"/>
                  </a:cubicBezTo>
                  <a:cubicBezTo>
                    <a:pt x="17" y="513"/>
                    <a:pt x="17" y="514"/>
                    <a:pt x="17" y="515"/>
                  </a:cubicBezTo>
                  <a:cubicBezTo>
                    <a:pt x="18" y="515"/>
                    <a:pt x="20" y="515"/>
                    <a:pt x="20" y="515"/>
                  </a:cubicBezTo>
                  <a:cubicBezTo>
                    <a:pt x="20" y="515"/>
                    <a:pt x="20" y="516"/>
                    <a:pt x="20" y="517"/>
                  </a:cubicBezTo>
                  <a:cubicBezTo>
                    <a:pt x="20" y="518"/>
                    <a:pt x="20" y="520"/>
                    <a:pt x="19" y="521"/>
                  </a:cubicBezTo>
                  <a:cubicBezTo>
                    <a:pt x="19" y="521"/>
                    <a:pt x="20" y="523"/>
                    <a:pt x="20" y="523"/>
                  </a:cubicBezTo>
                  <a:cubicBezTo>
                    <a:pt x="20" y="523"/>
                    <a:pt x="19" y="524"/>
                    <a:pt x="21" y="524"/>
                  </a:cubicBezTo>
                  <a:cubicBezTo>
                    <a:pt x="23" y="524"/>
                    <a:pt x="23" y="523"/>
                    <a:pt x="24" y="523"/>
                  </a:cubicBezTo>
                  <a:cubicBezTo>
                    <a:pt x="24" y="523"/>
                    <a:pt x="25" y="524"/>
                    <a:pt x="25" y="525"/>
                  </a:cubicBezTo>
                  <a:cubicBezTo>
                    <a:pt x="25" y="526"/>
                    <a:pt x="26" y="527"/>
                    <a:pt x="26" y="528"/>
                  </a:cubicBezTo>
                  <a:cubicBezTo>
                    <a:pt x="26" y="529"/>
                    <a:pt x="29" y="537"/>
                    <a:pt x="29" y="537"/>
                  </a:cubicBezTo>
                  <a:cubicBezTo>
                    <a:pt x="29" y="537"/>
                    <a:pt x="30" y="540"/>
                    <a:pt x="31" y="541"/>
                  </a:cubicBezTo>
                  <a:cubicBezTo>
                    <a:pt x="31" y="542"/>
                    <a:pt x="32" y="543"/>
                    <a:pt x="32" y="543"/>
                  </a:cubicBezTo>
                  <a:cubicBezTo>
                    <a:pt x="33" y="544"/>
                    <a:pt x="35" y="546"/>
                    <a:pt x="35" y="546"/>
                  </a:cubicBezTo>
                  <a:cubicBezTo>
                    <a:pt x="37" y="547"/>
                    <a:pt x="37" y="547"/>
                    <a:pt x="37" y="547"/>
                  </a:cubicBezTo>
                  <a:cubicBezTo>
                    <a:pt x="40" y="553"/>
                    <a:pt x="40" y="553"/>
                    <a:pt x="40" y="553"/>
                  </a:cubicBezTo>
                  <a:cubicBezTo>
                    <a:pt x="40" y="553"/>
                    <a:pt x="42" y="555"/>
                    <a:pt x="43" y="555"/>
                  </a:cubicBezTo>
                  <a:cubicBezTo>
                    <a:pt x="43" y="555"/>
                    <a:pt x="45" y="553"/>
                    <a:pt x="45" y="553"/>
                  </a:cubicBezTo>
                  <a:cubicBezTo>
                    <a:pt x="45" y="553"/>
                    <a:pt x="47" y="554"/>
                    <a:pt x="47" y="555"/>
                  </a:cubicBezTo>
                  <a:cubicBezTo>
                    <a:pt x="47" y="555"/>
                    <a:pt x="45" y="559"/>
                    <a:pt x="46" y="560"/>
                  </a:cubicBezTo>
                  <a:cubicBezTo>
                    <a:pt x="46" y="560"/>
                    <a:pt x="46" y="562"/>
                    <a:pt x="46" y="562"/>
                  </a:cubicBezTo>
                  <a:cubicBezTo>
                    <a:pt x="45" y="563"/>
                    <a:pt x="45" y="563"/>
                    <a:pt x="45" y="563"/>
                  </a:cubicBezTo>
                  <a:cubicBezTo>
                    <a:pt x="43" y="564"/>
                    <a:pt x="43" y="564"/>
                    <a:pt x="43" y="564"/>
                  </a:cubicBezTo>
                  <a:cubicBezTo>
                    <a:pt x="40" y="563"/>
                    <a:pt x="40" y="563"/>
                    <a:pt x="40" y="563"/>
                  </a:cubicBezTo>
                  <a:cubicBezTo>
                    <a:pt x="39" y="566"/>
                    <a:pt x="39" y="566"/>
                    <a:pt x="39" y="566"/>
                  </a:cubicBezTo>
                  <a:cubicBezTo>
                    <a:pt x="42" y="568"/>
                    <a:pt x="42" y="568"/>
                    <a:pt x="42" y="568"/>
                  </a:cubicBezTo>
                  <a:cubicBezTo>
                    <a:pt x="42" y="568"/>
                    <a:pt x="44" y="570"/>
                    <a:pt x="44" y="570"/>
                  </a:cubicBezTo>
                  <a:cubicBezTo>
                    <a:pt x="44" y="571"/>
                    <a:pt x="45" y="574"/>
                    <a:pt x="44" y="574"/>
                  </a:cubicBezTo>
                  <a:cubicBezTo>
                    <a:pt x="44" y="574"/>
                    <a:pt x="40" y="573"/>
                    <a:pt x="40" y="573"/>
                  </a:cubicBezTo>
                  <a:cubicBezTo>
                    <a:pt x="40" y="573"/>
                    <a:pt x="39" y="576"/>
                    <a:pt x="39" y="576"/>
                  </a:cubicBezTo>
                  <a:cubicBezTo>
                    <a:pt x="39" y="577"/>
                    <a:pt x="38" y="577"/>
                    <a:pt x="39" y="579"/>
                  </a:cubicBezTo>
                  <a:cubicBezTo>
                    <a:pt x="41" y="581"/>
                    <a:pt x="45" y="586"/>
                    <a:pt x="45" y="586"/>
                  </a:cubicBezTo>
                  <a:cubicBezTo>
                    <a:pt x="45" y="586"/>
                    <a:pt x="48" y="591"/>
                    <a:pt x="48" y="591"/>
                  </a:cubicBezTo>
                  <a:cubicBezTo>
                    <a:pt x="48" y="591"/>
                    <a:pt x="50" y="594"/>
                    <a:pt x="50" y="595"/>
                  </a:cubicBezTo>
                  <a:cubicBezTo>
                    <a:pt x="51" y="595"/>
                    <a:pt x="51" y="598"/>
                    <a:pt x="51" y="598"/>
                  </a:cubicBezTo>
                  <a:cubicBezTo>
                    <a:pt x="50" y="599"/>
                    <a:pt x="50" y="599"/>
                    <a:pt x="50" y="599"/>
                  </a:cubicBezTo>
                  <a:cubicBezTo>
                    <a:pt x="49" y="602"/>
                    <a:pt x="49" y="602"/>
                    <a:pt x="49" y="602"/>
                  </a:cubicBezTo>
                  <a:cubicBezTo>
                    <a:pt x="49" y="604"/>
                    <a:pt x="49" y="604"/>
                    <a:pt x="49" y="604"/>
                  </a:cubicBezTo>
                  <a:cubicBezTo>
                    <a:pt x="49" y="606"/>
                    <a:pt x="49" y="606"/>
                    <a:pt x="49" y="606"/>
                  </a:cubicBezTo>
                  <a:cubicBezTo>
                    <a:pt x="49" y="608"/>
                    <a:pt x="49" y="608"/>
                    <a:pt x="49" y="608"/>
                  </a:cubicBezTo>
                  <a:cubicBezTo>
                    <a:pt x="47" y="610"/>
                    <a:pt x="47" y="610"/>
                    <a:pt x="47" y="610"/>
                  </a:cubicBezTo>
                  <a:cubicBezTo>
                    <a:pt x="51" y="611"/>
                    <a:pt x="51" y="611"/>
                    <a:pt x="51" y="611"/>
                  </a:cubicBezTo>
                  <a:cubicBezTo>
                    <a:pt x="56" y="610"/>
                    <a:pt x="56" y="610"/>
                    <a:pt x="56" y="610"/>
                  </a:cubicBezTo>
                  <a:cubicBezTo>
                    <a:pt x="56" y="610"/>
                    <a:pt x="56" y="611"/>
                    <a:pt x="57" y="612"/>
                  </a:cubicBezTo>
                  <a:cubicBezTo>
                    <a:pt x="58" y="612"/>
                    <a:pt x="61" y="612"/>
                    <a:pt x="61" y="612"/>
                  </a:cubicBezTo>
                  <a:cubicBezTo>
                    <a:pt x="65" y="610"/>
                    <a:pt x="65" y="610"/>
                    <a:pt x="65" y="610"/>
                  </a:cubicBezTo>
                  <a:cubicBezTo>
                    <a:pt x="67" y="609"/>
                    <a:pt x="67" y="609"/>
                    <a:pt x="67" y="609"/>
                  </a:cubicBezTo>
                  <a:cubicBezTo>
                    <a:pt x="67" y="606"/>
                    <a:pt x="67" y="606"/>
                    <a:pt x="67" y="606"/>
                  </a:cubicBezTo>
                  <a:cubicBezTo>
                    <a:pt x="67" y="606"/>
                    <a:pt x="68" y="604"/>
                    <a:pt x="69" y="604"/>
                  </a:cubicBezTo>
                  <a:cubicBezTo>
                    <a:pt x="69" y="604"/>
                    <a:pt x="72" y="605"/>
                    <a:pt x="72" y="605"/>
                  </a:cubicBezTo>
                  <a:cubicBezTo>
                    <a:pt x="72" y="605"/>
                    <a:pt x="74" y="605"/>
                    <a:pt x="74" y="606"/>
                  </a:cubicBezTo>
                  <a:cubicBezTo>
                    <a:pt x="74" y="606"/>
                    <a:pt x="76" y="607"/>
                    <a:pt x="76" y="607"/>
                  </a:cubicBezTo>
                  <a:cubicBezTo>
                    <a:pt x="79" y="607"/>
                    <a:pt x="79" y="607"/>
                    <a:pt x="79" y="607"/>
                  </a:cubicBezTo>
                  <a:cubicBezTo>
                    <a:pt x="81" y="607"/>
                    <a:pt x="81" y="607"/>
                    <a:pt x="81" y="607"/>
                  </a:cubicBezTo>
                  <a:cubicBezTo>
                    <a:pt x="84" y="606"/>
                    <a:pt x="84" y="606"/>
                    <a:pt x="84" y="606"/>
                  </a:cubicBezTo>
                  <a:cubicBezTo>
                    <a:pt x="84" y="606"/>
                    <a:pt x="83" y="604"/>
                    <a:pt x="84" y="604"/>
                  </a:cubicBezTo>
                  <a:cubicBezTo>
                    <a:pt x="85" y="604"/>
                    <a:pt x="87" y="605"/>
                    <a:pt x="87" y="605"/>
                  </a:cubicBezTo>
                  <a:cubicBezTo>
                    <a:pt x="87" y="605"/>
                    <a:pt x="88" y="606"/>
                    <a:pt x="88" y="606"/>
                  </a:cubicBezTo>
                  <a:cubicBezTo>
                    <a:pt x="89" y="606"/>
                    <a:pt x="91" y="604"/>
                    <a:pt x="90" y="603"/>
                  </a:cubicBezTo>
                  <a:cubicBezTo>
                    <a:pt x="89" y="602"/>
                    <a:pt x="86" y="601"/>
                    <a:pt x="86" y="601"/>
                  </a:cubicBezTo>
                  <a:cubicBezTo>
                    <a:pt x="86" y="601"/>
                    <a:pt x="84" y="599"/>
                    <a:pt x="84" y="598"/>
                  </a:cubicBezTo>
                  <a:cubicBezTo>
                    <a:pt x="84" y="597"/>
                    <a:pt x="83" y="595"/>
                    <a:pt x="82" y="594"/>
                  </a:cubicBezTo>
                  <a:cubicBezTo>
                    <a:pt x="81" y="594"/>
                    <a:pt x="81" y="593"/>
                    <a:pt x="81" y="591"/>
                  </a:cubicBezTo>
                  <a:cubicBezTo>
                    <a:pt x="81" y="589"/>
                    <a:pt x="82" y="588"/>
                    <a:pt x="82" y="588"/>
                  </a:cubicBezTo>
                  <a:cubicBezTo>
                    <a:pt x="82" y="587"/>
                    <a:pt x="81" y="584"/>
                    <a:pt x="81" y="584"/>
                  </a:cubicBezTo>
                  <a:cubicBezTo>
                    <a:pt x="81" y="584"/>
                    <a:pt x="81" y="583"/>
                    <a:pt x="83" y="581"/>
                  </a:cubicBezTo>
                  <a:cubicBezTo>
                    <a:pt x="85" y="579"/>
                    <a:pt x="86" y="578"/>
                    <a:pt x="86" y="579"/>
                  </a:cubicBezTo>
                  <a:cubicBezTo>
                    <a:pt x="87" y="579"/>
                    <a:pt x="89" y="581"/>
                    <a:pt x="89" y="581"/>
                  </a:cubicBezTo>
                  <a:cubicBezTo>
                    <a:pt x="90" y="582"/>
                    <a:pt x="91" y="582"/>
                    <a:pt x="91" y="583"/>
                  </a:cubicBezTo>
                  <a:cubicBezTo>
                    <a:pt x="91" y="583"/>
                    <a:pt x="91" y="584"/>
                    <a:pt x="92" y="584"/>
                  </a:cubicBezTo>
                  <a:cubicBezTo>
                    <a:pt x="93" y="584"/>
                    <a:pt x="94" y="584"/>
                    <a:pt x="94" y="584"/>
                  </a:cubicBezTo>
                  <a:cubicBezTo>
                    <a:pt x="94" y="584"/>
                    <a:pt x="96" y="584"/>
                    <a:pt x="96" y="583"/>
                  </a:cubicBezTo>
                  <a:cubicBezTo>
                    <a:pt x="95" y="583"/>
                    <a:pt x="95" y="580"/>
                    <a:pt x="94" y="580"/>
                  </a:cubicBezTo>
                  <a:cubicBezTo>
                    <a:pt x="94" y="580"/>
                    <a:pt x="93" y="578"/>
                    <a:pt x="93" y="578"/>
                  </a:cubicBezTo>
                  <a:cubicBezTo>
                    <a:pt x="93" y="578"/>
                    <a:pt x="94" y="578"/>
                    <a:pt x="92" y="577"/>
                  </a:cubicBezTo>
                  <a:cubicBezTo>
                    <a:pt x="90" y="575"/>
                    <a:pt x="89" y="575"/>
                    <a:pt x="91" y="574"/>
                  </a:cubicBezTo>
                  <a:cubicBezTo>
                    <a:pt x="92" y="573"/>
                    <a:pt x="95" y="573"/>
                    <a:pt x="95" y="573"/>
                  </a:cubicBezTo>
                  <a:cubicBezTo>
                    <a:pt x="98" y="573"/>
                    <a:pt x="98" y="573"/>
                    <a:pt x="98" y="573"/>
                  </a:cubicBezTo>
                  <a:cubicBezTo>
                    <a:pt x="98" y="573"/>
                    <a:pt x="99" y="572"/>
                    <a:pt x="101" y="572"/>
                  </a:cubicBezTo>
                  <a:cubicBezTo>
                    <a:pt x="102" y="573"/>
                    <a:pt x="105" y="573"/>
                    <a:pt x="105" y="573"/>
                  </a:cubicBezTo>
                  <a:cubicBezTo>
                    <a:pt x="109" y="573"/>
                    <a:pt x="109" y="573"/>
                    <a:pt x="109" y="573"/>
                  </a:cubicBezTo>
                  <a:cubicBezTo>
                    <a:pt x="111" y="571"/>
                    <a:pt x="111" y="571"/>
                    <a:pt x="111" y="571"/>
                  </a:cubicBezTo>
                  <a:cubicBezTo>
                    <a:pt x="114" y="573"/>
                    <a:pt x="114" y="573"/>
                    <a:pt x="114" y="573"/>
                  </a:cubicBezTo>
                  <a:cubicBezTo>
                    <a:pt x="114" y="573"/>
                    <a:pt x="114" y="573"/>
                    <a:pt x="116" y="573"/>
                  </a:cubicBezTo>
                  <a:cubicBezTo>
                    <a:pt x="118" y="574"/>
                    <a:pt x="120" y="572"/>
                    <a:pt x="121" y="572"/>
                  </a:cubicBezTo>
                  <a:cubicBezTo>
                    <a:pt x="121" y="571"/>
                    <a:pt x="124" y="566"/>
                    <a:pt x="124" y="566"/>
                  </a:cubicBezTo>
                  <a:cubicBezTo>
                    <a:pt x="127" y="549"/>
                    <a:pt x="127" y="549"/>
                    <a:pt x="127" y="549"/>
                  </a:cubicBezTo>
                  <a:cubicBezTo>
                    <a:pt x="127" y="549"/>
                    <a:pt x="129" y="547"/>
                    <a:pt x="129" y="547"/>
                  </a:cubicBezTo>
                  <a:cubicBezTo>
                    <a:pt x="129" y="546"/>
                    <a:pt x="129" y="540"/>
                    <a:pt x="129" y="540"/>
                  </a:cubicBezTo>
                  <a:cubicBezTo>
                    <a:pt x="129" y="539"/>
                    <a:pt x="131" y="533"/>
                    <a:pt x="131" y="533"/>
                  </a:cubicBezTo>
                  <a:cubicBezTo>
                    <a:pt x="131" y="533"/>
                    <a:pt x="134" y="531"/>
                    <a:pt x="133" y="528"/>
                  </a:cubicBezTo>
                  <a:cubicBezTo>
                    <a:pt x="131" y="526"/>
                    <a:pt x="130" y="523"/>
                    <a:pt x="130" y="523"/>
                  </a:cubicBezTo>
                  <a:cubicBezTo>
                    <a:pt x="130" y="523"/>
                    <a:pt x="129" y="518"/>
                    <a:pt x="130" y="518"/>
                  </a:cubicBezTo>
                  <a:cubicBezTo>
                    <a:pt x="130" y="517"/>
                    <a:pt x="133" y="513"/>
                    <a:pt x="133" y="513"/>
                  </a:cubicBezTo>
                  <a:cubicBezTo>
                    <a:pt x="130" y="505"/>
                    <a:pt x="130" y="505"/>
                    <a:pt x="130" y="505"/>
                  </a:cubicBezTo>
                  <a:cubicBezTo>
                    <a:pt x="130" y="505"/>
                    <a:pt x="132" y="503"/>
                    <a:pt x="132" y="502"/>
                  </a:cubicBezTo>
                  <a:cubicBezTo>
                    <a:pt x="132" y="502"/>
                    <a:pt x="131" y="495"/>
                    <a:pt x="131" y="495"/>
                  </a:cubicBezTo>
                  <a:cubicBezTo>
                    <a:pt x="130" y="492"/>
                    <a:pt x="130" y="492"/>
                    <a:pt x="130" y="492"/>
                  </a:cubicBezTo>
                  <a:cubicBezTo>
                    <a:pt x="130" y="492"/>
                    <a:pt x="133" y="489"/>
                    <a:pt x="133" y="488"/>
                  </a:cubicBezTo>
                  <a:cubicBezTo>
                    <a:pt x="133" y="487"/>
                    <a:pt x="132" y="483"/>
                    <a:pt x="132" y="483"/>
                  </a:cubicBezTo>
                  <a:cubicBezTo>
                    <a:pt x="131" y="478"/>
                    <a:pt x="131" y="478"/>
                    <a:pt x="131" y="478"/>
                  </a:cubicBezTo>
                  <a:cubicBezTo>
                    <a:pt x="131" y="478"/>
                    <a:pt x="132" y="477"/>
                    <a:pt x="132" y="476"/>
                  </a:cubicBezTo>
                  <a:cubicBezTo>
                    <a:pt x="131" y="475"/>
                    <a:pt x="130" y="474"/>
                    <a:pt x="130" y="474"/>
                  </a:cubicBezTo>
                  <a:cubicBezTo>
                    <a:pt x="129" y="472"/>
                    <a:pt x="129" y="472"/>
                    <a:pt x="129" y="472"/>
                  </a:cubicBezTo>
                  <a:cubicBezTo>
                    <a:pt x="130" y="471"/>
                    <a:pt x="130" y="471"/>
                    <a:pt x="130" y="471"/>
                  </a:cubicBezTo>
                  <a:cubicBezTo>
                    <a:pt x="133" y="469"/>
                    <a:pt x="133" y="469"/>
                    <a:pt x="133" y="469"/>
                  </a:cubicBezTo>
                  <a:cubicBezTo>
                    <a:pt x="131" y="465"/>
                    <a:pt x="131" y="465"/>
                    <a:pt x="131" y="465"/>
                  </a:cubicBezTo>
                  <a:cubicBezTo>
                    <a:pt x="128" y="464"/>
                    <a:pt x="128" y="464"/>
                    <a:pt x="128" y="464"/>
                  </a:cubicBezTo>
                  <a:cubicBezTo>
                    <a:pt x="128" y="464"/>
                    <a:pt x="128" y="462"/>
                    <a:pt x="129" y="462"/>
                  </a:cubicBezTo>
                  <a:cubicBezTo>
                    <a:pt x="130" y="462"/>
                    <a:pt x="136" y="459"/>
                    <a:pt x="136" y="459"/>
                  </a:cubicBezTo>
                  <a:cubicBezTo>
                    <a:pt x="136" y="459"/>
                    <a:pt x="138" y="456"/>
                    <a:pt x="138" y="456"/>
                  </a:cubicBezTo>
                  <a:cubicBezTo>
                    <a:pt x="139" y="456"/>
                    <a:pt x="145" y="452"/>
                    <a:pt x="145" y="452"/>
                  </a:cubicBezTo>
                  <a:cubicBezTo>
                    <a:pt x="145" y="452"/>
                    <a:pt x="145" y="449"/>
                    <a:pt x="145" y="449"/>
                  </a:cubicBezTo>
                  <a:cubicBezTo>
                    <a:pt x="146" y="448"/>
                    <a:pt x="146" y="447"/>
                    <a:pt x="146" y="446"/>
                  </a:cubicBezTo>
                  <a:cubicBezTo>
                    <a:pt x="146" y="446"/>
                    <a:pt x="145" y="439"/>
                    <a:pt x="145" y="436"/>
                  </a:cubicBezTo>
                  <a:cubicBezTo>
                    <a:pt x="146" y="434"/>
                    <a:pt x="147" y="438"/>
                    <a:pt x="147" y="438"/>
                  </a:cubicBezTo>
                  <a:cubicBezTo>
                    <a:pt x="149" y="440"/>
                    <a:pt x="149" y="440"/>
                    <a:pt x="149" y="440"/>
                  </a:cubicBezTo>
                  <a:cubicBezTo>
                    <a:pt x="148" y="446"/>
                    <a:pt x="148" y="446"/>
                    <a:pt x="148" y="446"/>
                  </a:cubicBezTo>
                  <a:cubicBezTo>
                    <a:pt x="151" y="446"/>
                    <a:pt x="151" y="446"/>
                    <a:pt x="151" y="446"/>
                  </a:cubicBezTo>
                  <a:cubicBezTo>
                    <a:pt x="151" y="449"/>
                    <a:pt x="151" y="449"/>
                    <a:pt x="151" y="449"/>
                  </a:cubicBezTo>
                  <a:cubicBezTo>
                    <a:pt x="151" y="449"/>
                    <a:pt x="150" y="451"/>
                    <a:pt x="151" y="451"/>
                  </a:cubicBezTo>
                  <a:cubicBezTo>
                    <a:pt x="152" y="450"/>
                    <a:pt x="153" y="450"/>
                    <a:pt x="153" y="450"/>
                  </a:cubicBezTo>
                  <a:cubicBezTo>
                    <a:pt x="153" y="445"/>
                    <a:pt x="153" y="445"/>
                    <a:pt x="153" y="445"/>
                  </a:cubicBezTo>
                  <a:cubicBezTo>
                    <a:pt x="153" y="445"/>
                    <a:pt x="156" y="445"/>
                    <a:pt x="156" y="444"/>
                  </a:cubicBezTo>
                  <a:cubicBezTo>
                    <a:pt x="156" y="443"/>
                    <a:pt x="155" y="441"/>
                    <a:pt x="156" y="441"/>
                  </a:cubicBezTo>
                  <a:cubicBezTo>
                    <a:pt x="161" y="441"/>
                    <a:pt x="158" y="441"/>
                    <a:pt x="161" y="439"/>
                  </a:cubicBezTo>
                  <a:cubicBezTo>
                    <a:pt x="161" y="439"/>
                    <a:pt x="163" y="436"/>
                    <a:pt x="163" y="435"/>
                  </a:cubicBezTo>
                  <a:cubicBezTo>
                    <a:pt x="163" y="435"/>
                    <a:pt x="164" y="433"/>
                    <a:pt x="164" y="433"/>
                  </a:cubicBezTo>
                  <a:lnTo>
                    <a:pt x="162" y="432"/>
                  </a:lnTo>
                  <a:close/>
                </a:path>
              </a:pathLst>
            </a:custGeom>
            <a:solidFill>
              <a:schemeClr val="accent6">
                <a:lumMod val="75000"/>
              </a:schemeClr>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0" name="Freeform 8"/>
            <p:cNvSpPr>
              <a:spLocks/>
            </p:cNvSpPr>
            <p:nvPr/>
          </p:nvSpPr>
          <p:spPr bwMode="auto">
            <a:xfrm>
              <a:off x="6229558" y="3396893"/>
              <a:ext cx="414470" cy="298190"/>
            </a:xfrm>
            <a:custGeom>
              <a:avLst/>
              <a:gdLst>
                <a:gd name="T0" fmla="*/ 84 w 143"/>
                <a:gd name="T1" fmla="*/ 108 h 109"/>
                <a:gd name="T2" fmla="*/ 103 w 143"/>
                <a:gd name="T3" fmla="*/ 104 h 109"/>
                <a:gd name="T4" fmla="*/ 107 w 143"/>
                <a:gd name="T5" fmla="*/ 97 h 109"/>
                <a:gd name="T6" fmla="*/ 113 w 143"/>
                <a:gd name="T7" fmla="*/ 93 h 109"/>
                <a:gd name="T8" fmla="*/ 115 w 143"/>
                <a:gd name="T9" fmla="*/ 90 h 109"/>
                <a:gd name="T10" fmla="*/ 123 w 143"/>
                <a:gd name="T11" fmla="*/ 85 h 109"/>
                <a:gd name="T12" fmla="*/ 124 w 143"/>
                <a:gd name="T13" fmla="*/ 72 h 109"/>
                <a:gd name="T14" fmla="*/ 124 w 143"/>
                <a:gd name="T15" fmla="*/ 59 h 109"/>
                <a:gd name="T16" fmla="*/ 132 w 143"/>
                <a:gd name="T17" fmla="*/ 47 h 109"/>
                <a:gd name="T18" fmla="*/ 140 w 143"/>
                <a:gd name="T19" fmla="*/ 41 h 109"/>
                <a:gd name="T20" fmla="*/ 135 w 143"/>
                <a:gd name="T21" fmla="*/ 39 h 109"/>
                <a:gd name="T22" fmla="*/ 135 w 143"/>
                <a:gd name="T23" fmla="*/ 23 h 109"/>
                <a:gd name="T24" fmla="*/ 130 w 143"/>
                <a:gd name="T25" fmla="*/ 22 h 109"/>
                <a:gd name="T26" fmla="*/ 123 w 143"/>
                <a:gd name="T27" fmla="*/ 17 h 109"/>
                <a:gd name="T28" fmla="*/ 116 w 143"/>
                <a:gd name="T29" fmla="*/ 11 h 109"/>
                <a:gd name="T30" fmla="*/ 109 w 143"/>
                <a:gd name="T31" fmla="*/ 8 h 109"/>
                <a:gd name="T32" fmla="*/ 97 w 143"/>
                <a:gd name="T33" fmla="*/ 10 h 109"/>
                <a:gd name="T34" fmla="*/ 90 w 143"/>
                <a:gd name="T35" fmla="*/ 4 h 109"/>
                <a:gd name="T36" fmla="*/ 82 w 143"/>
                <a:gd name="T37" fmla="*/ 7 h 109"/>
                <a:gd name="T38" fmla="*/ 74 w 143"/>
                <a:gd name="T39" fmla="*/ 11 h 109"/>
                <a:gd name="T40" fmla="*/ 60 w 143"/>
                <a:gd name="T41" fmla="*/ 10 h 109"/>
                <a:gd name="T42" fmla="*/ 50 w 143"/>
                <a:gd name="T43" fmla="*/ 11 h 109"/>
                <a:gd name="T44" fmla="*/ 42 w 143"/>
                <a:gd name="T45" fmla="*/ 11 h 109"/>
                <a:gd name="T46" fmla="*/ 27 w 143"/>
                <a:gd name="T47" fmla="*/ 15 h 109"/>
                <a:gd name="T48" fmla="*/ 15 w 143"/>
                <a:gd name="T49" fmla="*/ 21 h 109"/>
                <a:gd name="T50" fmla="*/ 7 w 143"/>
                <a:gd name="T51" fmla="*/ 26 h 109"/>
                <a:gd name="T52" fmla="*/ 1 w 143"/>
                <a:gd name="T53" fmla="*/ 34 h 109"/>
                <a:gd name="T54" fmla="*/ 3 w 143"/>
                <a:gd name="T55" fmla="*/ 43 h 109"/>
                <a:gd name="T56" fmla="*/ 9 w 143"/>
                <a:gd name="T57" fmla="*/ 55 h 109"/>
                <a:gd name="T58" fmla="*/ 12 w 143"/>
                <a:gd name="T59" fmla="*/ 64 h 109"/>
                <a:gd name="T60" fmla="*/ 14 w 143"/>
                <a:gd name="T61" fmla="*/ 64 h 109"/>
                <a:gd name="T62" fmla="*/ 16 w 143"/>
                <a:gd name="T63" fmla="*/ 65 h 109"/>
                <a:gd name="T64" fmla="*/ 26 w 143"/>
                <a:gd name="T65" fmla="*/ 70 h 109"/>
                <a:gd name="T66" fmla="*/ 39 w 143"/>
                <a:gd name="T67" fmla="*/ 68 h 109"/>
                <a:gd name="T68" fmla="*/ 50 w 143"/>
                <a:gd name="T69" fmla="*/ 70 h 109"/>
                <a:gd name="T70" fmla="*/ 56 w 143"/>
                <a:gd name="T71" fmla="*/ 76 h 109"/>
                <a:gd name="T72" fmla="*/ 55 w 143"/>
                <a:gd name="T73" fmla="*/ 83 h 109"/>
                <a:gd name="T74" fmla="*/ 57 w 143"/>
                <a:gd name="T75" fmla="*/ 95 h 109"/>
                <a:gd name="T76" fmla="*/ 58 w 143"/>
                <a:gd name="T77" fmla="*/ 95 h 109"/>
                <a:gd name="T78" fmla="*/ 60 w 143"/>
                <a:gd name="T79" fmla="*/ 93 h 109"/>
                <a:gd name="T80" fmla="*/ 63 w 143"/>
                <a:gd name="T81" fmla="*/ 94 h 109"/>
                <a:gd name="T82" fmla="*/ 65 w 143"/>
                <a:gd name="T83" fmla="*/ 97 h 109"/>
                <a:gd name="T84" fmla="*/ 69 w 143"/>
                <a:gd name="T85" fmla="*/ 97 h 109"/>
                <a:gd name="T86" fmla="*/ 79 w 143"/>
                <a:gd name="T87" fmla="*/ 10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3" h="109">
                  <a:moveTo>
                    <a:pt x="79" y="106"/>
                  </a:moveTo>
                  <a:cubicBezTo>
                    <a:pt x="80" y="109"/>
                    <a:pt x="80" y="109"/>
                    <a:pt x="80" y="109"/>
                  </a:cubicBezTo>
                  <a:cubicBezTo>
                    <a:pt x="84" y="108"/>
                    <a:pt x="84" y="108"/>
                    <a:pt x="84" y="108"/>
                  </a:cubicBezTo>
                  <a:cubicBezTo>
                    <a:pt x="93" y="104"/>
                    <a:pt x="93" y="104"/>
                    <a:pt x="93" y="104"/>
                  </a:cubicBezTo>
                  <a:cubicBezTo>
                    <a:pt x="98" y="105"/>
                    <a:pt x="98" y="105"/>
                    <a:pt x="98" y="105"/>
                  </a:cubicBezTo>
                  <a:cubicBezTo>
                    <a:pt x="103" y="104"/>
                    <a:pt x="103" y="104"/>
                    <a:pt x="103" y="104"/>
                  </a:cubicBezTo>
                  <a:cubicBezTo>
                    <a:pt x="106" y="101"/>
                    <a:pt x="106" y="101"/>
                    <a:pt x="106" y="101"/>
                  </a:cubicBezTo>
                  <a:cubicBezTo>
                    <a:pt x="108" y="101"/>
                    <a:pt x="108" y="101"/>
                    <a:pt x="108" y="101"/>
                  </a:cubicBezTo>
                  <a:cubicBezTo>
                    <a:pt x="107" y="97"/>
                    <a:pt x="107" y="97"/>
                    <a:pt x="107" y="97"/>
                  </a:cubicBezTo>
                  <a:cubicBezTo>
                    <a:pt x="107" y="97"/>
                    <a:pt x="107" y="97"/>
                    <a:pt x="107" y="97"/>
                  </a:cubicBezTo>
                  <a:cubicBezTo>
                    <a:pt x="107" y="96"/>
                    <a:pt x="108" y="93"/>
                    <a:pt x="111" y="93"/>
                  </a:cubicBezTo>
                  <a:cubicBezTo>
                    <a:pt x="112" y="93"/>
                    <a:pt x="112" y="93"/>
                    <a:pt x="113" y="93"/>
                  </a:cubicBezTo>
                  <a:cubicBezTo>
                    <a:pt x="114" y="93"/>
                    <a:pt x="114" y="93"/>
                    <a:pt x="114" y="93"/>
                  </a:cubicBezTo>
                  <a:cubicBezTo>
                    <a:pt x="115" y="92"/>
                    <a:pt x="115" y="92"/>
                    <a:pt x="115" y="92"/>
                  </a:cubicBezTo>
                  <a:cubicBezTo>
                    <a:pt x="115" y="90"/>
                    <a:pt x="115" y="90"/>
                    <a:pt x="115" y="90"/>
                  </a:cubicBezTo>
                  <a:cubicBezTo>
                    <a:pt x="122" y="87"/>
                    <a:pt x="122" y="87"/>
                    <a:pt x="122" y="87"/>
                  </a:cubicBezTo>
                  <a:cubicBezTo>
                    <a:pt x="123" y="85"/>
                    <a:pt x="123" y="85"/>
                    <a:pt x="123" y="85"/>
                  </a:cubicBezTo>
                  <a:cubicBezTo>
                    <a:pt x="123" y="85"/>
                    <a:pt x="123" y="85"/>
                    <a:pt x="123" y="85"/>
                  </a:cubicBezTo>
                  <a:cubicBezTo>
                    <a:pt x="123" y="84"/>
                    <a:pt x="122" y="83"/>
                    <a:pt x="123" y="82"/>
                  </a:cubicBezTo>
                  <a:cubicBezTo>
                    <a:pt x="124" y="76"/>
                    <a:pt x="124" y="76"/>
                    <a:pt x="124" y="76"/>
                  </a:cubicBezTo>
                  <a:cubicBezTo>
                    <a:pt x="124" y="72"/>
                    <a:pt x="124" y="72"/>
                    <a:pt x="124" y="72"/>
                  </a:cubicBezTo>
                  <a:cubicBezTo>
                    <a:pt x="123" y="65"/>
                    <a:pt x="123" y="65"/>
                    <a:pt x="123" y="65"/>
                  </a:cubicBezTo>
                  <a:cubicBezTo>
                    <a:pt x="124" y="62"/>
                    <a:pt x="124" y="62"/>
                    <a:pt x="124" y="62"/>
                  </a:cubicBezTo>
                  <a:cubicBezTo>
                    <a:pt x="124" y="59"/>
                    <a:pt x="124" y="59"/>
                    <a:pt x="124" y="59"/>
                  </a:cubicBezTo>
                  <a:cubicBezTo>
                    <a:pt x="126" y="55"/>
                    <a:pt x="126" y="55"/>
                    <a:pt x="126" y="55"/>
                  </a:cubicBezTo>
                  <a:cubicBezTo>
                    <a:pt x="132" y="52"/>
                    <a:pt x="132" y="52"/>
                    <a:pt x="132" y="52"/>
                  </a:cubicBezTo>
                  <a:cubicBezTo>
                    <a:pt x="132" y="47"/>
                    <a:pt x="132" y="47"/>
                    <a:pt x="132" y="47"/>
                  </a:cubicBezTo>
                  <a:cubicBezTo>
                    <a:pt x="136" y="43"/>
                    <a:pt x="136" y="43"/>
                    <a:pt x="136" y="43"/>
                  </a:cubicBezTo>
                  <a:cubicBezTo>
                    <a:pt x="141" y="43"/>
                    <a:pt x="141" y="43"/>
                    <a:pt x="141" y="43"/>
                  </a:cubicBezTo>
                  <a:cubicBezTo>
                    <a:pt x="140" y="41"/>
                    <a:pt x="140" y="41"/>
                    <a:pt x="140" y="41"/>
                  </a:cubicBezTo>
                  <a:cubicBezTo>
                    <a:pt x="143" y="40"/>
                    <a:pt x="143" y="40"/>
                    <a:pt x="143" y="40"/>
                  </a:cubicBezTo>
                  <a:cubicBezTo>
                    <a:pt x="139" y="41"/>
                    <a:pt x="139" y="41"/>
                    <a:pt x="139" y="41"/>
                  </a:cubicBezTo>
                  <a:cubicBezTo>
                    <a:pt x="135" y="39"/>
                    <a:pt x="135" y="39"/>
                    <a:pt x="135" y="39"/>
                  </a:cubicBezTo>
                  <a:cubicBezTo>
                    <a:pt x="135" y="33"/>
                    <a:pt x="135" y="33"/>
                    <a:pt x="135" y="33"/>
                  </a:cubicBezTo>
                  <a:cubicBezTo>
                    <a:pt x="136" y="29"/>
                    <a:pt x="136" y="29"/>
                    <a:pt x="136" y="29"/>
                  </a:cubicBezTo>
                  <a:cubicBezTo>
                    <a:pt x="135" y="23"/>
                    <a:pt x="135" y="23"/>
                    <a:pt x="135" y="23"/>
                  </a:cubicBezTo>
                  <a:cubicBezTo>
                    <a:pt x="135" y="23"/>
                    <a:pt x="135" y="22"/>
                    <a:pt x="135" y="22"/>
                  </a:cubicBezTo>
                  <a:cubicBezTo>
                    <a:pt x="135" y="22"/>
                    <a:pt x="135" y="22"/>
                    <a:pt x="135" y="22"/>
                  </a:cubicBezTo>
                  <a:cubicBezTo>
                    <a:pt x="130" y="22"/>
                    <a:pt x="130" y="22"/>
                    <a:pt x="130" y="22"/>
                  </a:cubicBezTo>
                  <a:cubicBezTo>
                    <a:pt x="127" y="21"/>
                    <a:pt x="127" y="21"/>
                    <a:pt x="127" y="21"/>
                  </a:cubicBezTo>
                  <a:cubicBezTo>
                    <a:pt x="125" y="18"/>
                    <a:pt x="125" y="18"/>
                    <a:pt x="125" y="18"/>
                  </a:cubicBezTo>
                  <a:cubicBezTo>
                    <a:pt x="123" y="17"/>
                    <a:pt x="123" y="17"/>
                    <a:pt x="123" y="17"/>
                  </a:cubicBezTo>
                  <a:cubicBezTo>
                    <a:pt x="121" y="15"/>
                    <a:pt x="121" y="15"/>
                    <a:pt x="121" y="15"/>
                  </a:cubicBezTo>
                  <a:cubicBezTo>
                    <a:pt x="118" y="14"/>
                    <a:pt x="118" y="14"/>
                    <a:pt x="118" y="14"/>
                  </a:cubicBezTo>
                  <a:cubicBezTo>
                    <a:pt x="116" y="11"/>
                    <a:pt x="116" y="11"/>
                    <a:pt x="116" y="11"/>
                  </a:cubicBezTo>
                  <a:cubicBezTo>
                    <a:pt x="112" y="11"/>
                    <a:pt x="112" y="11"/>
                    <a:pt x="112" y="11"/>
                  </a:cubicBezTo>
                  <a:cubicBezTo>
                    <a:pt x="109" y="9"/>
                    <a:pt x="109" y="9"/>
                    <a:pt x="109" y="9"/>
                  </a:cubicBezTo>
                  <a:cubicBezTo>
                    <a:pt x="109" y="8"/>
                    <a:pt x="109" y="8"/>
                    <a:pt x="109" y="8"/>
                  </a:cubicBezTo>
                  <a:cubicBezTo>
                    <a:pt x="106" y="8"/>
                    <a:pt x="106" y="8"/>
                    <a:pt x="106" y="8"/>
                  </a:cubicBezTo>
                  <a:cubicBezTo>
                    <a:pt x="103" y="8"/>
                    <a:pt x="103" y="8"/>
                    <a:pt x="103" y="8"/>
                  </a:cubicBezTo>
                  <a:cubicBezTo>
                    <a:pt x="97" y="10"/>
                    <a:pt x="97" y="10"/>
                    <a:pt x="97" y="10"/>
                  </a:cubicBezTo>
                  <a:cubicBezTo>
                    <a:pt x="94" y="8"/>
                    <a:pt x="94" y="8"/>
                    <a:pt x="94" y="8"/>
                  </a:cubicBezTo>
                  <a:cubicBezTo>
                    <a:pt x="94" y="7"/>
                    <a:pt x="94" y="7"/>
                    <a:pt x="94" y="7"/>
                  </a:cubicBezTo>
                  <a:cubicBezTo>
                    <a:pt x="90" y="4"/>
                    <a:pt x="90" y="4"/>
                    <a:pt x="90" y="4"/>
                  </a:cubicBezTo>
                  <a:cubicBezTo>
                    <a:pt x="88" y="0"/>
                    <a:pt x="88" y="0"/>
                    <a:pt x="88" y="0"/>
                  </a:cubicBezTo>
                  <a:cubicBezTo>
                    <a:pt x="88" y="0"/>
                    <a:pt x="85" y="2"/>
                    <a:pt x="85" y="2"/>
                  </a:cubicBezTo>
                  <a:cubicBezTo>
                    <a:pt x="84" y="2"/>
                    <a:pt x="82" y="7"/>
                    <a:pt x="82" y="7"/>
                  </a:cubicBezTo>
                  <a:cubicBezTo>
                    <a:pt x="81" y="9"/>
                    <a:pt x="81" y="9"/>
                    <a:pt x="81" y="9"/>
                  </a:cubicBezTo>
                  <a:cubicBezTo>
                    <a:pt x="77" y="8"/>
                    <a:pt x="77" y="8"/>
                    <a:pt x="77" y="8"/>
                  </a:cubicBezTo>
                  <a:cubicBezTo>
                    <a:pt x="77" y="8"/>
                    <a:pt x="74" y="11"/>
                    <a:pt x="74" y="11"/>
                  </a:cubicBezTo>
                  <a:cubicBezTo>
                    <a:pt x="73" y="12"/>
                    <a:pt x="70" y="10"/>
                    <a:pt x="70" y="10"/>
                  </a:cubicBezTo>
                  <a:cubicBezTo>
                    <a:pt x="65" y="10"/>
                    <a:pt x="65" y="10"/>
                    <a:pt x="65" y="10"/>
                  </a:cubicBezTo>
                  <a:cubicBezTo>
                    <a:pt x="65" y="10"/>
                    <a:pt x="60" y="10"/>
                    <a:pt x="60" y="10"/>
                  </a:cubicBezTo>
                  <a:cubicBezTo>
                    <a:pt x="59" y="9"/>
                    <a:pt x="59" y="11"/>
                    <a:pt x="59" y="11"/>
                  </a:cubicBezTo>
                  <a:cubicBezTo>
                    <a:pt x="55" y="11"/>
                    <a:pt x="55" y="11"/>
                    <a:pt x="55" y="11"/>
                  </a:cubicBezTo>
                  <a:cubicBezTo>
                    <a:pt x="50" y="11"/>
                    <a:pt x="50" y="11"/>
                    <a:pt x="50" y="11"/>
                  </a:cubicBezTo>
                  <a:cubicBezTo>
                    <a:pt x="50" y="11"/>
                    <a:pt x="49" y="15"/>
                    <a:pt x="48" y="16"/>
                  </a:cubicBezTo>
                  <a:cubicBezTo>
                    <a:pt x="47" y="16"/>
                    <a:pt x="45" y="13"/>
                    <a:pt x="44" y="12"/>
                  </a:cubicBezTo>
                  <a:cubicBezTo>
                    <a:pt x="44" y="12"/>
                    <a:pt x="42" y="11"/>
                    <a:pt x="42" y="11"/>
                  </a:cubicBezTo>
                  <a:cubicBezTo>
                    <a:pt x="39" y="13"/>
                    <a:pt x="39" y="13"/>
                    <a:pt x="39" y="13"/>
                  </a:cubicBezTo>
                  <a:cubicBezTo>
                    <a:pt x="39" y="13"/>
                    <a:pt x="33" y="14"/>
                    <a:pt x="32" y="14"/>
                  </a:cubicBezTo>
                  <a:cubicBezTo>
                    <a:pt x="32" y="14"/>
                    <a:pt x="27" y="15"/>
                    <a:pt x="27" y="15"/>
                  </a:cubicBezTo>
                  <a:cubicBezTo>
                    <a:pt x="22" y="15"/>
                    <a:pt x="22" y="15"/>
                    <a:pt x="22" y="15"/>
                  </a:cubicBezTo>
                  <a:cubicBezTo>
                    <a:pt x="20" y="18"/>
                    <a:pt x="20" y="18"/>
                    <a:pt x="20" y="18"/>
                  </a:cubicBezTo>
                  <a:cubicBezTo>
                    <a:pt x="15" y="21"/>
                    <a:pt x="15" y="21"/>
                    <a:pt x="15" y="21"/>
                  </a:cubicBezTo>
                  <a:cubicBezTo>
                    <a:pt x="12" y="21"/>
                    <a:pt x="12" y="21"/>
                    <a:pt x="12" y="21"/>
                  </a:cubicBezTo>
                  <a:cubicBezTo>
                    <a:pt x="10" y="24"/>
                    <a:pt x="10" y="24"/>
                    <a:pt x="10" y="24"/>
                  </a:cubicBezTo>
                  <a:cubicBezTo>
                    <a:pt x="7" y="26"/>
                    <a:pt x="7" y="26"/>
                    <a:pt x="7" y="26"/>
                  </a:cubicBezTo>
                  <a:cubicBezTo>
                    <a:pt x="5" y="28"/>
                    <a:pt x="5" y="28"/>
                    <a:pt x="5" y="28"/>
                  </a:cubicBezTo>
                  <a:cubicBezTo>
                    <a:pt x="5" y="32"/>
                    <a:pt x="5" y="32"/>
                    <a:pt x="5" y="32"/>
                  </a:cubicBezTo>
                  <a:cubicBezTo>
                    <a:pt x="5" y="32"/>
                    <a:pt x="3" y="33"/>
                    <a:pt x="1" y="34"/>
                  </a:cubicBezTo>
                  <a:cubicBezTo>
                    <a:pt x="0" y="34"/>
                    <a:pt x="2" y="35"/>
                    <a:pt x="2" y="35"/>
                  </a:cubicBezTo>
                  <a:cubicBezTo>
                    <a:pt x="1" y="39"/>
                    <a:pt x="1" y="39"/>
                    <a:pt x="1" y="39"/>
                  </a:cubicBezTo>
                  <a:cubicBezTo>
                    <a:pt x="3" y="43"/>
                    <a:pt x="3" y="43"/>
                    <a:pt x="3" y="43"/>
                  </a:cubicBezTo>
                  <a:cubicBezTo>
                    <a:pt x="4" y="48"/>
                    <a:pt x="4" y="48"/>
                    <a:pt x="4" y="48"/>
                  </a:cubicBezTo>
                  <a:cubicBezTo>
                    <a:pt x="5" y="51"/>
                    <a:pt x="5" y="51"/>
                    <a:pt x="5" y="51"/>
                  </a:cubicBezTo>
                  <a:cubicBezTo>
                    <a:pt x="9" y="55"/>
                    <a:pt x="9" y="55"/>
                    <a:pt x="9" y="55"/>
                  </a:cubicBezTo>
                  <a:cubicBezTo>
                    <a:pt x="10" y="59"/>
                    <a:pt x="10" y="59"/>
                    <a:pt x="10" y="59"/>
                  </a:cubicBezTo>
                  <a:cubicBezTo>
                    <a:pt x="11" y="63"/>
                    <a:pt x="11" y="63"/>
                    <a:pt x="11" y="63"/>
                  </a:cubicBezTo>
                  <a:cubicBezTo>
                    <a:pt x="12" y="64"/>
                    <a:pt x="12" y="64"/>
                    <a:pt x="12" y="64"/>
                  </a:cubicBezTo>
                  <a:cubicBezTo>
                    <a:pt x="13" y="64"/>
                    <a:pt x="13" y="64"/>
                    <a:pt x="13" y="64"/>
                  </a:cubicBezTo>
                  <a:cubicBezTo>
                    <a:pt x="13" y="64"/>
                    <a:pt x="13" y="64"/>
                    <a:pt x="13" y="64"/>
                  </a:cubicBezTo>
                  <a:cubicBezTo>
                    <a:pt x="14" y="64"/>
                    <a:pt x="14" y="64"/>
                    <a:pt x="14" y="64"/>
                  </a:cubicBezTo>
                  <a:cubicBezTo>
                    <a:pt x="14" y="64"/>
                    <a:pt x="14" y="64"/>
                    <a:pt x="15" y="64"/>
                  </a:cubicBezTo>
                  <a:cubicBezTo>
                    <a:pt x="16" y="64"/>
                    <a:pt x="16" y="64"/>
                    <a:pt x="16" y="64"/>
                  </a:cubicBezTo>
                  <a:cubicBezTo>
                    <a:pt x="16" y="65"/>
                    <a:pt x="16" y="65"/>
                    <a:pt x="16" y="65"/>
                  </a:cubicBezTo>
                  <a:cubicBezTo>
                    <a:pt x="19" y="67"/>
                    <a:pt x="19" y="67"/>
                    <a:pt x="19" y="67"/>
                  </a:cubicBezTo>
                  <a:cubicBezTo>
                    <a:pt x="21" y="67"/>
                    <a:pt x="21" y="67"/>
                    <a:pt x="21" y="67"/>
                  </a:cubicBezTo>
                  <a:cubicBezTo>
                    <a:pt x="26" y="70"/>
                    <a:pt x="26" y="70"/>
                    <a:pt x="26" y="70"/>
                  </a:cubicBezTo>
                  <a:cubicBezTo>
                    <a:pt x="34" y="71"/>
                    <a:pt x="34" y="71"/>
                    <a:pt x="34" y="71"/>
                  </a:cubicBezTo>
                  <a:cubicBezTo>
                    <a:pt x="35" y="69"/>
                    <a:pt x="35" y="69"/>
                    <a:pt x="35" y="69"/>
                  </a:cubicBezTo>
                  <a:cubicBezTo>
                    <a:pt x="39" y="68"/>
                    <a:pt x="39" y="68"/>
                    <a:pt x="39" y="68"/>
                  </a:cubicBezTo>
                  <a:cubicBezTo>
                    <a:pt x="46" y="66"/>
                    <a:pt x="46" y="66"/>
                    <a:pt x="46" y="66"/>
                  </a:cubicBezTo>
                  <a:cubicBezTo>
                    <a:pt x="49" y="70"/>
                    <a:pt x="49" y="70"/>
                    <a:pt x="49" y="70"/>
                  </a:cubicBezTo>
                  <a:cubicBezTo>
                    <a:pt x="50" y="70"/>
                    <a:pt x="50" y="70"/>
                    <a:pt x="50" y="70"/>
                  </a:cubicBezTo>
                  <a:cubicBezTo>
                    <a:pt x="50" y="70"/>
                    <a:pt x="50" y="70"/>
                    <a:pt x="50" y="70"/>
                  </a:cubicBezTo>
                  <a:cubicBezTo>
                    <a:pt x="51" y="71"/>
                    <a:pt x="53" y="73"/>
                    <a:pt x="54" y="74"/>
                  </a:cubicBezTo>
                  <a:cubicBezTo>
                    <a:pt x="55" y="75"/>
                    <a:pt x="56" y="76"/>
                    <a:pt x="56" y="76"/>
                  </a:cubicBezTo>
                  <a:cubicBezTo>
                    <a:pt x="56" y="76"/>
                    <a:pt x="56" y="76"/>
                    <a:pt x="56" y="76"/>
                  </a:cubicBezTo>
                  <a:cubicBezTo>
                    <a:pt x="57" y="77"/>
                    <a:pt x="57" y="77"/>
                    <a:pt x="57" y="77"/>
                  </a:cubicBezTo>
                  <a:cubicBezTo>
                    <a:pt x="55" y="83"/>
                    <a:pt x="55" y="83"/>
                    <a:pt x="55" y="83"/>
                  </a:cubicBezTo>
                  <a:cubicBezTo>
                    <a:pt x="56" y="86"/>
                    <a:pt x="56" y="86"/>
                    <a:pt x="56" y="86"/>
                  </a:cubicBezTo>
                  <a:cubicBezTo>
                    <a:pt x="55" y="93"/>
                    <a:pt x="55" y="93"/>
                    <a:pt x="55" y="93"/>
                  </a:cubicBezTo>
                  <a:cubicBezTo>
                    <a:pt x="57" y="95"/>
                    <a:pt x="57" y="95"/>
                    <a:pt x="57" y="95"/>
                  </a:cubicBezTo>
                  <a:cubicBezTo>
                    <a:pt x="57" y="95"/>
                    <a:pt x="57" y="95"/>
                    <a:pt x="57" y="95"/>
                  </a:cubicBezTo>
                  <a:cubicBezTo>
                    <a:pt x="57" y="95"/>
                    <a:pt x="57" y="95"/>
                    <a:pt x="57" y="95"/>
                  </a:cubicBezTo>
                  <a:cubicBezTo>
                    <a:pt x="58" y="95"/>
                    <a:pt x="58" y="95"/>
                    <a:pt x="58" y="95"/>
                  </a:cubicBezTo>
                  <a:cubicBezTo>
                    <a:pt x="59" y="94"/>
                    <a:pt x="59" y="94"/>
                    <a:pt x="60" y="93"/>
                  </a:cubicBezTo>
                  <a:cubicBezTo>
                    <a:pt x="60" y="93"/>
                    <a:pt x="60" y="93"/>
                    <a:pt x="60" y="93"/>
                  </a:cubicBezTo>
                  <a:cubicBezTo>
                    <a:pt x="60" y="93"/>
                    <a:pt x="60" y="93"/>
                    <a:pt x="60" y="93"/>
                  </a:cubicBezTo>
                  <a:cubicBezTo>
                    <a:pt x="61" y="93"/>
                    <a:pt x="61" y="93"/>
                    <a:pt x="61" y="93"/>
                  </a:cubicBezTo>
                  <a:cubicBezTo>
                    <a:pt x="61" y="93"/>
                    <a:pt x="61" y="93"/>
                    <a:pt x="61" y="93"/>
                  </a:cubicBezTo>
                  <a:cubicBezTo>
                    <a:pt x="62" y="93"/>
                    <a:pt x="63" y="94"/>
                    <a:pt x="63" y="94"/>
                  </a:cubicBezTo>
                  <a:cubicBezTo>
                    <a:pt x="64" y="95"/>
                    <a:pt x="64" y="95"/>
                    <a:pt x="64" y="95"/>
                  </a:cubicBezTo>
                  <a:cubicBezTo>
                    <a:pt x="64" y="95"/>
                    <a:pt x="64" y="95"/>
                    <a:pt x="64" y="95"/>
                  </a:cubicBezTo>
                  <a:cubicBezTo>
                    <a:pt x="64" y="96"/>
                    <a:pt x="64" y="96"/>
                    <a:pt x="65" y="97"/>
                  </a:cubicBezTo>
                  <a:cubicBezTo>
                    <a:pt x="65" y="97"/>
                    <a:pt x="65" y="97"/>
                    <a:pt x="65" y="97"/>
                  </a:cubicBezTo>
                  <a:cubicBezTo>
                    <a:pt x="65" y="97"/>
                    <a:pt x="65" y="97"/>
                    <a:pt x="65" y="97"/>
                  </a:cubicBezTo>
                  <a:cubicBezTo>
                    <a:pt x="66" y="97"/>
                    <a:pt x="67" y="97"/>
                    <a:pt x="69" y="97"/>
                  </a:cubicBezTo>
                  <a:cubicBezTo>
                    <a:pt x="72" y="97"/>
                    <a:pt x="74" y="97"/>
                    <a:pt x="75" y="99"/>
                  </a:cubicBezTo>
                  <a:cubicBezTo>
                    <a:pt x="75" y="100"/>
                    <a:pt x="75" y="101"/>
                    <a:pt x="76" y="103"/>
                  </a:cubicBezTo>
                  <a:lnTo>
                    <a:pt x="79" y="106"/>
                  </a:lnTo>
                  <a:close/>
                </a:path>
              </a:pathLst>
            </a:custGeom>
            <a:solidFill>
              <a:schemeClr val="accent6">
                <a:lumMod val="75000"/>
              </a:schemeClr>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1" name="Freeform 11"/>
            <p:cNvSpPr>
              <a:spLocks/>
            </p:cNvSpPr>
            <p:nvPr/>
          </p:nvSpPr>
          <p:spPr bwMode="auto">
            <a:xfrm>
              <a:off x="6237323" y="4665903"/>
              <a:ext cx="423135" cy="428904"/>
            </a:xfrm>
            <a:custGeom>
              <a:avLst/>
              <a:gdLst>
                <a:gd name="T0" fmla="*/ 135 w 146"/>
                <a:gd name="T1" fmla="*/ 101 h 157"/>
                <a:gd name="T2" fmla="*/ 121 w 146"/>
                <a:gd name="T3" fmla="*/ 88 h 157"/>
                <a:gd name="T4" fmla="*/ 125 w 146"/>
                <a:gd name="T5" fmla="*/ 73 h 157"/>
                <a:gd name="T6" fmla="*/ 124 w 146"/>
                <a:gd name="T7" fmla="*/ 63 h 157"/>
                <a:gd name="T8" fmla="*/ 120 w 146"/>
                <a:gd name="T9" fmla="*/ 54 h 157"/>
                <a:gd name="T10" fmla="*/ 124 w 146"/>
                <a:gd name="T11" fmla="*/ 50 h 157"/>
                <a:gd name="T12" fmla="*/ 111 w 146"/>
                <a:gd name="T13" fmla="*/ 51 h 157"/>
                <a:gd name="T14" fmla="*/ 102 w 146"/>
                <a:gd name="T15" fmla="*/ 55 h 157"/>
                <a:gd name="T16" fmla="*/ 91 w 146"/>
                <a:gd name="T17" fmla="*/ 54 h 157"/>
                <a:gd name="T18" fmla="*/ 81 w 146"/>
                <a:gd name="T19" fmla="*/ 46 h 157"/>
                <a:gd name="T20" fmla="*/ 79 w 146"/>
                <a:gd name="T21" fmla="*/ 40 h 157"/>
                <a:gd name="T22" fmla="*/ 81 w 146"/>
                <a:gd name="T23" fmla="*/ 32 h 157"/>
                <a:gd name="T24" fmla="*/ 71 w 146"/>
                <a:gd name="T25" fmla="*/ 30 h 157"/>
                <a:gd name="T26" fmla="*/ 59 w 146"/>
                <a:gd name="T27" fmla="*/ 24 h 157"/>
                <a:gd name="T28" fmla="*/ 57 w 146"/>
                <a:gd name="T29" fmla="*/ 14 h 157"/>
                <a:gd name="T30" fmla="*/ 47 w 146"/>
                <a:gd name="T31" fmla="*/ 5 h 157"/>
                <a:gd name="T32" fmla="*/ 38 w 146"/>
                <a:gd name="T33" fmla="*/ 1 h 157"/>
                <a:gd name="T34" fmla="*/ 27 w 146"/>
                <a:gd name="T35" fmla="*/ 1 h 157"/>
                <a:gd name="T36" fmla="*/ 18 w 146"/>
                <a:gd name="T37" fmla="*/ 3 h 157"/>
                <a:gd name="T38" fmla="*/ 8 w 146"/>
                <a:gd name="T39" fmla="*/ 11 h 157"/>
                <a:gd name="T40" fmla="*/ 4 w 146"/>
                <a:gd name="T41" fmla="*/ 12 h 157"/>
                <a:gd name="T42" fmla="*/ 3 w 146"/>
                <a:gd name="T43" fmla="*/ 25 h 157"/>
                <a:gd name="T44" fmla="*/ 7 w 146"/>
                <a:gd name="T45" fmla="*/ 33 h 157"/>
                <a:gd name="T46" fmla="*/ 9 w 146"/>
                <a:gd name="T47" fmla="*/ 37 h 157"/>
                <a:gd name="T48" fmla="*/ 14 w 146"/>
                <a:gd name="T49" fmla="*/ 39 h 157"/>
                <a:gd name="T50" fmla="*/ 21 w 146"/>
                <a:gd name="T51" fmla="*/ 41 h 157"/>
                <a:gd name="T52" fmla="*/ 12 w 146"/>
                <a:gd name="T53" fmla="*/ 47 h 157"/>
                <a:gd name="T54" fmla="*/ 12 w 146"/>
                <a:gd name="T55" fmla="*/ 53 h 157"/>
                <a:gd name="T56" fmla="*/ 18 w 146"/>
                <a:gd name="T57" fmla="*/ 69 h 157"/>
                <a:gd name="T58" fmla="*/ 16 w 146"/>
                <a:gd name="T59" fmla="*/ 75 h 157"/>
                <a:gd name="T60" fmla="*/ 23 w 146"/>
                <a:gd name="T61" fmla="*/ 82 h 157"/>
                <a:gd name="T62" fmla="*/ 30 w 146"/>
                <a:gd name="T63" fmla="*/ 88 h 157"/>
                <a:gd name="T64" fmla="*/ 33 w 146"/>
                <a:gd name="T65" fmla="*/ 94 h 157"/>
                <a:gd name="T66" fmla="*/ 30 w 146"/>
                <a:gd name="T67" fmla="*/ 102 h 157"/>
                <a:gd name="T68" fmla="*/ 31 w 146"/>
                <a:gd name="T69" fmla="*/ 114 h 157"/>
                <a:gd name="T70" fmla="*/ 26 w 146"/>
                <a:gd name="T71" fmla="*/ 115 h 157"/>
                <a:gd name="T72" fmla="*/ 29 w 146"/>
                <a:gd name="T73" fmla="*/ 118 h 157"/>
                <a:gd name="T74" fmla="*/ 32 w 146"/>
                <a:gd name="T75" fmla="*/ 120 h 157"/>
                <a:gd name="T76" fmla="*/ 37 w 146"/>
                <a:gd name="T77" fmla="*/ 124 h 157"/>
                <a:gd name="T78" fmla="*/ 43 w 146"/>
                <a:gd name="T79" fmla="*/ 126 h 157"/>
                <a:gd name="T80" fmla="*/ 48 w 146"/>
                <a:gd name="T81" fmla="*/ 126 h 157"/>
                <a:gd name="T82" fmla="*/ 53 w 146"/>
                <a:gd name="T83" fmla="*/ 128 h 157"/>
                <a:gd name="T84" fmla="*/ 60 w 146"/>
                <a:gd name="T85" fmla="*/ 132 h 157"/>
                <a:gd name="T86" fmla="*/ 68 w 146"/>
                <a:gd name="T87" fmla="*/ 138 h 157"/>
                <a:gd name="T88" fmla="*/ 73 w 146"/>
                <a:gd name="T89" fmla="*/ 126 h 157"/>
                <a:gd name="T90" fmla="*/ 76 w 146"/>
                <a:gd name="T91" fmla="*/ 118 h 157"/>
                <a:gd name="T92" fmla="*/ 90 w 146"/>
                <a:gd name="T93" fmla="*/ 126 h 157"/>
                <a:gd name="T94" fmla="*/ 104 w 146"/>
                <a:gd name="T95" fmla="*/ 136 h 157"/>
                <a:gd name="T96" fmla="*/ 112 w 146"/>
                <a:gd name="T97" fmla="*/ 140 h 157"/>
                <a:gd name="T98" fmla="*/ 109 w 146"/>
                <a:gd name="T99" fmla="*/ 150 h 157"/>
                <a:gd name="T100" fmla="*/ 109 w 146"/>
                <a:gd name="T101" fmla="*/ 156 h 157"/>
                <a:gd name="T102" fmla="*/ 113 w 146"/>
                <a:gd name="T103" fmla="*/ 156 h 157"/>
                <a:gd name="T104" fmla="*/ 124 w 146"/>
                <a:gd name="T105" fmla="*/ 151 h 157"/>
                <a:gd name="T106" fmla="*/ 134 w 146"/>
                <a:gd name="T107" fmla="*/ 148 h 157"/>
                <a:gd name="T108" fmla="*/ 133 w 146"/>
                <a:gd name="T109" fmla="*/ 131 h 157"/>
                <a:gd name="T110" fmla="*/ 140 w 146"/>
                <a:gd name="T111" fmla="*/ 12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6" h="157">
                  <a:moveTo>
                    <a:pt x="146" y="107"/>
                  </a:moveTo>
                  <a:cubicBezTo>
                    <a:pt x="143" y="107"/>
                    <a:pt x="143" y="107"/>
                    <a:pt x="143" y="107"/>
                  </a:cubicBezTo>
                  <a:cubicBezTo>
                    <a:pt x="140" y="106"/>
                    <a:pt x="140" y="106"/>
                    <a:pt x="140" y="106"/>
                  </a:cubicBezTo>
                  <a:cubicBezTo>
                    <a:pt x="139" y="105"/>
                    <a:pt x="137" y="102"/>
                    <a:pt x="136" y="101"/>
                  </a:cubicBezTo>
                  <a:cubicBezTo>
                    <a:pt x="136" y="101"/>
                    <a:pt x="136" y="101"/>
                    <a:pt x="135" y="101"/>
                  </a:cubicBezTo>
                  <a:cubicBezTo>
                    <a:pt x="134" y="100"/>
                    <a:pt x="132" y="100"/>
                    <a:pt x="132" y="99"/>
                  </a:cubicBezTo>
                  <a:cubicBezTo>
                    <a:pt x="131" y="99"/>
                    <a:pt x="129" y="98"/>
                    <a:pt x="128" y="98"/>
                  </a:cubicBezTo>
                  <a:cubicBezTo>
                    <a:pt x="128" y="98"/>
                    <a:pt x="125" y="94"/>
                    <a:pt x="125" y="93"/>
                  </a:cubicBezTo>
                  <a:cubicBezTo>
                    <a:pt x="124" y="91"/>
                    <a:pt x="123" y="91"/>
                    <a:pt x="123" y="91"/>
                  </a:cubicBezTo>
                  <a:cubicBezTo>
                    <a:pt x="123" y="91"/>
                    <a:pt x="122" y="89"/>
                    <a:pt x="121" y="88"/>
                  </a:cubicBezTo>
                  <a:cubicBezTo>
                    <a:pt x="121" y="87"/>
                    <a:pt x="120" y="85"/>
                    <a:pt x="120" y="85"/>
                  </a:cubicBezTo>
                  <a:cubicBezTo>
                    <a:pt x="120" y="85"/>
                    <a:pt x="121" y="83"/>
                    <a:pt x="121" y="82"/>
                  </a:cubicBezTo>
                  <a:cubicBezTo>
                    <a:pt x="120" y="81"/>
                    <a:pt x="120" y="77"/>
                    <a:pt x="120" y="77"/>
                  </a:cubicBezTo>
                  <a:cubicBezTo>
                    <a:pt x="122" y="74"/>
                    <a:pt x="122" y="74"/>
                    <a:pt x="122" y="74"/>
                  </a:cubicBezTo>
                  <a:cubicBezTo>
                    <a:pt x="122" y="74"/>
                    <a:pt x="124" y="73"/>
                    <a:pt x="125" y="73"/>
                  </a:cubicBezTo>
                  <a:cubicBezTo>
                    <a:pt x="126" y="72"/>
                    <a:pt x="126" y="72"/>
                    <a:pt x="125" y="71"/>
                  </a:cubicBezTo>
                  <a:cubicBezTo>
                    <a:pt x="125" y="68"/>
                    <a:pt x="125" y="68"/>
                    <a:pt x="125" y="68"/>
                  </a:cubicBezTo>
                  <a:cubicBezTo>
                    <a:pt x="125" y="62"/>
                    <a:pt x="125" y="62"/>
                    <a:pt x="125" y="62"/>
                  </a:cubicBezTo>
                  <a:cubicBezTo>
                    <a:pt x="125" y="63"/>
                    <a:pt x="125" y="63"/>
                    <a:pt x="125" y="63"/>
                  </a:cubicBezTo>
                  <a:cubicBezTo>
                    <a:pt x="124" y="63"/>
                    <a:pt x="124" y="63"/>
                    <a:pt x="124" y="63"/>
                  </a:cubicBezTo>
                  <a:cubicBezTo>
                    <a:pt x="121" y="62"/>
                    <a:pt x="121" y="62"/>
                    <a:pt x="121" y="62"/>
                  </a:cubicBezTo>
                  <a:cubicBezTo>
                    <a:pt x="121" y="62"/>
                    <a:pt x="121" y="61"/>
                    <a:pt x="121" y="60"/>
                  </a:cubicBezTo>
                  <a:cubicBezTo>
                    <a:pt x="121" y="60"/>
                    <a:pt x="119" y="59"/>
                    <a:pt x="118" y="58"/>
                  </a:cubicBezTo>
                  <a:cubicBezTo>
                    <a:pt x="116" y="56"/>
                    <a:pt x="116" y="56"/>
                    <a:pt x="116" y="56"/>
                  </a:cubicBezTo>
                  <a:cubicBezTo>
                    <a:pt x="120" y="54"/>
                    <a:pt x="120" y="54"/>
                    <a:pt x="120" y="54"/>
                  </a:cubicBezTo>
                  <a:cubicBezTo>
                    <a:pt x="120" y="54"/>
                    <a:pt x="120" y="52"/>
                    <a:pt x="120" y="52"/>
                  </a:cubicBezTo>
                  <a:cubicBezTo>
                    <a:pt x="121" y="51"/>
                    <a:pt x="122" y="52"/>
                    <a:pt x="122" y="52"/>
                  </a:cubicBezTo>
                  <a:cubicBezTo>
                    <a:pt x="123" y="52"/>
                    <a:pt x="124" y="53"/>
                    <a:pt x="124" y="53"/>
                  </a:cubicBezTo>
                  <a:cubicBezTo>
                    <a:pt x="125" y="53"/>
                    <a:pt x="126" y="52"/>
                    <a:pt x="126" y="51"/>
                  </a:cubicBezTo>
                  <a:cubicBezTo>
                    <a:pt x="126" y="51"/>
                    <a:pt x="125" y="51"/>
                    <a:pt x="124" y="50"/>
                  </a:cubicBezTo>
                  <a:cubicBezTo>
                    <a:pt x="120" y="50"/>
                    <a:pt x="120" y="50"/>
                    <a:pt x="120" y="50"/>
                  </a:cubicBezTo>
                  <a:cubicBezTo>
                    <a:pt x="120" y="50"/>
                    <a:pt x="118" y="48"/>
                    <a:pt x="116" y="47"/>
                  </a:cubicBezTo>
                  <a:cubicBezTo>
                    <a:pt x="116" y="47"/>
                    <a:pt x="115" y="47"/>
                    <a:pt x="115" y="47"/>
                  </a:cubicBezTo>
                  <a:cubicBezTo>
                    <a:pt x="114" y="48"/>
                    <a:pt x="112" y="49"/>
                    <a:pt x="112" y="49"/>
                  </a:cubicBezTo>
                  <a:cubicBezTo>
                    <a:pt x="112" y="50"/>
                    <a:pt x="111" y="50"/>
                    <a:pt x="111" y="51"/>
                  </a:cubicBezTo>
                  <a:cubicBezTo>
                    <a:pt x="111" y="52"/>
                    <a:pt x="110" y="52"/>
                    <a:pt x="110" y="53"/>
                  </a:cubicBezTo>
                  <a:cubicBezTo>
                    <a:pt x="109" y="54"/>
                    <a:pt x="108" y="56"/>
                    <a:pt x="108" y="56"/>
                  </a:cubicBezTo>
                  <a:cubicBezTo>
                    <a:pt x="108" y="56"/>
                    <a:pt x="107" y="57"/>
                    <a:pt x="107" y="57"/>
                  </a:cubicBezTo>
                  <a:cubicBezTo>
                    <a:pt x="107" y="57"/>
                    <a:pt x="107" y="58"/>
                    <a:pt x="107" y="58"/>
                  </a:cubicBezTo>
                  <a:cubicBezTo>
                    <a:pt x="106" y="58"/>
                    <a:pt x="103" y="57"/>
                    <a:pt x="102" y="55"/>
                  </a:cubicBezTo>
                  <a:cubicBezTo>
                    <a:pt x="102" y="53"/>
                    <a:pt x="101" y="53"/>
                    <a:pt x="101" y="53"/>
                  </a:cubicBezTo>
                  <a:cubicBezTo>
                    <a:pt x="101" y="53"/>
                    <a:pt x="97" y="53"/>
                    <a:pt x="96" y="53"/>
                  </a:cubicBezTo>
                  <a:cubicBezTo>
                    <a:pt x="95" y="53"/>
                    <a:pt x="95" y="53"/>
                    <a:pt x="95" y="53"/>
                  </a:cubicBezTo>
                  <a:cubicBezTo>
                    <a:pt x="95" y="53"/>
                    <a:pt x="94" y="53"/>
                    <a:pt x="94" y="53"/>
                  </a:cubicBezTo>
                  <a:cubicBezTo>
                    <a:pt x="93" y="53"/>
                    <a:pt x="92" y="53"/>
                    <a:pt x="91" y="54"/>
                  </a:cubicBezTo>
                  <a:cubicBezTo>
                    <a:pt x="90" y="54"/>
                    <a:pt x="89" y="53"/>
                    <a:pt x="89" y="51"/>
                  </a:cubicBezTo>
                  <a:cubicBezTo>
                    <a:pt x="88" y="50"/>
                    <a:pt x="88" y="50"/>
                    <a:pt x="88" y="50"/>
                  </a:cubicBezTo>
                  <a:cubicBezTo>
                    <a:pt x="87" y="50"/>
                    <a:pt x="86" y="49"/>
                    <a:pt x="85" y="49"/>
                  </a:cubicBezTo>
                  <a:cubicBezTo>
                    <a:pt x="84" y="49"/>
                    <a:pt x="83" y="50"/>
                    <a:pt x="82" y="49"/>
                  </a:cubicBezTo>
                  <a:cubicBezTo>
                    <a:pt x="81" y="48"/>
                    <a:pt x="81" y="46"/>
                    <a:pt x="81" y="46"/>
                  </a:cubicBezTo>
                  <a:cubicBezTo>
                    <a:pt x="82" y="46"/>
                    <a:pt x="84" y="46"/>
                    <a:pt x="84" y="45"/>
                  </a:cubicBezTo>
                  <a:cubicBezTo>
                    <a:pt x="85" y="45"/>
                    <a:pt x="86" y="44"/>
                    <a:pt x="87" y="43"/>
                  </a:cubicBezTo>
                  <a:cubicBezTo>
                    <a:pt x="86" y="42"/>
                    <a:pt x="86" y="42"/>
                    <a:pt x="86" y="42"/>
                  </a:cubicBezTo>
                  <a:cubicBezTo>
                    <a:pt x="84" y="41"/>
                    <a:pt x="84" y="41"/>
                    <a:pt x="84" y="41"/>
                  </a:cubicBezTo>
                  <a:cubicBezTo>
                    <a:pt x="84" y="41"/>
                    <a:pt x="81" y="41"/>
                    <a:pt x="79" y="40"/>
                  </a:cubicBezTo>
                  <a:cubicBezTo>
                    <a:pt x="79" y="40"/>
                    <a:pt x="78" y="40"/>
                    <a:pt x="78" y="39"/>
                  </a:cubicBezTo>
                  <a:cubicBezTo>
                    <a:pt x="78" y="39"/>
                    <a:pt x="79" y="38"/>
                    <a:pt x="80" y="38"/>
                  </a:cubicBezTo>
                  <a:cubicBezTo>
                    <a:pt x="79" y="36"/>
                    <a:pt x="79" y="36"/>
                    <a:pt x="79" y="36"/>
                  </a:cubicBezTo>
                  <a:cubicBezTo>
                    <a:pt x="81" y="33"/>
                    <a:pt x="81" y="33"/>
                    <a:pt x="81" y="33"/>
                  </a:cubicBezTo>
                  <a:cubicBezTo>
                    <a:pt x="81" y="32"/>
                    <a:pt x="81" y="32"/>
                    <a:pt x="81" y="32"/>
                  </a:cubicBezTo>
                  <a:cubicBezTo>
                    <a:pt x="81" y="32"/>
                    <a:pt x="80" y="31"/>
                    <a:pt x="78" y="31"/>
                  </a:cubicBezTo>
                  <a:cubicBezTo>
                    <a:pt x="77" y="31"/>
                    <a:pt x="77" y="31"/>
                    <a:pt x="76" y="31"/>
                  </a:cubicBezTo>
                  <a:cubicBezTo>
                    <a:pt x="75" y="31"/>
                    <a:pt x="75" y="31"/>
                    <a:pt x="75" y="31"/>
                  </a:cubicBezTo>
                  <a:cubicBezTo>
                    <a:pt x="75" y="31"/>
                    <a:pt x="74" y="31"/>
                    <a:pt x="72" y="30"/>
                  </a:cubicBezTo>
                  <a:cubicBezTo>
                    <a:pt x="71" y="30"/>
                    <a:pt x="71" y="30"/>
                    <a:pt x="71" y="30"/>
                  </a:cubicBezTo>
                  <a:cubicBezTo>
                    <a:pt x="69" y="29"/>
                    <a:pt x="69" y="29"/>
                    <a:pt x="69" y="29"/>
                  </a:cubicBezTo>
                  <a:cubicBezTo>
                    <a:pt x="69" y="29"/>
                    <a:pt x="68" y="28"/>
                    <a:pt x="67" y="28"/>
                  </a:cubicBezTo>
                  <a:cubicBezTo>
                    <a:pt x="67" y="28"/>
                    <a:pt x="66" y="28"/>
                    <a:pt x="65" y="27"/>
                  </a:cubicBezTo>
                  <a:cubicBezTo>
                    <a:pt x="63" y="26"/>
                    <a:pt x="62" y="26"/>
                    <a:pt x="61" y="26"/>
                  </a:cubicBezTo>
                  <a:cubicBezTo>
                    <a:pt x="61" y="26"/>
                    <a:pt x="59" y="25"/>
                    <a:pt x="59" y="24"/>
                  </a:cubicBezTo>
                  <a:cubicBezTo>
                    <a:pt x="58" y="23"/>
                    <a:pt x="58" y="23"/>
                    <a:pt x="58" y="23"/>
                  </a:cubicBezTo>
                  <a:cubicBezTo>
                    <a:pt x="58" y="23"/>
                    <a:pt x="58" y="22"/>
                    <a:pt x="58" y="22"/>
                  </a:cubicBezTo>
                  <a:cubicBezTo>
                    <a:pt x="58" y="21"/>
                    <a:pt x="57" y="20"/>
                    <a:pt x="57" y="20"/>
                  </a:cubicBezTo>
                  <a:cubicBezTo>
                    <a:pt x="56" y="18"/>
                    <a:pt x="56" y="17"/>
                    <a:pt x="56" y="17"/>
                  </a:cubicBezTo>
                  <a:cubicBezTo>
                    <a:pt x="56" y="17"/>
                    <a:pt x="56" y="14"/>
                    <a:pt x="57" y="14"/>
                  </a:cubicBezTo>
                  <a:cubicBezTo>
                    <a:pt x="57" y="13"/>
                    <a:pt x="56" y="12"/>
                    <a:pt x="56" y="11"/>
                  </a:cubicBezTo>
                  <a:cubicBezTo>
                    <a:pt x="56" y="11"/>
                    <a:pt x="55" y="11"/>
                    <a:pt x="55" y="11"/>
                  </a:cubicBezTo>
                  <a:cubicBezTo>
                    <a:pt x="54" y="11"/>
                    <a:pt x="53" y="11"/>
                    <a:pt x="53" y="10"/>
                  </a:cubicBezTo>
                  <a:cubicBezTo>
                    <a:pt x="53" y="10"/>
                    <a:pt x="52" y="10"/>
                    <a:pt x="52" y="10"/>
                  </a:cubicBezTo>
                  <a:cubicBezTo>
                    <a:pt x="51" y="9"/>
                    <a:pt x="47" y="6"/>
                    <a:pt x="47" y="5"/>
                  </a:cubicBezTo>
                  <a:cubicBezTo>
                    <a:pt x="47" y="5"/>
                    <a:pt x="45" y="4"/>
                    <a:pt x="44" y="4"/>
                  </a:cubicBezTo>
                  <a:cubicBezTo>
                    <a:pt x="44" y="4"/>
                    <a:pt x="43" y="4"/>
                    <a:pt x="42" y="3"/>
                  </a:cubicBezTo>
                  <a:cubicBezTo>
                    <a:pt x="42" y="3"/>
                    <a:pt x="41" y="3"/>
                    <a:pt x="41" y="3"/>
                  </a:cubicBezTo>
                  <a:cubicBezTo>
                    <a:pt x="40" y="3"/>
                    <a:pt x="39" y="2"/>
                    <a:pt x="39" y="2"/>
                  </a:cubicBezTo>
                  <a:cubicBezTo>
                    <a:pt x="38" y="1"/>
                    <a:pt x="38" y="1"/>
                    <a:pt x="38" y="1"/>
                  </a:cubicBezTo>
                  <a:cubicBezTo>
                    <a:pt x="37" y="1"/>
                    <a:pt x="36" y="1"/>
                    <a:pt x="35" y="1"/>
                  </a:cubicBezTo>
                  <a:cubicBezTo>
                    <a:pt x="34" y="1"/>
                    <a:pt x="34" y="1"/>
                    <a:pt x="34" y="1"/>
                  </a:cubicBezTo>
                  <a:cubicBezTo>
                    <a:pt x="33" y="1"/>
                    <a:pt x="33" y="1"/>
                    <a:pt x="33" y="1"/>
                  </a:cubicBezTo>
                  <a:cubicBezTo>
                    <a:pt x="32" y="0"/>
                    <a:pt x="32" y="0"/>
                    <a:pt x="32" y="0"/>
                  </a:cubicBezTo>
                  <a:cubicBezTo>
                    <a:pt x="27" y="1"/>
                    <a:pt x="27" y="1"/>
                    <a:pt x="27" y="1"/>
                  </a:cubicBezTo>
                  <a:cubicBezTo>
                    <a:pt x="22" y="3"/>
                    <a:pt x="22" y="3"/>
                    <a:pt x="22" y="3"/>
                  </a:cubicBezTo>
                  <a:cubicBezTo>
                    <a:pt x="22" y="2"/>
                    <a:pt x="22" y="2"/>
                    <a:pt x="22" y="2"/>
                  </a:cubicBezTo>
                  <a:cubicBezTo>
                    <a:pt x="21" y="2"/>
                    <a:pt x="21" y="2"/>
                    <a:pt x="21" y="2"/>
                  </a:cubicBezTo>
                  <a:cubicBezTo>
                    <a:pt x="20" y="2"/>
                    <a:pt x="19" y="2"/>
                    <a:pt x="19" y="2"/>
                  </a:cubicBezTo>
                  <a:cubicBezTo>
                    <a:pt x="19" y="3"/>
                    <a:pt x="18" y="3"/>
                    <a:pt x="18" y="3"/>
                  </a:cubicBezTo>
                  <a:cubicBezTo>
                    <a:pt x="18" y="4"/>
                    <a:pt x="16" y="5"/>
                    <a:pt x="16" y="5"/>
                  </a:cubicBezTo>
                  <a:cubicBezTo>
                    <a:pt x="16" y="5"/>
                    <a:pt x="14" y="6"/>
                    <a:pt x="14" y="7"/>
                  </a:cubicBezTo>
                  <a:cubicBezTo>
                    <a:pt x="11" y="10"/>
                    <a:pt x="11" y="10"/>
                    <a:pt x="11" y="10"/>
                  </a:cubicBezTo>
                  <a:cubicBezTo>
                    <a:pt x="11" y="11"/>
                    <a:pt x="11" y="11"/>
                    <a:pt x="11" y="11"/>
                  </a:cubicBezTo>
                  <a:cubicBezTo>
                    <a:pt x="10" y="11"/>
                    <a:pt x="9" y="11"/>
                    <a:pt x="8" y="11"/>
                  </a:cubicBezTo>
                  <a:cubicBezTo>
                    <a:pt x="8" y="11"/>
                    <a:pt x="8" y="11"/>
                    <a:pt x="8" y="11"/>
                  </a:cubicBezTo>
                  <a:cubicBezTo>
                    <a:pt x="7" y="11"/>
                    <a:pt x="7" y="11"/>
                    <a:pt x="5" y="12"/>
                  </a:cubicBezTo>
                  <a:cubicBezTo>
                    <a:pt x="5" y="12"/>
                    <a:pt x="5" y="12"/>
                    <a:pt x="5" y="12"/>
                  </a:cubicBezTo>
                  <a:cubicBezTo>
                    <a:pt x="4" y="12"/>
                    <a:pt x="4" y="12"/>
                    <a:pt x="4" y="12"/>
                  </a:cubicBezTo>
                  <a:cubicBezTo>
                    <a:pt x="4" y="12"/>
                    <a:pt x="4" y="12"/>
                    <a:pt x="4" y="12"/>
                  </a:cubicBezTo>
                  <a:cubicBezTo>
                    <a:pt x="2" y="15"/>
                    <a:pt x="2" y="15"/>
                    <a:pt x="2" y="15"/>
                  </a:cubicBezTo>
                  <a:cubicBezTo>
                    <a:pt x="0" y="16"/>
                    <a:pt x="0" y="16"/>
                    <a:pt x="0" y="16"/>
                  </a:cubicBezTo>
                  <a:cubicBezTo>
                    <a:pt x="2" y="16"/>
                    <a:pt x="2" y="16"/>
                    <a:pt x="2" y="16"/>
                  </a:cubicBezTo>
                  <a:cubicBezTo>
                    <a:pt x="2" y="22"/>
                    <a:pt x="2" y="22"/>
                    <a:pt x="2" y="22"/>
                  </a:cubicBezTo>
                  <a:cubicBezTo>
                    <a:pt x="3" y="25"/>
                    <a:pt x="3" y="25"/>
                    <a:pt x="3" y="25"/>
                  </a:cubicBezTo>
                  <a:cubicBezTo>
                    <a:pt x="3" y="25"/>
                    <a:pt x="3" y="25"/>
                    <a:pt x="3" y="25"/>
                  </a:cubicBezTo>
                  <a:cubicBezTo>
                    <a:pt x="3" y="26"/>
                    <a:pt x="3" y="26"/>
                    <a:pt x="3" y="27"/>
                  </a:cubicBezTo>
                  <a:cubicBezTo>
                    <a:pt x="3" y="27"/>
                    <a:pt x="3" y="27"/>
                    <a:pt x="4" y="27"/>
                  </a:cubicBezTo>
                  <a:cubicBezTo>
                    <a:pt x="5" y="27"/>
                    <a:pt x="7" y="27"/>
                    <a:pt x="8" y="29"/>
                  </a:cubicBezTo>
                  <a:cubicBezTo>
                    <a:pt x="8" y="30"/>
                    <a:pt x="8" y="31"/>
                    <a:pt x="7" y="33"/>
                  </a:cubicBezTo>
                  <a:cubicBezTo>
                    <a:pt x="6" y="34"/>
                    <a:pt x="6" y="34"/>
                    <a:pt x="6" y="34"/>
                  </a:cubicBezTo>
                  <a:cubicBezTo>
                    <a:pt x="6" y="34"/>
                    <a:pt x="6" y="34"/>
                    <a:pt x="6" y="34"/>
                  </a:cubicBezTo>
                  <a:cubicBezTo>
                    <a:pt x="6" y="35"/>
                    <a:pt x="7" y="35"/>
                    <a:pt x="8" y="37"/>
                  </a:cubicBezTo>
                  <a:cubicBezTo>
                    <a:pt x="8" y="37"/>
                    <a:pt x="9" y="37"/>
                    <a:pt x="9" y="37"/>
                  </a:cubicBezTo>
                  <a:cubicBezTo>
                    <a:pt x="9" y="37"/>
                    <a:pt x="9" y="37"/>
                    <a:pt x="9" y="37"/>
                  </a:cubicBezTo>
                  <a:cubicBezTo>
                    <a:pt x="10" y="37"/>
                    <a:pt x="11" y="37"/>
                    <a:pt x="11" y="37"/>
                  </a:cubicBezTo>
                  <a:cubicBezTo>
                    <a:pt x="11" y="37"/>
                    <a:pt x="11" y="37"/>
                    <a:pt x="11" y="37"/>
                  </a:cubicBezTo>
                  <a:cubicBezTo>
                    <a:pt x="12" y="38"/>
                    <a:pt x="12" y="38"/>
                    <a:pt x="12" y="38"/>
                  </a:cubicBezTo>
                  <a:cubicBezTo>
                    <a:pt x="12" y="38"/>
                    <a:pt x="12" y="38"/>
                    <a:pt x="12" y="38"/>
                  </a:cubicBezTo>
                  <a:cubicBezTo>
                    <a:pt x="12" y="38"/>
                    <a:pt x="13" y="39"/>
                    <a:pt x="14" y="39"/>
                  </a:cubicBezTo>
                  <a:cubicBezTo>
                    <a:pt x="14" y="39"/>
                    <a:pt x="14" y="39"/>
                    <a:pt x="14" y="39"/>
                  </a:cubicBezTo>
                  <a:cubicBezTo>
                    <a:pt x="15" y="39"/>
                    <a:pt x="15" y="38"/>
                    <a:pt x="16" y="38"/>
                  </a:cubicBezTo>
                  <a:cubicBezTo>
                    <a:pt x="16" y="38"/>
                    <a:pt x="16" y="38"/>
                    <a:pt x="16" y="38"/>
                  </a:cubicBezTo>
                  <a:cubicBezTo>
                    <a:pt x="18" y="38"/>
                    <a:pt x="19" y="40"/>
                    <a:pt x="20" y="41"/>
                  </a:cubicBezTo>
                  <a:cubicBezTo>
                    <a:pt x="21" y="41"/>
                    <a:pt x="21" y="41"/>
                    <a:pt x="21" y="41"/>
                  </a:cubicBezTo>
                  <a:cubicBezTo>
                    <a:pt x="20" y="42"/>
                    <a:pt x="20" y="42"/>
                    <a:pt x="20" y="42"/>
                  </a:cubicBezTo>
                  <a:cubicBezTo>
                    <a:pt x="20" y="44"/>
                    <a:pt x="17" y="46"/>
                    <a:pt x="15" y="47"/>
                  </a:cubicBezTo>
                  <a:cubicBezTo>
                    <a:pt x="14" y="47"/>
                    <a:pt x="14" y="47"/>
                    <a:pt x="14" y="47"/>
                  </a:cubicBezTo>
                  <a:cubicBezTo>
                    <a:pt x="14" y="47"/>
                    <a:pt x="14" y="47"/>
                    <a:pt x="13" y="47"/>
                  </a:cubicBezTo>
                  <a:cubicBezTo>
                    <a:pt x="13" y="47"/>
                    <a:pt x="13" y="47"/>
                    <a:pt x="12" y="47"/>
                  </a:cubicBezTo>
                  <a:cubicBezTo>
                    <a:pt x="12" y="47"/>
                    <a:pt x="11" y="47"/>
                    <a:pt x="10" y="47"/>
                  </a:cubicBezTo>
                  <a:cubicBezTo>
                    <a:pt x="10" y="47"/>
                    <a:pt x="10" y="47"/>
                    <a:pt x="10" y="47"/>
                  </a:cubicBezTo>
                  <a:cubicBezTo>
                    <a:pt x="10" y="47"/>
                    <a:pt x="10" y="47"/>
                    <a:pt x="10" y="47"/>
                  </a:cubicBezTo>
                  <a:cubicBezTo>
                    <a:pt x="11" y="49"/>
                    <a:pt x="12" y="51"/>
                    <a:pt x="12" y="51"/>
                  </a:cubicBezTo>
                  <a:cubicBezTo>
                    <a:pt x="12" y="53"/>
                    <a:pt x="12" y="53"/>
                    <a:pt x="12" y="53"/>
                  </a:cubicBezTo>
                  <a:cubicBezTo>
                    <a:pt x="20" y="54"/>
                    <a:pt x="20" y="54"/>
                    <a:pt x="20" y="54"/>
                  </a:cubicBezTo>
                  <a:cubicBezTo>
                    <a:pt x="21" y="59"/>
                    <a:pt x="21" y="59"/>
                    <a:pt x="21" y="59"/>
                  </a:cubicBezTo>
                  <a:cubicBezTo>
                    <a:pt x="21" y="62"/>
                    <a:pt x="21" y="62"/>
                    <a:pt x="21" y="62"/>
                  </a:cubicBezTo>
                  <a:cubicBezTo>
                    <a:pt x="20" y="66"/>
                    <a:pt x="20" y="66"/>
                    <a:pt x="20" y="66"/>
                  </a:cubicBezTo>
                  <a:cubicBezTo>
                    <a:pt x="18" y="69"/>
                    <a:pt x="18" y="69"/>
                    <a:pt x="18" y="69"/>
                  </a:cubicBezTo>
                  <a:cubicBezTo>
                    <a:pt x="18" y="69"/>
                    <a:pt x="18" y="70"/>
                    <a:pt x="18" y="71"/>
                  </a:cubicBezTo>
                  <a:cubicBezTo>
                    <a:pt x="18" y="71"/>
                    <a:pt x="18" y="72"/>
                    <a:pt x="17" y="73"/>
                  </a:cubicBezTo>
                  <a:cubicBezTo>
                    <a:pt x="17" y="75"/>
                    <a:pt x="17" y="75"/>
                    <a:pt x="17" y="75"/>
                  </a:cubicBezTo>
                  <a:cubicBezTo>
                    <a:pt x="16" y="75"/>
                    <a:pt x="16" y="75"/>
                    <a:pt x="16" y="75"/>
                  </a:cubicBezTo>
                  <a:cubicBezTo>
                    <a:pt x="16" y="75"/>
                    <a:pt x="16" y="75"/>
                    <a:pt x="16" y="75"/>
                  </a:cubicBezTo>
                  <a:cubicBezTo>
                    <a:pt x="17" y="76"/>
                    <a:pt x="17" y="79"/>
                    <a:pt x="17" y="81"/>
                  </a:cubicBezTo>
                  <a:cubicBezTo>
                    <a:pt x="17" y="81"/>
                    <a:pt x="17" y="81"/>
                    <a:pt x="17" y="81"/>
                  </a:cubicBezTo>
                  <a:cubicBezTo>
                    <a:pt x="18" y="81"/>
                    <a:pt x="18" y="81"/>
                    <a:pt x="18" y="81"/>
                  </a:cubicBezTo>
                  <a:cubicBezTo>
                    <a:pt x="19" y="81"/>
                    <a:pt x="19" y="81"/>
                    <a:pt x="19" y="81"/>
                  </a:cubicBezTo>
                  <a:cubicBezTo>
                    <a:pt x="21" y="81"/>
                    <a:pt x="22" y="81"/>
                    <a:pt x="23" y="82"/>
                  </a:cubicBezTo>
                  <a:cubicBezTo>
                    <a:pt x="25" y="83"/>
                    <a:pt x="25" y="84"/>
                    <a:pt x="25" y="84"/>
                  </a:cubicBezTo>
                  <a:cubicBezTo>
                    <a:pt x="25" y="85"/>
                    <a:pt x="25" y="85"/>
                    <a:pt x="26" y="85"/>
                  </a:cubicBezTo>
                  <a:cubicBezTo>
                    <a:pt x="26" y="85"/>
                    <a:pt x="26" y="85"/>
                    <a:pt x="26" y="85"/>
                  </a:cubicBezTo>
                  <a:cubicBezTo>
                    <a:pt x="27" y="85"/>
                    <a:pt x="27" y="85"/>
                    <a:pt x="27" y="85"/>
                  </a:cubicBezTo>
                  <a:cubicBezTo>
                    <a:pt x="28" y="85"/>
                    <a:pt x="30" y="87"/>
                    <a:pt x="30" y="88"/>
                  </a:cubicBezTo>
                  <a:cubicBezTo>
                    <a:pt x="30" y="88"/>
                    <a:pt x="30" y="88"/>
                    <a:pt x="30" y="88"/>
                  </a:cubicBezTo>
                  <a:cubicBezTo>
                    <a:pt x="30" y="88"/>
                    <a:pt x="30" y="88"/>
                    <a:pt x="31" y="88"/>
                  </a:cubicBezTo>
                  <a:cubicBezTo>
                    <a:pt x="32" y="89"/>
                    <a:pt x="33" y="89"/>
                    <a:pt x="34" y="90"/>
                  </a:cubicBezTo>
                  <a:cubicBezTo>
                    <a:pt x="34" y="91"/>
                    <a:pt x="34" y="92"/>
                    <a:pt x="34" y="93"/>
                  </a:cubicBezTo>
                  <a:cubicBezTo>
                    <a:pt x="34" y="94"/>
                    <a:pt x="33" y="94"/>
                    <a:pt x="33" y="94"/>
                  </a:cubicBezTo>
                  <a:cubicBezTo>
                    <a:pt x="32" y="95"/>
                    <a:pt x="32" y="96"/>
                    <a:pt x="30" y="97"/>
                  </a:cubicBezTo>
                  <a:cubicBezTo>
                    <a:pt x="26" y="97"/>
                    <a:pt x="26" y="97"/>
                    <a:pt x="26" y="97"/>
                  </a:cubicBezTo>
                  <a:cubicBezTo>
                    <a:pt x="26" y="98"/>
                    <a:pt x="26" y="98"/>
                    <a:pt x="26" y="98"/>
                  </a:cubicBezTo>
                  <a:cubicBezTo>
                    <a:pt x="27" y="99"/>
                    <a:pt x="28" y="100"/>
                    <a:pt x="29" y="100"/>
                  </a:cubicBezTo>
                  <a:cubicBezTo>
                    <a:pt x="29" y="101"/>
                    <a:pt x="30" y="102"/>
                    <a:pt x="30" y="102"/>
                  </a:cubicBezTo>
                  <a:cubicBezTo>
                    <a:pt x="33" y="106"/>
                    <a:pt x="33" y="106"/>
                    <a:pt x="33" y="106"/>
                  </a:cubicBezTo>
                  <a:cubicBezTo>
                    <a:pt x="33" y="106"/>
                    <a:pt x="33" y="106"/>
                    <a:pt x="33" y="106"/>
                  </a:cubicBezTo>
                  <a:cubicBezTo>
                    <a:pt x="34" y="107"/>
                    <a:pt x="34" y="108"/>
                    <a:pt x="34" y="111"/>
                  </a:cubicBezTo>
                  <a:cubicBezTo>
                    <a:pt x="34" y="114"/>
                    <a:pt x="32" y="114"/>
                    <a:pt x="31" y="114"/>
                  </a:cubicBezTo>
                  <a:cubicBezTo>
                    <a:pt x="31" y="114"/>
                    <a:pt x="31" y="114"/>
                    <a:pt x="31" y="114"/>
                  </a:cubicBezTo>
                  <a:cubicBezTo>
                    <a:pt x="30" y="114"/>
                    <a:pt x="30" y="114"/>
                    <a:pt x="30" y="114"/>
                  </a:cubicBezTo>
                  <a:cubicBezTo>
                    <a:pt x="29" y="114"/>
                    <a:pt x="29" y="114"/>
                    <a:pt x="29" y="114"/>
                  </a:cubicBezTo>
                  <a:cubicBezTo>
                    <a:pt x="28" y="114"/>
                    <a:pt x="28" y="114"/>
                    <a:pt x="27" y="114"/>
                  </a:cubicBezTo>
                  <a:cubicBezTo>
                    <a:pt x="27" y="114"/>
                    <a:pt x="27" y="114"/>
                    <a:pt x="27" y="114"/>
                  </a:cubicBezTo>
                  <a:cubicBezTo>
                    <a:pt x="26" y="115"/>
                    <a:pt x="26" y="115"/>
                    <a:pt x="26" y="115"/>
                  </a:cubicBezTo>
                  <a:cubicBezTo>
                    <a:pt x="28" y="116"/>
                    <a:pt x="28" y="116"/>
                    <a:pt x="28" y="116"/>
                  </a:cubicBezTo>
                  <a:cubicBezTo>
                    <a:pt x="27" y="116"/>
                    <a:pt x="27" y="116"/>
                    <a:pt x="27" y="116"/>
                  </a:cubicBezTo>
                  <a:cubicBezTo>
                    <a:pt x="28" y="117"/>
                    <a:pt x="28" y="117"/>
                    <a:pt x="28" y="117"/>
                  </a:cubicBezTo>
                  <a:cubicBezTo>
                    <a:pt x="28" y="117"/>
                    <a:pt x="28" y="117"/>
                    <a:pt x="28" y="117"/>
                  </a:cubicBezTo>
                  <a:cubicBezTo>
                    <a:pt x="28" y="117"/>
                    <a:pt x="28" y="117"/>
                    <a:pt x="29" y="118"/>
                  </a:cubicBezTo>
                  <a:cubicBezTo>
                    <a:pt x="29" y="118"/>
                    <a:pt x="29" y="118"/>
                    <a:pt x="29" y="118"/>
                  </a:cubicBezTo>
                  <a:cubicBezTo>
                    <a:pt x="30" y="118"/>
                    <a:pt x="30" y="118"/>
                    <a:pt x="30" y="118"/>
                  </a:cubicBezTo>
                  <a:cubicBezTo>
                    <a:pt x="30" y="118"/>
                    <a:pt x="31" y="119"/>
                    <a:pt x="31" y="119"/>
                  </a:cubicBezTo>
                  <a:cubicBezTo>
                    <a:pt x="32" y="120"/>
                    <a:pt x="32" y="120"/>
                    <a:pt x="32" y="120"/>
                  </a:cubicBezTo>
                  <a:cubicBezTo>
                    <a:pt x="32" y="120"/>
                    <a:pt x="32" y="120"/>
                    <a:pt x="32" y="120"/>
                  </a:cubicBezTo>
                  <a:cubicBezTo>
                    <a:pt x="32" y="120"/>
                    <a:pt x="33" y="120"/>
                    <a:pt x="33" y="120"/>
                  </a:cubicBezTo>
                  <a:cubicBezTo>
                    <a:pt x="33" y="120"/>
                    <a:pt x="33" y="120"/>
                    <a:pt x="33" y="120"/>
                  </a:cubicBezTo>
                  <a:cubicBezTo>
                    <a:pt x="35" y="120"/>
                    <a:pt x="35" y="122"/>
                    <a:pt x="35" y="123"/>
                  </a:cubicBezTo>
                  <a:cubicBezTo>
                    <a:pt x="35" y="123"/>
                    <a:pt x="36" y="123"/>
                    <a:pt x="36" y="123"/>
                  </a:cubicBezTo>
                  <a:cubicBezTo>
                    <a:pt x="36" y="123"/>
                    <a:pt x="37" y="123"/>
                    <a:pt x="37" y="124"/>
                  </a:cubicBezTo>
                  <a:cubicBezTo>
                    <a:pt x="39" y="125"/>
                    <a:pt x="39" y="125"/>
                    <a:pt x="39" y="125"/>
                  </a:cubicBezTo>
                  <a:cubicBezTo>
                    <a:pt x="39" y="125"/>
                    <a:pt x="39" y="126"/>
                    <a:pt x="39" y="126"/>
                  </a:cubicBezTo>
                  <a:cubicBezTo>
                    <a:pt x="40" y="125"/>
                    <a:pt x="40" y="125"/>
                    <a:pt x="41" y="125"/>
                  </a:cubicBezTo>
                  <a:cubicBezTo>
                    <a:pt x="42" y="125"/>
                    <a:pt x="42" y="125"/>
                    <a:pt x="42" y="125"/>
                  </a:cubicBezTo>
                  <a:cubicBezTo>
                    <a:pt x="43" y="126"/>
                    <a:pt x="43" y="126"/>
                    <a:pt x="43" y="126"/>
                  </a:cubicBezTo>
                  <a:cubicBezTo>
                    <a:pt x="43" y="126"/>
                    <a:pt x="44" y="127"/>
                    <a:pt x="44" y="127"/>
                  </a:cubicBezTo>
                  <a:cubicBezTo>
                    <a:pt x="44" y="127"/>
                    <a:pt x="44" y="127"/>
                    <a:pt x="44" y="127"/>
                  </a:cubicBezTo>
                  <a:cubicBezTo>
                    <a:pt x="44" y="127"/>
                    <a:pt x="44" y="127"/>
                    <a:pt x="44" y="127"/>
                  </a:cubicBezTo>
                  <a:cubicBezTo>
                    <a:pt x="45" y="127"/>
                    <a:pt x="45" y="127"/>
                    <a:pt x="45" y="127"/>
                  </a:cubicBezTo>
                  <a:cubicBezTo>
                    <a:pt x="46" y="126"/>
                    <a:pt x="47" y="126"/>
                    <a:pt x="48" y="126"/>
                  </a:cubicBezTo>
                  <a:cubicBezTo>
                    <a:pt x="48" y="126"/>
                    <a:pt x="48" y="126"/>
                    <a:pt x="48" y="126"/>
                  </a:cubicBezTo>
                  <a:cubicBezTo>
                    <a:pt x="49" y="126"/>
                    <a:pt x="49" y="126"/>
                    <a:pt x="50" y="126"/>
                  </a:cubicBezTo>
                  <a:cubicBezTo>
                    <a:pt x="50" y="126"/>
                    <a:pt x="50" y="126"/>
                    <a:pt x="50" y="126"/>
                  </a:cubicBezTo>
                  <a:cubicBezTo>
                    <a:pt x="51" y="128"/>
                    <a:pt x="51" y="128"/>
                    <a:pt x="51" y="128"/>
                  </a:cubicBezTo>
                  <a:cubicBezTo>
                    <a:pt x="51" y="128"/>
                    <a:pt x="53" y="128"/>
                    <a:pt x="53" y="128"/>
                  </a:cubicBezTo>
                  <a:cubicBezTo>
                    <a:pt x="53" y="128"/>
                    <a:pt x="54" y="129"/>
                    <a:pt x="56" y="131"/>
                  </a:cubicBezTo>
                  <a:cubicBezTo>
                    <a:pt x="57" y="131"/>
                    <a:pt x="57" y="131"/>
                    <a:pt x="57" y="131"/>
                  </a:cubicBezTo>
                  <a:cubicBezTo>
                    <a:pt x="57" y="131"/>
                    <a:pt x="57" y="131"/>
                    <a:pt x="57" y="131"/>
                  </a:cubicBezTo>
                  <a:cubicBezTo>
                    <a:pt x="58" y="131"/>
                    <a:pt x="58" y="131"/>
                    <a:pt x="58" y="131"/>
                  </a:cubicBezTo>
                  <a:cubicBezTo>
                    <a:pt x="59" y="131"/>
                    <a:pt x="60" y="132"/>
                    <a:pt x="60" y="132"/>
                  </a:cubicBezTo>
                  <a:cubicBezTo>
                    <a:pt x="62" y="132"/>
                    <a:pt x="63" y="133"/>
                    <a:pt x="63" y="134"/>
                  </a:cubicBezTo>
                  <a:cubicBezTo>
                    <a:pt x="64" y="134"/>
                    <a:pt x="64" y="135"/>
                    <a:pt x="65" y="135"/>
                  </a:cubicBezTo>
                  <a:cubicBezTo>
                    <a:pt x="66" y="136"/>
                    <a:pt x="67" y="137"/>
                    <a:pt x="67" y="137"/>
                  </a:cubicBezTo>
                  <a:cubicBezTo>
                    <a:pt x="68" y="138"/>
                    <a:pt x="68" y="138"/>
                    <a:pt x="68" y="138"/>
                  </a:cubicBezTo>
                  <a:cubicBezTo>
                    <a:pt x="68" y="138"/>
                    <a:pt x="68" y="138"/>
                    <a:pt x="68" y="138"/>
                  </a:cubicBezTo>
                  <a:cubicBezTo>
                    <a:pt x="69" y="137"/>
                    <a:pt x="69" y="137"/>
                    <a:pt x="69" y="137"/>
                  </a:cubicBezTo>
                  <a:cubicBezTo>
                    <a:pt x="67" y="134"/>
                    <a:pt x="67" y="134"/>
                    <a:pt x="67" y="134"/>
                  </a:cubicBezTo>
                  <a:cubicBezTo>
                    <a:pt x="72" y="130"/>
                    <a:pt x="72" y="130"/>
                    <a:pt x="72" y="130"/>
                  </a:cubicBezTo>
                  <a:cubicBezTo>
                    <a:pt x="73" y="126"/>
                    <a:pt x="73" y="126"/>
                    <a:pt x="73" y="126"/>
                  </a:cubicBezTo>
                  <a:cubicBezTo>
                    <a:pt x="73" y="126"/>
                    <a:pt x="73" y="126"/>
                    <a:pt x="73" y="126"/>
                  </a:cubicBezTo>
                  <a:cubicBezTo>
                    <a:pt x="73" y="126"/>
                    <a:pt x="72" y="125"/>
                    <a:pt x="71" y="124"/>
                  </a:cubicBezTo>
                  <a:cubicBezTo>
                    <a:pt x="70" y="123"/>
                    <a:pt x="70" y="122"/>
                    <a:pt x="71" y="122"/>
                  </a:cubicBezTo>
                  <a:cubicBezTo>
                    <a:pt x="71" y="121"/>
                    <a:pt x="72" y="121"/>
                    <a:pt x="72" y="121"/>
                  </a:cubicBezTo>
                  <a:cubicBezTo>
                    <a:pt x="73" y="120"/>
                    <a:pt x="73" y="120"/>
                    <a:pt x="74" y="120"/>
                  </a:cubicBezTo>
                  <a:cubicBezTo>
                    <a:pt x="75" y="119"/>
                    <a:pt x="76" y="119"/>
                    <a:pt x="76" y="118"/>
                  </a:cubicBezTo>
                  <a:cubicBezTo>
                    <a:pt x="78" y="117"/>
                    <a:pt x="79" y="119"/>
                    <a:pt x="79" y="119"/>
                  </a:cubicBezTo>
                  <a:cubicBezTo>
                    <a:pt x="79" y="119"/>
                    <a:pt x="79" y="122"/>
                    <a:pt x="81" y="122"/>
                  </a:cubicBezTo>
                  <a:cubicBezTo>
                    <a:pt x="82" y="123"/>
                    <a:pt x="83" y="123"/>
                    <a:pt x="83" y="123"/>
                  </a:cubicBezTo>
                  <a:cubicBezTo>
                    <a:pt x="86" y="123"/>
                    <a:pt x="86" y="123"/>
                    <a:pt x="86" y="123"/>
                  </a:cubicBezTo>
                  <a:cubicBezTo>
                    <a:pt x="90" y="126"/>
                    <a:pt x="90" y="126"/>
                    <a:pt x="90" y="126"/>
                  </a:cubicBezTo>
                  <a:cubicBezTo>
                    <a:pt x="90" y="126"/>
                    <a:pt x="91" y="127"/>
                    <a:pt x="91" y="127"/>
                  </a:cubicBezTo>
                  <a:cubicBezTo>
                    <a:pt x="92" y="128"/>
                    <a:pt x="93" y="130"/>
                    <a:pt x="93" y="131"/>
                  </a:cubicBezTo>
                  <a:cubicBezTo>
                    <a:pt x="99" y="133"/>
                    <a:pt x="99" y="133"/>
                    <a:pt x="99" y="133"/>
                  </a:cubicBezTo>
                  <a:cubicBezTo>
                    <a:pt x="100" y="136"/>
                    <a:pt x="100" y="136"/>
                    <a:pt x="100" y="136"/>
                  </a:cubicBezTo>
                  <a:cubicBezTo>
                    <a:pt x="100" y="136"/>
                    <a:pt x="103" y="136"/>
                    <a:pt x="104" y="136"/>
                  </a:cubicBezTo>
                  <a:cubicBezTo>
                    <a:pt x="106" y="137"/>
                    <a:pt x="107" y="138"/>
                    <a:pt x="107" y="138"/>
                  </a:cubicBezTo>
                  <a:cubicBezTo>
                    <a:pt x="107" y="138"/>
                    <a:pt x="107" y="138"/>
                    <a:pt x="107" y="138"/>
                  </a:cubicBezTo>
                  <a:cubicBezTo>
                    <a:pt x="108" y="137"/>
                    <a:pt x="108" y="137"/>
                    <a:pt x="108" y="137"/>
                  </a:cubicBezTo>
                  <a:cubicBezTo>
                    <a:pt x="113" y="138"/>
                    <a:pt x="113" y="138"/>
                    <a:pt x="113" y="138"/>
                  </a:cubicBezTo>
                  <a:cubicBezTo>
                    <a:pt x="113" y="139"/>
                    <a:pt x="113" y="139"/>
                    <a:pt x="112" y="140"/>
                  </a:cubicBezTo>
                  <a:cubicBezTo>
                    <a:pt x="111" y="140"/>
                    <a:pt x="111" y="142"/>
                    <a:pt x="112" y="143"/>
                  </a:cubicBezTo>
                  <a:cubicBezTo>
                    <a:pt x="112" y="144"/>
                    <a:pt x="112" y="145"/>
                    <a:pt x="111" y="146"/>
                  </a:cubicBezTo>
                  <a:cubicBezTo>
                    <a:pt x="111" y="147"/>
                    <a:pt x="110" y="147"/>
                    <a:pt x="109" y="147"/>
                  </a:cubicBezTo>
                  <a:cubicBezTo>
                    <a:pt x="108" y="147"/>
                    <a:pt x="109" y="148"/>
                    <a:pt x="109" y="149"/>
                  </a:cubicBezTo>
                  <a:cubicBezTo>
                    <a:pt x="109" y="149"/>
                    <a:pt x="109" y="150"/>
                    <a:pt x="109" y="150"/>
                  </a:cubicBezTo>
                  <a:cubicBezTo>
                    <a:pt x="110" y="151"/>
                    <a:pt x="110" y="151"/>
                    <a:pt x="109" y="152"/>
                  </a:cubicBezTo>
                  <a:cubicBezTo>
                    <a:pt x="108" y="153"/>
                    <a:pt x="107" y="154"/>
                    <a:pt x="107" y="154"/>
                  </a:cubicBezTo>
                  <a:cubicBezTo>
                    <a:pt x="107" y="154"/>
                    <a:pt x="107" y="154"/>
                    <a:pt x="107" y="154"/>
                  </a:cubicBezTo>
                  <a:cubicBezTo>
                    <a:pt x="109" y="156"/>
                    <a:pt x="109" y="156"/>
                    <a:pt x="109" y="156"/>
                  </a:cubicBezTo>
                  <a:cubicBezTo>
                    <a:pt x="109" y="156"/>
                    <a:pt x="109" y="156"/>
                    <a:pt x="109" y="156"/>
                  </a:cubicBezTo>
                  <a:cubicBezTo>
                    <a:pt x="109" y="156"/>
                    <a:pt x="111" y="156"/>
                    <a:pt x="112" y="156"/>
                  </a:cubicBezTo>
                  <a:cubicBezTo>
                    <a:pt x="112" y="157"/>
                    <a:pt x="112" y="157"/>
                    <a:pt x="112" y="157"/>
                  </a:cubicBezTo>
                  <a:cubicBezTo>
                    <a:pt x="112" y="157"/>
                    <a:pt x="112" y="157"/>
                    <a:pt x="112" y="157"/>
                  </a:cubicBezTo>
                  <a:cubicBezTo>
                    <a:pt x="112" y="156"/>
                    <a:pt x="112" y="156"/>
                    <a:pt x="112" y="156"/>
                  </a:cubicBezTo>
                  <a:cubicBezTo>
                    <a:pt x="112" y="156"/>
                    <a:pt x="113" y="156"/>
                    <a:pt x="113" y="156"/>
                  </a:cubicBezTo>
                  <a:cubicBezTo>
                    <a:pt x="113" y="155"/>
                    <a:pt x="115" y="153"/>
                    <a:pt x="115" y="153"/>
                  </a:cubicBezTo>
                  <a:cubicBezTo>
                    <a:pt x="117" y="153"/>
                    <a:pt x="117" y="153"/>
                    <a:pt x="117" y="153"/>
                  </a:cubicBezTo>
                  <a:cubicBezTo>
                    <a:pt x="119" y="151"/>
                    <a:pt x="119" y="151"/>
                    <a:pt x="119" y="151"/>
                  </a:cubicBezTo>
                  <a:cubicBezTo>
                    <a:pt x="119" y="151"/>
                    <a:pt x="121" y="151"/>
                    <a:pt x="121" y="151"/>
                  </a:cubicBezTo>
                  <a:cubicBezTo>
                    <a:pt x="122" y="151"/>
                    <a:pt x="123" y="151"/>
                    <a:pt x="124" y="151"/>
                  </a:cubicBezTo>
                  <a:cubicBezTo>
                    <a:pt x="125" y="151"/>
                    <a:pt x="125" y="150"/>
                    <a:pt x="125" y="150"/>
                  </a:cubicBezTo>
                  <a:cubicBezTo>
                    <a:pt x="125" y="150"/>
                    <a:pt x="127" y="149"/>
                    <a:pt x="129" y="148"/>
                  </a:cubicBezTo>
                  <a:cubicBezTo>
                    <a:pt x="130" y="148"/>
                    <a:pt x="131" y="148"/>
                    <a:pt x="131" y="148"/>
                  </a:cubicBezTo>
                  <a:cubicBezTo>
                    <a:pt x="131" y="148"/>
                    <a:pt x="132" y="148"/>
                    <a:pt x="133" y="148"/>
                  </a:cubicBezTo>
                  <a:cubicBezTo>
                    <a:pt x="133" y="148"/>
                    <a:pt x="134" y="148"/>
                    <a:pt x="134" y="148"/>
                  </a:cubicBezTo>
                  <a:cubicBezTo>
                    <a:pt x="135" y="148"/>
                    <a:pt x="135" y="147"/>
                    <a:pt x="135" y="147"/>
                  </a:cubicBezTo>
                  <a:cubicBezTo>
                    <a:pt x="137" y="142"/>
                    <a:pt x="137" y="142"/>
                    <a:pt x="137" y="142"/>
                  </a:cubicBezTo>
                  <a:cubicBezTo>
                    <a:pt x="137" y="142"/>
                    <a:pt x="136" y="140"/>
                    <a:pt x="136" y="140"/>
                  </a:cubicBezTo>
                  <a:cubicBezTo>
                    <a:pt x="136" y="140"/>
                    <a:pt x="135" y="139"/>
                    <a:pt x="133" y="139"/>
                  </a:cubicBezTo>
                  <a:cubicBezTo>
                    <a:pt x="133" y="131"/>
                    <a:pt x="133" y="131"/>
                    <a:pt x="133" y="131"/>
                  </a:cubicBezTo>
                  <a:cubicBezTo>
                    <a:pt x="131" y="128"/>
                    <a:pt x="131" y="128"/>
                    <a:pt x="131" y="128"/>
                  </a:cubicBezTo>
                  <a:cubicBezTo>
                    <a:pt x="131" y="127"/>
                    <a:pt x="133" y="126"/>
                    <a:pt x="133" y="126"/>
                  </a:cubicBezTo>
                  <a:cubicBezTo>
                    <a:pt x="133" y="125"/>
                    <a:pt x="134" y="124"/>
                    <a:pt x="135" y="124"/>
                  </a:cubicBezTo>
                  <a:cubicBezTo>
                    <a:pt x="138" y="124"/>
                    <a:pt x="138" y="124"/>
                    <a:pt x="138" y="124"/>
                  </a:cubicBezTo>
                  <a:cubicBezTo>
                    <a:pt x="139" y="123"/>
                    <a:pt x="140" y="123"/>
                    <a:pt x="140" y="122"/>
                  </a:cubicBezTo>
                  <a:cubicBezTo>
                    <a:pt x="140" y="122"/>
                    <a:pt x="140" y="120"/>
                    <a:pt x="140" y="119"/>
                  </a:cubicBezTo>
                  <a:cubicBezTo>
                    <a:pt x="140" y="118"/>
                    <a:pt x="141" y="116"/>
                    <a:pt x="142" y="115"/>
                  </a:cubicBezTo>
                  <a:cubicBezTo>
                    <a:pt x="142" y="115"/>
                    <a:pt x="144" y="113"/>
                    <a:pt x="145" y="112"/>
                  </a:cubicBezTo>
                  <a:cubicBezTo>
                    <a:pt x="145" y="111"/>
                    <a:pt x="146" y="108"/>
                    <a:pt x="146" y="107"/>
                  </a:cubicBezTo>
                  <a:close/>
                </a:path>
              </a:pathLst>
            </a:custGeom>
            <a:solidFill>
              <a:schemeClr val="accent6">
                <a:lumMod val="75000"/>
              </a:schemeClr>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2" name="Freeform 30"/>
            <p:cNvSpPr>
              <a:spLocks/>
            </p:cNvSpPr>
            <p:nvPr/>
          </p:nvSpPr>
          <p:spPr bwMode="auto">
            <a:xfrm>
              <a:off x="5774652" y="3654235"/>
              <a:ext cx="817387" cy="648121"/>
            </a:xfrm>
            <a:custGeom>
              <a:avLst/>
              <a:gdLst>
                <a:gd name="T0" fmla="*/ 263 w 282"/>
                <a:gd name="T1" fmla="*/ 130 h 237"/>
                <a:gd name="T2" fmla="*/ 255 w 282"/>
                <a:gd name="T3" fmla="*/ 112 h 237"/>
                <a:gd name="T4" fmla="*/ 242 w 282"/>
                <a:gd name="T5" fmla="*/ 90 h 237"/>
                <a:gd name="T6" fmla="*/ 256 w 282"/>
                <a:gd name="T7" fmla="*/ 63 h 237"/>
                <a:gd name="T8" fmla="*/ 235 w 282"/>
                <a:gd name="T9" fmla="*/ 20 h 237"/>
                <a:gd name="T10" fmla="*/ 216 w 282"/>
                <a:gd name="T11" fmla="*/ 3 h 237"/>
                <a:gd name="T12" fmla="*/ 155 w 282"/>
                <a:gd name="T13" fmla="*/ 13 h 237"/>
                <a:gd name="T14" fmla="*/ 118 w 282"/>
                <a:gd name="T15" fmla="*/ 20 h 237"/>
                <a:gd name="T16" fmla="*/ 103 w 282"/>
                <a:gd name="T17" fmla="*/ 6 h 237"/>
                <a:gd name="T18" fmla="*/ 76 w 282"/>
                <a:gd name="T19" fmla="*/ 8 h 237"/>
                <a:gd name="T20" fmla="*/ 53 w 282"/>
                <a:gd name="T21" fmla="*/ 23 h 237"/>
                <a:gd name="T22" fmla="*/ 36 w 282"/>
                <a:gd name="T23" fmla="*/ 37 h 237"/>
                <a:gd name="T24" fmla="*/ 1 w 282"/>
                <a:gd name="T25" fmla="*/ 52 h 237"/>
                <a:gd name="T26" fmla="*/ 4 w 282"/>
                <a:gd name="T27" fmla="*/ 59 h 237"/>
                <a:gd name="T28" fmla="*/ 9 w 282"/>
                <a:gd name="T29" fmla="*/ 82 h 237"/>
                <a:gd name="T30" fmla="*/ 15 w 282"/>
                <a:gd name="T31" fmla="*/ 105 h 237"/>
                <a:gd name="T32" fmla="*/ 21 w 282"/>
                <a:gd name="T33" fmla="*/ 131 h 237"/>
                <a:gd name="T34" fmla="*/ 25 w 282"/>
                <a:gd name="T35" fmla="*/ 147 h 237"/>
                <a:gd name="T36" fmla="*/ 30 w 282"/>
                <a:gd name="T37" fmla="*/ 156 h 237"/>
                <a:gd name="T38" fmla="*/ 35 w 282"/>
                <a:gd name="T39" fmla="*/ 166 h 237"/>
                <a:gd name="T40" fmla="*/ 36 w 282"/>
                <a:gd name="T41" fmla="*/ 174 h 237"/>
                <a:gd name="T42" fmla="*/ 42 w 282"/>
                <a:gd name="T43" fmla="*/ 180 h 237"/>
                <a:gd name="T44" fmla="*/ 52 w 282"/>
                <a:gd name="T45" fmla="*/ 184 h 237"/>
                <a:gd name="T46" fmla="*/ 61 w 282"/>
                <a:gd name="T47" fmla="*/ 185 h 237"/>
                <a:gd name="T48" fmla="*/ 73 w 282"/>
                <a:gd name="T49" fmla="*/ 192 h 237"/>
                <a:gd name="T50" fmla="*/ 80 w 282"/>
                <a:gd name="T51" fmla="*/ 207 h 237"/>
                <a:gd name="T52" fmla="*/ 84 w 282"/>
                <a:gd name="T53" fmla="*/ 195 h 237"/>
                <a:gd name="T54" fmla="*/ 95 w 282"/>
                <a:gd name="T55" fmla="*/ 194 h 237"/>
                <a:gd name="T56" fmla="*/ 108 w 282"/>
                <a:gd name="T57" fmla="*/ 195 h 237"/>
                <a:gd name="T58" fmla="*/ 112 w 282"/>
                <a:gd name="T59" fmla="*/ 207 h 237"/>
                <a:gd name="T60" fmla="*/ 125 w 282"/>
                <a:gd name="T61" fmla="*/ 209 h 237"/>
                <a:gd name="T62" fmla="*/ 145 w 282"/>
                <a:gd name="T63" fmla="*/ 222 h 237"/>
                <a:gd name="T64" fmla="*/ 148 w 282"/>
                <a:gd name="T65" fmla="*/ 233 h 237"/>
                <a:gd name="T66" fmla="*/ 158 w 282"/>
                <a:gd name="T67" fmla="*/ 224 h 237"/>
                <a:gd name="T68" fmla="*/ 169 w 282"/>
                <a:gd name="T69" fmla="*/ 230 h 237"/>
                <a:gd name="T70" fmla="*/ 171 w 282"/>
                <a:gd name="T71" fmla="*/ 237 h 237"/>
                <a:gd name="T72" fmla="*/ 178 w 282"/>
                <a:gd name="T73" fmla="*/ 235 h 237"/>
                <a:gd name="T74" fmla="*/ 181 w 282"/>
                <a:gd name="T75" fmla="*/ 233 h 237"/>
                <a:gd name="T76" fmla="*/ 185 w 282"/>
                <a:gd name="T77" fmla="*/ 229 h 237"/>
                <a:gd name="T78" fmla="*/ 190 w 282"/>
                <a:gd name="T79" fmla="*/ 225 h 237"/>
                <a:gd name="T80" fmla="*/ 194 w 282"/>
                <a:gd name="T81" fmla="*/ 224 h 237"/>
                <a:gd name="T82" fmla="*/ 200 w 282"/>
                <a:gd name="T83" fmla="*/ 227 h 237"/>
                <a:gd name="T84" fmla="*/ 205 w 282"/>
                <a:gd name="T85" fmla="*/ 225 h 237"/>
                <a:gd name="T86" fmla="*/ 210 w 282"/>
                <a:gd name="T87" fmla="*/ 221 h 237"/>
                <a:gd name="T88" fmla="*/ 216 w 282"/>
                <a:gd name="T89" fmla="*/ 220 h 237"/>
                <a:gd name="T90" fmla="*/ 225 w 282"/>
                <a:gd name="T91" fmla="*/ 220 h 237"/>
                <a:gd name="T92" fmla="*/ 232 w 282"/>
                <a:gd name="T93" fmla="*/ 220 h 237"/>
                <a:gd name="T94" fmla="*/ 237 w 282"/>
                <a:gd name="T95" fmla="*/ 226 h 237"/>
                <a:gd name="T96" fmla="*/ 243 w 282"/>
                <a:gd name="T97" fmla="*/ 227 h 237"/>
                <a:gd name="T98" fmla="*/ 251 w 282"/>
                <a:gd name="T99" fmla="*/ 229 h 237"/>
                <a:gd name="T100" fmla="*/ 260 w 282"/>
                <a:gd name="T101" fmla="*/ 229 h 237"/>
                <a:gd name="T102" fmla="*/ 255 w 282"/>
                <a:gd name="T103" fmla="*/ 220 h 237"/>
                <a:gd name="T104" fmla="*/ 263 w 282"/>
                <a:gd name="T105" fmla="*/ 189 h 237"/>
                <a:gd name="T106" fmla="*/ 278 w 282"/>
                <a:gd name="T107" fmla="*/ 167 h 237"/>
                <a:gd name="T108" fmla="*/ 277 w 282"/>
                <a:gd name="T109" fmla="*/ 14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2" h="237">
                  <a:moveTo>
                    <a:pt x="279" y="146"/>
                  </a:moveTo>
                  <a:cubicBezTo>
                    <a:pt x="278" y="145"/>
                    <a:pt x="278" y="142"/>
                    <a:pt x="276" y="142"/>
                  </a:cubicBezTo>
                  <a:cubicBezTo>
                    <a:pt x="274" y="141"/>
                    <a:pt x="272" y="140"/>
                    <a:pt x="271" y="140"/>
                  </a:cubicBezTo>
                  <a:cubicBezTo>
                    <a:pt x="269" y="139"/>
                    <a:pt x="270" y="136"/>
                    <a:pt x="270" y="136"/>
                  </a:cubicBezTo>
                  <a:cubicBezTo>
                    <a:pt x="270" y="136"/>
                    <a:pt x="266" y="134"/>
                    <a:pt x="265" y="132"/>
                  </a:cubicBezTo>
                  <a:cubicBezTo>
                    <a:pt x="265" y="131"/>
                    <a:pt x="265" y="130"/>
                    <a:pt x="263" y="130"/>
                  </a:cubicBezTo>
                  <a:cubicBezTo>
                    <a:pt x="262" y="130"/>
                    <a:pt x="261" y="127"/>
                    <a:pt x="261" y="127"/>
                  </a:cubicBezTo>
                  <a:cubicBezTo>
                    <a:pt x="262" y="124"/>
                    <a:pt x="262" y="124"/>
                    <a:pt x="262" y="124"/>
                  </a:cubicBezTo>
                  <a:cubicBezTo>
                    <a:pt x="260" y="120"/>
                    <a:pt x="260" y="120"/>
                    <a:pt x="260" y="120"/>
                  </a:cubicBezTo>
                  <a:cubicBezTo>
                    <a:pt x="260" y="120"/>
                    <a:pt x="260" y="120"/>
                    <a:pt x="260" y="119"/>
                  </a:cubicBezTo>
                  <a:cubicBezTo>
                    <a:pt x="259" y="119"/>
                    <a:pt x="258" y="117"/>
                    <a:pt x="257" y="116"/>
                  </a:cubicBezTo>
                  <a:cubicBezTo>
                    <a:pt x="256" y="115"/>
                    <a:pt x="255" y="112"/>
                    <a:pt x="255" y="112"/>
                  </a:cubicBezTo>
                  <a:cubicBezTo>
                    <a:pt x="255" y="112"/>
                    <a:pt x="256" y="107"/>
                    <a:pt x="256" y="106"/>
                  </a:cubicBezTo>
                  <a:cubicBezTo>
                    <a:pt x="256" y="106"/>
                    <a:pt x="255" y="100"/>
                    <a:pt x="255" y="100"/>
                  </a:cubicBezTo>
                  <a:cubicBezTo>
                    <a:pt x="255" y="96"/>
                    <a:pt x="255" y="96"/>
                    <a:pt x="255" y="96"/>
                  </a:cubicBezTo>
                  <a:cubicBezTo>
                    <a:pt x="250" y="93"/>
                    <a:pt x="250" y="93"/>
                    <a:pt x="250" y="93"/>
                  </a:cubicBezTo>
                  <a:cubicBezTo>
                    <a:pt x="250" y="93"/>
                    <a:pt x="245" y="92"/>
                    <a:pt x="243" y="92"/>
                  </a:cubicBezTo>
                  <a:cubicBezTo>
                    <a:pt x="242" y="92"/>
                    <a:pt x="242" y="90"/>
                    <a:pt x="242" y="90"/>
                  </a:cubicBezTo>
                  <a:cubicBezTo>
                    <a:pt x="242" y="88"/>
                    <a:pt x="242" y="88"/>
                    <a:pt x="242" y="88"/>
                  </a:cubicBezTo>
                  <a:cubicBezTo>
                    <a:pt x="245" y="80"/>
                    <a:pt x="245" y="80"/>
                    <a:pt x="245" y="80"/>
                  </a:cubicBezTo>
                  <a:cubicBezTo>
                    <a:pt x="249" y="75"/>
                    <a:pt x="249" y="75"/>
                    <a:pt x="249" y="75"/>
                  </a:cubicBezTo>
                  <a:cubicBezTo>
                    <a:pt x="252" y="73"/>
                    <a:pt x="252" y="73"/>
                    <a:pt x="252" y="73"/>
                  </a:cubicBezTo>
                  <a:cubicBezTo>
                    <a:pt x="252" y="73"/>
                    <a:pt x="256" y="68"/>
                    <a:pt x="256" y="67"/>
                  </a:cubicBezTo>
                  <a:cubicBezTo>
                    <a:pt x="257" y="67"/>
                    <a:pt x="256" y="64"/>
                    <a:pt x="256" y="63"/>
                  </a:cubicBezTo>
                  <a:cubicBezTo>
                    <a:pt x="255" y="62"/>
                    <a:pt x="255" y="60"/>
                    <a:pt x="255" y="59"/>
                  </a:cubicBezTo>
                  <a:cubicBezTo>
                    <a:pt x="255" y="58"/>
                    <a:pt x="253" y="55"/>
                    <a:pt x="253" y="55"/>
                  </a:cubicBezTo>
                  <a:cubicBezTo>
                    <a:pt x="252" y="49"/>
                    <a:pt x="252" y="49"/>
                    <a:pt x="252" y="49"/>
                  </a:cubicBezTo>
                  <a:cubicBezTo>
                    <a:pt x="246" y="40"/>
                    <a:pt x="246" y="40"/>
                    <a:pt x="246" y="40"/>
                  </a:cubicBezTo>
                  <a:cubicBezTo>
                    <a:pt x="241" y="31"/>
                    <a:pt x="241" y="31"/>
                    <a:pt x="241" y="31"/>
                  </a:cubicBezTo>
                  <a:cubicBezTo>
                    <a:pt x="241" y="31"/>
                    <a:pt x="236" y="22"/>
                    <a:pt x="235" y="20"/>
                  </a:cubicBezTo>
                  <a:cubicBezTo>
                    <a:pt x="235" y="17"/>
                    <a:pt x="234" y="13"/>
                    <a:pt x="234" y="13"/>
                  </a:cubicBezTo>
                  <a:cubicBezTo>
                    <a:pt x="231" y="11"/>
                    <a:pt x="231" y="11"/>
                    <a:pt x="231" y="11"/>
                  </a:cubicBezTo>
                  <a:cubicBezTo>
                    <a:pt x="231" y="11"/>
                    <a:pt x="230" y="7"/>
                    <a:pt x="230" y="6"/>
                  </a:cubicBezTo>
                  <a:cubicBezTo>
                    <a:pt x="229" y="5"/>
                    <a:pt x="220" y="5"/>
                    <a:pt x="220" y="5"/>
                  </a:cubicBezTo>
                  <a:cubicBezTo>
                    <a:pt x="220" y="5"/>
                    <a:pt x="219" y="3"/>
                    <a:pt x="219" y="2"/>
                  </a:cubicBezTo>
                  <a:cubicBezTo>
                    <a:pt x="218" y="0"/>
                    <a:pt x="216" y="3"/>
                    <a:pt x="216" y="3"/>
                  </a:cubicBezTo>
                  <a:cubicBezTo>
                    <a:pt x="208" y="4"/>
                    <a:pt x="208" y="4"/>
                    <a:pt x="208" y="4"/>
                  </a:cubicBezTo>
                  <a:cubicBezTo>
                    <a:pt x="202" y="9"/>
                    <a:pt x="202" y="9"/>
                    <a:pt x="202" y="9"/>
                  </a:cubicBezTo>
                  <a:cubicBezTo>
                    <a:pt x="202" y="9"/>
                    <a:pt x="187" y="10"/>
                    <a:pt x="186" y="10"/>
                  </a:cubicBezTo>
                  <a:cubicBezTo>
                    <a:pt x="184" y="10"/>
                    <a:pt x="174" y="11"/>
                    <a:pt x="174" y="11"/>
                  </a:cubicBezTo>
                  <a:cubicBezTo>
                    <a:pt x="173" y="11"/>
                    <a:pt x="167" y="12"/>
                    <a:pt x="166" y="12"/>
                  </a:cubicBezTo>
                  <a:cubicBezTo>
                    <a:pt x="164" y="13"/>
                    <a:pt x="157" y="13"/>
                    <a:pt x="155" y="13"/>
                  </a:cubicBezTo>
                  <a:cubicBezTo>
                    <a:pt x="154" y="13"/>
                    <a:pt x="150" y="13"/>
                    <a:pt x="150" y="13"/>
                  </a:cubicBezTo>
                  <a:cubicBezTo>
                    <a:pt x="150" y="13"/>
                    <a:pt x="142" y="15"/>
                    <a:pt x="139" y="15"/>
                  </a:cubicBezTo>
                  <a:cubicBezTo>
                    <a:pt x="137" y="15"/>
                    <a:pt x="133" y="13"/>
                    <a:pt x="133" y="13"/>
                  </a:cubicBezTo>
                  <a:cubicBezTo>
                    <a:pt x="133" y="13"/>
                    <a:pt x="126" y="19"/>
                    <a:pt x="124" y="19"/>
                  </a:cubicBezTo>
                  <a:cubicBezTo>
                    <a:pt x="124" y="19"/>
                    <a:pt x="122" y="20"/>
                    <a:pt x="121" y="20"/>
                  </a:cubicBezTo>
                  <a:cubicBezTo>
                    <a:pt x="120" y="20"/>
                    <a:pt x="118" y="20"/>
                    <a:pt x="118" y="20"/>
                  </a:cubicBezTo>
                  <a:cubicBezTo>
                    <a:pt x="118" y="20"/>
                    <a:pt x="115" y="21"/>
                    <a:pt x="112" y="20"/>
                  </a:cubicBezTo>
                  <a:cubicBezTo>
                    <a:pt x="109" y="18"/>
                    <a:pt x="110" y="18"/>
                    <a:pt x="110" y="18"/>
                  </a:cubicBezTo>
                  <a:cubicBezTo>
                    <a:pt x="110" y="18"/>
                    <a:pt x="108" y="16"/>
                    <a:pt x="107" y="15"/>
                  </a:cubicBezTo>
                  <a:cubicBezTo>
                    <a:pt x="106" y="14"/>
                    <a:pt x="105" y="13"/>
                    <a:pt x="105" y="12"/>
                  </a:cubicBezTo>
                  <a:cubicBezTo>
                    <a:pt x="105" y="12"/>
                    <a:pt x="107" y="10"/>
                    <a:pt x="107" y="10"/>
                  </a:cubicBezTo>
                  <a:cubicBezTo>
                    <a:pt x="107" y="10"/>
                    <a:pt x="103" y="7"/>
                    <a:pt x="103" y="6"/>
                  </a:cubicBezTo>
                  <a:cubicBezTo>
                    <a:pt x="102" y="5"/>
                    <a:pt x="103" y="5"/>
                    <a:pt x="103" y="4"/>
                  </a:cubicBezTo>
                  <a:cubicBezTo>
                    <a:pt x="104" y="3"/>
                    <a:pt x="102" y="2"/>
                    <a:pt x="102" y="2"/>
                  </a:cubicBezTo>
                  <a:cubicBezTo>
                    <a:pt x="102" y="2"/>
                    <a:pt x="97" y="3"/>
                    <a:pt x="97" y="2"/>
                  </a:cubicBezTo>
                  <a:cubicBezTo>
                    <a:pt x="96" y="2"/>
                    <a:pt x="92" y="3"/>
                    <a:pt x="91" y="3"/>
                  </a:cubicBezTo>
                  <a:cubicBezTo>
                    <a:pt x="91" y="2"/>
                    <a:pt x="85" y="5"/>
                    <a:pt x="85" y="5"/>
                  </a:cubicBezTo>
                  <a:cubicBezTo>
                    <a:pt x="85" y="5"/>
                    <a:pt x="77" y="8"/>
                    <a:pt x="76" y="8"/>
                  </a:cubicBezTo>
                  <a:cubicBezTo>
                    <a:pt x="75" y="8"/>
                    <a:pt x="75" y="9"/>
                    <a:pt x="75" y="9"/>
                  </a:cubicBezTo>
                  <a:cubicBezTo>
                    <a:pt x="74" y="9"/>
                    <a:pt x="72" y="10"/>
                    <a:pt x="71" y="10"/>
                  </a:cubicBezTo>
                  <a:cubicBezTo>
                    <a:pt x="71" y="11"/>
                    <a:pt x="69" y="14"/>
                    <a:pt x="69" y="14"/>
                  </a:cubicBezTo>
                  <a:cubicBezTo>
                    <a:pt x="69" y="15"/>
                    <a:pt x="62" y="18"/>
                    <a:pt x="61" y="18"/>
                  </a:cubicBezTo>
                  <a:cubicBezTo>
                    <a:pt x="60" y="19"/>
                    <a:pt x="56" y="20"/>
                    <a:pt x="55" y="20"/>
                  </a:cubicBezTo>
                  <a:cubicBezTo>
                    <a:pt x="55" y="21"/>
                    <a:pt x="54" y="22"/>
                    <a:pt x="53" y="23"/>
                  </a:cubicBezTo>
                  <a:cubicBezTo>
                    <a:pt x="53" y="24"/>
                    <a:pt x="52" y="25"/>
                    <a:pt x="51" y="26"/>
                  </a:cubicBezTo>
                  <a:cubicBezTo>
                    <a:pt x="51" y="27"/>
                    <a:pt x="50" y="29"/>
                    <a:pt x="50" y="30"/>
                  </a:cubicBezTo>
                  <a:cubicBezTo>
                    <a:pt x="49" y="31"/>
                    <a:pt x="48" y="33"/>
                    <a:pt x="48" y="33"/>
                  </a:cubicBezTo>
                  <a:cubicBezTo>
                    <a:pt x="48" y="33"/>
                    <a:pt x="45" y="33"/>
                    <a:pt x="43" y="33"/>
                  </a:cubicBezTo>
                  <a:cubicBezTo>
                    <a:pt x="42" y="33"/>
                    <a:pt x="42" y="34"/>
                    <a:pt x="41" y="34"/>
                  </a:cubicBezTo>
                  <a:cubicBezTo>
                    <a:pt x="40" y="34"/>
                    <a:pt x="36" y="37"/>
                    <a:pt x="36" y="37"/>
                  </a:cubicBezTo>
                  <a:cubicBezTo>
                    <a:pt x="36" y="37"/>
                    <a:pt x="20" y="42"/>
                    <a:pt x="19" y="43"/>
                  </a:cubicBezTo>
                  <a:cubicBezTo>
                    <a:pt x="18" y="44"/>
                    <a:pt x="18" y="44"/>
                    <a:pt x="16" y="46"/>
                  </a:cubicBezTo>
                  <a:cubicBezTo>
                    <a:pt x="13" y="47"/>
                    <a:pt x="11" y="47"/>
                    <a:pt x="10" y="47"/>
                  </a:cubicBezTo>
                  <a:cubicBezTo>
                    <a:pt x="9" y="48"/>
                    <a:pt x="9" y="48"/>
                    <a:pt x="8" y="49"/>
                  </a:cubicBezTo>
                  <a:cubicBezTo>
                    <a:pt x="7" y="50"/>
                    <a:pt x="6" y="51"/>
                    <a:pt x="4" y="51"/>
                  </a:cubicBezTo>
                  <a:cubicBezTo>
                    <a:pt x="3" y="51"/>
                    <a:pt x="2" y="52"/>
                    <a:pt x="1" y="52"/>
                  </a:cubicBezTo>
                  <a:cubicBezTo>
                    <a:pt x="1" y="52"/>
                    <a:pt x="0" y="52"/>
                    <a:pt x="0" y="53"/>
                  </a:cubicBezTo>
                  <a:cubicBezTo>
                    <a:pt x="0" y="54"/>
                    <a:pt x="0" y="54"/>
                    <a:pt x="0" y="54"/>
                  </a:cubicBezTo>
                  <a:cubicBezTo>
                    <a:pt x="0" y="54"/>
                    <a:pt x="1" y="55"/>
                    <a:pt x="1" y="56"/>
                  </a:cubicBezTo>
                  <a:cubicBezTo>
                    <a:pt x="2" y="56"/>
                    <a:pt x="2" y="56"/>
                    <a:pt x="2" y="56"/>
                  </a:cubicBezTo>
                  <a:cubicBezTo>
                    <a:pt x="3" y="57"/>
                    <a:pt x="3" y="57"/>
                    <a:pt x="3" y="57"/>
                  </a:cubicBezTo>
                  <a:cubicBezTo>
                    <a:pt x="3" y="58"/>
                    <a:pt x="4" y="58"/>
                    <a:pt x="4" y="59"/>
                  </a:cubicBezTo>
                  <a:cubicBezTo>
                    <a:pt x="4" y="59"/>
                    <a:pt x="4" y="60"/>
                    <a:pt x="4" y="60"/>
                  </a:cubicBezTo>
                  <a:cubicBezTo>
                    <a:pt x="4" y="60"/>
                    <a:pt x="4" y="61"/>
                    <a:pt x="5" y="62"/>
                  </a:cubicBezTo>
                  <a:cubicBezTo>
                    <a:pt x="5" y="63"/>
                    <a:pt x="5" y="64"/>
                    <a:pt x="5" y="64"/>
                  </a:cubicBezTo>
                  <a:cubicBezTo>
                    <a:pt x="5" y="65"/>
                    <a:pt x="6" y="67"/>
                    <a:pt x="7" y="69"/>
                  </a:cubicBezTo>
                  <a:cubicBezTo>
                    <a:pt x="9" y="72"/>
                    <a:pt x="9" y="74"/>
                    <a:pt x="9" y="75"/>
                  </a:cubicBezTo>
                  <a:cubicBezTo>
                    <a:pt x="9" y="82"/>
                    <a:pt x="9" y="82"/>
                    <a:pt x="9" y="82"/>
                  </a:cubicBezTo>
                  <a:cubicBezTo>
                    <a:pt x="9" y="90"/>
                    <a:pt x="9" y="90"/>
                    <a:pt x="9" y="90"/>
                  </a:cubicBezTo>
                  <a:cubicBezTo>
                    <a:pt x="5" y="93"/>
                    <a:pt x="5" y="93"/>
                    <a:pt x="5" y="93"/>
                  </a:cubicBezTo>
                  <a:cubicBezTo>
                    <a:pt x="4" y="97"/>
                    <a:pt x="4" y="97"/>
                    <a:pt x="4" y="97"/>
                  </a:cubicBezTo>
                  <a:cubicBezTo>
                    <a:pt x="5" y="98"/>
                    <a:pt x="6" y="99"/>
                    <a:pt x="8" y="101"/>
                  </a:cubicBezTo>
                  <a:cubicBezTo>
                    <a:pt x="8" y="102"/>
                    <a:pt x="11" y="103"/>
                    <a:pt x="12" y="104"/>
                  </a:cubicBezTo>
                  <a:cubicBezTo>
                    <a:pt x="15" y="105"/>
                    <a:pt x="15" y="105"/>
                    <a:pt x="15" y="105"/>
                  </a:cubicBezTo>
                  <a:cubicBezTo>
                    <a:pt x="18" y="106"/>
                    <a:pt x="19" y="110"/>
                    <a:pt x="18" y="112"/>
                  </a:cubicBezTo>
                  <a:cubicBezTo>
                    <a:pt x="18" y="113"/>
                    <a:pt x="18" y="113"/>
                    <a:pt x="18" y="113"/>
                  </a:cubicBezTo>
                  <a:cubicBezTo>
                    <a:pt x="16" y="118"/>
                    <a:pt x="16" y="118"/>
                    <a:pt x="16" y="118"/>
                  </a:cubicBezTo>
                  <a:cubicBezTo>
                    <a:pt x="17" y="118"/>
                    <a:pt x="17" y="118"/>
                    <a:pt x="17" y="119"/>
                  </a:cubicBezTo>
                  <a:cubicBezTo>
                    <a:pt x="19" y="119"/>
                    <a:pt x="20" y="121"/>
                    <a:pt x="20" y="125"/>
                  </a:cubicBezTo>
                  <a:cubicBezTo>
                    <a:pt x="21" y="128"/>
                    <a:pt x="21" y="130"/>
                    <a:pt x="21" y="131"/>
                  </a:cubicBezTo>
                  <a:cubicBezTo>
                    <a:pt x="23" y="135"/>
                    <a:pt x="23" y="135"/>
                    <a:pt x="23" y="135"/>
                  </a:cubicBezTo>
                  <a:cubicBezTo>
                    <a:pt x="23" y="135"/>
                    <a:pt x="23" y="135"/>
                    <a:pt x="23" y="135"/>
                  </a:cubicBezTo>
                  <a:cubicBezTo>
                    <a:pt x="23" y="136"/>
                    <a:pt x="21" y="140"/>
                    <a:pt x="21" y="140"/>
                  </a:cubicBezTo>
                  <a:cubicBezTo>
                    <a:pt x="21" y="141"/>
                    <a:pt x="21" y="141"/>
                    <a:pt x="20" y="142"/>
                  </a:cubicBezTo>
                  <a:cubicBezTo>
                    <a:pt x="21" y="143"/>
                    <a:pt x="21" y="143"/>
                    <a:pt x="21" y="143"/>
                  </a:cubicBezTo>
                  <a:cubicBezTo>
                    <a:pt x="25" y="147"/>
                    <a:pt x="25" y="147"/>
                    <a:pt x="25" y="147"/>
                  </a:cubicBezTo>
                  <a:cubicBezTo>
                    <a:pt x="24" y="152"/>
                    <a:pt x="24" y="152"/>
                    <a:pt x="24" y="152"/>
                  </a:cubicBezTo>
                  <a:cubicBezTo>
                    <a:pt x="24" y="153"/>
                    <a:pt x="24" y="153"/>
                    <a:pt x="24" y="153"/>
                  </a:cubicBezTo>
                  <a:cubicBezTo>
                    <a:pt x="25" y="153"/>
                    <a:pt x="25" y="153"/>
                    <a:pt x="26" y="153"/>
                  </a:cubicBezTo>
                  <a:cubicBezTo>
                    <a:pt x="27" y="154"/>
                    <a:pt x="28" y="155"/>
                    <a:pt x="29" y="155"/>
                  </a:cubicBezTo>
                  <a:cubicBezTo>
                    <a:pt x="29" y="155"/>
                    <a:pt x="29" y="155"/>
                    <a:pt x="29" y="155"/>
                  </a:cubicBezTo>
                  <a:cubicBezTo>
                    <a:pt x="30" y="156"/>
                    <a:pt x="30" y="156"/>
                    <a:pt x="30" y="156"/>
                  </a:cubicBezTo>
                  <a:cubicBezTo>
                    <a:pt x="30" y="156"/>
                    <a:pt x="30" y="157"/>
                    <a:pt x="30" y="158"/>
                  </a:cubicBezTo>
                  <a:cubicBezTo>
                    <a:pt x="30" y="158"/>
                    <a:pt x="30" y="158"/>
                    <a:pt x="30" y="159"/>
                  </a:cubicBezTo>
                  <a:cubicBezTo>
                    <a:pt x="30" y="159"/>
                    <a:pt x="32" y="161"/>
                    <a:pt x="32" y="161"/>
                  </a:cubicBezTo>
                  <a:cubicBezTo>
                    <a:pt x="32" y="162"/>
                    <a:pt x="34" y="164"/>
                    <a:pt x="35" y="165"/>
                  </a:cubicBezTo>
                  <a:cubicBezTo>
                    <a:pt x="35" y="165"/>
                    <a:pt x="35" y="165"/>
                    <a:pt x="35" y="165"/>
                  </a:cubicBezTo>
                  <a:cubicBezTo>
                    <a:pt x="35" y="166"/>
                    <a:pt x="35" y="166"/>
                    <a:pt x="35" y="166"/>
                  </a:cubicBezTo>
                  <a:cubicBezTo>
                    <a:pt x="35" y="167"/>
                    <a:pt x="35" y="169"/>
                    <a:pt x="32" y="171"/>
                  </a:cubicBezTo>
                  <a:cubicBezTo>
                    <a:pt x="32" y="172"/>
                    <a:pt x="32" y="172"/>
                    <a:pt x="32" y="172"/>
                  </a:cubicBezTo>
                  <a:cubicBezTo>
                    <a:pt x="32" y="172"/>
                    <a:pt x="32" y="173"/>
                    <a:pt x="32" y="173"/>
                  </a:cubicBezTo>
                  <a:cubicBezTo>
                    <a:pt x="32" y="173"/>
                    <a:pt x="32" y="173"/>
                    <a:pt x="32" y="173"/>
                  </a:cubicBezTo>
                  <a:cubicBezTo>
                    <a:pt x="33" y="173"/>
                    <a:pt x="33" y="173"/>
                    <a:pt x="33" y="173"/>
                  </a:cubicBezTo>
                  <a:cubicBezTo>
                    <a:pt x="34" y="173"/>
                    <a:pt x="35" y="174"/>
                    <a:pt x="36" y="174"/>
                  </a:cubicBezTo>
                  <a:cubicBezTo>
                    <a:pt x="36" y="174"/>
                    <a:pt x="36" y="174"/>
                    <a:pt x="36" y="174"/>
                  </a:cubicBezTo>
                  <a:cubicBezTo>
                    <a:pt x="36" y="174"/>
                    <a:pt x="36" y="174"/>
                    <a:pt x="36" y="174"/>
                  </a:cubicBezTo>
                  <a:cubicBezTo>
                    <a:pt x="37" y="175"/>
                    <a:pt x="37" y="175"/>
                    <a:pt x="38" y="175"/>
                  </a:cubicBezTo>
                  <a:cubicBezTo>
                    <a:pt x="39" y="175"/>
                    <a:pt x="40" y="176"/>
                    <a:pt x="40" y="176"/>
                  </a:cubicBezTo>
                  <a:cubicBezTo>
                    <a:pt x="41" y="177"/>
                    <a:pt x="41" y="178"/>
                    <a:pt x="41" y="179"/>
                  </a:cubicBezTo>
                  <a:cubicBezTo>
                    <a:pt x="41" y="179"/>
                    <a:pt x="42" y="180"/>
                    <a:pt x="42" y="180"/>
                  </a:cubicBezTo>
                  <a:cubicBezTo>
                    <a:pt x="43" y="181"/>
                    <a:pt x="44" y="182"/>
                    <a:pt x="44" y="182"/>
                  </a:cubicBezTo>
                  <a:cubicBezTo>
                    <a:pt x="47" y="181"/>
                    <a:pt x="47" y="181"/>
                    <a:pt x="47" y="181"/>
                  </a:cubicBezTo>
                  <a:cubicBezTo>
                    <a:pt x="48" y="181"/>
                    <a:pt x="48" y="181"/>
                    <a:pt x="48" y="181"/>
                  </a:cubicBezTo>
                  <a:cubicBezTo>
                    <a:pt x="49" y="182"/>
                    <a:pt x="50" y="183"/>
                    <a:pt x="51" y="184"/>
                  </a:cubicBezTo>
                  <a:cubicBezTo>
                    <a:pt x="51" y="184"/>
                    <a:pt x="51" y="184"/>
                    <a:pt x="51" y="184"/>
                  </a:cubicBezTo>
                  <a:cubicBezTo>
                    <a:pt x="51" y="184"/>
                    <a:pt x="52" y="184"/>
                    <a:pt x="52" y="184"/>
                  </a:cubicBezTo>
                  <a:cubicBezTo>
                    <a:pt x="52" y="183"/>
                    <a:pt x="52" y="183"/>
                    <a:pt x="52" y="183"/>
                  </a:cubicBezTo>
                  <a:cubicBezTo>
                    <a:pt x="56" y="185"/>
                    <a:pt x="56" y="185"/>
                    <a:pt x="56" y="185"/>
                  </a:cubicBezTo>
                  <a:cubicBezTo>
                    <a:pt x="57" y="186"/>
                    <a:pt x="57" y="186"/>
                    <a:pt x="57" y="186"/>
                  </a:cubicBezTo>
                  <a:cubicBezTo>
                    <a:pt x="58" y="185"/>
                    <a:pt x="59" y="185"/>
                    <a:pt x="59" y="185"/>
                  </a:cubicBezTo>
                  <a:cubicBezTo>
                    <a:pt x="60" y="185"/>
                    <a:pt x="60" y="185"/>
                    <a:pt x="60" y="185"/>
                  </a:cubicBezTo>
                  <a:cubicBezTo>
                    <a:pt x="61" y="185"/>
                    <a:pt x="61" y="185"/>
                    <a:pt x="61" y="185"/>
                  </a:cubicBezTo>
                  <a:cubicBezTo>
                    <a:pt x="61" y="185"/>
                    <a:pt x="62" y="186"/>
                    <a:pt x="62" y="188"/>
                  </a:cubicBezTo>
                  <a:cubicBezTo>
                    <a:pt x="63" y="188"/>
                    <a:pt x="63" y="188"/>
                    <a:pt x="63" y="188"/>
                  </a:cubicBezTo>
                  <a:cubicBezTo>
                    <a:pt x="68" y="186"/>
                    <a:pt x="68" y="186"/>
                    <a:pt x="68" y="186"/>
                  </a:cubicBezTo>
                  <a:cubicBezTo>
                    <a:pt x="69" y="186"/>
                    <a:pt x="69" y="186"/>
                    <a:pt x="69" y="186"/>
                  </a:cubicBezTo>
                  <a:cubicBezTo>
                    <a:pt x="70" y="186"/>
                    <a:pt x="71" y="186"/>
                    <a:pt x="72" y="187"/>
                  </a:cubicBezTo>
                  <a:cubicBezTo>
                    <a:pt x="73" y="188"/>
                    <a:pt x="73" y="190"/>
                    <a:pt x="73" y="192"/>
                  </a:cubicBezTo>
                  <a:cubicBezTo>
                    <a:pt x="73" y="194"/>
                    <a:pt x="72" y="196"/>
                    <a:pt x="71" y="197"/>
                  </a:cubicBezTo>
                  <a:cubicBezTo>
                    <a:pt x="70" y="197"/>
                    <a:pt x="70" y="197"/>
                    <a:pt x="70" y="197"/>
                  </a:cubicBezTo>
                  <a:cubicBezTo>
                    <a:pt x="72" y="198"/>
                    <a:pt x="73" y="199"/>
                    <a:pt x="73" y="201"/>
                  </a:cubicBezTo>
                  <a:cubicBezTo>
                    <a:pt x="75" y="201"/>
                    <a:pt x="75" y="201"/>
                    <a:pt x="75" y="201"/>
                  </a:cubicBezTo>
                  <a:cubicBezTo>
                    <a:pt x="76" y="202"/>
                    <a:pt x="77" y="203"/>
                    <a:pt x="77" y="203"/>
                  </a:cubicBezTo>
                  <a:cubicBezTo>
                    <a:pt x="79" y="204"/>
                    <a:pt x="80" y="206"/>
                    <a:pt x="80" y="207"/>
                  </a:cubicBezTo>
                  <a:cubicBezTo>
                    <a:pt x="80" y="209"/>
                    <a:pt x="80" y="209"/>
                    <a:pt x="80" y="209"/>
                  </a:cubicBezTo>
                  <a:cubicBezTo>
                    <a:pt x="81" y="208"/>
                    <a:pt x="81" y="208"/>
                    <a:pt x="82" y="208"/>
                  </a:cubicBezTo>
                  <a:cubicBezTo>
                    <a:pt x="83" y="204"/>
                    <a:pt x="83" y="204"/>
                    <a:pt x="83" y="204"/>
                  </a:cubicBezTo>
                  <a:cubicBezTo>
                    <a:pt x="87" y="202"/>
                    <a:pt x="87" y="202"/>
                    <a:pt x="87" y="202"/>
                  </a:cubicBezTo>
                  <a:cubicBezTo>
                    <a:pt x="84" y="196"/>
                    <a:pt x="84" y="196"/>
                    <a:pt x="84" y="196"/>
                  </a:cubicBezTo>
                  <a:cubicBezTo>
                    <a:pt x="84" y="195"/>
                    <a:pt x="84" y="195"/>
                    <a:pt x="84" y="195"/>
                  </a:cubicBezTo>
                  <a:cubicBezTo>
                    <a:pt x="85" y="194"/>
                    <a:pt x="86" y="194"/>
                    <a:pt x="87" y="194"/>
                  </a:cubicBezTo>
                  <a:cubicBezTo>
                    <a:pt x="87" y="194"/>
                    <a:pt x="88" y="194"/>
                    <a:pt x="89" y="194"/>
                  </a:cubicBezTo>
                  <a:cubicBezTo>
                    <a:pt x="89" y="194"/>
                    <a:pt x="90" y="194"/>
                    <a:pt x="90" y="194"/>
                  </a:cubicBezTo>
                  <a:cubicBezTo>
                    <a:pt x="90" y="194"/>
                    <a:pt x="90" y="194"/>
                    <a:pt x="90" y="194"/>
                  </a:cubicBezTo>
                  <a:cubicBezTo>
                    <a:pt x="92" y="194"/>
                    <a:pt x="94" y="194"/>
                    <a:pt x="94" y="194"/>
                  </a:cubicBezTo>
                  <a:cubicBezTo>
                    <a:pt x="95" y="194"/>
                    <a:pt x="95" y="194"/>
                    <a:pt x="95" y="194"/>
                  </a:cubicBezTo>
                  <a:cubicBezTo>
                    <a:pt x="103" y="198"/>
                    <a:pt x="103" y="198"/>
                    <a:pt x="103" y="198"/>
                  </a:cubicBezTo>
                  <a:cubicBezTo>
                    <a:pt x="103" y="198"/>
                    <a:pt x="103" y="198"/>
                    <a:pt x="103" y="198"/>
                  </a:cubicBezTo>
                  <a:cubicBezTo>
                    <a:pt x="104" y="198"/>
                    <a:pt x="105" y="198"/>
                    <a:pt x="106" y="197"/>
                  </a:cubicBezTo>
                  <a:cubicBezTo>
                    <a:pt x="106" y="196"/>
                    <a:pt x="106" y="196"/>
                    <a:pt x="106" y="196"/>
                  </a:cubicBezTo>
                  <a:cubicBezTo>
                    <a:pt x="107" y="195"/>
                    <a:pt x="107" y="195"/>
                    <a:pt x="107" y="195"/>
                  </a:cubicBezTo>
                  <a:cubicBezTo>
                    <a:pt x="108" y="195"/>
                    <a:pt x="108" y="195"/>
                    <a:pt x="108" y="195"/>
                  </a:cubicBezTo>
                  <a:cubicBezTo>
                    <a:pt x="108" y="195"/>
                    <a:pt x="108" y="195"/>
                    <a:pt x="108" y="195"/>
                  </a:cubicBezTo>
                  <a:cubicBezTo>
                    <a:pt x="110" y="195"/>
                    <a:pt x="111" y="197"/>
                    <a:pt x="112" y="199"/>
                  </a:cubicBezTo>
                  <a:cubicBezTo>
                    <a:pt x="113" y="200"/>
                    <a:pt x="113" y="201"/>
                    <a:pt x="113" y="202"/>
                  </a:cubicBezTo>
                  <a:cubicBezTo>
                    <a:pt x="113" y="203"/>
                    <a:pt x="112" y="204"/>
                    <a:pt x="111" y="204"/>
                  </a:cubicBezTo>
                  <a:cubicBezTo>
                    <a:pt x="111" y="204"/>
                    <a:pt x="111" y="204"/>
                    <a:pt x="110" y="205"/>
                  </a:cubicBezTo>
                  <a:cubicBezTo>
                    <a:pt x="112" y="205"/>
                    <a:pt x="112" y="206"/>
                    <a:pt x="112" y="207"/>
                  </a:cubicBezTo>
                  <a:cubicBezTo>
                    <a:pt x="112" y="207"/>
                    <a:pt x="113" y="207"/>
                    <a:pt x="113" y="208"/>
                  </a:cubicBezTo>
                  <a:cubicBezTo>
                    <a:pt x="113" y="208"/>
                    <a:pt x="114" y="208"/>
                    <a:pt x="116" y="209"/>
                  </a:cubicBezTo>
                  <a:cubicBezTo>
                    <a:pt x="117" y="209"/>
                    <a:pt x="117" y="209"/>
                    <a:pt x="117" y="209"/>
                  </a:cubicBezTo>
                  <a:cubicBezTo>
                    <a:pt x="119" y="206"/>
                    <a:pt x="119" y="206"/>
                    <a:pt x="119" y="206"/>
                  </a:cubicBezTo>
                  <a:cubicBezTo>
                    <a:pt x="120" y="206"/>
                    <a:pt x="120" y="206"/>
                    <a:pt x="120" y="206"/>
                  </a:cubicBezTo>
                  <a:cubicBezTo>
                    <a:pt x="121" y="206"/>
                    <a:pt x="124" y="208"/>
                    <a:pt x="125" y="209"/>
                  </a:cubicBezTo>
                  <a:cubicBezTo>
                    <a:pt x="125" y="209"/>
                    <a:pt x="127" y="210"/>
                    <a:pt x="129" y="210"/>
                  </a:cubicBezTo>
                  <a:cubicBezTo>
                    <a:pt x="136" y="208"/>
                    <a:pt x="136" y="208"/>
                    <a:pt x="136" y="208"/>
                  </a:cubicBezTo>
                  <a:cubicBezTo>
                    <a:pt x="138" y="216"/>
                    <a:pt x="138" y="216"/>
                    <a:pt x="138" y="216"/>
                  </a:cubicBezTo>
                  <a:cubicBezTo>
                    <a:pt x="139" y="216"/>
                    <a:pt x="140" y="217"/>
                    <a:pt x="141" y="219"/>
                  </a:cubicBezTo>
                  <a:cubicBezTo>
                    <a:pt x="141" y="219"/>
                    <a:pt x="141" y="219"/>
                    <a:pt x="141" y="219"/>
                  </a:cubicBezTo>
                  <a:cubicBezTo>
                    <a:pt x="142" y="219"/>
                    <a:pt x="145" y="220"/>
                    <a:pt x="145" y="222"/>
                  </a:cubicBezTo>
                  <a:cubicBezTo>
                    <a:pt x="145" y="223"/>
                    <a:pt x="145" y="223"/>
                    <a:pt x="146" y="224"/>
                  </a:cubicBezTo>
                  <a:cubicBezTo>
                    <a:pt x="146" y="224"/>
                    <a:pt x="146" y="224"/>
                    <a:pt x="146" y="224"/>
                  </a:cubicBezTo>
                  <a:cubicBezTo>
                    <a:pt x="148" y="229"/>
                    <a:pt x="148" y="229"/>
                    <a:pt x="148" y="229"/>
                  </a:cubicBezTo>
                  <a:cubicBezTo>
                    <a:pt x="147" y="230"/>
                    <a:pt x="147" y="230"/>
                    <a:pt x="147" y="230"/>
                  </a:cubicBezTo>
                  <a:cubicBezTo>
                    <a:pt x="147" y="230"/>
                    <a:pt x="147" y="230"/>
                    <a:pt x="147" y="231"/>
                  </a:cubicBezTo>
                  <a:cubicBezTo>
                    <a:pt x="147" y="231"/>
                    <a:pt x="148" y="233"/>
                    <a:pt x="148" y="233"/>
                  </a:cubicBezTo>
                  <a:cubicBezTo>
                    <a:pt x="148" y="233"/>
                    <a:pt x="150" y="233"/>
                    <a:pt x="151" y="232"/>
                  </a:cubicBezTo>
                  <a:cubicBezTo>
                    <a:pt x="151" y="231"/>
                    <a:pt x="153" y="230"/>
                    <a:pt x="153" y="230"/>
                  </a:cubicBezTo>
                  <a:cubicBezTo>
                    <a:pt x="153" y="230"/>
                    <a:pt x="155" y="232"/>
                    <a:pt x="155" y="231"/>
                  </a:cubicBezTo>
                  <a:cubicBezTo>
                    <a:pt x="155" y="230"/>
                    <a:pt x="155" y="227"/>
                    <a:pt x="155" y="227"/>
                  </a:cubicBezTo>
                  <a:cubicBezTo>
                    <a:pt x="157" y="225"/>
                    <a:pt x="157" y="225"/>
                    <a:pt x="157" y="225"/>
                  </a:cubicBezTo>
                  <a:cubicBezTo>
                    <a:pt x="157" y="225"/>
                    <a:pt x="158" y="225"/>
                    <a:pt x="158" y="224"/>
                  </a:cubicBezTo>
                  <a:cubicBezTo>
                    <a:pt x="158" y="223"/>
                    <a:pt x="159" y="221"/>
                    <a:pt x="159" y="221"/>
                  </a:cubicBezTo>
                  <a:cubicBezTo>
                    <a:pt x="162" y="222"/>
                    <a:pt x="162" y="222"/>
                    <a:pt x="162" y="222"/>
                  </a:cubicBezTo>
                  <a:cubicBezTo>
                    <a:pt x="164" y="226"/>
                    <a:pt x="164" y="226"/>
                    <a:pt x="164" y="226"/>
                  </a:cubicBezTo>
                  <a:cubicBezTo>
                    <a:pt x="166" y="228"/>
                    <a:pt x="166" y="228"/>
                    <a:pt x="166" y="228"/>
                  </a:cubicBezTo>
                  <a:cubicBezTo>
                    <a:pt x="167" y="229"/>
                    <a:pt x="167" y="229"/>
                    <a:pt x="167" y="229"/>
                  </a:cubicBezTo>
                  <a:cubicBezTo>
                    <a:pt x="169" y="230"/>
                    <a:pt x="169" y="230"/>
                    <a:pt x="169" y="230"/>
                  </a:cubicBezTo>
                  <a:cubicBezTo>
                    <a:pt x="171" y="229"/>
                    <a:pt x="171" y="229"/>
                    <a:pt x="171" y="229"/>
                  </a:cubicBezTo>
                  <a:cubicBezTo>
                    <a:pt x="171" y="231"/>
                    <a:pt x="171" y="231"/>
                    <a:pt x="171" y="231"/>
                  </a:cubicBezTo>
                  <a:cubicBezTo>
                    <a:pt x="172" y="232"/>
                    <a:pt x="172" y="232"/>
                    <a:pt x="172" y="232"/>
                  </a:cubicBezTo>
                  <a:cubicBezTo>
                    <a:pt x="173" y="235"/>
                    <a:pt x="173" y="235"/>
                    <a:pt x="173" y="235"/>
                  </a:cubicBezTo>
                  <a:cubicBezTo>
                    <a:pt x="172" y="236"/>
                    <a:pt x="172" y="236"/>
                    <a:pt x="172" y="236"/>
                  </a:cubicBezTo>
                  <a:cubicBezTo>
                    <a:pt x="171" y="237"/>
                    <a:pt x="171" y="237"/>
                    <a:pt x="171" y="237"/>
                  </a:cubicBezTo>
                  <a:cubicBezTo>
                    <a:pt x="172" y="237"/>
                    <a:pt x="172" y="237"/>
                    <a:pt x="172" y="237"/>
                  </a:cubicBezTo>
                  <a:cubicBezTo>
                    <a:pt x="172" y="237"/>
                    <a:pt x="173" y="237"/>
                    <a:pt x="173" y="237"/>
                  </a:cubicBezTo>
                  <a:cubicBezTo>
                    <a:pt x="174" y="237"/>
                    <a:pt x="175" y="237"/>
                    <a:pt x="175" y="237"/>
                  </a:cubicBezTo>
                  <a:cubicBezTo>
                    <a:pt x="175" y="236"/>
                    <a:pt x="176" y="236"/>
                    <a:pt x="176" y="236"/>
                  </a:cubicBezTo>
                  <a:cubicBezTo>
                    <a:pt x="176" y="236"/>
                    <a:pt x="177" y="235"/>
                    <a:pt x="177" y="235"/>
                  </a:cubicBezTo>
                  <a:cubicBezTo>
                    <a:pt x="177" y="235"/>
                    <a:pt x="178" y="235"/>
                    <a:pt x="178" y="235"/>
                  </a:cubicBezTo>
                  <a:cubicBezTo>
                    <a:pt x="178" y="236"/>
                    <a:pt x="179" y="237"/>
                    <a:pt x="179" y="237"/>
                  </a:cubicBezTo>
                  <a:cubicBezTo>
                    <a:pt x="179" y="237"/>
                    <a:pt x="179" y="236"/>
                    <a:pt x="180" y="237"/>
                  </a:cubicBezTo>
                  <a:cubicBezTo>
                    <a:pt x="180" y="237"/>
                    <a:pt x="180" y="237"/>
                    <a:pt x="180" y="237"/>
                  </a:cubicBezTo>
                  <a:cubicBezTo>
                    <a:pt x="180" y="237"/>
                    <a:pt x="181" y="237"/>
                    <a:pt x="181" y="236"/>
                  </a:cubicBezTo>
                  <a:cubicBezTo>
                    <a:pt x="180" y="235"/>
                    <a:pt x="180" y="234"/>
                    <a:pt x="180" y="234"/>
                  </a:cubicBezTo>
                  <a:cubicBezTo>
                    <a:pt x="180" y="234"/>
                    <a:pt x="180" y="233"/>
                    <a:pt x="181" y="233"/>
                  </a:cubicBezTo>
                  <a:cubicBezTo>
                    <a:pt x="181" y="232"/>
                    <a:pt x="181" y="232"/>
                    <a:pt x="181" y="231"/>
                  </a:cubicBezTo>
                  <a:cubicBezTo>
                    <a:pt x="181" y="231"/>
                    <a:pt x="181" y="231"/>
                    <a:pt x="181" y="231"/>
                  </a:cubicBezTo>
                  <a:cubicBezTo>
                    <a:pt x="182" y="231"/>
                    <a:pt x="183" y="230"/>
                    <a:pt x="183" y="230"/>
                  </a:cubicBezTo>
                  <a:cubicBezTo>
                    <a:pt x="183" y="230"/>
                    <a:pt x="183" y="230"/>
                    <a:pt x="183" y="229"/>
                  </a:cubicBezTo>
                  <a:cubicBezTo>
                    <a:pt x="183" y="229"/>
                    <a:pt x="184" y="229"/>
                    <a:pt x="184" y="229"/>
                  </a:cubicBezTo>
                  <a:cubicBezTo>
                    <a:pt x="185" y="229"/>
                    <a:pt x="184" y="229"/>
                    <a:pt x="185" y="229"/>
                  </a:cubicBezTo>
                  <a:cubicBezTo>
                    <a:pt x="186" y="228"/>
                    <a:pt x="186" y="228"/>
                    <a:pt x="185" y="228"/>
                  </a:cubicBezTo>
                  <a:cubicBezTo>
                    <a:pt x="185" y="227"/>
                    <a:pt x="185" y="227"/>
                    <a:pt x="185" y="227"/>
                  </a:cubicBezTo>
                  <a:cubicBezTo>
                    <a:pt x="186" y="227"/>
                    <a:pt x="185" y="227"/>
                    <a:pt x="187" y="227"/>
                  </a:cubicBezTo>
                  <a:cubicBezTo>
                    <a:pt x="188" y="227"/>
                    <a:pt x="189" y="227"/>
                    <a:pt x="189" y="226"/>
                  </a:cubicBezTo>
                  <a:cubicBezTo>
                    <a:pt x="189" y="226"/>
                    <a:pt x="189" y="225"/>
                    <a:pt x="189" y="225"/>
                  </a:cubicBezTo>
                  <a:cubicBezTo>
                    <a:pt x="190" y="225"/>
                    <a:pt x="190" y="225"/>
                    <a:pt x="190" y="225"/>
                  </a:cubicBezTo>
                  <a:cubicBezTo>
                    <a:pt x="190" y="225"/>
                    <a:pt x="190" y="225"/>
                    <a:pt x="190" y="225"/>
                  </a:cubicBezTo>
                  <a:cubicBezTo>
                    <a:pt x="190" y="225"/>
                    <a:pt x="191" y="226"/>
                    <a:pt x="191" y="226"/>
                  </a:cubicBezTo>
                  <a:cubicBezTo>
                    <a:pt x="192" y="226"/>
                    <a:pt x="192" y="226"/>
                    <a:pt x="192" y="226"/>
                  </a:cubicBezTo>
                  <a:cubicBezTo>
                    <a:pt x="193" y="226"/>
                    <a:pt x="193" y="225"/>
                    <a:pt x="193" y="225"/>
                  </a:cubicBezTo>
                  <a:cubicBezTo>
                    <a:pt x="193" y="225"/>
                    <a:pt x="193" y="225"/>
                    <a:pt x="193" y="225"/>
                  </a:cubicBezTo>
                  <a:cubicBezTo>
                    <a:pt x="193" y="225"/>
                    <a:pt x="193" y="224"/>
                    <a:pt x="194" y="224"/>
                  </a:cubicBezTo>
                  <a:cubicBezTo>
                    <a:pt x="195" y="224"/>
                    <a:pt x="194" y="225"/>
                    <a:pt x="195" y="224"/>
                  </a:cubicBezTo>
                  <a:cubicBezTo>
                    <a:pt x="195" y="224"/>
                    <a:pt x="196" y="223"/>
                    <a:pt x="196" y="223"/>
                  </a:cubicBezTo>
                  <a:cubicBezTo>
                    <a:pt x="196" y="223"/>
                    <a:pt x="196" y="224"/>
                    <a:pt x="197" y="224"/>
                  </a:cubicBezTo>
                  <a:cubicBezTo>
                    <a:pt x="198" y="225"/>
                    <a:pt x="198" y="225"/>
                    <a:pt x="199" y="226"/>
                  </a:cubicBezTo>
                  <a:cubicBezTo>
                    <a:pt x="199" y="226"/>
                    <a:pt x="199" y="226"/>
                    <a:pt x="199" y="226"/>
                  </a:cubicBezTo>
                  <a:cubicBezTo>
                    <a:pt x="199" y="226"/>
                    <a:pt x="200" y="227"/>
                    <a:pt x="200" y="227"/>
                  </a:cubicBezTo>
                  <a:cubicBezTo>
                    <a:pt x="201" y="227"/>
                    <a:pt x="201" y="227"/>
                    <a:pt x="201" y="227"/>
                  </a:cubicBezTo>
                  <a:cubicBezTo>
                    <a:pt x="202" y="227"/>
                    <a:pt x="202" y="227"/>
                    <a:pt x="202" y="227"/>
                  </a:cubicBezTo>
                  <a:cubicBezTo>
                    <a:pt x="202" y="227"/>
                    <a:pt x="201" y="227"/>
                    <a:pt x="202" y="227"/>
                  </a:cubicBezTo>
                  <a:cubicBezTo>
                    <a:pt x="203" y="228"/>
                    <a:pt x="204" y="228"/>
                    <a:pt x="204" y="228"/>
                  </a:cubicBezTo>
                  <a:cubicBezTo>
                    <a:pt x="204" y="228"/>
                    <a:pt x="204" y="227"/>
                    <a:pt x="204" y="226"/>
                  </a:cubicBezTo>
                  <a:cubicBezTo>
                    <a:pt x="205" y="226"/>
                    <a:pt x="205" y="225"/>
                    <a:pt x="205" y="225"/>
                  </a:cubicBezTo>
                  <a:cubicBezTo>
                    <a:pt x="206" y="225"/>
                    <a:pt x="208" y="224"/>
                    <a:pt x="208" y="224"/>
                  </a:cubicBezTo>
                  <a:cubicBezTo>
                    <a:pt x="208" y="224"/>
                    <a:pt x="207" y="223"/>
                    <a:pt x="206" y="222"/>
                  </a:cubicBezTo>
                  <a:cubicBezTo>
                    <a:pt x="206" y="222"/>
                    <a:pt x="205" y="221"/>
                    <a:pt x="207" y="221"/>
                  </a:cubicBezTo>
                  <a:cubicBezTo>
                    <a:pt x="208" y="221"/>
                    <a:pt x="209" y="221"/>
                    <a:pt x="209" y="221"/>
                  </a:cubicBezTo>
                  <a:cubicBezTo>
                    <a:pt x="210" y="222"/>
                    <a:pt x="210" y="222"/>
                    <a:pt x="210" y="222"/>
                  </a:cubicBezTo>
                  <a:cubicBezTo>
                    <a:pt x="210" y="221"/>
                    <a:pt x="210" y="221"/>
                    <a:pt x="210" y="221"/>
                  </a:cubicBezTo>
                  <a:cubicBezTo>
                    <a:pt x="211" y="220"/>
                    <a:pt x="211" y="220"/>
                    <a:pt x="211" y="220"/>
                  </a:cubicBezTo>
                  <a:cubicBezTo>
                    <a:pt x="211" y="220"/>
                    <a:pt x="211" y="219"/>
                    <a:pt x="212" y="219"/>
                  </a:cubicBezTo>
                  <a:cubicBezTo>
                    <a:pt x="212" y="219"/>
                    <a:pt x="213" y="219"/>
                    <a:pt x="213" y="219"/>
                  </a:cubicBezTo>
                  <a:cubicBezTo>
                    <a:pt x="213" y="219"/>
                    <a:pt x="214" y="220"/>
                    <a:pt x="214" y="220"/>
                  </a:cubicBezTo>
                  <a:cubicBezTo>
                    <a:pt x="214" y="220"/>
                    <a:pt x="215" y="220"/>
                    <a:pt x="215" y="220"/>
                  </a:cubicBezTo>
                  <a:cubicBezTo>
                    <a:pt x="215" y="220"/>
                    <a:pt x="216" y="220"/>
                    <a:pt x="216" y="220"/>
                  </a:cubicBezTo>
                  <a:cubicBezTo>
                    <a:pt x="216" y="220"/>
                    <a:pt x="218" y="220"/>
                    <a:pt x="218" y="220"/>
                  </a:cubicBezTo>
                  <a:cubicBezTo>
                    <a:pt x="218" y="220"/>
                    <a:pt x="218" y="219"/>
                    <a:pt x="218" y="219"/>
                  </a:cubicBezTo>
                  <a:cubicBezTo>
                    <a:pt x="218" y="219"/>
                    <a:pt x="221" y="219"/>
                    <a:pt x="221" y="219"/>
                  </a:cubicBezTo>
                  <a:cubicBezTo>
                    <a:pt x="221" y="219"/>
                    <a:pt x="222" y="219"/>
                    <a:pt x="222" y="219"/>
                  </a:cubicBezTo>
                  <a:cubicBezTo>
                    <a:pt x="223" y="219"/>
                    <a:pt x="224" y="219"/>
                    <a:pt x="224" y="219"/>
                  </a:cubicBezTo>
                  <a:cubicBezTo>
                    <a:pt x="224" y="219"/>
                    <a:pt x="225" y="220"/>
                    <a:pt x="225" y="220"/>
                  </a:cubicBezTo>
                  <a:cubicBezTo>
                    <a:pt x="226" y="220"/>
                    <a:pt x="227" y="220"/>
                    <a:pt x="227" y="220"/>
                  </a:cubicBezTo>
                  <a:cubicBezTo>
                    <a:pt x="227" y="220"/>
                    <a:pt x="227" y="219"/>
                    <a:pt x="227" y="219"/>
                  </a:cubicBezTo>
                  <a:cubicBezTo>
                    <a:pt x="228" y="219"/>
                    <a:pt x="228" y="219"/>
                    <a:pt x="228" y="219"/>
                  </a:cubicBezTo>
                  <a:cubicBezTo>
                    <a:pt x="230" y="220"/>
                    <a:pt x="230" y="220"/>
                    <a:pt x="230" y="220"/>
                  </a:cubicBezTo>
                  <a:cubicBezTo>
                    <a:pt x="230" y="220"/>
                    <a:pt x="231" y="220"/>
                    <a:pt x="231" y="220"/>
                  </a:cubicBezTo>
                  <a:cubicBezTo>
                    <a:pt x="231" y="220"/>
                    <a:pt x="232" y="220"/>
                    <a:pt x="232" y="220"/>
                  </a:cubicBezTo>
                  <a:cubicBezTo>
                    <a:pt x="232" y="220"/>
                    <a:pt x="232" y="221"/>
                    <a:pt x="232" y="221"/>
                  </a:cubicBezTo>
                  <a:cubicBezTo>
                    <a:pt x="233" y="222"/>
                    <a:pt x="233" y="222"/>
                    <a:pt x="233" y="223"/>
                  </a:cubicBezTo>
                  <a:cubicBezTo>
                    <a:pt x="234" y="223"/>
                    <a:pt x="234" y="223"/>
                    <a:pt x="234" y="223"/>
                  </a:cubicBezTo>
                  <a:cubicBezTo>
                    <a:pt x="234" y="224"/>
                    <a:pt x="234" y="224"/>
                    <a:pt x="234" y="225"/>
                  </a:cubicBezTo>
                  <a:cubicBezTo>
                    <a:pt x="234" y="225"/>
                    <a:pt x="234" y="225"/>
                    <a:pt x="235" y="225"/>
                  </a:cubicBezTo>
                  <a:cubicBezTo>
                    <a:pt x="235" y="226"/>
                    <a:pt x="237" y="226"/>
                    <a:pt x="237" y="226"/>
                  </a:cubicBezTo>
                  <a:cubicBezTo>
                    <a:pt x="237" y="226"/>
                    <a:pt x="238" y="226"/>
                    <a:pt x="238" y="226"/>
                  </a:cubicBezTo>
                  <a:cubicBezTo>
                    <a:pt x="239" y="226"/>
                    <a:pt x="240" y="226"/>
                    <a:pt x="240" y="226"/>
                  </a:cubicBezTo>
                  <a:cubicBezTo>
                    <a:pt x="240" y="226"/>
                    <a:pt x="241" y="226"/>
                    <a:pt x="241" y="226"/>
                  </a:cubicBezTo>
                  <a:cubicBezTo>
                    <a:pt x="241" y="226"/>
                    <a:pt x="241" y="227"/>
                    <a:pt x="241" y="227"/>
                  </a:cubicBezTo>
                  <a:cubicBezTo>
                    <a:pt x="243" y="227"/>
                    <a:pt x="243" y="227"/>
                    <a:pt x="243" y="227"/>
                  </a:cubicBezTo>
                  <a:cubicBezTo>
                    <a:pt x="243" y="227"/>
                    <a:pt x="243" y="227"/>
                    <a:pt x="243" y="227"/>
                  </a:cubicBezTo>
                  <a:cubicBezTo>
                    <a:pt x="243" y="227"/>
                    <a:pt x="244" y="227"/>
                    <a:pt x="244" y="227"/>
                  </a:cubicBezTo>
                  <a:cubicBezTo>
                    <a:pt x="244" y="227"/>
                    <a:pt x="245" y="227"/>
                    <a:pt x="245" y="227"/>
                  </a:cubicBezTo>
                  <a:cubicBezTo>
                    <a:pt x="245" y="228"/>
                    <a:pt x="246" y="228"/>
                    <a:pt x="246" y="228"/>
                  </a:cubicBezTo>
                  <a:cubicBezTo>
                    <a:pt x="246" y="228"/>
                    <a:pt x="247" y="228"/>
                    <a:pt x="248" y="228"/>
                  </a:cubicBezTo>
                  <a:cubicBezTo>
                    <a:pt x="248" y="228"/>
                    <a:pt x="250" y="228"/>
                    <a:pt x="250" y="228"/>
                  </a:cubicBezTo>
                  <a:cubicBezTo>
                    <a:pt x="250" y="228"/>
                    <a:pt x="251" y="229"/>
                    <a:pt x="251" y="229"/>
                  </a:cubicBezTo>
                  <a:cubicBezTo>
                    <a:pt x="251" y="229"/>
                    <a:pt x="251" y="230"/>
                    <a:pt x="251" y="230"/>
                  </a:cubicBezTo>
                  <a:cubicBezTo>
                    <a:pt x="251" y="230"/>
                    <a:pt x="251" y="230"/>
                    <a:pt x="252" y="230"/>
                  </a:cubicBezTo>
                  <a:cubicBezTo>
                    <a:pt x="252" y="230"/>
                    <a:pt x="252" y="229"/>
                    <a:pt x="253" y="229"/>
                  </a:cubicBezTo>
                  <a:cubicBezTo>
                    <a:pt x="254" y="229"/>
                    <a:pt x="256" y="230"/>
                    <a:pt x="257" y="230"/>
                  </a:cubicBezTo>
                  <a:cubicBezTo>
                    <a:pt x="258" y="231"/>
                    <a:pt x="258" y="230"/>
                    <a:pt x="259" y="230"/>
                  </a:cubicBezTo>
                  <a:cubicBezTo>
                    <a:pt x="260" y="230"/>
                    <a:pt x="260" y="229"/>
                    <a:pt x="260" y="229"/>
                  </a:cubicBezTo>
                  <a:cubicBezTo>
                    <a:pt x="260" y="229"/>
                    <a:pt x="260" y="228"/>
                    <a:pt x="260" y="227"/>
                  </a:cubicBezTo>
                  <a:cubicBezTo>
                    <a:pt x="260" y="227"/>
                    <a:pt x="258" y="226"/>
                    <a:pt x="258" y="226"/>
                  </a:cubicBezTo>
                  <a:cubicBezTo>
                    <a:pt x="258" y="226"/>
                    <a:pt x="257" y="225"/>
                    <a:pt x="256" y="225"/>
                  </a:cubicBezTo>
                  <a:cubicBezTo>
                    <a:pt x="256" y="225"/>
                    <a:pt x="255" y="222"/>
                    <a:pt x="255" y="222"/>
                  </a:cubicBezTo>
                  <a:cubicBezTo>
                    <a:pt x="256" y="220"/>
                    <a:pt x="256" y="220"/>
                    <a:pt x="256" y="220"/>
                  </a:cubicBezTo>
                  <a:cubicBezTo>
                    <a:pt x="256" y="220"/>
                    <a:pt x="256" y="220"/>
                    <a:pt x="255" y="220"/>
                  </a:cubicBezTo>
                  <a:cubicBezTo>
                    <a:pt x="254" y="219"/>
                    <a:pt x="254" y="217"/>
                    <a:pt x="254" y="217"/>
                  </a:cubicBezTo>
                  <a:cubicBezTo>
                    <a:pt x="254" y="214"/>
                    <a:pt x="254" y="214"/>
                    <a:pt x="254" y="214"/>
                  </a:cubicBezTo>
                  <a:cubicBezTo>
                    <a:pt x="251" y="210"/>
                    <a:pt x="251" y="210"/>
                    <a:pt x="251" y="210"/>
                  </a:cubicBezTo>
                  <a:cubicBezTo>
                    <a:pt x="251" y="210"/>
                    <a:pt x="251" y="207"/>
                    <a:pt x="251" y="207"/>
                  </a:cubicBezTo>
                  <a:cubicBezTo>
                    <a:pt x="252" y="206"/>
                    <a:pt x="255" y="199"/>
                    <a:pt x="255" y="199"/>
                  </a:cubicBezTo>
                  <a:cubicBezTo>
                    <a:pt x="263" y="189"/>
                    <a:pt x="263" y="189"/>
                    <a:pt x="263" y="189"/>
                  </a:cubicBezTo>
                  <a:cubicBezTo>
                    <a:pt x="263" y="189"/>
                    <a:pt x="263" y="188"/>
                    <a:pt x="265" y="184"/>
                  </a:cubicBezTo>
                  <a:cubicBezTo>
                    <a:pt x="266" y="179"/>
                    <a:pt x="266" y="181"/>
                    <a:pt x="267" y="180"/>
                  </a:cubicBezTo>
                  <a:cubicBezTo>
                    <a:pt x="267" y="178"/>
                    <a:pt x="269" y="177"/>
                    <a:pt x="270" y="176"/>
                  </a:cubicBezTo>
                  <a:cubicBezTo>
                    <a:pt x="271" y="176"/>
                    <a:pt x="272" y="173"/>
                    <a:pt x="273" y="170"/>
                  </a:cubicBezTo>
                  <a:cubicBezTo>
                    <a:pt x="274" y="168"/>
                    <a:pt x="275" y="170"/>
                    <a:pt x="276" y="170"/>
                  </a:cubicBezTo>
                  <a:cubicBezTo>
                    <a:pt x="277" y="169"/>
                    <a:pt x="277" y="167"/>
                    <a:pt x="278" y="167"/>
                  </a:cubicBezTo>
                  <a:cubicBezTo>
                    <a:pt x="280" y="167"/>
                    <a:pt x="280" y="165"/>
                    <a:pt x="281" y="164"/>
                  </a:cubicBezTo>
                  <a:cubicBezTo>
                    <a:pt x="281" y="163"/>
                    <a:pt x="281" y="161"/>
                    <a:pt x="281" y="161"/>
                  </a:cubicBezTo>
                  <a:cubicBezTo>
                    <a:pt x="281" y="156"/>
                    <a:pt x="281" y="156"/>
                    <a:pt x="281" y="156"/>
                  </a:cubicBezTo>
                  <a:cubicBezTo>
                    <a:pt x="278" y="152"/>
                    <a:pt x="278" y="152"/>
                    <a:pt x="278" y="152"/>
                  </a:cubicBezTo>
                  <a:cubicBezTo>
                    <a:pt x="278" y="152"/>
                    <a:pt x="277" y="152"/>
                    <a:pt x="277" y="151"/>
                  </a:cubicBezTo>
                  <a:cubicBezTo>
                    <a:pt x="277" y="150"/>
                    <a:pt x="277" y="149"/>
                    <a:pt x="277" y="149"/>
                  </a:cubicBezTo>
                  <a:cubicBezTo>
                    <a:pt x="277" y="149"/>
                    <a:pt x="280" y="149"/>
                    <a:pt x="281" y="149"/>
                  </a:cubicBezTo>
                  <a:cubicBezTo>
                    <a:pt x="282" y="148"/>
                    <a:pt x="281" y="147"/>
                    <a:pt x="279" y="146"/>
                  </a:cubicBezTo>
                  <a:close/>
                </a:path>
              </a:pathLst>
            </a:custGeom>
            <a:solidFill>
              <a:schemeClr val="accent1">
                <a:lumMod val="60000"/>
                <a:lumOff val="40000"/>
              </a:schemeClr>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3" name="Freeform 64"/>
            <p:cNvSpPr>
              <a:spLocks/>
            </p:cNvSpPr>
            <p:nvPr/>
          </p:nvSpPr>
          <p:spPr bwMode="auto">
            <a:xfrm>
              <a:off x="5152153" y="4587958"/>
              <a:ext cx="1135099" cy="1072940"/>
            </a:xfrm>
            <a:custGeom>
              <a:avLst/>
              <a:gdLst>
                <a:gd name="T0" fmla="*/ 322 w 392"/>
                <a:gd name="T1" fmla="*/ 246 h 393"/>
                <a:gd name="T2" fmla="*/ 306 w 392"/>
                <a:gd name="T3" fmla="*/ 223 h 393"/>
                <a:gd name="T4" fmla="*/ 250 w 392"/>
                <a:gd name="T5" fmla="*/ 204 h 393"/>
                <a:gd name="T6" fmla="*/ 217 w 392"/>
                <a:gd name="T7" fmla="*/ 150 h 393"/>
                <a:gd name="T8" fmla="*/ 176 w 392"/>
                <a:gd name="T9" fmla="*/ 96 h 393"/>
                <a:gd name="T10" fmla="*/ 178 w 392"/>
                <a:gd name="T11" fmla="*/ 71 h 393"/>
                <a:gd name="T12" fmla="*/ 204 w 392"/>
                <a:gd name="T13" fmla="*/ 61 h 393"/>
                <a:gd name="T14" fmla="*/ 211 w 392"/>
                <a:gd name="T15" fmla="*/ 49 h 393"/>
                <a:gd name="T16" fmla="*/ 206 w 392"/>
                <a:gd name="T17" fmla="*/ 46 h 393"/>
                <a:gd name="T18" fmla="*/ 209 w 392"/>
                <a:gd name="T19" fmla="*/ 39 h 393"/>
                <a:gd name="T20" fmla="*/ 204 w 392"/>
                <a:gd name="T21" fmla="*/ 31 h 393"/>
                <a:gd name="T22" fmla="*/ 206 w 392"/>
                <a:gd name="T23" fmla="*/ 23 h 393"/>
                <a:gd name="T24" fmla="*/ 167 w 392"/>
                <a:gd name="T25" fmla="*/ 13 h 393"/>
                <a:gd name="T26" fmla="*/ 152 w 392"/>
                <a:gd name="T27" fmla="*/ 3 h 393"/>
                <a:gd name="T28" fmla="*/ 128 w 392"/>
                <a:gd name="T29" fmla="*/ 15 h 393"/>
                <a:gd name="T30" fmla="*/ 113 w 392"/>
                <a:gd name="T31" fmla="*/ 14 h 393"/>
                <a:gd name="T32" fmla="*/ 115 w 392"/>
                <a:gd name="T33" fmla="*/ 22 h 393"/>
                <a:gd name="T34" fmla="*/ 108 w 392"/>
                <a:gd name="T35" fmla="*/ 23 h 393"/>
                <a:gd name="T36" fmla="*/ 102 w 392"/>
                <a:gd name="T37" fmla="*/ 25 h 393"/>
                <a:gd name="T38" fmla="*/ 105 w 392"/>
                <a:gd name="T39" fmla="*/ 31 h 393"/>
                <a:gd name="T40" fmla="*/ 104 w 392"/>
                <a:gd name="T41" fmla="*/ 39 h 393"/>
                <a:gd name="T42" fmla="*/ 99 w 392"/>
                <a:gd name="T43" fmla="*/ 33 h 393"/>
                <a:gd name="T44" fmla="*/ 92 w 392"/>
                <a:gd name="T45" fmla="*/ 36 h 393"/>
                <a:gd name="T46" fmla="*/ 84 w 392"/>
                <a:gd name="T47" fmla="*/ 28 h 393"/>
                <a:gd name="T48" fmla="*/ 78 w 392"/>
                <a:gd name="T49" fmla="*/ 30 h 393"/>
                <a:gd name="T50" fmla="*/ 77 w 392"/>
                <a:gd name="T51" fmla="*/ 40 h 393"/>
                <a:gd name="T52" fmla="*/ 71 w 392"/>
                <a:gd name="T53" fmla="*/ 48 h 393"/>
                <a:gd name="T54" fmla="*/ 72 w 392"/>
                <a:gd name="T55" fmla="*/ 57 h 393"/>
                <a:gd name="T56" fmla="*/ 67 w 392"/>
                <a:gd name="T57" fmla="*/ 52 h 393"/>
                <a:gd name="T58" fmla="*/ 64 w 392"/>
                <a:gd name="T59" fmla="*/ 46 h 393"/>
                <a:gd name="T60" fmla="*/ 55 w 392"/>
                <a:gd name="T61" fmla="*/ 41 h 393"/>
                <a:gd name="T62" fmla="*/ 52 w 392"/>
                <a:gd name="T63" fmla="*/ 33 h 393"/>
                <a:gd name="T64" fmla="*/ 43 w 392"/>
                <a:gd name="T65" fmla="*/ 37 h 393"/>
                <a:gd name="T66" fmla="*/ 41 w 392"/>
                <a:gd name="T67" fmla="*/ 45 h 393"/>
                <a:gd name="T68" fmla="*/ 35 w 392"/>
                <a:gd name="T69" fmla="*/ 52 h 393"/>
                <a:gd name="T70" fmla="*/ 27 w 392"/>
                <a:gd name="T71" fmla="*/ 51 h 393"/>
                <a:gd name="T72" fmla="*/ 16 w 392"/>
                <a:gd name="T73" fmla="*/ 54 h 393"/>
                <a:gd name="T74" fmla="*/ 4 w 392"/>
                <a:gd name="T75" fmla="*/ 59 h 393"/>
                <a:gd name="T76" fmla="*/ 9 w 392"/>
                <a:gd name="T77" fmla="*/ 87 h 393"/>
                <a:gd name="T78" fmla="*/ 10 w 392"/>
                <a:gd name="T79" fmla="*/ 109 h 393"/>
                <a:gd name="T80" fmla="*/ 26 w 392"/>
                <a:gd name="T81" fmla="*/ 127 h 393"/>
                <a:gd name="T82" fmla="*/ 37 w 392"/>
                <a:gd name="T83" fmla="*/ 141 h 393"/>
                <a:gd name="T84" fmla="*/ 86 w 392"/>
                <a:gd name="T85" fmla="*/ 130 h 393"/>
                <a:gd name="T86" fmla="*/ 110 w 392"/>
                <a:gd name="T87" fmla="*/ 153 h 393"/>
                <a:gd name="T88" fmla="*/ 125 w 392"/>
                <a:gd name="T89" fmla="*/ 187 h 393"/>
                <a:gd name="T90" fmla="*/ 147 w 392"/>
                <a:gd name="T91" fmla="*/ 206 h 393"/>
                <a:gd name="T92" fmla="*/ 181 w 392"/>
                <a:gd name="T93" fmla="*/ 239 h 393"/>
                <a:gd name="T94" fmla="*/ 203 w 392"/>
                <a:gd name="T95" fmla="*/ 253 h 393"/>
                <a:gd name="T96" fmla="*/ 229 w 392"/>
                <a:gd name="T97" fmla="*/ 255 h 393"/>
                <a:gd name="T98" fmla="*/ 257 w 392"/>
                <a:gd name="T99" fmla="*/ 280 h 393"/>
                <a:gd name="T100" fmla="*/ 271 w 392"/>
                <a:gd name="T101" fmla="*/ 292 h 393"/>
                <a:gd name="T102" fmla="*/ 297 w 392"/>
                <a:gd name="T103" fmla="*/ 301 h 393"/>
                <a:gd name="T104" fmla="*/ 317 w 392"/>
                <a:gd name="T105" fmla="*/ 344 h 393"/>
                <a:gd name="T106" fmla="*/ 311 w 392"/>
                <a:gd name="T107" fmla="*/ 367 h 393"/>
                <a:gd name="T108" fmla="*/ 314 w 392"/>
                <a:gd name="T109" fmla="*/ 393 h 393"/>
                <a:gd name="T110" fmla="*/ 334 w 392"/>
                <a:gd name="T111" fmla="*/ 357 h 393"/>
                <a:gd name="T112" fmla="*/ 349 w 392"/>
                <a:gd name="T113" fmla="*/ 326 h 393"/>
                <a:gd name="T114" fmla="*/ 329 w 392"/>
                <a:gd name="T115" fmla="*/ 298 h 393"/>
                <a:gd name="T116" fmla="*/ 354 w 392"/>
                <a:gd name="T117" fmla="*/ 282 h 393"/>
                <a:gd name="T118" fmla="*/ 388 w 392"/>
                <a:gd name="T119" fmla="*/ 301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2" h="393">
                  <a:moveTo>
                    <a:pt x="390" y="282"/>
                  </a:moveTo>
                  <a:cubicBezTo>
                    <a:pt x="384" y="276"/>
                    <a:pt x="384" y="276"/>
                    <a:pt x="384" y="276"/>
                  </a:cubicBezTo>
                  <a:cubicBezTo>
                    <a:pt x="379" y="272"/>
                    <a:pt x="379" y="272"/>
                    <a:pt x="379" y="272"/>
                  </a:cubicBezTo>
                  <a:cubicBezTo>
                    <a:pt x="365" y="263"/>
                    <a:pt x="365" y="263"/>
                    <a:pt x="365" y="263"/>
                  </a:cubicBezTo>
                  <a:cubicBezTo>
                    <a:pt x="346" y="257"/>
                    <a:pt x="346" y="257"/>
                    <a:pt x="346" y="257"/>
                  </a:cubicBezTo>
                  <a:cubicBezTo>
                    <a:pt x="333" y="249"/>
                    <a:pt x="333" y="249"/>
                    <a:pt x="333" y="249"/>
                  </a:cubicBezTo>
                  <a:cubicBezTo>
                    <a:pt x="322" y="246"/>
                    <a:pt x="322" y="246"/>
                    <a:pt x="322" y="246"/>
                  </a:cubicBezTo>
                  <a:cubicBezTo>
                    <a:pt x="322" y="246"/>
                    <a:pt x="311" y="241"/>
                    <a:pt x="310" y="241"/>
                  </a:cubicBezTo>
                  <a:cubicBezTo>
                    <a:pt x="310" y="241"/>
                    <a:pt x="307" y="240"/>
                    <a:pt x="307" y="240"/>
                  </a:cubicBezTo>
                  <a:cubicBezTo>
                    <a:pt x="307" y="240"/>
                    <a:pt x="301" y="238"/>
                    <a:pt x="300" y="237"/>
                  </a:cubicBezTo>
                  <a:cubicBezTo>
                    <a:pt x="300" y="237"/>
                    <a:pt x="299" y="234"/>
                    <a:pt x="299" y="233"/>
                  </a:cubicBezTo>
                  <a:cubicBezTo>
                    <a:pt x="299" y="233"/>
                    <a:pt x="299" y="230"/>
                    <a:pt x="299" y="230"/>
                  </a:cubicBezTo>
                  <a:cubicBezTo>
                    <a:pt x="303" y="227"/>
                    <a:pt x="303" y="227"/>
                    <a:pt x="303" y="227"/>
                  </a:cubicBezTo>
                  <a:cubicBezTo>
                    <a:pt x="303" y="227"/>
                    <a:pt x="306" y="224"/>
                    <a:pt x="306" y="223"/>
                  </a:cubicBezTo>
                  <a:cubicBezTo>
                    <a:pt x="306" y="222"/>
                    <a:pt x="306" y="217"/>
                    <a:pt x="306" y="217"/>
                  </a:cubicBezTo>
                  <a:cubicBezTo>
                    <a:pt x="302" y="216"/>
                    <a:pt x="302" y="216"/>
                    <a:pt x="302" y="216"/>
                  </a:cubicBezTo>
                  <a:cubicBezTo>
                    <a:pt x="293" y="217"/>
                    <a:pt x="293" y="217"/>
                    <a:pt x="293" y="217"/>
                  </a:cubicBezTo>
                  <a:cubicBezTo>
                    <a:pt x="278" y="218"/>
                    <a:pt x="278" y="218"/>
                    <a:pt x="278" y="218"/>
                  </a:cubicBezTo>
                  <a:cubicBezTo>
                    <a:pt x="270" y="218"/>
                    <a:pt x="270" y="218"/>
                    <a:pt x="270" y="218"/>
                  </a:cubicBezTo>
                  <a:cubicBezTo>
                    <a:pt x="259" y="212"/>
                    <a:pt x="259" y="212"/>
                    <a:pt x="259" y="212"/>
                  </a:cubicBezTo>
                  <a:cubicBezTo>
                    <a:pt x="250" y="204"/>
                    <a:pt x="250" y="204"/>
                    <a:pt x="250" y="204"/>
                  </a:cubicBezTo>
                  <a:cubicBezTo>
                    <a:pt x="244" y="201"/>
                    <a:pt x="244" y="201"/>
                    <a:pt x="244" y="201"/>
                  </a:cubicBezTo>
                  <a:cubicBezTo>
                    <a:pt x="237" y="193"/>
                    <a:pt x="237" y="193"/>
                    <a:pt x="237" y="193"/>
                  </a:cubicBezTo>
                  <a:cubicBezTo>
                    <a:pt x="233" y="187"/>
                    <a:pt x="233" y="187"/>
                    <a:pt x="233" y="187"/>
                  </a:cubicBezTo>
                  <a:cubicBezTo>
                    <a:pt x="233" y="187"/>
                    <a:pt x="230" y="179"/>
                    <a:pt x="229" y="176"/>
                  </a:cubicBezTo>
                  <a:cubicBezTo>
                    <a:pt x="228" y="173"/>
                    <a:pt x="222" y="164"/>
                    <a:pt x="222" y="164"/>
                  </a:cubicBezTo>
                  <a:cubicBezTo>
                    <a:pt x="222" y="164"/>
                    <a:pt x="219" y="157"/>
                    <a:pt x="218" y="156"/>
                  </a:cubicBezTo>
                  <a:cubicBezTo>
                    <a:pt x="218" y="155"/>
                    <a:pt x="217" y="150"/>
                    <a:pt x="217" y="150"/>
                  </a:cubicBezTo>
                  <a:cubicBezTo>
                    <a:pt x="207" y="145"/>
                    <a:pt x="207" y="145"/>
                    <a:pt x="207" y="145"/>
                  </a:cubicBezTo>
                  <a:cubicBezTo>
                    <a:pt x="193" y="137"/>
                    <a:pt x="193" y="137"/>
                    <a:pt x="193" y="137"/>
                  </a:cubicBezTo>
                  <a:cubicBezTo>
                    <a:pt x="181" y="130"/>
                    <a:pt x="181" y="130"/>
                    <a:pt x="181" y="130"/>
                  </a:cubicBezTo>
                  <a:cubicBezTo>
                    <a:pt x="176" y="121"/>
                    <a:pt x="176" y="121"/>
                    <a:pt x="176" y="121"/>
                  </a:cubicBezTo>
                  <a:cubicBezTo>
                    <a:pt x="172" y="109"/>
                    <a:pt x="172" y="109"/>
                    <a:pt x="172" y="109"/>
                  </a:cubicBezTo>
                  <a:cubicBezTo>
                    <a:pt x="171" y="99"/>
                    <a:pt x="171" y="99"/>
                    <a:pt x="171" y="99"/>
                  </a:cubicBezTo>
                  <a:cubicBezTo>
                    <a:pt x="176" y="96"/>
                    <a:pt x="176" y="96"/>
                    <a:pt x="176" y="96"/>
                  </a:cubicBezTo>
                  <a:cubicBezTo>
                    <a:pt x="176" y="91"/>
                    <a:pt x="176" y="91"/>
                    <a:pt x="176" y="91"/>
                  </a:cubicBezTo>
                  <a:cubicBezTo>
                    <a:pt x="171" y="88"/>
                    <a:pt x="171" y="88"/>
                    <a:pt x="171" y="88"/>
                  </a:cubicBezTo>
                  <a:cubicBezTo>
                    <a:pt x="171" y="83"/>
                    <a:pt x="171" y="83"/>
                    <a:pt x="171" y="83"/>
                  </a:cubicBezTo>
                  <a:cubicBezTo>
                    <a:pt x="169" y="81"/>
                    <a:pt x="169" y="81"/>
                    <a:pt x="169" y="81"/>
                  </a:cubicBezTo>
                  <a:cubicBezTo>
                    <a:pt x="166" y="77"/>
                    <a:pt x="166" y="77"/>
                    <a:pt x="166" y="77"/>
                  </a:cubicBezTo>
                  <a:cubicBezTo>
                    <a:pt x="172" y="74"/>
                    <a:pt x="172" y="74"/>
                    <a:pt x="172" y="74"/>
                  </a:cubicBezTo>
                  <a:cubicBezTo>
                    <a:pt x="172" y="74"/>
                    <a:pt x="175" y="71"/>
                    <a:pt x="178" y="71"/>
                  </a:cubicBezTo>
                  <a:cubicBezTo>
                    <a:pt x="181" y="71"/>
                    <a:pt x="183" y="68"/>
                    <a:pt x="183" y="68"/>
                  </a:cubicBezTo>
                  <a:cubicBezTo>
                    <a:pt x="183" y="68"/>
                    <a:pt x="186" y="66"/>
                    <a:pt x="187" y="65"/>
                  </a:cubicBezTo>
                  <a:cubicBezTo>
                    <a:pt x="188" y="65"/>
                    <a:pt x="190" y="65"/>
                    <a:pt x="191" y="64"/>
                  </a:cubicBezTo>
                  <a:cubicBezTo>
                    <a:pt x="192" y="64"/>
                    <a:pt x="195" y="63"/>
                    <a:pt x="194" y="63"/>
                  </a:cubicBezTo>
                  <a:cubicBezTo>
                    <a:pt x="194" y="62"/>
                    <a:pt x="196" y="57"/>
                    <a:pt x="196" y="57"/>
                  </a:cubicBezTo>
                  <a:cubicBezTo>
                    <a:pt x="197" y="56"/>
                    <a:pt x="199" y="60"/>
                    <a:pt x="201" y="60"/>
                  </a:cubicBezTo>
                  <a:cubicBezTo>
                    <a:pt x="202" y="60"/>
                    <a:pt x="204" y="61"/>
                    <a:pt x="204" y="61"/>
                  </a:cubicBezTo>
                  <a:cubicBezTo>
                    <a:pt x="206" y="60"/>
                    <a:pt x="207" y="57"/>
                    <a:pt x="207" y="57"/>
                  </a:cubicBezTo>
                  <a:cubicBezTo>
                    <a:pt x="207" y="57"/>
                    <a:pt x="208" y="56"/>
                    <a:pt x="211" y="55"/>
                  </a:cubicBezTo>
                  <a:cubicBezTo>
                    <a:pt x="211" y="55"/>
                    <a:pt x="211" y="55"/>
                    <a:pt x="211" y="55"/>
                  </a:cubicBezTo>
                  <a:cubicBezTo>
                    <a:pt x="211" y="55"/>
                    <a:pt x="209" y="54"/>
                    <a:pt x="209" y="54"/>
                  </a:cubicBezTo>
                  <a:cubicBezTo>
                    <a:pt x="209" y="54"/>
                    <a:pt x="209" y="53"/>
                    <a:pt x="210" y="52"/>
                  </a:cubicBezTo>
                  <a:cubicBezTo>
                    <a:pt x="210" y="52"/>
                    <a:pt x="210" y="51"/>
                    <a:pt x="210" y="51"/>
                  </a:cubicBezTo>
                  <a:cubicBezTo>
                    <a:pt x="210" y="51"/>
                    <a:pt x="211" y="49"/>
                    <a:pt x="211" y="49"/>
                  </a:cubicBezTo>
                  <a:cubicBezTo>
                    <a:pt x="211" y="49"/>
                    <a:pt x="211" y="49"/>
                    <a:pt x="211" y="48"/>
                  </a:cubicBezTo>
                  <a:cubicBezTo>
                    <a:pt x="211" y="48"/>
                    <a:pt x="210" y="47"/>
                    <a:pt x="210" y="47"/>
                  </a:cubicBezTo>
                  <a:cubicBezTo>
                    <a:pt x="210" y="47"/>
                    <a:pt x="210" y="47"/>
                    <a:pt x="209" y="47"/>
                  </a:cubicBezTo>
                  <a:cubicBezTo>
                    <a:pt x="209" y="47"/>
                    <a:pt x="209" y="48"/>
                    <a:pt x="209" y="48"/>
                  </a:cubicBezTo>
                  <a:cubicBezTo>
                    <a:pt x="207" y="48"/>
                    <a:pt x="207" y="48"/>
                    <a:pt x="207" y="48"/>
                  </a:cubicBezTo>
                  <a:cubicBezTo>
                    <a:pt x="207" y="48"/>
                    <a:pt x="207" y="47"/>
                    <a:pt x="207" y="47"/>
                  </a:cubicBezTo>
                  <a:cubicBezTo>
                    <a:pt x="206" y="47"/>
                    <a:pt x="205" y="47"/>
                    <a:pt x="206" y="46"/>
                  </a:cubicBezTo>
                  <a:cubicBezTo>
                    <a:pt x="206" y="46"/>
                    <a:pt x="206" y="45"/>
                    <a:pt x="206" y="45"/>
                  </a:cubicBezTo>
                  <a:cubicBezTo>
                    <a:pt x="206" y="45"/>
                    <a:pt x="206" y="45"/>
                    <a:pt x="206" y="44"/>
                  </a:cubicBezTo>
                  <a:cubicBezTo>
                    <a:pt x="206" y="44"/>
                    <a:pt x="207" y="43"/>
                    <a:pt x="208" y="43"/>
                  </a:cubicBezTo>
                  <a:cubicBezTo>
                    <a:pt x="208" y="42"/>
                    <a:pt x="210" y="41"/>
                    <a:pt x="210" y="41"/>
                  </a:cubicBezTo>
                  <a:cubicBezTo>
                    <a:pt x="211" y="39"/>
                    <a:pt x="211" y="39"/>
                    <a:pt x="211" y="39"/>
                  </a:cubicBezTo>
                  <a:cubicBezTo>
                    <a:pt x="210" y="38"/>
                    <a:pt x="210" y="38"/>
                    <a:pt x="210" y="38"/>
                  </a:cubicBezTo>
                  <a:cubicBezTo>
                    <a:pt x="210" y="38"/>
                    <a:pt x="209" y="39"/>
                    <a:pt x="209" y="39"/>
                  </a:cubicBezTo>
                  <a:cubicBezTo>
                    <a:pt x="207" y="38"/>
                    <a:pt x="207" y="38"/>
                    <a:pt x="207" y="38"/>
                  </a:cubicBezTo>
                  <a:cubicBezTo>
                    <a:pt x="205" y="37"/>
                    <a:pt x="205" y="37"/>
                    <a:pt x="205" y="37"/>
                  </a:cubicBezTo>
                  <a:cubicBezTo>
                    <a:pt x="204" y="37"/>
                    <a:pt x="204" y="37"/>
                    <a:pt x="204" y="37"/>
                  </a:cubicBezTo>
                  <a:cubicBezTo>
                    <a:pt x="202" y="36"/>
                    <a:pt x="202" y="36"/>
                    <a:pt x="202" y="36"/>
                  </a:cubicBezTo>
                  <a:cubicBezTo>
                    <a:pt x="202" y="34"/>
                    <a:pt x="202" y="34"/>
                    <a:pt x="202" y="34"/>
                  </a:cubicBezTo>
                  <a:cubicBezTo>
                    <a:pt x="203" y="33"/>
                    <a:pt x="203" y="33"/>
                    <a:pt x="203" y="33"/>
                  </a:cubicBezTo>
                  <a:cubicBezTo>
                    <a:pt x="203" y="33"/>
                    <a:pt x="204" y="31"/>
                    <a:pt x="204" y="31"/>
                  </a:cubicBezTo>
                  <a:cubicBezTo>
                    <a:pt x="205" y="30"/>
                    <a:pt x="207" y="29"/>
                    <a:pt x="207" y="29"/>
                  </a:cubicBezTo>
                  <a:cubicBezTo>
                    <a:pt x="208" y="27"/>
                    <a:pt x="208" y="27"/>
                    <a:pt x="208" y="27"/>
                  </a:cubicBezTo>
                  <a:cubicBezTo>
                    <a:pt x="208" y="27"/>
                    <a:pt x="208" y="27"/>
                    <a:pt x="209" y="27"/>
                  </a:cubicBezTo>
                  <a:cubicBezTo>
                    <a:pt x="210" y="27"/>
                    <a:pt x="210" y="27"/>
                    <a:pt x="210" y="27"/>
                  </a:cubicBezTo>
                  <a:cubicBezTo>
                    <a:pt x="210" y="27"/>
                    <a:pt x="211" y="25"/>
                    <a:pt x="211" y="24"/>
                  </a:cubicBezTo>
                  <a:cubicBezTo>
                    <a:pt x="211" y="22"/>
                    <a:pt x="211" y="22"/>
                    <a:pt x="211" y="22"/>
                  </a:cubicBezTo>
                  <a:cubicBezTo>
                    <a:pt x="206" y="23"/>
                    <a:pt x="206" y="23"/>
                    <a:pt x="206" y="23"/>
                  </a:cubicBezTo>
                  <a:cubicBezTo>
                    <a:pt x="206" y="23"/>
                    <a:pt x="203" y="22"/>
                    <a:pt x="200" y="22"/>
                  </a:cubicBezTo>
                  <a:cubicBezTo>
                    <a:pt x="197" y="22"/>
                    <a:pt x="191" y="21"/>
                    <a:pt x="191" y="21"/>
                  </a:cubicBezTo>
                  <a:cubicBezTo>
                    <a:pt x="183" y="18"/>
                    <a:pt x="183" y="18"/>
                    <a:pt x="183" y="18"/>
                  </a:cubicBezTo>
                  <a:cubicBezTo>
                    <a:pt x="178" y="18"/>
                    <a:pt x="178" y="18"/>
                    <a:pt x="178" y="18"/>
                  </a:cubicBezTo>
                  <a:cubicBezTo>
                    <a:pt x="171" y="17"/>
                    <a:pt x="171" y="17"/>
                    <a:pt x="171" y="17"/>
                  </a:cubicBezTo>
                  <a:cubicBezTo>
                    <a:pt x="171" y="17"/>
                    <a:pt x="170" y="15"/>
                    <a:pt x="169" y="15"/>
                  </a:cubicBezTo>
                  <a:cubicBezTo>
                    <a:pt x="169" y="14"/>
                    <a:pt x="167" y="13"/>
                    <a:pt x="167" y="13"/>
                  </a:cubicBezTo>
                  <a:cubicBezTo>
                    <a:pt x="167" y="10"/>
                    <a:pt x="167" y="10"/>
                    <a:pt x="167" y="10"/>
                  </a:cubicBezTo>
                  <a:cubicBezTo>
                    <a:pt x="164" y="7"/>
                    <a:pt x="164" y="7"/>
                    <a:pt x="164" y="7"/>
                  </a:cubicBezTo>
                  <a:cubicBezTo>
                    <a:pt x="163" y="4"/>
                    <a:pt x="163" y="4"/>
                    <a:pt x="163" y="4"/>
                  </a:cubicBezTo>
                  <a:cubicBezTo>
                    <a:pt x="165" y="2"/>
                    <a:pt x="165" y="2"/>
                    <a:pt x="165" y="2"/>
                  </a:cubicBezTo>
                  <a:cubicBezTo>
                    <a:pt x="163" y="0"/>
                    <a:pt x="163" y="0"/>
                    <a:pt x="163" y="0"/>
                  </a:cubicBezTo>
                  <a:cubicBezTo>
                    <a:pt x="163" y="0"/>
                    <a:pt x="160" y="1"/>
                    <a:pt x="159" y="1"/>
                  </a:cubicBezTo>
                  <a:cubicBezTo>
                    <a:pt x="158" y="2"/>
                    <a:pt x="152" y="3"/>
                    <a:pt x="152" y="3"/>
                  </a:cubicBezTo>
                  <a:cubicBezTo>
                    <a:pt x="151" y="4"/>
                    <a:pt x="151" y="4"/>
                    <a:pt x="151" y="4"/>
                  </a:cubicBezTo>
                  <a:cubicBezTo>
                    <a:pt x="145" y="4"/>
                    <a:pt x="145" y="4"/>
                    <a:pt x="145" y="4"/>
                  </a:cubicBezTo>
                  <a:cubicBezTo>
                    <a:pt x="138" y="4"/>
                    <a:pt x="138" y="4"/>
                    <a:pt x="138" y="4"/>
                  </a:cubicBezTo>
                  <a:cubicBezTo>
                    <a:pt x="136" y="6"/>
                    <a:pt x="136" y="6"/>
                    <a:pt x="136" y="6"/>
                  </a:cubicBezTo>
                  <a:cubicBezTo>
                    <a:pt x="131" y="8"/>
                    <a:pt x="131" y="8"/>
                    <a:pt x="131" y="8"/>
                  </a:cubicBezTo>
                  <a:cubicBezTo>
                    <a:pt x="131" y="12"/>
                    <a:pt x="131" y="12"/>
                    <a:pt x="131" y="12"/>
                  </a:cubicBezTo>
                  <a:cubicBezTo>
                    <a:pt x="128" y="15"/>
                    <a:pt x="128" y="15"/>
                    <a:pt x="128" y="15"/>
                  </a:cubicBezTo>
                  <a:cubicBezTo>
                    <a:pt x="125" y="14"/>
                    <a:pt x="125" y="14"/>
                    <a:pt x="125" y="14"/>
                  </a:cubicBezTo>
                  <a:cubicBezTo>
                    <a:pt x="121" y="12"/>
                    <a:pt x="121" y="12"/>
                    <a:pt x="121" y="12"/>
                  </a:cubicBezTo>
                  <a:cubicBezTo>
                    <a:pt x="119" y="13"/>
                    <a:pt x="119" y="13"/>
                    <a:pt x="119" y="13"/>
                  </a:cubicBezTo>
                  <a:cubicBezTo>
                    <a:pt x="115" y="12"/>
                    <a:pt x="115" y="12"/>
                    <a:pt x="115" y="12"/>
                  </a:cubicBezTo>
                  <a:cubicBezTo>
                    <a:pt x="114" y="12"/>
                    <a:pt x="114" y="12"/>
                    <a:pt x="114" y="12"/>
                  </a:cubicBezTo>
                  <a:cubicBezTo>
                    <a:pt x="114" y="12"/>
                    <a:pt x="114" y="12"/>
                    <a:pt x="114" y="12"/>
                  </a:cubicBezTo>
                  <a:cubicBezTo>
                    <a:pt x="114" y="13"/>
                    <a:pt x="113" y="14"/>
                    <a:pt x="113" y="14"/>
                  </a:cubicBezTo>
                  <a:cubicBezTo>
                    <a:pt x="113" y="15"/>
                    <a:pt x="113" y="15"/>
                    <a:pt x="113" y="15"/>
                  </a:cubicBezTo>
                  <a:cubicBezTo>
                    <a:pt x="113" y="16"/>
                    <a:pt x="113" y="16"/>
                    <a:pt x="113" y="16"/>
                  </a:cubicBezTo>
                  <a:cubicBezTo>
                    <a:pt x="113" y="17"/>
                    <a:pt x="113" y="17"/>
                    <a:pt x="113" y="17"/>
                  </a:cubicBezTo>
                  <a:cubicBezTo>
                    <a:pt x="113" y="17"/>
                    <a:pt x="112" y="18"/>
                    <a:pt x="112" y="18"/>
                  </a:cubicBezTo>
                  <a:cubicBezTo>
                    <a:pt x="111" y="19"/>
                    <a:pt x="112" y="20"/>
                    <a:pt x="112" y="20"/>
                  </a:cubicBezTo>
                  <a:cubicBezTo>
                    <a:pt x="112" y="20"/>
                    <a:pt x="113" y="21"/>
                    <a:pt x="115" y="22"/>
                  </a:cubicBezTo>
                  <a:cubicBezTo>
                    <a:pt x="116" y="22"/>
                    <a:pt x="115" y="22"/>
                    <a:pt x="115" y="22"/>
                  </a:cubicBezTo>
                  <a:cubicBezTo>
                    <a:pt x="115" y="23"/>
                    <a:pt x="115" y="23"/>
                    <a:pt x="115" y="24"/>
                  </a:cubicBezTo>
                  <a:cubicBezTo>
                    <a:pt x="114" y="24"/>
                    <a:pt x="114" y="24"/>
                    <a:pt x="114" y="24"/>
                  </a:cubicBezTo>
                  <a:cubicBezTo>
                    <a:pt x="113" y="24"/>
                    <a:pt x="113" y="24"/>
                    <a:pt x="113" y="24"/>
                  </a:cubicBezTo>
                  <a:cubicBezTo>
                    <a:pt x="113" y="24"/>
                    <a:pt x="111" y="25"/>
                    <a:pt x="111" y="25"/>
                  </a:cubicBezTo>
                  <a:cubicBezTo>
                    <a:pt x="111" y="25"/>
                    <a:pt x="111" y="25"/>
                    <a:pt x="111" y="24"/>
                  </a:cubicBezTo>
                  <a:cubicBezTo>
                    <a:pt x="110" y="24"/>
                    <a:pt x="110" y="24"/>
                    <a:pt x="110" y="24"/>
                  </a:cubicBezTo>
                  <a:cubicBezTo>
                    <a:pt x="110" y="24"/>
                    <a:pt x="108" y="23"/>
                    <a:pt x="108" y="23"/>
                  </a:cubicBezTo>
                  <a:cubicBezTo>
                    <a:pt x="108" y="22"/>
                    <a:pt x="108" y="22"/>
                    <a:pt x="108" y="22"/>
                  </a:cubicBezTo>
                  <a:cubicBezTo>
                    <a:pt x="108" y="22"/>
                    <a:pt x="107" y="21"/>
                    <a:pt x="107" y="21"/>
                  </a:cubicBezTo>
                  <a:cubicBezTo>
                    <a:pt x="106" y="22"/>
                    <a:pt x="106" y="22"/>
                    <a:pt x="106" y="22"/>
                  </a:cubicBezTo>
                  <a:cubicBezTo>
                    <a:pt x="105" y="22"/>
                    <a:pt x="105" y="22"/>
                    <a:pt x="104" y="22"/>
                  </a:cubicBezTo>
                  <a:cubicBezTo>
                    <a:pt x="104" y="22"/>
                    <a:pt x="104" y="23"/>
                    <a:pt x="103" y="23"/>
                  </a:cubicBezTo>
                  <a:cubicBezTo>
                    <a:pt x="103" y="23"/>
                    <a:pt x="103" y="24"/>
                    <a:pt x="103" y="24"/>
                  </a:cubicBezTo>
                  <a:cubicBezTo>
                    <a:pt x="102" y="24"/>
                    <a:pt x="102" y="25"/>
                    <a:pt x="102" y="25"/>
                  </a:cubicBezTo>
                  <a:cubicBezTo>
                    <a:pt x="102" y="26"/>
                    <a:pt x="102" y="26"/>
                    <a:pt x="102" y="26"/>
                  </a:cubicBezTo>
                  <a:cubicBezTo>
                    <a:pt x="102" y="27"/>
                    <a:pt x="102" y="27"/>
                    <a:pt x="102" y="27"/>
                  </a:cubicBezTo>
                  <a:cubicBezTo>
                    <a:pt x="102" y="28"/>
                    <a:pt x="102" y="28"/>
                    <a:pt x="102" y="28"/>
                  </a:cubicBezTo>
                  <a:cubicBezTo>
                    <a:pt x="102" y="28"/>
                    <a:pt x="102" y="29"/>
                    <a:pt x="102" y="29"/>
                  </a:cubicBezTo>
                  <a:cubicBezTo>
                    <a:pt x="102" y="30"/>
                    <a:pt x="102" y="30"/>
                    <a:pt x="102" y="30"/>
                  </a:cubicBezTo>
                  <a:cubicBezTo>
                    <a:pt x="103" y="30"/>
                    <a:pt x="104" y="30"/>
                    <a:pt x="104" y="30"/>
                  </a:cubicBezTo>
                  <a:cubicBezTo>
                    <a:pt x="104" y="30"/>
                    <a:pt x="104" y="31"/>
                    <a:pt x="105" y="31"/>
                  </a:cubicBezTo>
                  <a:cubicBezTo>
                    <a:pt x="105" y="32"/>
                    <a:pt x="105" y="32"/>
                    <a:pt x="105" y="32"/>
                  </a:cubicBezTo>
                  <a:cubicBezTo>
                    <a:pt x="105" y="32"/>
                    <a:pt x="104" y="33"/>
                    <a:pt x="104" y="33"/>
                  </a:cubicBezTo>
                  <a:cubicBezTo>
                    <a:pt x="103" y="33"/>
                    <a:pt x="103" y="33"/>
                    <a:pt x="104" y="34"/>
                  </a:cubicBezTo>
                  <a:cubicBezTo>
                    <a:pt x="104" y="35"/>
                    <a:pt x="104" y="35"/>
                    <a:pt x="105" y="35"/>
                  </a:cubicBezTo>
                  <a:cubicBezTo>
                    <a:pt x="105" y="35"/>
                    <a:pt x="106" y="37"/>
                    <a:pt x="106" y="38"/>
                  </a:cubicBezTo>
                  <a:cubicBezTo>
                    <a:pt x="106" y="38"/>
                    <a:pt x="105" y="39"/>
                    <a:pt x="105" y="39"/>
                  </a:cubicBezTo>
                  <a:cubicBezTo>
                    <a:pt x="105" y="39"/>
                    <a:pt x="105" y="39"/>
                    <a:pt x="104" y="39"/>
                  </a:cubicBezTo>
                  <a:cubicBezTo>
                    <a:pt x="104" y="39"/>
                    <a:pt x="104" y="39"/>
                    <a:pt x="104" y="39"/>
                  </a:cubicBezTo>
                  <a:cubicBezTo>
                    <a:pt x="103" y="40"/>
                    <a:pt x="102" y="39"/>
                    <a:pt x="102" y="39"/>
                  </a:cubicBezTo>
                  <a:cubicBezTo>
                    <a:pt x="102" y="39"/>
                    <a:pt x="103" y="38"/>
                    <a:pt x="103" y="38"/>
                  </a:cubicBezTo>
                  <a:cubicBezTo>
                    <a:pt x="102" y="37"/>
                    <a:pt x="101" y="37"/>
                    <a:pt x="101" y="36"/>
                  </a:cubicBezTo>
                  <a:cubicBezTo>
                    <a:pt x="100" y="35"/>
                    <a:pt x="101" y="35"/>
                    <a:pt x="101" y="35"/>
                  </a:cubicBezTo>
                  <a:cubicBezTo>
                    <a:pt x="101" y="35"/>
                    <a:pt x="101" y="35"/>
                    <a:pt x="100" y="34"/>
                  </a:cubicBezTo>
                  <a:cubicBezTo>
                    <a:pt x="99" y="33"/>
                    <a:pt x="99" y="33"/>
                    <a:pt x="99" y="33"/>
                  </a:cubicBezTo>
                  <a:cubicBezTo>
                    <a:pt x="99" y="33"/>
                    <a:pt x="98" y="33"/>
                    <a:pt x="97" y="33"/>
                  </a:cubicBezTo>
                  <a:cubicBezTo>
                    <a:pt x="96" y="33"/>
                    <a:pt x="96" y="33"/>
                    <a:pt x="96" y="33"/>
                  </a:cubicBezTo>
                  <a:cubicBezTo>
                    <a:pt x="95" y="34"/>
                    <a:pt x="95" y="34"/>
                    <a:pt x="95" y="34"/>
                  </a:cubicBezTo>
                  <a:cubicBezTo>
                    <a:pt x="95" y="34"/>
                    <a:pt x="94" y="34"/>
                    <a:pt x="94" y="34"/>
                  </a:cubicBezTo>
                  <a:cubicBezTo>
                    <a:pt x="93" y="35"/>
                    <a:pt x="93" y="34"/>
                    <a:pt x="93" y="34"/>
                  </a:cubicBezTo>
                  <a:cubicBezTo>
                    <a:pt x="92" y="34"/>
                    <a:pt x="92" y="34"/>
                    <a:pt x="92" y="34"/>
                  </a:cubicBezTo>
                  <a:cubicBezTo>
                    <a:pt x="91" y="34"/>
                    <a:pt x="91" y="35"/>
                    <a:pt x="92" y="36"/>
                  </a:cubicBezTo>
                  <a:cubicBezTo>
                    <a:pt x="92" y="36"/>
                    <a:pt x="91" y="36"/>
                    <a:pt x="91" y="37"/>
                  </a:cubicBezTo>
                  <a:cubicBezTo>
                    <a:pt x="91" y="37"/>
                    <a:pt x="90" y="37"/>
                    <a:pt x="88" y="37"/>
                  </a:cubicBezTo>
                  <a:cubicBezTo>
                    <a:pt x="86" y="36"/>
                    <a:pt x="87" y="36"/>
                    <a:pt x="86" y="36"/>
                  </a:cubicBezTo>
                  <a:cubicBezTo>
                    <a:pt x="86" y="35"/>
                    <a:pt x="85" y="35"/>
                    <a:pt x="85" y="34"/>
                  </a:cubicBezTo>
                  <a:cubicBezTo>
                    <a:pt x="85" y="33"/>
                    <a:pt x="85" y="32"/>
                    <a:pt x="84" y="32"/>
                  </a:cubicBezTo>
                  <a:cubicBezTo>
                    <a:pt x="84" y="31"/>
                    <a:pt x="84" y="30"/>
                    <a:pt x="83" y="30"/>
                  </a:cubicBezTo>
                  <a:cubicBezTo>
                    <a:pt x="83" y="29"/>
                    <a:pt x="84" y="29"/>
                    <a:pt x="84" y="28"/>
                  </a:cubicBezTo>
                  <a:cubicBezTo>
                    <a:pt x="85" y="28"/>
                    <a:pt x="83" y="27"/>
                    <a:pt x="83" y="27"/>
                  </a:cubicBezTo>
                  <a:cubicBezTo>
                    <a:pt x="82" y="28"/>
                    <a:pt x="82" y="28"/>
                    <a:pt x="82" y="28"/>
                  </a:cubicBezTo>
                  <a:cubicBezTo>
                    <a:pt x="81" y="28"/>
                    <a:pt x="81" y="28"/>
                    <a:pt x="81" y="28"/>
                  </a:cubicBezTo>
                  <a:cubicBezTo>
                    <a:pt x="81" y="28"/>
                    <a:pt x="80" y="28"/>
                    <a:pt x="80" y="27"/>
                  </a:cubicBezTo>
                  <a:cubicBezTo>
                    <a:pt x="80" y="27"/>
                    <a:pt x="79" y="27"/>
                    <a:pt x="79" y="27"/>
                  </a:cubicBezTo>
                  <a:cubicBezTo>
                    <a:pt x="78" y="29"/>
                    <a:pt x="78" y="29"/>
                    <a:pt x="78" y="29"/>
                  </a:cubicBezTo>
                  <a:cubicBezTo>
                    <a:pt x="78" y="30"/>
                    <a:pt x="78" y="30"/>
                    <a:pt x="78" y="30"/>
                  </a:cubicBezTo>
                  <a:cubicBezTo>
                    <a:pt x="78" y="31"/>
                    <a:pt x="78" y="31"/>
                    <a:pt x="78" y="31"/>
                  </a:cubicBezTo>
                  <a:cubicBezTo>
                    <a:pt x="78" y="33"/>
                    <a:pt x="78" y="33"/>
                    <a:pt x="78" y="33"/>
                  </a:cubicBezTo>
                  <a:cubicBezTo>
                    <a:pt x="78" y="33"/>
                    <a:pt x="78" y="34"/>
                    <a:pt x="78" y="34"/>
                  </a:cubicBezTo>
                  <a:cubicBezTo>
                    <a:pt x="78" y="35"/>
                    <a:pt x="78" y="36"/>
                    <a:pt x="78" y="36"/>
                  </a:cubicBezTo>
                  <a:cubicBezTo>
                    <a:pt x="78" y="37"/>
                    <a:pt x="78" y="37"/>
                    <a:pt x="78" y="37"/>
                  </a:cubicBezTo>
                  <a:cubicBezTo>
                    <a:pt x="78" y="37"/>
                    <a:pt x="77" y="38"/>
                    <a:pt x="77" y="38"/>
                  </a:cubicBezTo>
                  <a:cubicBezTo>
                    <a:pt x="77" y="38"/>
                    <a:pt x="77" y="39"/>
                    <a:pt x="77" y="40"/>
                  </a:cubicBezTo>
                  <a:cubicBezTo>
                    <a:pt x="77" y="40"/>
                    <a:pt x="76" y="41"/>
                    <a:pt x="76" y="41"/>
                  </a:cubicBezTo>
                  <a:cubicBezTo>
                    <a:pt x="76" y="41"/>
                    <a:pt x="76" y="42"/>
                    <a:pt x="76" y="42"/>
                  </a:cubicBezTo>
                  <a:cubicBezTo>
                    <a:pt x="76" y="42"/>
                    <a:pt x="74" y="42"/>
                    <a:pt x="74" y="42"/>
                  </a:cubicBezTo>
                  <a:cubicBezTo>
                    <a:pt x="74" y="42"/>
                    <a:pt x="73" y="44"/>
                    <a:pt x="73" y="44"/>
                  </a:cubicBezTo>
                  <a:cubicBezTo>
                    <a:pt x="72" y="44"/>
                    <a:pt x="73" y="45"/>
                    <a:pt x="73" y="46"/>
                  </a:cubicBezTo>
                  <a:cubicBezTo>
                    <a:pt x="73" y="46"/>
                    <a:pt x="72" y="47"/>
                    <a:pt x="72" y="47"/>
                  </a:cubicBezTo>
                  <a:cubicBezTo>
                    <a:pt x="71" y="48"/>
                    <a:pt x="71" y="48"/>
                    <a:pt x="71" y="48"/>
                  </a:cubicBezTo>
                  <a:cubicBezTo>
                    <a:pt x="71" y="48"/>
                    <a:pt x="71" y="49"/>
                    <a:pt x="71" y="49"/>
                  </a:cubicBezTo>
                  <a:cubicBezTo>
                    <a:pt x="71" y="50"/>
                    <a:pt x="71" y="50"/>
                    <a:pt x="71" y="50"/>
                  </a:cubicBezTo>
                  <a:cubicBezTo>
                    <a:pt x="70" y="51"/>
                    <a:pt x="71" y="51"/>
                    <a:pt x="70" y="52"/>
                  </a:cubicBezTo>
                  <a:cubicBezTo>
                    <a:pt x="70" y="52"/>
                    <a:pt x="71" y="52"/>
                    <a:pt x="71" y="53"/>
                  </a:cubicBezTo>
                  <a:cubicBezTo>
                    <a:pt x="71" y="53"/>
                    <a:pt x="73" y="54"/>
                    <a:pt x="73" y="54"/>
                  </a:cubicBezTo>
                  <a:cubicBezTo>
                    <a:pt x="73" y="54"/>
                    <a:pt x="73" y="54"/>
                    <a:pt x="72" y="55"/>
                  </a:cubicBezTo>
                  <a:cubicBezTo>
                    <a:pt x="71" y="56"/>
                    <a:pt x="72" y="57"/>
                    <a:pt x="72" y="57"/>
                  </a:cubicBezTo>
                  <a:cubicBezTo>
                    <a:pt x="71" y="58"/>
                    <a:pt x="71" y="58"/>
                    <a:pt x="71" y="58"/>
                  </a:cubicBezTo>
                  <a:cubicBezTo>
                    <a:pt x="71" y="58"/>
                    <a:pt x="70" y="57"/>
                    <a:pt x="69" y="57"/>
                  </a:cubicBezTo>
                  <a:cubicBezTo>
                    <a:pt x="69" y="57"/>
                    <a:pt x="69" y="58"/>
                    <a:pt x="68" y="57"/>
                  </a:cubicBezTo>
                  <a:cubicBezTo>
                    <a:pt x="66" y="57"/>
                    <a:pt x="68" y="56"/>
                    <a:pt x="68" y="56"/>
                  </a:cubicBezTo>
                  <a:cubicBezTo>
                    <a:pt x="68" y="56"/>
                    <a:pt x="68" y="55"/>
                    <a:pt x="68" y="54"/>
                  </a:cubicBezTo>
                  <a:cubicBezTo>
                    <a:pt x="68" y="54"/>
                    <a:pt x="68" y="54"/>
                    <a:pt x="68" y="54"/>
                  </a:cubicBezTo>
                  <a:cubicBezTo>
                    <a:pt x="68" y="54"/>
                    <a:pt x="67" y="53"/>
                    <a:pt x="67" y="52"/>
                  </a:cubicBezTo>
                  <a:cubicBezTo>
                    <a:pt x="67" y="51"/>
                    <a:pt x="66" y="52"/>
                    <a:pt x="66" y="52"/>
                  </a:cubicBezTo>
                  <a:cubicBezTo>
                    <a:pt x="64" y="50"/>
                    <a:pt x="64" y="50"/>
                    <a:pt x="64" y="50"/>
                  </a:cubicBezTo>
                  <a:cubicBezTo>
                    <a:pt x="64" y="50"/>
                    <a:pt x="65" y="48"/>
                    <a:pt x="65" y="48"/>
                  </a:cubicBezTo>
                  <a:cubicBezTo>
                    <a:pt x="65" y="48"/>
                    <a:pt x="65" y="48"/>
                    <a:pt x="65" y="48"/>
                  </a:cubicBezTo>
                  <a:cubicBezTo>
                    <a:pt x="65" y="48"/>
                    <a:pt x="65" y="47"/>
                    <a:pt x="66" y="47"/>
                  </a:cubicBezTo>
                  <a:cubicBezTo>
                    <a:pt x="66" y="46"/>
                    <a:pt x="65" y="46"/>
                    <a:pt x="65" y="46"/>
                  </a:cubicBezTo>
                  <a:cubicBezTo>
                    <a:pt x="64" y="46"/>
                    <a:pt x="64" y="46"/>
                    <a:pt x="64" y="46"/>
                  </a:cubicBezTo>
                  <a:cubicBezTo>
                    <a:pt x="63" y="45"/>
                    <a:pt x="63" y="45"/>
                    <a:pt x="63" y="45"/>
                  </a:cubicBezTo>
                  <a:cubicBezTo>
                    <a:pt x="63" y="45"/>
                    <a:pt x="62" y="46"/>
                    <a:pt x="62" y="46"/>
                  </a:cubicBezTo>
                  <a:cubicBezTo>
                    <a:pt x="61" y="46"/>
                    <a:pt x="60" y="45"/>
                    <a:pt x="60" y="45"/>
                  </a:cubicBezTo>
                  <a:cubicBezTo>
                    <a:pt x="60" y="44"/>
                    <a:pt x="59" y="45"/>
                    <a:pt x="58" y="44"/>
                  </a:cubicBezTo>
                  <a:cubicBezTo>
                    <a:pt x="58" y="44"/>
                    <a:pt x="57" y="44"/>
                    <a:pt x="57" y="44"/>
                  </a:cubicBezTo>
                  <a:cubicBezTo>
                    <a:pt x="57" y="44"/>
                    <a:pt x="56" y="43"/>
                    <a:pt x="56" y="43"/>
                  </a:cubicBezTo>
                  <a:cubicBezTo>
                    <a:pt x="56" y="42"/>
                    <a:pt x="55" y="41"/>
                    <a:pt x="55" y="41"/>
                  </a:cubicBezTo>
                  <a:cubicBezTo>
                    <a:pt x="54" y="41"/>
                    <a:pt x="54" y="41"/>
                    <a:pt x="54" y="41"/>
                  </a:cubicBezTo>
                  <a:cubicBezTo>
                    <a:pt x="54" y="41"/>
                    <a:pt x="53" y="40"/>
                    <a:pt x="52" y="40"/>
                  </a:cubicBezTo>
                  <a:cubicBezTo>
                    <a:pt x="52" y="40"/>
                    <a:pt x="53" y="39"/>
                    <a:pt x="53" y="39"/>
                  </a:cubicBezTo>
                  <a:cubicBezTo>
                    <a:pt x="52" y="38"/>
                    <a:pt x="52" y="38"/>
                    <a:pt x="52" y="38"/>
                  </a:cubicBezTo>
                  <a:cubicBezTo>
                    <a:pt x="52" y="38"/>
                    <a:pt x="52" y="37"/>
                    <a:pt x="52" y="37"/>
                  </a:cubicBezTo>
                  <a:cubicBezTo>
                    <a:pt x="52" y="36"/>
                    <a:pt x="52" y="35"/>
                    <a:pt x="52" y="35"/>
                  </a:cubicBezTo>
                  <a:cubicBezTo>
                    <a:pt x="52" y="35"/>
                    <a:pt x="52" y="33"/>
                    <a:pt x="52" y="33"/>
                  </a:cubicBezTo>
                  <a:cubicBezTo>
                    <a:pt x="52" y="32"/>
                    <a:pt x="52" y="30"/>
                    <a:pt x="52" y="30"/>
                  </a:cubicBezTo>
                  <a:cubicBezTo>
                    <a:pt x="52" y="30"/>
                    <a:pt x="49" y="31"/>
                    <a:pt x="48" y="31"/>
                  </a:cubicBezTo>
                  <a:cubicBezTo>
                    <a:pt x="47" y="32"/>
                    <a:pt x="48" y="32"/>
                    <a:pt x="48" y="32"/>
                  </a:cubicBezTo>
                  <a:cubicBezTo>
                    <a:pt x="48" y="32"/>
                    <a:pt x="48" y="34"/>
                    <a:pt x="47" y="34"/>
                  </a:cubicBezTo>
                  <a:cubicBezTo>
                    <a:pt x="47" y="34"/>
                    <a:pt x="46" y="34"/>
                    <a:pt x="46" y="34"/>
                  </a:cubicBezTo>
                  <a:cubicBezTo>
                    <a:pt x="46" y="34"/>
                    <a:pt x="45" y="35"/>
                    <a:pt x="45" y="36"/>
                  </a:cubicBezTo>
                  <a:cubicBezTo>
                    <a:pt x="44" y="36"/>
                    <a:pt x="44" y="36"/>
                    <a:pt x="43" y="37"/>
                  </a:cubicBezTo>
                  <a:cubicBezTo>
                    <a:pt x="43" y="37"/>
                    <a:pt x="42" y="37"/>
                    <a:pt x="42" y="37"/>
                  </a:cubicBezTo>
                  <a:cubicBezTo>
                    <a:pt x="41" y="38"/>
                    <a:pt x="41" y="38"/>
                    <a:pt x="41" y="38"/>
                  </a:cubicBezTo>
                  <a:cubicBezTo>
                    <a:pt x="42" y="39"/>
                    <a:pt x="42" y="39"/>
                    <a:pt x="42" y="39"/>
                  </a:cubicBezTo>
                  <a:cubicBezTo>
                    <a:pt x="43" y="41"/>
                    <a:pt x="43" y="41"/>
                    <a:pt x="43" y="41"/>
                  </a:cubicBezTo>
                  <a:cubicBezTo>
                    <a:pt x="42" y="43"/>
                    <a:pt x="42" y="43"/>
                    <a:pt x="42" y="43"/>
                  </a:cubicBezTo>
                  <a:cubicBezTo>
                    <a:pt x="42" y="43"/>
                    <a:pt x="42" y="43"/>
                    <a:pt x="42" y="44"/>
                  </a:cubicBezTo>
                  <a:cubicBezTo>
                    <a:pt x="41" y="45"/>
                    <a:pt x="41" y="45"/>
                    <a:pt x="41" y="45"/>
                  </a:cubicBezTo>
                  <a:cubicBezTo>
                    <a:pt x="40" y="46"/>
                    <a:pt x="40" y="46"/>
                    <a:pt x="40" y="46"/>
                  </a:cubicBezTo>
                  <a:cubicBezTo>
                    <a:pt x="39" y="47"/>
                    <a:pt x="39" y="47"/>
                    <a:pt x="39" y="47"/>
                  </a:cubicBezTo>
                  <a:cubicBezTo>
                    <a:pt x="39" y="47"/>
                    <a:pt x="39" y="48"/>
                    <a:pt x="39" y="48"/>
                  </a:cubicBezTo>
                  <a:cubicBezTo>
                    <a:pt x="39" y="49"/>
                    <a:pt x="39" y="49"/>
                    <a:pt x="39" y="50"/>
                  </a:cubicBezTo>
                  <a:cubicBezTo>
                    <a:pt x="38" y="51"/>
                    <a:pt x="38" y="51"/>
                    <a:pt x="38" y="51"/>
                  </a:cubicBezTo>
                  <a:cubicBezTo>
                    <a:pt x="38" y="51"/>
                    <a:pt x="37" y="51"/>
                    <a:pt x="36" y="51"/>
                  </a:cubicBezTo>
                  <a:cubicBezTo>
                    <a:pt x="36" y="51"/>
                    <a:pt x="36" y="52"/>
                    <a:pt x="35" y="52"/>
                  </a:cubicBezTo>
                  <a:cubicBezTo>
                    <a:pt x="33" y="52"/>
                    <a:pt x="34" y="53"/>
                    <a:pt x="34" y="53"/>
                  </a:cubicBezTo>
                  <a:cubicBezTo>
                    <a:pt x="34" y="53"/>
                    <a:pt x="34" y="54"/>
                    <a:pt x="34" y="54"/>
                  </a:cubicBezTo>
                  <a:cubicBezTo>
                    <a:pt x="33" y="54"/>
                    <a:pt x="32" y="54"/>
                    <a:pt x="31" y="53"/>
                  </a:cubicBezTo>
                  <a:cubicBezTo>
                    <a:pt x="31" y="53"/>
                    <a:pt x="31" y="53"/>
                    <a:pt x="30" y="54"/>
                  </a:cubicBezTo>
                  <a:cubicBezTo>
                    <a:pt x="30" y="54"/>
                    <a:pt x="29" y="53"/>
                    <a:pt x="29" y="53"/>
                  </a:cubicBezTo>
                  <a:cubicBezTo>
                    <a:pt x="29" y="53"/>
                    <a:pt x="29" y="52"/>
                    <a:pt x="28" y="52"/>
                  </a:cubicBezTo>
                  <a:cubicBezTo>
                    <a:pt x="28" y="51"/>
                    <a:pt x="27" y="52"/>
                    <a:pt x="27" y="51"/>
                  </a:cubicBezTo>
                  <a:cubicBezTo>
                    <a:pt x="26" y="51"/>
                    <a:pt x="25" y="51"/>
                    <a:pt x="24" y="51"/>
                  </a:cubicBezTo>
                  <a:cubicBezTo>
                    <a:pt x="24" y="51"/>
                    <a:pt x="24" y="52"/>
                    <a:pt x="24" y="52"/>
                  </a:cubicBezTo>
                  <a:cubicBezTo>
                    <a:pt x="24" y="52"/>
                    <a:pt x="23" y="52"/>
                    <a:pt x="23" y="52"/>
                  </a:cubicBezTo>
                  <a:cubicBezTo>
                    <a:pt x="22" y="52"/>
                    <a:pt x="22" y="53"/>
                    <a:pt x="22" y="53"/>
                  </a:cubicBezTo>
                  <a:cubicBezTo>
                    <a:pt x="22" y="54"/>
                    <a:pt x="22" y="54"/>
                    <a:pt x="22" y="54"/>
                  </a:cubicBezTo>
                  <a:cubicBezTo>
                    <a:pt x="22" y="54"/>
                    <a:pt x="19" y="54"/>
                    <a:pt x="19" y="54"/>
                  </a:cubicBezTo>
                  <a:cubicBezTo>
                    <a:pt x="18" y="54"/>
                    <a:pt x="17" y="54"/>
                    <a:pt x="16" y="54"/>
                  </a:cubicBezTo>
                  <a:cubicBezTo>
                    <a:pt x="16" y="54"/>
                    <a:pt x="15" y="54"/>
                    <a:pt x="15" y="54"/>
                  </a:cubicBezTo>
                  <a:cubicBezTo>
                    <a:pt x="15" y="54"/>
                    <a:pt x="13" y="55"/>
                    <a:pt x="13" y="55"/>
                  </a:cubicBezTo>
                  <a:cubicBezTo>
                    <a:pt x="13" y="55"/>
                    <a:pt x="12" y="56"/>
                    <a:pt x="11" y="56"/>
                  </a:cubicBezTo>
                  <a:cubicBezTo>
                    <a:pt x="11" y="56"/>
                    <a:pt x="10" y="55"/>
                    <a:pt x="10" y="55"/>
                  </a:cubicBezTo>
                  <a:cubicBezTo>
                    <a:pt x="10" y="55"/>
                    <a:pt x="10" y="55"/>
                    <a:pt x="10" y="55"/>
                  </a:cubicBezTo>
                  <a:cubicBezTo>
                    <a:pt x="7" y="57"/>
                    <a:pt x="7" y="57"/>
                    <a:pt x="7" y="57"/>
                  </a:cubicBezTo>
                  <a:cubicBezTo>
                    <a:pt x="4" y="59"/>
                    <a:pt x="4" y="59"/>
                    <a:pt x="4" y="59"/>
                  </a:cubicBezTo>
                  <a:cubicBezTo>
                    <a:pt x="4" y="61"/>
                    <a:pt x="4" y="61"/>
                    <a:pt x="4" y="61"/>
                  </a:cubicBezTo>
                  <a:cubicBezTo>
                    <a:pt x="5" y="61"/>
                    <a:pt x="5" y="62"/>
                    <a:pt x="6" y="63"/>
                  </a:cubicBezTo>
                  <a:cubicBezTo>
                    <a:pt x="7" y="64"/>
                    <a:pt x="8" y="65"/>
                    <a:pt x="12" y="67"/>
                  </a:cubicBezTo>
                  <a:cubicBezTo>
                    <a:pt x="13" y="67"/>
                    <a:pt x="16" y="71"/>
                    <a:pt x="15" y="73"/>
                  </a:cubicBezTo>
                  <a:cubicBezTo>
                    <a:pt x="15" y="73"/>
                    <a:pt x="14" y="81"/>
                    <a:pt x="12" y="83"/>
                  </a:cubicBezTo>
                  <a:cubicBezTo>
                    <a:pt x="12" y="83"/>
                    <a:pt x="11" y="84"/>
                    <a:pt x="9" y="86"/>
                  </a:cubicBezTo>
                  <a:cubicBezTo>
                    <a:pt x="9" y="87"/>
                    <a:pt x="9" y="87"/>
                    <a:pt x="9" y="87"/>
                  </a:cubicBezTo>
                  <a:cubicBezTo>
                    <a:pt x="5" y="90"/>
                    <a:pt x="4" y="90"/>
                    <a:pt x="3" y="90"/>
                  </a:cubicBezTo>
                  <a:cubicBezTo>
                    <a:pt x="3" y="90"/>
                    <a:pt x="2" y="91"/>
                    <a:pt x="2" y="91"/>
                  </a:cubicBezTo>
                  <a:cubicBezTo>
                    <a:pt x="1" y="91"/>
                    <a:pt x="0" y="91"/>
                    <a:pt x="0" y="91"/>
                  </a:cubicBezTo>
                  <a:cubicBezTo>
                    <a:pt x="0" y="92"/>
                    <a:pt x="1" y="94"/>
                    <a:pt x="1" y="94"/>
                  </a:cubicBezTo>
                  <a:cubicBezTo>
                    <a:pt x="5" y="95"/>
                    <a:pt x="5" y="95"/>
                    <a:pt x="5" y="95"/>
                  </a:cubicBezTo>
                  <a:cubicBezTo>
                    <a:pt x="9" y="99"/>
                    <a:pt x="9" y="99"/>
                    <a:pt x="9" y="99"/>
                  </a:cubicBezTo>
                  <a:cubicBezTo>
                    <a:pt x="10" y="109"/>
                    <a:pt x="10" y="109"/>
                    <a:pt x="10" y="109"/>
                  </a:cubicBezTo>
                  <a:cubicBezTo>
                    <a:pt x="6" y="114"/>
                    <a:pt x="6" y="114"/>
                    <a:pt x="6" y="114"/>
                  </a:cubicBezTo>
                  <a:cubicBezTo>
                    <a:pt x="5" y="115"/>
                    <a:pt x="5" y="115"/>
                    <a:pt x="5" y="116"/>
                  </a:cubicBezTo>
                  <a:cubicBezTo>
                    <a:pt x="5" y="116"/>
                    <a:pt x="5" y="117"/>
                    <a:pt x="5" y="118"/>
                  </a:cubicBezTo>
                  <a:cubicBezTo>
                    <a:pt x="7" y="118"/>
                    <a:pt x="7" y="118"/>
                    <a:pt x="7" y="118"/>
                  </a:cubicBezTo>
                  <a:cubicBezTo>
                    <a:pt x="11" y="124"/>
                    <a:pt x="11" y="124"/>
                    <a:pt x="11" y="124"/>
                  </a:cubicBezTo>
                  <a:cubicBezTo>
                    <a:pt x="18" y="127"/>
                    <a:pt x="18" y="127"/>
                    <a:pt x="18" y="127"/>
                  </a:cubicBezTo>
                  <a:cubicBezTo>
                    <a:pt x="26" y="127"/>
                    <a:pt x="26" y="127"/>
                    <a:pt x="26" y="127"/>
                  </a:cubicBezTo>
                  <a:cubicBezTo>
                    <a:pt x="31" y="131"/>
                    <a:pt x="31" y="131"/>
                    <a:pt x="31" y="131"/>
                  </a:cubicBezTo>
                  <a:cubicBezTo>
                    <a:pt x="28" y="142"/>
                    <a:pt x="28" y="142"/>
                    <a:pt x="28" y="142"/>
                  </a:cubicBezTo>
                  <a:cubicBezTo>
                    <a:pt x="23" y="146"/>
                    <a:pt x="23" y="146"/>
                    <a:pt x="23" y="146"/>
                  </a:cubicBezTo>
                  <a:cubicBezTo>
                    <a:pt x="23" y="146"/>
                    <a:pt x="23" y="146"/>
                    <a:pt x="23" y="146"/>
                  </a:cubicBezTo>
                  <a:cubicBezTo>
                    <a:pt x="25" y="147"/>
                    <a:pt x="25" y="148"/>
                    <a:pt x="27" y="147"/>
                  </a:cubicBezTo>
                  <a:cubicBezTo>
                    <a:pt x="30" y="147"/>
                    <a:pt x="33" y="146"/>
                    <a:pt x="34" y="145"/>
                  </a:cubicBezTo>
                  <a:cubicBezTo>
                    <a:pt x="34" y="144"/>
                    <a:pt x="37" y="142"/>
                    <a:pt x="37" y="141"/>
                  </a:cubicBezTo>
                  <a:cubicBezTo>
                    <a:pt x="38" y="140"/>
                    <a:pt x="43" y="135"/>
                    <a:pt x="43" y="135"/>
                  </a:cubicBezTo>
                  <a:cubicBezTo>
                    <a:pt x="44" y="135"/>
                    <a:pt x="49" y="128"/>
                    <a:pt x="49" y="127"/>
                  </a:cubicBezTo>
                  <a:cubicBezTo>
                    <a:pt x="50" y="127"/>
                    <a:pt x="57" y="121"/>
                    <a:pt x="57" y="121"/>
                  </a:cubicBezTo>
                  <a:cubicBezTo>
                    <a:pt x="65" y="119"/>
                    <a:pt x="65" y="119"/>
                    <a:pt x="65" y="119"/>
                  </a:cubicBezTo>
                  <a:cubicBezTo>
                    <a:pt x="65" y="119"/>
                    <a:pt x="69" y="122"/>
                    <a:pt x="70" y="123"/>
                  </a:cubicBezTo>
                  <a:cubicBezTo>
                    <a:pt x="71" y="123"/>
                    <a:pt x="80" y="128"/>
                    <a:pt x="80" y="128"/>
                  </a:cubicBezTo>
                  <a:cubicBezTo>
                    <a:pt x="80" y="128"/>
                    <a:pt x="85" y="130"/>
                    <a:pt x="86" y="130"/>
                  </a:cubicBezTo>
                  <a:cubicBezTo>
                    <a:pt x="86" y="131"/>
                    <a:pt x="91" y="136"/>
                    <a:pt x="91" y="136"/>
                  </a:cubicBezTo>
                  <a:cubicBezTo>
                    <a:pt x="94" y="137"/>
                    <a:pt x="94" y="137"/>
                    <a:pt x="94" y="137"/>
                  </a:cubicBezTo>
                  <a:cubicBezTo>
                    <a:pt x="96" y="135"/>
                    <a:pt x="96" y="135"/>
                    <a:pt x="96" y="135"/>
                  </a:cubicBezTo>
                  <a:cubicBezTo>
                    <a:pt x="100" y="136"/>
                    <a:pt x="100" y="136"/>
                    <a:pt x="100" y="136"/>
                  </a:cubicBezTo>
                  <a:cubicBezTo>
                    <a:pt x="105" y="139"/>
                    <a:pt x="105" y="139"/>
                    <a:pt x="105" y="139"/>
                  </a:cubicBezTo>
                  <a:cubicBezTo>
                    <a:pt x="108" y="144"/>
                    <a:pt x="108" y="144"/>
                    <a:pt x="108" y="144"/>
                  </a:cubicBezTo>
                  <a:cubicBezTo>
                    <a:pt x="108" y="144"/>
                    <a:pt x="110" y="151"/>
                    <a:pt x="110" y="153"/>
                  </a:cubicBezTo>
                  <a:cubicBezTo>
                    <a:pt x="110" y="155"/>
                    <a:pt x="110" y="160"/>
                    <a:pt x="110" y="160"/>
                  </a:cubicBezTo>
                  <a:cubicBezTo>
                    <a:pt x="117" y="163"/>
                    <a:pt x="117" y="163"/>
                    <a:pt x="117" y="163"/>
                  </a:cubicBezTo>
                  <a:cubicBezTo>
                    <a:pt x="117" y="163"/>
                    <a:pt x="117" y="170"/>
                    <a:pt x="118" y="171"/>
                  </a:cubicBezTo>
                  <a:cubicBezTo>
                    <a:pt x="118" y="173"/>
                    <a:pt x="118" y="175"/>
                    <a:pt x="118" y="177"/>
                  </a:cubicBezTo>
                  <a:cubicBezTo>
                    <a:pt x="119" y="179"/>
                    <a:pt x="118" y="182"/>
                    <a:pt x="118" y="182"/>
                  </a:cubicBezTo>
                  <a:cubicBezTo>
                    <a:pt x="122" y="184"/>
                    <a:pt x="122" y="184"/>
                    <a:pt x="122" y="184"/>
                  </a:cubicBezTo>
                  <a:cubicBezTo>
                    <a:pt x="125" y="187"/>
                    <a:pt x="125" y="187"/>
                    <a:pt x="125" y="187"/>
                  </a:cubicBezTo>
                  <a:cubicBezTo>
                    <a:pt x="126" y="191"/>
                    <a:pt x="126" y="191"/>
                    <a:pt x="126" y="191"/>
                  </a:cubicBezTo>
                  <a:cubicBezTo>
                    <a:pt x="133" y="193"/>
                    <a:pt x="133" y="193"/>
                    <a:pt x="133" y="193"/>
                  </a:cubicBezTo>
                  <a:cubicBezTo>
                    <a:pt x="135" y="198"/>
                    <a:pt x="135" y="198"/>
                    <a:pt x="135" y="198"/>
                  </a:cubicBezTo>
                  <a:cubicBezTo>
                    <a:pt x="138" y="202"/>
                    <a:pt x="138" y="202"/>
                    <a:pt x="138" y="202"/>
                  </a:cubicBezTo>
                  <a:cubicBezTo>
                    <a:pt x="138" y="205"/>
                    <a:pt x="138" y="205"/>
                    <a:pt x="138" y="205"/>
                  </a:cubicBezTo>
                  <a:cubicBezTo>
                    <a:pt x="138" y="205"/>
                    <a:pt x="138" y="207"/>
                    <a:pt x="140" y="207"/>
                  </a:cubicBezTo>
                  <a:cubicBezTo>
                    <a:pt x="141" y="207"/>
                    <a:pt x="147" y="206"/>
                    <a:pt x="147" y="206"/>
                  </a:cubicBezTo>
                  <a:cubicBezTo>
                    <a:pt x="153" y="211"/>
                    <a:pt x="153" y="211"/>
                    <a:pt x="153" y="211"/>
                  </a:cubicBezTo>
                  <a:cubicBezTo>
                    <a:pt x="159" y="217"/>
                    <a:pt x="159" y="217"/>
                    <a:pt x="159" y="217"/>
                  </a:cubicBezTo>
                  <a:cubicBezTo>
                    <a:pt x="163" y="222"/>
                    <a:pt x="163" y="222"/>
                    <a:pt x="163" y="222"/>
                  </a:cubicBezTo>
                  <a:cubicBezTo>
                    <a:pt x="168" y="224"/>
                    <a:pt x="168" y="224"/>
                    <a:pt x="168" y="224"/>
                  </a:cubicBezTo>
                  <a:cubicBezTo>
                    <a:pt x="174" y="228"/>
                    <a:pt x="174" y="228"/>
                    <a:pt x="174" y="228"/>
                  </a:cubicBezTo>
                  <a:cubicBezTo>
                    <a:pt x="176" y="233"/>
                    <a:pt x="176" y="233"/>
                    <a:pt x="176" y="233"/>
                  </a:cubicBezTo>
                  <a:cubicBezTo>
                    <a:pt x="181" y="239"/>
                    <a:pt x="181" y="239"/>
                    <a:pt x="181" y="239"/>
                  </a:cubicBezTo>
                  <a:cubicBezTo>
                    <a:pt x="185" y="241"/>
                    <a:pt x="185" y="241"/>
                    <a:pt x="185" y="241"/>
                  </a:cubicBezTo>
                  <a:cubicBezTo>
                    <a:pt x="186" y="244"/>
                    <a:pt x="186" y="244"/>
                    <a:pt x="186" y="244"/>
                  </a:cubicBezTo>
                  <a:cubicBezTo>
                    <a:pt x="190" y="245"/>
                    <a:pt x="190" y="245"/>
                    <a:pt x="190" y="245"/>
                  </a:cubicBezTo>
                  <a:cubicBezTo>
                    <a:pt x="193" y="246"/>
                    <a:pt x="193" y="246"/>
                    <a:pt x="193" y="246"/>
                  </a:cubicBezTo>
                  <a:cubicBezTo>
                    <a:pt x="198" y="247"/>
                    <a:pt x="198" y="247"/>
                    <a:pt x="198" y="247"/>
                  </a:cubicBezTo>
                  <a:cubicBezTo>
                    <a:pt x="201" y="250"/>
                    <a:pt x="201" y="250"/>
                    <a:pt x="201" y="250"/>
                  </a:cubicBezTo>
                  <a:cubicBezTo>
                    <a:pt x="201" y="250"/>
                    <a:pt x="203" y="252"/>
                    <a:pt x="203" y="253"/>
                  </a:cubicBezTo>
                  <a:cubicBezTo>
                    <a:pt x="203" y="254"/>
                    <a:pt x="201" y="255"/>
                    <a:pt x="203" y="255"/>
                  </a:cubicBezTo>
                  <a:cubicBezTo>
                    <a:pt x="206" y="255"/>
                    <a:pt x="208" y="255"/>
                    <a:pt x="208" y="255"/>
                  </a:cubicBezTo>
                  <a:cubicBezTo>
                    <a:pt x="213" y="254"/>
                    <a:pt x="213" y="254"/>
                    <a:pt x="213" y="254"/>
                  </a:cubicBezTo>
                  <a:cubicBezTo>
                    <a:pt x="216" y="254"/>
                    <a:pt x="216" y="254"/>
                    <a:pt x="216" y="254"/>
                  </a:cubicBezTo>
                  <a:cubicBezTo>
                    <a:pt x="220" y="254"/>
                    <a:pt x="220" y="254"/>
                    <a:pt x="220" y="254"/>
                  </a:cubicBezTo>
                  <a:cubicBezTo>
                    <a:pt x="225" y="252"/>
                    <a:pt x="225" y="252"/>
                    <a:pt x="225" y="252"/>
                  </a:cubicBezTo>
                  <a:cubicBezTo>
                    <a:pt x="229" y="255"/>
                    <a:pt x="229" y="255"/>
                    <a:pt x="229" y="255"/>
                  </a:cubicBezTo>
                  <a:cubicBezTo>
                    <a:pt x="237" y="265"/>
                    <a:pt x="237" y="265"/>
                    <a:pt x="237" y="265"/>
                  </a:cubicBezTo>
                  <a:cubicBezTo>
                    <a:pt x="237" y="265"/>
                    <a:pt x="240" y="270"/>
                    <a:pt x="240" y="271"/>
                  </a:cubicBezTo>
                  <a:cubicBezTo>
                    <a:pt x="240" y="272"/>
                    <a:pt x="242" y="271"/>
                    <a:pt x="243" y="271"/>
                  </a:cubicBezTo>
                  <a:cubicBezTo>
                    <a:pt x="244" y="271"/>
                    <a:pt x="251" y="271"/>
                    <a:pt x="251" y="271"/>
                  </a:cubicBezTo>
                  <a:cubicBezTo>
                    <a:pt x="256" y="274"/>
                    <a:pt x="256" y="274"/>
                    <a:pt x="256" y="274"/>
                  </a:cubicBezTo>
                  <a:cubicBezTo>
                    <a:pt x="252" y="278"/>
                    <a:pt x="252" y="278"/>
                    <a:pt x="252" y="278"/>
                  </a:cubicBezTo>
                  <a:cubicBezTo>
                    <a:pt x="257" y="280"/>
                    <a:pt x="257" y="280"/>
                    <a:pt x="257" y="280"/>
                  </a:cubicBezTo>
                  <a:cubicBezTo>
                    <a:pt x="260" y="278"/>
                    <a:pt x="260" y="278"/>
                    <a:pt x="260" y="278"/>
                  </a:cubicBezTo>
                  <a:cubicBezTo>
                    <a:pt x="265" y="278"/>
                    <a:pt x="265" y="278"/>
                    <a:pt x="265" y="278"/>
                  </a:cubicBezTo>
                  <a:cubicBezTo>
                    <a:pt x="268" y="282"/>
                    <a:pt x="268" y="282"/>
                    <a:pt x="268" y="282"/>
                  </a:cubicBezTo>
                  <a:cubicBezTo>
                    <a:pt x="269" y="284"/>
                    <a:pt x="269" y="284"/>
                    <a:pt x="269" y="284"/>
                  </a:cubicBezTo>
                  <a:cubicBezTo>
                    <a:pt x="271" y="286"/>
                    <a:pt x="271" y="286"/>
                    <a:pt x="271" y="286"/>
                  </a:cubicBezTo>
                  <a:cubicBezTo>
                    <a:pt x="271" y="289"/>
                    <a:pt x="271" y="289"/>
                    <a:pt x="271" y="289"/>
                  </a:cubicBezTo>
                  <a:cubicBezTo>
                    <a:pt x="271" y="292"/>
                    <a:pt x="271" y="292"/>
                    <a:pt x="271" y="292"/>
                  </a:cubicBezTo>
                  <a:cubicBezTo>
                    <a:pt x="273" y="295"/>
                    <a:pt x="273" y="295"/>
                    <a:pt x="273" y="295"/>
                  </a:cubicBezTo>
                  <a:cubicBezTo>
                    <a:pt x="277" y="297"/>
                    <a:pt x="277" y="297"/>
                    <a:pt x="277" y="297"/>
                  </a:cubicBezTo>
                  <a:cubicBezTo>
                    <a:pt x="280" y="299"/>
                    <a:pt x="280" y="299"/>
                    <a:pt x="280" y="299"/>
                  </a:cubicBezTo>
                  <a:cubicBezTo>
                    <a:pt x="283" y="301"/>
                    <a:pt x="283" y="301"/>
                    <a:pt x="283" y="301"/>
                  </a:cubicBezTo>
                  <a:cubicBezTo>
                    <a:pt x="286" y="301"/>
                    <a:pt x="286" y="301"/>
                    <a:pt x="286" y="301"/>
                  </a:cubicBezTo>
                  <a:cubicBezTo>
                    <a:pt x="291" y="300"/>
                    <a:pt x="291" y="300"/>
                    <a:pt x="291" y="300"/>
                  </a:cubicBezTo>
                  <a:cubicBezTo>
                    <a:pt x="297" y="301"/>
                    <a:pt x="297" y="301"/>
                    <a:pt x="297" y="301"/>
                  </a:cubicBezTo>
                  <a:cubicBezTo>
                    <a:pt x="302" y="309"/>
                    <a:pt x="302" y="309"/>
                    <a:pt x="302" y="309"/>
                  </a:cubicBezTo>
                  <a:cubicBezTo>
                    <a:pt x="304" y="316"/>
                    <a:pt x="304" y="316"/>
                    <a:pt x="304" y="316"/>
                  </a:cubicBezTo>
                  <a:cubicBezTo>
                    <a:pt x="307" y="323"/>
                    <a:pt x="307" y="323"/>
                    <a:pt x="307" y="323"/>
                  </a:cubicBezTo>
                  <a:cubicBezTo>
                    <a:pt x="310" y="326"/>
                    <a:pt x="310" y="326"/>
                    <a:pt x="310" y="326"/>
                  </a:cubicBezTo>
                  <a:cubicBezTo>
                    <a:pt x="311" y="333"/>
                    <a:pt x="311" y="333"/>
                    <a:pt x="311" y="333"/>
                  </a:cubicBezTo>
                  <a:cubicBezTo>
                    <a:pt x="314" y="336"/>
                    <a:pt x="314" y="336"/>
                    <a:pt x="314" y="336"/>
                  </a:cubicBezTo>
                  <a:cubicBezTo>
                    <a:pt x="317" y="344"/>
                    <a:pt x="317" y="344"/>
                    <a:pt x="317" y="344"/>
                  </a:cubicBezTo>
                  <a:cubicBezTo>
                    <a:pt x="319" y="347"/>
                    <a:pt x="319" y="347"/>
                    <a:pt x="319" y="347"/>
                  </a:cubicBezTo>
                  <a:cubicBezTo>
                    <a:pt x="318" y="352"/>
                    <a:pt x="318" y="352"/>
                    <a:pt x="318" y="352"/>
                  </a:cubicBezTo>
                  <a:cubicBezTo>
                    <a:pt x="318" y="352"/>
                    <a:pt x="316" y="355"/>
                    <a:pt x="315" y="356"/>
                  </a:cubicBezTo>
                  <a:cubicBezTo>
                    <a:pt x="315" y="356"/>
                    <a:pt x="313" y="357"/>
                    <a:pt x="312" y="357"/>
                  </a:cubicBezTo>
                  <a:cubicBezTo>
                    <a:pt x="311" y="358"/>
                    <a:pt x="310" y="358"/>
                    <a:pt x="309" y="359"/>
                  </a:cubicBezTo>
                  <a:cubicBezTo>
                    <a:pt x="309" y="360"/>
                    <a:pt x="308" y="362"/>
                    <a:pt x="308" y="362"/>
                  </a:cubicBezTo>
                  <a:cubicBezTo>
                    <a:pt x="311" y="367"/>
                    <a:pt x="311" y="367"/>
                    <a:pt x="311" y="367"/>
                  </a:cubicBezTo>
                  <a:cubicBezTo>
                    <a:pt x="309" y="373"/>
                    <a:pt x="309" y="373"/>
                    <a:pt x="309" y="373"/>
                  </a:cubicBezTo>
                  <a:cubicBezTo>
                    <a:pt x="308" y="378"/>
                    <a:pt x="308" y="378"/>
                    <a:pt x="308" y="378"/>
                  </a:cubicBezTo>
                  <a:cubicBezTo>
                    <a:pt x="305" y="380"/>
                    <a:pt x="305" y="380"/>
                    <a:pt x="305" y="380"/>
                  </a:cubicBezTo>
                  <a:cubicBezTo>
                    <a:pt x="301" y="383"/>
                    <a:pt x="301" y="383"/>
                    <a:pt x="301" y="383"/>
                  </a:cubicBezTo>
                  <a:cubicBezTo>
                    <a:pt x="301" y="383"/>
                    <a:pt x="302" y="386"/>
                    <a:pt x="302" y="388"/>
                  </a:cubicBezTo>
                  <a:cubicBezTo>
                    <a:pt x="303" y="389"/>
                    <a:pt x="306" y="393"/>
                    <a:pt x="306" y="393"/>
                  </a:cubicBezTo>
                  <a:cubicBezTo>
                    <a:pt x="314" y="393"/>
                    <a:pt x="314" y="393"/>
                    <a:pt x="314" y="393"/>
                  </a:cubicBezTo>
                  <a:cubicBezTo>
                    <a:pt x="319" y="390"/>
                    <a:pt x="319" y="390"/>
                    <a:pt x="319" y="390"/>
                  </a:cubicBezTo>
                  <a:cubicBezTo>
                    <a:pt x="320" y="385"/>
                    <a:pt x="320" y="385"/>
                    <a:pt x="320" y="385"/>
                  </a:cubicBezTo>
                  <a:cubicBezTo>
                    <a:pt x="322" y="379"/>
                    <a:pt x="322" y="379"/>
                    <a:pt x="322" y="379"/>
                  </a:cubicBezTo>
                  <a:cubicBezTo>
                    <a:pt x="327" y="375"/>
                    <a:pt x="327" y="375"/>
                    <a:pt x="327" y="375"/>
                  </a:cubicBezTo>
                  <a:cubicBezTo>
                    <a:pt x="331" y="371"/>
                    <a:pt x="331" y="371"/>
                    <a:pt x="331" y="371"/>
                  </a:cubicBezTo>
                  <a:cubicBezTo>
                    <a:pt x="334" y="368"/>
                    <a:pt x="334" y="368"/>
                    <a:pt x="334" y="368"/>
                  </a:cubicBezTo>
                  <a:cubicBezTo>
                    <a:pt x="334" y="357"/>
                    <a:pt x="334" y="357"/>
                    <a:pt x="334" y="357"/>
                  </a:cubicBezTo>
                  <a:cubicBezTo>
                    <a:pt x="336" y="349"/>
                    <a:pt x="336" y="349"/>
                    <a:pt x="336" y="349"/>
                  </a:cubicBezTo>
                  <a:cubicBezTo>
                    <a:pt x="350" y="344"/>
                    <a:pt x="350" y="344"/>
                    <a:pt x="350" y="344"/>
                  </a:cubicBezTo>
                  <a:cubicBezTo>
                    <a:pt x="352" y="343"/>
                    <a:pt x="352" y="343"/>
                    <a:pt x="352" y="343"/>
                  </a:cubicBezTo>
                  <a:cubicBezTo>
                    <a:pt x="352" y="343"/>
                    <a:pt x="352" y="341"/>
                    <a:pt x="352" y="340"/>
                  </a:cubicBezTo>
                  <a:cubicBezTo>
                    <a:pt x="351" y="339"/>
                    <a:pt x="349" y="336"/>
                    <a:pt x="349" y="336"/>
                  </a:cubicBezTo>
                  <a:cubicBezTo>
                    <a:pt x="349" y="336"/>
                    <a:pt x="350" y="333"/>
                    <a:pt x="349" y="333"/>
                  </a:cubicBezTo>
                  <a:cubicBezTo>
                    <a:pt x="349" y="332"/>
                    <a:pt x="349" y="326"/>
                    <a:pt x="349" y="326"/>
                  </a:cubicBezTo>
                  <a:cubicBezTo>
                    <a:pt x="348" y="321"/>
                    <a:pt x="348" y="321"/>
                    <a:pt x="348" y="321"/>
                  </a:cubicBezTo>
                  <a:cubicBezTo>
                    <a:pt x="348" y="321"/>
                    <a:pt x="346" y="321"/>
                    <a:pt x="343" y="320"/>
                  </a:cubicBezTo>
                  <a:cubicBezTo>
                    <a:pt x="341" y="318"/>
                    <a:pt x="337" y="316"/>
                    <a:pt x="337" y="316"/>
                  </a:cubicBezTo>
                  <a:cubicBezTo>
                    <a:pt x="332" y="315"/>
                    <a:pt x="332" y="315"/>
                    <a:pt x="332" y="315"/>
                  </a:cubicBezTo>
                  <a:cubicBezTo>
                    <a:pt x="328" y="313"/>
                    <a:pt x="328" y="313"/>
                    <a:pt x="328" y="313"/>
                  </a:cubicBezTo>
                  <a:cubicBezTo>
                    <a:pt x="326" y="310"/>
                    <a:pt x="326" y="310"/>
                    <a:pt x="326" y="310"/>
                  </a:cubicBezTo>
                  <a:cubicBezTo>
                    <a:pt x="329" y="298"/>
                    <a:pt x="329" y="298"/>
                    <a:pt x="329" y="298"/>
                  </a:cubicBezTo>
                  <a:cubicBezTo>
                    <a:pt x="328" y="293"/>
                    <a:pt x="328" y="293"/>
                    <a:pt x="328" y="293"/>
                  </a:cubicBezTo>
                  <a:cubicBezTo>
                    <a:pt x="334" y="285"/>
                    <a:pt x="334" y="285"/>
                    <a:pt x="334" y="285"/>
                  </a:cubicBezTo>
                  <a:cubicBezTo>
                    <a:pt x="338" y="279"/>
                    <a:pt x="338" y="279"/>
                    <a:pt x="338" y="279"/>
                  </a:cubicBezTo>
                  <a:cubicBezTo>
                    <a:pt x="342" y="276"/>
                    <a:pt x="342" y="276"/>
                    <a:pt x="342" y="276"/>
                  </a:cubicBezTo>
                  <a:cubicBezTo>
                    <a:pt x="348" y="278"/>
                    <a:pt x="348" y="278"/>
                    <a:pt x="348" y="278"/>
                  </a:cubicBezTo>
                  <a:cubicBezTo>
                    <a:pt x="351" y="280"/>
                    <a:pt x="351" y="280"/>
                    <a:pt x="351" y="280"/>
                  </a:cubicBezTo>
                  <a:cubicBezTo>
                    <a:pt x="354" y="282"/>
                    <a:pt x="354" y="282"/>
                    <a:pt x="354" y="282"/>
                  </a:cubicBezTo>
                  <a:cubicBezTo>
                    <a:pt x="361" y="282"/>
                    <a:pt x="361" y="282"/>
                    <a:pt x="361" y="282"/>
                  </a:cubicBezTo>
                  <a:cubicBezTo>
                    <a:pt x="369" y="283"/>
                    <a:pt x="369" y="283"/>
                    <a:pt x="369" y="283"/>
                  </a:cubicBezTo>
                  <a:cubicBezTo>
                    <a:pt x="373" y="288"/>
                    <a:pt x="373" y="288"/>
                    <a:pt x="373" y="288"/>
                  </a:cubicBezTo>
                  <a:cubicBezTo>
                    <a:pt x="376" y="294"/>
                    <a:pt x="376" y="294"/>
                    <a:pt x="376" y="294"/>
                  </a:cubicBezTo>
                  <a:cubicBezTo>
                    <a:pt x="376" y="294"/>
                    <a:pt x="378" y="296"/>
                    <a:pt x="378" y="297"/>
                  </a:cubicBezTo>
                  <a:cubicBezTo>
                    <a:pt x="379" y="297"/>
                    <a:pt x="381" y="299"/>
                    <a:pt x="382" y="299"/>
                  </a:cubicBezTo>
                  <a:cubicBezTo>
                    <a:pt x="383" y="300"/>
                    <a:pt x="388" y="301"/>
                    <a:pt x="388" y="301"/>
                  </a:cubicBezTo>
                  <a:cubicBezTo>
                    <a:pt x="388" y="301"/>
                    <a:pt x="389" y="295"/>
                    <a:pt x="389" y="294"/>
                  </a:cubicBezTo>
                  <a:cubicBezTo>
                    <a:pt x="389" y="293"/>
                    <a:pt x="392" y="290"/>
                    <a:pt x="392" y="289"/>
                  </a:cubicBezTo>
                  <a:cubicBezTo>
                    <a:pt x="392" y="288"/>
                    <a:pt x="390" y="282"/>
                    <a:pt x="390" y="282"/>
                  </a:cubicBezTo>
                  <a:close/>
                </a:path>
              </a:pathLst>
            </a:custGeom>
            <a:solidFill>
              <a:schemeClr val="accent6">
                <a:lumMod val="75000"/>
              </a:schemeClr>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4" name="Freeform 119"/>
            <p:cNvSpPr>
              <a:spLocks/>
            </p:cNvSpPr>
            <p:nvPr/>
          </p:nvSpPr>
          <p:spPr bwMode="auto">
            <a:xfrm>
              <a:off x="3684973" y="4821125"/>
              <a:ext cx="1168314" cy="965374"/>
            </a:xfrm>
            <a:custGeom>
              <a:avLst/>
              <a:gdLst>
                <a:gd name="T0" fmla="*/ 375 w 403"/>
                <a:gd name="T1" fmla="*/ 125 h 353"/>
                <a:gd name="T2" fmla="*/ 355 w 403"/>
                <a:gd name="T3" fmla="*/ 117 h 353"/>
                <a:gd name="T4" fmla="*/ 342 w 403"/>
                <a:gd name="T5" fmla="*/ 112 h 353"/>
                <a:gd name="T6" fmla="*/ 341 w 403"/>
                <a:gd name="T7" fmla="*/ 110 h 353"/>
                <a:gd name="T8" fmla="*/ 320 w 403"/>
                <a:gd name="T9" fmla="*/ 95 h 353"/>
                <a:gd name="T10" fmla="*/ 256 w 403"/>
                <a:gd name="T11" fmla="*/ 76 h 353"/>
                <a:gd name="T12" fmla="*/ 226 w 403"/>
                <a:gd name="T13" fmla="*/ 58 h 353"/>
                <a:gd name="T14" fmla="*/ 105 w 403"/>
                <a:gd name="T15" fmla="*/ 21 h 353"/>
                <a:gd name="T16" fmla="*/ 29 w 403"/>
                <a:gd name="T17" fmla="*/ 14 h 353"/>
                <a:gd name="T18" fmla="*/ 6 w 403"/>
                <a:gd name="T19" fmla="*/ 33 h 353"/>
                <a:gd name="T20" fmla="*/ 6 w 403"/>
                <a:gd name="T21" fmla="*/ 62 h 353"/>
                <a:gd name="T22" fmla="*/ 11 w 403"/>
                <a:gd name="T23" fmla="*/ 69 h 353"/>
                <a:gd name="T24" fmla="*/ 24 w 403"/>
                <a:gd name="T25" fmla="*/ 68 h 353"/>
                <a:gd name="T26" fmla="*/ 28 w 403"/>
                <a:gd name="T27" fmla="*/ 75 h 353"/>
                <a:gd name="T28" fmla="*/ 28 w 403"/>
                <a:gd name="T29" fmla="*/ 82 h 353"/>
                <a:gd name="T30" fmla="*/ 36 w 403"/>
                <a:gd name="T31" fmla="*/ 82 h 353"/>
                <a:gd name="T32" fmla="*/ 44 w 403"/>
                <a:gd name="T33" fmla="*/ 87 h 353"/>
                <a:gd name="T34" fmla="*/ 51 w 403"/>
                <a:gd name="T35" fmla="*/ 87 h 353"/>
                <a:gd name="T36" fmla="*/ 61 w 403"/>
                <a:gd name="T37" fmla="*/ 83 h 353"/>
                <a:gd name="T38" fmla="*/ 70 w 403"/>
                <a:gd name="T39" fmla="*/ 86 h 353"/>
                <a:gd name="T40" fmla="*/ 78 w 403"/>
                <a:gd name="T41" fmla="*/ 91 h 353"/>
                <a:gd name="T42" fmla="*/ 76 w 403"/>
                <a:gd name="T43" fmla="*/ 98 h 353"/>
                <a:gd name="T44" fmla="*/ 85 w 403"/>
                <a:gd name="T45" fmla="*/ 105 h 353"/>
                <a:gd name="T46" fmla="*/ 78 w 403"/>
                <a:gd name="T47" fmla="*/ 115 h 353"/>
                <a:gd name="T48" fmla="*/ 67 w 403"/>
                <a:gd name="T49" fmla="*/ 120 h 353"/>
                <a:gd name="T50" fmla="*/ 57 w 403"/>
                <a:gd name="T51" fmla="*/ 126 h 353"/>
                <a:gd name="T52" fmla="*/ 57 w 403"/>
                <a:gd name="T53" fmla="*/ 136 h 353"/>
                <a:gd name="T54" fmla="*/ 56 w 403"/>
                <a:gd name="T55" fmla="*/ 146 h 353"/>
                <a:gd name="T56" fmla="*/ 53 w 403"/>
                <a:gd name="T57" fmla="*/ 157 h 353"/>
                <a:gd name="T58" fmla="*/ 45 w 403"/>
                <a:gd name="T59" fmla="*/ 161 h 353"/>
                <a:gd name="T60" fmla="*/ 47 w 403"/>
                <a:gd name="T61" fmla="*/ 172 h 353"/>
                <a:gd name="T62" fmla="*/ 42 w 403"/>
                <a:gd name="T63" fmla="*/ 179 h 353"/>
                <a:gd name="T64" fmla="*/ 36 w 403"/>
                <a:gd name="T65" fmla="*/ 183 h 353"/>
                <a:gd name="T66" fmla="*/ 27 w 403"/>
                <a:gd name="T67" fmla="*/ 181 h 353"/>
                <a:gd name="T68" fmla="*/ 24 w 403"/>
                <a:gd name="T69" fmla="*/ 185 h 353"/>
                <a:gd name="T70" fmla="*/ 27 w 403"/>
                <a:gd name="T71" fmla="*/ 193 h 353"/>
                <a:gd name="T72" fmla="*/ 28 w 403"/>
                <a:gd name="T73" fmla="*/ 202 h 353"/>
                <a:gd name="T74" fmla="*/ 33 w 403"/>
                <a:gd name="T75" fmla="*/ 207 h 353"/>
                <a:gd name="T76" fmla="*/ 31 w 403"/>
                <a:gd name="T77" fmla="*/ 216 h 353"/>
                <a:gd name="T78" fmla="*/ 23 w 403"/>
                <a:gd name="T79" fmla="*/ 221 h 353"/>
                <a:gd name="T80" fmla="*/ 18 w 403"/>
                <a:gd name="T81" fmla="*/ 231 h 353"/>
                <a:gd name="T82" fmla="*/ 19 w 403"/>
                <a:gd name="T83" fmla="*/ 239 h 353"/>
                <a:gd name="T84" fmla="*/ 26 w 403"/>
                <a:gd name="T85" fmla="*/ 247 h 353"/>
                <a:gd name="T86" fmla="*/ 22 w 403"/>
                <a:gd name="T87" fmla="*/ 254 h 353"/>
                <a:gd name="T88" fmla="*/ 12 w 403"/>
                <a:gd name="T89" fmla="*/ 258 h 353"/>
                <a:gd name="T90" fmla="*/ 2 w 403"/>
                <a:gd name="T91" fmla="*/ 268 h 353"/>
                <a:gd name="T92" fmla="*/ 1 w 403"/>
                <a:gd name="T93" fmla="*/ 280 h 353"/>
                <a:gd name="T94" fmla="*/ 33 w 403"/>
                <a:gd name="T95" fmla="*/ 309 h 353"/>
                <a:gd name="T96" fmla="*/ 63 w 403"/>
                <a:gd name="T97" fmla="*/ 348 h 353"/>
                <a:gd name="T98" fmla="*/ 140 w 403"/>
                <a:gd name="T99" fmla="*/ 339 h 353"/>
                <a:gd name="T100" fmla="*/ 196 w 403"/>
                <a:gd name="T101" fmla="*/ 332 h 353"/>
                <a:gd name="T102" fmla="*/ 246 w 403"/>
                <a:gd name="T103" fmla="*/ 296 h 353"/>
                <a:gd name="T104" fmla="*/ 281 w 403"/>
                <a:gd name="T105" fmla="*/ 216 h 353"/>
                <a:gd name="T106" fmla="*/ 348 w 403"/>
                <a:gd name="T107" fmla="*/ 167 h 353"/>
                <a:gd name="T108" fmla="*/ 398 w 403"/>
                <a:gd name="T109" fmla="*/ 121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3" h="353">
                  <a:moveTo>
                    <a:pt x="398" y="121"/>
                  </a:moveTo>
                  <a:cubicBezTo>
                    <a:pt x="397" y="122"/>
                    <a:pt x="397" y="122"/>
                    <a:pt x="397" y="122"/>
                  </a:cubicBezTo>
                  <a:cubicBezTo>
                    <a:pt x="396" y="122"/>
                    <a:pt x="396" y="122"/>
                    <a:pt x="396" y="122"/>
                  </a:cubicBezTo>
                  <a:cubicBezTo>
                    <a:pt x="394" y="122"/>
                    <a:pt x="392" y="122"/>
                    <a:pt x="390" y="122"/>
                  </a:cubicBezTo>
                  <a:cubicBezTo>
                    <a:pt x="383" y="122"/>
                    <a:pt x="383" y="122"/>
                    <a:pt x="383" y="122"/>
                  </a:cubicBezTo>
                  <a:cubicBezTo>
                    <a:pt x="376" y="125"/>
                    <a:pt x="376" y="125"/>
                    <a:pt x="376" y="125"/>
                  </a:cubicBezTo>
                  <a:cubicBezTo>
                    <a:pt x="375" y="125"/>
                    <a:pt x="375" y="125"/>
                    <a:pt x="375" y="125"/>
                  </a:cubicBezTo>
                  <a:cubicBezTo>
                    <a:pt x="374" y="125"/>
                    <a:pt x="374" y="125"/>
                    <a:pt x="374" y="125"/>
                  </a:cubicBezTo>
                  <a:cubicBezTo>
                    <a:pt x="374" y="124"/>
                    <a:pt x="374" y="124"/>
                    <a:pt x="374" y="124"/>
                  </a:cubicBezTo>
                  <a:cubicBezTo>
                    <a:pt x="367" y="119"/>
                    <a:pt x="367" y="119"/>
                    <a:pt x="367" y="119"/>
                  </a:cubicBezTo>
                  <a:cubicBezTo>
                    <a:pt x="361" y="121"/>
                    <a:pt x="361" y="121"/>
                    <a:pt x="361" y="121"/>
                  </a:cubicBezTo>
                  <a:cubicBezTo>
                    <a:pt x="360" y="121"/>
                    <a:pt x="360" y="121"/>
                    <a:pt x="360" y="121"/>
                  </a:cubicBezTo>
                  <a:cubicBezTo>
                    <a:pt x="358" y="120"/>
                    <a:pt x="357" y="119"/>
                    <a:pt x="356" y="118"/>
                  </a:cubicBezTo>
                  <a:cubicBezTo>
                    <a:pt x="356" y="118"/>
                    <a:pt x="355" y="117"/>
                    <a:pt x="355" y="117"/>
                  </a:cubicBezTo>
                  <a:cubicBezTo>
                    <a:pt x="342" y="115"/>
                    <a:pt x="342" y="115"/>
                    <a:pt x="342" y="115"/>
                  </a:cubicBezTo>
                  <a:cubicBezTo>
                    <a:pt x="343" y="113"/>
                    <a:pt x="343" y="113"/>
                    <a:pt x="343" y="113"/>
                  </a:cubicBezTo>
                  <a:cubicBezTo>
                    <a:pt x="343" y="113"/>
                    <a:pt x="343" y="113"/>
                    <a:pt x="343" y="113"/>
                  </a:cubicBezTo>
                  <a:cubicBezTo>
                    <a:pt x="343" y="113"/>
                    <a:pt x="342" y="113"/>
                    <a:pt x="342" y="113"/>
                  </a:cubicBezTo>
                  <a:cubicBezTo>
                    <a:pt x="342" y="113"/>
                    <a:pt x="342" y="113"/>
                    <a:pt x="342" y="113"/>
                  </a:cubicBezTo>
                  <a:cubicBezTo>
                    <a:pt x="342" y="113"/>
                    <a:pt x="342" y="113"/>
                    <a:pt x="342" y="113"/>
                  </a:cubicBezTo>
                  <a:cubicBezTo>
                    <a:pt x="342" y="113"/>
                    <a:pt x="342" y="113"/>
                    <a:pt x="342" y="112"/>
                  </a:cubicBezTo>
                  <a:cubicBezTo>
                    <a:pt x="342" y="112"/>
                    <a:pt x="341" y="112"/>
                    <a:pt x="341" y="112"/>
                  </a:cubicBezTo>
                  <a:cubicBezTo>
                    <a:pt x="341" y="112"/>
                    <a:pt x="341" y="112"/>
                    <a:pt x="341" y="112"/>
                  </a:cubicBezTo>
                  <a:cubicBezTo>
                    <a:pt x="341" y="111"/>
                    <a:pt x="341" y="111"/>
                    <a:pt x="341" y="111"/>
                  </a:cubicBezTo>
                  <a:cubicBezTo>
                    <a:pt x="341" y="111"/>
                    <a:pt x="341" y="111"/>
                    <a:pt x="341" y="111"/>
                  </a:cubicBezTo>
                  <a:cubicBezTo>
                    <a:pt x="341" y="111"/>
                    <a:pt x="341" y="111"/>
                    <a:pt x="341" y="111"/>
                  </a:cubicBezTo>
                  <a:cubicBezTo>
                    <a:pt x="341" y="110"/>
                    <a:pt x="341" y="110"/>
                    <a:pt x="341" y="110"/>
                  </a:cubicBezTo>
                  <a:cubicBezTo>
                    <a:pt x="341" y="110"/>
                    <a:pt x="341" y="110"/>
                    <a:pt x="341" y="110"/>
                  </a:cubicBezTo>
                  <a:cubicBezTo>
                    <a:pt x="342" y="110"/>
                    <a:pt x="342" y="110"/>
                    <a:pt x="342" y="110"/>
                  </a:cubicBezTo>
                  <a:cubicBezTo>
                    <a:pt x="342" y="109"/>
                    <a:pt x="342" y="109"/>
                    <a:pt x="342" y="109"/>
                  </a:cubicBezTo>
                  <a:cubicBezTo>
                    <a:pt x="341" y="109"/>
                    <a:pt x="341" y="109"/>
                    <a:pt x="341" y="109"/>
                  </a:cubicBezTo>
                  <a:cubicBezTo>
                    <a:pt x="341" y="110"/>
                    <a:pt x="341" y="110"/>
                    <a:pt x="341" y="110"/>
                  </a:cubicBezTo>
                  <a:cubicBezTo>
                    <a:pt x="340" y="110"/>
                    <a:pt x="339" y="109"/>
                    <a:pt x="339" y="108"/>
                  </a:cubicBezTo>
                  <a:cubicBezTo>
                    <a:pt x="339" y="106"/>
                    <a:pt x="338" y="105"/>
                    <a:pt x="338" y="104"/>
                  </a:cubicBezTo>
                  <a:cubicBezTo>
                    <a:pt x="335" y="102"/>
                    <a:pt x="325" y="98"/>
                    <a:pt x="320" y="95"/>
                  </a:cubicBezTo>
                  <a:cubicBezTo>
                    <a:pt x="316" y="100"/>
                    <a:pt x="316" y="100"/>
                    <a:pt x="316" y="100"/>
                  </a:cubicBezTo>
                  <a:cubicBezTo>
                    <a:pt x="306" y="98"/>
                    <a:pt x="306" y="98"/>
                    <a:pt x="306" y="98"/>
                  </a:cubicBezTo>
                  <a:cubicBezTo>
                    <a:pt x="294" y="98"/>
                    <a:pt x="294" y="98"/>
                    <a:pt x="294" y="98"/>
                  </a:cubicBezTo>
                  <a:cubicBezTo>
                    <a:pt x="285" y="91"/>
                    <a:pt x="285" y="91"/>
                    <a:pt x="285" y="91"/>
                  </a:cubicBezTo>
                  <a:cubicBezTo>
                    <a:pt x="283" y="90"/>
                    <a:pt x="273" y="86"/>
                    <a:pt x="272" y="85"/>
                  </a:cubicBezTo>
                  <a:cubicBezTo>
                    <a:pt x="271" y="84"/>
                    <a:pt x="267" y="80"/>
                    <a:pt x="266" y="79"/>
                  </a:cubicBezTo>
                  <a:cubicBezTo>
                    <a:pt x="256" y="76"/>
                    <a:pt x="256" y="76"/>
                    <a:pt x="256" y="76"/>
                  </a:cubicBezTo>
                  <a:cubicBezTo>
                    <a:pt x="256" y="75"/>
                    <a:pt x="256" y="75"/>
                    <a:pt x="256" y="75"/>
                  </a:cubicBezTo>
                  <a:cubicBezTo>
                    <a:pt x="255" y="75"/>
                    <a:pt x="251" y="67"/>
                    <a:pt x="250" y="64"/>
                  </a:cubicBezTo>
                  <a:cubicBezTo>
                    <a:pt x="250" y="63"/>
                    <a:pt x="249" y="62"/>
                    <a:pt x="247" y="61"/>
                  </a:cubicBezTo>
                  <a:cubicBezTo>
                    <a:pt x="243" y="60"/>
                    <a:pt x="243" y="60"/>
                    <a:pt x="243" y="60"/>
                  </a:cubicBezTo>
                  <a:cubicBezTo>
                    <a:pt x="245" y="58"/>
                    <a:pt x="245" y="58"/>
                    <a:pt x="245" y="58"/>
                  </a:cubicBezTo>
                  <a:cubicBezTo>
                    <a:pt x="244" y="58"/>
                    <a:pt x="243" y="58"/>
                    <a:pt x="243" y="58"/>
                  </a:cubicBezTo>
                  <a:cubicBezTo>
                    <a:pt x="239" y="54"/>
                    <a:pt x="230" y="59"/>
                    <a:pt x="226" y="58"/>
                  </a:cubicBezTo>
                  <a:cubicBezTo>
                    <a:pt x="223" y="57"/>
                    <a:pt x="216" y="50"/>
                    <a:pt x="210" y="50"/>
                  </a:cubicBezTo>
                  <a:cubicBezTo>
                    <a:pt x="210" y="50"/>
                    <a:pt x="200" y="52"/>
                    <a:pt x="199" y="51"/>
                  </a:cubicBezTo>
                  <a:cubicBezTo>
                    <a:pt x="199" y="51"/>
                    <a:pt x="191" y="45"/>
                    <a:pt x="188" y="43"/>
                  </a:cubicBezTo>
                  <a:cubicBezTo>
                    <a:pt x="185" y="40"/>
                    <a:pt x="179" y="40"/>
                    <a:pt x="178" y="40"/>
                  </a:cubicBezTo>
                  <a:cubicBezTo>
                    <a:pt x="178" y="40"/>
                    <a:pt x="160" y="43"/>
                    <a:pt x="159" y="43"/>
                  </a:cubicBezTo>
                  <a:cubicBezTo>
                    <a:pt x="159" y="42"/>
                    <a:pt x="130" y="28"/>
                    <a:pt x="130" y="28"/>
                  </a:cubicBezTo>
                  <a:cubicBezTo>
                    <a:pt x="121" y="25"/>
                    <a:pt x="113" y="22"/>
                    <a:pt x="105" y="21"/>
                  </a:cubicBezTo>
                  <a:cubicBezTo>
                    <a:pt x="96" y="19"/>
                    <a:pt x="86" y="17"/>
                    <a:pt x="77" y="15"/>
                  </a:cubicBezTo>
                  <a:cubicBezTo>
                    <a:pt x="66" y="12"/>
                    <a:pt x="71" y="8"/>
                    <a:pt x="62" y="3"/>
                  </a:cubicBezTo>
                  <a:cubicBezTo>
                    <a:pt x="60" y="2"/>
                    <a:pt x="58" y="1"/>
                    <a:pt x="55" y="1"/>
                  </a:cubicBezTo>
                  <a:cubicBezTo>
                    <a:pt x="51" y="0"/>
                    <a:pt x="50" y="5"/>
                    <a:pt x="48" y="4"/>
                  </a:cubicBezTo>
                  <a:cubicBezTo>
                    <a:pt x="48" y="6"/>
                    <a:pt x="39" y="3"/>
                    <a:pt x="38" y="7"/>
                  </a:cubicBezTo>
                  <a:cubicBezTo>
                    <a:pt x="38" y="10"/>
                    <a:pt x="36" y="10"/>
                    <a:pt x="35" y="12"/>
                  </a:cubicBezTo>
                  <a:cubicBezTo>
                    <a:pt x="34" y="13"/>
                    <a:pt x="30" y="13"/>
                    <a:pt x="29" y="14"/>
                  </a:cubicBezTo>
                  <a:cubicBezTo>
                    <a:pt x="21" y="13"/>
                    <a:pt x="21" y="11"/>
                    <a:pt x="18" y="12"/>
                  </a:cubicBezTo>
                  <a:cubicBezTo>
                    <a:pt x="17" y="13"/>
                    <a:pt x="14" y="12"/>
                    <a:pt x="12" y="14"/>
                  </a:cubicBezTo>
                  <a:cubicBezTo>
                    <a:pt x="10" y="16"/>
                    <a:pt x="8" y="18"/>
                    <a:pt x="5" y="19"/>
                  </a:cubicBezTo>
                  <a:cubicBezTo>
                    <a:pt x="5" y="19"/>
                    <a:pt x="3" y="19"/>
                    <a:pt x="3" y="22"/>
                  </a:cubicBezTo>
                  <a:cubicBezTo>
                    <a:pt x="3" y="24"/>
                    <a:pt x="2" y="27"/>
                    <a:pt x="2" y="27"/>
                  </a:cubicBezTo>
                  <a:cubicBezTo>
                    <a:pt x="5" y="28"/>
                    <a:pt x="5" y="28"/>
                    <a:pt x="5" y="28"/>
                  </a:cubicBezTo>
                  <a:cubicBezTo>
                    <a:pt x="6" y="33"/>
                    <a:pt x="6" y="33"/>
                    <a:pt x="6" y="33"/>
                  </a:cubicBezTo>
                  <a:cubicBezTo>
                    <a:pt x="11" y="35"/>
                    <a:pt x="11" y="35"/>
                    <a:pt x="11" y="35"/>
                  </a:cubicBezTo>
                  <a:cubicBezTo>
                    <a:pt x="6" y="39"/>
                    <a:pt x="4" y="38"/>
                    <a:pt x="5" y="43"/>
                  </a:cubicBezTo>
                  <a:cubicBezTo>
                    <a:pt x="5" y="45"/>
                    <a:pt x="14" y="38"/>
                    <a:pt x="15" y="40"/>
                  </a:cubicBezTo>
                  <a:cubicBezTo>
                    <a:pt x="16" y="43"/>
                    <a:pt x="9" y="47"/>
                    <a:pt x="9" y="50"/>
                  </a:cubicBezTo>
                  <a:cubicBezTo>
                    <a:pt x="11" y="52"/>
                    <a:pt x="11" y="52"/>
                    <a:pt x="11" y="52"/>
                  </a:cubicBezTo>
                  <a:cubicBezTo>
                    <a:pt x="9" y="59"/>
                    <a:pt x="9" y="59"/>
                    <a:pt x="9" y="59"/>
                  </a:cubicBezTo>
                  <a:cubicBezTo>
                    <a:pt x="6" y="62"/>
                    <a:pt x="6" y="62"/>
                    <a:pt x="6" y="62"/>
                  </a:cubicBezTo>
                  <a:cubicBezTo>
                    <a:pt x="3" y="69"/>
                    <a:pt x="3" y="69"/>
                    <a:pt x="3" y="69"/>
                  </a:cubicBezTo>
                  <a:cubicBezTo>
                    <a:pt x="4" y="73"/>
                    <a:pt x="4" y="73"/>
                    <a:pt x="4" y="73"/>
                  </a:cubicBezTo>
                  <a:cubicBezTo>
                    <a:pt x="5" y="73"/>
                    <a:pt x="6" y="72"/>
                    <a:pt x="6" y="72"/>
                  </a:cubicBezTo>
                  <a:cubicBezTo>
                    <a:pt x="6" y="72"/>
                    <a:pt x="7" y="71"/>
                    <a:pt x="7" y="71"/>
                  </a:cubicBezTo>
                  <a:cubicBezTo>
                    <a:pt x="8" y="71"/>
                    <a:pt x="9" y="71"/>
                    <a:pt x="9" y="71"/>
                  </a:cubicBezTo>
                  <a:cubicBezTo>
                    <a:pt x="9" y="71"/>
                    <a:pt x="11" y="70"/>
                    <a:pt x="11" y="70"/>
                  </a:cubicBezTo>
                  <a:cubicBezTo>
                    <a:pt x="11" y="69"/>
                    <a:pt x="11" y="69"/>
                    <a:pt x="11" y="69"/>
                  </a:cubicBezTo>
                  <a:cubicBezTo>
                    <a:pt x="13" y="68"/>
                    <a:pt x="13" y="68"/>
                    <a:pt x="13" y="68"/>
                  </a:cubicBezTo>
                  <a:cubicBezTo>
                    <a:pt x="14" y="69"/>
                    <a:pt x="14" y="69"/>
                    <a:pt x="14" y="69"/>
                  </a:cubicBezTo>
                  <a:cubicBezTo>
                    <a:pt x="14" y="69"/>
                    <a:pt x="15" y="68"/>
                    <a:pt x="15" y="68"/>
                  </a:cubicBezTo>
                  <a:cubicBezTo>
                    <a:pt x="15" y="68"/>
                    <a:pt x="18" y="68"/>
                    <a:pt x="18" y="68"/>
                  </a:cubicBezTo>
                  <a:cubicBezTo>
                    <a:pt x="18" y="68"/>
                    <a:pt x="19" y="68"/>
                    <a:pt x="20" y="69"/>
                  </a:cubicBezTo>
                  <a:cubicBezTo>
                    <a:pt x="20" y="69"/>
                    <a:pt x="21" y="69"/>
                    <a:pt x="22" y="69"/>
                  </a:cubicBezTo>
                  <a:cubicBezTo>
                    <a:pt x="22" y="69"/>
                    <a:pt x="24" y="68"/>
                    <a:pt x="24" y="68"/>
                  </a:cubicBezTo>
                  <a:cubicBezTo>
                    <a:pt x="27" y="67"/>
                    <a:pt x="27" y="67"/>
                    <a:pt x="27" y="67"/>
                  </a:cubicBezTo>
                  <a:cubicBezTo>
                    <a:pt x="28" y="69"/>
                    <a:pt x="28" y="69"/>
                    <a:pt x="28" y="69"/>
                  </a:cubicBezTo>
                  <a:cubicBezTo>
                    <a:pt x="28" y="69"/>
                    <a:pt x="28" y="70"/>
                    <a:pt x="28" y="70"/>
                  </a:cubicBezTo>
                  <a:cubicBezTo>
                    <a:pt x="28" y="71"/>
                    <a:pt x="28" y="71"/>
                    <a:pt x="29" y="71"/>
                  </a:cubicBezTo>
                  <a:cubicBezTo>
                    <a:pt x="29" y="71"/>
                    <a:pt x="30" y="71"/>
                    <a:pt x="30" y="71"/>
                  </a:cubicBezTo>
                  <a:cubicBezTo>
                    <a:pt x="30" y="72"/>
                    <a:pt x="30" y="74"/>
                    <a:pt x="30" y="74"/>
                  </a:cubicBezTo>
                  <a:cubicBezTo>
                    <a:pt x="28" y="75"/>
                    <a:pt x="28" y="75"/>
                    <a:pt x="28" y="75"/>
                  </a:cubicBezTo>
                  <a:cubicBezTo>
                    <a:pt x="28" y="75"/>
                    <a:pt x="26" y="75"/>
                    <a:pt x="26" y="76"/>
                  </a:cubicBezTo>
                  <a:cubicBezTo>
                    <a:pt x="26" y="76"/>
                    <a:pt x="25" y="77"/>
                    <a:pt x="25" y="77"/>
                  </a:cubicBezTo>
                  <a:cubicBezTo>
                    <a:pt x="25" y="77"/>
                    <a:pt x="24" y="78"/>
                    <a:pt x="24" y="78"/>
                  </a:cubicBezTo>
                  <a:cubicBezTo>
                    <a:pt x="25" y="79"/>
                    <a:pt x="26" y="80"/>
                    <a:pt x="26" y="80"/>
                  </a:cubicBezTo>
                  <a:cubicBezTo>
                    <a:pt x="25" y="81"/>
                    <a:pt x="25" y="81"/>
                    <a:pt x="25" y="81"/>
                  </a:cubicBezTo>
                  <a:cubicBezTo>
                    <a:pt x="25" y="81"/>
                    <a:pt x="25" y="82"/>
                    <a:pt x="26" y="82"/>
                  </a:cubicBezTo>
                  <a:cubicBezTo>
                    <a:pt x="27" y="83"/>
                    <a:pt x="27" y="83"/>
                    <a:pt x="28" y="82"/>
                  </a:cubicBezTo>
                  <a:cubicBezTo>
                    <a:pt x="30" y="82"/>
                    <a:pt x="31" y="81"/>
                    <a:pt x="31" y="81"/>
                  </a:cubicBezTo>
                  <a:cubicBezTo>
                    <a:pt x="31" y="81"/>
                    <a:pt x="32" y="82"/>
                    <a:pt x="32" y="81"/>
                  </a:cubicBezTo>
                  <a:cubicBezTo>
                    <a:pt x="33" y="81"/>
                    <a:pt x="35" y="80"/>
                    <a:pt x="35" y="80"/>
                  </a:cubicBezTo>
                  <a:cubicBezTo>
                    <a:pt x="35" y="80"/>
                    <a:pt x="35" y="79"/>
                    <a:pt x="35" y="79"/>
                  </a:cubicBezTo>
                  <a:cubicBezTo>
                    <a:pt x="35" y="79"/>
                    <a:pt x="35" y="81"/>
                    <a:pt x="35" y="81"/>
                  </a:cubicBezTo>
                  <a:cubicBezTo>
                    <a:pt x="35" y="81"/>
                    <a:pt x="34" y="82"/>
                    <a:pt x="35" y="82"/>
                  </a:cubicBezTo>
                  <a:cubicBezTo>
                    <a:pt x="35" y="83"/>
                    <a:pt x="36" y="82"/>
                    <a:pt x="36" y="82"/>
                  </a:cubicBezTo>
                  <a:cubicBezTo>
                    <a:pt x="37" y="82"/>
                    <a:pt x="37" y="82"/>
                    <a:pt x="37" y="82"/>
                  </a:cubicBezTo>
                  <a:cubicBezTo>
                    <a:pt x="39" y="82"/>
                    <a:pt x="39" y="82"/>
                    <a:pt x="39" y="82"/>
                  </a:cubicBezTo>
                  <a:cubicBezTo>
                    <a:pt x="39" y="82"/>
                    <a:pt x="41" y="81"/>
                    <a:pt x="41" y="81"/>
                  </a:cubicBezTo>
                  <a:cubicBezTo>
                    <a:pt x="41" y="82"/>
                    <a:pt x="42" y="82"/>
                    <a:pt x="42" y="82"/>
                  </a:cubicBezTo>
                  <a:cubicBezTo>
                    <a:pt x="42" y="83"/>
                    <a:pt x="45" y="84"/>
                    <a:pt x="45" y="84"/>
                  </a:cubicBezTo>
                  <a:cubicBezTo>
                    <a:pt x="44" y="85"/>
                    <a:pt x="44" y="85"/>
                    <a:pt x="44" y="85"/>
                  </a:cubicBezTo>
                  <a:cubicBezTo>
                    <a:pt x="44" y="85"/>
                    <a:pt x="43" y="87"/>
                    <a:pt x="44" y="87"/>
                  </a:cubicBezTo>
                  <a:cubicBezTo>
                    <a:pt x="44" y="87"/>
                    <a:pt x="45" y="86"/>
                    <a:pt x="45" y="86"/>
                  </a:cubicBezTo>
                  <a:cubicBezTo>
                    <a:pt x="45" y="86"/>
                    <a:pt x="46" y="85"/>
                    <a:pt x="46" y="85"/>
                  </a:cubicBezTo>
                  <a:cubicBezTo>
                    <a:pt x="46" y="85"/>
                    <a:pt x="47" y="85"/>
                    <a:pt x="47" y="85"/>
                  </a:cubicBezTo>
                  <a:cubicBezTo>
                    <a:pt x="47" y="85"/>
                    <a:pt x="48" y="86"/>
                    <a:pt x="48" y="86"/>
                  </a:cubicBezTo>
                  <a:cubicBezTo>
                    <a:pt x="48" y="86"/>
                    <a:pt x="49" y="88"/>
                    <a:pt x="49" y="88"/>
                  </a:cubicBezTo>
                  <a:cubicBezTo>
                    <a:pt x="49" y="88"/>
                    <a:pt x="50" y="87"/>
                    <a:pt x="50" y="87"/>
                  </a:cubicBezTo>
                  <a:cubicBezTo>
                    <a:pt x="50" y="87"/>
                    <a:pt x="51" y="87"/>
                    <a:pt x="51" y="87"/>
                  </a:cubicBezTo>
                  <a:cubicBezTo>
                    <a:pt x="52" y="87"/>
                    <a:pt x="52" y="87"/>
                    <a:pt x="52" y="87"/>
                  </a:cubicBezTo>
                  <a:cubicBezTo>
                    <a:pt x="53" y="87"/>
                    <a:pt x="56" y="87"/>
                    <a:pt x="56" y="87"/>
                  </a:cubicBezTo>
                  <a:cubicBezTo>
                    <a:pt x="57" y="86"/>
                    <a:pt x="57" y="86"/>
                    <a:pt x="57" y="86"/>
                  </a:cubicBezTo>
                  <a:cubicBezTo>
                    <a:pt x="58" y="84"/>
                    <a:pt x="58" y="84"/>
                    <a:pt x="58" y="84"/>
                  </a:cubicBezTo>
                  <a:cubicBezTo>
                    <a:pt x="58" y="83"/>
                    <a:pt x="58" y="83"/>
                    <a:pt x="58" y="83"/>
                  </a:cubicBezTo>
                  <a:cubicBezTo>
                    <a:pt x="58" y="83"/>
                    <a:pt x="60" y="82"/>
                    <a:pt x="60" y="82"/>
                  </a:cubicBezTo>
                  <a:cubicBezTo>
                    <a:pt x="60" y="82"/>
                    <a:pt x="61" y="82"/>
                    <a:pt x="61" y="83"/>
                  </a:cubicBezTo>
                  <a:cubicBezTo>
                    <a:pt x="61" y="83"/>
                    <a:pt x="63" y="85"/>
                    <a:pt x="63" y="85"/>
                  </a:cubicBezTo>
                  <a:cubicBezTo>
                    <a:pt x="63" y="85"/>
                    <a:pt x="64" y="84"/>
                    <a:pt x="64" y="84"/>
                  </a:cubicBezTo>
                  <a:cubicBezTo>
                    <a:pt x="65" y="85"/>
                    <a:pt x="65" y="84"/>
                    <a:pt x="66" y="85"/>
                  </a:cubicBezTo>
                  <a:cubicBezTo>
                    <a:pt x="66" y="86"/>
                    <a:pt x="66" y="86"/>
                    <a:pt x="66" y="86"/>
                  </a:cubicBezTo>
                  <a:cubicBezTo>
                    <a:pt x="67" y="86"/>
                    <a:pt x="67" y="86"/>
                    <a:pt x="68" y="87"/>
                  </a:cubicBezTo>
                  <a:cubicBezTo>
                    <a:pt x="68" y="87"/>
                    <a:pt x="70" y="87"/>
                    <a:pt x="70" y="87"/>
                  </a:cubicBezTo>
                  <a:cubicBezTo>
                    <a:pt x="70" y="86"/>
                    <a:pt x="70" y="86"/>
                    <a:pt x="70" y="86"/>
                  </a:cubicBezTo>
                  <a:cubicBezTo>
                    <a:pt x="70" y="86"/>
                    <a:pt x="70" y="85"/>
                    <a:pt x="71" y="85"/>
                  </a:cubicBezTo>
                  <a:cubicBezTo>
                    <a:pt x="72" y="86"/>
                    <a:pt x="72" y="87"/>
                    <a:pt x="72" y="87"/>
                  </a:cubicBezTo>
                  <a:cubicBezTo>
                    <a:pt x="72" y="87"/>
                    <a:pt x="73" y="88"/>
                    <a:pt x="73" y="88"/>
                  </a:cubicBezTo>
                  <a:cubicBezTo>
                    <a:pt x="73" y="88"/>
                    <a:pt x="76" y="88"/>
                    <a:pt x="76" y="88"/>
                  </a:cubicBezTo>
                  <a:cubicBezTo>
                    <a:pt x="76" y="88"/>
                    <a:pt x="77" y="88"/>
                    <a:pt x="77" y="88"/>
                  </a:cubicBezTo>
                  <a:cubicBezTo>
                    <a:pt x="78" y="88"/>
                    <a:pt x="78" y="89"/>
                    <a:pt x="78" y="89"/>
                  </a:cubicBezTo>
                  <a:cubicBezTo>
                    <a:pt x="78" y="89"/>
                    <a:pt x="78" y="90"/>
                    <a:pt x="78" y="91"/>
                  </a:cubicBezTo>
                  <a:cubicBezTo>
                    <a:pt x="77" y="91"/>
                    <a:pt x="77" y="91"/>
                    <a:pt x="77" y="91"/>
                  </a:cubicBezTo>
                  <a:cubicBezTo>
                    <a:pt x="78" y="92"/>
                    <a:pt x="79" y="93"/>
                    <a:pt x="79" y="93"/>
                  </a:cubicBezTo>
                  <a:cubicBezTo>
                    <a:pt x="79" y="93"/>
                    <a:pt x="78" y="94"/>
                    <a:pt x="78" y="94"/>
                  </a:cubicBezTo>
                  <a:cubicBezTo>
                    <a:pt x="78" y="95"/>
                    <a:pt x="77" y="96"/>
                    <a:pt x="77" y="96"/>
                  </a:cubicBezTo>
                  <a:cubicBezTo>
                    <a:pt x="77" y="97"/>
                    <a:pt x="77" y="97"/>
                    <a:pt x="77" y="97"/>
                  </a:cubicBezTo>
                  <a:cubicBezTo>
                    <a:pt x="76" y="97"/>
                    <a:pt x="76" y="97"/>
                    <a:pt x="76" y="97"/>
                  </a:cubicBezTo>
                  <a:cubicBezTo>
                    <a:pt x="76" y="98"/>
                    <a:pt x="76" y="98"/>
                    <a:pt x="76" y="98"/>
                  </a:cubicBezTo>
                  <a:cubicBezTo>
                    <a:pt x="76" y="98"/>
                    <a:pt x="76" y="99"/>
                    <a:pt x="76" y="99"/>
                  </a:cubicBezTo>
                  <a:cubicBezTo>
                    <a:pt x="76" y="99"/>
                    <a:pt x="76" y="101"/>
                    <a:pt x="76" y="101"/>
                  </a:cubicBezTo>
                  <a:cubicBezTo>
                    <a:pt x="77" y="102"/>
                    <a:pt x="77" y="102"/>
                    <a:pt x="77" y="102"/>
                  </a:cubicBezTo>
                  <a:cubicBezTo>
                    <a:pt x="77" y="102"/>
                    <a:pt x="78" y="101"/>
                    <a:pt x="79" y="101"/>
                  </a:cubicBezTo>
                  <a:cubicBezTo>
                    <a:pt x="79" y="101"/>
                    <a:pt x="81" y="101"/>
                    <a:pt x="81" y="101"/>
                  </a:cubicBezTo>
                  <a:cubicBezTo>
                    <a:pt x="81" y="101"/>
                    <a:pt x="83" y="103"/>
                    <a:pt x="83" y="103"/>
                  </a:cubicBezTo>
                  <a:cubicBezTo>
                    <a:pt x="83" y="103"/>
                    <a:pt x="85" y="105"/>
                    <a:pt x="85" y="105"/>
                  </a:cubicBezTo>
                  <a:cubicBezTo>
                    <a:pt x="87" y="107"/>
                    <a:pt x="87" y="107"/>
                    <a:pt x="87" y="107"/>
                  </a:cubicBezTo>
                  <a:cubicBezTo>
                    <a:pt x="85" y="108"/>
                    <a:pt x="85" y="108"/>
                    <a:pt x="85" y="108"/>
                  </a:cubicBezTo>
                  <a:cubicBezTo>
                    <a:pt x="83" y="111"/>
                    <a:pt x="83" y="111"/>
                    <a:pt x="83" y="111"/>
                  </a:cubicBezTo>
                  <a:cubicBezTo>
                    <a:pt x="82" y="112"/>
                    <a:pt x="82" y="112"/>
                    <a:pt x="82" y="112"/>
                  </a:cubicBezTo>
                  <a:cubicBezTo>
                    <a:pt x="82" y="112"/>
                    <a:pt x="81" y="113"/>
                    <a:pt x="81" y="113"/>
                  </a:cubicBezTo>
                  <a:cubicBezTo>
                    <a:pt x="81" y="114"/>
                    <a:pt x="79" y="115"/>
                    <a:pt x="79" y="115"/>
                  </a:cubicBezTo>
                  <a:cubicBezTo>
                    <a:pt x="78" y="115"/>
                    <a:pt x="78" y="115"/>
                    <a:pt x="78" y="115"/>
                  </a:cubicBezTo>
                  <a:cubicBezTo>
                    <a:pt x="76" y="116"/>
                    <a:pt x="76" y="116"/>
                    <a:pt x="76" y="116"/>
                  </a:cubicBezTo>
                  <a:cubicBezTo>
                    <a:pt x="75" y="117"/>
                    <a:pt x="75" y="117"/>
                    <a:pt x="75" y="117"/>
                  </a:cubicBezTo>
                  <a:cubicBezTo>
                    <a:pt x="73" y="119"/>
                    <a:pt x="73" y="119"/>
                    <a:pt x="73" y="119"/>
                  </a:cubicBezTo>
                  <a:cubicBezTo>
                    <a:pt x="72" y="119"/>
                    <a:pt x="72" y="119"/>
                    <a:pt x="72" y="119"/>
                  </a:cubicBezTo>
                  <a:cubicBezTo>
                    <a:pt x="70" y="120"/>
                    <a:pt x="70" y="120"/>
                    <a:pt x="70" y="120"/>
                  </a:cubicBezTo>
                  <a:cubicBezTo>
                    <a:pt x="69" y="119"/>
                    <a:pt x="69" y="119"/>
                    <a:pt x="69" y="119"/>
                  </a:cubicBezTo>
                  <a:cubicBezTo>
                    <a:pt x="67" y="120"/>
                    <a:pt x="67" y="120"/>
                    <a:pt x="67" y="120"/>
                  </a:cubicBezTo>
                  <a:cubicBezTo>
                    <a:pt x="66" y="121"/>
                    <a:pt x="66" y="121"/>
                    <a:pt x="66" y="121"/>
                  </a:cubicBezTo>
                  <a:cubicBezTo>
                    <a:pt x="64" y="122"/>
                    <a:pt x="64" y="122"/>
                    <a:pt x="64" y="122"/>
                  </a:cubicBezTo>
                  <a:cubicBezTo>
                    <a:pt x="63" y="125"/>
                    <a:pt x="63" y="125"/>
                    <a:pt x="63" y="125"/>
                  </a:cubicBezTo>
                  <a:cubicBezTo>
                    <a:pt x="63" y="125"/>
                    <a:pt x="61" y="125"/>
                    <a:pt x="61" y="125"/>
                  </a:cubicBezTo>
                  <a:cubicBezTo>
                    <a:pt x="60" y="126"/>
                    <a:pt x="59" y="126"/>
                    <a:pt x="59" y="126"/>
                  </a:cubicBezTo>
                  <a:cubicBezTo>
                    <a:pt x="58" y="126"/>
                    <a:pt x="58" y="126"/>
                    <a:pt x="58" y="126"/>
                  </a:cubicBezTo>
                  <a:cubicBezTo>
                    <a:pt x="57" y="126"/>
                    <a:pt x="57" y="126"/>
                    <a:pt x="57" y="126"/>
                  </a:cubicBezTo>
                  <a:cubicBezTo>
                    <a:pt x="57" y="128"/>
                    <a:pt x="57" y="128"/>
                    <a:pt x="57" y="128"/>
                  </a:cubicBezTo>
                  <a:cubicBezTo>
                    <a:pt x="58" y="128"/>
                    <a:pt x="58" y="128"/>
                    <a:pt x="58" y="128"/>
                  </a:cubicBezTo>
                  <a:cubicBezTo>
                    <a:pt x="58" y="128"/>
                    <a:pt x="58" y="129"/>
                    <a:pt x="57" y="130"/>
                  </a:cubicBezTo>
                  <a:cubicBezTo>
                    <a:pt x="57" y="130"/>
                    <a:pt x="58" y="132"/>
                    <a:pt x="58" y="132"/>
                  </a:cubicBezTo>
                  <a:cubicBezTo>
                    <a:pt x="59" y="133"/>
                    <a:pt x="59" y="133"/>
                    <a:pt x="59" y="133"/>
                  </a:cubicBezTo>
                  <a:cubicBezTo>
                    <a:pt x="59" y="133"/>
                    <a:pt x="59" y="135"/>
                    <a:pt x="59" y="135"/>
                  </a:cubicBezTo>
                  <a:cubicBezTo>
                    <a:pt x="58" y="135"/>
                    <a:pt x="57" y="136"/>
                    <a:pt x="57" y="136"/>
                  </a:cubicBezTo>
                  <a:cubicBezTo>
                    <a:pt x="57" y="137"/>
                    <a:pt x="57" y="137"/>
                    <a:pt x="57" y="137"/>
                  </a:cubicBezTo>
                  <a:cubicBezTo>
                    <a:pt x="57" y="139"/>
                    <a:pt x="57" y="139"/>
                    <a:pt x="57" y="139"/>
                  </a:cubicBezTo>
                  <a:cubicBezTo>
                    <a:pt x="57" y="139"/>
                    <a:pt x="57" y="141"/>
                    <a:pt x="57" y="141"/>
                  </a:cubicBezTo>
                  <a:cubicBezTo>
                    <a:pt x="57" y="142"/>
                    <a:pt x="56" y="143"/>
                    <a:pt x="56" y="143"/>
                  </a:cubicBezTo>
                  <a:cubicBezTo>
                    <a:pt x="55" y="144"/>
                    <a:pt x="55" y="144"/>
                    <a:pt x="55" y="144"/>
                  </a:cubicBezTo>
                  <a:cubicBezTo>
                    <a:pt x="55" y="145"/>
                    <a:pt x="55" y="145"/>
                    <a:pt x="55" y="145"/>
                  </a:cubicBezTo>
                  <a:cubicBezTo>
                    <a:pt x="56" y="146"/>
                    <a:pt x="56" y="146"/>
                    <a:pt x="56" y="146"/>
                  </a:cubicBezTo>
                  <a:cubicBezTo>
                    <a:pt x="55" y="149"/>
                    <a:pt x="55" y="149"/>
                    <a:pt x="55" y="149"/>
                  </a:cubicBezTo>
                  <a:cubicBezTo>
                    <a:pt x="53" y="150"/>
                    <a:pt x="53" y="150"/>
                    <a:pt x="53" y="150"/>
                  </a:cubicBezTo>
                  <a:cubicBezTo>
                    <a:pt x="53" y="152"/>
                    <a:pt x="53" y="152"/>
                    <a:pt x="53" y="152"/>
                  </a:cubicBezTo>
                  <a:cubicBezTo>
                    <a:pt x="54" y="153"/>
                    <a:pt x="54" y="153"/>
                    <a:pt x="54" y="153"/>
                  </a:cubicBezTo>
                  <a:cubicBezTo>
                    <a:pt x="54" y="155"/>
                    <a:pt x="54" y="155"/>
                    <a:pt x="54" y="155"/>
                  </a:cubicBezTo>
                  <a:cubicBezTo>
                    <a:pt x="54" y="156"/>
                    <a:pt x="54" y="156"/>
                    <a:pt x="54" y="156"/>
                  </a:cubicBezTo>
                  <a:cubicBezTo>
                    <a:pt x="53" y="157"/>
                    <a:pt x="53" y="157"/>
                    <a:pt x="53" y="157"/>
                  </a:cubicBezTo>
                  <a:cubicBezTo>
                    <a:pt x="52" y="157"/>
                    <a:pt x="52" y="157"/>
                    <a:pt x="52" y="157"/>
                  </a:cubicBezTo>
                  <a:cubicBezTo>
                    <a:pt x="51" y="159"/>
                    <a:pt x="51" y="159"/>
                    <a:pt x="51" y="159"/>
                  </a:cubicBezTo>
                  <a:cubicBezTo>
                    <a:pt x="49" y="159"/>
                    <a:pt x="49" y="159"/>
                    <a:pt x="49" y="159"/>
                  </a:cubicBezTo>
                  <a:cubicBezTo>
                    <a:pt x="48" y="159"/>
                    <a:pt x="48" y="159"/>
                    <a:pt x="48" y="159"/>
                  </a:cubicBezTo>
                  <a:cubicBezTo>
                    <a:pt x="47" y="160"/>
                    <a:pt x="47" y="160"/>
                    <a:pt x="47" y="160"/>
                  </a:cubicBezTo>
                  <a:cubicBezTo>
                    <a:pt x="46" y="160"/>
                    <a:pt x="46" y="160"/>
                    <a:pt x="46" y="160"/>
                  </a:cubicBezTo>
                  <a:cubicBezTo>
                    <a:pt x="45" y="161"/>
                    <a:pt x="45" y="161"/>
                    <a:pt x="45" y="161"/>
                  </a:cubicBezTo>
                  <a:cubicBezTo>
                    <a:pt x="45" y="162"/>
                    <a:pt x="45" y="162"/>
                    <a:pt x="45" y="162"/>
                  </a:cubicBezTo>
                  <a:cubicBezTo>
                    <a:pt x="45" y="162"/>
                    <a:pt x="45" y="163"/>
                    <a:pt x="45" y="164"/>
                  </a:cubicBezTo>
                  <a:cubicBezTo>
                    <a:pt x="45" y="164"/>
                    <a:pt x="46" y="164"/>
                    <a:pt x="46" y="164"/>
                  </a:cubicBezTo>
                  <a:cubicBezTo>
                    <a:pt x="47" y="165"/>
                    <a:pt x="47" y="165"/>
                    <a:pt x="47" y="165"/>
                  </a:cubicBezTo>
                  <a:cubicBezTo>
                    <a:pt x="48" y="168"/>
                    <a:pt x="48" y="168"/>
                    <a:pt x="48" y="168"/>
                  </a:cubicBezTo>
                  <a:cubicBezTo>
                    <a:pt x="48" y="170"/>
                    <a:pt x="48" y="170"/>
                    <a:pt x="48" y="170"/>
                  </a:cubicBezTo>
                  <a:cubicBezTo>
                    <a:pt x="48" y="170"/>
                    <a:pt x="48" y="171"/>
                    <a:pt x="47" y="172"/>
                  </a:cubicBezTo>
                  <a:cubicBezTo>
                    <a:pt x="47" y="172"/>
                    <a:pt x="46" y="173"/>
                    <a:pt x="46" y="173"/>
                  </a:cubicBezTo>
                  <a:cubicBezTo>
                    <a:pt x="46" y="175"/>
                    <a:pt x="46" y="175"/>
                    <a:pt x="46" y="175"/>
                  </a:cubicBezTo>
                  <a:cubicBezTo>
                    <a:pt x="45" y="176"/>
                    <a:pt x="45" y="176"/>
                    <a:pt x="45" y="176"/>
                  </a:cubicBezTo>
                  <a:cubicBezTo>
                    <a:pt x="44" y="177"/>
                    <a:pt x="44" y="177"/>
                    <a:pt x="44" y="177"/>
                  </a:cubicBezTo>
                  <a:cubicBezTo>
                    <a:pt x="42" y="177"/>
                    <a:pt x="42" y="177"/>
                    <a:pt x="42" y="177"/>
                  </a:cubicBezTo>
                  <a:cubicBezTo>
                    <a:pt x="42" y="178"/>
                    <a:pt x="42" y="178"/>
                    <a:pt x="42" y="178"/>
                  </a:cubicBezTo>
                  <a:cubicBezTo>
                    <a:pt x="42" y="179"/>
                    <a:pt x="42" y="179"/>
                    <a:pt x="42" y="179"/>
                  </a:cubicBezTo>
                  <a:cubicBezTo>
                    <a:pt x="41" y="180"/>
                    <a:pt x="41" y="180"/>
                    <a:pt x="41" y="180"/>
                  </a:cubicBezTo>
                  <a:cubicBezTo>
                    <a:pt x="41" y="180"/>
                    <a:pt x="41" y="180"/>
                    <a:pt x="41" y="180"/>
                  </a:cubicBezTo>
                  <a:cubicBezTo>
                    <a:pt x="41" y="182"/>
                    <a:pt x="41" y="182"/>
                    <a:pt x="41" y="182"/>
                  </a:cubicBezTo>
                  <a:cubicBezTo>
                    <a:pt x="40" y="183"/>
                    <a:pt x="40" y="183"/>
                    <a:pt x="40" y="183"/>
                  </a:cubicBezTo>
                  <a:cubicBezTo>
                    <a:pt x="40" y="183"/>
                    <a:pt x="39" y="183"/>
                    <a:pt x="39" y="183"/>
                  </a:cubicBezTo>
                  <a:cubicBezTo>
                    <a:pt x="38" y="183"/>
                    <a:pt x="37" y="183"/>
                    <a:pt x="37" y="183"/>
                  </a:cubicBezTo>
                  <a:cubicBezTo>
                    <a:pt x="37" y="183"/>
                    <a:pt x="36" y="183"/>
                    <a:pt x="36" y="183"/>
                  </a:cubicBezTo>
                  <a:cubicBezTo>
                    <a:pt x="36" y="183"/>
                    <a:pt x="35" y="183"/>
                    <a:pt x="35" y="183"/>
                  </a:cubicBezTo>
                  <a:cubicBezTo>
                    <a:pt x="35" y="183"/>
                    <a:pt x="34" y="182"/>
                    <a:pt x="34" y="182"/>
                  </a:cubicBezTo>
                  <a:cubicBezTo>
                    <a:pt x="33" y="182"/>
                    <a:pt x="33" y="182"/>
                    <a:pt x="33" y="182"/>
                  </a:cubicBezTo>
                  <a:cubicBezTo>
                    <a:pt x="31" y="182"/>
                    <a:pt x="31" y="182"/>
                    <a:pt x="31" y="182"/>
                  </a:cubicBezTo>
                  <a:cubicBezTo>
                    <a:pt x="29" y="182"/>
                    <a:pt x="29" y="182"/>
                    <a:pt x="29" y="182"/>
                  </a:cubicBezTo>
                  <a:cubicBezTo>
                    <a:pt x="27" y="182"/>
                    <a:pt x="27" y="182"/>
                    <a:pt x="27" y="182"/>
                  </a:cubicBezTo>
                  <a:cubicBezTo>
                    <a:pt x="27" y="181"/>
                    <a:pt x="27" y="181"/>
                    <a:pt x="27" y="181"/>
                  </a:cubicBezTo>
                  <a:cubicBezTo>
                    <a:pt x="26" y="182"/>
                    <a:pt x="26" y="182"/>
                    <a:pt x="26" y="182"/>
                  </a:cubicBezTo>
                  <a:cubicBezTo>
                    <a:pt x="26" y="181"/>
                    <a:pt x="26" y="181"/>
                    <a:pt x="26" y="181"/>
                  </a:cubicBezTo>
                  <a:cubicBezTo>
                    <a:pt x="24" y="180"/>
                    <a:pt x="24" y="180"/>
                    <a:pt x="24" y="180"/>
                  </a:cubicBezTo>
                  <a:cubicBezTo>
                    <a:pt x="22" y="180"/>
                    <a:pt x="22" y="180"/>
                    <a:pt x="22" y="180"/>
                  </a:cubicBezTo>
                  <a:cubicBezTo>
                    <a:pt x="22" y="180"/>
                    <a:pt x="23" y="181"/>
                    <a:pt x="23" y="182"/>
                  </a:cubicBezTo>
                  <a:cubicBezTo>
                    <a:pt x="23" y="182"/>
                    <a:pt x="24" y="183"/>
                    <a:pt x="24" y="183"/>
                  </a:cubicBezTo>
                  <a:cubicBezTo>
                    <a:pt x="24" y="183"/>
                    <a:pt x="24" y="185"/>
                    <a:pt x="24" y="185"/>
                  </a:cubicBezTo>
                  <a:cubicBezTo>
                    <a:pt x="24" y="185"/>
                    <a:pt x="26" y="187"/>
                    <a:pt x="26" y="187"/>
                  </a:cubicBezTo>
                  <a:cubicBezTo>
                    <a:pt x="26" y="188"/>
                    <a:pt x="26" y="188"/>
                    <a:pt x="26" y="188"/>
                  </a:cubicBezTo>
                  <a:cubicBezTo>
                    <a:pt x="26" y="188"/>
                    <a:pt x="26" y="189"/>
                    <a:pt x="26" y="189"/>
                  </a:cubicBezTo>
                  <a:cubicBezTo>
                    <a:pt x="27" y="189"/>
                    <a:pt x="28" y="190"/>
                    <a:pt x="28" y="190"/>
                  </a:cubicBezTo>
                  <a:cubicBezTo>
                    <a:pt x="28" y="191"/>
                    <a:pt x="28" y="191"/>
                    <a:pt x="28" y="191"/>
                  </a:cubicBezTo>
                  <a:cubicBezTo>
                    <a:pt x="27" y="193"/>
                    <a:pt x="27" y="193"/>
                    <a:pt x="27" y="193"/>
                  </a:cubicBezTo>
                  <a:cubicBezTo>
                    <a:pt x="27" y="193"/>
                    <a:pt x="27" y="193"/>
                    <a:pt x="27" y="193"/>
                  </a:cubicBezTo>
                  <a:cubicBezTo>
                    <a:pt x="27" y="195"/>
                    <a:pt x="27" y="195"/>
                    <a:pt x="27" y="195"/>
                  </a:cubicBezTo>
                  <a:cubicBezTo>
                    <a:pt x="27" y="196"/>
                    <a:pt x="27" y="196"/>
                    <a:pt x="27" y="196"/>
                  </a:cubicBezTo>
                  <a:cubicBezTo>
                    <a:pt x="28" y="197"/>
                    <a:pt x="28" y="197"/>
                    <a:pt x="28" y="197"/>
                  </a:cubicBezTo>
                  <a:cubicBezTo>
                    <a:pt x="28" y="198"/>
                    <a:pt x="28" y="198"/>
                    <a:pt x="28" y="198"/>
                  </a:cubicBezTo>
                  <a:cubicBezTo>
                    <a:pt x="27" y="199"/>
                    <a:pt x="27" y="199"/>
                    <a:pt x="27" y="199"/>
                  </a:cubicBezTo>
                  <a:cubicBezTo>
                    <a:pt x="27" y="201"/>
                    <a:pt x="27" y="201"/>
                    <a:pt x="27" y="201"/>
                  </a:cubicBezTo>
                  <a:cubicBezTo>
                    <a:pt x="28" y="202"/>
                    <a:pt x="28" y="202"/>
                    <a:pt x="28" y="202"/>
                  </a:cubicBezTo>
                  <a:cubicBezTo>
                    <a:pt x="29" y="203"/>
                    <a:pt x="29" y="203"/>
                    <a:pt x="29" y="203"/>
                  </a:cubicBezTo>
                  <a:cubicBezTo>
                    <a:pt x="31" y="204"/>
                    <a:pt x="31" y="204"/>
                    <a:pt x="31" y="204"/>
                  </a:cubicBezTo>
                  <a:cubicBezTo>
                    <a:pt x="31" y="205"/>
                    <a:pt x="31" y="205"/>
                    <a:pt x="31" y="205"/>
                  </a:cubicBezTo>
                  <a:cubicBezTo>
                    <a:pt x="30" y="206"/>
                    <a:pt x="30" y="206"/>
                    <a:pt x="30" y="206"/>
                  </a:cubicBezTo>
                  <a:cubicBezTo>
                    <a:pt x="30" y="206"/>
                    <a:pt x="29" y="207"/>
                    <a:pt x="30" y="207"/>
                  </a:cubicBezTo>
                  <a:cubicBezTo>
                    <a:pt x="30" y="207"/>
                    <a:pt x="31" y="207"/>
                    <a:pt x="31" y="207"/>
                  </a:cubicBezTo>
                  <a:cubicBezTo>
                    <a:pt x="33" y="207"/>
                    <a:pt x="33" y="207"/>
                    <a:pt x="33" y="207"/>
                  </a:cubicBezTo>
                  <a:cubicBezTo>
                    <a:pt x="33" y="207"/>
                    <a:pt x="34" y="207"/>
                    <a:pt x="34" y="207"/>
                  </a:cubicBezTo>
                  <a:cubicBezTo>
                    <a:pt x="34" y="207"/>
                    <a:pt x="35" y="209"/>
                    <a:pt x="35" y="209"/>
                  </a:cubicBezTo>
                  <a:cubicBezTo>
                    <a:pt x="35" y="210"/>
                    <a:pt x="35" y="210"/>
                    <a:pt x="35" y="210"/>
                  </a:cubicBezTo>
                  <a:cubicBezTo>
                    <a:pt x="35" y="212"/>
                    <a:pt x="35" y="212"/>
                    <a:pt x="35" y="212"/>
                  </a:cubicBezTo>
                  <a:cubicBezTo>
                    <a:pt x="34" y="214"/>
                    <a:pt x="34" y="214"/>
                    <a:pt x="34" y="214"/>
                  </a:cubicBezTo>
                  <a:cubicBezTo>
                    <a:pt x="32" y="215"/>
                    <a:pt x="32" y="215"/>
                    <a:pt x="32" y="215"/>
                  </a:cubicBezTo>
                  <a:cubicBezTo>
                    <a:pt x="31" y="216"/>
                    <a:pt x="31" y="216"/>
                    <a:pt x="31" y="216"/>
                  </a:cubicBezTo>
                  <a:cubicBezTo>
                    <a:pt x="31" y="217"/>
                    <a:pt x="31" y="217"/>
                    <a:pt x="31" y="217"/>
                  </a:cubicBezTo>
                  <a:cubicBezTo>
                    <a:pt x="30" y="218"/>
                    <a:pt x="30" y="218"/>
                    <a:pt x="30" y="218"/>
                  </a:cubicBezTo>
                  <a:cubicBezTo>
                    <a:pt x="29" y="219"/>
                    <a:pt x="29" y="219"/>
                    <a:pt x="29" y="219"/>
                  </a:cubicBezTo>
                  <a:cubicBezTo>
                    <a:pt x="27" y="219"/>
                    <a:pt x="27" y="219"/>
                    <a:pt x="27" y="219"/>
                  </a:cubicBezTo>
                  <a:cubicBezTo>
                    <a:pt x="27" y="220"/>
                    <a:pt x="27" y="220"/>
                    <a:pt x="27" y="220"/>
                  </a:cubicBezTo>
                  <a:cubicBezTo>
                    <a:pt x="25" y="220"/>
                    <a:pt x="25" y="220"/>
                    <a:pt x="25" y="220"/>
                  </a:cubicBezTo>
                  <a:cubicBezTo>
                    <a:pt x="23" y="221"/>
                    <a:pt x="23" y="221"/>
                    <a:pt x="23" y="221"/>
                  </a:cubicBezTo>
                  <a:cubicBezTo>
                    <a:pt x="22" y="221"/>
                    <a:pt x="22" y="221"/>
                    <a:pt x="22" y="221"/>
                  </a:cubicBezTo>
                  <a:cubicBezTo>
                    <a:pt x="21" y="224"/>
                    <a:pt x="21" y="224"/>
                    <a:pt x="21" y="224"/>
                  </a:cubicBezTo>
                  <a:cubicBezTo>
                    <a:pt x="21" y="224"/>
                    <a:pt x="20" y="226"/>
                    <a:pt x="21" y="226"/>
                  </a:cubicBezTo>
                  <a:cubicBezTo>
                    <a:pt x="21" y="226"/>
                    <a:pt x="21" y="227"/>
                    <a:pt x="21" y="227"/>
                  </a:cubicBezTo>
                  <a:cubicBezTo>
                    <a:pt x="21" y="227"/>
                    <a:pt x="20" y="229"/>
                    <a:pt x="20" y="229"/>
                  </a:cubicBezTo>
                  <a:cubicBezTo>
                    <a:pt x="20" y="229"/>
                    <a:pt x="18" y="229"/>
                    <a:pt x="18" y="229"/>
                  </a:cubicBezTo>
                  <a:cubicBezTo>
                    <a:pt x="18" y="231"/>
                    <a:pt x="18" y="231"/>
                    <a:pt x="18" y="231"/>
                  </a:cubicBezTo>
                  <a:cubicBezTo>
                    <a:pt x="18" y="231"/>
                    <a:pt x="18" y="231"/>
                    <a:pt x="18" y="231"/>
                  </a:cubicBezTo>
                  <a:cubicBezTo>
                    <a:pt x="17" y="232"/>
                    <a:pt x="17" y="232"/>
                    <a:pt x="17" y="232"/>
                  </a:cubicBezTo>
                  <a:cubicBezTo>
                    <a:pt x="18" y="233"/>
                    <a:pt x="18" y="233"/>
                    <a:pt x="18" y="233"/>
                  </a:cubicBezTo>
                  <a:cubicBezTo>
                    <a:pt x="17" y="234"/>
                    <a:pt x="17" y="234"/>
                    <a:pt x="17" y="234"/>
                  </a:cubicBezTo>
                  <a:cubicBezTo>
                    <a:pt x="17" y="235"/>
                    <a:pt x="17" y="235"/>
                    <a:pt x="17" y="235"/>
                  </a:cubicBezTo>
                  <a:cubicBezTo>
                    <a:pt x="17" y="235"/>
                    <a:pt x="18" y="237"/>
                    <a:pt x="18" y="237"/>
                  </a:cubicBezTo>
                  <a:cubicBezTo>
                    <a:pt x="18" y="238"/>
                    <a:pt x="19" y="239"/>
                    <a:pt x="19" y="239"/>
                  </a:cubicBezTo>
                  <a:cubicBezTo>
                    <a:pt x="19" y="239"/>
                    <a:pt x="20" y="240"/>
                    <a:pt x="20" y="240"/>
                  </a:cubicBezTo>
                  <a:cubicBezTo>
                    <a:pt x="20" y="240"/>
                    <a:pt x="20" y="242"/>
                    <a:pt x="20" y="242"/>
                  </a:cubicBezTo>
                  <a:cubicBezTo>
                    <a:pt x="20" y="243"/>
                    <a:pt x="21" y="245"/>
                    <a:pt x="21" y="245"/>
                  </a:cubicBezTo>
                  <a:cubicBezTo>
                    <a:pt x="21" y="246"/>
                    <a:pt x="21" y="246"/>
                    <a:pt x="21" y="246"/>
                  </a:cubicBezTo>
                  <a:cubicBezTo>
                    <a:pt x="21" y="246"/>
                    <a:pt x="21" y="247"/>
                    <a:pt x="22" y="247"/>
                  </a:cubicBezTo>
                  <a:cubicBezTo>
                    <a:pt x="22" y="247"/>
                    <a:pt x="24" y="247"/>
                    <a:pt x="24" y="247"/>
                  </a:cubicBezTo>
                  <a:cubicBezTo>
                    <a:pt x="24" y="247"/>
                    <a:pt x="25" y="247"/>
                    <a:pt x="26" y="247"/>
                  </a:cubicBezTo>
                  <a:cubicBezTo>
                    <a:pt x="26" y="247"/>
                    <a:pt x="26" y="246"/>
                    <a:pt x="27" y="247"/>
                  </a:cubicBezTo>
                  <a:cubicBezTo>
                    <a:pt x="27" y="247"/>
                    <a:pt x="27" y="248"/>
                    <a:pt x="27" y="248"/>
                  </a:cubicBezTo>
                  <a:cubicBezTo>
                    <a:pt x="27" y="248"/>
                    <a:pt x="27" y="249"/>
                    <a:pt x="27" y="249"/>
                  </a:cubicBezTo>
                  <a:cubicBezTo>
                    <a:pt x="24" y="252"/>
                    <a:pt x="24" y="252"/>
                    <a:pt x="24" y="252"/>
                  </a:cubicBezTo>
                  <a:cubicBezTo>
                    <a:pt x="24" y="254"/>
                    <a:pt x="24" y="254"/>
                    <a:pt x="24" y="254"/>
                  </a:cubicBezTo>
                  <a:cubicBezTo>
                    <a:pt x="24" y="254"/>
                    <a:pt x="23" y="254"/>
                    <a:pt x="23" y="254"/>
                  </a:cubicBezTo>
                  <a:cubicBezTo>
                    <a:pt x="23" y="254"/>
                    <a:pt x="22" y="254"/>
                    <a:pt x="22" y="254"/>
                  </a:cubicBezTo>
                  <a:cubicBezTo>
                    <a:pt x="20" y="253"/>
                    <a:pt x="20" y="253"/>
                    <a:pt x="20" y="253"/>
                  </a:cubicBezTo>
                  <a:cubicBezTo>
                    <a:pt x="18" y="253"/>
                    <a:pt x="18" y="253"/>
                    <a:pt x="18" y="253"/>
                  </a:cubicBezTo>
                  <a:cubicBezTo>
                    <a:pt x="18" y="254"/>
                    <a:pt x="18" y="254"/>
                    <a:pt x="18" y="254"/>
                  </a:cubicBezTo>
                  <a:cubicBezTo>
                    <a:pt x="18" y="254"/>
                    <a:pt x="17" y="254"/>
                    <a:pt x="17" y="254"/>
                  </a:cubicBezTo>
                  <a:cubicBezTo>
                    <a:pt x="16" y="254"/>
                    <a:pt x="14" y="254"/>
                    <a:pt x="14" y="254"/>
                  </a:cubicBezTo>
                  <a:cubicBezTo>
                    <a:pt x="14" y="255"/>
                    <a:pt x="14" y="255"/>
                    <a:pt x="14" y="255"/>
                  </a:cubicBezTo>
                  <a:cubicBezTo>
                    <a:pt x="12" y="258"/>
                    <a:pt x="12" y="258"/>
                    <a:pt x="12" y="258"/>
                  </a:cubicBezTo>
                  <a:cubicBezTo>
                    <a:pt x="11" y="260"/>
                    <a:pt x="11" y="260"/>
                    <a:pt x="11" y="260"/>
                  </a:cubicBezTo>
                  <a:cubicBezTo>
                    <a:pt x="9" y="261"/>
                    <a:pt x="9" y="261"/>
                    <a:pt x="9" y="261"/>
                  </a:cubicBezTo>
                  <a:cubicBezTo>
                    <a:pt x="8" y="262"/>
                    <a:pt x="8" y="262"/>
                    <a:pt x="8" y="262"/>
                  </a:cubicBezTo>
                  <a:cubicBezTo>
                    <a:pt x="6" y="263"/>
                    <a:pt x="6" y="263"/>
                    <a:pt x="6" y="263"/>
                  </a:cubicBezTo>
                  <a:cubicBezTo>
                    <a:pt x="6" y="263"/>
                    <a:pt x="5" y="264"/>
                    <a:pt x="5" y="264"/>
                  </a:cubicBezTo>
                  <a:cubicBezTo>
                    <a:pt x="5" y="264"/>
                    <a:pt x="4" y="267"/>
                    <a:pt x="4" y="267"/>
                  </a:cubicBezTo>
                  <a:cubicBezTo>
                    <a:pt x="4" y="267"/>
                    <a:pt x="3" y="268"/>
                    <a:pt x="2" y="268"/>
                  </a:cubicBezTo>
                  <a:cubicBezTo>
                    <a:pt x="2" y="269"/>
                    <a:pt x="1" y="269"/>
                    <a:pt x="1" y="269"/>
                  </a:cubicBezTo>
                  <a:cubicBezTo>
                    <a:pt x="1" y="269"/>
                    <a:pt x="1" y="271"/>
                    <a:pt x="1" y="271"/>
                  </a:cubicBezTo>
                  <a:cubicBezTo>
                    <a:pt x="1" y="271"/>
                    <a:pt x="1" y="273"/>
                    <a:pt x="1" y="273"/>
                  </a:cubicBezTo>
                  <a:cubicBezTo>
                    <a:pt x="2" y="275"/>
                    <a:pt x="2" y="275"/>
                    <a:pt x="2" y="275"/>
                  </a:cubicBezTo>
                  <a:cubicBezTo>
                    <a:pt x="1" y="277"/>
                    <a:pt x="1" y="277"/>
                    <a:pt x="1" y="277"/>
                  </a:cubicBezTo>
                  <a:cubicBezTo>
                    <a:pt x="2" y="278"/>
                    <a:pt x="2" y="278"/>
                    <a:pt x="2" y="278"/>
                  </a:cubicBezTo>
                  <a:cubicBezTo>
                    <a:pt x="1" y="280"/>
                    <a:pt x="1" y="280"/>
                    <a:pt x="1" y="280"/>
                  </a:cubicBezTo>
                  <a:cubicBezTo>
                    <a:pt x="1" y="282"/>
                    <a:pt x="1" y="282"/>
                    <a:pt x="1" y="282"/>
                  </a:cubicBezTo>
                  <a:cubicBezTo>
                    <a:pt x="1" y="283"/>
                    <a:pt x="1" y="283"/>
                    <a:pt x="1" y="283"/>
                  </a:cubicBezTo>
                  <a:cubicBezTo>
                    <a:pt x="0" y="285"/>
                    <a:pt x="0" y="285"/>
                    <a:pt x="0" y="285"/>
                  </a:cubicBezTo>
                  <a:cubicBezTo>
                    <a:pt x="1" y="288"/>
                    <a:pt x="1" y="288"/>
                    <a:pt x="1" y="288"/>
                  </a:cubicBezTo>
                  <a:cubicBezTo>
                    <a:pt x="12" y="290"/>
                    <a:pt x="12" y="290"/>
                    <a:pt x="12" y="290"/>
                  </a:cubicBezTo>
                  <a:cubicBezTo>
                    <a:pt x="17" y="290"/>
                    <a:pt x="21" y="294"/>
                    <a:pt x="25" y="296"/>
                  </a:cubicBezTo>
                  <a:cubicBezTo>
                    <a:pt x="27" y="297"/>
                    <a:pt x="32" y="307"/>
                    <a:pt x="33" y="309"/>
                  </a:cubicBezTo>
                  <a:cubicBezTo>
                    <a:pt x="33" y="309"/>
                    <a:pt x="33" y="315"/>
                    <a:pt x="31" y="315"/>
                  </a:cubicBezTo>
                  <a:cubicBezTo>
                    <a:pt x="30" y="318"/>
                    <a:pt x="33" y="319"/>
                    <a:pt x="34" y="321"/>
                  </a:cubicBezTo>
                  <a:cubicBezTo>
                    <a:pt x="37" y="325"/>
                    <a:pt x="34" y="328"/>
                    <a:pt x="34" y="328"/>
                  </a:cubicBezTo>
                  <a:cubicBezTo>
                    <a:pt x="34" y="331"/>
                    <a:pt x="37" y="339"/>
                    <a:pt x="40" y="342"/>
                  </a:cubicBezTo>
                  <a:cubicBezTo>
                    <a:pt x="42" y="344"/>
                    <a:pt x="44" y="342"/>
                    <a:pt x="45" y="344"/>
                  </a:cubicBezTo>
                  <a:cubicBezTo>
                    <a:pt x="47" y="351"/>
                    <a:pt x="52" y="351"/>
                    <a:pt x="56" y="353"/>
                  </a:cubicBezTo>
                  <a:cubicBezTo>
                    <a:pt x="58" y="352"/>
                    <a:pt x="61" y="349"/>
                    <a:pt x="63" y="348"/>
                  </a:cubicBezTo>
                  <a:cubicBezTo>
                    <a:pt x="67" y="346"/>
                    <a:pt x="68" y="343"/>
                    <a:pt x="71" y="341"/>
                  </a:cubicBezTo>
                  <a:cubicBezTo>
                    <a:pt x="72" y="339"/>
                    <a:pt x="76" y="340"/>
                    <a:pt x="78" y="339"/>
                  </a:cubicBezTo>
                  <a:cubicBezTo>
                    <a:pt x="85" y="336"/>
                    <a:pt x="90" y="339"/>
                    <a:pt x="93" y="338"/>
                  </a:cubicBezTo>
                  <a:cubicBezTo>
                    <a:pt x="95" y="338"/>
                    <a:pt x="98" y="335"/>
                    <a:pt x="101" y="334"/>
                  </a:cubicBezTo>
                  <a:cubicBezTo>
                    <a:pt x="103" y="333"/>
                    <a:pt x="106" y="333"/>
                    <a:pt x="108" y="331"/>
                  </a:cubicBezTo>
                  <a:cubicBezTo>
                    <a:pt x="108" y="331"/>
                    <a:pt x="118" y="333"/>
                    <a:pt x="122" y="334"/>
                  </a:cubicBezTo>
                  <a:cubicBezTo>
                    <a:pt x="129" y="335"/>
                    <a:pt x="136" y="339"/>
                    <a:pt x="140" y="339"/>
                  </a:cubicBezTo>
                  <a:cubicBezTo>
                    <a:pt x="143" y="339"/>
                    <a:pt x="143" y="336"/>
                    <a:pt x="145" y="337"/>
                  </a:cubicBezTo>
                  <a:cubicBezTo>
                    <a:pt x="145" y="337"/>
                    <a:pt x="157" y="343"/>
                    <a:pt x="163" y="344"/>
                  </a:cubicBezTo>
                  <a:cubicBezTo>
                    <a:pt x="167" y="344"/>
                    <a:pt x="167" y="338"/>
                    <a:pt x="172" y="339"/>
                  </a:cubicBezTo>
                  <a:cubicBezTo>
                    <a:pt x="175" y="339"/>
                    <a:pt x="175" y="340"/>
                    <a:pt x="178" y="340"/>
                  </a:cubicBezTo>
                  <a:cubicBezTo>
                    <a:pt x="180" y="340"/>
                    <a:pt x="182" y="346"/>
                    <a:pt x="184" y="346"/>
                  </a:cubicBezTo>
                  <a:cubicBezTo>
                    <a:pt x="185" y="345"/>
                    <a:pt x="189" y="341"/>
                    <a:pt x="190" y="340"/>
                  </a:cubicBezTo>
                  <a:cubicBezTo>
                    <a:pt x="190" y="340"/>
                    <a:pt x="196" y="334"/>
                    <a:pt x="196" y="332"/>
                  </a:cubicBezTo>
                  <a:cubicBezTo>
                    <a:pt x="196" y="330"/>
                    <a:pt x="199" y="322"/>
                    <a:pt x="199" y="322"/>
                  </a:cubicBezTo>
                  <a:cubicBezTo>
                    <a:pt x="202" y="320"/>
                    <a:pt x="207" y="322"/>
                    <a:pt x="210" y="319"/>
                  </a:cubicBezTo>
                  <a:cubicBezTo>
                    <a:pt x="218" y="312"/>
                    <a:pt x="218" y="312"/>
                    <a:pt x="218" y="312"/>
                  </a:cubicBezTo>
                  <a:cubicBezTo>
                    <a:pt x="232" y="316"/>
                    <a:pt x="232" y="316"/>
                    <a:pt x="232" y="316"/>
                  </a:cubicBezTo>
                  <a:cubicBezTo>
                    <a:pt x="240" y="315"/>
                    <a:pt x="240" y="315"/>
                    <a:pt x="240" y="315"/>
                  </a:cubicBezTo>
                  <a:cubicBezTo>
                    <a:pt x="240" y="313"/>
                    <a:pt x="239" y="308"/>
                    <a:pt x="240" y="305"/>
                  </a:cubicBezTo>
                  <a:cubicBezTo>
                    <a:pt x="244" y="300"/>
                    <a:pt x="242" y="301"/>
                    <a:pt x="246" y="296"/>
                  </a:cubicBezTo>
                  <a:cubicBezTo>
                    <a:pt x="248" y="293"/>
                    <a:pt x="249" y="290"/>
                    <a:pt x="252" y="288"/>
                  </a:cubicBezTo>
                  <a:cubicBezTo>
                    <a:pt x="258" y="281"/>
                    <a:pt x="261" y="278"/>
                    <a:pt x="266" y="277"/>
                  </a:cubicBezTo>
                  <a:cubicBezTo>
                    <a:pt x="269" y="276"/>
                    <a:pt x="279" y="270"/>
                    <a:pt x="280" y="269"/>
                  </a:cubicBezTo>
                  <a:cubicBezTo>
                    <a:pt x="282" y="268"/>
                    <a:pt x="274" y="262"/>
                    <a:pt x="270" y="257"/>
                  </a:cubicBezTo>
                  <a:cubicBezTo>
                    <a:pt x="267" y="252"/>
                    <a:pt x="267" y="247"/>
                    <a:pt x="267" y="245"/>
                  </a:cubicBezTo>
                  <a:cubicBezTo>
                    <a:pt x="264" y="232"/>
                    <a:pt x="265" y="238"/>
                    <a:pt x="270" y="228"/>
                  </a:cubicBezTo>
                  <a:cubicBezTo>
                    <a:pt x="273" y="223"/>
                    <a:pt x="278" y="219"/>
                    <a:pt x="281" y="216"/>
                  </a:cubicBezTo>
                  <a:cubicBezTo>
                    <a:pt x="282" y="215"/>
                    <a:pt x="288" y="205"/>
                    <a:pt x="295" y="200"/>
                  </a:cubicBezTo>
                  <a:cubicBezTo>
                    <a:pt x="297" y="199"/>
                    <a:pt x="299" y="193"/>
                    <a:pt x="301" y="192"/>
                  </a:cubicBezTo>
                  <a:cubicBezTo>
                    <a:pt x="306" y="188"/>
                    <a:pt x="312" y="189"/>
                    <a:pt x="313" y="187"/>
                  </a:cubicBezTo>
                  <a:cubicBezTo>
                    <a:pt x="314" y="184"/>
                    <a:pt x="309" y="186"/>
                    <a:pt x="309" y="183"/>
                  </a:cubicBezTo>
                  <a:cubicBezTo>
                    <a:pt x="308" y="176"/>
                    <a:pt x="312" y="177"/>
                    <a:pt x="315" y="176"/>
                  </a:cubicBezTo>
                  <a:cubicBezTo>
                    <a:pt x="318" y="175"/>
                    <a:pt x="322" y="173"/>
                    <a:pt x="325" y="172"/>
                  </a:cubicBezTo>
                  <a:cubicBezTo>
                    <a:pt x="345" y="166"/>
                    <a:pt x="342" y="170"/>
                    <a:pt x="348" y="167"/>
                  </a:cubicBezTo>
                  <a:cubicBezTo>
                    <a:pt x="351" y="165"/>
                    <a:pt x="357" y="167"/>
                    <a:pt x="358" y="165"/>
                  </a:cubicBezTo>
                  <a:cubicBezTo>
                    <a:pt x="359" y="163"/>
                    <a:pt x="365" y="157"/>
                    <a:pt x="367" y="158"/>
                  </a:cubicBezTo>
                  <a:cubicBezTo>
                    <a:pt x="370" y="159"/>
                    <a:pt x="374" y="154"/>
                    <a:pt x="377" y="154"/>
                  </a:cubicBezTo>
                  <a:cubicBezTo>
                    <a:pt x="386" y="152"/>
                    <a:pt x="393" y="147"/>
                    <a:pt x="396" y="142"/>
                  </a:cubicBezTo>
                  <a:cubicBezTo>
                    <a:pt x="398" y="139"/>
                    <a:pt x="392" y="131"/>
                    <a:pt x="395" y="128"/>
                  </a:cubicBezTo>
                  <a:cubicBezTo>
                    <a:pt x="396" y="126"/>
                    <a:pt x="397" y="130"/>
                    <a:pt x="399" y="128"/>
                  </a:cubicBezTo>
                  <a:cubicBezTo>
                    <a:pt x="403" y="124"/>
                    <a:pt x="401" y="122"/>
                    <a:pt x="398" y="121"/>
                  </a:cubicBezTo>
                  <a:close/>
                </a:path>
              </a:pathLst>
            </a:custGeom>
            <a:solidFill>
              <a:schemeClr val="accent1">
                <a:lumMod val="60000"/>
                <a:lumOff val="40000"/>
              </a:schemeClr>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5" name="Freeform 123"/>
            <p:cNvSpPr>
              <a:spLocks/>
            </p:cNvSpPr>
            <p:nvPr/>
          </p:nvSpPr>
          <p:spPr bwMode="auto">
            <a:xfrm>
              <a:off x="3520340" y="5013110"/>
              <a:ext cx="408693" cy="600465"/>
            </a:xfrm>
            <a:custGeom>
              <a:avLst/>
              <a:gdLst>
                <a:gd name="T0" fmla="*/ 56 w 141"/>
                <a:gd name="T1" fmla="*/ 208 h 220"/>
                <a:gd name="T2" fmla="*/ 56 w 141"/>
                <a:gd name="T3" fmla="*/ 198 h 220"/>
                <a:gd name="T4" fmla="*/ 61 w 141"/>
                <a:gd name="T5" fmla="*/ 191 h 220"/>
                <a:gd name="T6" fmla="*/ 73 w 141"/>
                <a:gd name="T7" fmla="*/ 182 h 220"/>
                <a:gd name="T8" fmla="*/ 80 w 141"/>
                <a:gd name="T9" fmla="*/ 180 h 220"/>
                <a:gd name="T10" fmla="*/ 74 w 141"/>
                <a:gd name="T11" fmla="*/ 170 h 220"/>
                <a:gd name="T12" fmla="*/ 71 w 141"/>
                <a:gd name="T13" fmla="*/ 163 h 220"/>
                <a:gd name="T14" fmla="*/ 76 w 141"/>
                <a:gd name="T15" fmla="*/ 154 h 220"/>
                <a:gd name="T16" fmla="*/ 90 w 141"/>
                <a:gd name="T17" fmla="*/ 141 h 220"/>
                <a:gd name="T18" fmla="*/ 86 w 141"/>
                <a:gd name="T19" fmla="*/ 139 h 220"/>
                <a:gd name="T20" fmla="*/ 82 w 141"/>
                <a:gd name="T21" fmla="*/ 128 h 220"/>
                <a:gd name="T22" fmla="*/ 80 w 141"/>
                <a:gd name="T23" fmla="*/ 118 h 220"/>
                <a:gd name="T24" fmla="*/ 77 w 141"/>
                <a:gd name="T25" fmla="*/ 109 h 220"/>
                <a:gd name="T26" fmla="*/ 88 w 141"/>
                <a:gd name="T27" fmla="*/ 109 h 220"/>
                <a:gd name="T28" fmla="*/ 97 w 141"/>
                <a:gd name="T29" fmla="*/ 109 h 220"/>
                <a:gd name="T30" fmla="*/ 103 w 141"/>
                <a:gd name="T31" fmla="*/ 100 h 220"/>
                <a:gd name="T32" fmla="*/ 100 w 141"/>
                <a:gd name="T33" fmla="*/ 92 h 220"/>
                <a:gd name="T34" fmla="*/ 108 w 141"/>
                <a:gd name="T35" fmla="*/ 85 h 220"/>
                <a:gd name="T36" fmla="*/ 110 w 141"/>
                <a:gd name="T37" fmla="*/ 73 h 220"/>
                <a:gd name="T38" fmla="*/ 112 w 141"/>
                <a:gd name="T39" fmla="*/ 65 h 220"/>
                <a:gd name="T40" fmla="*/ 111 w 141"/>
                <a:gd name="T41" fmla="*/ 55 h 220"/>
                <a:gd name="T42" fmla="*/ 122 w 141"/>
                <a:gd name="T43" fmla="*/ 49 h 220"/>
                <a:gd name="T44" fmla="*/ 130 w 141"/>
                <a:gd name="T45" fmla="*/ 46 h 220"/>
                <a:gd name="T46" fmla="*/ 139 w 141"/>
                <a:gd name="T47" fmla="*/ 39 h 220"/>
                <a:gd name="T48" fmla="*/ 135 w 141"/>
                <a:gd name="T49" fmla="*/ 34 h 220"/>
                <a:gd name="T50" fmla="*/ 132 w 141"/>
                <a:gd name="T51" fmla="*/ 25 h 220"/>
                <a:gd name="T52" fmla="*/ 129 w 141"/>
                <a:gd name="T53" fmla="*/ 20 h 220"/>
                <a:gd name="T54" fmla="*/ 120 w 141"/>
                <a:gd name="T55" fmla="*/ 17 h 220"/>
                <a:gd name="T56" fmla="*/ 111 w 141"/>
                <a:gd name="T57" fmla="*/ 20 h 220"/>
                <a:gd name="T58" fmla="*/ 101 w 141"/>
                <a:gd name="T59" fmla="*/ 19 h 220"/>
                <a:gd name="T60" fmla="*/ 95 w 141"/>
                <a:gd name="T61" fmla="*/ 14 h 220"/>
                <a:gd name="T62" fmla="*/ 90 w 141"/>
                <a:gd name="T63" fmla="*/ 13 h 220"/>
                <a:gd name="T64" fmla="*/ 82 w 141"/>
                <a:gd name="T65" fmla="*/ 14 h 220"/>
                <a:gd name="T66" fmla="*/ 79 w 141"/>
                <a:gd name="T67" fmla="*/ 9 h 220"/>
                <a:gd name="T68" fmla="*/ 83 w 141"/>
                <a:gd name="T69" fmla="*/ 1 h 220"/>
                <a:gd name="T70" fmla="*/ 76 w 141"/>
                <a:gd name="T71" fmla="*/ 1 h 220"/>
                <a:gd name="T72" fmla="*/ 70 w 141"/>
                <a:gd name="T73" fmla="*/ 1 h 220"/>
                <a:gd name="T74" fmla="*/ 65 w 141"/>
                <a:gd name="T75" fmla="*/ 3 h 220"/>
                <a:gd name="T76" fmla="*/ 59 w 141"/>
                <a:gd name="T77" fmla="*/ 5 h 220"/>
                <a:gd name="T78" fmla="*/ 59 w 141"/>
                <a:gd name="T79" fmla="*/ 16 h 220"/>
                <a:gd name="T80" fmla="*/ 57 w 141"/>
                <a:gd name="T81" fmla="*/ 27 h 220"/>
                <a:gd name="T82" fmla="*/ 53 w 141"/>
                <a:gd name="T83" fmla="*/ 51 h 220"/>
                <a:gd name="T84" fmla="*/ 34 w 141"/>
                <a:gd name="T85" fmla="*/ 89 h 220"/>
                <a:gd name="T86" fmla="*/ 25 w 141"/>
                <a:gd name="T87" fmla="*/ 102 h 220"/>
                <a:gd name="T88" fmla="*/ 16 w 141"/>
                <a:gd name="T89" fmla="*/ 106 h 220"/>
                <a:gd name="T90" fmla="*/ 12 w 141"/>
                <a:gd name="T91" fmla="*/ 116 h 220"/>
                <a:gd name="T92" fmla="*/ 7 w 141"/>
                <a:gd name="T93" fmla="*/ 127 h 220"/>
                <a:gd name="T94" fmla="*/ 7 w 141"/>
                <a:gd name="T95" fmla="*/ 136 h 220"/>
                <a:gd name="T96" fmla="*/ 11 w 141"/>
                <a:gd name="T97" fmla="*/ 139 h 220"/>
                <a:gd name="T98" fmla="*/ 12 w 141"/>
                <a:gd name="T99" fmla="*/ 148 h 220"/>
                <a:gd name="T100" fmla="*/ 22 w 141"/>
                <a:gd name="T101" fmla="*/ 150 h 220"/>
                <a:gd name="T102" fmla="*/ 20 w 141"/>
                <a:gd name="T103" fmla="*/ 165 h 220"/>
                <a:gd name="T104" fmla="*/ 15 w 141"/>
                <a:gd name="T105" fmla="*/ 184 h 220"/>
                <a:gd name="T106" fmla="*/ 9 w 141"/>
                <a:gd name="T107" fmla="*/ 199 h 220"/>
                <a:gd name="T108" fmla="*/ 0 w 141"/>
                <a:gd name="T109" fmla="*/ 210 h 220"/>
                <a:gd name="T110" fmla="*/ 13 w 141"/>
                <a:gd name="T111" fmla="*/ 210 h 220"/>
                <a:gd name="T112" fmla="*/ 25 w 141"/>
                <a:gd name="T113" fmla="*/ 213 h 220"/>
                <a:gd name="T114" fmla="*/ 36 w 141"/>
                <a:gd name="T115" fmla="*/ 220 h 220"/>
                <a:gd name="T116" fmla="*/ 55 w 141"/>
                <a:gd name="T117" fmla="*/ 21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1" h="220">
                  <a:moveTo>
                    <a:pt x="55" y="215"/>
                  </a:moveTo>
                  <a:cubicBezTo>
                    <a:pt x="55" y="213"/>
                    <a:pt x="55" y="213"/>
                    <a:pt x="55" y="213"/>
                  </a:cubicBezTo>
                  <a:cubicBezTo>
                    <a:pt x="55" y="212"/>
                    <a:pt x="55" y="212"/>
                    <a:pt x="55" y="212"/>
                  </a:cubicBezTo>
                  <a:cubicBezTo>
                    <a:pt x="56" y="209"/>
                    <a:pt x="56" y="209"/>
                    <a:pt x="56" y="209"/>
                  </a:cubicBezTo>
                  <a:cubicBezTo>
                    <a:pt x="56" y="208"/>
                    <a:pt x="56" y="208"/>
                    <a:pt x="56" y="208"/>
                  </a:cubicBezTo>
                  <a:cubicBezTo>
                    <a:pt x="56" y="208"/>
                    <a:pt x="56" y="208"/>
                    <a:pt x="56" y="208"/>
                  </a:cubicBezTo>
                  <a:cubicBezTo>
                    <a:pt x="56" y="205"/>
                    <a:pt x="56" y="205"/>
                    <a:pt x="56" y="205"/>
                  </a:cubicBezTo>
                  <a:cubicBezTo>
                    <a:pt x="56" y="204"/>
                    <a:pt x="56" y="204"/>
                    <a:pt x="56" y="204"/>
                  </a:cubicBezTo>
                  <a:cubicBezTo>
                    <a:pt x="56" y="204"/>
                    <a:pt x="56" y="204"/>
                    <a:pt x="56" y="204"/>
                  </a:cubicBezTo>
                  <a:cubicBezTo>
                    <a:pt x="56" y="204"/>
                    <a:pt x="56" y="202"/>
                    <a:pt x="55" y="202"/>
                  </a:cubicBezTo>
                  <a:cubicBezTo>
                    <a:pt x="55" y="201"/>
                    <a:pt x="55" y="200"/>
                    <a:pt x="56" y="199"/>
                  </a:cubicBezTo>
                  <a:cubicBezTo>
                    <a:pt x="56" y="198"/>
                    <a:pt x="56" y="198"/>
                    <a:pt x="56" y="198"/>
                  </a:cubicBezTo>
                  <a:cubicBezTo>
                    <a:pt x="56" y="198"/>
                    <a:pt x="56" y="198"/>
                    <a:pt x="56" y="198"/>
                  </a:cubicBezTo>
                  <a:cubicBezTo>
                    <a:pt x="56" y="198"/>
                    <a:pt x="57" y="198"/>
                    <a:pt x="57" y="197"/>
                  </a:cubicBezTo>
                  <a:cubicBezTo>
                    <a:pt x="57" y="197"/>
                    <a:pt x="58" y="197"/>
                    <a:pt x="58" y="197"/>
                  </a:cubicBezTo>
                  <a:cubicBezTo>
                    <a:pt x="58" y="197"/>
                    <a:pt x="58" y="196"/>
                    <a:pt x="59" y="196"/>
                  </a:cubicBezTo>
                  <a:cubicBezTo>
                    <a:pt x="59" y="195"/>
                    <a:pt x="60" y="194"/>
                    <a:pt x="60" y="194"/>
                  </a:cubicBezTo>
                  <a:cubicBezTo>
                    <a:pt x="60" y="193"/>
                    <a:pt x="60" y="192"/>
                    <a:pt x="61" y="191"/>
                  </a:cubicBezTo>
                  <a:cubicBezTo>
                    <a:pt x="61" y="191"/>
                    <a:pt x="61" y="191"/>
                    <a:pt x="61" y="191"/>
                  </a:cubicBezTo>
                  <a:cubicBezTo>
                    <a:pt x="67" y="188"/>
                    <a:pt x="67" y="188"/>
                    <a:pt x="67" y="188"/>
                  </a:cubicBezTo>
                  <a:cubicBezTo>
                    <a:pt x="67" y="187"/>
                    <a:pt x="67" y="187"/>
                    <a:pt x="67" y="187"/>
                  </a:cubicBezTo>
                  <a:cubicBezTo>
                    <a:pt x="69" y="182"/>
                    <a:pt x="69" y="182"/>
                    <a:pt x="69" y="182"/>
                  </a:cubicBezTo>
                  <a:cubicBezTo>
                    <a:pt x="70" y="182"/>
                    <a:pt x="70" y="182"/>
                    <a:pt x="70" y="182"/>
                  </a:cubicBezTo>
                  <a:cubicBezTo>
                    <a:pt x="71" y="182"/>
                    <a:pt x="73" y="182"/>
                    <a:pt x="73" y="182"/>
                  </a:cubicBezTo>
                  <a:cubicBezTo>
                    <a:pt x="73" y="182"/>
                    <a:pt x="74" y="182"/>
                    <a:pt x="74" y="182"/>
                  </a:cubicBezTo>
                  <a:cubicBezTo>
                    <a:pt x="74" y="182"/>
                    <a:pt x="74" y="182"/>
                    <a:pt x="74" y="182"/>
                  </a:cubicBezTo>
                  <a:cubicBezTo>
                    <a:pt x="77" y="180"/>
                    <a:pt x="77" y="180"/>
                    <a:pt x="77" y="180"/>
                  </a:cubicBezTo>
                  <a:cubicBezTo>
                    <a:pt x="79" y="181"/>
                    <a:pt x="79" y="181"/>
                    <a:pt x="79" y="181"/>
                  </a:cubicBezTo>
                  <a:cubicBezTo>
                    <a:pt x="79" y="180"/>
                    <a:pt x="79" y="180"/>
                    <a:pt x="79" y="180"/>
                  </a:cubicBezTo>
                  <a:cubicBezTo>
                    <a:pt x="80" y="180"/>
                    <a:pt x="80" y="180"/>
                    <a:pt x="80" y="180"/>
                  </a:cubicBezTo>
                  <a:cubicBezTo>
                    <a:pt x="80" y="180"/>
                    <a:pt x="79" y="180"/>
                    <a:pt x="79" y="180"/>
                  </a:cubicBezTo>
                  <a:cubicBezTo>
                    <a:pt x="78" y="179"/>
                    <a:pt x="76" y="179"/>
                    <a:pt x="76" y="176"/>
                  </a:cubicBezTo>
                  <a:cubicBezTo>
                    <a:pt x="76" y="176"/>
                    <a:pt x="76" y="176"/>
                    <a:pt x="76" y="176"/>
                  </a:cubicBezTo>
                  <a:cubicBezTo>
                    <a:pt x="75" y="175"/>
                    <a:pt x="75" y="173"/>
                    <a:pt x="74" y="172"/>
                  </a:cubicBezTo>
                  <a:cubicBezTo>
                    <a:pt x="74" y="172"/>
                    <a:pt x="74" y="171"/>
                    <a:pt x="75" y="171"/>
                  </a:cubicBezTo>
                  <a:cubicBezTo>
                    <a:pt x="75" y="171"/>
                    <a:pt x="74" y="170"/>
                    <a:pt x="74" y="170"/>
                  </a:cubicBezTo>
                  <a:cubicBezTo>
                    <a:pt x="74" y="170"/>
                    <a:pt x="74" y="170"/>
                    <a:pt x="74" y="170"/>
                  </a:cubicBezTo>
                  <a:cubicBezTo>
                    <a:pt x="73" y="169"/>
                    <a:pt x="73" y="168"/>
                    <a:pt x="73" y="168"/>
                  </a:cubicBezTo>
                  <a:cubicBezTo>
                    <a:pt x="73" y="167"/>
                    <a:pt x="73" y="167"/>
                    <a:pt x="72" y="166"/>
                  </a:cubicBezTo>
                  <a:cubicBezTo>
                    <a:pt x="72" y="165"/>
                    <a:pt x="72" y="165"/>
                    <a:pt x="72" y="165"/>
                  </a:cubicBezTo>
                  <a:cubicBezTo>
                    <a:pt x="71" y="164"/>
                    <a:pt x="71" y="164"/>
                    <a:pt x="71" y="164"/>
                  </a:cubicBezTo>
                  <a:cubicBezTo>
                    <a:pt x="71" y="163"/>
                    <a:pt x="71" y="163"/>
                    <a:pt x="71" y="163"/>
                  </a:cubicBezTo>
                  <a:cubicBezTo>
                    <a:pt x="70" y="163"/>
                    <a:pt x="70" y="163"/>
                    <a:pt x="70" y="163"/>
                  </a:cubicBezTo>
                  <a:cubicBezTo>
                    <a:pt x="72" y="161"/>
                    <a:pt x="72" y="161"/>
                    <a:pt x="72" y="161"/>
                  </a:cubicBezTo>
                  <a:cubicBezTo>
                    <a:pt x="74" y="158"/>
                    <a:pt x="74" y="158"/>
                    <a:pt x="74" y="158"/>
                  </a:cubicBezTo>
                  <a:cubicBezTo>
                    <a:pt x="74" y="157"/>
                    <a:pt x="74" y="157"/>
                    <a:pt x="74" y="157"/>
                  </a:cubicBezTo>
                  <a:cubicBezTo>
                    <a:pt x="74" y="157"/>
                    <a:pt x="75" y="157"/>
                    <a:pt x="75" y="157"/>
                  </a:cubicBezTo>
                  <a:cubicBezTo>
                    <a:pt x="75" y="156"/>
                    <a:pt x="76" y="154"/>
                    <a:pt x="76" y="154"/>
                  </a:cubicBezTo>
                  <a:cubicBezTo>
                    <a:pt x="77" y="149"/>
                    <a:pt x="77" y="149"/>
                    <a:pt x="77" y="149"/>
                  </a:cubicBezTo>
                  <a:cubicBezTo>
                    <a:pt x="80" y="149"/>
                    <a:pt x="80" y="149"/>
                    <a:pt x="80" y="149"/>
                  </a:cubicBezTo>
                  <a:cubicBezTo>
                    <a:pt x="86" y="146"/>
                    <a:pt x="86" y="146"/>
                    <a:pt x="86" y="146"/>
                  </a:cubicBezTo>
                  <a:cubicBezTo>
                    <a:pt x="86" y="145"/>
                    <a:pt x="86" y="145"/>
                    <a:pt x="86" y="145"/>
                  </a:cubicBezTo>
                  <a:cubicBezTo>
                    <a:pt x="89" y="142"/>
                    <a:pt x="89" y="142"/>
                    <a:pt x="89" y="142"/>
                  </a:cubicBezTo>
                  <a:cubicBezTo>
                    <a:pt x="90" y="141"/>
                    <a:pt x="90" y="141"/>
                    <a:pt x="90" y="141"/>
                  </a:cubicBezTo>
                  <a:cubicBezTo>
                    <a:pt x="90" y="141"/>
                    <a:pt x="90" y="141"/>
                    <a:pt x="90" y="141"/>
                  </a:cubicBezTo>
                  <a:cubicBezTo>
                    <a:pt x="90" y="140"/>
                    <a:pt x="90" y="140"/>
                    <a:pt x="90" y="140"/>
                  </a:cubicBezTo>
                  <a:cubicBezTo>
                    <a:pt x="90" y="140"/>
                    <a:pt x="89" y="140"/>
                    <a:pt x="89" y="139"/>
                  </a:cubicBezTo>
                  <a:cubicBezTo>
                    <a:pt x="89" y="140"/>
                    <a:pt x="89" y="140"/>
                    <a:pt x="89" y="140"/>
                  </a:cubicBezTo>
                  <a:cubicBezTo>
                    <a:pt x="88" y="140"/>
                    <a:pt x="88" y="140"/>
                    <a:pt x="88" y="140"/>
                  </a:cubicBezTo>
                  <a:cubicBezTo>
                    <a:pt x="88" y="140"/>
                    <a:pt x="86" y="139"/>
                    <a:pt x="86" y="139"/>
                  </a:cubicBezTo>
                  <a:cubicBezTo>
                    <a:pt x="85" y="139"/>
                    <a:pt x="85" y="139"/>
                    <a:pt x="85" y="139"/>
                  </a:cubicBezTo>
                  <a:cubicBezTo>
                    <a:pt x="85" y="138"/>
                    <a:pt x="85" y="138"/>
                    <a:pt x="85" y="138"/>
                  </a:cubicBezTo>
                  <a:cubicBezTo>
                    <a:pt x="84" y="137"/>
                    <a:pt x="84" y="136"/>
                    <a:pt x="85" y="135"/>
                  </a:cubicBezTo>
                  <a:cubicBezTo>
                    <a:pt x="83" y="134"/>
                    <a:pt x="83" y="134"/>
                    <a:pt x="83" y="134"/>
                  </a:cubicBezTo>
                  <a:cubicBezTo>
                    <a:pt x="82" y="131"/>
                    <a:pt x="82" y="131"/>
                    <a:pt x="82" y="131"/>
                  </a:cubicBezTo>
                  <a:cubicBezTo>
                    <a:pt x="82" y="128"/>
                    <a:pt x="82" y="128"/>
                    <a:pt x="82" y="128"/>
                  </a:cubicBezTo>
                  <a:cubicBezTo>
                    <a:pt x="82" y="127"/>
                    <a:pt x="82" y="127"/>
                    <a:pt x="82" y="127"/>
                  </a:cubicBezTo>
                  <a:cubicBezTo>
                    <a:pt x="81" y="123"/>
                    <a:pt x="81" y="123"/>
                    <a:pt x="81" y="123"/>
                  </a:cubicBezTo>
                  <a:cubicBezTo>
                    <a:pt x="82" y="121"/>
                    <a:pt x="82" y="121"/>
                    <a:pt x="82" y="121"/>
                  </a:cubicBezTo>
                  <a:cubicBezTo>
                    <a:pt x="82" y="121"/>
                    <a:pt x="82" y="121"/>
                    <a:pt x="82" y="121"/>
                  </a:cubicBezTo>
                  <a:cubicBezTo>
                    <a:pt x="81" y="121"/>
                    <a:pt x="81" y="120"/>
                    <a:pt x="80" y="118"/>
                  </a:cubicBezTo>
                  <a:cubicBezTo>
                    <a:pt x="80" y="118"/>
                    <a:pt x="80" y="118"/>
                    <a:pt x="80" y="118"/>
                  </a:cubicBezTo>
                  <a:cubicBezTo>
                    <a:pt x="80" y="118"/>
                    <a:pt x="80" y="118"/>
                    <a:pt x="80" y="118"/>
                  </a:cubicBezTo>
                  <a:cubicBezTo>
                    <a:pt x="80" y="117"/>
                    <a:pt x="80" y="117"/>
                    <a:pt x="79" y="117"/>
                  </a:cubicBezTo>
                  <a:cubicBezTo>
                    <a:pt x="79" y="116"/>
                    <a:pt x="79" y="116"/>
                    <a:pt x="78" y="114"/>
                  </a:cubicBezTo>
                  <a:cubicBezTo>
                    <a:pt x="78" y="114"/>
                    <a:pt x="78" y="113"/>
                    <a:pt x="78" y="113"/>
                  </a:cubicBezTo>
                  <a:cubicBezTo>
                    <a:pt x="78" y="112"/>
                    <a:pt x="77" y="112"/>
                    <a:pt x="77" y="111"/>
                  </a:cubicBezTo>
                  <a:cubicBezTo>
                    <a:pt x="77" y="109"/>
                    <a:pt x="77" y="109"/>
                    <a:pt x="77" y="109"/>
                  </a:cubicBezTo>
                  <a:cubicBezTo>
                    <a:pt x="81" y="108"/>
                    <a:pt x="81" y="108"/>
                    <a:pt x="81" y="108"/>
                  </a:cubicBezTo>
                  <a:cubicBezTo>
                    <a:pt x="84" y="109"/>
                    <a:pt x="84" y="109"/>
                    <a:pt x="84" y="109"/>
                  </a:cubicBezTo>
                  <a:cubicBezTo>
                    <a:pt x="85" y="109"/>
                    <a:pt x="85" y="109"/>
                    <a:pt x="85" y="109"/>
                  </a:cubicBezTo>
                  <a:cubicBezTo>
                    <a:pt x="85" y="109"/>
                    <a:pt x="85" y="109"/>
                    <a:pt x="85" y="109"/>
                  </a:cubicBezTo>
                  <a:cubicBezTo>
                    <a:pt x="86" y="110"/>
                    <a:pt x="86" y="110"/>
                    <a:pt x="86" y="110"/>
                  </a:cubicBezTo>
                  <a:cubicBezTo>
                    <a:pt x="88" y="109"/>
                    <a:pt x="88" y="109"/>
                    <a:pt x="88" y="109"/>
                  </a:cubicBezTo>
                  <a:cubicBezTo>
                    <a:pt x="91" y="110"/>
                    <a:pt x="91" y="110"/>
                    <a:pt x="91" y="110"/>
                  </a:cubicBezTo>
                  <a:cubicBezTo>
                    <a:pt x="92" y="110"/>
                    <a:pt x="92" y="110"/>
                    <a:pt x="93" y="111"/>
                  </a:cubicBezTo>
                  <a:cubicBezTo>
                    <a:pt x="93" y="111"/>
                    <a:pt x="94" y="111"/>
                    <a:pt x="94" y="111"/>
                  </a:cubicBezTo>
                  <a:cubicBezTo>
                    <a:pt x="94" y="111"/>
                    <a:pt x="95" y="111"/>
                    <a:pt x="95" y="111"/>
                  </a:cubicBezTo>
                  <a:cubicBezTo>
                    <a:pt x="96" y="109"/>
                    <a:pt x="96" y="109"/>
                    <a:pt x="96" y="109"/>
                  </a:cubicBezTo>
                  <a:cubicBezTo>
                    <a:pt x="97" y="109"/>
                    <a:pt x="97" y="109"/>
                    <a:pt x="97" y="109"/>
                  </a:cubicBezTo>
                  <a:cubicBezTo>
                    <a:pt x="97" y="107"/>
                    <a:pt x="97" y="107"/>
                    <a:pt x="97" y="107"/>
                  </a:cubicBezTo>
                  <a:cubicBezTo>
                    <a:pt x="97" y="107"/>
                    <a:pt x="98" y="106"/>
                    <a:pt x="98" y="106"/>
                  </a:cubicBezTo>
                  <a:cubicBezTo>
                    <a:pt x="98" y="105"/>
                    <a:pt x="98" y="105"/>
                    <a:pt x="98" y="105"/>
                  </a:cubicBezTo>
                  <a:cubicBezTo>
                    <a:pt x="99" y="105"/>
                    <a:pt x="99" y="105"/>
                    <a:pt x="99" y="105"/>
                  </a:cubicBezTo>
                  <a:cubicBezTo>
                    <a:pt x="101" y="102"/>
                    <a:pt x="101" y="102"/>
                    <a:pt x="101" y="102"/>
                  </a:cubicBezTo>
                  <a:cubicBezTo>
                    <a:pt x="102" y="101"/>
                    <a:pt x="102" y="100"/>
                    <a:pt x="103" y="100"/>
                  </a:cubicBezTo>
                  <a:cubicBezTo>
                    <a:pt x="103" y="100"/>
                    <a:pt x="103" y="100"/>
                    <a:pt x="103" y="100"/>
                  </a:cubicBezTo>
                  <a:cubicBezTo>
                    <a:pt x="102" y="99"/>
                    <a:pt x="102" y="99"/>
                    <a:pt x="102" y="99"/>
                  </a:cubicBezTo>
                  <a:cubicBezTo>
                    <a:pt x="102" y="96"/>
                    <a:pt x="102" y="96"/>
                    <a:pt x="102" y="96"/>
                  </a:cubicBezTo>
                  <a:cubicBezTo>
                    <a:pt x="101" y="96"/>
                    <a:pt x="101" y="96"/>
                    <a:pt x="101" y="96"/>
                  </a:cubicBezTo>
                  <a:cubicBezTo>
                    <a:pt x="101" y="96"/>
                    <a:pt x="101" y="96"/>
                    <a:pt x="101" y="95"/>
                  </a:cubicBezTo>
                  <a:cubicBezTo>
                    <a:pt x="100" y="95"/>
                    <a:pt x="100" y="93"/>
                    <a:pt x="100" y="92"/>
                  </a:cubicBezTo>
                  <a:cubicBezTo>
                    <a:pt x="99" y="91"/>
                    <a:pt x="99" y="91"/>
                    <a:pt x="99" y="91"/>
                  </a:cubicBezTo>
                  <a:cubicBezTo>
                    <a:pt x="101" y="88"/>
                    <a:pt x="101" y="88"/>
                    <a:pt x="101" y="88"/>
                  </a:cubicBezTo>
                  <a:cubicBezTo>
                    <a:pt x="103" y="88"/>
                    <a:pt x="103" y="88"/>
                    <a:pt x="103" y="88"/>
                  </a:cubicBezTo>
                  <a:cubicBezTo>
                    <a:pt x="104" y="87"/>
                    <a:pt x="104" y="87"/>
                    <a:pt x="104" y="87"/>
                  </a:cubicBezTo>
                  <a:cubicBezTo>
                    <a:pt x="107" y="86"/>
                    <a:pt x="107" y="86"/>
                    <a:pt x="107" y="86"/>
                  </a:cubicBezTo>
                  <a:cubicBezTo>
                    <a:pt x="108" y="85"/>
                    <a:pt x="108" y="85"/>
                    <a:pt x="108" y="85"/>
                  </a:cubicBezTo>
                  <a:cubicBezTo>
                    <a:pt x="109" y="85"/>
                    <a:pt x="109" y="85"/>
                    <a:pt x="109" y="85"/>
                  </a:cubicBezTo>
                  <a:cubicBezTo>
                    <a:pt x="108" y="83"/>
                    <a:pt x="108" y="83"/>
                    <a:pt x="108" y="83"/>
                  </a:cubicBezTo>
                  <a:cubicBezTo>
                    <a:pt x="108" y="79"/>
                    <a:pt x="108" y="79"/>
                    <a:pt x="108" y="79"/>
                  </a:cubicBezTo>
                  <a:cubicBezTo>
                    <a:pt x="110" y="77"/>
                    <a:pt x="110" y="77"/>
                    <a:pt x="110" y="77"/>
                  </a:cubicBezTo>
                  <a:cubicBezTo>
                    <a:pt x="109" y="77"/>
                    <a:pt x="109" y="77"/>
                    <a:pt x="109" y="77"/>
                  </a:cubicBezTo>
                  <a:cubicBezTo>
                    <a:pt x="110" y="73"/>
                    <a:pt x="110" y="73"/>
                    <a:pt x="110" y="73"/>
                  </a:cubicBezTo>
                  <a:cubicBezTo>
                    <a:pt x="112" y="72"/>
                    <a:pt x="112" y="72"/>
                    <a:pt x="112" y="72"/>
                  </a:cubicBezTo>
                  <a:cubicBezTo>
                    <a:pt x="112" y="71"/>
                    <a:pt x="112" y="71"/>
                    <a:pt x="112" y="71"/>
                  </a:cubicBezTo>
                  <a:cubicBezTo>
                    <a:pt x="112" y="70"/>
                    <a:pt x="112" y="70"/>
                    <a:pt x="112" y="69"/>
                  </a:cubicBezTo>
                  <a:cubicBezTo>
                    <a:pt x="112" y="67"/>
                    <a:pt x="112" y="67"/>
                    <a:pt x="112" y="67"/>
                  </a:cubicBezTo>
                  <a:cubicBezTo>
                    <a:pt x="112" y="65"/>
                    <a:pt x="112" y="65"/>
                    <a:pt x="112" y="65"/>
                  </a:cubicBezTo>
                  <a:cubicBezTo>
                    <a:pt x="112" y="65"/>
                    <a:pt x="112" y="65"/>
                    <a:pt x="112" y="65"/>
                  </a:cubicBezTo>
                  <a:cubicBezTo>
                    <a:pt x="113" y="64"/>
                    <a:pt x="113" y="64"/>
                    <a:pt x="113" y="64"/>
                  </a:cubicBezTo>
                  <a:cubicBezTo>
                    <a:pt x="113" y="64"/>
                    <a:pt x="113" y="64"/>
                    <a:pt x="113" y="64"/>
                  </a:cubicBezTo>
                  <a:cubicBezTo>
                    <a:pt x="112" y="63"/>
                    <a:pt x="112" y="63"/>
                    <a:pt x="112" y="63"/>
                  </a:cubicBezTo>
                  <a:cubicBezTo>
                    <a:pt x="112" y="63"/>
                    <a:pt x="112" y="61"/>
                    <a:pt x="112" y="60"/>
                  </a:cubicBezTo>
                  <a:cubicBezTo>
                    <a:pt x="112" y="60"/>
                    <a:pt x="112" y="60"/>
                    <a:pt x="112" y="60"/>
                  </a:cubicBezTo>
                  <a:cubicBezTo>
                    <a:pt x="111" y="55"/>
                    <a:pt x="111" y="55"/>
                    <a:pt x="111" y="55"/>
                  </a:cubicBezTo>
                  <a:cubicBezTo>
                    <a:pt x="114" y="53"/>
                    <a:pt x="114" y="53"/>
                    <a:pt x="114" y="53"/>
                  </a:cubicBezTo>
                  <a:cubicBezTo>
                    <a:pt x="114" y="53"/>
                    <a:pt x="116" y="54"/>
                    <a:pt x="116" y="54"/>
                  </a:cubicBezTo>
                  <a:cubicBezTo>
                    <a:pt x="116" y="54"/>
                    <a:pt x="116" y="53"/>
                    <a:pt x="117" y="53"/>
                  </a:cubicBezTo>
                  <a:cubicBezTo>
                    <a:pt x="117" y="53"/>
                    <a:pt x="118" y="53"/>
                    <a:pt x="118" y="53"/>
                  </a:cubicBezTo>
                  <a:cubicBezTo>
                    <a:pt x="119" y="51"/>
                    <a:pt x="119" y="51"/>
                    <a:pt x="119" y="51"/>
                  </a:cubicBezTo>
                  <a:cubicBezTo>
                    <a:pt x="122" y="49"/>
                    <a:pt x="122" y="49"/>
                    <a:pt x="122" y="49"/>
                  </a:cubicBezTo>
                  <a:cubicBezTo>
                    <a:pt x="122" y="48"/>
                    <a:pt x="122" y="48"/>
                    <a:pt x="122" y="48"/>
                  </a:cubicBezTo>
                  <a:cubicBezTo>
                    <a:pt x="127" y="47"/>
                    <a:pt x="127" y="47"/>
                    <a:pt x="127" y="47"/>
                  </a:cubicBezTo>
                  <a:cubicBezTo>
                    <a:pt x="127" y="47"/>
                    <a:pt x="127" y="47"/>
                    <a:pt x="127" y="47"/>
                  </a:cubicBezTo>
                  <a:cubicBezTo>
                    <a:pt x="128" y="46"/>
                    <a:pt x="128" y="46"/>
                    <a:pt x="128" y="46"/>
                  </a:cubicBezTo>
                  <a:cubicBezTo>
                    <a:pt x="129" y="46"/>
                    <a:pt x="129" y="46"/>
                    <a:pt x="129" y="46"/>
                  </a:cubicBezTo>
                  <a:cubicBezTo>
                    <a:pt x="130" y="46"/>
                    <a:pt x="130" y="46"/>
                    <a:pt x="130" y="46"/>
                  </a:cubicBezTo>
                  <a:cubicBezTo>
                    <a:pt x="132" y="45"/>
                    <a:pt x="132" y="45"/>
                    <a:pt x="132" y="45"/>
                  </a:cubicBezTo>
                  <a:cubicBezTo>
                    <a:pt x="134" y="42"/>
                    <a:pt x="134" y="42"/>
                    <a:pt x="134" y="42"/>
                  </a:cubicBezTo>
                  <a:cubicBezTo>
                    <a:pt x="136" y="42"/>
                    <a:pt x="136" y="42"/>
                    <a:pt x="136" y="42"/>
                  </a:cubicBezTo>
                  <a:cubicBezTo>
                    <a:pt x="136" y="42"/>
                    <a:pt x="136" y="42"/>
                    <a:pt x="136" y="42"/>
                  </a:cubicBezTo>
                  <a:cubicBezTo>
                    <a:pt x="136" y="42"/>
                    <a:pt x="137" y="40"/>
                    <a:pt x="137" y="40"/>
                  </a:cubicBezTo>
                  <a:cubicBezTo>
                    <a:pt x="139" y="39"/>
                    <a:pt x="139" y="39"/>
                    <a:pt x="139" y="39"/>
                  </a:cubicBezTo>
                  <a:cubicBezTo>
                    <a:pt x="141" y="37"/>
                    <a:pt x="141" y="37"/>
                    <a:pt x="141" y="37"/>
                  </a:cubicBezTo>
                  <a:cubicBezTo>
                    <a:pt x="140" y="36"/>
                    <a:pt x="140" y="36"/>
                    <a:pt x="140" y="36"/>
                  </a:cubicBezTo>
                  <a:cubicBezTo>
                    <a:pt x="139" y="36"/>
                    <a:pt x="138" y="35"/>
                    <a:pt x="138" y="34"/>
                  </a:cubicBezTo>
                  <a:cubicBezTo>
                    <a:pt x="138" y="34"/>
                    <a:pt x="137" y="34"/>
                    <a:pt x="137" y="33"/>
                  </a:cubicBezTo>
                  <a:cubicBezTo>
                    <a:pt x="136" y="33"/>
                    <a:pt x="136" y="33"/>
                    <a:pt x="136" y="33"/>
                  </a:cubicBezTo>
                  <a:cubicBezTo>
                    <a:pt x="136" y="33"/>
                    <a:pt x="135" y="33"/>
                    <a:pt x="135" y="34"/>
                  </a:cubicBezTo>
                  <a:cubicBezTo>
                    <a:pt x="134" y="34"/>
                    <a:pt x="134" y="34"/>
                    <a:pt x="134" y="34"/>
                  </a:cubicBezTo>
                  <a:cubicBezTo>
                    <a:pt x="131" y="32"/>
                    <a:pt x="131" y="32"/>
                    <a:pt x="131" y="32"/>
                  </a:cubicBezTo>
                  <a:cubicBezTo>
                    <a:pt x="131" y="31"/>
                    <a:pt x="131" y="31"/>
                    <a:pt x="131" y="31"/>
                  </a:cubicBezTo>
                  <a:cubicBezTo>
                    <a:pt x="130" y="30"/>
                    <a:pt x="130" y="29"/>
                    <a:pt x="131" y="28"/>
                  </a:cubicBezTo>
                  <a:cubicBezTo>
                    <a:pt x="130" y="27"/>
                    <a:pt x="130" y="27"/>
                    <a:pt x="130" y="27"/>
                  </a:cubicBezTo>
                  <a:cubicBezTo>
                    <a:pt x="132" y="25"/>
                    <a:pt x="132" y="25"/>
                    <a:pt x="132" y="25"/>
                  </a:cubicBezTo>
                  <a:cubicBezTo>
                    <a:pt x="132" y="25"/>
                    <a:pt x="133" y="24"/>
                    <a:pt x="133" y="24"/>
                  </a:cubicBezTo>
                  <a:cubicBezTo>
                    <a:pt x="133" y="23"/>
                    <a:pt x="133" y="23"/>
                    <a:pt x="133" y="23"/>
                  </a:cubicBezTo>
                  <a:cubicBezTo>
                    <a:pt x="133" y="23"/>
                    <a:pt x="133" y="23"/>
                    <a:pt x="133" y="23"/>
                  </a:cubicBezTo>
                  <a:cubicBezTo>
                    <a:pt x="132" y="22"/>
                    <a:pt x="132" y="22"/>
                    <a:pt x="132" y="22"/>
                  </a:cubicBezTo>
                  <a:cubicBezTo>
                    <a:pt x="132" y="22"/>
                    <a:pt x="132" y="21"/>
                    <a:pt x="132" y="21"/>
                  </a:cubicBezTo>
                  <a:cubicBezTo>
                    <a:pt x="131" y="20"/>
                    <a:pt x="130" y="20"/>
                    <a:pt x="129" y="20"/>
                  </a:cubicBezTo>
                  <a:cubicBezTo>
                    <a:pt x="129" y="20"/>
                    <a:pt x="128" y="20"/>
                    <a:pt x="128" y="19"/>
                  </a:cubicBezTo>
                  <a:cubicBezTo>
                    <a:pt x="128" y="19"/>
                    <a:pt x="128" y="19"/>
                    <a:pt x="128" y="19"/>
                  </a:cubicBezTo>
                  <a:cubicBezTo>
                    <a:pt x="124" y="19"/>
                    <a:pt x="124" y="19"/>
                    <a:pt x="124" y="19"/>
                  </a:cubicBezTo>
                  <a:cubicBezTo>
                    <a:pt x="123" y="19"/>
                    <a:pt x="123" y="18"/>
                    <a:pt x="122" y="18"/>
                  </a:cubicBezTo>
                  <a:cubicBezTo>
                    <a:pt x="121" y="18"/>
                    <a:pt x="121" y="17"/>
                    <a:pt x="121" y="17"/>
                  </a:cubicBezTo>
                  <a:cubicBezTo>
                    <a:pt x="120" y="17"/>
                    <a:pt x="120" y="17"/>
                    <a:pt x="120" y="17"/>
                  </a:cubicBezTo>
                  <a:cubicBezTo>
                    <a:pt x="119" y="17"/>
                    <a:pt x="119" y="17"/>
                    <a:pt x="119" y="17"/>
                  </a:cubicBezTo>
                  <a:cubicBezTo>
                    <a:pt x="119" y="17"/>
                    <a:pt x="119" y="17"/>
                    <a:pt x="119" y="17"/>
                  </a:cubicBezTo>
                  <a:cubicBezTo>
                    <a:pt x="118" y="16"/>
                    <a:pt x="117" y="16"/>
                    <a:pt x="117" y="15"/>
                  </a:cubicBezTo>
                  <a:cubicBezTo>
                    <a:pt x="116" y="17"/>
                    <a:pt x="116" y="17"/>
                    <a:pt x="116" y="17"/>
                  </a:cubicBezTo>
                  <a:cubicBezTo>
                    <a:pt x="114" y="20"/>
                    <a:pt x="114" y="20"/>
                    <a:pt x="114" y="20"/>
                  </a:cubicBezTo>
                  <a:cubicBezTo>
                    <a:pt x="114" y="20"/>
                    <a:pt x="112" y="20"/>
                    <a:pt x="111" y="20"/>
                  </a:cubicBezTo>
                  <a:cubicBezTo>
                    <a:pt x="109" y="20"/>
                    <a:pt x="109" y="20"/>
                    <a:pt x="109" y="20"/>
                  </a:cubicBezTo>
                  <a:cubicBezTo>
                    <a:pt x="109" y="20"/>
                    <a:pt x="109" y="20"/>
                    <a:pt x="109" y="20"/>
                  </a:cubicBezTo>
                  <a:cubicBezTo>
                    <a:pt x="109" y="20"/>
                    <a:pt x="108" y="20"/>
                    <a:pt x="108" y="20"/>
                  </a:cubicBezTo>
                  <a:cubicBezTo>
                    <a:pt x="107" y="20"/>
                    <a:pt x="106" y="20"/>
                    <a:pt x="106" y="20"/>
                  </a:cubicBezTo>
                  <a:cubicBezTo>
                    <a:pt x="105" y="20"/>
                    <a:pt x="104" y="19"/>
                    <a:pt x="103" y="18"/>
                  </a:cubicBezTo>
                  <a:cubicBezTo>
                    <a:pt x="103" y="18"/>
                    <a:pt x="102" y="19"/>
                    <a:pt x="101" y="19"/>
                  </a:cubicBezTo>
                  <a:cubicBezTo>
                    <a:pt x="100" y="19"/>
                    <a:pt x="100" y="19"/>
                    <a:pt x="100" y="19"/>
                  </a:cubicBezTo>
                  <a:cubicBezTo>
                    <a:pt x="100" y="19"/>
                    <a:pt x="100" y="19"/>
                    <a:pt x="100" y="19"/>
                  </a:cubicBezTo>
                  <a:cubicBezTo>
                    <a:pt x="99" y="18"/>
                    <a:pt x="98" y="17"/>
                    <a:pt x="98" y="15"/>
                  </a:cubicBezTo>
                  <a:cubicBezTo>
                    <a:pt x="98" y="14"/>
                    <a:pt x="97" y="14"/>
                    <a:pt x="97" y="14"/>
                  </a:cubicBezTo>
                  <a:cubicBezTo>
                    <a:pt x="97" y="14"/>
                    <a:pt x="96" y="14"/>
                    <a:pt x="96" y="14"/>
                  </a:cubicBezTo>
                  <a:cubicBezTo>
                    <a:pt x="95" y="14"/>
                    <a:pt x="95" y="14"/>
                    <a:pt x="95" y="14"/>
                  </a:cubicBezTo>
                  <a:cubicBezTo>
                    <a:pt x="95" y="14"/>
                    <a:pt x="94" y="14"/>
                    <a:pt x="94" y="14"/>
                  </a:cubicBezTo>
                  <a:cubicBezTo>
                    <a:pt x="94" y="14"/>
                    <a:pt x="94" y="14"/>
                    <a:pt x="94" y="14"/>
                  </a:cubicBezTo>
                  <a:cubicBezTo>
                    <a:pt x="93" y="15"/>
                    <a:pt x="92" y="15"/>
                    <a:pt x="92" y="15"/>
                  </a:cubicBezTo>
                  <a:cubicBezTo>
                    <a:pt x="91" y="15"/>
                    <a:pt x="91" y="15"/>
                    <a:pt x="91" y="15"/>
                  </a:cubicBezTo>
                  <a:cubicBezTo>
                    <a:pt x="91" y="15"/>
                    <a:pt x="91" y="15"/>
                    <a:pt x="91" y="15"/>
                  </a:cubicBezTo>
                  <a:cubicBezTo>
                    <a:pt x="90" y="14"/>
                    <a:pt x="90" y="14"/>
                    <a:pt x="90" y="13"/>
                  </a:cubicBezTo>
                  <a:cubicBezTo>
                    <a:pt x="89" y="14"/>
                    <a:pt x="89" y="14"/>
                    <a:pt x="89" y="14"/>
                  </a:cubicBezTo>
                  <a:cubicBezTo>
                    <a:pt x="88" y="14"/>
                    <a:pt x="88" y="14"/>
                    <a:pt x="88" y="14"/>
                  </a:cubicBezTo>
                  <a:cubicBezTo>
                    <a:pt x="88" y="14"/>
                    <a:pt x="88" y="14"/>
                    <a:pt x="88" y="14"/>
                  </a:cubicBezTo>
                  <a:cubicBezTo>
                    <a:pt x="87" y="14"/>
                    <a:pt x="87" y="14"/>
                    <a:pt x="86" y="15"/>
                  </a:cubicBezTo>
                  <a:cubicBezTo>
                    <a:pt x="85" y="15"/>
                    <a:pt x="84" y="15"/>
                    <a:pt x="84" y="15"/>
                  </a:cubicBezTo>
                  <a:cubicBezTo>
                    <a:pt x="83" y="15"/>
                    <a:pt x="82" y="14"/>
                    <a:pt x="82" y="14"/>
                  </a:cubicBezTo>
                  <a:cubicBezTo>
                    <a:pt x="80" y="13"/>
                    <a:pt x="80" y="12"/>
                    <a:pt x="80" y="11"/>
                  </a:cubicBezTo>
                  <a:cubicBezTo>
                    <a:pt x="80" y="11"/>
                    <a:pt x="80" y="11"/>
                    <a:pt x="80" y="11"/>
                  </a:cubicBezTo>
                  <a:cubicBezTo>
                    <a:pt x="80" y="10"/>
                    <a:pt x="80" y="10"/>
                    <a:pt x="80" y="10"/>
                  </a:cubicBezTo>
                  <a:cubicBezTo>
                    <a:pt x="80" y="10"/>
                    <a:pt x="80" y="10"/>
                    <a:pt x="80" y="10"/>
                  </a:cubicBezTo>
                  <a:cubicBezTo>
                    <a:pt x="80" y="10"/>
                    <a:pt x="80" y="10"/>
                    <a:pt x="80" y="10"/>
                  </a:cubicBezTo>
                  <a:cubicBezTo>
                    <a:pt x="79" y="9"/>
                    <a:pt x="79" y="9"/>
                    <a:pt x="79" y="9"/>
                  </a:cubicBezTo>
                  <a:cubicBezTo>
                    <a:pt x="79" y="8"/>
                    <a:pt x="79" y="7"/>
                    <a:pt x="80" y="6"/>
                  </a:cubicBezTo>
                  <a:cubicBezTo>
                    <a:pt x="80" y="5"/>
                    <a:pt x="81" y="5"/>
                    <a:pt x="81" y="5"/>
                  </a:cubicBezTo>
                  <a:cubicBezTo>
                    <a:pt x="81" y="5"/>
                    <a:pt x="81" y="4"/>
                    <a:pt x="81" y="4"/>
                  </a:cubicBezTo>
                  <a:cubicBezTo>
                    <a:pt x="82" y="4"/>
                    <a:pt x="83" y="3"/>
                    <a:pt x="84" y="3"/>
                  </a:cubicBezTo>
                  <a:cubicBezTo>
                    <a:pt x="84" y="3"/>
                    <a:pt x="84" y="3"/>
                    <a:pt x="84" y="3"/>
                  </a:cubicBezTo>
                  <a:cubicBezTo>
                    <a:pt x="83" y="2"/>
                    <a:pt x="83" y="2"/>
                    <a:pt x="83" y="1"/>
                  </a:cubicBezTo>
                  <a:cubicBezTo>
                    <a:pt x="82" y="0"/>
                    <a:pt x="82" y="0"/>
                    <a:pt x="82" y="0"/>
                  </a:cubicBezTo>
                  <a:cubicBezTo>
                    <a:pt x="81" y="0"/>
                    <a:pt x="81" y="0"/>
                    <a:pt x="81" y="0"/>
                  </a:cubicBezTo>
                  <a:cubicBezTo>
                    <a:pt x="81" y="0"/>
                    <a:pt x="80" y="1"/>
                    <a:pt x="79" y="1"/>
                  </a:cubicBezTo>
                  <a:cubicBezTo>
                    <a:pt x="79" y="1"/>
                    <a:pt x="79" y="1"/>
                    <a:pt x="79" y="1"/>
                  </a:cubicBezTo>
                  <a:cubicBezTo>
                    <a:pt x="79" y="1"/>
                    <a:pt x="79" y="1"/>
                    <a:pt x="79" y="1"/>
                  </a:cubicBezTo>
                  <a:cubicBezTo>
                    <a:pt x="77" y="1"/>
                    <a:pt x="77" y="1"/>
                    <a:pt x="76" y="1"/>
                  </a:cubicBezTo>
                  <a:cubicBezTo>
                    <a:pt x="76" y="1"/>
                    <a:pt x="75" y="1"/>
                    <a:pt x="75" y="0"/>
                  </a:cubicBezTo>
                  <a:cubicBezTo>
                    <a:pt x="74" y="0"/>
                    <a:pt x="74" y="0"/>
                    <a:pt x="74" y="0"/>
                  </a:cubicBezTo>
                  <a:cubicBezTo>
                    <a:pt x="74" y="0"/>
                    <a:pt x="73" y="1"/>
                    <a:pt x="73" y="1"/>
                  </a:cubicBezTo>
                  <a:cubicBezTo>
                    <a:pt x="72" y="1"/>
                    <a:pt x="72" y="1"/>
                    <a:pt x="72" y="1"/>
                  </a:cubicBezTo>
                  <a:cubicBezTo>
                    <a:pt x="71" y="1"/>
                    <a:pt x="71" y="1"/>
                    <a:pt x="71" y="1"/>
                  </a:cubicBezTo>
                  <a:cubicBezTo>
                    <a:pt x="70" y="1"/>
                    <a:pt x="70" y="1"/>
                    <a:pt x="70" y="1"/>
                  </a:cubicBezTo>
                  <a:cubicBezTo>
                    <a:pt x="70" y="1"/>
                    <a:pt x="70" y="1"/>
                    <a:pt x="70" y="1"/>
                  </a:cubicBezTo>
                  <a:cubicBezTo>
                    <a:pt x="69" y="1"/>
                    <a:pt x="69" y="1"/>
                    <a:pt x="69" y="1"/>
                  </a:cubicBezTo>
                  <a:cubicBezTo>
                    <a:pt x="69" y="2"/>
                    <a:pt x="69" y="2"/>
                    <a:pt x="69" y="2"/>
                  </a:cubicBezTo>
                  <a:cubicBezTo>
                    <a:pt x="68" y="2"/>
                    <a:pt x="67" y="3"/>
                    <a:pt x="66" y="3"/>
                  </a:cubicBezTo>
                  <a:cubicBezTo>
                    <a:pt x="66" y="3"/>
                    <a:pt x="66" y="3"/>
                    <a:pt x="66" y="3"/>
                  </a:cubicBezTo>
                  <a:cubicBezTo>
                    <a:pt x="65" y="3"/>
                    <a:pt x="65" y="3"/>
                    <a:pt x="65" y="3"/>
                  </a:cubicBezTo>
                  <a:cubicBezTo>
                    <a:pt x="65" y="4"/>
                    <a:pt x="64" y="4"/>
                    <a:pt x="64" y="4"/>
                  </a:cubicBezTo>
                  <a:cubicBezTo>
                    <a:pt x="64" y="4"/>
                    <a:pt x="64" y="4"/>
                    <a:pt x="64" y="4"/>
                  </a:cubicBezTo>
                  <a:cubicBezTo>
                    <a:pt x="64" y="4"/>
                    <a:pt x="63" y="5"/>
                    <a:pt x="62" y="5"/>
                  </a:cubicBezTo>
                  <a:cubicBezTo>
                    <a:pt x="60" y="7"/>
                    <a:pt x="60" y="7"/>
                    <a:pt x="60" y="7"/>
                  </a:cubicBezTo>
                  <a:cubicBezTo>
                    <a:pt x="59" y="5"/>
                    <a:pt x="59" y="5"/>
                    <a:pt x="59" y="5"/>
                  </a:cubicBezTo>
                  <a:cubicBezTo>
                    <a:pt x="59" y="5"/>
                    <a:pt x="59" y="5"/>
                    <a:pt x="59" y="5"/>
                  </a:cubicBezTo>
                  <a:cubicBezTo>
                    <a:pt x="59" y="7"/>
                    <a:pt x="59" y="7"/>
                    <a:pt x="59" y="7"/>
                  </a:cubicBezTo>
                  <a:cubicBezTo>
                    <a:pt x="59" y="9"/>
                    <a:pt x="59" y="9"/>
                    <a:pt x="59" y="9"/>
                  </a:cubicBezTo>
                  <a:cubicBezTo>
                    <a:pt x="59" y="11"/>
                    <a:pt x="59" y="11"/>
                    <a:pt x="59" y="11"/>
                  </a:cubicBezTo>
                  <a:cubicBezTo>
                    <a:pt x="59" y="12"/>
                    <a:pt x="59" y="12"/>
                    <a:pt x="59" y="12"/>
                  </a:cubicBezTo>
                  <a:cubicBezTo>
                    <a:pt x="59" y="14"/>
                    <a:pt x="59" y="14"/>
                    <a:pt x="59" y="14"/>
                  </a:cubicBezTo>
                  <a:cubicBezTo>
                    <a:pt x="59" y="16"/>
                    <a:pt x="59" y="16"/>
                    <a:pt x="59" y="16"/>
                  </a:cubicBezTo>
                  <a:cubicBezTo>
                    <a:pt x="59" y="18"/>
                    <a:pt x="59" y="18"/>
                    <a:pt x="59" y="18"/>
                  </a:cubicBezTo>
                  <a:cubicBezTo>
                    <a:pt x="59" y="19"/>
                    <a:pt x="59" y="19"/>
                    <a:pt x="59" y="19"/>
                  </a:cubicBezTo>
                  <a:cubicBezTo>
                    <a:pt x="59" y="21"/>
                    <a:pt x="59" y="21"/>
                    <a:pt x="59" y="21"/>
                  </a:cubicBezTo>
                  <a:cubicBezTo>
                    <a:pt x="57" y="23"/>
                    <a:pt x="57" y="23"/>
                    <a:pt x="57" y="23"/>
                  </a:cubicBezTo>
                  <a:cubicBezTo>
                    <a:pt x="57" y="25"/>
                    <a:pt x="57" y="25"/>
                    <a:pt x="57" y="25"/>
                  </a:cubicBezTo>
                  <a:cubicBezTo>
                    <a:pt x="57" y="27"/>
                    <a:pt x="57" y="27"/>
                    <a:pt x="57" y="27"/>
                  </a:cubicBezTo>
                  <a:cubicBezTo>
                    <a:pt x="58" y="28"/>
                    <a:pt x="58" y="28"/>
                    <a:pt x="58" y="28"/>
                  </a:cubicBezTo>
                  <a:cubicBezTo>
                    <a:pt x="57" y="31"/>
                    <a:pt x="57" y="31"/>
                    <a:pt x="57" y="31"/>
                  </a:cubicBezTo>
                  <a:cubicBezTo>
                    <a:pt x="58" y="36"/>
                    <a:pt x="58" y="36"/>
                    <a:pt x="58" y="36"/>
                  </a:cubicBezTo>
                  <a:cubicBezTo>
                    <a:pt x="58" y="41"/>
                    <a:pt x="58" y="41"/>
                    <a:pt x="58" y="41"/>
                  </a:cubicBezTo>
                  <a:cubicBezTo>
                    <a:pt x="56" y="46"/>
                    <a:pt x="56" y="46"/>
                    <a:pt x="56" y="46"/>
                  </a:cubicBezTo>
                  <a:cubicBezTo>
                    <a:pt x="53" y="51"/>
                    <a:pt x="53" y="51"/>
                    <a:pt x="53" y="51"/>
                  </a:cubicBezTo>
                  <a:cubicBezTo>
                    <a:pt x="51" y="57"/>
                    <a:pt x="51" y="57"/>
                    <a:pt x="51" y="57"/>
                  </a:cubicBezTo>
                  <a:cubicBezTo>
                    <a:pt x="46" y="66"/>
                    <a:pt x="46" y="66"/>
                    <a:pt x="46" y="66"/>
                  </a:cubicBezTo>
                  <a:cubicBezTo>
                    <a:pt x="42" y="72"/>
                    <a:pt x="42" y="72"/>
                    <a:pt x="42" y="72"/>
                  </a:cubicBezTo>
                  <a:cubicBezTo>
                    <a:pt x="40" y="76"/>
                    <a:pt x="40" y="76"/>
                    <a:pt x="40" y="76"/>
                  </a:cubicBezTo>
                  <a:cubicBezTo>
                    <a:pt x="41" y="77"/>
                    <a:pt x="41" y="77"/>
                    <a:pt x="41" y="77"/>
                  </a:cubicBezTo>
                  <a:cubicBezTo>
                    <a:pt x="34" y="89"/>
                    <a:pt x="34" y="89"/>
                    <a:pt x="34" y="89"/>
                  </a:cubicBezTo>
                  <a:cubicBezTo>
                    <a:pt x="30" y="94"/>
                    <a:pt x="30" y="94"/>
                    <a:pt x="30" y="94"/>
                  </a:cubicBezTo>
                  <a:cubicBezTo>
                    <a:pt x="30" y="94"/>
                    <a:pt x="28" y="97"/>
                    <a:pt x="28" y="97"/>
                  </a:cubicBezTo>
                  <a:cubicBezTo>
                    <a:pt x="28" y="98"/>
                    <a:pt x="27" y="99"/>
                    <a:pt x="27" y="99"/>
                  </a:cubicBezTo>
                  <a:cubicBezTo>
                    <a:pt x="27" y="100"/>
                    <a:pt x="26" y="100"/>
                    <a:pt x="26" y="100"/>
                  </a:cubicBezTo>
                  <a:cubicBezTo>
                    <a:pt x="25" y="101"/>
                    <a:pt x="25" y="101"/>
                    <a:pt x="25" y="101"/>
                  </a:cubicBezTo>
                  <a:cubicBezTo>
                    <a:pt x="25" y="101"/>
                    <a:pt x="25" y="101"/>
                    <a:pt x="25" y="102"/>
                  </a:cubicBezTo>
                  <a:cubicBezTo>
                    <a:pt x="24" y="103"/>
                    <a:pt x="24" y="103"/>
                    <a:pt x="24" y="103"/>
                  </a:cubicBezTo>
                  <a:cubicBezTo>
                    <a:pt x="24" y="103"/>
                    <a:pt x="22" y="104"/>
                    <a:pt x="22" y="104"/>
                  </a:cubicBezTo>
                  <a:cubicBezTo>
                    <a:pt x="22" y="104"/>
                    <a:pt x="21" y="104"/>
                    <a:pt x="21" y="104"/>
                  </a:cubicBezTo>
                  <a:cubicBezTo>
                    <a:pt x="20" y="104"/>
                    <a:pt x="19" y="105"/>
                    <a:pt x="19" y="106"/>
                  </a:cubicBezTo>
                  <a:cubicBezTo>
                    <a:pt x="18" y="106"/>
                    <a:pt x="17" y="106"/>
                    <a:pt x="17" y="106"/>
                  </a:cubicBezTo>
                  <a:cubicBezTo>
                    <a:pt x="16" y="106"/>
                    <a:pt x="16" y="106"/>
                    <a:pt x="16" y="106"/>
                  </a:cubicBezTo>
                  <a:cubicBezTo>
                    <a:pt x="14" y="107"/>
                    <a:pt x="14" y="107"/>
                    <a:pt x="14" y="107"/>
                  </a:cubicBezTo>
                  <a:cubicBezTo>
                    <a:pt x="15" y="108"/>
                    <a:pt x="15" y="108"/>
                    <a:pt x="15" y="108"/>
                  </a:cubicBezTo>
                  <a:cubicBezTo>
                    <a:pt x="15" y="109"/>
                    <a:pt x="15" y="109"/>
                    <a:pt x="15" y="109"/>
                  </a:cubicBezTo>
                  <a:cubicBezTo>
                    <a:pt x="15" y="109"/>
                    <a:pt x="15" y="112"/>
                    <a:pt x="15" y="112"/>
                  </a:cubicBezTo>
                  <a:cubicBezTo>
                    <a:pt x="15" y="112"/>
                    <a:pt x="14" y="114"/>
                    <a:pt x="14" y="114"/>
                  </a:cubicBezTo>
                  <a:cubicBezTo>
                    <a:pt x="14" y="114"/>
                    <a:pt x="12" y="116"/>
                    <a:pt x="12" y="116"/>
                  </a:cubicBezTo>
                  <a:cubicBezTo>
                    <a:pt x="12" y="116"/>
                    <a:pt x="11" y="118"/>
                    <a:pt x="11" y="118"/>
                  </a:cubicBezTo>
                  <a:cubicBezTo>
                    <a:pt x="11" y="118"/>
                    <a:pt x="10" y="119"/>
                    <a:pt x="10" y="119"/>
                  </a:cubicBezTo>
                  <a:cubicBezTo>
                    <a:pt x="10" y="120"/>
                    <a:pt x="9" y="121"/>
                    <a:pt x="9" y="121"/>
                  </a:cubicBezTo>
                  <a:cubicBezTo>
                    <a:pt x="9" y="122"/>
                    <a:pt x="9" y="123"/>
                    <a:pt x="9" y="123"/>
                  </a:cubicBezTo>
                  <a:cubicBezTo>
                    <a:pt x="8" y="126"/>
                    <a:pt x="8" y="126"/>
                    <a:pt x="8" y="126"/>
                  </a:cubicBezTo>
                  <a:cubicBezTo>
                    <a:pt x="8" y="126"/>
                    <a:pt x="8" y="126"/>
                    <a:pt x="7" y="127"/>
                  </a:cubicBezTo>
                  <a:cubicBezTo>
                    <a:pt x="6" y="127"/>
                    <a:pt x="6" y="128"/>
                    <a:pt x="5" y="129"/>
                  </a:cubicBezTo>
                  <a:cubicBezTo>
                    <a:pt x="5" y="129"/>
                    <a:pt x="5" y="130"/>
                    <a:pt x="4" y="131"/>
                  </a:cubicBezTo>
                  <a:cubicBezTo>
                    <a:pt x="4" y="132"/>
                    <a:pt x="4" y="132"/>
                    <a:pt x="4" y="132"/>
                  </a:cubicBezTo>
                  <a:cubicBezTo>
                    <a:pt x="4" y="133"/>
                    <a:pt x="4" y="134"/>
                    <a:pt x="4" y="134"/>
                  </a:cubicBezTo>
                  <a:cubicBezTo>
                    <a:pt x="4" y="134"/>
                    <a:pt x="6" y="135"/>
                    <a:pt x="6" y="135"/>
                  </a:cubicBezTo>
                  <a:cubicBezTo>
                    <a:pt x="7" y="136"/>
                    <a:pt x="7" y="136"/>
                    <a:pt x="7" y="136"/>
                  </a:cubicBezTo>
                  <a:cubicBezTo>
                    <a:pt x="8" y="137"/>
                    <a:pt x="8" y="137"/>
                    <a:pt x="8" y="137"/>
                  </a:cubicBezTo>
                  <a:cubicBezTo>
                    <a:pt x="8" y="137"/>
                    <a:pt x="9" y="136"/>
                    <a:pt x="9" y="136"/>
                  </a:cubicBezTo>
                  <a:cubicBezTo>
                    <a:pt x="10" y="136"/>
                    <a:pt x="11" y="136"/>
                    <a:pt x="11" y="136"/>
                  </a:cubicBezTo>
                  <a:cubicBezTo>
                    <a:pt x="12" y="137"/>
                    <a:pt x="12" y="137"/>
                    <a:pt x="12" y="137"/>
                  </a:cubicBezTo>
                  <a:cubicBezTo>
                    <a:pt x="12" y="137"/>
                    <a:pt x="11" y="137"/>
                    <a:pt x="11" y="138"/>
                  </a:cubicBezTo>
                  <a:cubicBezTo>
                    <a:pt x="10" y="138"/>
                    <a:pt x="11" y="139"/>
                    <a:pt x="11" y="139"/>
                  </a:cubicBezTo>
                  <a:cubicBezTo>
                    <a:pt x="11" y="139"/>
                    <a:pt x="12" y="142"/>
                    <a:pt x="12" y="142"/>
                  </a:cubicBezTo>
                  <a:cubicBezTo>
                    <a:pt x="12" y="142"/>
                    <a:pt x="12" y="144"/>
                    <a:pt x="12" y="145"/>
                  </a:cubicBezTo>
                  <a:cubicBezTo>
                    <a:pt x="12" y="145"/>
                    <a:pt x="12" y="145"/>
                    <a:pt x="12" y="145"/>
                  </a:cubicBezTo>
                  <a:cubicBezTo>
                    <a:pt x="12" y="145"/>
                    <a:pt x="10" y="148"/>
                    <a:pt x="9" y="148"/>
                  </a:cubicBezTo>
                  <a:cubicBezTo>
                    <a:pt x="9" y="149"/>
                    <a:pt x="10" y="149"/>
                    <a:pt x="10" y="149"/>
                  </a:cubicBezTo>
                  <a:cubicBezTo>
                    <a:pt x="11" y="149"/>
                    <a:pt x="12" y="148"/>
                    <a:pt x="12" y="148"/>
                  </a:cubicBezTo>
                  <a:cubicBezTo>
                    <a:pt x="14" y="149"/>
                    <a:pt x="14" y="149"/>
                    <a:pt x="14" y="149"/>
                  </a:cubicBezTo>
                  <a:cubicBezTo>
                    <a:pt x="16" y="148"/>
                    <a:pt x="16" y="148"/>
                    <a:pt x="16" y="148"/>
                  </a:cubicBezTo>
                  <a:cubicBezTo>
                    <a:pt x="16" y="148"/>
                    <a:pt x="19" y="148"/>
                    <a:pt x="19" y="148"/>
                  </a:cubicBezTo>
                  <a:cubicBezTo>
                    <a:pt x="20" y="148"/>
                    <a:pt x="20" y="148"/>
                    <a:pt x="20" y="148"/>
                  </a:cubicBezTo>
                  <a:cubicBezTo>
                    <a:pt x="22" y="147"/>
                    <a:pt x="22" y="147"/>
                    <a:pt x="22" y="147"/>
                  </a:cubicBezTo>
                  <a:cubicBezTo>
                    <a:pt x="22" y="150"/>
                    <a:pt x="22" y="150"/>
                    <a:pt x="22" y="150"/>
                  </a:cubicBezTo>
                  <a:cubicBezTo>
                    <a:pt x="22" y="150"/>
                    <a:pt x="23" y="151"/>
                    <a:pt x="23" y="151"/>
                  </a:cubicBezTo>
                  <a:cubicBezTo>
                    <a:pt x="23" y="151"/>
                    <a:pt x="23" y="152"/>
                    <a:pt x="23" y="152"/>
                  </a:cubicBezTo>
                  <a:cubicBezTo>
                    <a:pt x="23" y="152"/>
                    <a:pt x="23" y="154"/>
                    <a:pt x="23" y="155"/>
                  </a:cubicBezTo>
                  <a:cubicBezTo>
                    <a:pt x="23" y="155"/>
                    <a:pt x="23" y="157"/>
                    <a:pt x="23" y="157"/>
                  </a:cubicBezTo>
                  <a:cubicBezTo>
                    <a:pt x="22" y="161"/>
                    <a:pt x="22" y="161"/>
                    <a:pt x="22" y="161"/>
                  </a:cubicBezTo>
                  <a:cubicBezTo>
                    <a:pt x="20" y="165"/>
                    <a:pt x="20" y="165"/>
                    <a:pt x="20" y="165"/>
                  </a:cubicBezTo>
                  <a:cubicBezTo>
                    <a:pt x="18" y="169"/>
                    <a:pt x="18" y="169"/>
                    <a:pt x="18" y="169"/>
                  </a:cubicBezTo>
                  <a:cubicBezTo>
                    <a:pt x="16" y="172"/>
                    <a:pt x="16" y="172"/>
                    <a:pt x="16" y="172"/>
                  </a:cubicBezTo>
                  <a:cubicBezTo>
                    <a:pt x="18" y="175"/>
                    <a:pt x="18" y="175"/>
                    <a:pt x="18" y="175"/>
                  </a:cubicBezTo>
                  <a:cubicBezTo>
                    <a:pt x="18" y="175"/>
                    <a:pt x="18" y="177"/>
                    <a:pt x="17" y="178"/>
                  </a:cubicBezTo>
                  <a:cubicBezTo>
                    <a:pt x="17" y="178"/>
                    <a:pt x="16" y="180"/>
                    <a:pt x="16" y="180"/>
                  </a:cubicBezTo>
                  <a:cubicBezTo>
                    <a:pt x="16" y="180"/>
                    <a:pt x="15" y="183"/>
                    <a:pt x="15" y="184"/>
                  </a:cubicBezTo>
                  <a:cubicBezTo>
                    <a:pt x="15" y="185"/>
                    <a:pt x="14" y="187"/>
                    <a:pt x="14" y="187"/>
                  </a:cubicBezTo>
                  <a:cubicBezTo>
                    <a:pt x="14" y="187"/>
                    <a:pt x="14" y="190"/>
                    <a:pt x="14" y="190"/>
                  </a:cubicBezTo>
                  <a:cubicBezTo>
                    <a:pt x="14" y="191"/>
                    <a:pt x="13" y="192"/>
                    <a:pt x="13" y="192"/>
                  </a:cubicBezTo>
                  <a:cubicBezTo>
                    <a:pt x="13" y="193"/>
                    <a:pt x="12" y="194"/>
                    <a:pt x="12" y="195"/>
                  </a:cubicBezTo>
                  <a:cubicBezTo>
                    <a:pt x="12" y="196"/>
                    <a:pt x="11" y="196"/>
                    <a:pt x="11" y="196"/>
                  </a:cubicBezTo>
                  <a:cubicBezTo>
                    <a:pt x="9" y="199"/>
                    <a:pt x="9" y="199"/>
                    <a:pt x="9" y="199"/>
                  </a:cubicBezTo>
                  <a:cubicBezTo>
                    <a:pt x="9" y="202"/>
                    <a:pt x="9" y="202"/>
                    <a:pt x="9" y="202"/>
                  </a:cubicBezTo>
                  <a:cubicBezTo>
                    <a:pt x="6" y="203"/>
                    <a:pt x="6" y="203"/>
                    <a:pt x="6" y="203"/>
                  </a:cubicBezTo>
                  <a:cubicBezTo>
                    <a:pt x="6" y="206"/>
                    <a:pt x="6" y="206"/>
                    <a:pt x="6" y="206"/>
                  </a:cubicBezTo>
                  <a:cubicBezTo>
                    <a:pt x="4" y="207"/>
                    <a:pt x="4" y="207"/>
                    <a:pt x="4" y="207"/>
                  </a:cubicBezTo>
                  <a:cubicBezTo>
                    <a:pt x="2" y="209"/>
                    <a:pt x="2" y="209"/>
                    <a:pt x="2" y="209"/>
                  </a:cubicBezTo>
                  <a:cubicBezTo>
                    <a:pt x="0" y="210"/>
                    <a:pt x="0" y="210"/>
                    <a:pt x="0" y="210"/>
                  </a:cubicBezTo>
                  <a:cubicBezTo>
                    <a:pt x="3" y="211"/>
                    <a:pt x="3" y="211"/>
                    <a:pt x="3" y="211"/>
                  </a:cubicBezTo>
                  <a:cubicBezTo>
                    <a:pt x="4" y="210"/>
                    <a:pt x="4" y="210"/>
                    <a:pt x="4" y="210"/>
                  </a:cubicBezTo>
                  <a:cubicBezTo>
                    <a:pt x="8" y="210"/>
                    <a:pt x="8" y="210"/>
                    <a:pt x="8" y="210"/>
                  </a:cubicBezTo>
                  <a:cubicBezTo>
                    <a:pt x="9" y="210"/>
                    <a:pt x="9" y="210"/>
                    <a:pt x="9" y="210"/>
                  </a:cubicBezTo>
                  <a:cubicBezTo>
                    <a:pt x="11" y="210"/>
                    <a:pt x="11" y="210"/>
                    <a:pt x="11" y="210"/>
                  </a:cubicBezTo>
                  <a:cubicBezTo>
                    <a:pt x="13" y="210"/>
                    <a:pt x="13" y="210"/>
                    <a:pt x="13" y="210"/>
                  </a:cubicBezTo>
                  <a:cubicBezTo>
                    <a:pt x="14" y="210"/>
                    <a:pt x="14" y="210"/>
                    <a:pt x="14" y="210"/>
                  </a:cubicBezTo>
                  <a:cubicBezTo>
                    <a:pt x="15" y="209"/>
                    <a:pt x="15" y="209"/>
                    <a:pt x="15" y="209"/>
                  </a:cubicBezTo>
                  <a:cubicBezTo>
                    <a:pt x="18" y="211"/>
                    <a:pt x="18" y="211"/>
                    <a:pt x="18" y="211"/>
                  </a:cubicBezTo>
                  <a:cubicBezTo>
                    <a:pt x="21" y="213"/>
                    <a:pt x="21" y="213"/>
                    <a:pt x="21" y="213"/>
                  </a:cubicBezTo>
                  <a:cubicBezTo>
                    <a:pt x="23" y="212"/>
                    <a:pt x="23" y="212"/>
                    <a:pt x="23" y="212"/>
                  </a:cubicBezTo>
                  <a:cubicBezTo>
                    <a:pt x="25" y="213"/>
                    <a:pt x="25" y="213"/>
                    <a:pt x="25" y="213"/>
                  </a:cubicBezTo>
                  <a:cubicBezTo>
                    <a:pt x="26" y="214"/>
                    <a:pt x="26" y="214"/>
                    <a:pt x="26" y="214"/>
                  </a:cubicBezTo>
                  <a:cubicBezTo>
                    <a:pt x="28" y="214"/>
                    <a:pt x="28" y="214"/>
                    <a:pt x="28" y="214"/>
                  </a:cubicBezTo>
                  <a:cubicBezTo>
                    <a:pt x="30" y="215"/>
                    <a:pt x="30" y="215"/>
                    <a:pt x="30" y="215"/>
                  </a:cubicBezTo>
                  <a:cubicBezTo>
                    <a:pt x="32" y="217"/>
                    <a:pt x="32" y="217"/>
                    <a:pt x="32" y="217"/>
                  </a:cubicBezTo>
                  <a:cubicBezTo>
                    <a:pt x="35" y="219"/>
                    <a:pt x="35" y="219"/>
                    <a:pt x="35" y="219"/>
                  </a:cubicBezTo>
                  <a:cubicBezTo>
                    <a:pt x="36" y="220"/>
                    <a:pt x="36" y="220"/>
                    <a:pt x="36" y="220"/>
                  </a:cubicBezTo>
                  <a:cubicBezTo>
                    <a:pt x="39" y="220"/>
                    <a:pt x="39" y="220"/>
                    <a:pt x="39" y="220"/>
                  </a:cubicBezTo>
                  <a:cubicBezTo>
                    <a:pt x="42" y="220"/>
                    <a:pt x="42" y="220"/>
                    <a:pt x="42" y="220"/>
                  </a:cubicBezTo>
                  <a:cubicBezTo>
                    <a:pt x="47" y="219"/>
                    <a:pt x="47" y="219"/>
                    <a:pt x="47" y="219"/>
                  </a:cubicBezTo>
                  <a:cubicBezTo>
                    <a:pt x="51" y="218"/>
                    <a:pt x="51" y="218"/>
                    <a:pt x="51" y="218"/>
                  </a:cubicBezTo>
                  <a:cubicBezTo>
                    <a:pt x="53" y="217"/>
                    <a:pt x="53" y="217"/>
                    <a:pt x="53" y="217"/>
                  </a:cubicBezTo>
                  <a:cubicBezTo>
                    <a:pt x="55" y="217"/>
                    <a:pt x="55" y="217"/>
                    <a:pt x="55" y="217"/>
                  </a:cubicBezTo>
                  <a:cubicBezTo>
                    <a:pt x="56" y="217"/>
                    <a:pt x="56" y="217"/>
                    <a:pt x="56" y="217"/>
                  </a:cubicBezTo>
                  <a:lnTo>
                    <a:pt x="55" y="215"/>
                  </a:lnTo>
                  <a:close/>
                </a:path>
              </a:pathLst>
            </a:custGeom>
            <a:solidFill>
              <a:schemeClr val="accent6">
                <a:lumMod val="75000"/>
              </a:schemeClr>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6" name="Freeform 131"/>
            <p:cNvSpPr>
              <a:spLocks/>
            </p:cNvSpPr>
            <p:nvPr/>
          </p:nvSpPr>
          <p:spPr bwMode="auto">
            <a:xfrm>
              <a:off x="4857775" y="4064115"/>
              <a:ext cx="293162" cy="232833"/>
            </a:xfrm>
            <a:custGeom>
              <a:avLst/>
              <a:gdLst>
                <a:gd name="T0" fmla="*/ 84 w 101"/>
                <a:gd name="T1" fmla="*/ 82 h 85"/>
                <a:gd name="T2" fmla="*/ 83 w 101"/>
                <a:gd name="T3" fmla="*/ 80 h 85"/>
                <a:gd name="T4" fmla="*/ 80 w 101"/>
                <a:gd name="T5" fmla="*/ 75 h 85"/>
                <a:gd name="T6" fmla="*/ 83 w 101"/>
                <a:gd name="T7" fmla="*/ 67 h 85"/>
                <a:gd name="T8" fmla="*/ 85 w 101"/>
                <a:gd name="T9" fmla="*/ 63 h 85"/>
                <a:gd name="T10" fmla="*/ 87 w 101"/>
                <a:gd name="T11" fmla="*/ 60 h 85"/>
                <a:gd name="T12" fmla="*/ 89 w 101"/>
                <a:gd name="T13" fmla="*/ 58 h 85"/>
                <a:gd name="T14" fmla="*/ 91 w 101"/>
                <a:gd name="T15" fmla="*/ 57 h 85"/>
                <a:gd name="T16" fmla="*/ 95 w 101"/>
                <a:gd name="T17" fmla="*/ 58 h 85"/>
                <a:gd name="T18" fmla="*/ 98 w 101"/>
                <a:gd name="T19" fmla="*/ 56 h 85"/>
                <a:gd name="T20" fmla="*/ 101 w 101"/>
                <a:gd name="T21" fmla="*/ 52 h 85"/>
                <a:gd name="T22" fmla="*/ 97 w 101"/>
                <a:gd name="T23" fmla="*/ 46 h 85"/>
                <a:gd name="T24" fmla="*/ 96 w 101"/>
                <a:gd name="T25" fmla="*/ 39 h 85"/>
                <a:gd name="T26" fmla="*/ 91 w 101"/>
                <a:gd name="T27" fmla="*/ 35 h 85"/>
                <a:gd name="T28" fmla="*/ 83 w 101"/>
                <a:gd name="T29" fmla="*/ 34 h 85"/>
                <a:gd name="T30" fmla="*/ 83 w 101"/>
                <a:gd name="T31" fmla="*/ 28 h 85"/>
                <a:gd name="T32" fmla="*/ 88 w 101"/>
                <a:gd name="T33" fmla="*/ 20 h 85"/>
                <a:gd name="T34" fmla="*/ 80 w 101"/>
                <a:gd name="T35" fmla="*/ 14 h 85"/>
                <a:gd name="T36" fmla="*/ 75 w 101"/>
                <a:gd name="T37" fmla="*/ 11 h 85"/>
                <a:gd name="T38" fmla="*/ 69 w 101"/>
                <a:gd name="T39" fmla="*/ 8 h 85"/>
                <a:gd name="T40" fmla="*/ 67 w 101"/>
                <a:gd name="T41" fmla="*/ 2 h 85"/>
                <a:gd name="T42" fmla="*/ 61 w 101"/>
                <a:gd name="T43" fmla="*/ 3 h 85"/>
                <a:gd name="T44" fmla="*/ 57 w 101"/>
                <a:gd name="T45" fmla="*/ 3 h 85"/>
                <a:gd name="T46" fmla="*/ 51 w 101"/>
                <a:gd name="T47" fmla="*/ 1 h 85"/>
                <a:gd name="T48" fmla="*/ 47 w 101"/>
                <a:gd name="T49" fmla="*/ 5 h 85"/>
                <a:gd name="T50" fmla="*/ 31 w 101"/>
                <a:gd name="T51" fmla="*/ 8 h 85"/>
                <a:gd name="T52" fmla="*/ 24 w 101"/>
                <a:gd name="T53" fmla="*/ 6 h 85"/>
                <a:gd name="T54" fmla="*/ 15 w 101"/>
                <a:gd name="T55" fmla="*/ 5 h 85"/>
                <a:gd name="T56" fmla="*/ 0 w 101"/>
                <a:gd name="T57" fmla="*/ 17 h 85"/>
                <a:gd name="T58" fmla="*/ 2 w 101"/>
                <a:gd name="T59" fmla="*/ 24 h 85"/>
                <a:gd name="T60" fmla="*/ 9 w 101"/>
                <a:gd name="T61" fmla="*/ 27 h 85"/>
                <a:gd name="T62" fmla="*/ 17 w 101"/>
                <a:gd name="T63" fmla="*/ 30 h 85"/>
                <a:gd name="T64" fmla="*/ 19 w 101"/>
                <a:gd name="T65" fmla="*/ 39 h 85"/>
                <a:gd name="T66" fmla="*/ 23 w 101"/>
                <a:gd name="T67" fmla="*/ 38 h 85"/>
                <a:gd name="T68" fmla="*/ 27 w 101"/>
                <a:gd name="T69" fmla="*/ 43 h 85"/>
                <a:gd name="T70" fmla="*/ 30 w 101"/>
                <a:gd name="T71" fmla="*/ 47 h 85"/>
                <a:gd name="T72" fmla="*/ 38 w 101"/>
                <a:gd name="T73" fmla="*/ 47 h 85"/>
                <a:gd name="T74" fmla="*/ 43 w 101"/>
                <a:gd name="T75" fmla="*/ 51 h 85"/>
                <a:gd name="T76" fmla="*/ 42 w 101"/>
                <a:gd name="T77" fmla="*/ 57 h 85"/>
                <a:gd name="T78" fmla="*/ 41 w 101"/>
                <a:gd name="T79" fmla="*/ 64 h 85"/>
                <a:gd name="T80" fmla="*/ 48 w 101"/>
                <a:gd name="T81" fmla="*/ 64 h 85"/>
                <a:gd name="T82" fmla="*/ 53 w 101"/>
                <a:gd name="T83" fmla="*/ 59 h 85"/>
                <a:gd name="T84" fmla="*/ 57 w 101"/>
                <a:gd name="T85" fmla="*/ 56 h 85"/>
                <a:gd name="T86" fmla="*/ 61 w 101"/>
                <a:gd name="T87" fmla="*/ 62 h 85"/>
                <a:gd name="T88" fmla="*/ 59 w 101"/>
                <a:gd name="T89" fmla="*/ 67 h 85"/>
                <a:gd name="T90" fmla="*/ 60 w 101"/>
                <a:gd name="T91" fmla="*/ 72 h 85"/>
                <a:gd name="T92" fmla="*/ 67 w 101"/>
                <a:gd name="T93" fmla="*/ 74 h 85"/>
                <a:gd name="T94" fmla="*/ 72 w 101"/>
                <a:gd name="T95" fmla="*/ 80 h 85"/>
                <a:gd name="T96" fmla="*/ 76 w 101"/>
                <a:gd name="T97" fmla="*/ 82 h 85"/>
                <a:gd name="T98" fmla="*/ 79 w 101"/>
                <a:gd name="T99" fmla="*/ 8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85">
                  <a:moveTo>
                    <a:pt x="80" y="84"/>
                  </a:moveTo>
                  <a:cubicBezTo>
                    <a:pt x="80" y="84"/>
                    <a:pt x="82" y="84"/>
                    <a:pt x="83" y="83"/>
                  </a:cubicBezTo>
                  <a:cubicBezTo>
                    <a:pt x="83" y="83"/>
                    <a:pt x="83" y="83"/>
                    <a:pt x="83" y="83"/>
                  </a:cubicBezTo>
                  <a:cubicBezTo>
                    <a:pt x="84" y="82"/>
                    <a:pt x="84" y="82"/>
                    <a:pt x="84" y="82"/>
                  </a:cubicBezTo>
                  <a:cubicBezTo>
                    <a:pt x="84" y="82"/>
                    <a:pt x="84" y="81"/>
                    <a:pt x="84" y="81"/>
                  </a:cubicBezTo>
                  <a:cubicBezTo>
                    <a:pt x="84" y="81"/>
                    <a:pt x="84" y="81"/>
                    <a:pt x="84" y="81"/>
                  </a:cubicBezTo>
                  <a:cubicBezTo>
                    <a:pt x="84" y="81"/>
                    <a:pt x="84" y="81"/>
                    <a:pt x="84" y="81"/>
                  </a:cubicBezTo>
                  <a:cubicBezTo>
                    <a:pt x="83" y="80"/>
                    <a:pt x="83" y="80"/>
                    <a:pt x="83" y="80"/>
                  </a:cubicBezTo>
                  <a:cubicBezTo>
                    <a:pt x="82" y="77"/>
                    <a:pt x="82" y="77"/>
                    <a:pt x="82" y="77"/>
                  </a:cubicBezTo>
                  <a:cubicBezTo>
                    <a:pt x="80" y="77"/>
                    <a:pt x="80" y="77"/>
                    <a:pt x="80" y="77"/>
                  </a:cubicBezTo>
                  <a:cubicBezTo>
                    <a:pt x="80" y="76"/>
                    <a:pt x="80" y="76"/>
                    <a:pt x="80" y="76"/>
                  </a:cubicBezTo>
                  <a:cubicBezTo>
                    <a:pt x="80" y="75"/>
                    <a:pt x="80" y="75"/>
                    <a:pt x="80" y="75"/>
                  </a:cubicBezTo>
                  <a:cubicBezTo>
                    <a:pt x="80" y="74"/>
                    <a:pt x="81" y="73"/>
                    <a:pt x="81" y="73"/>
                  </a:cubicBezTo>
                  <a:cubicBezTo>
                    <a:pt x="81" y="72"/>
                    <a:pt x="81" y="72"/>
                    <a:pt x="81" y="72"/>
                  </a:cubicBezTo>
                  <a:cubicBezTo>
                    <a:pt x="81" y="72"/>
                    <a:pt x="80" y="71"/>
                    <a:pt x="80" y="70"/>
                  </a:cubicBezTo>
                  <a:cubicBezTo>
                    <a:pt x="81" y="69"/>
                    <a:pt x="83" y="67"/>
                    <a:pt x="83" y="67"/>
                  </a:cubicBezTo>
                  <a:cubicBezTo>
                    <a:pt x="83" y="66"/>
                    <a:pt x="83" y="66"/>
                    <a:pt x="83" y="66"/>
                  </a:cubicBezTo>
                  <a:cubicBezTo>
                    <a:pt x="83" y="65"/>
                    <a:pt x="83" y="65"/>
                    <a:pt x="83" y="65"/>
                  </a:cubicBezTo>
                  <a:cubicBezTo>
                    <a:pt x="84" y="65"/>
                    <a:pt x="84" y="64"/>
                    <a:pt x="85" y="63"/>
                  </a:cubicBezTo>
                  <a:cubicBezTo>
                    <a:pt x="85" y="63"/>
                    <a:pt x="85" y="63"/>
                    <a:pt x="85" y="63"/>
                  </a:cubicBezTo>
                  <a:cubicBezTo>
                    <a:pt x="85" y="63"/>
                    <a:pt x="85" y="63"/>
                    <a:pt x="85" y="63"/>
                  </a:cubicBezTo>
                  <a:cubicBezTo>
                    <a:pt x="85" y="62"/>
                    <a:pt x="85" y="62"/>
                    <a:pt x="85" y="62"/>
                  </a:cubicBezTo>
                  <a:cubicBezTo>
                    <a:pt x="85" y="61"/>
                    <a:pt x="86" y="60"/>
                    <a:pt x="87" y="60"/>
                  </a:cubicBezTo>
                  <a:cubicBezTo>
                    <a:pt x="87" y="60"/>
                    <a:pt x="87" y="60"/>
                    <a:pt x="87" y="60"/>
                  </a:cubicBezTo>
                  <a:cubicBezTo>
                    <a:pt x="87" y="59"/>
                    <a:pt x="87" y="59"/>
                    <a:pt x="87" y="59"/>
                  </a:cubicBezTo>
                  <a:cubicBezTo>
                    <a:pt x="88" y="59"/>
                    <a:pt x="88" y="58"/>
                    <a:pt x="88" y="58"/>
                  </a:cubicBezTo>
                  <a:cubicBezTo>
                    <a:pt x="88" y="58"/>
                    <a:pt x="88" y="58"/>
                    <a:pt x="88" y="58"/>
                  </a:cubicBezTo>
                  <a:cubicBezTo>
                    <a:pt x="89" y="58"/>
                    <a:pt x="89" y="58"/>
                    <a:pt x="89" y="58"/>
                  </a:cubicBezTo>
                  <a:cubicBezTo>
                    <a:pt x="89" y="58"/>
                    <a:pt x="89" y="57"/>
                    <a:pt x="89" y="57"/>
                  </a:cubicBezTo>
                  <a:cubicBezTo>
                    <a:pt x="90" y="57"/>
                    <a:pt x="91" y="57"/>
                    <a:pt x="91" y="57"/>
                  </a:cubicBezTo>
                  <a:cubicBezTo>
                    <a:pt x="91" y="57"/>
                    <a:pt x="91" y="57"/>
                    <a:pt x="91" y="57"/>
                  </a:cubicBezTo>
                  <a:cubicBezTo>
                    <a:pt x="91" y="57"/>
                    <a:pt x="91" y="57"/>
                    <a:pt x="91" y="57"/>
                  </a:cubicBezTo>
                  <a:cubicBezTo>
                    <a:pt x="92" y="57"/>
                    <a:pt x="92" y="57"/>
                    <a:pt x="92" y="58"/>
                  </a:cubicBezTo>
                  <a:cubicBezTo>
                    <a:pt x="93" y="57"/>
                    <a:pt x="93" y="57"/>
                    <a:pt x="93" y="57"/>
                  </a:cubicBezTo>
                  <a:cubicBezTo>
                    <a:pt x="94" y="57"/>
                    <a:pt x="94" y="57"/>
                    <a:pt x="94" y="57"/>
                  </a:cubicBezTo>
                  <a:cubicBezTo>
                    <a:pt x="95" y="58"/>
                    <a:pt x="95" y="58"/>
                    <a:pt x="95" y="58"/>
                  </a:cubicBezTo>
                  <a:cubicBezTo>
                    <a:pt x="95" y="58"/>
                    <a:pt x="95" y="58"/>
                    <a:pt x="95" y="58"/>
                  </a:cubicBezTo>
                  <a:cubicBezTo>
                    <a:pt x="96" y="57"/>
                    <a:pt x="96" y="57"/>
                    <a:pt x="96" y="57"/>
                  </a:cubicBezTo>
                  <a:cubicBezTo>
                    <a:pt x="96" y="57"/>
                    <a:pt x="96" y="56"/>
                    <a:pt x="97" y="56"/>
                  </a:cubicBezTo>
                  <a:cubicBezTo>
                    <a:pt x="97" y="56"/>
                    <a:pt x="97" y="56"/>
                    <a:pt x="98" y="56"/>
                  </a:cubicBezTo>
                  <a:cubicBezTo>
                    <a:pt x="99" y="56"/>
                    <a:pt x="99" y="54"/>
                    <a:pt x="99" y="54"/>
                  </a:cubicBezTo>
                  <a:cubicBezTo>
                    <a:pt x="100" y="54"/>
                    <a:pt x="100" y="54"/>
                    <a:pt x="100" y="54"/>
                  </a:cubicBezTo>
                  <a:cubicBezTo>
                    <a:pt x="100" y="54"/>
                    <a:pt x="101" y="53"/>
                    <a:pt x="101" y="53"/>
                  </a:cubicBezTo>
                  <a:cubicBezTo>
                    <a:pt x="101" y="52"/>
                    <a:pt x="101" y="52"/>
                    <a:pt x="101" y="52"/>
                  </a:cubicBezTo>
                  <a:cubicBezTo>
                    <a:pt x="101" y="52"/>
                    <a:pt x="101" y="50"/>
                    <a:pt x="101" y="49"/>
                  </a:cubicBezTo>
                  <a:cubicBezTo>
                    <a:pt x="101" y="48"/>
                    <a:pt x="101" y="47"/>
                    <a:pt x="101" y="47"/>
                  </a:cubicBezTo>
                  <a:cubicBezTo>
                    <a:pt x="101" y="47"/>
                    <a:pt x="100" y="46"/>
                    <a:pt x="100" y="46"/>
                  </a:cubicBezTo>
                  <a:cubicBezTo>
                    <a:pt x="99" y="46"/>
                    <a:pt x="98" y="46"/>
                    <a:pt x="97" y="46"/>
                  </a:cubicBezTo>
                  <a:cubicBezTo>
                    <a:pt x="97" y="46"/>
                    <a:pt x="96" y="44"/>
                    <a:pt x="96" y="44"/>
                  </a:cubicBezTo>
                  <a:cubicBezTo>
                    <a:pt x="96" y="44"/>
                    <a:pt x="97" y="43"/>
                    <a:pt x="97" y="43"/>
                  </a:cubicBezTo>
                  <a:cubicBezTo>
                    <a:pt x="98" y="42"/>
                    <a:pt x="98" y="40"/>
                    <a:pt x="98" y="40"/>
                  </a:cubicBezTo>
                  <a:cubicBezTo>
                    <a:pt x="98" y="40"/>
                    <a:pt x="96" y="40"/>
                    <a:pt x="96" y="39"/>
                  </a:cubicBezTo>
                  <a:cubicBezTo>
                    <a:pt x="96" y="39"/>
                    <a:pt x="95" y="39"/>
                    <a:pt x="95" y="39"/>
                  </a:cubicBezTo>
                  <a:cubicBezTo>
                    <a:pt x="94" y="37"/>
                    <a:pt x="94" y="37"/>
                    <a:pt x="94" y="37"/>
                  </a:cubicBezTo>
                  <a:cubicBezTo>
                    <a:pt x="94" y="37"/>
                    <a:pt x="93" y="36"/>
                    <a:pt x="92" y="36"/>
                  </a:cubicBezTo>
                  <a:cubicBezTo>
                    <a:pt x="92" y="36"/>
                    <a:pt x="91" y="35"/>
                    <a:pt x="91" y="35"/>
                  </a:cubicBezTo>
                  <a:cubicBezTo>
                    <a:pt x="91" y="35"/>
                    <a:pt x="90" y="34"/>
                    <a:pt x="89" y="34"/>
                  </a:cubicBezTo>
                  <a:cubicBezTo>
                    <a:pt x="89" y="34"/>
                    <a:pt x="88" y="34"/>
                    <a:pt x="87" y="34"/>
                  </a:cubicBezTo>
                  <a:cubicBezTo>
                    <a:pt x="86" y="34"/>
                    <a:pt x="85" y="34"/>
                    <a:pt x="85" y="34"/>
                  </a:cubicBezTo>
                  <a:cubicBezTo>
                    <a:pt x="83" y="34"/>
                    <a:pt x="83" y="34"/>
                    <a:pt x="83" y="34"/>
                  </a:cubicBezTo>
                  <a:cubicBezTo>
                    <a:pt x="83" y="33"/>
                    <a:pt x="83" y="33"/>
                    <a:pt x="83" y="33"/>
                  </a:cubicBezTo>
                  <a:cubicBezTo>
                    <a:pt x="81" y="31"/>
                    <a:pt x="81" y="31"/>
                    <a:pt x="81" y="31"/>
                  </a:cubicBezTo>
                  <a:cubicBezTo>
                    <a:pt x="81" y="31"/>
                    <a:pt x="81" y="29"/>
                    <a:pt x="81" y="29"/>
                  </a:cubicBezTo>
                  <a:cubicBezTo>
                    <a:pt x="81" y="28"/>
                    <a:pt x="82" y="28"/>
                    <a:pt x="83" y="28"/>
                  </a:cubicBezTo>
                  <a:cubicBezTo>
                    <a:pt x="83" y="28"/>
                    <a:pt x="84" y="26"/>
                    <a:pt x="84" y="26"/>
                  </a:cubicBezTo>
                  <a:cubicBezTo>
                    <a:pt x="84" y="26"/>
                    <a:pt x="85" y="25"/>
                    <a:pt x="86" y="24"/>
                  </a:cubicBezTo>
                  <a:cubicBezTo>
                    <a:pt x="86" y="24"/>
                    <a:pt x="87" y="22"/>
                    <a:pt x="87" y="21"/>
                  </a:cubicBezTo>
                  <a:cubicBezTo>
                    <a:pt x="87" y="21"/>
                    <a:pt x="88" y="20"/>
                    <a:pt x="88" y="20"/>
                  </a:cubicBezTo>
                  <a:cubicBezTo>
                    <a:pt x="88" y="20"/>
                    <a:pt x="89" y="18"/>
                    <a:pt x="89" y="18"/>
                  </a:cubicBezTo>
                  <a:cubicBezTo>
                    <a:pt x="89" y="17"/>
                    <a:pt x="88" y="17"/>
                    <a:pt x="87" y="17"/>
                  </a:cubicBezTo>
                  <a:cubicBezTo>
                    <a:pt x="87" y="17"/>
                    <a:pt x="84" y="16"/>
                    <a:pt x="84" y="15"/>
                  </a:cubicBezTo>
                  <a:cubicBezTo>
                    <a:pt x="84" y="15"/>
                    <a:pt x="82" y="15"/>
                    <a:pt x="80" y="14"/>
                  </a:cubicBezTo>
                  <a:cubicBezTo>
                    <a:pt x="78" y="14"/>
                    <a:pt x="80" y="13"/>
                    <a:pt x="80" y="12"/>
                  </a:cubicBezTo>
                  <a:cubicBezTo>
                    <a:pt x="80" y="11"/>
                    <a:pt x="78" y="11"/>
                    <a:pt x="78" y="11"/>
                  </a:cubicBezTo>
                  <a:cubicBezTo>
                    <a:pt x="78" y="10"/>
                    <a:pt x="78" y="11"/>
                    <a:pt x="77" y="12"/>
                  </a:cubicBezTo>
                  <a:cubicBezTo>
                    <a:pt x="76" y="12"/>
                    <a:pt x="75" y="11"/>
                    <a:pt x="75" y="11"/>
                  </a:cubicBezTo>
                  <a:cubicBezTo>
                    <a:pt x="74" y="11"/>
                    <a:pt x="72" y="11"/>
                    <a:pt x="72" y="11"/>
                  </a:cubicBezTo>
                  <a:cubicBezTo>
                    <a:pt x="72" y="11"/>
                    <a:pt x="72" y="10"/>
                    <a:pt x="72" y="9"/>
                  </a:cubicBezTo>
                  <a:cubicBezTo>
                    <a:pt x="72" y="8"/>
                    <a:pt x="71" y="9"/>
                    <a:pt x="71" y="9"/>
                  </a:cubicBezTo>
                  <a:cubicBezTo>
                    <a:pt x="71" y="9"/>
                    <a:pt x="70" y="8"/>
                    <a:pt x="69" y="8"/>
                  </a:cubicBezTo>
                  <a:cubicBezTo>
                    <a:pt x="69" y="8"/>
                    <a:pt x="70" y="8"/>
                    <a:pt x="70" y="7"/>
                  </a:cubicBezTo>
                  <a:cubicBezTo>
                    <a:pt x="70" y="7"/>
                    <a:pt x="69" y="7"/>
                    <a:pt x="69" y="7"/>
                  </a:cubicBezTo>
                  <a:cubicBezTo>
                    <a:pt x="68" y="7"/>
                    <a:pt x="68" y="5"/>
                    <a:pt x="68" y="5"/>
                  </a:cubicBezTo>
                  <a:cubicBezTo>
                    <a:pt x="68" y="5"/>
                    <a:pt x="67" y="3"/>
                    <a:pt x="67" y="2"/>
                  </a:cubicBezTo>
                  <a:cubicBezTo>
                    <a:pt x="67" y="1"/>
                    <a:pt x="66" y="2"/>
                    <a:pt x="66" y="2"/>
                  </a:cubicBezTo>
                  <a:cubicBezTo>
                    <a:pt x="65" y="5"/>
                    <a:pt x="65" y="5"/>
                    <a:pt x="65" y="5"/>
                  </a:cubicBezTo>
                  <a:cubicBezTo>
                    <a:pt x="65" y="5"/>
                    <a:pt x="64" y="5"/>
                    <a:pt x="62" y="4"/>
                  </a:cubicBezTo>
                  <a:cubicBezTo>
                    <a:pt x="60" y="3"/>
                    <a:pt x="61" y="3"/>
                    <a:pt x="61" y="3"/>
                  </a:cubicBezTo>
                  <a:cubicBezTo>
                    <a:pt x="62" y="1"/>
                    <a:pt x="62" y="1"/>
                    <a:pt x="62" y="1"/>
                  </a:cubicBezTo>
                  <a:cubicBezTo>
                    <a:pt x="62" y="1"/>
                    <a:pt x="61" y="1"/>
                    <a:pt x="60" y="0"/>
                  </a:cubicBezTo>
                  <a:cubicBezTo>
                    <a:pt x="59" y="0"/>
                    <a:pt x="59" y="0"/>
                    <a:pt x="58" y="1"/>
                  </a:cubicBezTo>
                  <a:cubicBezTo>
                    <a:pt x="58" y="2"/>
                    <a:pt x="57" y="3"/>
                    <a:pt x="57" y="3"/>
                  </a:cubicBezTo>
                  <a:cubicBezTo>
                    <a:pt x="56" y="4"/>
                    <a:pt x="56" y="3"/>
                    <a:pt x="55" y="3"/>
                  </a:cubicBezTo>
                  <a:cubicBezTo>
                    <a:pt x="53" y="3"/>
                    <a:pt x="53" y="3"/>
                    <a:pt x="53" y="3"/>
                  </a:cubicBezTo>
                  <a:cubicBezTo>
                    <a:pt x="53" y="2"/>
                    <a:pt x="52" y="2"/>
                    <a:pt x="52" y="1"/>
                  </a:cubicBezTo>
                  <a:cubicBezTo>
                    <a:pt x="52" y="0"/>
                    <a:pt x="51" y="1"/>
                    <a:pt x="51" y="1"/>
                  </a:cubicBezTo>
                  <a:cubicBezTo>
                    <a:pt x="51" y="1"/>
                    <a:pt x="50" y="1"/>
                    <a:pt x="49" y="2"/>
                  </a:cubicBezTo>
                  <a:cubicBezTo>
                    <a:pt x="49" y="2"/>
                    <a:pt x="49" y="3"/>
                    <a:pt x="50" y="4"/>
                  </a:cubicBezTo>
                  <a:cubicBezTo>
                    <a:pt x="50" y="4"/>
                    <a:pt x="50" y="6"/>
                    <a:pt x="50" y="6"/>
                  </a:cubicBezTo>
                  <a:cubicBezTo>
                    <a:pt x="50" y="6"/>
                    <a:pt x="48" y="5"/>
                    <a:pt x="47" y="5"/>
                  </a:cubicBezTo>
                  <a:cubicBezTo>
                    <a:pt x="47" y="5"/>
                    <a:pt x="46" y="5"/>
                    <a:pt x="45" y="5"/>
                  </a:cubicBezTo>
                  <a:cubicBezTo>
                    <a:pt x="43" y="4"/>
                    <a:pt x="44" y="6"/>
                    <a:pt x="44" y="6"/>
                  </a:cubicBezTo>
                  <a:cubicBezTo>
                    <a:pt x="44" y="6"/>
                    <a:pt x="42" y="8"/>
                    <a:pt x="42" y="8"/>
                  </a:cubicBezTo>
                  <a:cubicBezTo>
                    <a:pt x="34" y="10"/>
                    <a:pt x="37" y="9"/>
                    <a:pt x="31" y="8"/>
                  </a:cubicBezTo>
                  <a:cubicBezTo>
                    <a:pt x="31" y="8"/>
                    <a:pt x="31" y="4"/>
                    <a:pt x="30" y="4"/>
                  </a:cubicBezTo>
                  <a:cubicBezTo>
                    <a:pt x="29" y="3"/>
                    <a:pt x="28" y="4"/>
                    <a:pt x="27" y="4"/>
                  </a:cubicBezTo>
                  <a:cubicBezTo>
                    <a:pt x="27" y="5"/>
                    <a:pt x="27" y="6"/>
                    <a:pt x="26" y="6"/>
                  </a:cubicBezTo>
                  <a:cubicBezTo>
                    <a:pt x="26" y="7"/>
                    <a:pt x="25" y="6"/>
                    <a:pt x="24" y="6"/>
                  </a:cubicBezTo>
                  <a:cubicBezTo>
                    <a:pt x="24" y="5"/>
                    <a:pt x="23" y="3"/>
                    <a:pt x="23" y="3"/>
                  </a:cubicBezTo>
                  <a:cubicBezTo>
                    <a:pt x="22" y="4"/>
                    <a:pt x="22" y="4"/>
                    <a:pt x="22" y="4"/>
                  </a:cubicBezTo>
                  <a:cubicBezTo>
                    <a:pt x="19" y="4"/>
                    <a:pt x="19" y="4"/>
                    <a:pt x="19" y="4"/>
                  </a:cubicBezTo>
                  <a:cubicBezTo>
                    <a:pt x="15" y="5"/>
                    <a:pt x="15" y="5"/>
                    <a:pt x="15" y="5"/>
                  </a:cubicBezTo>
                  <a:cubicBezTo>
                    <a:pt x="15" y="5"/>
                    <a:pt x="9" y="9"/>
                    <a:pt x="4" y="11"/>
                  </a:cubicBezTo>
                  <a:cubicBezTo>
                    <a:pt x="1" y="14"/>
                    <a:pt x="1" y="14"/>
                    <a:pt x="1" y="14"/>
                  </a:cubicBezTo>
                  <a:cubicBezTo>
                    <a:pt x="1" y="15"/>
                    <a:pt x="1" y="15"/>
                    <a:pt x="0" y="15"/>
                  </a:cubicBezTo>
                  <a:cubicBezTo>
                    <a:pt x="0" y="17"/>
                    <a:pt x="0" y="17"/>
                    <a:pt x="0" y="17"/>
                  </a:cubicBezTo>
                  <a:cubicBezTo>
                    <a:pt x="0" y="17"/>
                    <a:pt x="0" y="17"/>
                    <a:pt x="1" y="17"/>
                  </a:cubicBezTo>
                  <a:cubicBezTo>
                    <a:pt x="2" y="18"/>
                    <a:pt x="2" y="19"/>
                    <a:pt x="2" y="21"/>
                  </a:cubicBezTo>
                  <a:cubicBezTo>
                    <a:pt x="2" y="23"/>
                    <a:pt x="2" y="23"/>
                    <a:pt x="2" y="23"/>
                  </a:cubicBezTo>
                  <a:cubicBezTo>
                    <a:pt x="2" y="23"/>
                    <a:pt x="2" y="24"/>
                    <a:pt x="2" y="24"/>
                  </a:cubicBezTo>
                  <a:cubicBezTo>
                    <a:pt x="3" y="25"/>
                    <a:pt x="4" y="26"/>
                    <a:pt x="5" y="27"/>
                  </a:cubicBezTo>
                  <a:cubicBezTo>
                    <a:pt x="5" y="28"/>
                    <a:pt x="5" y="28"/>
                    <a:pt x="5" y="29"/>
                  </a:cubicBezTo>
                  <a:cubicBezTo>
                    <a:pt x="6" y="28"/>
                    <a:pt x="6" y="27"/>
                    <a:pt x="8" y="27"/>
                  </a:cubicBezTo>
                  <a:cubicBezTo>
                    <a:pt x="8" y="27"/>
                    <a:pt x="9" y="27"/>
                    <a:pt x="9" y="27"/>
                  </a:cubicBezTo>
                  <a:cubicBezTo>
                    <a:pt x="9" y="27"/>
                    <a:pt x="10" y="27"/>
                    <a:pt x="11" y="26"/>
                  </a:cubicBezTo>
                  <a:cubicBezTo>
                    <a:pt x="12" y="25"/>
                    <a:pt x="12" y="25"/>
                    <a:pt x="12" y="25"/>
                  </a:cubicBezTo>
                  <a:cubicBezTo>
                    <a:pt x="15" y="28"/>
                    <a:pt x="15" y="28"/>
                    <a:pt x="15" y="28"/>
                  </a:cubicBezTo>
                  <a:cubicBezTo>
                    <a:pt x="16" y="29"/>
                    <a:pt x="16" y="29"/>
                    <a:pt x="17" y="30"/>
                  </a:cubicBezTo>
                  <a:cubicBezTo>
                    <a:pt x="18" y="31"/>
                    <a:pt x="18" y="33"/>
                    <a:pt x="17" y="34"/>
                  </a:cubicBezTo>
                  <a:cubicBezTo>
                    <a:pt x="18" y="34"/>
                    <a:pt x="18" y="35"/>
                    <a:pt x="18" y="35"/>
                  </a:cubicBezTo>
                  <a:cubicBezTo>
                    <a:pt x="18" y="35"/>
                    <a:pt x="18" y="36"/>
                    <a:pt x="18" y="36"/>
                  </a:cubicBezTo>
                  <a:cubicBezTo>
                    <a:pt x="19" y="36"/>
                    <a:pt x="19" y="37"/>
                    <a:pt x="19" y="39"/>
                  </a:cubicBezTo>
                  <a:cubicBezTo>
                    <a:pt x="19" y="39"/>
                    <a:pt x="19" y="39"/>
                    <a:pt x="19" y="39"/>
                  </a:cubicBezTo>
                  <a:cubicBezTo>
                    <a:pt x="20" y="39"/>
                    <a:pt x="20" y="39"/>
                    <a:pt x="20" y="39"/>
                  </a:cubicBezTo>
                  <a:cubicBezTo>
                    <a:pt x="20" y="39"/>
                    <a:pt x="21" y="38"/>
                    <a:pt x="21" y="38"/>
                  </a:cubicBezTo>
                  <a:cubicBezTo>
                    <a:pt x="23" y="38"/>
                    <a:pt x="23" y="38"/>
                    <a:pt x="23" y="38"/>
                  </a:cubicBezTo>
                  <a:cubicBezTo>
                    <a:pt x="24" y="40"/>
                    <a:pt x="24" y="40"/>
                    <a:pt x="24" y="40"/>
                  </a:cubicBezTo>
                  <a:cubicBezTo>
                    <a:pt x="25" y="39"/>
                    <a:pt x="25" y="39"/>
                    <a:pt x="25" y="39"/>
                  </a:cubicBezTo>
                  <a:cubicBezTo>
                    <a:pt x="26" y="40"/>
                    <a:pt x="26" y="40"/>
                    <a:pt x="26" y="40"/>
                  </a:cubicBezTo>
                  <a:cubicBezTo>
                    <a:pt x="26" y="40"/>
                    <a:pt x="27" y="42"/>
                    <a:pt x="27" y="43"/>
                  </a:cubicBezTo>
                  <a:cubicBezTo>
                    <a:pt x="28" y="43"/>
                    <a:pt x="28" y="44"/>
                    <a:pt x="28" y="44"/>
                  </a:cubicBezTo>
                  <a:cubicBezTo>
                    <a:pt x="29" y="45"/>
                    <a:pt x="29" y="45"/>
                    <a:pt x="29" y="45"/>
                  </a:cubicBezTo>
                  <a:cubicBezTo>
                    <a:pt x="29" y="47"/>
                    <a:pt x="29" y="47"/>
                    <a:pt x="29" y="47"/>
                  </a:cubicBezTo>
                  <a:cubicBezTo>
                    <a:pt x="29" y="47"/>
                    <a:pt x="29" y="47"/>
                    <a:pt x="30" y="47"/>
                  </a:cubicBezTo>
                  <a:cubicBezTo>
                    <a:pt x="31" y="47"/>
                    <a:pt x="32" y="47"/>
                    <a:pt x="32" y="47"/>
                  </a:cubicBezTo>
                  <a:cubicBezTo>
                    <a:pt x="33" y="47"/>
                    <a:pt x="33" y="47"/>
                    <a:pt x="34" y="47"/>
                  </a:cubicBezTo>
                  <a:cubicBezTo>
                    <a:pt x="34" y="47"/>
                    <a:pt x="35" y="47"/>
                    <a:pt x="35" y="47"/>
                  </a:cubicBezTo>
                  <a:cubicBezTo>
                    <a:pt x="36" y="47"/>
                    <a:pt x="38" y="47"/>
                    <a:pt x="38" y="47"/>
                  </a:cubicBezTo>
                  <a:cubicBezTo>
                    <a:pt x="38" y="47"/>
                    <a:pt x="38" y="47"/>
                    <a:pt x="38" y="47"/>
                  </a:cubicBezTo>
                  <a:cubicBezTo>
                    <a:pt x="39" y="48"/>
                    <a:pt x="39" y="48"/>
                    <a:pt x="39" y="48"/>
                  </a:cubicBezTo>
                  <a:cubicBezTo>
                    <a:pt x="39" y="48"/>
                    <a:pt x="40" y="49"/>
                    <a:pt x="40" y="50"/>
                  </a:cubicBezTo>
                  <a:cubicBezTo>
                    <a:pt x="40" y="51"/>
                    <a:pt x="43" y="51"/>
                    <a:pt x="43" y="51"/>
                  </a:cubicBezTo>
                  <a:cubicBezTo>
                    <a:pt x="43" y="52"/>
                    <a:pt x="43" y="52"/>
                    <a:pt x="43" y="52"/>
                  </a:cubicBezTo>
                  <a:cubicBezTo>
                    <a:pt x="43" y="54"/>
                    <a:pt x="43" y="56"/>
                    <a:pt x="42" y="56"/>
                  </a:cubicBezTo>
                  <a:cubicBezTo>
                    <a:pt x="42" y="57"/>
                    <a:pt x="42" y="57"/>
                    <a:pt x="42" y="57"/>
                  </a:cubicBezTo>
                  <a:cubicBezTo>
                    <a:pt x="42" y="57"/>
                    <a:pt x="42" y="57"/>
                    <a:pt x="42" y="57"/>
                  </a:cubicBezTo>
                  <a:cubicBezTo>
                    <a:pt x="43" y="61"/>
                    <a:pt x="43" y="61"/>
                    <a:pt x="43" y="61"/>
                  </a:cubicBezTo>
                  <a:cubicBezTo>
                    <a:pt x="43" y="62"/>
                    <a:pt x="43" y="62"/>
                    <a:pt x="43" y="62"/>
                  </a:cubicBezTo>
                  <a:cubicBezTo>
                    <a:pt x="43" y="62"/>
                    <a:pt x="42" y="63"/>
                    <a:pt x="41" y="63"/>
                  </a:cubicBezTo>
                  <a:cubicBezTo>
                    <a:pt x="41" y="64"/>
                    <a:pt x="41" y="64"/>
                    <a:pt x="41" y="64"/>
                  </a:cubicBezTo>
                  <a:cubicBezTo>
                    <a:pt x="42" y="64"/>
                    <a:pt x="42" y="64"/>
                    <a:pt x="42" y="64"/>
                  </a:cubicBezTo>
                  <a:cubicBezTo>
                    <a:pt x="45" y="65"/>
                    <a:pt x="45" y="65"/>
                    <a:pt x="45" y="65"/>
                  </a:cubicBezTo>
                  <a:cubicBezTo>
                    <a:pt x="45" y="65"/>
                    <a:pt x="47" y="65"/>
                    <a:pt x="47" y="65"/>
                  </a:cubicBezTo>
                  <a:cubicBezTo>
                    <a:pt x="47" y="64"/>
                    <a:pt x="48" y="64"/>
                    <a:pt x="48" y="64"/>
                  </a:cubicBezTo>
                  <a:cubicBezTo>
                    <a:pt x="48" y="64"/>
                    <a:pt x="50" y="63"/>
                    <a:pt x="51" y="63"/>
                  </a:cubicBezTo>
                  <a:cubicBezTo>
                    <a:pt x="51" y="63"/>
                    <a:pt x="51" y="63"/>
                    <a:pt x="51" y="63"/>
                  </a:cubicBezTo>
                  <a:cubicBezTo>
                    <a:pt x="52" y="62"/>
                    <a:pt x="52" y="62"/>
                    <a:pt x="52" y="62"/>
                  </a:cubicBezTo>
                  <a:cubicBezTo>
                    <a:pt x="53" y="59"/>
                    <a:pt x="53" y="59"/>
                    <a:pt x="53" y="59"/>
                  </a:cubicBezTo>
                  <a:cubicBezTo>
                    <a:pt x="53" y="59"/>
                    <a:pt x="53" y="59"/>
                    <a:pt x="53" y="59"/>
                  </a:cubicBezTo>
                  <a:cubicBezTo>
                    <a:pt x="54" y="58"/>
                    <a:pt x="54" y="58"/>
                    <a:pt x="54" y="58"/>
                  </a:cubicBezTo>
                  <a:cubicBezTo>
                    <a:pt x="54" y="58"/>
                    <a:pt x="54" y="58"/>
                    <a:pt x="54" y="58"/>
                  </a:cubicBezTo>
                  <a:cubicBezTo>
                    <a:pt x="55" y="57"/>
                    <a:pt x="56" y="56"/>
                    <a:pt x="57" y="56"/>
                  </a:cubicBezTo>
                  <a:cubicBezTo>
                    <a:pt x="58" y="56"/>
                    <a:pt x="58" y="56"/>
                    <a:pt x="58" y="56"/>
                  </a:cubicBezTo>
                  <a:cubicBezTo>
                    <a:pt x="61" y="58"/>
                    <a:pt x="61" y="58"/>
                    <a:pt x="61" y="58"/>
                  </a:cubicBezTo>
                  <a:cubicBezTo>
                    <a:pt x="61" y="59"/>
                    <a:pt x="61" y="59"/>
                    <a:pt x="61" y="59"/>
                  </a:cubicBezTo>
                  <a:cubicBezTo>
                    <a:pt x="62" y="59"/>
                    <a:pt x="61" y="60"/>
                    <a:pt x="61" y="62"/>
                  </a:cubicBezTo>
                  <a:cubicBezTo>
                    <a:pt x="60" y="63"/>
                    <a:pt x="60" y="63"/>
                    <a:pt x="60" y="63"/>
                  </a:cubicBezTo>
                  <a:cubicBezTo>
                    <a:pt x="60" y="64"/>
                    <a:pt x="60" y="64"/>
                    <a:pt x="60" y="64"/>
                  </a:cubicBezTo>
                  <a:cubicBezTo>
                    <a:pt x="60" y="65"/>
                    <a:pt x="60" y="65"/>
                    <a:pt x="60" y="66"/>
                  </a:cubicBezTo>
                  <a:cubicBezTo>
                    <a:pt x="59" y="66"/>
                    <a:pt x="59" y="67"/>
                    <a:pt x="59" y="67"/>
                  </a:cubicBezTo>
                  <a:cubicBezTo>
                    <a:pt x="60" y="68"/>
                    <a:pt x="60" y="68"/>
                    <a:pt x="60" y="68"/>
                  </a:cubicBezTo>
                  <a:cubicBezTo>
                    <a:pt x="60" y="71"/>
                    <a:pt x="60" y="71"/>
                    <a:pt x="60" y="71"/>
                  </a:cubicBezTo>
                  <a:cubicBezTo>
                    <a:pt x="60" y="71"/>
                    <a:pt x="60" y="72"/>
                    <a:pt x="60" y="72"/>
                  </a:cubicBezTo>
                  <a:cubicBezTo>
                    <a:pt x="60" y="72"/>
                    <a:pt x="60" y="72"/>
                    <a:pt x="60" y="72"/>
                  </a:cubicBezTo>
                  <a:cubicBezTo>
                    <a:pt x="61" y="72"/>
                    <a:pt x="62" y="72"/>
                    <a:pt x="62" y="73"/>
                  </a:cubicBezTo>
                  <a:cubicBezTo>
                    <a:pt x="63" y="73"/>
                    <a:pt x="63" y="73"/>
                    <a:pt x="64" y="73"/>
                  </a:cubicBezTo>
                  <a:cubicBezTo>
                    <a:pt x="64" y="73"/>
                    <a:pt x="64" y="73"/>
                    <a:pt x="64" y="73"/>
                  </a:cubicBezTo>
                  <a:cubicBezTo>
                    <a:pt x="65" y="73"/>
                    <a:pt x="66" y="74"/>
                    <a:pt x="67" y="74"/>
                  </a:cubicBezTo>
                  <a:cubicBezTo>
                    <a:pt x="67" y="75"/>
                    <a:pt x="68" y="76"/>
                    <a:pt x="68" y="76"/>
                  </a:cubicBezTo>
                  <a:cubicBezTo>
                    <a:pt x="69" y="77"/>
                    <a:pt x="69" y="77"/>
                    <a:pt x="69" y="77"/>
                  </a:cubicBezTo>
                  <a:cubicBezTo>
                    <a:pt x="69" y="77"/>
                    <a:pt x="69" y="77"/>
                    <a:pt x="69" y="77"/>
                  </a:cubicBezTo>
                  <a:cubicBezTo>
                    <a:pt x="71" y="77"/>
                    <a:pt x="72" y="79"/>
                    <a:pt x="72" y="80"/>
                  </a:cubicBezTo>
                  <a:cubicBezTo>
                    <a:pt x="73" y="80"/>
                    <a:pt x="73" y="80"/>
                    <a:pt x="73" y="80"/>
                  </a:cubicBezTo>
                  <a:cubicBezTo>
                    <a:pt x="73" y="81"/>
                    <a:pt x="73" y="81"/>
                    <a:pt x="73" y="81"/>
                  </a:cubicBezTo>
                  <a:cubicBezTo>
                    <a:pt x="73" y="81"/>
                    <a:pt x="73" y="81"/>
                    <a:pt x="73" y="81"/>
                  </a:cubicBezTo>
                  <a:cubicBezTo>
                    <a:pt x="76" y="82"/>
                    <a:pt x="76" y="82"/>
                    <a:pt x="76" y="82"/>
                  </a:cubicBezTo>
                  <a:cubicBezTo>
                    <a:pt x="76" y="85"/>
                    <a:pt x="76" y="85"/>
                    <a:pt x="76" y="85"/>
                  </a:cubicBezTo>
                  <a:cubicBezTo>
                    <a:pt x="76" y="85"/>
                    <a:pt x="76" y="85"/>
                    <a:pt x="76" y="85"/>
                  </a:cubicBezTo>
                  <a:cubicBezTo>
                    <a:pt x="77" y="85"/>
                    <a:pt x="77" y="85"/>
                    <a:pt x="77" y="85"/>
                  </a:cubicBezTo>
                  <a:cubicBezTo>
                    <a:pt x="79" y="84"/>
                    <a:pt x="79" y="84"/>
                    <a:pt x="79" y="84"/>
                  </a:cubicBezTo>
                  <a:cubicBezTo>
                    <a:pt x="80" y="84"/>
                    <a:pt x="80" y="84"/>
                    <a:pt x="80" y="84"/>
                  </a:cubicBezTo>
                  <a:close/>
                </a:path>
              </a:pathLst>
            </a:custGeom>
            <a:solidFill>
              <a:schemeClr val="accent1">
                <a:lumMod val="60000"/>
                <a:lumOff val="40000"/>
              </a:schemeClr>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7" name="Freeform 134"/>
            <p:cNvSpPr>
              <a:spLocks/>
            </p:cNvSpPr>
            <p:nvPr/>
          </p:nvSpPr>
          <p:spPr bwMode="auto">
            <a:xfrm>
              <a:off x="6000783" y="4356024"/>
              <a:ext cx="547331" cy="363547"/>
            </a:xfrm>
            <a:custGeom>
              <a:avLst/>
              <a:gdLst>
                <a:gd name="T0" fmla="*/ 184 w 189"/>
                <a:gd name="T1" fmla="*/ 10 h 133"/>
                <a:gd name="T2" fmla="*/ 175 w 189"/>
                <a:gd name="T3" fmla="*/ 5 h 133"/>
                <a:gd name="T4" fmla="*/ 166 w 189"/>
                <a:gd name="T5" fmla="*/ 0 h 133"/>
                <a:gd name="T6" fmla="*/ 163 w 189"/>
                <a:gd name="T7" fmla="*/ 4 h 133"/>
                <a:gd name="T8" fmla="*/ 145 w 189"/>
                <a:gd name="T9" fmla="*/ 0 h 133"/>
                <a:gd name="T10" fmla="*/ 131 w 189"/>
                <a:gd name="T11" fmla="*/ 3 h 133"/>
                <a:gd name="T12" fmla="*/ 117 w 189"/>
                <a:gd name="T13" fmla="*/ 5 h 133"/>
                <a:gd name="T14" fmla="*/ 108 w 189"/>
                <a:gd name="T15" fmla="*/ 18 h 133"/>
                <a:gd name="T16" fmla="*/ 95 w 189"/>
                <a:gd name="T17" fmla="*/ 22 h 133"/>
                <a:gd name="T18" fmla="*/ 86 w 189"/>
                <a:gd name="T19" fmla="*/ 29 h 133"/>
                <a:gd name="T20" fmla="*/ 71 w 189"/>
                <a:gd name="T21" fmla="*/ 35 h 133"/>
                <a:gd name="T22" fmla="*/ 76 w 189"/>
                <a:gd name="T23" fmla="*/ 40 h 133"/>
                <a:gd name="T24" fmla="*/ 61 w 189"/>
                <a:gd name="T25" fmla="*/ 46 h 133"/>
                <a:gd name="T26" fmla="*/ 40 w 189"/>
                <a:gd name="T27" fmla="*/ 48 h 133"/>
                <a:gd name="T28" fmla="*/ 30 w 189"/>
                <a:gd name="T29" fmla="*/ 43 h 133"/>
                <a:gd name="T30" fmla="*/ 23 w 189"/>
                <a:gd name="T31" fmla="*/ 41 h 133"/>
                <a:gd name="T32" fmla="*/ 21 w 189"/>
                <a:gd name="T33" fmla="*/ 45 h 133"/>
                <a:gd name="T34" fmla="*/ 21 w 189"/>
                <a:gd name="T35" fmla="*/ 49 h 133"/>
                <a:gd name="T36" fmla="*/ 17 w 189"/>
                <a:gd name="T37" fmla="*/ 55 h 133"/>
                <a:gd name="T38" fmla="*/ 12 w 189"/>
                <a:gd name="T39" fmla="*/ 56 h 133"/>
                <a:gd name="T40" fmla="*/ 13 w 189"/>
                <a:gd name="T41" fmla="*/ 64 h 133"/>
                <a:gd name="T42" fmla="*/ 5 w 189"/>
                <a:gd name="T43" fmla="*/ 73 h 133"/>
                <a:gd name="T44" fmla="*/ 3 w 189"/>
                <a:gd name="T45" fmla="*/ 86 h 133"/>
                <a:gd name="T46" fmla="*/ 3 w 189"/>
                <a:gd name="T47" fmla="*/ 89 h 133"/>
                <a:gd name="T48" fmla="*/ 4 w 189"/>
                <a:gd name="T49" fmla="*/ 93 h 133"/>
                <a:gd name="T50" fmla="*/ 12 w 189"/>
                <a:gd name="T51" fmla="*/ 105 h 133"/>
                <a:gd name="T52" fmla="*/ 14 w 189"/>
                <a:gd name="T53" fmla="*/ 109 h 133"/>
                <a:gd name="T54" fmla="*/ 22 w 189"/>
                <a:gd name="T55" fmla="*/ 117 h 133"/>
                <a:gd name="T56" fmla="*/ 37 w 189"/>
                <a:gd name="T57" fmla="*/ 127 h 133"/>
                <a:gd name="T58" fmla="*/ 45 w 189"/>
                <a:gd name="T59" fmla="*/ 130 h 133"/>
                <a:gd name="T60" fmla="*/ 55 w 189"/>
                <a:gd name="T61" fmla="*/ 133 h 133"/>
                <a:gd name="T62" fmla="*/ 68 w 189"/>
                <a:gd name="T63" fmla="*/ 131 h 133"/>
                <a:gd name="T64" fmla="*/ 78 w 189"/>
                <a:gd name="T65" fmla="*/ 128 h 133"/>
                <a:gd name="T66" fmla="*/ 85 w 189"/>
                <a:gd name="T67" fmla="*/ 123 h 133"/>
                <a:gd name="T68" fmla="*/ 92 w 189"/>
                <a:gd name="T69" fmla="*/ 119 h 133"/>
                <a:gd name="T70" fmla="*/ 97 w 189"/>
                <a:gd name="T71" fmla="*/ 115 h 133"/>
                <a:gd name="T72" fmla="*/ 106 w 189"/>
                <a:gd name="T73" fmla="*/ 109 h 133"/>
                <a:gd name="T74" fmla="*/ 116 w 189"/>
                <a:gd name="T75" fmla="*/ 108 h 133"/>
                <a:gd name="T76" fmla="*/ 125 w 189"/>
                <a:gd name="T77" fmla="*/ 108 h 133"/>
                <a:gd name="T78" fmla="*/ 138 w 189"/>
                <a:gd name="T79" fmla="*/ 107 h 133"/>
                <a:gd name="T80" fmla="*/ 144 w 189"/>
                <a:gd name="T81" fmla="*/ 104 h 133"/>
                <a:gd name="T82" fmla="*/ 152 w 189"/>
                <a:gd name="T83" fmla="*/ 92 h 133"/>
                <a:gd name="T84" fmla="*/ 155 w 189"/>
                <a:gd name="T85" fmla="*/ 85 h 133"/>
                <a:gd name="T86" fmla="*/ 158 w 189"/>
                <a:gd name="T87" fmla="*/ 75 h 133"/>
                <a:gd name="T88" fmla="*/ 161 w 189"/>
                <a:gd name="T89" fmla="*/ 63 h 133"/>
                <a:gd name="T90" fmla="*/ 165 w 189"/>
                <a:gd name="T91" fmla="*/ 47 h 133"/>
                <a:gd name="T92" fmla="*/ 168 w 189"/>
                <a:gd name="T93" fmla="*/ 38 h 133"/>
                <a:gd name="T94" fmla="*/ 173 w 189"/>
                <a:gd name="T95" fmla="*/ 29 h 133"/>
                <a:gd name="T96" fmla="*/ 182 w 189"/>
                <a:gd name="T97" fmla="*/ 25 h 133"/>
                <a:gd name="T98" fmla="*/ 189 w 189"/>
                <a:gd name="T99" fmla="*/ 1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9" h="133">
                  <a:moveTo>
                    <a:pt x="187" y="15"/>
                  </a:moveTo>
                  <a:cubicBezTo>
                    <a:pt x="188" y="13"/>
                    <a:pt x="188" y="13"/>
                    <a:pt x="188" y="13"/>
                  </a:cubicBezTo>
                  <a:cubicBezTo>
                    <a:pt x="184" y="10"/>
                    <a:pt x="184" y="10"/>
                    <a:pt x="184" y="10"/>
                  </a:cubicBezTo>
                  <a:cubicBezTo>
                    <a:pt x="180" y="11"/>
                    <a:pt x="180" y="11"/>
                    <a:pt x="180" y="11"/>
                  </a:cubicBezTo>
                  <a:cubicBezTo>
                    <a:pt x="178" y="8"/>
                    <a:pt x="178" y="8"/>
                    <a:pt x="178" y="8"/>
                  </a:cubicBezTo>
                  <a:cubicBezTo>
                    <a:pt x="175" y="5"/>
                    <a:pt x="175" y="5"/>
                    <a:pt x="175" y="5"/>
                  </a:cubicBezTo>
                  <a:cubicBezTo>
                    <a:pt x="171" y="5"/>
                    <a:pt x="171" y="5"/>
                    <a:pt x="171" y="5"/>
                  </a:cubicBezTo>
                  <a:cubicBezTo>
                    <a:pt x="169" y="3"/>
                    <a:pt x="169" y="3"/>
                    <a:pt x="169" y="3"/>
                  </a:cubicBezTo>
                  <a:cubicBezTo>
                    <a:pt x="166" y="0"/>
                    <a:pt x="166" y="0"/>
                    <a:pt x="166" y="0"/>
                  </a:cubicBezTo>
                  <a:cubicBezTo>
                    <a:pt x="162" y="2"/>
                    <a:pt x="162" y="2"/>
                    <a:pt x="162" y="2"/>
                  </a:cubicBezTo>
                  <a:cubicBezTo>
                    <a:pt x="162" y="2"/>
                    <a:pt x="162" y="2"/>
                    <a:pt x="162" y="2"/>
                  </a:cubicBezTo>
                  <a:cubicBezTo>
                    <a:pt x="163" y="4"/>
                    <a:pt x="163" y="4"/>
                    <a:pt x="163" y="4"/>
                  </a:cubicBezTo>
                  <a:cubicBezTo>
                    <a:pt x="159" y="6"/>
                    <a:pt x="159" y="6"/>
                    <a:pt x="159" y="6"/>
                  </a:cubicBezTo>
                  <a:cubicBezTo>
                    <a:pt x="152" y="7"/>
                    <a:pt x="152" y="7"/>
                    <a:pt x="152" y="7"/>
                  </a:cubicBezTo>
                  <a:cubicBezTo>
                    <a:pt x="145" y="0"/>
                    <a:pt x="145" y="0"/>
                    <a:pt x="145" y="0"/>
                  </a:cubicBezTo>
                  <a:cubicBezTo>
                    <a:pt x="141" y="0"/>
                    <a:pt x="141" y="0"/>
                    <a:pt x="141" y="0"/>
                  </a:cubicBezTo>
                  <a:cubicBezTo>
                    <a:pt x="137" y="2"/>
                    <a:pt x="137" y="2"/>
                    <a:pt x="137" y="2"/>
                  </a:cubicBezTo>
                  <a:cubicBezTo>
                    <a:pt x="131" y="3"/>
                    <a:pt x="131" y="3"/>
                    <a:pt x="131" y="3"/>
                  </a:cubicBezTo>
                  <a:cubicBezTo>
                    <a:pt x="126" y="1"/>
                    <a:pt x="126" y="1"/>
                    <a:pt x="126" y="1"/>
                  </a:cubicBezTo>
                  <a:cubicBezTo>
                    <a:pt x="118" y="4"/>
                    <a:pt x="118" y="4"/>
                    <a:pt x="118" y="4"/>
                  </a:cubicBezTo>
                  <a:cubicBezTo>
                    <a:pt x="117" y="5"/>
                    <a:pt x="117" y="5"/>
                    <a:pt x="117" y="5"/>
                  </a:cubicBezTo>
                  <a:cubicBezTo>
                    <a:pt x="115" y="11"/>
                    <a:pt x="115" y="11"/>
                    <a:pt x="115" y="11"/>
                  </a:cubicBezTo>
                  <a:cubicBezTo>
                    <a:pt x="112" y="16"/>
                    <a:pt x="112" y="16"/>
                    <a:pt x="112" y="16"/>
                  </a:cubicBezTo>
                  <a:cubicBezTo>
                    <a:pt x="108" y="18"/>
                    <a:pt x="108" y="18"/>
                    <a:pt x="108" y="18"/>
                  </a:cubicBezTo>
                  <a:cubicBezTo>
                    <a:pt x="107" y="19"/>
                    <a:pt x="107" y="19"/>
                    <a:pt x="107" y="19"/>
                  </a:cubicBezTo>
                  <a:cubicBezTo>
                    <a:pt x="104" y="23"/>
                    <a:pt x="104" y="23"/>
                    <a:pt x="104" y="23"/>
                  </a:cubicBezTo>
                  <a:cubicBezTo>
                    <a:pt x="95" y="22"/>
                    <a:pt x="95" y="22"/>
                    <a:pt x="95" y="22"/>
                  </a:cubicBezTo>
                  <a:cubicBezTo>
                    <a:pt x="92" y="23"/>
                    <a:pt x="92" y="23"/>
                    <a:pt x="92" y="23"/>
                  </a:cubicBezTo>
                  <a:cubicBezTo>
                    <a:pt x="90" y="27"/>
                    <a:pt x="90" y="27"/>
                    <a:pt x="90" y="27"/>
                  </a:cubicBezTo>
                  <a:cubicBezTo>
                    <a:pt x="86" y="29"/>
                    <a:pt x="86" y="29"/>
                    <a:pt x="86" y="29"/>
                  </a:cubicBezTo>
                  <a:cubicBezTo>
                    <a:pt x="80" y="30"/>
                    <a:pt x="80" y="30"/>
                    <a:pt x="80" y="30"/>
                  </a:cubicBezTo>
                  <a:cubicBezTo>
                    <a:pt x="74" y="32"/>
                    <a:pt x="74" y="32"/>
                    <a:pt x="74" y="32"/>
                  </a:cubicBezTo>
                  <a:cubicBezTo>
                    <a:pt x="71" y="35"/>
                    <a:pt x="71" y="35"/>
                    <a:pt x="71" y="35"/>
                  </a:cubicBezTo>
                  <a:cubicBezTo>
                    <a:pt x="72" y="35"/>
                    <a:pt x="73" y="36"/>
                    <a:pt x="74" y="37"/>
                  </a:cubicBezTo>
                  <a:cubicBezTo>
                    <a:pt x="75" y="37"/>
                    <a:pt x="75" y="37"/>
                    <a:pt x="75" y="37"/>
                  </a:cubicBezTo>
                  <a:cubicBezTo>
                    <a:pt x="75" y="37"/>
                    <a:pt x="76" y="39"/>
                    <a:pt x="76" y="40"/>
                  </a:cubicBezTo>
                  <a:cubicBezTo>
                    <a:pt x="76" y="42"/>
                    <a:pt x="74" y="43"/>
                    <a:pt x="72" y="43"/>
                  </a:cubicBezTo>
                  <a:cubicBezTo>
                    <a:pt x="71" y="43"/>
                    <a:pt x="71" y="44"/>
                    <a:pt x="71" y="44"/>
                  </a:cubicBezTo>
                  <a:cubicBezTo>
                    <a:pt x="70" y="44"/>
                    <a:pt x="69" y="45"/>
                    <a:pt x="61" y="46"/>
                  </a:cubicBezTo>
                  <a:cubicBezTo>
                    <a:pt x="48" y="47"/>
                    <a:pt x="48" y="47"/>
                    <a:pt x="48" y="47"/>
                  </a:cubicBezTo>
                  <a:cubicBezTo>
                    <a:pt x="40" y="48"/>
                    <a:pt x="40" y="48"/>
                    <a:pt x="40" y="48"/>
                  </a:cubicBezTo>
                  <a:cubicBezTo>
                    <a:pt x="40" y="48"/>
                    <a:pt x="40" y="48"/>
                    <a:pt x="40" y="48"/>
                  </a:cubicBezTo>
                  <a:cubicBezTo>
                    <a:pt x="40" y="48"/>
                    <a:pt x="40" y="48"/>
                    <a:pt x="40" y="48"/>
                  </a:cubicBezTo>
                  <a:cubicBezTo>
                    <a:pt x="36" y="46"/>
                    <a:pt x="36" y="46"/>
                    <a:pt x="36" y="46"/>
                  </a:cubicBezTo>
                  <a:cubicBezTo>
                    <a:pt x="30" y="43"/>
                    <a:pt x="30" y="43"/>
                    <a:pt x="30" y="43"/>
                  </a:cubicBezTo>
                  <a:cubicBezTo>
                    <a:pt x="26" y="39"/>
                    <a:pt x="26" y="39"/>
                    <a:pt x="26" y="39"/>
                  </a:cubicBezTo>
                  <a:cubicBezTo>
                    <a:pt x="23" y="39"/>
                    <a:pt x="23" y="39"/>
                    <a:pt x="23" y="39"/>
                  </a:cubicBezTo>
                  <a:cubicBezTo>
                    <a:pt x="23" y="41"/>
                    <a:pt x="23" y="41"/>
                    <a:pt x="23" y="41"/>
                  </a:cubicBezTo>
                  <a:cubicBezTo>
                    <a:pt x="21" y="44"/>
                    <a:pt x="21" y="44"/>
                    <a:pt x="21" y="44"/>
                  </a:cubicBezTo>
                  <a:cubicBezTo>
                    <a:pt x="21" y="45"/>
                    <a:pt x="21" y="45"/>
                    <a:pt x="21" y="45"/>
                  </a:cubicBezTo>
                  <a:cubicBezTo>
                    <a:pt x="21" y="45"/>
                    <a:pt x="21" y="45"/>
                    <a:pt x="21" y="45"/>
                  </a:cubicBezTo>
                  <a:cubicBezTo>
                    <a:pt x="21" y="46"/>
                    <a:pt x="21" y="46"/>
                    <a:pt x="21" y="46"/>
                  </a:cubicBezTo>
                  <a:cubicBezTo>
                    <a:pt x="20" y="47"/>
                    <a:pt x="20" y="48"/>
                    <a:pt x="20" y="48"/>
                  </a:cubicBezTo>
                  <a:cubicBezTo>
                    <a:pt x="20" y="48"/>
                    <a:pt x="20" y="49"/>
                    <a:pt x="21" y="49"/>
                  </a:cubicBezTo>
                  <a:cubicBezTo>
                    <a:pt x="21" y="50"/>
                    <a:pt x="21" y="51"/>
                    <a:pt x="21" y="53"/>
                  </a:cubicBezTo>
                  <a:cubicBezTo>
                    <a:pt x="20" y="53"/>
                    <a:pt x="20" y="54"/>
                    <a:pt x="18" y="54"/>
                  </a:cubicBezTo>
                  <a:cubicBezTo>
                    <a:pt x="18" y="54"/>
                    <a:pt x="18" y="55"/>
                    <a:pt x="17" y="55"/>
                  </a:cubicBezTo>
                  <a:cubicBezTo>
                    <a:pt x="16" y="55"/>
                    <a:pt x="15" y="56"/>
                    <a:pt x="14" y="56"/>
                  </a:cubicBezTo>
                  <a:cubicBezTo>
                    <a:pt x="14" y="56"/>
                    <a:pt x="14" y="55"/>
                    <a:pt x="13" y="55"/>
                  </a:cubicBezTo>
                  <a:cubicBezTo>
                    <a:pt x="13" y="56"/>
                    <a:pt x="12" y="56"/>
                    <a:pt x="12" y="56"/>
                  </a:cubicBezTo>
                  <a:cubicBezTo>
                    <a:pt x="11" y="56"/>
                    <a:pt x="9" y="55"/>
                    <a:pt x="9" y="55"/>
                  </a:cubicBezTo>
                  <a:cubicBezTo>
                    <a:pt x="7" y="54"/>
                    <a:pt x="7" y="54"/>
                    <a:pt x="7" y="54"/>
                  </a:cubicBezTo>
                  <a:cubicBezTo>
                    <a:pt x="13" y="64"/>
                    <a:pt x="13" y="64"/>
                    <a:pt x="13" y="64"/>
                  </a:cubicBezTo>
                  <a:cubicBezTo>
                    <a:pt x="6" y="68"/>
                    <a:pt x="6" y="68"/>
                    <a:pt x="6" y="68"/>
                  </a:cubicBezTo>
                  <a:cubicBezTo>
                    <a:pt x="5" y="68"/>
                    <a:pt x="4" y="69"/>
                    <a:pt x="3" y="70"/>
                  </a:cubicBezTo>
                  <a:cubicBezTo>
                    <a:pt x="5" y="73"/>
                    <a:pt x="5" y="73"/>
                    <a:pt x="5" y="73"/>
                  </a:cubicBezTo>
                  <a:cubicBezTo>
                    <a:pt x="5" y="75"/>
                    <a:pt x="5" y="75"/>
                    <a:pt x="5" y="75"/>
                  </a:cubicBezTo>
                  <a:cubicBezTo>
                    <a:pt x="6" y="80"/>
                    <a:pt x="6" y="80"/>
                    <a:pt x="6" y="80"/>
                  </a:cubicBezTo>
                  <a:cubicBezTo>
                    <a:pt x="3" y="86"/>
                    <a:pt x="3" y="86"/>
                    <a:pt x="3" y="86"/>
                  </a:cubicBezTo>
                  <a:cubicBezTo>
                    <a:pt x="0" y="86"/>
                    <a:pt x="0" y="86"/>
                    <a:pt x="0" y="86"/>
                  </a:cubicBezTo>
                  <a:cubicBezTo>
                    <a:pt x="0" y="87"/>
                    <a:pt x="0" y="87"/>
                    <a:pt x="0" y="87"/>
                  </a:cubicBezTo>
                  <a:cubicBezTo>
                    <a:pt x="3" y="89"/>
                    <a:pt x="3" y="89"/>
                    <a:pt x="3" y="89"/>
                  </a:cubicBezTo>
                  <a:cubicBezTo>
                    <a:pt x="4" y="92"/>
                    <a:pt x="4" y="92"/>
                    <a:pt x="4" y="92"/>
                  </a:cubicBezTo>
                  <a:cubicBezTo>
                    <a:pt x="4" y="92"/>
                    <a:pt x="4" y="92"/>
                    <a:pt x="4" y="92"/>
                  </a:cubicBezTo>
                  <a:cubicBezTo>
                    <a:pt x="4" y="93"/>
                    <a:pt x="4" y="93"/>
                    <a:pt x="4" y="93"/>
                  </a:cubicBezTo>
                  <a:cubicBezTo>
                    <a:pt x="7" y="96"/>
                    <a:pt x="7" y="96"/>
                    <a:pt x="7" y="96"/>
                  </a:cubicBezTo>
                  <a:cubicBezTo>
                    <a:pt x="6" y="98"/>
                    <a:pt x="6" y="98"/>
                    <a:pt x="6" y="98"/>
                  </a:cubicBezTo>
                  <a:cubicBezTo>
                    <a:pt x="12" y="105"/>
                    <a:pt x="12" y="105"/>
                    <a:pt x="12" y="105"/>
                  </a:cubicBezTo>
                  <a:cubicBezTo>
                    <a:pt x="10" y="106"/>
                    <a:pt x="10" y="106"/>
                    <a:pt x="10" y="106"/>
                  </a:cubicBezTo>
                  <a:cubicBezTo>
                    <a:pt x="11" y="107"/>
                    <a:pt x="11" y="107"/>
                    <a:pt x="11" y="107"/>
                  </a:cubicBezTo>
                  <a:cubicBezTo>
                    <a:pt x="14" y="109"/>
                    <a:pt x="14" y="109"/>
                    <a:pt x="14" y="109"/>
                  </a:cubicBezTo>
                  <a:cubicBezTo>
                    <a:pt x="17" y="112"/>
                    <a:pt x="17" y="112"/>
                    <a:pt x="17" y="112"/>
                  </a:cubicBezTo>
                  <a:cubicBezTo>
                    <a:pt x="19" y="114"/>
                    <a:pt x="19" y="114"/>
                    <a:pt x="19" y="114"/>
                  </a:cubicBezTo>
                  <a:cubicBezTo>
                    <a:pt x="22" y="117"/>
                    <a:pt x="22" y="117"/>
                    <a:pt x="22" y="117"/>
                  </a:cubicBezTo>
                  <a:cubicBezTo>
                    <a:pt x="29" y="119"/>
                    <a:pt x="29" y="119"/>
                    <a:pt x="29" y="119"/>
                  </a:cubicBezTo>
                  <a:cubicBezTo>
                    <a:pt x="33" y="124"/>
                    <a:pt x="33" y="124"/>
                    <a:pt x="33" y="124"/>
                  </a:cubicBezTo>
                  <a:cubicBezTo>
                    <a:pt x="37" y="127"/>
                    <a:pt x="37" y="127"/>
                    <a:pt x="37" y="127"/>
                  </a:cubicBezTo>
                  <a:cubicBezTo>
                    <a:pt x="40" y="127"/>
                    <a:pt x="40" y="127"/>
                    <a:pt x="40" y="127"/>
                  </a:cubicBezTo>
                  <a:cubicBezTo>
                    <a:pt x="41" y="129"/>
                    <a:pt x="41" y="129"/>
                    <a:pt x="41" y="129"/>
                  </a:cubicBezTo>
                  <a:cubicBezTo>
                    <a:pt x="45" y="130"/>
                    <a:pt x="45" y="130"/>
                    <a:pt x="45" y="130"/>
                  </a:cubicBezTo>
                  <a:cubicBezTo>
                    <a:pt x="48" y="132"/>
                    <a:pt x="48" y="132"/>
                    <a:pt x="48" y="132"/>
                  </a:cubicBezTo>
                  <a:cubicBezTo>
                    <a:pt x="53" y="133"/>
                    <a:pt x="53" y="133"/>
                    <a:pt x="53" y="133"/>
                  </a:cubicBezTo>
                  <a:cubicBezTo>
                    <a:pt x="55" y="133"/>
                    <a:pt x="55" y="133"/>
                    <a:pt x="55" y="133"/>
                  </a:cubicBezTo>
                  <a:cubicBezTo>
                    <a:pt x="55" y="133"/>
                    <a:pt x="59" y="133"/>
                    <a:pt x="60" y="133"/>
                  </a:cubicBezTo>
                  <a:cubicBezTo>
                    <a:pt x="61" y="133"/>
                    <a:pt x="62" y="132"/>
                    <a:pt x="62" y="132"/>
                  </a:cubicBezTo>
                  <a:cubicBezTo>
                    <a:pt x="68" y="131"/>
                    <a:pt x="68" y="131"/>
                    <a:pt x="68" y="131"/>
                  </a:cubicBezTo>
                  <a:cubicBezTo>
                    <a:pt x="72" y="131"/>
                    <a:pt x="72" y="131"/>
                    <a:pt x="72" y="131"/>
                  </a:cubicBezTo>
                  <a:cubicBezTo>
                    <a:pt x="72" y="131"/>
                    <a:pt x="76" y="131"/>
                    <a:pt x="76" y="130"/>
                  </a:cubicBezTo>
                  <a:cubicBezTo>
                    <a:pt x="76" y="130"/>
                    <a:pt x="78" y="128"/>
                    <a:pt x="78" y="128"/>
                  </a:cubicBezTo>
                  <a:cubicBezTo>
                    <a:pt x="80" y="125"/>
                    <a:pt x="80" y="125"/>
                    <a:pt x="80" y="125"/>
                  </a:cubicBezTo>
                  <a:cubicBezTo>
                    <a:pt x="82" y="125"/>
                    <a:pt x="82" y="125"/>
                    <a:pt x="82" y="125"/>
                  </a:cubicBezTo>
                  <a:cubicBezTo>
                    <a:pt x="85" y="123"/>
                    <a:pt x="85" y="123"/>
                    <a:pt x="85" y="123"/>
                  </a:cubicBezTo>
                  <a:cubicBezTo>
                    <a:pt x="88" y="119"/>
                    <a:pt x="88" y="119"/>
                    <a:pt x="88" y="119"/>
                  </a:cubicBezTo>
                  <a:cubicBezTo>
                    <a:pt x="89" y="120"/>
                    <a:pt x="89" y="120"/>
                    <a:pt x="89" y="120"/>
                  </a:cubicBezTo>
                  <a:cubicBezTo>
                    <a:pt x="89" y="120"/>
                    <a:pt x="91" y="119"/>
                    <a:pt x="92" y="119"/>
                  </a:cubicBezTo>
                  <a:cubicBezTo>
                    <a:pt x="94" y="119"/>
                    <a:pt x="94" y="119"/>
                    <a:pt x="94" y="119"/>
                  </a:cubicBezTo>
                  <a:cubicBezTo>
                    <a:pt x="96" y="117"/>
                    <a:pt x="96" y="117"/>
                    <a:pt x="96" y="117"/>
                  </a:cubicBezTo>
                  <a:cubicBezTo>
                    <a:pt x="97" y="115"/>
                    <a:pt x="97" y="115"/>
                    <a:pt x="97" y="115"/>
                  </a:cubicBezTo>
                  <a:cubicBezTo>
                    <a:pt x="97" y="115"/>
                    <a:pt x="99" y="113"/>
                    <a:pt x="101" y="113"/>
                  </a:cubicBezTo>
                  <a:cubicBezTo>
                    <a:pt x="102" y="112"/>
                    <a:pt x="101" y="111"/>
                    <a:pt x="101" y="111"/>
                  </a:cubicBezTo>
                  <a:cubicBezTo>
                    <a:pt x="101" y="111"/>
                    <a:pt x="105" y="109"/>
                    <a:pt x="106" y="109"/>
                  </a:cubicBezTo>
                  <a:cubicBezTo>
                    <a:pt x="107" y="109"/>
                    <a:pt x="107" y="110"/>
                    <a:pt x="107" y="110"/>
                  </a:cubicBezTo>
                  <a:cubicBezTo>
                    <a:pt x="111" y="109"/>
                    <a:pt x="111" y="109"/>
                    <a:pt x="111" y="109"/>
                  </a:cubicBezTo>
                  <a:cubicBezTo>
                    <a:pt x="111" y="109"/>
                    <a:pt x="116" y="108"/>
                    <a:pt x="116" y="108"/>
                  </a:cubicBezTo>
                  <a:cubicBezTo>
                    <a:pt x="117" y="108"/>
                    <a:pt x="119" y="108"/>
                    <a:pt x="119" y="108"/>
                  </a:cubicBezTo>
                  <a:cubicBezTo>
                    <a:pt x="119" y="108"/>
                    <a:pt x="123" y="108"/>
                    <a:pt x="124" y="108"/>
                  </a:cubicBezTo>
                  <a:cubicBezTo>
                    <a:pt x="125" y="108"/>
                    <a:pt x="125" y="108"/>
                    <a:pt x="125" y="108"/>
                  </a:cubicBezTo>
                  <a:cubicBezTo>
                    <a:pt x="131" y="109"/>
                    <a:pt x="131" y="109"/>
                    <a:pt x="131" y="109"/>
                  </a:cubicBezTo>
                  <a:cubicBezTo>
                    <a:pt x="132" y="109"/>
                    <a:pt x="132" y="109"/>
                    <a:pt x="132" y="109"/>
                  </a:cubicBezTo>
                  <a:cubicBezTo>
                    <a:pt x="132" y="109"/>
                    <a:pt x="136" y="108"/>
                    <a:pt x="138" y="107"/>
                  </a:cubicBezTo>
                  <a:cubicBezTo>
                    <a:pt x="139" y="106"/>
                    <a:pt x="138" y="105"/>
                    <a:pt x="138" y="105"/>
                  </a:cubicBezTo>
                  <a:cubicBezTo>
                    <a:pt x="140" y="103"/>
                    <a:pt x="140" y="103"/>
                    <a:pt x="140" y="103"/>
                  </a:cubicBezTo>
                  <a:cubicBezTo>
                    <a:pt x="144" y="104"/>
                    <a:pt x="144" y="104"/>
                    <a:pt x="144" y="104"/>
                  </a:cubicBezTo>
                  <a:cubicBezTo>
                    <a:pt x="150" y="98"/>
                    <a:pt x="150" y="98"/>
                    <a:pt x="150" y="98"/>
                  </a:cubicBezTo>
                  <a:cubicBezTo>
                    <a:pt x="152" y="94"/>
                    <a:pt x="152" y="94"/>
                    <a:pt x="152" y="94"/>
                  </a:cubicBezTo>
                  <a:cubicBezTo>
                    <a:pt x="152" y="92"/>
                    <a:pt x="152" y="92"/>
                    <a:pt x="152" y="92"/>
                  </a:cubicBezTo>
                  <a:cubicBezTo>
                    <a:pt x="153" y="91"/>
                    <a:pt x="153" y="91"/>
                    <a:pt x="153" y="91"/>
                  </a:cubicBezTo>
                  <a:cubicBezTo>
                    <a:pt x="155" y="88"/>
                    <a:pt x="155" y="88"/>
                    <a:pt x="155" y="88"/>
                  </a:cubicBezTo>
                  <a:cubicBezTo>
                    <a:pt x="155" y="85"/>
                    <a:pt x="155" y="85"/>
                    <a:pt x="155" y="85"/>
                  </a:cubicBezTo>
                  <a:cubicBezTo>
                    <a:pt x="156" y="82"/>
                    <a:pt x="156" y="82"/>
                    <a:pt x="156" y="82"/>
                  </a:cubicBezTo>
                  <a:cubicBezTo>
                    <a:pt x="155" y="79"/>
                    <a:pt x="155" y="79"/>
                    <a:pt x="155" y="79"/>
                  </a:cubicBezTo>
                  <a:cubicBezTo>
                    <a:pt x="158" y="75"/>
                    <a:pt x="158" y="75"/>
                    <a:pt x="158" y="75"/>
                  </a:cubicBezTo>
                  <a:cubicBezTo>
                    <a:pt x="157" y="69"/>
                    <a:pt x="157" y="69"/>
                    <a:pt x="157" y="69"/>
                  </a:cubicBezTo>
                  <a:cubicBezTo>
                    <a:pt x="157" y="69"/>
                    <a:pt x="159" y="67"/>
                    <a:pt x="160" y="67"/>
                  </a:cubicBezTo>
                  <a:cubicBezTo>
                    <a:pt x="162" y="67"/>
                    <a:pt x="161" y="63"/>
                    <a:pt x="161" y="63"/>
                  </a:cubicBezTo>
                  <a:cubicBezTo>
                    <a:pt x="161" y="57"/>
                    <a:pt x="161" y="57"/>
                    <a:pt x="161" y="57"/>
                  </a:cubicBezTo>
                  <a:cubicBezTo>
                    <a:pt x="164" y="54"/>
                    <a:pt x="164" y="54"/>
                    <a:pt x="164" y="54"/>
                  </a:cubicBezTo>
                  <a:cubicBezTo>
                    <a:pt x="165" y="47"/>
                    <a:pt x="165" y="47"/>
                    <a:pt x="165" y="47"/>
                  </a:cubicBezTo>
                  <a:cubicBezTo>
                    <a:pt x="165" y="47"/>
                    <a:pt x="166" y="47"/>
                    <a:pt x="167" y="46"/>
                  </a:cubicBezTo>
                  <a:cubicBezTo>
                    <a:pt x="169" y="46"/>
                    <a:pt x="167" y="42"/>
                    <a:pt x="167" y="42"/>
                  </a:cubicBezTo>
                  <a:cubicBezTo>
                    <a:pt x="168" y="38"/>
                    <a:pt x="168" y="38"/>
                    <a:pt x="168" y="38"/>
                  </a:cubicBezTo>
                  <a:cubicBezTo>
                    <a:pt x="171" y="36"/>
                    <a:pt x="171" y="36"/>
                    <a:pt x="171" y="36"/>
                  </a:cubicBezTo>
                  <a:cubicBezTo>
                    <a:pt x="172" y="31"/>
                    <a:pt x="172" y="31"/>
                    <a:pt x="172" y="31"/>
                  </a:cubicBezTo>
                  <a:cubicBezTo>
                    <a:pt x="173" y="29"/>
                    <a:pt x="173" y="29"/>
                    <a:pt x="173" y="29"/>
                  </a:cubicBezTo>
                  <a:cubicBezTo>
                    <a:pt x="176" y="29"/>
                    <a:pt x="176" y="29"/>
                    <a:pt x="176" y="29"/>
                  </a:cubicBezTo>
                  <a:cubicBezTo>
                    <a:pt x="179" y="28"/>
                    <a:pt x="179" y="28"/>
                    <a:pt x="179" y="28"/>
                  </a:cubicBezTo>
                  <a:cubicBezTo>
                    <a:pt x="182" y="25"/>
                    <a:pt x="182" y="25"/>
                    <a:pt x="182" y="25"/>
                  </a:cubicBezTo>
                  <a:cubicBezTo>
                    <a:pt x="182" y="25"/>
                    <a:pt x="183" y="24"/>
                    <a:pt x="184" y="24"/>
                  </a:cubicBezTo>
                  <a:cubicBezTo>
                    <a:pt x="185" y="24"/>
                    <a:pt x="186" y="22"/>
                    <a:pt x="186" y="22"/>
                  </a:cubicBezTo>
                  <a:cubicBezTo>
                    <a:pt x="189" y="19"/>
                    <a:pt x="189" y="19"/>
                    <a:pt x="189" y="19"/>
                  </a:cubicBezTo>
                  <a:lnTo>
                    <a:pt x="187" y="15"/>
                  </a:lnTo>
                  <a:close/>
                </a:path>
              </a:pathLst>
            </a:custGeom>
            <a:solidFill>
              <a:schemeClr val="accent6">
                <a:lumMod val="75000"/>
              </a:schemeClr>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8" name="Freeform 151"/>
            <p:cNvSpPr>
              <a:spLocks/>
            </p:cNvSpPr>
            <p:nvPr/>
          </p:nvSpPr>
          <p:spPr bwMode="auto">
            <a:xfrm>
              <a:off x="5998495" y="4795821"/>
              <a:ext cx="358148" cy="298190"/>
            </a:xfrm>
            <a:custGeom>
              <a:avLst/>
              <a:gdLst>
                <a:gd name="T0" fmla="*/ 122 w 124"/>
                <a:gd name="T1" fmla="*/ 43 h 109"/>
                <a:gd name="T2" fmla="*/ 120 w 124"/>
                <a:gd name="T3" fmla="*/ 38 h 109"/>
                <a:gd name="T4" fmla="*/ 114 w 124"/>
                <a:gd name="T5" fmla="*/ 33 h 109"/>
                <a:gd name="T6" fmla="*/ 107 w 124"/>
                <a:gd name="T7" fmla="*/ 29 h 109"/>
                <a:gd name="T8" fmla="*/ 107 w 124"/>
                <a:gd name="T9" fmla="*/ 19 h 109"/>
                <a:gd name="T10" fmla="*/ 111 w 124"/>
                <a:gd name="T11" fmla="*/ 8 h 109"/>
                <a:gd name="T12" fmla="*/ 106 w 124"/>
                <a:gd name="T13" fmla="*/ 6 h 109"/>
                <a:gd name="T14" fmla="*/ 103 w 124"/>
                <a:gd name="T15" fmla="*/ 9 h 109"/>
                <a:gd name="T16" fmla="*/ 92 w 124"/>
                <a:gd name="T17" fmla="*/ 9 h 109"/>
                <a:gd name="T18" fmla="*/ 90 w 124"/>
                <a:gd name="T19" fmla="*/ 4 h 109"/>
                <a:gd name="T20" fmla="*/ 83 w 124"/>
                <a:gd name="T21" fmla="*/ 2 h 109"/>
                <a:gd name="T22" fmla="*/ 79 w 124"/>
                <a:gd name="T23" fmla="*/ 2 h 109"/>
                <a:gd name="T24" fmla="*/ 75 w 124"/>
                <a:gd name="T25" fmla="*/ 1 h 109"/>
                <a:gd name="T26" fmla="*/ 72 w 124"/>
                <a:gd name="T27" fmla="*/ 1 h 109"/>
                <a:gd name="T28" fmla="*/ 70 w 124"/>
                <a:gd name="T29" fmla="*/ 2 h 109"/>
                <a:gd name="T30" fmla="*/ 65 w 124"/>
                <a:gd name="T31" fmla="*/ 3 h 109"/>
                <a:gd name="T32" fmla="*/ 63 w 124"/>
                <a:gd name="T33" fmla="*/ 4 h 109"/>
                <a:gd name="T34" fmla="*/ 60 w 124"/>
                <a:gd name="T35" fmla="*/ 4 h 109"/>
                <a:gd name="T36" fmla="*/ 46 w 124"/>
                <a:gd name="T37" fmla="*/ 2 h 109"/>
                <a:gd name="T38" fmla="*/ 37 w 124"/>
                <a:gd name="T39" fmla="*/ 2 h 109"/>
                <a:gd name="T40" fmla="*/ 32 w 124"/>
                <a:gd name="T41" fmla="*/ 0 h 109"/>
                <a:gd name="T42" fmla="*/ 25 w 124"/>
                <a:gd name="T43" fmla="*/ 2 h 109"/>
                <a:gd name="T44" fmla="*/ 21 w 124"/>
                <a:gd name="T45" fmla="*/ 5 h 109"/>
                <a:gd name="T46" fmla="*/ 18 w 124"/>
                <a:gd name="T47" fmla="*/ 11 h 109"/>
                <a:gd name="T48" fmla="*/ 10 w 124"/>
                <a:gd name="T49" fmla="*/ 11 h 109"/>
                <a:gd name="T50" fmla="*/ 1 w 124"/>
                <a:gd name="T51" fmla="*/ 6 h 109"/>
                <a:gd name="T52" fmla="*/ 1 w 124"/>
                <a:gd name="T53" fmla="*/ 13 h 109"/>
                <a:gd name="T54" fmla="*/ 1 w 124"/>
                <a:gd name="T55" fmla="*/ 21 h 109"/>
                <a:gd name="T56" fmla="*/ 5 w 124"/>
                <a:gd name="T57" fmla="*/ 22 h 109"/>
                <a:gd name="T58" fmla="*/ 10 w 124"/>
                <a:gd name="T59" fmla="*/ 27 h 109"/>
                <a:gd name="T60" fmla="*/ 14 w 124"/>
                <a:gd name="T61" fmla="*/ 34 h 109"/>
                <a:gd name="T62" fmla="*/ 17 w 124"/>
                <a:gd name="T63" fmla="*/ 38 h 109"/>
                <a:gd name="T64" fmla="*/ 21 w 124"/>
                <a:gd name="T65" fmla="*/ 46 h 109"/>
                <a:gd name="T66" fmla="*/ 27 w 124"/>
                <a:gd name="T67" fmla="*/ 52 h 109"/>
                <a:gd name="T68" fmla="*/ 34 w 124"/>
                <a:gd name="T69" fmla="*/ 58 h 109"/>
                <a:gd name="T70" fmla="*/ 41 w 124"/>
                <a:gd name="T71" fmla="*/ 63 h 109"/>
                <a:gd name="T72" fmla="*/ 47 w 124"/>
                <a:gd name="T73" fmla="*/ 69 h 109"/>
                <a:gd name="T74" fmla="*/ 53 w 124"/>
                <a:gd name="T75" fmla="*/ 73 h 109"/>
                <a:gd name="T76" fmla="*/ 63 w 124"/>
                <a:gd name="T77" fmla="*/ 84 h 109"/>
                <a:gd name="T78" fmla="*/ 67 w 124"/>
                <a:gd name="T79" fmla="*/ 90 h 109"/>
                <a:gd name="T80" fmla="*/ 71 w 124"/>
                <a:gd name="T81" fmla="*/ 92 h 109"/>
                <a:gd name="T82" fmla="*/ 79 w 124"/>
                <a:gd name="T83" fmla="*/ 99 h 109"/>
                <a:gd name="T84" fmla="*/ 92 w 124"/>
                <a:gd name="T85" fmla="*/ 106 h 109"/>
                <a:gd name="T86" fmla="*/ 97 w 124"/>
                <a:gd name="T87" fmla="*/ 109 h 109"/>
                <a:gd name="T88" fmla="*/ 100 w 124"/>
                <a:gd name="T89" fmla="*/ 105 h 109"/>
                <a:gd name="T90" fmla="*/ 99 w 124"/>
                <a:gd name="T91" fmla="*/ 101 h 109"/>
                <a:gd name="T92" fmla="*/ 97 w 124"/>
                <a:gd name="T93" fmla="*/ 95 h 109"/>
                <a:gd name="T94" fmla="*/ 97 w 124"/>
                <a:gd name="T95" fmla="*/ 88 h 109"/>
                <a:gd name="T96" fmla="*/ 100 w 124"/>
                <a:gd name="T97" fmla="*/ 81 h 109"/>
                <a:gd name="T98" fmla="*/ 104 w 124"/>
                <a:gd name="T99" fmla="*/ 73 h 109"/>
                <a:gd name="T100" fmla="*/ 109 w 124"/>
                <a:gd name="T101" fmla="*/ 75 h 109"/>
                <a:gd name="T102" fmla="*/ 111 w 124"/>
                <a:gd name="T103" fmla="*/ 72 h 109"/>
                <a:gd name="T104" fmla="*/ 108 w 124"/>
                <a:gd name="T105" fmla="*/ 68 h 109"/>
                <a:gd name="T106" fmla="*/ 106 w 124"/>
                <a:gd name="T107" fmla="*/ 66 h 109"/>
                <a:gd name="T108" fmla="*/ 110 w 124"/>
                <a:gd name="T109" fmla="*/ 65 h 109"/>
                <a:gd name="T110" fmla="*/ 114 w 124"/>
                <a:gd name="T111" fmla="*/ 63 h 109"/>
                <a:gd name="T112" fmla="*/ 122 w 124"/>
                <a:gd name="T113" fmla="*/ 61 h 109"/>
                <a:gd name="T114" fmla="*/ 119 w 124"/>
                <a:gd name="T115" fmla="*/ 51 h 109"/>
                <a:gd name="T116" fmla="*/ 113 w 124"/>
                <a:gd name="T117" fmla="*/ 4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4" h="109">
                  <a:moveTo>
                    <a:pt x="114" y="44"/>
                  </a:moveTo>
                  <a:cubicBezTo>
                    <a:pt x="115" y="44"/>
                    <a:pt x="116" y="44"/>
                    <a:pt x="117" y="44"/>
                  </a:cubicBezTo>
                  <a:cubicBezTo>
                    <a:pt x="118" y="44"/>
                    <a:pt x="119" y="44"/>
                    <a:pt x="119" y="44"/>
                  </a:cubicBezTo>
                  <a:cubicBezTo>
                    <a:pt x="120" y="44"/>
                    <a:pt x="122" y="43"/>
                    <a:pt x="122" y="43"/>
                  </a:cubicBezTo>
                  <a:cubicBezTo>
                    <a:pt x="122" y="43"/>
                    <a:pt x="123" y="42"/>
                    <a:pt x="123" y="42"/>
                  </a:cubicBezTo>
                  <a:cubicBezTo>
                    <a:pt x="123" y="42"/>
                    <a:pt x="124" y="41"/>
                    <a:pt x="124" y="40"/>
                  </a:cubicBezTo>
                  <a:cubicBezTo>
                    <a:pt x="123" y="40"/>
                    <a:pt x="122" y="39"/>
                    <a:pt x="122" y="39"/>
                  </a:cubicBezTo>
                  <a:cubicBezTo>
                    <a:pt x="121" y="39"/>
                    <a:pt x="120" y="38"/>
                    <a:pt x="120" y="38"/>
                  </a:cubicBezTo>
                  <a:cubicBezTo>
                    <a:pt x="120" y="37"/>
                    <a:pt x="119" y="36"/>
                    <a:pt x="118" y="36"/>
                  </a:cubicBezTo>
                  <a:cubicBezTo>
                    <a:pt x="118" y="36"/>
                    <a:pt x="118" y="37"/>
                    <a:pt x="117" y="36"/>
                  </a:cubicBezTo>
                  <a:cubicBezTo>
                    <a:pt x="116" y="36"/>
                    <a:pt x="115" y="35"/>
                    <a:pt x="115" y="35"/>
                  </a:cubicBezTo>
                  <a:cubicBezTo>
                    <a:pt x="115" y="34"/>
                    <a:pt x="115" y="34"/>
                    <a:pt x="114" y="33"/>
                  </a:cubicBezTo>
                  <a:cubicBezTo>
                    <a:pt x="113" y="33"/>
                    <a:pt x="112" y="32"/>
                    <a:pt x="111" y="32"/>
                  </a:cubicBezTo>
                  <a:cubicBezTo>
                    <a:pt x="110" y="32"/>
                    <a:pt x="111" y="32"/>
                    <a:pt x="109" y="32"/>
                  </a:cubicBezTo>
                  <a:cubicBezTo>
                    <a:pt x="107" y="32"/>
                    <a:pt x="106" y="31"/>
                    <a:pt x="106" y="30"/>
                  </a:cubicBezTo>
                  <a:cubicBezTo>
                    <a:pt x="106" y="29"/>
                    <a:pt x="106" y="30"/>
                    <a:pt x="107" y="29"/>
                  </a:cubicBezTo>
                  <a:cubicBezTo>
                    <a:pt x="107" y="28"/>
                    <a:pt x="107" y="26"/>
                    <a:pt x="107" y="25"/>
                  </a:cubicBezTo>
                  <a:cubicBezTo>
                    <a:pt x="106" y="25"/>
                    <a:pt x="106" y="25"/>
                    <a:pt x="105" y="23"/>
                  </a:cubicBezTo>
                  <a:cubicBezTo>
                    <a:pt x="105" y="21"/>
                    <a:pt x="107" y="22"/>
                    <a:pt x="107" y="22"/>
                  </a:cubicBezTo>
                  <a:cubicBezTo>
                    <a:pt x="107" y="22"/>
                    <a:pt x="107" y="20"/>
                    <a:pt x="107" y="19"/>
                  </a:cubicBezTo>
                  <a:cubicBezTo>
                    <a:pt x="107" y="19"/>
                    <a:pt x="108" y="17"/>
                    <a:pt x="108" y="17"/>
                  </a:cubicBezTo>
                  <a:cubicBezTo>
                    <a:pt x="110" y="14"/>
                    <a:pt x="110" y="14"/>
                    <a:pt x="110" y="14"/>
                  </a:cubicBezTo>
                  <a:cubicBezTo>
                    <a:pt x="111" y="11"/>
                    <a:pt x="111" y="11"/>
                    <a:pt x="111" y="11"/>
                  </a:cubicBezTo>
                  <a:cubicBezTo>
                    <a:pt x="111" y="8"/>
                    <a:pt x="111" y="8"/>
                    <a:pt x="111" y="8"/>
                  </a:cubicBezTo>
                  <a:cubicBezTo>
                    <a:pt x="111" y="5"/>
                    <a:pt x="111" y="5"/>
                    <a:pt x="111" y="5"/>
                  </a:cubicBezTo>
                  <a:cubicBezTo>
                    <a:pt x="108" y="5"/>
                    <a:pt x="108" y="5"/>
                    <a:pt x="108" y="5"/>
                  </a:cubicBezTo>
                  <a:cubicBezTo>
                    <a:pt x="106" y="4"/>
                    <a:pt x="106" y="4"/>
                    <a:pt x="106" y="4"/>
                  </a:cubicBezTo>
                  <a:cubicBezTo>
                    <a:pt x="106" y="5"/>
                    <a:pt x="106" y="5"/>
                    <a:pt x="106" y="6"/>
                  </a:cubicBezTo>
                  <a:cubicBezTo>
                    <a:pt x="106" y="6"/>
                    <a:pt x="106" y="8"/>
                    <a:pt x="105" y="8"/>
                  </a:cubicBezTo>
                  <a:cubicBezTo>
                    <a:pt x="105" y="9"/>
                    <a:pt x="105" y="9"/>
                    <a:pt x="105" y="9"/>
                  </a:cubicBezTo>
                  <a:cubicBezTo>
                    <a:pt x="104" y="9"/>
                    <a:pt x="104" y="9"/>
                    <a:pt x="104" y="9"/>
                  </a:cubicBezTo>
                  <a:cubicBezTo>
                    <a:pt x="104" y="9"/>
                    <a:pt x="104" y="9"/>
                    <a:pt x="103" y="9"/>
                  </a:cubicBezTo>
                  <a:cubicBezTo>
                    <a:pt x="103" y="10"/>
                    <a:pt x="103" y="10"/>
                    <a:pt x="103" y="10"/>
                  </a:cubicBezTo>
                  <a:cubicBezTo>
                    <a:pt x="101" y="12"/>
                    <a:pt x="101" y="12"/>
                    <a:pt x="101" y="12"/>
                  </a:cubicBezTo>
                  <a:cubicBezTo>
                    <a:pt x="100" y="12"/>
                    <a:pt x="100" y="12"/>
                    <a:pt x="100" y="12"/>
                  </a:cubicBezTo>
                  <a:cubicBezTo>
                    <a:pt x="99" y="12"/>
                    <a:pt x="97" y="11"/>
                    <a:pt x="92" y="9"/>
                  </a:cubicBezTo>
                  <a:cubicBezTo>
                    <a:pt x="92" y="9"/>
                    <a:pt x="92" y="9"/>
                    <a:pt x="92" y="9"/>
                  </a:cubicBezTo>
                  <a:cubicBezTo>
                    <a:pt x="92" y="9"/>
                    <a:pt x="92" y="9"/>
                    <a:pt x="92" y="9"/>
                  </a:cubicBezTo>
                  <a:cubicBezTo>
                    <a:pt x="92" y="9"/>
                    <a:pt x="90" y="8"/>
                    <a:pt x="90" y="6"/>
                  </a:cubicBezTo>
                  <a:cubicBezTo>
                    <a:pt x="90" y="6"/>
                    <a:pt x="90" y="5"/>
                    <a:pt x="90" y="4"/>
                  </a:cubicBezTo>
                  <a:cubicBezTo>
                    <a:pt x="87" y="2"/>
                    <a:pt x="87" y="2"/>
                    <a:pt x="87" y="2"/>
                  </a:cubicBezTo>
                  <a:cubicBezTo>
                    <a:pt x="87" y="2"/>
                    <a:pt x="87" y="2"/>
                    <a:pt x="87" y="2"/>
                  </a:cubicBezTo>
                  <a:cubicBezTo>
                    <a:pt x="87" y="2"/>
                    <a:pt x="87" y="1"/>
                    <a:pt x="86" y="1"/>
                  </a:cubicBezTo>
                  <a:cubicBezTo>
                    <a:pt x="83" y="2"/>
                    <a:pt x="83" y="2"/>
                    <a:pt x="83" y="2"/>
                  </a:cubicBezTo>
                  <a:cubicBezTo>
                    <a:pt x="83" y="2"/>
                    <a:pt x="83" y="2"/>
                    <a:pt x="83" y="2"/>
                  </a:cubicBezTo>
                  <a:cubicBezTo>
                    <a:pt x="83" y="2"/>
                    <a:pt x="83" y="2"/>
                    <a:pt x="83" y="2"/>
                  </a:cubicBezTo>
                  <a:cubicBezTo>
                    <a:pt x="80" y="2"/>
                    <a:pt x="80" y="2"/>
                    <a:pt x="80" y="2"/>
                  </a:cubicBezTo>
                  <a:cubicBezTo>
                    <a:pt x="79" y="2"/>
                    <a:pt x="79" y="2"/>
                    <a:pt x="79" y="2"/>
                  </a:cubicBezTo>
                  <a:cubicBezTo>
                    <a:pt x="78" y="1"/>
                    <a:pt x="77" y="1"/>
                    <a:pt x="77" y="0"/>
                  </a:cubicBezTo>
                  <a:cubicBezTo>
                    <a:pt x="76" y="0"/>
                    <a:pt x="76" y="0"/>
                    <a:pt x="76" y="0"/>
                  </a:cubicBezTo>
                  <a:cubicBezTo>
                    <a:pt x="76" y="0"/>
                    <a:pt x="76" y="0"/>
                    <a:pt x="75" y="1"/>
                  </a:cubicBezTo>
                  <a:cubicBezTo>
                    <a:pt x="75" y="1"/>
                    <a:pt x="75" y="1"/>
                    <a:pt x="75" y="1"/>
                  </a:cubicBezTo>
                  <a:cubicBezTo>
                    <a:pt x="74" y="1"/>
                    <a:pt x="74" y="1"/>
                    <a:pt x="74" y="1"/>
                  </a:cubicBezTo>
                  <a:cubicBezTo>
                    <a:pt x="73" y="1"/>
                    <a:pt x="73" y="1"/>
                    <a:pt x="73" y="1"/>
                  </a:cubicBezTo>
                  <a:cubicBezTo>
                    <a:pt x="73" y="1"/>
                    <a:pt x="73" y="1"/>
                    <a:pt x="73" y="1"/>
                  </a:cubicBezTo>
                  <a:cubicBezTo>
                    <a:pt x="73" y="1"/>
                    <a:pt x="73" y="1"/>
                    <a:pt x="72" y="1"/>
                  </a:cubicBezTo>
                  <a:cubicBezTo>
                    <a:pt x="71" y="1"/>
                    <a:pt x="71" y="1"/>
                    <a:pt x="71" y="1"/>
                  </a:cubicBezTo>
                  <a:cubicBezTo>
                    <a:pt x="70" y="2"/>
                    <a:pt x="70" y="2"/>
                    <a:pt x="70" y="2"/>
                  </a:cubicBezTo>
                  <a:cubicBezTo>
                    <a:pt x="70" y="2"/>
                    <a:pt x="70" y="2"/>
                    <a:pt x="70" y="2"/>
                  </a:cubicBezTo>
                  <a:cubicBezTo>
                    <a:pt x="70" y="2"/>
                    <a:pt x="70" y="2"/>
                    <a:pt x="70" y="2"/>
                  </a:cubicBezTo>
                  <a:cubicBezTo>
                    <a:pt x="69" y="3"/>
                    <a:pt x="69" y="3"/>
                    <a:pt x="69" y="3"/>
                  </a:cubicBezTo>
                  <a:cubicBezTo>
                    <a:pt x="68" y="3"/>
                    <a:pt x="68" y="3"/>
                    <a:pt x="68" y="3"/>
                  </a:cubicBezTo>
                  <a:cubicBezTo>
                    <a:pt x="67" y="3"/>
                    <a:pt x="67" y="3"/>
                    <a:pt x="67" y="3"/>
                  </a:cubicBezTo>
                  <a:cubicBezTo>
                    <a:pt x="65" y="3"/>
                    <a:pt x="65" y="3"/>
                    <a:pt x="65" y="3"/>
                  </a:cubicBezTo>
                  <a:cubicBezTo>
                    <a:pt x="65" y="3"/>
                    <a:pt x="65" y="3"/>
                    <a:pt x="65" y="3"/>
                  </a:cubicBezTo>
                  <a:cubicBezTo>
                    <a:pt x="64" y="3"/>
                    <a:pt x="64" y="3"/>
                    <a:pt x="64" y="3"/>
                  </a:cubicBezTo>
                  <a:cubicBezTo>
                    <a:pt x="64" y="3"/>
                    <a:pt x="63" y="3"/>
                    <a:pt x="63" y="3"/>
                  </a:cubicBezTo>
                  <a:cubicBezTo>
                    <a:pt x="63" y="4"/>
                    <a:pt x="63" y="4"/>
                    <a:pt x="63" y="4"/>
                  </a:cubicBezTo>
                  <a:cubicBezTo>
                    <a:pt x="62" y="5"/>
                    <a:pt x="62" y="5"/>
                    <a:pt x="62" y="5"/>
                  </a:cubicBezTo>
                  <a:cubicBezTo>
                    <a:pt x="61" y="5"/>
                    <a:pt x="61" y="5"/>
                    <a:pt x="61" y="5"/>
                  </a:cubicBezTo>
                  <a:cubicBezTo>
                    <a:pt x="60" y="5"/>
                    <a:pt x="60" y="5"/>
                    <a:pt x="60" y="5"/>
                  </a:cubicBezTo>
                  <a:cubicBezTo>
                    <a:pt x="60" y="4"/>
                    <a:pt x="60" y="4"/>
                    <a:pt x="60" y="4"/>
                  </a:cubicBezTo>
                  <a:cubicBezTo>
                    <a:pt x="58" y="4"/>
                    <a:pt x="58" y="4"/>
                    <a:pt x="58" y="4"/>
                  </a:cubicBezTo>
                  <a:cubicBezTo>
                    <a:pt x="53" y="3"/>
                    <a:pt x="53" y="3"/>
                    <a:pt x="53" y="3"/>
                  </a:cubicBezTo>
                  <a:cubicBezTo>
                    <a:pt x="50" y="3"/>
                    <a:pt x="50" y="3"/>
                    <a:pt x="50" y="3"/>
                  </a:cubicBezTo>
                  <a:cubicBezTo>
                    <a:pt x="46" y="2"/>
                    <a:pt x="46" y="2"/>
                    <a:pt x="46" y="2"/>
                  </a:cubicBezTo>
                  <a:cubicBezTo>
                    <a:pt x="44" y="2"/>
                    <a:pt x="44" y="2"/>
                    <a:pt x="44" y="2"/>
                  </a:cubicBezTo>
                  <a:cubicBezTo>
                    <a:pt x="44" y="2"/>
                    <a:pt x="44" y="2"/>
                    <a:pt x="44" y="2"/>
                  </a:cubicBezTo>
                  <a:cubicBezTo>
                    <a:pt x="41" y="3"/>
                    <a:pt x="41" y="3"/>
                    <a:pt x="41" y="3"/>
                  </a:cubicBezTo>
                  <a:cubicBezTo>
                    <a:pt x="37" y="2"/>
                    <a:pt x="37" y="2"/>
                    <a:pt x="37" y="2"/>
                  </a:cubicBezTo>
                  <a:cubicBezTo>
                    <a:pt x="35" y="0"/>
                    <a:pt x="35" y="0"/>
                    <a:pt x="35" y="0"/>
                  </a:cubicBezTo>
                  <a:cubicBezTo>
                    <a:pt x="33" y="0"/>
                    <a:pt x="33" y="0"/>
                    <a:pt x="33" y="0"/>
                  </a:cubicBezTo>
                  <a:cubicBezTo>
                    <a:pt x="33" y="0"/>
                    <a:pt x="33" y="0"/>
                    <a:pt x="33" y="0"/>
                  </a:cubicBezTo>
                  <a:cubicBezTo>
                    <a:pt x="32" y="0"/>
                    <a:pt x="32" y="0"/>
                    <a:pt x="32" y="0"/>
                  </a:cubicBezTo>
                  <a:cubicBezTo>
                    <a:pt x="31" y="2"/>
                    <a:pt x="31" y="2"/>
                    <a:pt x="31" y="2"/>
                  </a:cubicBezTo>
                  <a:cubicBezTo>
                    <a:pt x="31" y="2"/>
                    <a:pt x="31" y="2"/>
                    <a:pt x="31" y="2"/>
                  </a:cubicBezTo>
                  <a:cubicBezTo>
                    <a:pt x="30" y="3"/>
                    <a:pt x="30" y="3"/>
                    <a:pt x="29" y="3"/>
                  </a:cubicBezTo>
                  <a:cubicBezTo>
                    <a:pt x="28" y="3"/>
                    <a:pt x="26" y="2"/>
                    <a:pt x="25" y="2"/>
                  </a:cubicBezTo>
                  <a:cubicBezTo>
                    <a:pt x="23" y="3"/>
                    <a:pt x="23" y="3"/>
                    <a:pt x="23" y="3"/>
                  </a:cubicBezTo>
                  <a:cubicBezTo>
                    <a:pt x="21" y="3"/>
                    <a:pt x="21" y="3"/>
                    <a:pt x="21" y="3"/>
                  </a:cubicBezTo>
                  <a:cubicBezTo>
                    <a:pt x="21" y="4"/>
                    <a:pt x="21" y="4"/>
                    <a:pt x="21" y="4"/>
                  </a:cubicBezTo>
                  <a:cubicBezTo>
                    <a:pt x="21" y="5"/>
                    <a:pt x="21" y="5"/>
                    <a:pt x="21" y="5"/>
                  </a:cubicBezTo>
                  <a:cubicBezTo>
                    <a:pt x="19" y="7"/>
                    <a:pt x="19" y="7"/>
                    <a:pt x="19" y="7"/>
                  </a:cubicBezTo>
                  <a:cubicBezTo>
                    <a:pt x="18" y="8"/>
                    <a:pt x="18" y="8"/>
                    <a:pt x="18" y="8"/>
                  </a:cubicBezTo>
                  <a:cubicBezTo>
                    <a:pt x="18" y="8"/>
                    <a:pt x="18" y="9"/>
                    <a:pt x="18" y="10"/>
                  </a:cubicBezTo>
                  <a:cubicBezTo>
                    <a:pt x="18" y="11"/>
                    <a:pt x="18" y="11"/>
                    <a:pt x="18" y="11"/>
                  </a:cubicBezTo>
                  <a:cubicBezTo>
                    <a:pt x="15" y="12"/>
                    <a:pt x="15" y="12"/>
                    <a:pt x="15" y="12"/>
                  </a:cubicBezTo>
                  <a:cubicBezTo>
                    <a:pt x="15" y="13"/>
                    <a:pt x="15" y="13"/>
                    <a:pt x="15" y="13"/>
                  </a:cubicBezTo>
                  <a:cubicBezTo>
                    <a:pt x="14" y="13"/>
                    <a:pt x="14" y="13"/>
                    <a:pt x="14" y="13"/>
                  </a:cubicBezTo>
                  <a:cubicBezTo>
                    <a:pt x="10" y="11"/>
                    <a:pt x="10" y="11"/>
                    <a:pt x="10" y="11"/>
                  </a:cubicBezTo>
                  <a:cubicBezTo>
                    <a:pt x="5" y="4"/>
                    <a:pt x="5" y="4"/>
                    <a:pt x="5" y="4"/>
                  </a:cubicBezTo>
                  <a:cubicBezTo>
                    <a:pt x="4" y="4"/>
                    <a:pt x="4" y="4"/>
                    <a:pt x="4" y="4"/>
                  </a:cubicBezTo>
                  <a:cubicBezTo>
                    <a:pt x="3" y="5"/>
                    <a:pt x="1" y="5"/>
                    <a:pt x="1" y="6"/>
                  </a:cubicBezTo>
                  <a:cubicBezTo>
                    <a:pt x="1" y="6"/>
                    <a:pt x="1" y="6"/>
                    <a:pt x="1" y="6"/>
                  </a:cubicBezTo>
                  <a:cubicBezTo>
                    <a:pt x="1" y="6"/>
                    <a:pt x="1" y="7"/>
                    <a:pt x="1" y="9"/>
                  </a:cubicBezTo>
                  <a:cubicBezTo>
                    <a:pt x="1" y="9"/>
                    <a:pt x="1" y="9"/>
                    <a:pt x="1" y="9"/>
                  </a:cubicBezTo>
                  <a:cubicBezTo>
                    <a:pt x="0" y="11"/>
                    <a:pt x="0" y="11"/>
                    <a:pt x="0" y="11"/>
                  </a:cubicBezTo>
                  <a:cubicBezTo>
                    <a:pt x="1" y="13"/>
                    <a:pt x="1" y="13"/>
                    <a:pt x="1" y="13"/>
                  </a:cubicBezTo>
                  <a:cubicBezTo>
                    <a:pt x="1" y="15"/>
                    <a:pt x="1" y="15"/>
                    <a:pt x="1" y="15"/>
                  </a:cubicBezTo>
                  <a:cubicBezTo>
                    <a:pt x="1" y="16"/>
                    <a:pt x="1" y="16"/>
                    <a:pt x="1" y="16"/>
                  </a:cubicBezTo>
                  <a:cubicBezTo>
                    <a:pt x="1" y="16"/>
                    <a:pt x="2" y="17"/>
                    <a:pt x="2" y="18"/>
                  </a:cubicBezTo>
                  <a:cubicBezTo>
                    <a:pt x="2" y="18"/>
                    <a:pt x="2" y="20"/>
                    <a:pt x="1" y="21"/>
                  </a:cubicBezTo>
                  <a:cubicBezTo>
                    <a:pt x="1" y="21"/>
                    <a:pt x="1" y="22"/>
                    <a:pt x="1" y="22"/>
                  </a:cubicBezTo>
                  <a:cubicBezTo>
                    <a:pt x="1" y="22"/>
                    <a:pt x="1" y="22"/>
                    <a:pt x="1" y="22"/>
                  </a:cubicBezTo>
                  <a:cubicBezTo>
                    <a:pt x="1" y="22"/>
                    <a:pt x="1" y="22"/>
                    <a:pt x="1" y="22"/>
                  </a:cubicBezTo>
                  <a:cubicBezTo>
                    <a:pt x="5" y="22"/>
                    <a:pt x="5" y="22"/>
                    <a:pt x="5" y="22"/>
                  </a:cubicBezTo>
                  <a:cubicBezTo>
                    <a:pt x="5" y="22"/>
                    <a:pt x="5" y="22"/>
                    <a:pt x="5" y="22"/>
                  </a:cubicBezTo>
                  <a:cubicBezTo>
                    <a:pt x="6" y="23"/>
                    <a:pt x="7" y="24"/>
                    <a:pt x="8" y="25"/>
                  </a:cubicBezTo>
                  <a:cubicBezTo>
                    <a:pt x="10" y="26"/>
                    <a:pt x="10" y="26"/>
                    <a:pt x="10" y="26"/>
                  </a:cubicBezTo>
                  <a:cubicBezTo>
                    <a:pt x="10" y="27"/>
                    <a:pt x="10" y="27"/>
                    <a:pt x="10" y="27"/>
                  </a:cubicBezTo>
                  <a:cubicBezTo>
                    <a:pt x="10" y="28"/>
                    <a:pt x="10" y="29"/>
                    <a:pt x="10" y="29"/>
                  </a:cubicBezTo>
                  <a:cubicBezTo>
                    <a:pt x="12" y="29"/>
                    <a:pt x="12" y="29"/>
                    <a:pt x="12" y="29"/>
                  </a:cubicBezTo>
                  <a:cubicBezTo>
                    <a:pt x="13" y="30"/>
                    <a:pt x="13" y="30"/>
                    <a:pt x="13" y="30"/>
                  </a:cubicBezTo>
                  <a:cubicBezTo>
                    <a:pt x="14" y="31"/>
                    <a:pt x="15" y="33"/>
                    <a:pt x="14" y="34"/>
                  </a:cubicBezTo>
                  <a:cubicBezTo>
                    <a:pt x="14" y="34"/>
                    <a:pt x="15" y="34"/>
                    <a:pt x="15" y="35"/>
                  </a:cubicBezTo>
                  <a:cubicBezTo>
                    <a:pt x="15" y="35"/>
                    <a:pt x="15" y="36"/>
                    <a:pt x="15" y="36"/>
                  </a:cubicBezTo>
                  <a:cubicBezTo>
                    <a:pt x="15" y="37"/>
                    <a:pt x="15" y="37"/>
                    <a:pt x="15" y="37"/>
                  </a:cubicBezTo>
                  <a:cubicBezTo>
                    <a:pt x="16" y="37"/>
                    <a:pt x="16" y="38"/>
                    <a:pt x="17" y="38"/>
                  </a:cubicBezTo>
                  <a:cubicBezTo>
                    <a:pt x="18" y="39"/>
                    <a:pt x="18" y="39"/>
                    <a:pt x="18" y="39"/>
                  </a:cubicBezTo>
                  <a:cubicBezTo>
                    <a:pt x="17" y="42"/>
                    <a:pt x="17" y="42"/>
                    <a:pt x="17" y="42"/>
                  </a:cubicBezTo>
                  <a:cubicBezTo>
                    <a:pt x="18" y="43"/>
                    <a:pt x="18" y="43"/>
                    <a:pt x="18" y="43"/>
                  </a:cubicBezTo>
                  <a:cubicBezTo>
                    <a:pt x="21" y="46"/>
                    <a:pt x="21" y="46"/>
                    <a:pt x="21" y="46"/>
                  </a:cubicBezTo>
                  <a:cubicBezTo>
                    <a:pt x="23" y="49"/>
                    <a:pt x="23" y="49"/>
                    <a:pt x="23" y="49"/>
                  </a:cubicBezTo>
                  <a:cubicBezTo>
                    <a:pt x="24" y="49"/>
                    <a:pt x="24" y="49"/>
                    <a:pt x="24" y="49"/>
                  </a:cubicBezTo>
                  <a:cubicBezTo>
                    <a:pt x="25" y="51"/>
                    <a:pt x="25" y="51"/>
                    <a:pt x="25" y="51"/>
                  </a:cubicBezTo>
                  <a:cubicBezTo>
                    <a:pt x="27" y="52"/>
                    <a:pt x="27" y="52"/>
                    <a:pt x="27" y="52"/>
                  </a:cubicBezTo>
                  <a:cubicBezTo>
                    <a:pt x="29" y="55"/>
                    <a:pt x="29" y="55"/>
                    <a:pt x="29" y="55"/>
                  </a:cubicBezTo>
                  <a:cubicBezTo>
                    <a:pt x="31" y="56"/>
                    <a:pt x="31" y="56"/>
                    <a:pt x="31" y="56"/>
                  </a:cubicBezTo>
                  <a:cubicBezTo>
                    <a:pt x="31" y="58"/>
                    <a:pt x="31" y="58"/>
                    <a:pt x="31" y="58"/>
                  </a:cubicBezTo>
                  <a:cubicBezTo>
                    <a:pt x="34" y="58"/>
                    <a:pt x="34" y="58"/>
                    <a:pt x="34" y="58"/>
                  </a:cubicBezTo>
                  <a:cubicBezTo>
                    <a:pt x="34" y="60"/>
                    <a:pt x="34" y="60"/>
                    <a:pt x="34" y="60"/>
                  </a:cubicBezTo>
                  <a:cubicBezTo>
                    <a:pt x="35" y="60"/>
                    <a:pt x="35" y="60"/>
                    <a:pt x="35" y="60"/>
                  </a:cubicBezTo>
                  <a:cubicBezTo>
                    <a:pt x="37" y="62"/>
                    <a:pt x="37" y="62"/>
                    <a:pt x="37" y="62"/>
                  </a:cubicBezTo>
                  <a:cubicBezTo>
                    <a:pt x="41" y="63"/>
                    <a:pt x="41" y="63"/>
                    <a:pt x="41" y="63"/>
                  </a:cubicBezTo>
                  <a:cubicBezTo>
                    <a:pt x="42" y="64"/>
                    <a:pt x="42" y="64"/>
                    <a:pt x="42" y="64"/>
                  </a:cubicBezTo>
                  <a:cubicBezTo>
                    <a:pt x="44" y="67"/>
                    <a:pt x="44" y="67"/>
                    <a:pt x="44" y="67"/>
                  </a:cubicBezTo>
                  <a:cubicBezTo>
                    <a:pt x="45" y="67"/>
                    <a:pt x="45" y="67"/>
                    <a:pt x="45" y="67"/>
                  </a:cubicBezTo>
                  <a:cubicBezTo>
                    <a:pt x="47" y="69"/>
                    <a:pt x="47" y="69"/>
                    <a:pt x="47" y="69"/>
                  </a:cubicBezTo>
                  <a:cubicBezTo>
                    <a:pt x="47" y="69"/>
                    <a:pt x="47" y="70"/>
                    <a:pt x="48" y="70"/>
                  </a:cubicBezTo>
                  <a:cubicBezTo>
                    <a:pt x="48" y="71"/>
                    <a:pt x="50" y="71"/>
                    <a:pt x="52" y="72"/>
                  </a:cubicBezTo>
                  <a:cubicBezTo>
                    <a:pt x="53" y="72"/>
                    <a:pt x="53" y="72"/>
                    <a:pt x="53" y="72"/>
                  </a:cubicBezTo>
                  <a:cubicBezTo>
                    <a:pt x="53" y="73"/>
                    <a:pt x="53" y="73"/>
                    <a:pt x="53" y="73"/>
                  </a:cubicBezTo>
                  <a:cubicBezTo>
                    <a:pt x="54" y="76"/>
                    <a:pt x="54" y="76"/>
                    <a:pt x="54" y="76"/>
                  </a:cubicBezTo>
                  <a:cubicBezTo>
                    <a:pt x="55" y="78"/>
                    <a:pt x="55" y="78"/>
                    <a:pt x="55" y="78"/>
                  </a:cubicBezTo>
                  <a:cubicBezTo>
                    <a:pt x="55" y="78"/>
                    <a:pt x="55" y="78"/>
                    <a:pt x="55" y="78"/>
                  </a:cubicBezTo>
                  <a:cubicBezTo>
                    <a:pt x="63" y="84"/>
                    <a:pt x="63" y="84"/>
                    <a:pt x="63" y="84"/>
                  </a:cubicBezTo>
                  <a:cubicBezTo>
                    <a:pt x="64" y="86"/>
                    <a:pt x="64" y="86"/>
                    <a:pt x="64" y="86"/>
                  </a:cubicBezTo>
                  <a:cubicBezTo>
                    <a:pt x="68" y="87"/>
                    <a:pt x="68" y="87"/>
                    <a:pt x="68" y="87"/>
                  </a:cubicBezTo>
                  <a:cubicBezTo>
                    <a:pt x="67" y="89"/>
                    <a:pt x="67" y="89"/>
                    <a:pt x="67" y="89"/>
                  </a:cubicBezTo>
                  <a:cubicBezTo>
                    <a:pt x="67" y="89"/>
                    <a:pt x="67" y="89"/>
                    <a:pt x="67" y="90"/>
                  </a:cubicBezTo>
                  <a:cubicBezTo>
                    <a:pt x="67" y="90"/>
                    <a:pt x="67" y="90"/>
                    <a:pt x="67" y="90"/>
                  </a:cubicBezTo>
                  <a:cubicBezTo>
                    <a:pt x="68" y="90"/>
                    <a:pt x="68" y="90"/>
                    <a:pt x="68" y="90"/>
                  </a:cubicBezTo>
                  <a:cubicBezTo>
                    <a:pt x="71" y="90"/>
                    <a:pt x="71" y="90"/>
                    <a:pt x="71" y="90"/>
                  </a:cubicBezTo>
                  <a:cubicBezTo>
                    <a:pt x="71" y="92"/>
                    <a:pt x="71" y="92"/>
                    <a:pt x="71" y="92"/>
                  </a:cubicBezTo>
                  <a:cubicBezTo>
                    <a:pt x="71" y="92"/>
                    <a:pt x="71" y="93"/>
                    <a:pt x="71" y="94"/>
                  </a:cubicBezTo>
                  <a:cubicBezTo>
                    <a:pt x="73" y="94"/>
                    <a:pt x="73" y="94"/>
                    <a:pt x="73" y="94"/>
                  </a:cubicBezTo>
                  <a:cubicBezTo>
                    <a:pt x="78" y="97"/>
                    <a:pt x="78" y="97"/>
                    <a:pt x="78" y="97"/>
                  </a:cubicBezTo>
                  <a:cubicBezTo>
                    <a:pt x="79" y="99"/>
                    <a:pt x="79" y="99"/>
                    <a:pt x="79" y="99"/>
                  </a:cubicBezTo>
                  <a:cubicBezTo>
                    <a:pt x="80" y="100"/>
                    <a:pt x="80" y="100"/>
                    <a:pt x="80" y="100"/>
                  </a:cubicBezTo>
                  <a:cubicBezTo>
                    <a:pt x="84" y="102"/>
                    <a:pt x="84" y="102"/>
                    <a:pt x="84" y="102"/>
                  </a:cubicBezTo>
                  <a:cubicBezTo>
                    <a:pt x="89" y="104"/>
                    <a:pt x="89" y="104"/>
                    <a:pt x="89" y="104"/>
                  </a:cubicBezTo>
                  <a:cubicBezTo>
                    <a:pt x="90" y="105"/>
                    <a:pt x="92" y="106"/>
                    <a:pt x="92" y="106"/>
                  </a:cubicBezTo>
                  <a:cubicBezTo>
                    <a:pt x="93" y="106"/>
                    <a:pt x="93" y="107"/>
                    <a:pt x="94" y="108"/>
                  </a:cubicBezTo>
                  <a:cubicBezTo>
                    <a:pt x="94" y="108"/>
                    <a:pt x="94" y="108"/>
                    <a:pt x="94" y="108"/>
                  </a:cubicBezTo>
                  <a:cubicBezTo>
                    <a:pt x="97" y="108"/>
                    <a:pt x="97" y="108"/>
                    <a:pt x="97" y="108"/>
                  </a:cubicBezTo>
                  <a:cubicBezTo>
                    <a:pt x="97" y="109"/>
                    <a:pt x="97" y="109"/>
                    <a:pt x="97" y="109"/>
                  </a:cubicBezTo>
                  <a:cubicBezTo>
                    <a:pt x="98" y="107"/>
                    <a:pt x="98" y="107"/>
                    <a:pt x="98" y="107"/>
                  </a:cubicBezTo>
                  <a:cubicBezTo>
                    <a:pt x="99" y="108"/>
                    <a:pt x="99" y="108"/>
                    <a:pt x="99" y="108"/>
                  </a:cubicBezTo>
                  <a:cubicBezTo>
                    <a:pt x="99" y="106"/>
                    <a:pt x="99" y="106"/>
                    <a:pt x="99" y="106"/>
                  </a:cubicBezTo>
                  <a:cubicBezTo>
                    <a:pt x="100" y="105"/>
                    <a:pt x="100" y="105"/>
                    <a:pt x="100" y="105"/>
                  </a:cubicBezTo>
                  <a:cubicBezTo>
                    <a:pt x="100" y="103"/>
                    <a:pt x="100" y="103"/>
                    <a:pt x="100" y="103"/>
                  </a:cubicBezTo>
                  <a:cubicBezTo>
                    <a:pt x="100" y="102"/>
                    <a:pt x="100" y="102"/>
                    <a:pt x="100" y="102"/>
                  </a:cubicBezTo>
                  <a:cubicBezTo>
                    <a:pt x="100" y="101"/>
                    <a:pt x="100" y="101"/>
                    <a:pt x="100" y="101"/>
                  </a:cubicBezTo>
                  <a:cubicBezTo>
                    <a:pt x="99" y="101"/>
                    <a:pt x="99" y="101"/>
                    <a:pt x="99" y="101"/>
                  </a:cubicBezTo>
                  <a:cubicBezTo>
                    <a:pt x="98" y="101"/>
                    <a:pt x="98" y="101"/>
                    <a:pt x="98" y="101"/>
                  </a:cubicBezTo>
                  <a:cubicBezTo>
                    <a:pt x="96" y="97"/>
                    <a:pt x="96" y="97"/>
                    <a:pt x="96" y="97"/>
                  </a:cubicBezTo>
                  <a:cubicBezTo>
                    <a:pt x="96" y="96"/>
                    <a:pt x="96" y="96"/>
                    <a:pt x="96" y="96"/>
                  </a:cubicBezTo>
                  <a:cubicBezTo>
                    <a:pt x="97" y="95"/>
                    <a:pt x="97" y="95"/>
                    <a:pt x="97" y="95"/>
                  </a:cubicBezTo>
                  <a:cubicBezTo>
                    <a:pt x="95" y="93"/>
                    <a:pt x="95" y="93"/>
                    <a:pt x="95" y="93"/>
                  </a:cubicBezTo>
                  <a:cubicBezTo>
                    <a:pt x="94" y="92"/>
                    <a:pt x="94" y="92"/>
                    <a:pt x="94" y="92"/>
                  </a:cubicBezTo>
                  <a:cubicBezTo>
                    <a:pt x="94" y="89"/>
                    <a:pt x="94" y="89"/>
                    <a:pt x="94" y="89"/>
                  </a:cubicBezTo>
                  <a:cubicBezTo>
                    <a:pt x="97" y="88"/>
                    <a:pt x="97" y="88"/>
                    <a:pt x="97" y="88"/>
                  </a:cubicBezTo>
                  <a:cubicBezTo>
                    <a:pt x="101" y="88"/>
                    <a:pt x="101" y="88"/>
                    <a:pt x="101" y="88"/>
                  </a:cubicBezTo>
                  <a:cubicBezTo>
                    <a:pt x="100" y="85"/>
                    <a:pt x="100" y="85"/>
                    <a:pt x="100" y="85"/>
                  </a:cubicBezTo>
                  <a:cubicBezTo>
                    <a:pt x="99" y="84"/>
                    <a:pt x="99" y="84"/>
                    <a:pt x="99" y="84"/>
                  </a:cubicBezTo>
                  <a:cubicBezTo>
                    <a:pt x="100" y="81"/>
                    <a:pt x="100" y="81"/>
                    <a:pt x="100" y="81"/>
                  </a:cubicBezTo>
                  <a:cubicBezTo>
                    <a:pt x="101" y="79"/>
                    <a:pt x="101" y="79"/>
                    <a:pt x="101" y="79"/>
                  </a:cubicBezTo>
                  <a:cubicBezTo>
                    <a:pt x="100" y="78"/>
                    <a:pt x="100" y="78"/>
                    <a:pt x="100" y="78"/>
                  </a:cubicBezTo>
                  <a:cubicBezTo>
                    <a:pt x="104" y="74"/>
                    <a:pt x="104" y="74"/>
                    <a:pt x="104" y="74"/>
                  </a:cubicBezTo>
                  <a:cubicBezTo>
                    <a:pt x="104" y="73"/>
                    <a:pt x="104" y="73"/>
                    <a:pt x="104" y="73"/>
                  </a:cubicBezTo>
                  <a:cubicBezTo>
                    <a:pt x="106" y="72"/>
                    <a:pt x="106" y="72"/>
                    <a:pt x="106" y="72"/>
                  </a:cubicBezTo>
                  <a:cubicBezTo>
                    <a:pt x="107" y="73"/>
                    <a:pt x="107" y="73"/>
                    <a:pt x="107" y="73"/>
                  </a:cubicBezTo>
                  <a:cubicBezTo>
                    <a:pt x="108" y="74"/>
                    <a:pt x="108" y="74"/>
                    <a:pt x="108" y="74"/>
                  </a:cubicBezTo>
                  <a:cubicBezTo>
                    <a:pt x="109" y="75"/>
                    <a:pt x="109" y="75"/>
                    <a:pt x="109" y="75"/>
                  </a:cubicBezTo>
                  <a:cubicBezTo>
                    <a:pt x="110" y="76"/>
                    <a:pt x="110" y="76"/>
                    <a:pt x="110" y="76"/>
                  </a:cubicBezTo>
                  <a:cubicBezTo>
                    <a:pt x="111" y="74"/>
                    <a:pt x="111" y="74"/>
                    <a:pt x="111" y="74"/>
                  </a:cubicBezTo>
                  <a:cubicBezTo>
                    <a:pt x="112" y="73"/>
                    <a:pt x="112" y="73"/>
                    <a:pt x="112" y="73"/>
                  </a:cubicBezTo>
                  <a:cubicBezTo>
                    <a:pt x="111" y="72"/>
                    <a:pt x="111" y="72"/>
                    <a:pt x="111" y="72"/>
                  </a:cubicBezTo>
                  <a:cubicBezTo>
                    <a:pt x="110" y="71"/>
                    <a:pt x="110" y="71"/>
                    <a:pt x="110" y="71"/>
                  </a:cubicBezTo>
                  <a:cubicBezTo>
                    <a:pt x="110" y="70"/>
                    <a:pt x="110" y="70"/>
                    <a:pt x="110" y="70"/>
                  </a:cubicBezTo>
                  <a:cubicBezTo>
                    <a:pt x="109" y="69"/>
                    <a:pt x="109" y="69"/>
                    <a:pt x="109" y="69"/>
                  </a:cubicBezTo>
                  <a:cubicBezTo>
                    <a:pt x="109" y="69"/>
                    <a:pt x="108" y="68"/>
                    <a:pt x="108" y="68"/>
                  </a:cubicBezTo>
                  <a:cubicBezTo>
                    <a:pt x="108" y="68"/>
                    <a:pt x="107" y="68"/>
                    <a:pt x="107" y="68"/>
                  </a:cubicBezTo>
                  <a:cubicBezTo>
                    <a:pt x="107" y="67"/>
                    <a:pt x="107" y="67"/>
                    <a:pt x="107" y="67"/>
                  </a:cubicBezTo>
                  <a:cubicBezTo>
                    <a:pt x="107" y="67"/>
                    <a:pt x="106" y="67"/>
                    <a:pt x="106" y="67"/>
                  </a:cubicBezTo>
                  <a:cubicBezTo>
                    <a:pt x="106" y="67"/>
                    <a:pt x="106" y="66"/>
                    <a:pt x="106" y="66"/>
                  </a:cubicBezTo>
                  <a:cubicBezTo>
                    <a:pt x="107" y="65"/>
                    <a:pt x="107" y="65"/>
                    <a:pt x="107" y="65"/>
                  </a:cubicBezTo>
                  <a:cubicBezTo>
                    <a:pt x="108" y="64"/>
                    <a:pt x="108" y="64"/>
                    <a:pt x="108" y="64"/>
                  </a:cubicBezTo>
                  <a:cubicBezTo>
                    <a:pt x="109" y="64"/>
                    <a:pt x="109" y="64"/>
                    <a:pt x="109" y="64"/>
                  </a:cubicBezTo>
                  <a:cubicBezTo>
                    <a:pt x="110" y="65"/>
                    <a:pt x="110" y="65"/>
                    <a:pt x="110" y="65"/>
                  </a:cubicBezTo>
                  <a:cubicBezTo>
                    <a:pt x="110" y="65"/>
                    <a:pt x="110" y="65"/>
                    <a:pt x="110" y="65"/>
                  </a:cubicBezTo>
                  <a:cubicBezTo>
                    <a:pt x="110" y="65"/>
                    <a:pt x="111" y="64"/>
                    <a:pt x="111" y="64"/>
                  </a:cubicBezTo>
                  <a:cubicBezTo>
                    <a:pt x="111" y="64"/>
                    <a:pt x="113" y="63"/>
                    <a:pt x="113" y="63"/>
                  </a:cubicBezTo>
                  <a:cubicBezTo>
                    <a:pt x="114" y="63"/>
                    <a:pt x="114" y="63"/>
                    <a:pt x="114" y="63"/>
                  </a:cubicBezTo>
                  <a:cubicBezTo>
                    <a:pt x="115" y="63"/>
                    <a:pt x="116" y="62"/>
                    <a:pt x="116" y="62"/>
                  </a:cubicBezTo>
                  <a:cubicBezTo>
                    <a:pt x="118" y="60"/>
                    <a:pt x="118" y="60"/>
                    <a:pt x="118" y="60"/>
                  </a:cubicBezTo>
                  <a:cubicBezTo>
                    <a:pt x="118" y="60"/>
                    <a:pt x="118" y="60"/>
                    <a:pt x="119" y="60"/>
                  </a:cubicBezTo>
                  <a:cubicBezTo>
                    <a:pt x="120" y="61"/>
                    <a:pt x="121" y="61"/>
                    <a:pt x="122" y="61"/>
                  </a:cubicBezTo>
                  <a:cubicBezTo>
                    <a:pt x="123" y="61"/>
                    <a:pt x="123" y="62"/>
                    <a:pt x="123" y="60"/>
                  </a:cubicBezTo>
                  <a:cubicBezTo>
                    <a:pt x="124" y="57"/>
                    <a:pt x="123" y="56"/>
                    <a:pt x="123" y="56"/>
                  </a:cubicBezTo>
                  <a:cubicBezTo>
                    <a:pt x="120" y="53"/>
                    <a:pt x="120" y="53"/>
                    <a:pt x="120" y="53"/>
                  </a:cubicBezTo>
                  <a:cubicBezTo>
                    <a:pt x="120" y="53"/>
                    <a:pt x="120" y="52"/>
                    <a:pt x="119" y="51"/>
                  </a:cubicBezTo>
                  <a:cubicBezTo>
                    <a:pt x="118" y="50"/>
                    <a:pt x="117" y="49"/>
                    <a:pt x="117" y="49"/>
                  </a:cubicBezTo>
                  <a:cubicBezTo>
                    <a:pt x="117" y="49"/>
                    <a:pt x="114" y="47"/>
                    <a:pt x="114" y="47"/>
                  </a:cubicBezTo>
                  <a:cubicBezTo>
                    <a:pt x="114" y="47"/>
                    <a:pt x="113" y="46"/>
                    <a:pt x="113" y="46"/>
                  </a:cubicBezTo>
                  <a:cubicBezTo>
                    <a:pt x="113" y="45"/>
                    <a:pt x="113" y="44"/>
                    <a:pt x="113" y="44"/>
                  </a:cubicBezTo>
                  <a:cubicBezTo>
                    <a:pt x="114" y="44"/>
                    <a:pt x="114" y="43"/>
                    <a:pt x="114" y="44"/>
                  </a:cubicBezTo>
                  <a:close/>
                </a:path>
              </a:pathLst>
            </a:custGeom>
            <a:solidFill>
              <a:schemeClr val="accent6">
                <a:lumMod val="75000"/>
              </a:schemeClr>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9" name="Freeform 209"/>
            <p:cNvSpPr>
              <a:spLocks/>
            </p:cNvSpPr>
            <p:nvPr/>
          </p:nvSpPr>
          <p:spPr bwMode="auto">
            <a:xfrm>
              <a:off x="6361818" y="4315972"/>
              <a:ext cx="846270" cy="573233"/>
            </a:xfrm>
            <a:custGeom>
              <a:avLst/>
              <a:gdLst>
                <a:gd name="T0" fmla="*/ 277 w 292"/>
                <a:gd name="T1" fmla="*/ 94 h 210"/>
                <a:gd name="T2" fmla="*/ 239 w 292"/>
                <a:gd name="T3" fmla="*/ 104 h 210"/>
                <a:gd name="T4" fmla="*/ 235 w 292"/>
                <a:gd name="T5" fmla="*/ 95 h 210"/>
                <a:gd name="T6" fmla="*/ 233 w 292"/>
                <a:gd name="T7" fmla="*/ 91 h 210"/>
                <a:gd name="T8" fmla="*/ 230 w 292"/>
                <a:gd name="T9" fmla="*/ 82 h 210"/>
                <a:gd name="T10" fmla="*/ 228 w 292"/>
                <a:gd name="T11" fmla="*/ 74 h 210"/>
                <a:gd name="T12" fmla="*/ 228 w 292"/>
                <a:gd name="T13" fmla="*/ 63 h 210"/>
                <a:gd name="T14" fmla="*/ 226 w 292"/>
                <a:gd name="T15" fmla="*/ 56 h 210"/>
                <a:gd name="T16" fmla="*/ 222 w 292"/>
                <a:gd name="T17" fmla="*/ 49 h 210"/>
                <a:gd name="T18" fmla="*/ 217 w 292"/>
                <a:gd name="T19" fmla="*/ 41 h 210"/>
                <a:gd name="T20" fmla="*/ 206 w 292"/>
                <a:gd name="T21" fmla="*/ 33 h 210"/>
                <a:gd name="T22" fmla="*/ 198 w 292"/>
                <a:gd name="T23" fmla="*/ 27 h 210"/>
                <a:gd name="T24" fmla="*/ 195 w 292"/>
                <a:gd name="T25" fmla="*/ 25 h 210"/>
                <a:gd name="T26" fmla="*/ 187 w 292"/>
                <a:gd name="T27" fmla="*/ 18 h 210"/>
                <a:gd name="T28" fmla="*/ 184 w 292"/>
                <a:gd name="T29" fmla="*/ 12 h 210"/>
                <a:gd name="T30" fmla="*/ 178 w 292"/>
                <a:gd name="T31" fmla="*/ 6 h 210"/>
                <a:gd name="T32" fmla="*/ 173 w 292"/>
                <a:gd name="T33" fmla="*/ 3 h 210"/>
                <a:gd name="T34" fmla="*/ 169 w 292"/>
                <a:gd name="T35" fmla="*/ 0 h 210"/>
                <a:gd name="T36" fmla="*/ 155 w 292"/>
                <a:gd name="T37" fmla="*/ 5 h 210"/>
                <a:gd name="T38" fmla="*/ 132 w 292"/>
                <a:gd name="T39" fmla="*/ 20 h 210"/>
                <a:gd name="T40" fmla="*/ 108 w 292"/>
                <a:gd name="T41" fmla="*/ 27 h 210"/>
                <a:gd name="T42" fmla="*/ 73 w 292"/>
                <a:gd name="T43" fmla="*/ 29 h 210"/>
                <a:gd name="T44" fmla="*/ 67 w 292"/>
                <a:gd name="T45" fmla="*/ 37 h 210"/>
                <a:gd name="T46" fmla="*/ 55 w 292"/>
                <a:gd name="T47" fmla="*/ 48 h 210"/>
                <a:gd name="T48" fmla="*/ 45 w 292"/>
                <a:gd name="T49" fmla="*/ 57 h 210"/>
                <a:gd name="T50" fmla="*/ 42 w 292"/>
                <a:gd name="T51" fmla="*/ 73 h 210"/>
                <a:gd name="T52" fmla="*/ 35 w 292"/>
                <a:gd name="T53" fmla="*/ 88 h 210"/>
                <a:gd name="T54" fmla="*/ 32 w 292"/>
                <a:gd name="T55" fmla="*/ 107 h 210"/>
                <a:gd name="T56" fmla="*/ 16 w 292"/>
                <a:gd name="T57" fmla="*/ 124 h 210"/>
                <a:gd name="T58" fmla="*/ 6 w 292"/>
                <a:gd name="T59" fmla="*/ 129 h 210"/>
                <a:gd name="T60" fmla="*/ 7 w 292"/>
                <a:gd name="T61" fmla="*/ 131 h 210"/>
                <a:gd name="T62" fmla="*/ 16 w 292"/>
                <a:gd name="T63" fmla="*/ 136 h 210"/>
                <a:gd name="T64" fmla="*/ 18 w 292"/>
                <a:gd name="T65" fmla="*/ 145 h 210"/>
                <a:gd name="T66" fmla="*/ 22 w 292"/>
                <a:gd name="T67" fmla="*/ 152 h 210"/>
                <a:gd name="T68" fmla="*/ 33 w 292"/>
                <a:gd name="T69" fmla="*/ 156 h 210"/>
                <a:gd name="T70" fmla="*/ 43 w 292"/>
                <a:gd name="T71" fmla="*/ 158 h 210"/>
                <a:gd name="T72" fmla="*/ 45 w 292"/>
                <a:gd name="T73" fmla="*/ 168 h 210"/>
                <a:gd name="T74" fmla="*/ 45 w 292"/>
                <a:gd name="T75" fmla="*/ 175 h 210"/>
                <a:gd name="T76" fmla="*/ 51 w 292"/>
                <a:gd name="T77" fmla="*/ 178 h 210"/>
                <a:gd name="T78" fmla="*/ 56 w 292"/>
                <a:gd name="T79" fmla="*/ 179 h 210"/>
                <a:gd name="T80" fmla="*/ 66 w 292"/>
                <a:gd name="T81" fmla="*/ 183 h 210"/>
                <a:gd name="T82" fmla="*/ 71 w 292"/>
                <a:gd name="T83" fmla="*/ 176 h 210"/>
                <a:gd name="T84" fmla="*/ 80 w 292"/>
                <a:gd name="T85" fmla="*/ 176 h 210"/>
                <a:gd name="T86" fmla="*/ 84 w 292"/>
                <a:gd name="T87" fmla="*/ 183 h 210"/>
                <a:gd name="T88" fmla="*/ 83 w 292"/>
                <a:gd name="T89" fmla="*/ 189 h 210"/>
                <a:gd name="T90" fmla="*/ 87 w 292"/>
                <a:gd name="T91" fmla="*/ 196 h 210"/>
                <a:gd name="T92" fmla="*/ 95 w 292"/>
                <a:gd name="T93" fmla="*/ 204 h 210"/>
                <a:gd name="T94" fmla="*/ 97 w 292"/>
                <a:gd name="T95" fmla="*/ 209 h 210"/>
                <a:gd name="T96" fmla="*/ 128 w 292"/>
                <a:gd name="T97" fmla="*/ 207 h 210"/>
                <a:gd name="T98" fmla="*/ 195 w 292"/>
                <a:gd name="T99" fmla="*/ 185 h 210"/>
                <a:gd name="T100" fmla="*/ 252 w 292"/>
                <a:gd name="T101" fmla="*/ 168 h 210"/>
                <a:gd name="T102" fmla="*/ 271 w 292"/>
                <a:gd name="T103" fmla="*/ 143 h 210"/>
                <a:gd name="T104" fmla="*/ 287 w 292"/>
                <a:gd name="T105" fmla="*/ 9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2" h="210">
                  <a:moveTo>
                    <a:pt x="287" y="96"/>
                  </a:moveTo>
                  <a:cubicBezTo>
                    <a:pt x="284" y="96"/>
                    <a:pt x="284" y="96"/>
                    <a:pt x="284" y="96"/>
                  </a:cubicBezTo>
                  <a:cubicBezTo>
                    <a:pt x="277" y="94"/>
                    <a:pt x="277" y="94"/>
                    <a:pt x="277" y="94"/>
                  </a:cubicBezTo>
                  <a:cubicBezTo>
                    <a:pt x="277" y="94"/>
                    <a:pt x="277" y="94"/>
                    <a:pt x="277" y="94"/>
                  </a:cubicBezTo>
                  <a:cubicBezTo>
                    <a:pt x="277" y="94"/>
                    <a:pt x="277" y="94"/>
                    <a:pt x="277" y="94"/>
                  </a:cubicBezTo>
                  <a:cubicBezTo>
                    <a:pt x="271" y="94"/>
                    <a:pt x="264" y="106"/>
                    <a:pt x="264" y="106"/>
                  </a:cubicBezTo>
                  <a:cubicBezTo>
                    <a:pt x="261" y="112"/>
                    <a:pt x="261" y="112"/>
                    <a:pt x="261" y="112"/>
                  </a:cubicBezTo>
                  <a:cubicBezTo>
                    <a:pt x="257" y="111"/>
                    <a:pt x="257" y="111"/>
                    <a:pt x="257" y="111"/>
                  </a:cubicBezTo>
                  <a:cubicBezTo>
                    <a:pt x="251" y="110"/>
                    <a:pt x="245" y="108"/>
                    <a:pt x="240" y="105"/>
                  </a:cubicBezTo>
                  <a:cubicBezTo>
                    <a:pt x="239" y="104"/>
                    <a:pt x="239" y="104"/>
                    <a:pt x="239" y="104"/>
                  </a:cubicBezTo>
                  <a:cubicBezTo>
                    <a:pt x="237" y="101"/>
                    <a:pt x="237" y="101"/>
                    <a:pt x="237" y="101"/>
                  </a:cubicBezTo>
                  <a:cubicBezTo>
                    <a:pt x="236" y="101"/>
                    <a:pt x="235" y="101"/>
                    <a:pt x="235" y="100"/>
                  </a:cubicBezTo>
                  <a:cubicBezTo>
                    <a:pt x="234" y="99"/>
                    <a:pt x="234" y="99"/>
                    <a:pt x="234" y="99"/>
                  </a:cubicBezTo>
                  <a:cubicBezTo>
                    <a:pt x="234" y="96"/>
                    <a:pt x="234" y="96"/>
                    <a:pt x="234" y="96"/>
                  </a:cubicBezTo>
                  <a:cubicBezTo>
                    <a:pt x="234" y="96"/>
                    <a:pt x="235" y="95"/>
                    <a:pt x="235" y="95"/>
                  </a:cubicBezTo>
                  <a:cubicBezTo>
                    <a:pt x="235" y="95"/>
                    <a:pt x="235" y="95"/>
                    <a:pt x="235" y="95"/>
                  </a:cubicBezTo>
                  <a:cubicBezTo>
                    <a:pt x="235" y="94"/>
                    <a:pt x="235" y="94"/>
                    <a:pt x="235" y="94"/>
                  </a:cubicBezTo>
                  <a:cubicBezTo>
                    <a:pt x="235" y="94"/>
                    <a:pt x="235" y="93"/>
                    <a:pt x="235" y="93"/>
                  </a:cubicBezTo>
                  <a:cubicBezTo>
                    <a:pt x="235" y="93"/>
                    <a:pt x="235" y="93"/>
                    <a:pt x="235" y="93"/>
                  </a:cubicBezTo>
                  <a:cubicBezTo>
                    <a:pt x="234" y="92"/>
                    <a:pt x="234" y="92"/>
                    <a:pt x="233" y="91"/>
                  </a:cubicBezTo>
                  <a:cubicBezTo>
                    <a:pt x="232" y="90"/>
                    <a:pt x="232" y="90"/>
                    <a:pt x="232" y="89"/>
                  </a:cubicBezTo>
                  <a:cubicBezTo>
                    <a:pt x="232" y="88"/>
                    <a:pt x="232" y="88"/>
                    <a:pt x="232" y="87"/>
                  </a:cubicBezTo>
                  <a:cubicBezTo>
                    <a:pt x="232" y="87"/>
                    <a:pt x="232" y="87"/>
                    <a:pt x="232" y="87"/>
                  </a:cubicBezTo>
                  <a:cubicBezTo>
                    <a:pt x="232" y="87"/>
                    <a:pt x="232" y="87"/>
                    <a:pt x="232" y="86"/>
                  </a:cubicBezTo>
                  <a:cubicBezTo>
                    <a:pt x="231" y="85"/>
                    <a:pt x="230" y="83"/>
                    <a:pt x="230" y="82"/>
                  </a:cubicBezTo>
                  <a:cubicBezTo>
                    <a:pt x="229" y="82"/>
                    <a:pt x="229" y="81"/>
                    <a:pt x="229" y="80"/>
                  </a:cubicBezTo>
                  <a:cubicBezTo>
                    <a:pt x="229" y="80"/>
                    <a:pt x="229" y="79"/>
                    <a:pt x="229" y="79"/>
                  </a:cubicBezTo>
                  <a:cubicBezTo>
                    <a:pt x="229" y="79"/>
                    <a:pt x="228" y="78"/>
                    <a:pt x="229" y="76"/>
                  </a:cubicBezTo>
                  <a:cubicBezTo>
                    <a:pt x="229" y="75"/>
                    <a:pt x="229" y="75"/>
                    <a:pt x="229" y="74"/>
                  </a:cubicBezTo>
                  <a:cubicBezTo>
                    <a:pt x="229" y="74"/>
                    <a:pt x="228" y="74"/>
                    <a:pt x="228" y="74"/>
                  </a:cubicBezTo>
                  <a:cubicBezTo>
                    <a:pt x="228" y="69"/>
                    <a:pt x="228" y="69"/>
                    <a:pt x="228" y="69"/>
                  </a:cubicBezTo>
                  <a:cubicBezTo>
                    <a:pt x="228" y="68"/>
                    <a:pt x="228" y="68"/>
                    <a:pt x="228" y="68"/>
                  </a:cubicBezTo>
                  <a:cubicBezTo>
                    <a:pt x="228" y="68"/>
                    <a:pt x="228" y="68"/>
                    <a:pt x="228" y="68"/>
                  </a:cubicBezTo>
                  <a:cubicBezTo>
                    <a:pt x="228" y="67"/>
                    <a:pt x="228" y="66"/>
                    <a:pt x="228" y="65"/>
                  </a:cubicBezTo>
                  <a:cubicBezTo>
                    <a:pt x="228" y="63"/>
                    <a:pt x="228" y="63"/>
                    <a:pt x="228" y="63"/>
                  </a:cubicBezTo>
                  <a:cubicBezTo>
                    <a:pt x="228" y="62"/>
                    <a:pt x="228" y="62"/>
                    <a:pt x="228" y="62"/>
                  </a:cubicBezTo>
                  <a:cubicBezTo>
                    <a:pt x="227" y="61"/>
                    <a:pt x="227" y="60"/>
                    <a:pt x="227" y="59"/>
                  </a:cubicBezTo>
                  <a:cubicBezTo>
                    <a:pt x="227" y="59"/>
                    <a:pt x="227" y="58"/>
                    <a:pt x="227" y="58"/>
                  </a:cubicBezTo>
                  <a:cubicBezTo>
                    <a:pt x="227" y="58"/>
                    <a:pt x="227" y="58"/>
                    <a:pt x="227" y="58"/>
                  </a:cubicBezTo>
                  <a:cubicBezTo>
                    <a:pt x="227" y="58"/>
                    <a:pt x="226" y="56"/>
                    <a:pt x="226" y="56"/>
                  </a:cubicBezTo>
                  <a:cubicBezTo>
                    <a:pt x="226" y="55"/>
                    <a:pt x="226" y="55"/>
                    <a:pt x="226" y="55"/>
                  </a:cubicBezTo>
                  <a:cubicBezTo>
                    <a:pt x="226" y="55"/>
                    <a:pt x="226" y="55"/>
                    <a:pt x="226" y="55"/>
                  </a:cubicBezTo>
                  <a:cubicBezTo>
                    <a:pt x="226" y="55"/>
                    <a:pt x="226" y="55"/>
                    <a:pt x="225" y="54"/>
                  </a:cubicBezTo>
                  <a:cubicBezTo>
                    <a:pt x="225" y="53"/>
                    <a:pt x="225" y="53"/>
                    <a:pt x="224" y="52"/>
                  </a:cubicBezTo>
                  <a:cubicBezTo>
                    <a:pt x="223" y="51"/>
                    <a:pt x="222" y="50"/>
                    <a:pt x="222" y="49"/>
                  </a:cubicBezTo>
                  <a:cubicBezTo>
                    <a:pt x="222" y="48"/>
                    <a:pt x="221" y="48"/>
                    <a:pt x="221" y="47"/>
                  </a:cubicBezTo>
                  <a:cubicBezTo>
                    <a:pt x="221" y="47"/>
                    <a:pt x="221" y="47"/>
                    <a:pt x="221" y="47"/>
                  </a:cubicBezTo>
                  <a:cubicBezTo>
                    <a:pt x="221" y="47"/>
                    <a:pt x="221" y="46"/>
                    <a:pt x="220" y="45"/>
                  </a:cubicBezTo>
                  <a:cubicBezTo>
                    <a:pt x="219" y="44"/>
                    <a:pt x="218" y="43"/>
                    <a:pt x="218" y="42"/>
                  </a:cubicBezTo>
                  <a:cubicBezTo>
                    <a:pt x="217" y="42"/>
                    <a:pt x="217" y="41"/>
                    <a:pt x="217" y="41"/>
                  </a:cubicBezTo>
                  <a:cubicBezTo>
                    <a:pt x="216" y="41"/>
                    <a:pt x="215" y="41"/>
                    <a:pt x="214" y="41"/>
                  </a:cubicBezTo>
                  <a:cubicBezTo>
                    <a:pt x="211" y="39"/>
                    <a:pt x="211" y="39"/>
                    <a:pt x="211" y="39"/>
                  </a:cubicBezTo>
                  <a:cubicBezTo>
                    <a:pt x="209" y="37"/>
                    <a:pt x="209" y="37"/>
                    <a:pt x="209" y="37"/>
                  </a:cubicBezTo>
                  <a:cubicBezTo>
                    <a:pt x="208" y="37"/>
                    <a:pt x="208" y="36"/>
                    <a:pt x="207" y="36"/>
                  </a:cubicBezTo>
                  <a:cubicBezTo>
                    <a:pt x="206" y="35"/>
                    <a:pt x="206" y="34"/>
                    <a:pt x="206" y="33"/>
                  </a:cubicBezTo>
                  <a:cubicBezTo>
                    <a:pt x="205" y="33"/>
                    <a:pt x="205" y="33"/>
                    <a:pt x="205" y="33"/>
                  </a:cubicBezTo>
                  <a:cubicBezTo>
                    <a:pt x="201" y="31"/>
                    <a:pt x="201" y="31"/>
                    <a:pt x="201" y="31"/>
                  </a:cubicBezTo>
                  <a:cubicBezTo>
                    <a:pt x="201" y="31"/>
                    <a:pt x="201" y="31"/>
                    <a:pt x="201" y="31"/>
                  </a:cubicBezTo>
                  <a:cubicBezTo>
                    <a:pt x="201" y="31"/>
                    <a:pt x="199" y="29"/>
                    <a:pt x="199" y="28"/>
                  </a:cubicBezTo>
                  <a:cubicBezTo>
                    <a:pt x="199" y="28"/>
                    <a:pt x="199" y="28"/>
                    <a:pt x="198" y="27"/>
                  </a:cubicBezTo>
                  <a:cubicBezTo>
                    <a:pt x="198" y="27"/>
                    <a:pt x="198" y="27"/>
                    <a:pt x="198" y="26"/>
                  </a:cubicBezTo>
                  <a:cubicBezTo>
                    <a:pt x="197" y="26"/>
                    <a:pt x="197" y="26"/>
                    <a:pt x="197" y="26"/>
                  </a:cubicBezTo>
                  <a:cubicBezTo>
                    <a:pt x="196" y="26"/>
                    <a:pt x="196" y="26"/>
                    <a:pt x="196" y="26"/>
                  </a:cubicBezTo>
                  <a:cubicBezTo>
                    <a:pt x="196" y="26"/>
                    <a:pt x="196" y="26"/>
                    <a:pt x="196" y="26"/>
                  </a:cubicBezTo>
                  <a:cubicBezTo>
                    <a:pt x="195" y="25"/>
                    <a:pt x="195" y="25"/>
                    <a:pt x="195" y="25"/>
                  </a:cubicBezTo>
                  <a:cubicBezTo>
                    <a:pt x="195" y="25"/>
                    <a:pt x="194" y="24"/>
                    <a:pt x="193" y="23"/>
                  </a:cubicBezTo>
                  <a:cubicBezTo>
                    <a:pt x="192" y="23"/>
                    <a:pt x="192" y="23"/>
                    <a:pt x="192" y="23"/>
                  </a:cubicBezTo>
                  <a:cubicBezTo>
                    <a:pt x="192" y="22"/>
                    <a:pt x="191" y="22"/>
                    <a:pt x="191" y="22"/>
                  </a:cubicBezTo>
                  <a:cubicBezTo>
                    <a:pt x="190" y="21"/>
                    <a:pt x="190" y="21"/>
                    <a:pt x="190" y="20"/>
                  </a:cubicBezTo>
                  <a:cubicBezTo>
                    <a:pt x="189" y="20"/>
                    <a:pt x="188" y="20"/>
                    <a:pt x="187" y="18"/>
                  </a:cubicBezTo>
                  <a:cubicBezTo>
                    <a:pt x="186" y="18"/>
                    <a:pt x="186" y="17"/>
                    <a:pt x="186" y="16"/>
                  </a:cubicBezTo>
                  <a:cubicBezTo>
                    <a:pt x="185" y="15"/>
                    <a:pt x="185" y="14"/>
                    <a:pt x="185" y="14"/>
                  </a:cubicBezTo>
                  <a:cubicBezTo>
                    <a:pt x="184" y="14"/>
                    <a:pt x="184" y="13"/>
                    <a:pt x="184" y="12"/>
                  </a:cubicBezTo>
                  <a:cubicBezTo>
                    <a:pt x="184" y="12"/>
                    <a:pt x="184" y="12"/>
                    <a:pt x="184" y="12"/>
                  </a:cubicBezTo>
                  <a:cubicBezTo>
                    <a:pt x="184" y="12"/>
                    <a:pt x="184" y="12"/>
                    <a:pt x="184" y="12"/>
                  </a:cubicBezTo>
                  <a:cubicBezTo>
                    <a:pt x="183" y="11"/>
                    <a:pt x="183" y="11"/>
                    <a:pt x="183" y="11"/>
                  </a:cubicBezTo>
                  <a:cubicBezTo>
                    <a:pt x="182" y="10"/>
                    <a:pt x="182" y="10"/>
                    <a:pt x="181" y="10"/>
                  </a:cubicBezTo>
                  <a:cubicBezTo>
                    <a:pt x="181" y="9"/>
                    <a:pt x="181" y="9"/>
                    <a:pt x="181" y="8"/>
                  </a:cubicBezTo>
                  <a:cubicBezTo>
                    <a:pt x="180" y="7"/>
                    <a:pt x="180" y="7"/>
                    <a:pt x="180" y="7"/>
                  </a:cubicBezTo>
                  <a:cubicBezTo>
                    <a:pt x="178" y="6"/>
                    <a:pt x="178" y="6"/>
                    <a:pt x="178" y="6"/>
                  </a:cubicBezTo>
                  <a:cubicBezTo>
                    <a:pt x="178" y="6"/>
                    <a:pt x="178" y="5"/>
                    <a:pt x="178" y="5"/>
                  </a:cubicBezTo>
                  <a:cubicBezTo>
                    <a:pt x="177" y="5"/>
                    <a:pt x="177" y="5"/>
                    <a:pt x="177" y="4"/>
                  </a:cubicBezTo>
                  <a:cubicBezTo>
                    <a:pt x="176" y="4"/>
                    <a:pt x="176" y="4"/>
                    <a:pt x="176" y="4"/>
                  </a:cubicBezTo>
                  <a:cubicBezTo>
                    <a:pt x="176" y="4"/>
                    <a:pt x="176" y="4"/>
                    <a:pt x="176" y="4"/>
                  </a:cubicBezTo>
                  <a:cubicBezTo>
                    <a:pt x="173" y="3"/>
                    <a:pt x="173" y="3"/>
                    <a:pt x="173" y="3"/>
                  </a:cubicBezTo>
                  <a:cubicBezTo>
                    <a:pt x="173" y="2"/>
                    <a:pt x="173" y="2"/>
                    <a:pt x="173" y="2"/>
                  </a:cubicBezTo>
                  <a:cubicBezTo>
                    <a:pt x="173" y="1"/>
                    <a:pt x="173" y="1"/>
                    <a:pt x="172" y="1"/>
                  </a:cubicBezTo>
                  <a:cubicBezTo>
                    <a:pt x="172" y="1"/>
                    <a:pt x="172" y="1"/>
                    <a:pt x="172" y="1"/>
                  </a:cubicBezTo>
                  <a:cubicBezTo>
                    <a:pt x="172" y="1"/>
                    <a:pt x="172" y="1"/>
                    <a:pt x="172" y="1"/>
                  </a:cubicBezTo>
                  <a:cubicBezTo>
                    <a:pt x="171" y="1"/>
                    <a:pt x="170" y="0"/>
                    <a:pt x="169" y="0"/>
                  </a:cubicBezTo>
                  <a:cubicBezTo>
                    <a:pt x="169" y="0"/>
                    <a:pt x="169" y="0"/>
                    <a:pt x="169" y="0"/>
                  </a:cubicBezTo>
                  <a:cubicBezTo>
                    <a:pt x="166" y="0"/>
                    <a:pt x="166" y="0"/>
                    <a:pt x="166" y="0"/>
                  </a:cubicBezTo>
                  <a:cubicBezTo>
                    <a:pt x="159" y="0"/>
                    <a:pt x="159" y="0"/>
                    <a:pt x="159" y="0"/>
                  </a:cubicBezTo>
                  <a:cubicBezTo>
                    <a:pt x="157" y="1"/>
                    <a:pt x="156" y="2"/>
                    <a:pt x="156" y="3"/>
                  </a:cubicBezTo>
                  <a:cubicBezTo>
                    <a:pt x="155" y="4"/>
                    <a:pt x="155" y="4"/>
                    <a:pt x="155" y="5"/>
                  </a:cubicBezTo>
                  <a:cubicBezTo>
                    <a:pt x="155" y="7"/>
                    <a:pt x="155" y="9"/>
                    <a:pt x="154" y="9"/>
                  </a:cubicBezTo>
                  <a:cubicBezTo>
                    <a:pt x="152" y="10"/>
                    <a:pt x="151" y="11"/>
                    <a:pt x="150" y="12"/>
                  </a:cubicBezTo>
                  <a:cubicBezTo>
                    <a:pt x="149" y="13"/>
                    <a:pt x="149" y="14"/>
                    <a:pt x="148" y="14"/>
                  </a:cubicBezTo>
                  <a:cubicBezTo>
                    <a:pt x="141" y="18"/>
                    <a:pt x="141" y="18"/>
                    <a:pt x="141" y="18"/>
                  </a:cubicBezTo>
                  <a:cubicBezTo>
                    <a:pt x="141" y="18"/>
                    <a:pt x="135" y="20"/>
                    <a:pt x="132" y="20"/>
                  </a:cubicBezTo>
                  <a:cubicBezTo>
                    <a:pt x="129" y="20"/>
                    <a:pt x="127" y="23"/>
                    <a:pt x="127" y="23"/>
                  </a:cubicBezTo>
                  <a:cubicBezTo>
                    <a:pt x="123" y="29"/>
                    <a:pt x="123" y="29"/>
                    <a:pt x="123" y="29"/>
                  </a:cubicBezTo>
                  <a:cubicBezTo>
                    <a:pt x="116" y="29"/>
                    <a:pt x="116" y="29"/>
                    <a:pt x="116" y="29"/>
                  </a:cubicBezTo>
                  <a:cubicBezTo>
                    <a:pt x="113" y="26"/>
                    <a:pt x="113" y="26"/>
                    <a:pt x="113" y="26"/>
                  </a:cubicBezTo>
                  <a:cubicBezTo>
                    <a:pt x="108" y="27"/>
                    <a:pt x="108" y="27"/>
                    <a:pt x="108" y="27"/>
                  </a:cubicBezTo>
                  <a:cubicBezTo>
                    <a:pt x="98" y="26"/>
                    <a:pt x="98" y="26"/>
                    <a:pt x="98" y="26"/>
                  </a:cubicBezTo>
                  <a:cubicBezTo>
                    <a:pt x="93" y="29"/>
                    <a:pt x="93" y="29"/>
                    <a:pt x="93" y="29"/>
                  </a:cubicBezTo>
                  <a:cubicBezTo>
                    <a:pt x="84" y="28"/>
                    <a:pt x="84" y="28"/>
                    <a:pt x="84" y="28"/>
                  </a:cubicBezTo>
                  <a:cubicBezTo>
                    <a:pt x="84" y="28"/>
                    <a:pt x="78" y="29"/>
                    <a:pt x="76" y="29"/>
                  </a:cubicBezTo>
                  <a:cubicBezTo>
                    <a:pt x="73" y="29"/>
                    <a:pt x="73" y="29"/>
                    <a:pt x="73" y="29"/>
                  </a:cubicBezTo>
                  <a:cubicBezTo>
                    <a:pt x="72" y="28"/>
                    <a:pt x="70" y="27"/>
                    <a:pt x="70" y="27"/>
                  </a:cubicBezTo>
                  <a:cubicBezTo>
                    <a:pt x="70" y="27"/>
                    <a:pt x="67" y="27"/>
                    <a:pt x="66" y="28"/>
                  </a:cubicBezTo>
                  <a:cubicBezTo>
                    <a:pt x="66" y="29"/>
                    <a:pt x="66" y="29"/>
                    <a:pt x="65" y="30"/>
                  </a:cubicBezTo>
                  <a:cubicBezTo>
                    <a:pt x="64" y="33"/>
                    <a:pt x="64" y="33"/>
                    <a:pt x="64" y="33"/>
                  </a:cubicBezTo>
                  <a:cubicBezTo>
                    <a:pt x="67" y="37"/>
                    <a:pt x="67" y="37"/>
                    <a:pt x="67" y="37"/>
                  </a:cubicBezTo>
                  <a:cubicBezTo>
                    <a:pt x="63" y="41"/>
                    <a:pt x="63" y="41"/>
                    <a:pt x="63" y="41"/>
                  </a:cubicBezTo>
                  <a:cubicBezTo>
                    <a:pt x="63" y="42"/>
                    <a:pt x="62" y="42"/>
                    <a:pt x="62" y="42"/>
                  </a:cubicBezTo>
                  <a:cubicBezTo>
                    <a:pt x="62" y="43"/>
                    <a:pt x="61" y="44"/>
                    <a:pt x="60" y="44"/>
                  </a:cubicBezTo>
                  <a:cubicBezTo>
                    <a:pt x="59" y="44"/>
                    <a:pt x="59" y="44"/>
                    <a:pt x="58" y="45"/>
                  </a:cubicBezTo>
                  <a:cubicBezTo>
                    <a:pt x="55" y="48"/>
                    <a:pt x="55" y="48"/>
                    <a:pt x="55" y="48"/>
                  </a:cubicBezTo>
                  <a:cubicBezTo>
                    <a:pt x="52" y="49"/>
                    <a:pt x="52" y="49"/>
                    <a:pt x="52" y="49"/>
                  </a:cubicBezTo>
                  <a:cubicBezTo>
                    <a:pt x="50" y="49"/>
                    <a:pt x="50" y="49"/>
                    <a:pt x="50" y="49"/>
                  </a:cubicBezTo>
                  <a:cubicBezTo>
                    <a:pt x="49" y="50"/>
                    <a:pt x="49" y="50"/>
                    <a:pt x="49" y="50"/>
                  </a:cubicBezTo>
                  <a:cubicBezTo>
                    <a:pt x="48" y="55"/>
                    <a:pt x="48" y="55"/>
                    <a:pt x="48" y="55"/>
                  </a:cubicBezTo>
                  <a:cubicBezTo>
                    <a:pt x="45" y="57"/>
                    <a:pt x="45" y="57"/>
                    <a:pt x="45" y="57"/>
                  </a:cubicBezTo>
                  <a:cubicBezTo>
                    <a:pt x="44" y="60"/>
                    <a:pt x="44" y="60"/>
                    <a:pt x="44" y="60"/>
                  </a:cubicBezTo>
                  <a:cubicBezTo>
                    <a:pt x="45" y="61"/>
                    <a:pt x="46" y="64"/>
                    <a:pt x="45" y="65"/>
                  </a:cubicBezTo>
                  <a:cubicBezTo>
                    <a:pt x="44" y="66"/>
                    <a:pt x="43" y="67"/>
                    <a:pt x="43" y="67"/>
                  </a:cubicBezTo>
                  <a:cubicBezTo>
                    <a:pt x="43" y="67"/>
                    <a:pt x="42" y="67"/>
                    <a:pt x="42" y="67"/>
                  </a:cubicBezTo>
                  <a:cubicBezTo>
                    <a:pt x="42" y="73"/>
                    <a:pt x="42" y="73"/>
                    <a:pt x="42" y="73"/>
                  </a:cubicBezTo>
                  <a:cubicBezTo>
                    <a:pt x="38" y="76"/>
                    <a:pt x="38" y="76"/>
                    <a:pt x="38" y="76"/>
                  </a:cubicBezTo>
                  <a:cubicBezTo>
                    <a:pt x="38" y="81"/>
                    <a:pt x="38" y="81"/>
                    <a:pt x="38" y="81"/>
                  </a:cubicBezTo>
                  <a:cubicBezTo>
                    <a:pt x="38" y="82"/>
                    <a:pt x="39" y="84"/>
                    <a:pt x="38" y="86"/>
                  </a:cubicBezTo>
                  <a:cubicBezTo>
                    <a:pt x="37" y="87"/>
                    <a:pt x="37" y="87"/>
                    <a:pt x="36" y="87"/>
                  </a:cubicBezTo>
                  <a:cubicBezTo>
                    <a:pt x="35" y="87"/>
                    <a:pt x="35" y="88"/>
                    <a:pt x="35" y="88"/>
                  </a:cubicBezTo>
                  <a:cubicBezTo>
                    <a:pt x="35" y="94"/>
                    <a:pt x="35" y="94"/>
                    <a:pt x="35" y="94"/>
                  </a:cubicBezTo>
                  <a:cubicBezTo>
                    <a:pt x="33" y="98"/>
                    <a:pt x="33" y="98"/>
                    <a:pt x="33" y="98"/>
                  </a:cubicBezTo>
                  <a:cubicBezTo>
                    <a:pt x="33" y="100"/>
                    <a:pt x="33" y="100"/>
                    <a:pt x="33" y="100"/>
                  </a:cubicBezTo>
                  <a:cubicBezTo>
                    <a:pt x="32" y="103"/>
                    <a:pt x="32" y="103"/>
                    <a:pt x="32" y="103"/>
                  </a:cubicBezTo>
                  <a:cubicBezTo>
                    <a:pt x="32" y="107"/>
                    <a:pt x="32" y="107"/>
                    <a:pt x="32" y="107"/>
                  </a:cubicBezTo>
                  <a:cubicBezTo>
                    <a:pt x="29" y="111"/>
                    <a:pt x="29" y="111"/>
                    <a:pt x="29" y="111"/>
                  </a:cubicBezTo>
                  <a:cubicBezTo>
                    <a:pt x="27" y="117"/>
                    <a:pt x="27" y="117"/>
                    <a:pt x="27" y="117"/>
                  </a:cubicBezTo>
                  <a:cubicBezTo>
                    <a:pt x="20" y="124"/>
                    <a:pt x="20" y="124"/>
                    <a:pt x="20" y="124"/>
                  </a:cubicBezTo>
                  <a:cubicBezTo>
                    <a:pt x="16" y="124"/>
                    <a:pt x="16" y="124"/>
                    <a:pt x="16" y="124"/>
                  </a:cubicBezTo>
                  <a:cubicBezTo>
                    <a:pt x="16" y="124"/>
                    <a:pt x="16" y="124"/>
                    <a:pt x="16" y="124"/>
                  </a:cubicBezTo>
                  <a:cubicBezTo>
                    <a:pt x="16" y="124"/>
                    <a:pt x="16" y="124"/>
                    <a:pt x="16" y="124"/>
                  </a:cubicBezTo>
                  <a:cubicBezTo>
                    <a:pt x="16" y="125"/>
                    <a:pt x="15" y="126"/>
                    <a:pt x="14" y="127"/>
                  </a:cubicBezTo>
                  <a:cubicBezTo>
                    <a:pt x="12" y="128"/>
                    <a:pt x="9" y="129"/>
                    <a:pt x="8" y="129"/>
                  </a:cubicBezTo>
                  <a:cubicBezTo>
                    <a:pt x="8" y="129"/>
                    <a:pt x="8" y="129"/>
                    <a:pt x="8" y="129"/>
                  </a:cubicBezTo>
                  <a:cubicBezTo>
                    <a:pt x="6" y="129"/>
                    <a:pt x="6" y="129"/>
                    <a:pt x="6" y="129"/>
                  </a:cubicBezTo>
                  <a:cubicBezTo>
                    <a:pt x="0" y="128"/>
                    <a:pt x="0" y="128"/>
                    <a:pt x="0" y="128"/>
                  </a:cubicBezTo>
                  <a:cubicBezTo>
                    <a:pt x="1" y="129"/>
                    <a:pt x="1" y="129"/>
                    <a:pt x="1" y="129"/>
                  </a:cubicBezTo>
                  <a:cubicBezTo>
                    <a:pt x="1" y="129"/>
                    <a:pt x="2" y="129"/>
                    <a:pt x="3" y="129"/>
                  </a:cubicBezTo>
                  <a:cubicBezTo>
                    <a:pt x="4" y="130"/>
                    <a:pt x="4" y="130"/>
                    <a:pt x="5" y="130"/>
                  </a:cubicBezTo>
                  <a:cubicBezTo>
                    <a:pt x="6" y="130"/>
                    <a:pt x="7" y="131"/>
                    <a:pt x="7" y="131"/>
                  </a:cubicBezTo>
                  <a:cubicBezTo>
                    <a:pt x="7" y="131"/>
                    <a:pt x="7" y="131"/>
                    <a:pt x="7" y="131"/>
                  </a:cubicBezTo>
                  <a:cubicBezTo>
                    <a:pt x="8" y="132"/>
                    <a:pt x="8" y="132"/>
                    <a:pt x="8" y="132"/>
                  </a:cubicBezTo>
                  <a:cubicBezTo>
                    <a:pt x="11" y="134"/>
                    <a:pt x="12" y="136"/>
                    <a:pt x="13" y="136"/>
                  </a:cubicBezTo>
                  <a:cubicBezTo>
                    <a:pt x="13" y="136"/>
                    <a:pt x="14" y="136"/>
                    <a:pt x="15" y="137"/>
                  </a:cubicBezTo>
                  <a:cubicBezTo>
                    <a:pt x="16" y="136"/>
                    <a:pt x="16" y="136"/>
                    <a:pt x="16" y="136"/>
                  </a:cubicBezTo>
                  <a:cubicBezTo>
                    <a:pt x="18" y="138"/>
                    <a:pt x="18" y="138"/>
                    <a:pt x="18" y="138"/>
                  </a:cubicBezTo>
                  <a:cubicBezTo>
                    <a:pt x="18" y="139"/>
                    <a:pt x="19" y="141"/>
                    <a:pt x="18" y="143"/>
                  </a:cubicBezTo>
                  <a:cubicBezTo>
                    <a:pt x="18" y="143"/>
                    <a:pt x="18" y="144"/>
                    <a:pt x="18" y="145"/>
                  </a:cubicBezTo>
                  <a:cubicBezTo>
                    <a:pt x="18" y="145"/>
                    <a:pt x="18" y="145"/>
                    <a:pt x="18" y="145"/>
                  </a:cubicBezTo>
                  <a:cubicBezTo>
                    <a:pt x="18" y="145"/>
                    <a:pt x="18" y="145"/>
                    <a:pt x="18" y="145"/>
                  </a:cubicBezTo>
                  <a:cubicBezTo>
                    <a:pt x="18" y="145"/>
                    <a:pt x="18" y="145"/>
                    <a:pt x="18" y="145"/>
                  </a:cubicBezTo>
                  <a:cubicBezTo>
                    <a:pt x="18" y="145"/>
                    <a:pt x="18" y="146"/>
                    <a:pt x="18" y="146"/>
                  </a:cubicBezTo>
                  <a:cubicBezTo>
                    <a:pt x="19" y="147"/>
                    <a:pt x="20" y="148"/>
                    <a:pt x="20" y="150"/>
                  </a:cubicBezTo>
                  <a:cubicBezTo>
                    <a:pt x="20" y="150"/>
                    <a:pt x="20" y="150"/>
                    <a:pt x="20" y="151"/>
                  </a:cubicBezTo>
                  <a:cubicBezTo>
                    <a:pt x="21" y="151"/>
                    <a:pt x="22" y="152"/>
                    <a:pt x="22" y="152"/>
                  </a:cubicBezTo>
                  <a:cubicBezTo>
                    <a:pt x="23" y="152"/>
                    <a:pt x="24" y="153"/>
                    <a:pt x="26" y="153"/>
                  </a:cubicBezTo>
                  <a:cubicBezTo>
                    <a:pt x="27" y="154"/>
                    <a:pt x="28" y="154"/>
                    <a:pt x="28" y="154"/>
                  </a:cubicBezTo>
                  <a:cubicBezTo>
                    <a:pt x="29" y="155"/>
                    <a:pt x="29" y="155"/>
                    <a:pt x="30" y="155"/>
                  </a:cubicBezTo>
                  <a:cubicBezTo>
                    <a:pt x="31" y="156"/>
                    <a:pt x="31" y="156"/>
                    <a:pt x="31" y="156"/>
                  </a:cubicBezTo>
                  <a:cubicBezTo>
                    <a:pt x="32" y="156"/>
                    <a:pt x="32" y="156"/>
                    <a:pt x="33" y="156"/>
                  </a:cubicBezTo>
                  <a:cubicBezTo>
                    <a:pt x="34" y="157"/>
                    <a:pt x="35" y="157"/>
                    <a:pt x="35" y="157"/>
                  </a:cubicBezTo>
                  <a:cubicBezTo>
                    <a:pt x="36" y="157"/>
                    <a:pt x="36" y="157"/>
                    <a:pt x="36" y="157"/>
                  </a:cubicBezTo>
                  <a:cubicBezTo>
                    <a:pt x="37" y="157"/>
                    <a:pt x="37" y="157"/>
                    <a:pt x="38" y="157"/>
                  </a:cubicBezTo>
                  <a:cubicBezTo>
                    <a:pt x="40" y="157"/>
                    <a:pt x="41" y="158"/>
                    <a:pt x="41" y="158"/>
                  </a:cubicBezTo>
                  <a:cubicBezTo>
                    <a:pt x="43" y="158"/>
                    <a:pt x="43" y="158"/>
                    <a:pt x="43" y="158"/>
                  </a:cubicBezTo>
                  <a:cubicBezTo>
                    <a:pt x="43" y="161"/>
                    <a:pt x="43" y="161"/>
                    <a:pt x="43" y="161"/>
                  </a:cubicBezTo>
                  <a:cubicBezTo>
                    <a:pt x="41" y="165"/>
                    <a:pt x="41" y="165"/>
                    <a:pt x="41" y="165"/>
                  </a:cubicBezTo>
                  <a:cubicBezTo>
                    <a:pt x="42" y="167"/>
                    <a:pt x="42" y="167"/>
                    <a:pt x="42" y="167"/>
                  </a:cubicBezTo>
                  <a:cubicBezTo>
                    <a:pt x="42" y="167"/>
                    <a:pt x="43" y="167"/>
                    <a:pt x="44" y="167"/>
                  </a:cubicBezTo>
                  <a:cubicBezTo>
                    <a:pt x="44" y="167"/>
                    <a:pt x="44" y="167"/>
                    <a:pt x="45" y="168"/>
                  </a:cubicBezTo>
                  <a:cubicBezTo>
                    <a:pt x="45" y="168"/>
                    <a:pt x="45" y="168"/>
                    <a:pt x="45" y="168"/>
                  </a:cubicBezTo>
                  <a:cubicBezTo>
                    <a:pt x="47" y="168"/>
                    <a:pt x="47" y="168"/>
                    <a:pt x="47" y="168"/>
                  </a:cubicBezTo>
                  <a:cubicBezTo>
                    <a:pt x="50" y="170"/>
                    <a:pt x="50" y="170"/>
                    <a:pt x="50" y="170"/>
                  </a:cubicBezTo>
                  <a:cubicBezTo>
                    <a:pt x="48" y="172"/>
                    <a:pt x="48" y="172"/>
                    <a:pt x="48" y="172"/>
                  </a:cubicBezTo>
                  <a:cubicBezTo>
                    <a:pt x="46" y="175"/>
                    <a:pt x="45" y="175"/>
                    <a:pt x="45" y="175"/>
                  </a:cubicBezTo>
                  <a:cubicBezTo>
                    <a:pt x="45" y="175"/>
                    <a:pt x="45" y="175"/>
                    <a:pt x="45" y="175"/>
                  </a:cubicBezTo>
                  <a:cubicBezTo>
                    <a:pt x="45" y="175"/>
                    <a:pt x="45" y="175"/>
                    <a:pt x="45" y="175"/>
                  </a:cubicBezTo>
                  <a:cubicBezTo>
                    <a:pt x="45" y="175"/>
                    <a:pt x="45" y="175"/>
                    <a:pt x="45" y="175"/>
                  </a:cubicBezTo>
                  <a:cubicBezTo>
                    <a:pt x="46" y="175"/>
                    <a:pt x="47" y="175"/>
                    <a:pt x="49" y="176"/>
                  </a:cubicBezTo>
                  <a:cubicBezTo>
                    <a:pt x="50" y="176"/>
                    <a:pt x="50" y="177"/>
                    <a:pt x="51" y="178"/>
                  </a:cubicBezTo>
                  <a:cubicBezTo>
                    <a:pt x="51" y="179"/>
                    <a:pt x="51" y="179"/>
                    <a:pt x="51" y="180"/>
                  </a:cubicBezTo>
                  <a:cubicBezTo>
                    <a:pt x="52" y="179"/>
                    <a:pt x="53" y="179"/>
                    <a:pt x="54" y="179"/>
                  </a:cubicBezTo>
                  <a:cubicBezTo>
                    <a:pt x="55" y="179"/>
                    <a:pt x="55" y="179"/>
                    <a:pt x="55" y="179"/>
                  </a:cubicBezTo>
                  <a:cubicBezTo>
                    <a:pt x="55" y="179"/>
                    <a:pt x="55" y="179"/>
                    <a:pt x="55" y="179"/>
                  </a:cubicBezTo>
                  <a:cubicBezTo>
                    <a:pt x="56" y="179"/>
                    <a:pt x="56" y="179"/>
                    <a:pt x="56" y="179"/>
                  </a:cubicBezTo>
                  <a:cubicBezTo>
                    <a:pt x="57" y="179"/>
                    <a:pt x="61" y="179"/>
                    <a:pt x="61" y="179"/>
                  </a:cubicBezTo>
                  <a:cubicBezTo>
                    <a:pt x="61" y="179"/>
                    <a:pt x="61" y="179"/>
                    <a:pt x="61" y="179"/>
                  </a:cubicBezTo>
                  <a:cubicBezTo>
                    <a:pt x="61" y="179"/>
                    <a:pt x="61" y="179"/>
                    <a:pt x="61" y="179"/>
                  </a:cubicBezTo>
                  <a:cubicBezTo>
                    <a:pt x="62" y="179"/>
                    <a:pt x="63" y="180"/>
                    <a:pt x="64" y="182"/>
                  </a:cubicBezTo>
                  <a:cubicBezTo>
                    <a:pt x="64" y="182"/>
                    <a:pt x="65" y="183"/>
                    <a:pt x="66" y="183"/>
                  </a:cubicBezTo>
                  <a:cubicBezTo>
                    <a:pt x="66" y="183"/>
                    <a:pt x="66" y="183"/>
                    <a:pt x="66" y="183"/>
                  </a:cubicBezTo>
                  <a:cubicBezTo>
                    <a:pt x="66" y="182"/>
                    <a:pt x="66" y="182"/>
                    <a:pt x="66" y="182"/>
                  </a:cubicBezTo>
                  <a:cubicBezTo>
                    <a:pt x="66" y="182"/>
                    <a:pt x="68" y="180"/>
                    <a:pt x="68" y="180"/>
                  </a:cubicBezTo>
                  <a:cubicBezTo>
                    <a:pt x="69" y="179"/>
                    <a:pt x="69" y="179"/>
                    <a:pt x="69" y="178"/>
                  </a:cubicBezTo>
                  <a:cubicBezTo>
                    <a:pt x="70" y="177"/>
                    <a:pt x="70" y="176"/>
                    <a:pt x="71" y="176"/>
                  </a:cubicBezTo>
                  <a:cubicBezTo>
                    <a:pt x="71" y="175"/>
                    <a:pt x="72" y="175"/>
                    <a:pt x="73" y="174"/>
                  </a:cubicBezTo>
                  <a:cubicBezTo>
                    <a:pt x="75" y="173"/>
                    <a:pt x="75" y="173"/>
                    <a:pt x="75" y="173"/>
                  </a:cubicBezTo>
                  <a:cubicBezTo>
                    <a:pt x="75" y="173"/>
                    <a:pt x="75" y="173"/>
                    <a:pt x="75" y="173"/>
                  </a:cubicBezTo>
                  <a:cubicBezTo>
                    <a:pt x="76" y="173"/>
                    <a:pt x="77" y="173"/>
                    <a:pt x="77" y="174"/>
                  </a:cubicBezTo>
                  <a:cubicBezTo>
                    <a:pt x="78" y="174"/>
                    <a:pt x="79" y="175"/>
                    <a:pt x="80" y="176"/>
                  </a:cubicBezTo>
                  <a:cubicBezTo>
                    <a:pt x="80" y="176"/>
                    <a:pt x="80" y="176"/>
                    <a:pt x="81" y="176"/>
                  </a:cubicBezTo>
                  <a:cubicBezTo>
                    <a:pt x="84" y="176"/>
                    <a:pt x="84" y="176"/>
                    <a:pt x="84" y="176"/>
                  </a:cubicBezTo>
                  <a:cubicBezTo>
                    <a:pt x="85" y="176"/>
                    <a:pt x="85" y="176"/>
                    <a:pt x="85" y="176"/>
                  </a:cubicBezTo>
                  <a:cubicBezTo>
                    <a:pt x="88" y="177"/>
                    <a:pt x="88" y="179"/>
                    <a:pt x="88" y="179"/>
                  </a:cubicBezTo>
                  <a:cubicBezTo>
                    <a:pt x="88" y="181"/>
                    <a:pt x="86" y="182"/>
                    <a:pt x="84" y="183"/>
                  </a:cubicBezTo>
                  <a:cubicBezTo>
                    <a:pt x="84" y="183"/>
                    <a:pt x="84" y="183"/>
                    <a:pt x="84" y="183"/>
                  </a:cubicBezTo>
                  <a:cubicBezTo>
                    <a:pt x="84" y="183"/>
                    <a:pt x="83" y="183"/>
                    <a:pt x="83" y="182"/>
                  </a:cubicBezTo>
                  <a:cubicBezTo>
                    <a:pt x="79" y="184"/>
                    <a:pt x="79" y="184"/>
                    <a:pt x="79" y="184"/>
                  </a:cubicBezTo>
                  <a:cubicBezTo>
                    <a:pt x="83" y="186"/>
                    <a:pt x="83" y="187"/>
                    <a:pt x="83" y="188"/>
                  </a:cubicBezTo>
                  <a:cubicBezTo>
                    <a:pt x="83" y="188"/>
                    <a:pt x="83" y="188"/>
                    <a:pt x="83" y="189"/>
                  </a:cubicBezTo>
                  <a:cubicBezTo>
                    <a:pt x="84" y="189"/>
                    <a:pt x="84" y="189"/>
                    <a:pt x="84" y="189"/>
                  </a:cubicBezTo>
                  <a:cubicBezTo>
                    <a:pt x="85" y="189"/>
                    <a:pt x="85" y="189"/>
                    <a:pt x="85" y="189"/>
                  </a:cubicBezTo>
                  <a:cubicBezTo>
                    <a:pt x="87" y="188"/>
                    <a:pt x="87" y="188"/>
                    <a:pt x="87" y="188"/>
                  </a:cubicBezTo>
                  <a:cubicBezTo>
                    <a:pt x="87" y="191"/>
                    <a:pt x="87" y="191"/>
                    <a:pt x="87" y="191"/>
                  </a:cubicBezTo>
                  <a:cubicBezTo>
                    <a:pt x="87" y="196"/>
                    <a:pt x="87" y="196"/>
                    <a:pt x="87" y="196"/>
                  </a:cubicBezTo>
                  <a:cubicBezTo>
                    <a:pt x="88" y="196"/>
                    <a:pt x="88" y="196"/>
                    <a:pt x="89" y="196"/>
                  </a:cubicBezTo>
                  <a:cubicBezTo>
                    <a:pt x="92" y="196"/>
                    <a:pt x="94" y="197"/>
                    <a:pt x="96" y="197"/>
                  </a:cubicBezTo>
                  <a:cubicBezTo>
                    <a:pt x="97" y="198"/>
                    <a:pt x="98" y="198"/>
                    <a:pt x="98" y="198"/>
                  </a:cubicBezTo>
                  <a:cubicBezTo>
                    <a:pt x="99" y="198"/>
                    <a:pt x="100" y="199"/>
                    <a:pt x="100" y="199"/>
                  </a:cubicBezTo>
                  <a:cubicBezTo>
                    <a:pt x="100" y="201"/>
                    <a:pt x="98" y="202"/>
                    <a:pt x="95" y="204"/>
                  </a:cubicBezTo>
                  <a:cubicBezTo>
                    <a:pt x="95" y="204"/>
                    <a:pt x="95" y="205"/>
                    <a:pt x="94" y="205"/>
                  </a:cubicBezTo>
                  <a:cubicBezTo>
                    <a:pt x="95" y="205"/>
                    <a:pt x="95" y="205"/>
                    <a:pt x="95" y="205"/>
                  </a:cubicBezTo>
                  <a:cubicBezTo>
                    <a:pt x="95" y="205"/>
                    <a:pt x="95" y="205"/>
                    <a:pt x="95" y="205"/>
                  </a:cubicBezTo>
                  <a:cubicBezTo>
                    <a:pt x="95" y="205"/>
                    <a:pt x="96" y="206"/>
                    <a:pt x="96" y="206"/>
                  </a:cubicBezTo>
                  <a:cubicBezTo>
                    <a:pt x="96" y="208"/>
                    <a:pt x="96" y="209"/>
                    <a:pt x="97" y="209"/>
                  </a:cubicBezTo>
                  <a:cubicBezTo>
                    <a:pt x="99" y="210"/>
                    <a:pt x="101" y="209"/>
                    <a:pt x="103" y="208"/>
                  </a:cubicBezTo>
                  <a:cubicBezTo>
                    <a:pt x="105" y="207"/>
                    <a:pt x="107" y="206"/>
                    <a:pt x="109" y="206"/>
                  </a:cubicBezTo>
                  <a:cubicBezTo>
                    <a:pt x="111" y="206"/>
                    <a:pt x="113" y="206"/>
                    <a:pt x="115" y="207"/>
                  </a:cubicBezTo>
                  <a:cubicBezTo>
                    <a:pt x="117" y="207"/>
                    <a:pt x="118" y="207"/>
                    <a:pt x="119" y="207"/>
                  </a:cubicBezTo>
                  <a:cubicBezTo>
                    <a:pt x="120" y="205"/>
                    <a:pt x="124" y="206"/>
                    <a:pt x="128" y="207"/>
                  </a:cubicBezTo>
                  <a:cubicBezTo>
                    <a:pt x="133" y="208"/>
                    <a:pt x="139" y="208"/>
                    <a:pt x="142" y="206"/>
                  </a:cubicBezTo>
                  <a:cubicBezTo>
                    <a:pt x="146" y="204"/>
                    <a:pt x="162" y="202"/>
                    <a:pt x="168" y="202"/>
                  </a:cubicBezTo>
                  <a:cubicBezTo>
                    <a:pt x="169" y="202"/>
                    <a:pt x="169" y="202"/>
                    <a:pt x="169" y="202"/>
                  </a:cubicBezTo>
                  <a:cubicBezTo>
                    <a:pt x="182" y="201"/>
                    <a:pt x="183" y="201"/>
                    <a:pt x="189" y="197"/>
                  </a:cubicBezTo>
                  <a:cubicBezTo>
                    <a:pt x="189" y="197"/>
                    <a:pt x="193" y="188"/>
                    <a:pt x="195" y="185"/>
                  </a:cubicBezTo>
                  <a:cubicBezTo>
                    <a:pt x="196" y="182"/>
                    <a:pt x="199" y="180"/>
                    <a:pt x="202" y="179"/>
                  </a:cubicBezTo>
                  <a:cubicBezTo>
                    <a:pt x="204" y="178"/>
                    <a:pt x="205" y="177"/>
                    <a:pt x="207" y="176"/>
                  </a:cubicBezTo>
                  <a:cubicBezTo>
                    <a:pt x="211" y="173"/>
                    <a:pt x="221" y="170"/>
                    <a:pt x="224" y="169"/>
                  </a:cubicBezTo>
                  <a:cubicBezTo>
                    <a:pt x="226" y="169"/>
                    <a:pt x="243" y="170"/>
                    <a:pt x="243" y="170"/>
                  </a:cubicBezTo>
                  <a:cubicBezTo>
                    <a:pt x="252" y="168"/>
                    <a:pt x="252" y="168"/>
                    <a:pt x="252" y="168"/>
                  </a:cubicBezTo>
                  <a:cubicBezTo>
                    <a:pt x="252" y="169"/>
                    <a:pt x="254" y="174"/>
                    <a:pt x="256" y="174"/>
                  </a:cubicBezTo>
                  <a:cubicBezTo>
                    <a:pt x="267" y="176"/>
                    <a:pt x="272" y="175"/>
                    <a:pt x="273" y="170"/>
                  </a:cubicBezTo>
                  <a:cubicBezTo>
                    <a:pt x="273" y="168"/>
                    <a:pt x="272" y="165"/>
                    <a:pt x="271" y="162"/>
                  </a:cubicBezTo>
                  <a:cubicBezTo>
                    <a:pt x="270" y="159"/>
                    <a:pt x="269" y="156"/>
                    <a:pt x="269" y="154"/>
                  </a:cubicBezTo>
                  <a:cubicBezTo>
                    <a:pt x="269" y="150"/>
                    <a:pt x="270" y="146"/>
                    <a:pt x="271" y="143"/>
                  </a:cubicBezTo>
                  <a:cubicBezTo>
                    <a:pt x="271" y="140"/>
                    <a:pt x="272" y="137"/>
                    <a:pt x="272" y="134"/>
                  </a:cubicBezTo>
                  <a:cubicBezTo>
                    <a:pt x="271" y="132"/>
                    <a:pt x="273" y="128"/>
                    <a:pt x="275" y="125"/>
                  </a:cubicBezTo>
                  <a:cubicBezTo>
                    <a:pt x="277" y="122"/>
                    <a:pt x="281" y="121"/>
                    <a:pt x="285" y="121"/>
                  </a:cubicBezTo>
                  <a:cubicBezTo>
                    <a:pt x="288" y="120"/>
                    <a:pt x="291" y="120"/>
                    <a:pt x="292" y="118"/>
                  </a:cubicBezTo>
                  <a:lnTo>
                    <a:pt x="287" y="96"/>
                  </a:lnTo>
                  <a:close/>
                </a:path>
              </a:pathLst>
            </a:custGeom>
            <a:solidFill>
              <a:schemeClr val="accent6">
                <a:lumMod val="75000"/>
              </a:schemeClr>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0" name="Freeform 215"/>
            <p:cNvSpPr>
              <a:spLocks/>
            </p:cNvSpPr>
            <p:nvPr/>
          </p:nvSpPr>
          <p:spPr bwMode="auto">
            <a:xfrm>
              <a:off x="5930620" y="1779314"/>
              <a:ext cx="733626" cy="1245863"/>
            </a:xfrm>
            <a:custGeom>
              <a:avLst/>
              <a:gdLst>
                <a:gd name="T0" fmla="*/ 222 w 253"/>
                <a:gd name="T1" fmla="*/ 377 h 456"/>
                <a:gd name="T2" fmla="*/ 247 w 253"/>
                <a:gd name="T3" fmla="*/ 312 h 456"/>
                <a:gd name="T4" fmla="*/ 235 w 253"/>
                <a:gd name="T5" fmla="*/ 269 h 456"/>
                <a:gd name="T6" fmla="*/ 216 w 253"/>
                <a:gd name="T7" fmla="*/ 241 h 456"/>
                <a:gd name="T8" fmla="*/ 204 w 253"/>
                <a:gd name="T9" fmla="*/ 226 h 456"/>
                <a:gd name="T10" fmla="*/ 200 w 253"/>
                <a:gd name="T11" fmla="*/ 214 h 456"/>
                <a:gd name="T12" fmla="*/ 185 w 253"/>
                <a:gd name="T13" fmla="*/ 195 h 456"/>
                <a:gd name="T14" fmla="*/ 186 w 253"/>
                <a:gd name="T15" fmla="*/ 170 h 456"/>
                <a:gd name="T16" fmla="*/ 161 w 253"/>
                <a:gd name="T17" fmla="*/ 137 h 456"/>
                <a:gd name="T18" fmla="*/ 160 w 253"/>
                <a:gd name="T19" fmla="*/ 100 h 456"/>
                <a:gd name="T20" fmla="*/ 141 w 253"/>
                <a:gd name="T21" fmla="*/ 79 h 456"/>
                <a:gd name="T22" fmla="*/ 128 w 253"/>
                <a:gd name="T23" fmla="*/ 52 h 456"/>
                <a:gd name="T24" fmla="*/ 123 w 253"/>
                <a:gd name="T25" fmla="*/ 44 h 456"/>
                <a:gd name="T26" fmla="*/ 129 w 253"/>
                <a:gd name="T27" fmla="*/ 38 h 456"/>
                <a:gd name="T28" fmla="*/ 128 w 253"/>
                <a:gd name="T29" fmla="*/ 19 h 456"/>
                <a:gd name="T30" fmla="*/ 104 w 253"/>
                <a:gd name="T31" fmla="*/ 1 h 456"/>
                <a:gd name="T32" fmla="*/ 82 w 253"/>
                <a:gd name="T33" fmla="*/ 20 h 456"/>
                <a:gd name="T34" fmla="*/ 79 w 253"/>
                <a:gd name="T35" fmla="*/ 58 h 456"/>
                <a:gd name="T36" fmla="*/ 74 w 253"/>
                <a:gd name="T37" fmla="*/ 73 h 456"/>
                <a:gd name="T38" fmla="*/ 59 w 253"/>
                <a:gd name="T39" fmla="*/ 70 h 456"/>
                <a:gd name="T40" fmla="*/ 27 w 253"/>
                <a:gd name="T41" fmla="*/ 68 h 456"/>
                <a:gd name="T42" fmla="*/ 7 w 253"/>
                <a:gd name="T43" fmla="*/ 63 h 456"/>
                <a:gd name="T44" fmla="*/ 7 w 253"/>
                <a:gd name="T45" fmla="*/ 74 h 456"/>
                <a:gd name="T46" fmla="*/ 26 w 253"/>
                <a:gd name="T47" fmla="*/ 85 h 456"/>
                <a:gd name="T48" fmla="*/ 51 w 253"/>
                <a:gd name="T49" fmla="*/ 99 h 456"/>
                <a:gd name="T50" fmla="*/ 63 w 253"/>
                <a:gd name="T51" fmla="*/ 127 h 456"/>
                <a:gd name="T52" fmla="*/ 74 w 253"/>
                <a:gd name="T53" fmla="*/ 159 h 456"/>
                <a:gd name="T54" fmla="*/ 81 w 253"/>
                <a:gd name="T55" fmla="*/ 184 h 456"/>
                <a:gd name="T56" fmla="*/ 109 w 253"/>
                <a:gd name="T57" fmla="*/ 205 h 456"/>
                <a:gd name="T58" fmla="*/ 113 w 253"/>
                <a:gd name="T59" fmla="*/ 228 h 456"/>
                <a:gd name="T60" fmla="*/ 102 w 253"/>
                <a:gd name="T61" fmla="*/ 246 h 456"/>
                <a:gd name="T62" fmla="*/ 88 w 253"/>
                <a:gd name="T63" fmla="*/ 280 h 456"/>
                <a:gd name="T64" fmla="*/ 81 w 253"/>
                <a:gd name="T65" fmla="*/ 293 h 456"/>
                <a:gd name="T66" fmla="*/ 73 w 253"/>
                <a:gd name="T67" fmla="*/ 307 h 456"/>
                <a:gd name="T68" fmla="*/ 67 w 253"/>
                <a:gd name="T69" fmla="*/ 314 h 456"/>
                <a:gd name="T70" fmla="*/ 54 w 253"/>
                <a:gd name="T71" fmla="*/ 313 h 456"/>
                <a:gd name="T72" fmla="*/ 61 w 253"/>
                <a:gd name="T73" fmla="*/ 327 h 456"/>
                <a:gd name="T74" fmla="*/ 58 w 253"/>
                <a:gd name="T75" fmla="*/ 348 h 456"/>
                <a:gd name="T76" fmla="*/ 65 w 253"/>
                <a:gd name="T77" fmla="*/ 369 h 456"/>
                <a:gd name="T78" fmla="*/ 71 w 253"/>
                <a:gd name="T79" fmla="*/ 387 h 456"/>
                <a:gd name="T80" fmla="*/ 73 w 253"/>
                <a:gd name="T81" fmla="*/ 400 h 456"/>
                <a:gd name="T82" fmla="*/ 73 w 253"/>
                <a:gd name="T83" fmla="*/ 414 h 456"/>
                <a:gd name="T84" fmla="*/ 76 w 253"/>
                <a:gd name="T85" fmla="*/ 420 h 456"/>
                <a:gd name="T86" fmla="*/ 75 w 253"/>
                <a:gd name="T87" fmla="*/ 429 h 456"/>
                <a:gd name="T88" fmla="*/ 83 w 253"/>
                <a:gd name="T89" fmla="*/ 433 h 456"/>
                <a:gd name="T90" fmla="*/ 89 w 253"/>
                <a:gd name="T91" fmla="*/ 436 h 456"/>
                <a:gd name="T92" fmla="*/ 95 w 253"/>
                <a:gd name="T93" fmla="*/ 436 h 456"/>
                <a:gd name="T94" fmla="*/ 98 w 253"/>
                <a:gd name="T95" fmla="*/ 442 h 456"/>
                <a:gd name="T96" fmla="*/ 104 w 253"/>
                <a:gd name="T97" fmla="*/ 447 h 456"/>
                <a:gd name="T98" fmla="*/ 104 w 253"/>
                <a:gd name="T99" fmla="*/ 454 h 456"/>
                <a:gd name="T100" fmla="*/ 113 w 253"/>
                <a:gd name="T101" fmla="*/ 447 h 456"/>
                <a:gd name="T102" fmla="*/ 116 w 253"/>
                <a:gd name="T103" fmla="*/ 453 h 456"/>
                <a:gd name="T104" fmla="*/ 122 w 253"/>
                <a:gd name="T105" fmla="*/ 455 h 456"/>
                <a:gd name="T106" fmla="*/ 127 w 253"/>
                <a:gd name="T107" fmla="*/ 452 h 456"/>
                <a:gd name="T108" fmla="*/ 139 w 253"/>
                <a:gd name="T109" fmla="*/ 443 h 456"/>
                <a:gd name="T110" fmla="*/ 153 w 253"/>
                <a:gd name="T111" fmla="*/ 439 h 456"/>
                <a:gd name="T112" fmla="*/ 167 w 253"/>
                <a:gd name="T113" fmla="*/ 428 h 456"/>
                <a:gd name="T114" fmla="*/ 176 w 253"/>
                <a:gd name="T115" fmla="*/ 420 h 456"/>
                <a:gd name="T116" fmla="*/ 188 w 253"/>
                <a:gd name="T117" fmla="*/ 414 h 456"/>
                <a:gd name="T118" fmla="*/ 201 w 253"/>
                <a:gd name="T119" fmla="*/ 406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3" h="456">
                  <a:moveTo>
                    <a:pt x="207" y="405"/>
                  </a:moveTo>
                  <a:cubicBezTo>
                    <a:pt x="210" y="399"/>
                    <a:pt x="210" y="399"/>
                    <a:pt x="210" y="399"/>
                  </a:cubicBezTo>
                  <a:cubicBezTo>
                    <a:pt x="212" y="395"/>
                    <a:pt x="212" y="395"/>
                    <a:pt x="212" y="395"/>
                  </a:cubicBezTo>
                  <a:cubicBezTo>
                    <a:pt x="212" y="395"/>
                    <a:pt x="212" y="395"/>
                    <a:pt x="212" y="395"/>
                  </a:cubicBezTo>
                  <a:cubicBezTo>
                    <a:pt x="215" y="390"/>
                    <a:pt x="216" y="388"/>
                    <a:pt x="216" y="387"/>
                  </a:cubicBezTo>
                  <a:cubicBezTo>
                    <a:pt x="217" y="385"/>
                    <a:pt x="218" y="382"/>
                    <a:pt x="218" y="381"/>
                  </a:cubicBezTo>
                  <a:cubicBezTo>
                    <a:pt x="219" y="379"/>
                    <a:pt x="221" y="378"/>
                    <a:pt x="222" y="377"/>
                  </a:cubicBezTo>
                  <a:cubicBezTo>
                    <a:pt x="224" y="370"/>
                    <a:pt x="224" y="370"/>
                    <a:pt x="224" y="370"/>
                  </a:cubicBezTo>
                  <a:cubicBezTo>
                    <a:pt x="234" y="349"/>
                    <a:pt x="234" y="349"/>
                    <a:pt x="234" y="349"/>
                  </a:cubicBezTo>
                  <a:cubicBezTo>
                    <a:pt x="235" y="348"/>
                    <a:pt x="236" y="343"/>
                    <a:pt x="237" y="341"/>
                  </a:cubicBezTo>
                  <a:cubicBezTo>
                    <a:pt x="237" y="341"/>
                    <a:pt x="239" y="335"/>
                    <a:pt x="239" y="334"/>
                  </a:cubicBezTo>
                  <a:cubicBezTo>
                    <a:pt x="239" y="333"/>
                    <a:pt x="241" y="327"/>
                    <a:pt x="241" y="327"/>
                  </a:cubicBezTo>
                  <a:cubicBezTo>
                    <a:pt x="242" y="326"/>
                    <a:pt x="244" y="318"/>
                    <a:pt x="244" y="317"/>
                  </a:cubicBezTo>
                  <a:cubicBezTo>
                    <a:pt x="244" y="314"/>
                    <a:pt x="246" y="313"/>
                    <a:pt x="247" y="312"/>
                  </a:cubicBezTo>
                  <a:cubicBezTo>
                    <a:pt x="248" y="312"/>
                    <a:pt x="248" y="312"/>
                    <a:pt x="248" y="312"/>
                  </a:cubicBezTo>
                  <a:cubicBezTo>
                    <a:pt x="248" y="311"/>
                    <a:pt x="250" y="306"/>
                    <a:pt x="251" y="303"/>
                  </a:cubicBezTo>
                  <a:cubicBezTo>
                    <a:pt x="251" y="303"/>
                    <a:pt x="252" y="298"/>
                    <a:pt x="253" y="288"/>
                  </a:cubicBezTo>
                  <a:cubicBezTo>
                    <a:pt x="251" y="280"/>
                    <a:pt x="251" y="280"/>
                    <a:pt x="251" y="280"/>
                  </a:cubicBezTo>
                  <a:cubicBezTo>
                    <a:pt x="248" y="277"/>
                    <a:pt x="248" y="277"/>
                    <a:pt x="248" y="277"/>
                  </a:cubicBezTo>
                  <a:cubicBezTo>
                    <a:pt x="243" y="274"/>
                    <a:pt x="243" y="274"/>
                    <a:pt x="243" y="274"/>
                  </a:cubicBezTo>
                  <a:cubicBezTo>
                    <a:pt x="237" y="271"/>
                    <a:pt x="236" y="270"/>
                    <a:pt x="235" y="269"/>
                  </a:cubicBezTo>
                  <a:cubicBezTo>
                    <a:pt x="235" y="269"/>
                    <a:pt x="234" y="268"/>
                    <a:pt x="232" y="268"/>
                  </a:cubicBezTo>
                  <a:cubicBezTo>
                    <a:pt x="231" y="267"/>
                    <a:pt x="227" y="266"/>
                    <a:pt x="226" y="266"/>
                  </a:cubicBezTo>
                  <a:cubicBezTo>
                    <a:pt x="225" y="266"/>
                    <a:pt x="224" y="266"/>
                    <a:pt x="219" y="262"/>
                  </a:cubicBezTo>
                  <a:cubicBezTo>
                    <a:pt x="216" y="260"/>
                    <a:pt x="213" y="256"/>
                    <a:pt x="212" y="256"/>
                  </a:cubicBezTo>
                  <a:cubicBezTo>
                    <a:pt x="212" y="255"/>
                    <a:pt x="212" y="255"/>
                    <a:pt x="212" y="255"/>
                  </a:cubicBezTo>
                  <a:cubicBezTo>
                    <a:pt x="215" y="247"/>
                    <a:pt x="215" y="247"/>
                    <a:pt x="215" y="247"/>
                  </a:cubicBezTo>
                  <a:cubicBezTo>
                    <a:pt x="216" y="246"/>
                    <a:pt x="216" y="242"/>
                    <a:pt x="216" y="241"/>
                  </a:cubicBezTo>
                  <a:cubicBezTo>
                    <a:pt x="216" y="241"/>
                    <a:pt x="216" y="239"/>
                    <a:pt x="216" y="239"/>
                  </a:cubicBezTo>
                  <a:cubicBezTo>
                    <a:pt x="215" y="236"/>
                    <a:pt x="215" y="236"/>
                    <a:pt x="215" y="236"/>
                  </a:cubicBezTo>
                  <a:cubicBezTo>
                    <a:pt x="214" y="233"/>
                    <a:pt x="214" y="233"/>
                    <a:pt x="214" y="233"/>
                  </a:cubicBezTo>
                  <a:cubicBezTo>
                    <a:pt x="213" y="233"/>
                    <a:pt x="211" y="233"/>
                    <a:pt x="210" y="233"/>
                  </a:cubicBezTo>
                  <a:cubicBezTo>
                    <a:pt x="207" y="233"/>
                    <a:pt x="207" y="230"/>
                    <a:pt x="206" y="228"/>
                  </a:cubicBezTo>
                  <a:cubicBezTo>
                    <a:pt x="206" y="228"/>
                    <a:pt x="206" y="228"/>
                    <a:pt x="205" y="227"/>
                  </a:cubicBezTo>
                  <a:cubicBezTo>
                    <a:pt x="205" y="227"/>
                    <a:pt x="204" y="227"/>
                    <a:pt x="204" y="226"/>
                  </a:cubicBezTo>
                  <a:cubicBezTo>
                    <a:pt x="201" y="225"/>
                    <a:pt x="200" y="222"/>
                    <a:pt x="200" y="221"/>
                  </a:cubicBezTo>
                  <a:cubicBezTo>
                    <a:pt x="200" y="221"/>
                    <a:pt x="200" y="221"/>
                    <a:pt x="200" y="221"/>
                  </a:cubicBezTo>
                  <a:cubicBezTo>
                    <a:pt x="202" y="216"/>
                    <a:pt x="202" y="216"/>
                    <a:pt x="202" y="216"/>
                  </a:cubicBezTo>
                  <a:cubicBezTo>
                    <a:pt x="201" y="215"/>
                    <a:pt x="201" y="214"/>
                    <a:pt x="201" y="214"/>
                  </a:cubicBezTo>
                  <a:cubicBezTo>
                    <a:pt x="201" y="214"/>
                    <a:pt x="201" y="214"/>
                    <a:pt x="201" y="214"/>
                  </a:cubicBezTo>
                  <a:cubicBezTo>
                    <a:pt x="200" y="214"/>
                    <a:pt x="200" y="214"/>
                    <a:pt x="200" y="214"/>
                  </a:cubicBezTo>
                  <a:cubicBezTo>
                    <a:pt x="200" y="214"/>
                    <a:pt x="200" y="214"/>
                    <a:pt x="200" y="214"/>
                  </a:cubicBezTo>
                  <a:cubicBezTo>
                    <a:pt x="200" y="214"/>
                    <a:pt x="200" y="214"/>
                    <a:pt x="200" y="214"/>
                  </a:cubicBezTo>
                  <a:cubicBezTo>
                    <a:pt x="193" y="213"/>
                    <a:pt x="193" y="213"/>
                    <a:pt x="193" y="213"/>
                  </a:cubicBezTo>
                  <a:cubicBezTo>
                    <a:pt x="187" y="205"/>
                    <a:pt x="187" y="205"/>
                    <a:pt x="187" y="205"/>
                  </a:cubicBezTo>
                  <a:cubicBezTo>
                    <a:pt x="188" y="204"/>
                    <a:pt x="188" y="204"/>
                    <a:pt x="188" y="204"/>
                  </a:cubicBezTo>
                  <a:cubicBezTo>
                    <a:pt x="188" y="204"/>
                    <a:pt x="189" y="198"/>
                    <a:pt x="189" y="197"/>
                  </a:cubicBezTo>
                  <a:cubicBezTo>
                    <a:pt x="189" y="197"/>
                    <a:pt x="189" y="197"/>
                    <a:pt x="189" y="197"/>
                  </a:cubicBezTo>
                  <a:cubicBezTo>
                    <a:pt x="185" y="195"/>
                    <a:pt x="185" y="195"/>
                    <a:pt x="185" y="195"/>
                  </a:cubicBezTo>
                  <a:cubicBezTo>
                    <a:pt x="187" y="191"/>
                    <a:pt x="187" y="191"/>
                    <a:pt x="187" y="191"/>
                  </a:cubicBezTo>
                  <a:cubicBezTo>
                    <a:pt x="184" y="186"/>
                    <a:pt x="184" y="186"/>
                    <a:pt x="184" y="186"/>
                  </a:cubicBezTo>
                  <a:cubicBezTo>
                    <a:pt x="185" y="183"/>
                    <a:pt x="185" y="183"/>
                    <a:pt x="185" y="183"/>
                  </a:cubicBezTo>
                  <a:cubicBezTo>
                    <a:pt x="183" y="180"/>
                    <a:pt x="183" y="180"/>
                    <a:pt x="183" y="180"/>
                  </a:cubicBezTo>
                  <a:cubicBezTo>
                    <a:pt x="182" y="177"/>
                    <a:pt x="182" y="177"/>
                    <a:pt x="182" y="177"/>
                  </a:cubicBezTo>
                  <a:cubicBezTo>
                    <a:pt x="186" y="172"/>
                    <a:pt x="186" y="172"/>
                    <a:pt x="186" y="172"/>
                  </a:cubicBezTo>
                  <a:cubicBezTo>
                    <a:pt x="186" y="170"/>
                    <a:pt x="186" y="170"/>
                    <a:pt x="186" y="170"/>
                  </a:cubicBezTo>
                  <a:cubicBezTo>
                    <a:pt x="183" y="164"/>
                    <a:pt x="183" y="164"/>
                    <a:pt x="183" y="164"/>
                  </a:cubicBezTo>
                  <a:cubicBezTo>
                    <a:pt x="181" y="162"/>
                    <a:pt x="181" y="160"/>
                    <a:pt x="181" y="160"/>
                  </a:cubicBezTo>
                  <a:cubicBezTo>
                    <a:pt x="180" y="159"/>
                    <a:pt x="178" y="158"/>
                    <a:pt x="175" y="156"/>
                  </a:cubicBezTo>
                  <a:cubicBezTo>
                    <a:pt x="175" y="156"/>
                    <a:pt x="175" y="156"/>
                    <a:pt x="175" y="156"/>
                  </a:cubicBezTo>
                  <a:cubicBezTo>
                    <a:pt x="172" y="149"/>
                    <a:pt x="172" y="149"/>
                    <a:pt x="172" y="149"/>
                  </a:cubicBezTo>
                  <a:cubicBezTo>
                    <a:pt x="166" y="143"/>
                    <a:pt x="166" y="143"/>
                    <a:pt x="166" y="143"/>
                  </a:cubicBezTo>
                  <a:cubicBezTo>
                    <a:pt x="161" y="137"/>
                    <a:pt x="161" y="137"/>
                    <a:pt x="161" y="137"/>
                  </a:cubicBezTo>
                  <a:cubicBezTo>
                    <a:pt x="158" y="134"/>
                    <a:pt x="158" y="134"/>
                    <a:pt x="158" y="134"/>
                  </a:cubicBezTo>
                  <a:cubicBezTo>
                    <a:pt x="155" y="126"/>
                    <a:pt x="155" y="126"/>
                    <a:pt x="155" y="126"/>
                  </a:cubicBezTo>
                  <a:cubicBezTo>
                    <a:pt x="155" y="124"/>
                    <a:pt x="155" y="124"/>
                    <a:pt x="155" y="124"/>
                  </a:cubicBezTo>
                  <a:cubicBezTo>
                    <a:pt x="155" y="123"/>
                    <a:pt x="156" y="120"/>
                    <a:pt x="156" y="119"/>
                  </a:cubicBezTo>
                  <a:cubicBezTo>
                    <a:pt x="156" y="118"/>
                    <a:pt x="156" y="118"/>
                    <a:pt x="157" y="116"/>
                  </a:cubicBezTo>
                  <a:cubicBezTo>
                    <a:pt x="157" y="114"/>
                    <a:pt x="158" y="110"/>
                    <a:pt x="158" y="108"/>
                  </a:cubicBezTo>
                  <a:cubicBezTo>
                    <a:pt x="158" y="105"/>
                    <a:pt x="160" y="101"/>
                    <a:pt x="160" y="100"/>
                  </a:cubicBezTo>
                  <a:cubicBezTo>
                    <a:pt x="161" y="94"/>
                    <a:pt x="161" y="94"/>
                    <a:pt x="161" y="94"/>
                  </a:cubicBezTo>
                  <a:cubicBezTo>
                    <a:pt x="160" y="93"/>
                    <a:pt x="160" y="93"/>
                    <a:pt x="160" y="93"/>
                  </a:cubicBezTo>
                  <a:cubicBezTo>
                    <a:pt x="155" y="90"/>
                    <a:pt x="155" y="90"/>
                    <a:pt x="155" y="90"/>
                  </a:cubicBezTo>
                  <a:cubicBezTo>
                    <a:pt x="151" y="85"/>
                    <a:pt x="151" y="85"/>
                    <a:pt x="151" y="85"/>
                  </a:cubicBezTo>
                  <a:cubicBezTo>
                    <a:pt x="151" y="85"/>
                    <a:pt x="151" y="85"/>
                    <a:pt x="151" y="85"/>
                  </a:cubicBezTo>
                  <a:cubicBezTo>
                    <a:pt x="151" y="84"/>
                    <a:pt x="149" y="81"/>
                    <a:pt x="145" y="80"/>
                  </a:cubicBezTo>
                  <a:cubicBezTo>
                    <a:pt x="144" y="80"/>
                    <a:pt x="142" y="79"/>
                    <a:pt x="141" y="79"/>
                  </a:cubicBezTo>
                  <a:cubicBezTo>
                    <a:pt x="141" y="79"/>
                    <a:pt x="141" y="79"/>
                    <a:pt x="140" y="79"/>
                  </a:cubicBezTo>
                  <a:cubicBezTo>
                    <a:pt x="140" y="80"/>
                    <a:pt x="140" y="80"/>
                    <a:pt x="140" y="80"/>
                  </a:cubicBezTo>
                  <a:cubicBezTo>
                    <a:pt x="132" y="76"/>
                    <a:pt x="132" y="76"/>
                    <a:pt x="132" y="76"/>
                  </a:cubicBezTo>
                  <a:cubicBezTo>
                    <a:pt x="128" y="69"/>
                    <a:pt x="128" y="69"/>
                    <a:pt x="128" y="69"/>
                  </a:cubicBezTo>
                  <a:cubicBezTo>
                    <a:pt x="124" y="63"/>
                    <a:pt x="124" y="63"/>
                    <a:pt x="124" y="63"/>
                  </a:cubicBezTo>
                  <a:cubicBezTo>
                    <a:pt x="127" y="59"/>
                    <a:pt x="127" y="59"/>
                    <a:pt x="127" y="59"/>
                  </a:cubicBezTo>
                  <a:cubicBezTo>
                    <a:pt x="128" y="52"/>
                    <a:pt x="128" y="52"/>
                    <a:pt x="128" y="52"/>
                  </a:cubicBezTo>
                  <a:cubicBezTo>
                    <a:pt x="127" y="49"/>
                    <a:pt x="127" y="49"/>
                    <a:pt x="127" y="49"/>
                  </a:cubicBezTo>
                  <a:cubicBezTo>
                    <a:pt x="120" y="48"/>
                    <a:pt x="120" y="48"/>
                    <a:pt x="120" y="48"/>
                  </a:cubicBezTo>
                  <a:cubicBezTo>
                    <a:pt x="122" y="46"/>
                    <a:pt x="122" y="46"/>
                    <a:pt x="122" y="46"/>
                  </a:cubicBezTo>
                  <a:cubicBezTo>
                    <a:pt x="122" y="45"/>
                    <a:pt x="122" y="45"/>
                    <a:pt x="122" y="44"/>
                  </a:cubicBezTo>
                  <a:cubicBezTo>
                    <a:pt x="123" y="44"/>
                    <a:pt x="123" y="44"/>
                    <a:pt x="123" y="44"/>
                  </a:cubicBezTo>
                  <a:cubicBezTo>
                    <a:pt x="123" y="44"/>
                    <a:pt x="123" y="44"/>
                    <a:pt x="123" y="44"/>
                  </a:cubicBezTo>
                  <a:cubicBezTo>
                    <a:pt x="123" y="44"/>
                    <a:pt x="123" y="44"/>
                    <a:pt x="123" y="44"/>
                  </a:cubicBezTo>
                  <a:cubicBezTo>
                    <a:pt x="123" y="43"/>
                    <a:pt x="123" y="43"/>
                    <a:pt x="123" y="43"/>
                  </a:cubicBezTo>
                  <a:cubicBezTo>
                    <a:pt x="123" y="43"/>
                    <a:pt x="123" y="43"/>
                    <a:pt x="123" y="43"/>
                  </a:cubicBezTo>
                  <a:cubicBezTo>
                    <a:pt x="123" y="43"/>
                    <a:pt x="123" y="43"/>
                    <a:pt x="123" y="43"/>
                  </a:cubicBezTo>
                  <a:cubicBezTo>
                    <a:pt x="125" y="41"/>
                    <a:pt x="125" y="41"/>
                    <a:pt x="125" y="41"/>
                  </a:cubicBezTo>
                  <a:cubicBezTo>
                    <a:pt x="125" y="41"/>
                    <a:pt x="126" y="41"/>
                    <a:pt x="126" y="41"/>
                  </a:cubicBezTo>
                  <a:cubicBezTo>
                    <a:pt x="127" y="39"/>
                    <a:pt x="128" y="39"/>
                    <a:pt x="129" y="38"/>
                  </a:cubicBezTo>
                  <a:cubicBezTo>
                    <a:pt x="129" y="38"/>
                    <a:pt x="129" y="38"/>
                    <a:pt x="129" y="38"/>
                  </a:cubicBezTo>
                  <a:cubicBezTo>
                    <a:pt x="129" y="38"/>
                    <a:pt x="129" y="38"/>
                    <a:pt x="129" y="38"/>
                  </a:cubicBezTo>
                  <a:cubicBezTo>
                    <a:pt x="129" y="37"/>
                    <a:pt x="129" y="37"/>
                    <a:pt x="130" y="37"/>
                  </a:cubicBezTo>
                  <a:cubicBezTo>
                    <a:pt x="129" y="37"/>
                    <a:pt x="127" y="36"/>
                    <a:pt x="127" y="35"/>
                  </a:cubicBezTo>
                  <a:cubicBezTo>
                    <a:pt x="127" y="34"/>
                    <a:pt x="126" y="32"/>
                    <a:pt x="126" y="30"/>
                  </a:cubicBezTo>
                  <a:cubicBezTo>
                    <a:pt x="126" y="30"/>
                    <a:pt x="126" y="29"/>
                    <a:pt x="126" y="28"/>
                  </a:cubicBezTo>
                  <a:cubicBezTo>
                    <a:pt x="126" y="27"/>
                    <a:pt x="126" y="25"/>
                    <a:pt x="126" y="23"/>
                  </a:cubicBezTo>
                  <a:cubicBezTo>
                    <a:pt x="126" y="22"/>
                    <a:pt x="128" y="19"/>
                    <a:pt x="128" y="19"/>
                  </a:cubicBezTo>
                  <a:cubicBezTo>
                    <a:pt x="128" y="19"/>
                    <a:pt x="126" y="17"/>
                    <a:pt x="126" y="16"/>
                  </a:cubicBezTo>
                  <a:cubicBezTo>
                    <a:pt x="126" y="15"/>
                    <a:pt x="125" y="13"/>
                    <a:pt x="126" y="12"/>
                  </a:cubicBezTo>
                  <a:cubicBezTo>
                    <a:pt x="126" y="11"/>
                    <a:pt x="126" y="11"/>
                    <a:pt x="126" y="11"/>
                  </a:cubicBezTo>
                  <a:cubicBezTo>
                    <a:pt x="124" y="10"/>
                    <a:pt x="124" y="10"/>
                    <a:pt x="124" y="10"/>
                  </a:cubicBezTo>
                  <a:cubicBezTo>
                    <a:pt x="119" y="9"/>
                    <a:pt x="119" y="9"/>
                    <a:pt x="119" y="9"/>
                  </a:cubicBezTo>
                  <a:cubicBezTo>
                    <a:pt x="108" y="6"/>
                    <a:pt x="108" y="6"/>
                    <a:pt x="108" y="6"/>
                  </a:cubicBezTo>
                  <a:cubicBezTo>
                    <a:pt x="105" y="5"/>
                    <a:pt x="106" y="3"/>
                    <a:pt x="104" y="1"/>
                  </a:cubicBezTo>
                  <a:cubicBezTo>
                    <a:pt x="103" y="0"/>
                    <a:pt x="99" y="1"/>
                    <a:pt x="97" y="1"/>
                  </a:cubicBezTo>
                  <a:cubicBezTo>
                    <a:pt x="93" y="5"/>
                    <a:pt x="93" y="5"/>
                    <a:pt x="93" y="5"/>
                  </a:cubicBezTo>
                  <a:cubicBezTo>
                    <a:pt x="92" y="9"/>
                    <a:pt x="92" y="9"/>
                    <a:pt x="92" y="9"/>
                  </a:cubicBezTo>
                  <a:cubicBezTo>
                    <a:pt x="85" y="9"/>
                    <a:pt x="85" y="9"/>
                    <a:pt x="85" y="9"/>
                  </a:cubicBezTo>
                  <a:cubicBezTo>
                    <a:pt x="82" y="11"/>
                    <a:pt x="82" y="11"/>
                    <a:pt x="82" y="11"/>
                  </a:cubicBezTo>
                  <a:cubicBezTo>
                    <a:pt x="76" y="12"/>
                    <a:pt x="81" y="16"/>
                    <a:pt x="81" y="19"/>
                  </a:cubicBezTo>
                  <a:cubicBezTo>
                    <a:pt x="82" y="20"/>
                    <a:pt x="82" y="20"/>
                    <a:pt x="82" y="20"/>
                  </a:cubicBezTo>
                  <a:cubicBezTo>
                    <a:pt x="79" y="22"/>
                    <a:pt x="79" y="22"/>
                    <a:pt x="79" y="22"/>
                  </a:cubicBezTo>
                  <a:cubicBezTo>
                    <a:pt x="77" y="23"/>
                    <a:pt x="77" y="23"/>
                    <a:pt x="77" y="23"/>
                  </a:cubicBezTo>
                  <a:cubicBezTo>
                    <a:pt x="77" y="23"/>
                    <a:pt x="77" y="23"/>
                    <a:pt x="77" y="23"/>
                  </a:cubicBezTo>
                  <a:cubicBezTo>
                    <a:pt x="75" y="24"/>
                    <a:pt x="79" y="31"/>
                    <a:pt x="78" y="40"/>
                  </a:cubicBezTo>
                  <a:cubicBezTo>
                    <a:pt x="77" y="42"/>
                    <a:pt x="79" y="46"/>
                    <a:pt x="79" y="46"/>
                  </a:cubicBezTo>
                  <a:cubicBezTo>
                    <a:pt x="79" y="46"/>
                    <a:pt x="81" y="52"/>
                    <a:pt x="81" y="55"/>
                  </a:cubicBezTo>
                  <a:cubicBezTo>
                    <a:pt x="81" y="58"/>
                    <a:pt x="79" y="58"/>
                    <a:pt x="79" y="58"/>
                  </a:cubicBezTo>
                  <a:cubicBezTo>
                    <a:pt x="79" y="58"/>
                    <a:pt x="76" y="61"/>
                    <a:pt x="73" y="63"/>
                  </a:cubicBezTo>
                  <a:cubicBezTo>
                    <a:pt x="71" y="65"/>
                    <a:pt x="73" y="66"/>
                    <a:pt x="73" y="66"/>
                  </a:cubicBezTo>
                  <a:cubicBezTo>
                    <a:pt x="73" y="66"/>
                    <a:pt x="73" y="71"/>
                    <a:pt x="74" y="72"/>
                  </a:cubicBezTo>
                  <a:cubicBezTo>
                    <a:pt x="74" y="72"/>
                    <a:pt x="74" y="72"/>
                    <a:pt x="74" y="72"/>
                  </a:cubicBezTo>
                  <a:cubicBezTo>
                    <a:pt x="74" y="72"/>
                    <a:pt x="74" y="72"/>
                    <a:pt x="74" y="72"/>
                  </a:cubicBezTo>
                  <a:cubicBezTo>
                    <a:pt x="74" y="73"/>
                    <a:pt x="74" y="73"/>
                    <a:pt x="74" y="73"/>
                  </a:cubicBezTo>
                  <a:cubicBezTo>
                    <a:pt x="74" y="73"/>
                    <a:pt x="74" y="73"/>
                    <a:pt x="74" y="73"/>
                  </a:cubicBezTo>
                  <a:cubicBezTo>
                    <a:pt x="73" y="73"/>
                    <a:pt x="73" y="73"/>
                    <a:pt x="73" y="73"/>
                  </a:cubicBezTo>
                  <a:cubicBezTo>
                    <a:pt x="73" y="73"/>
                    <a:pt x="73" y="73"/>
                    <a:pt x="73" y="73"/>
                  </a:cubicBezTo>
                  <a:cubicBezTo>
                    <a:pt x="73" y="73"/>
                    <a:pt x="72" y="73"/>
                    <a:pt x="72" y="74"/>
                  </a:cubicBezTo>
                  <a:cubicBezTo>
                    <a:pt x="72" y="74"/>
                    <a:pt x="72" y="74"/>
                    <a:pt x="72" y="74"/>
                  </a:cubicBezTo>
                  <a:cubicBezTo>
                    <a:pt x="71" y="74"/>
                    <a:pt x="70" y="74"/>
                    <a:pt x="70" y="74"/>
                  </a:cubicBezTo>
                  <a:cubicBezTo>
                    <a:pt x="67" y="72"/>
                    <a:pt x="67" y="72"/>
                    <a:pt x="67" y="72"/>
                  </a:cubicBezTo>
                  <a:cubicBezTo>
                    <a:pt x="59" y="70"/>
                    <a:pt x="59" y="70"/>
                    <a:pt x="59" y="70"/>
                  </a:cubicBezTo>
                  <a:cubicBezTo>
                    <a:pt x="56" y="68"/>
                    <a:pt x="56" y="68"/>
                    <a:pt x="56" y="68"/>
                  </a:cubicBezTo>
                  <a:cubicBezTo>
                    <a:pt x="52" y="70"/>
                    <a:pt x="52" y="70"/>
                    <a:pt x="52" y="70"/>
                  </a:cubicBezTo>
                  <a:cubicBezTo>
                    <a:pt x="52" y="72"/>
                    <a:pt x="52" y="72"/>
                    <a:pt x="52" y="72"/>
                  </a:cubicBezTo>
                  <a:cubicBezTo>
                    <a:pt x="50" y="74"/>
                    <a:pt x="50" y="74"/>
                    <a:pt x="50" y="74"/>
                  </a:cubicBezTo>
                  <a:cubicBezTo>
                    <a:pt x="47" y="77"/>
                    <a:pt x="47" y="77"/>
                    <a:pt x="47" y="77"/>
                  </a:cubicBezTo>
                  <a:cubicBezTo>
                    <a:pt x="46" y="77"/>
                    <a:pt x="38" y="75"/>
                    <a:pt x="36" y="74"/>
                  </a:cubicBezTo>
                  <a:cubicBezTo>
                    <a:pt x="34" y="74"/>
                    <a:pt x="27" y="68"/>
                    <a:pt x="27" y="68"/>
                  </a:cubicBezTo>
                  <a:cubicBezTo>
                    <a:pt x="22" y="62"/>
                    <a:pt x="22" y="62"/>
                    <a:pt x="22" y="62"/>
                  </a:cubicBezTo>
                  <a:cubicBezTo>
                    <a:pt x="16" y="55"/>
                    <a:pt x="16" y="55"/>
                    <a:pt x="16" y="55"/>
                  </a:cubicBezTo>
                  <a:cubicBezTo>
                    <a:pt x="13" y="55"/>
                    <a:pt x="13" y="55"/>
                    <a:pt x="13" y="55"/>
                  </a:cubicBezTo>
                  <a:cubicBezTo>
                    <a:pt x="11" y="53"/>
                    <a:pt x="8" y="53"/>
                    <a:pt x="7" y="55"/>
                  </a:cubicBezTo>
                  <a:cubicBezTo>
                    <a:pt x="7" y="55"/>
                    <a:pt x="7" y="55"/>
                    <a:pt x="7" y="55"/>
                  </a:cubicBezTo>
                  <a:cubicBezTo>
                    <a:pt x="6" y="56"/>
                    <a:pt x="6" y="56"/>
                    <a:pt x="6" y="56"/>
                  </a:cubicBezTo>
                  <a:cubicBezTo>
                    <a:pt x="5" y="58"/>
                    <a:pt x="7" y="63"/>
                    <a:pt x="7" y="63"/>
                  </a:cubicBezTo>
                  <a:cubicBezTo>
                    <a:pt x="7" y="63"/>
                    <a:pt x="7" y="64"/>
                    <a:pt x="6" y="64"/>
                  </a:cubicBezTo>
                  <a:cubicBezTo>
                    <a:pt x="6" y="64"/>
                    <a:pt x="6" y="64"/>
                    <a:pt x="6" y="64"/>
                  </a:cubicBezTo>
                  <a:cubicBezTo>
                    <a:pt x="6" y="64"/>
                    <a:pt x="6" y="64"/>
                    <a:pt x="6" y="64"/>
                  </a:cubicBezTo>
                  <a:cubicBezTo>
                    <a:pt x="5" y="64"/>
                    <a:pt x="2" y="65"/>
                    <a:pt x="1" y="65"/>
                  </a:cubicBezTo>
                  <a:cubicBezTo>
                    <a:pt x="0" y="65"/>
                    <a:pt x="1" y="67"/>
                    <a:pt x="1" y="67"/>
                  </a:cubicBezTo>
                  <a:cubicBezTo>
                    <a:pt x="7" y="70"/>
                    <a:pt x="7" y="70"/>
                    <a:pt x="7" y="70"/>
                  </a:cubicBezTo>
                  <a:cubicBezTo>
                    <a:pt x="7" y="74"/>
                    <a:pt x="7" y="74"/>
                    <a:pt x="7" y="74"/>
                  </a:cubicBezTo>
                  <a:cubicBezTo>
                    <a:pt x="11" y="75"/>
                    <a:pt x="11" y="75"/>
                    <a:pt x="11" y="75"/>
                  </a:cubicBezTo>
                  <a:cubicBezTo>
                    <a:pt x="14" y="77"/>
                    <a:pt x="14" y="77"/>
                    <a:pt x="14" y="77"/>
                  </a:cubicBezTo>
                  <a:cubicBezTo>
                    <a:pt x="17" y="81"/>
                    <a:pt x="17" y="81"/>
                    <a:pt x="17" y="81"/>
                  </a:cubicBezTo>
                  <a:cubicBezTo>
                    <a:pt x="17" y="81"/>
                    <a:pt x="18" y="82"/>
                    <a:pt x="19" y="82"/>
                  </a:cubicBezTo>
                  <a:cubicBezTo>
                    <a:pt x="20" y="82"/>
                    <a:pt x="21" y="83"/>
                    <a:pt x="21" y="83"/>
                  </a:cubicBezTo>
                  <a:cubicBezTo>
                    <a:pt x="23" y="86"/>
                    <a:pt x="23" y="86"/>
                    <a:pt x="23" y="86"/>
                  </a:cubicBezTo>
                  <a:cubicBezTo>
                    <a:pt x="26" y="85"/>
                    <a:pt x="26" y="85"/>
                    <a:pt x="26" y="85"/>
                  </a:cubicBezTo>
                  <a:cubicBezTo>
                    <a:pt x="26" y="85"/>
                    <a:pt x="27" y="86"/>
                    <a:pt x="28" y="88"/>
                  </a:cubicBezTo>
                  <a:cubicBezTo>
                    <a:pt x="29" y="89"/>
                    <a:pt x="30" y="88"/>
                    <a:pt x="30" y="88"/>
                  </a:cubicBezTo>
                  <a:cubicBezTo>
                    <a:pt x="34" y="88"/>
                    <a:pt x="34" y="88"/>
                    <a:pt x="34" y="88"/>
                  </a:cubicBezTo>
                  <a:cubicBezTo>
                    <a:pt x="38" y="90"/>
                    <a:pt x="38" y="90"/>
                    <a:pt x="38" y="90"/>
                  </a:cubicBezTo>
                  <a:cubicBezTo>
                    <a:pt x="44" y="93"/>
                    <a:pt x="44" y="93"/>
                    <a:pt x="44" y="93"/>
                  </a:cubicBezTo>
                  <a:cubicBezTo>
                    <a:pt x="44" y="93"/>
                    <a:pt x="49" y="99"/>
                    <a:pt x="49" y="100"/>
                  </a:cubicBezTo>
                  <a:cubicBezTo>
                    <a:pt x="50" y="100"/>
                    <a:pt x="51" y="99"/>
                    <a:pt x="51" y="99"/>
                  </a:cubicBezTo>
                  <a:cubicBezTo>
                    <a:pt x="54" y="104"/>
                    <a:pt x="54" y="104"/>
                    <a:pt x="54" y="104"/>
                  </a:cubicBezTo>
                  <a:cubicBezTo>
                    <a:pt x="59" y="106"/>
                    <a:pt x="59" y="106"/>
                    <a:pt x="59" y="106"/>
                  </a:cubicBezTo>
                  <a:cubicBezTo>
                    <a:pt x="57" y="111"/>
                    <a:pt x="57" y="111"/>
                    <a:pt x="57" y="111"/>
                  </a:cubicBezTo>
                  <a:cubicBezTo>
                    <a:pt x="59" y="121"/>
                    <a:pt x="59" y="121"/>
                    <a:pt x="59" y="121"/>
                  </a:cubicBezTo>
                  <a:cubicBezTo>
                    <a:pt x="59" y="125"/>
                    <a:pt x="59" y="125"/>
                    <a:pt x="59" y="125"/>
                  </a:cubicBezTo>
                  <a:cubicBezTo>
                    <a:pt x="60" y="128"/>
                    <a:pt x="60" y="128"/>
                    <a:pt x="60" y="128"/>
                  </a:cubicBezTo>
                  <a:cubicBezTo>
                    <a:pt x="63" y="127"/>
                    <a:pt x="63" y="127"/>
                    <a:pt x="63" y="127"/>
                  </a:cubicBezTo>
                  <a:cubicBezTo>
                    <a:pt x="64" y="128"/>
                    <a:pt x="64" y="128"/>
                    <a:pt x="64" y="128"/>
                  </a:cubicBezTo>
                  <a:cubicBezTo>
                    <a:pt x="63" y="130"/>
                    <a:pt x="63" y="130"/>
                    <a:pt x="64" y="132"/>
                  </a:cubicBezTo>
                  <a:cubicBezTo>
                    <a:pt x="64" y="134"/>
                    <a:pt x="64" y="134"/>
                    <a:pt x="64" y="134"/>
                  </a:cubicBezTo>
                  <a:cubicBezTo>
                    <a:pt x="64" y="139"/>
                    <a:pt x="64" y="139"/>
                    <a:pt x="64" y="139"/>
                  </a:cubicBezTo>
                  <a:cubicBezTo>
                    <a:pt x="74" y="151"/>
                    <a:pt x="74" y="151"/>
                    <a:pt x="74" y="151"/>
                  </a:cubicBezTo>
                  <a:cubicBezTo>
                    <a:pt x="74" y="155"/>
                    <a:pt x="74" y="155"/>
                    <a:pt x="74" y="155"/>
                  </a:cubicBezTo>
                  <a:cubicBezTo>
                    <a:pt x="74" y="155"/>
                    <a:pt x="74" y="159"/>
                    <a:pt x="74" y="159"/>
                  </a:cubicBezTo>
                  <a:cubicBezTo>
                    <a:pt x="73" y="160"/>
                    <a:pt x="74" y="164"/>
                    <a:pt x="74" y="164"/>
                  </a:cubicBezTo>
                  <a:cubicBezTo>
                    <a:pt x="74" y="164"/>
                    <a:pt x="73" y="168"/>
                    <a:pt x="72" y="168"/>
                  </a:cubicBezTo>
                  <a:cubicBezTo>
                    <a:pt x="71" y="169"/>
                    <a:pt x="71" y="171"/>
                    <a:pt x="71" y="171"/>
                  </a:cubicBezTo>
                  <a:cubicBezTo>
                    <a:pt x="73" y="175"/>
                    <a:pt x="73" y="175"/>
                    <a:pt x="73" y="175"/>
                  </a:cubicBezTo>
                  <a:cubicBezTo>
                    <a:pt x="73" y="179"/>
                    <a:pt x="73" y="179"/>
                    <a:pt x="73" y="179"/>
                  </a:cubicBezTo>
                  <a:cubicBezTo>
                    <a:pt x="77" y="182"/>
                    <a:pt x="77" y="182"/>
                    <a:pt x="77" y="182"/>
                  </a:cubicBezTo>
                  <a:cubicBezTo>
                    <a:pt x="81" y="184"/>
                    <a:pt x="81" y="184"/>
                    <a:pt x="81" y="184"/>
                  </a:cubicBezTo>
                  <a:cubicBezTo>
                    <a:pt x="87" y="196"/>
                    <a:pt x="87" y="196"/>
                    <a:pt x="87" y="196"/>
                  </a:cubicBezTo>
                  <a:cubicBezTo>
                    <a:pt x="90" y="196"/>
                    <a:pt x="90" y="196"/>
                    <a:pt x="90" y="196"/>
                  </a:cubicBezTo>
                  <a:cubicBezTo>
                    <a:pt x="93" y="197"/>
                    <a:pt x="93" y="197"/>
                    <a:pt x="93" y="197"/>
                  </a:cubicBezTo>
                  <a:cubicBezTo>
                    <a:pt x="98" y="201"/>
                    <a:pt x="98" y="201"/>
                    <a:pt x="98" y="201"/>
                  </a:cubicBezTo>
                  <a:cubicBezTo>
                    <a:pt x="99" y="199"/>
                    <a:pt x="99" y="199"/>
                    <a:pt x="99" y="199"/>
                  </a:cubicBezTo>
                  <a:cubicBezTo>
                    <a:pt x="105" y="202"/>
                    <a:pt x="105" y="202"/>
                    <a:pt x="105" y="202"/>
                  </a:cubicBezTo>
                  <a:cubicBezTo>
                    <a:pt x="105" y="202"/>
                    <a:pt x="108" y="204"/>
                    <a:pt x="109" y="205"/>
                  </a:cubicBezTo>
                  <a:cubicBezTo>
                    <a:pt x="110" y="206"/>
                    <a:pt x="110" y="208"/>
                    <a:pt x="111" y="209"/>
                  </a:cubicBezTo>
                  <a:cubicBezTo>
                    <a:pt x="111" y="210"/>
                    <a:pt x="111" y="213"/>
                    <a:pt x="111" y="213"/>
                  </a:cubicBezTo>
                  <a:cubicBezTo>
                    <a:pt x="111" y="213"/>
                    <a:pt x="111" y="216"/>
                    <a:pt x="111" y="217"/>
                  </a:cubicBezTo>
                  <a:cubicBezTo>
                    <a:pt x="111" y="218"/>
                    <a:pt x="112" y="220"/>
                    <a:pt x="112" y="221"/>
                  </a:cubicBezTo>
                  <a:cubicBezTo>
                    <a:pt x="112" y="221"/>
                    <a:pt x="114" y="223"/>
                    <a:pt x="116" y="223"/>
                  </a:cubicBezTo>
                  <a:cubicBezTo>
                    <a:pt x="117" y="224"/>
                    <a:pt x="115" y="225"/>
                    <a:pt x="115" y="225"/>
                  </a:cubicBezTo>
                  <a:cubicBezTo>
                    <a:pt x="113" y="228"/>
                    <a:pt x="113" y="228"/>
                    <a:pt x="113" y="228"/>
                  </a:cubicBezTo>
                  <a:cubicBezTo>
                    <a:pt x="113" y="228"/>
                    <a:pt x="117" y="231"/>
                    <a:pt x="117" y="231"/>
                  </a:cubicBezTo>
                  <a:cubicBezTo>
                    <a:pt x="117" y="232"/>
                    <a:pt x="114" y="232"/>
                    <a:pt x="114" y="232"/>
                  </a:cubicBezTo>
                  <a:cubicBezTo>
                    <a:pt x="109" y="230"/>
                    <a:pt x="112" y="232"/>
                    <a:pt x="107" y="233"/>
                  </a:cubicBezTo>
                  <a:cubicBezTo>
                    <a:pt x="107" y="233"/>
                    <a:pt x="103" y="236"/>
                    <a:pt x="103" y="236"/>
                  </a:cubicBezTo>
                  <a:cubicBezTo>
                    <a:pt x="103" y="239"/>
                    <a:pt x="103" y="239"/>
                    <a:pt x="103" y="239"/>
                  </a:cubicBezTo>
                  <a:cubicBezTo>
                    <a:pt x="103" y="239"/>
                    <a:pt x="102" y="241"/>
                    <a:pt x="101" y="242"/>
                  </a:cubicBezTo>
                  <a:cubicBezTo>
                    <a:pt x="101" y="242"/>
                    <a:pt x="102" y="245"/>
                    <a:pt x="102" y="246"/>
                  </a:cubicBezTo>
                  <a:cubicBezTo>
                    <a:pt x="102" y="248"/>
                    <a:pt x="102" y="250"/>
                    <a:pt x="102" y="250"/>
                  </a:cubicBezTo>
                  <a:cubicBezTo>
                    <a:pt x="99" y="255"/>
                    <a:pt x="99" y="255"/>
                    <a:pt x="99" y="255"/>
                  </a:cubicBezTo>
                  <a:cubicBezTo>
                    <a:pt x="99" y="255"/>
                    <a:pt x="96" y="260"/>
                    <a:pt x="97" y="261"/>
                  </a:cubicBezTo>
                  <a:cubicBezTo>
                    <a:pt x="97" y="263"/>
                    <a:pt x="94" y="265"/>
                    <a:pt x="93" y="267"/>
                  </a:cubicBezTo>
                  <a:cubicBezTo>
                    <a:pt x="92" y="268"/>
                    <a:pt x="92" y="272"/>
                    <a:pt x="91" y="273"/>
                  </a:cubicBezTo>
                  <a:cubicBezTo>
                    <a:pt x="90" y="274"/>
                    <a:pt x="88" y="273"/>
                    <a:pt x="88" y="274"/>
                  </a:cubicBezTo>
                  <a:cubicBezTo>
                    <a:pt x="88" y="275"/>
                    <a:pt x="88" y="279"/>
                    <a:pt x="88" y="280"/>
                  </a:cubicBezTo>
                  <a:cubicBezTo>
                    <a:pt x="87" y="281"/>
                    <a:pt x="86" y="282"/>
                    <a:pt x="85" y="282"/>
                  </a:cubicBezTo>
                  <a:cubicBezTo>
                    <a:pt x="85" y="283"/>
                    <a:pt x="85" y="283"/>
                    <a:pt x="83" y="284"/>
                  </a:cubicBezTo>
                  <a:cubicBezTo>
                    <a:pt x="82" y="285"/>
                    <a:pt x="82" y="284"/>
                    <a:pt x="81" y="284"/>
                  </a:cubicBezTo>
                  <a:cubicBezTo>
                    <a:pt x="80" y="284"/>
                    <a:pt x="80" y="285"/>
                    <a:pt x="80" y="286"/>
                  </a:cubicBezTo>
                  <a:cubicBezTo>
                    <a:pt x="79" y="286"/>
                    <a:pt x="79" y="288"/>
                    <a:pt x="80" y="288"/>
                  </a:cubicBezTo>
                  <a:cubicBezTo>
                    <a:pt x="80" y="288"/>
                    <a:pt x="82" y="289"/>
                    <a:pt x="82" y="289"/>
                  </a:cubicBezTo>
                  <a:cubicBezTo>
                    <a:pt x="82" y="289"/>
                    <a:pt x="82" y="293"/>
                    <a:pt x="81" y="293"/>
                  </a:cubicBezTo>
                  <a:cubicBezTo>
                    <a:pt x="80" y="294"/>
                    <a:pt x="80" y="293"/>
                    <a:pt x="79" y="293"/>
                  </a:cubicBezTo>
                  <a:cubicBezTo>
                    <a:pt x="77" y="292"/>
                    <a:pt x="78" y="293"/>
                    <a:pt x="77" y="294"/>
                  </a:cubicBezTo>
                  <a:cubicBezTo>
                    <a:pt x="75" y="295"/>
                    <a:pt x="77" y="295"/>
                    <a:pt x="77" y="297"/>
                  </a:cubicBezTo>
                  <a:cubicBezTo>
                    <a:pt x="77" y="299"/>
                    <a:pt x="77" y="301"/>
                    <a:pt x="75" y="301"/>
                  </a:cubicBezTo>
                  <a:cubicBezTo>
                    <a:pt x="73" y="301"/>
                    <a:pt x="75" y="301"/>
                    <a:pt x="73" y="301"/>
                  </a:cubicBezTo>
                  <a:cubicBezTo>
                    <a:pt x="72" y="302"/>
                    <a:pt x="73" y="303"/>
                    <a:pt x="72" y="305"/>
                  </a:cubicBezTo>
                  <a:cubicBezTo>
                    <a:pt x="72" y="307"/>
                    <a:pt x="72" y="306"/>
                    <a:pt x="73" y="307"/>
                  </a:cubicBezTo>
                  <a:cubicBezTo>
                    <a:pt x="73" y="308"/>
                    <a:pt x="75" y="308"/>
                    <a:pt x="75" y="310"/>
                  </a:cubicBezTo>
                  <a:cubicBezTo>
                    <a:pt x="75" y="311"/>
                    <a:pt x="75" y="311"/>
                    <a:pt x="75" y="312"/>
                  </a:cubicBezTo>
                  <a:cubicBezTo>
                    <a:pt x="74" y="313"/>
                    <a:pt x="72" y="312"/>
                    <a:pt x="72" y="311"/>
                  </a:cubicBezTo>
                  <a:cubicBezTo>
                    <a:pt x="72" y="310"/>
                    <a:pt x="72" y="309"/>
                    <a:pt x="72" y="309"/>
                  </a:cubicBezTo>
                  <a:cubicBezTo>
                    <a:pt x="72" y="309"/>
                    <a:pt x="71" y="308"/>
                    <a:pt x="69" y="308"/>
                  </a:cubicBezTo>
                  <a:cubicBezTo>
                    <a:pt x="67" y="308"/>
                    <a:pt x="69" y="311"/>
                    <a:pt x="69" y="312"/>
                  </a:cubicBezTo>
                  <a:cubicBezTo>
                    <a:pt x="70" y="314"/>
                    <a:pt x="69" y="315"/>
                    <a:pt x="67" y="314"/>
                  </a:cubicBezTo>
                  <a:cubicBezTo>
                    <a:pt x="65" y="314"/>
                    <a:pt x="66" y="314"/>
                    <a:pt x="66" y="314"/>
                  </a:cubicBezTo>
                  <a:cubicBezTo>
                    <a:pt x="66" y="314"/>
                    <a:pt x="62" y="316"/>
                    <a:pt x="62" y="315"/>
                  </a:cubicBezTo>
                  <a:cubicBezTo>
                    <a:pt x="62" y="315"/>
                    <a:pt x="61" y="314"/>
                    <a:pt x="61" y="314"/>
                  </a:cubicBezTo>
                  <a:cubicBezTo>
                    <a:pt x="60" y="314"/>
                    <a:pt x="60" y="315"/>
                    <a:pt x="59" y="316"/>
                  </a:cubicBezTo>
                  <a:cubicBezTo>
                    <a:pt x="59" y="316"/>
                    <a:pt x="57" y="316"/>
                    <a:pt x="57" y="315"/>
                  </a:cubicBezTo>
                  <a:cubicBezTo>
                    <a:pt x="57" y="314"/>
                    <a:pt x="56" y="311"/>
                    <a:pt x="56" y="311"/>
                  </a:cubicBezTo>
                  <a:cubicBezTo>
                    <a:pt x="56" y="311"/>
                    <a:pt x="54" y="312"/>
                    <a:pt x="54" y="313"/>
                  </a:cubicBezTo>
                  <a:cubicBezTo>
                    <a:pt x="54" y="314"/>
                    <a:pt x="55" y="316"/>
                    <a:pt x="55" y="316"/>
                  </a:cubicBezTo>
                  <a:cubicBezTo>
                    <a:pt x="55" y="318"/>
                    <a:pt x="55" y="318"/>
                    <a:pt x="55" y="318"/>
                  </a:cubicBezTo>
                  <a:cubicBezTo>
                    <a:pt x="56" y="319"/>
                    <a:pt x="56" y="319"/>
                    <a:pt x="56" y="319"/>
                  </a:cubicBezTo>
                  <a:cubicBezTo>
                    <a:pt x="59" y="317"/>
                    <a:pt x="59" y="317"/>
                    <a:pt x="59" y="317"/>
                  </a:cubicBezTo>
                  <a:cubicBezTo>
                    <a:pt x="59" y="317"/>
                    <a:pt x="61" y="320"/>
                    <a:pt x="61" y="321"/>
                  </a:cubicBezTo>
                  <a:cubicBezTo>
                    <a:pt x="61" y="321"/>
                    <a:pt x="59" y="323"/>
                    <a:pt x="59" y="323"/>
                  </a:cubicBezTo>
                  <a:cubicBezTo>
                    <a:pt x="59" y="323"/>
                    <a:pt x="61" y="326"/>
                    <a:pt x="61" y="327"/>
                  </a:cubicBezTo>
                  <a:cubicBezTo>
                    <a:pt x="61" y="328"/>
                    <a:pt x="60" y="331"/>
                    <a:pt x="60" y="331"/>
                  </a:cubicBezTo>
                  <a:cubicBezTo>
                    <a:pt x="60" y="331"/>
                    <a:pt x="58" y="333"/>
                    <a:pt x="57" y="333"/>
                  </a:cubicBezTo>
                  <a:cubicBezTo>
                    <a:pt x="57" y="333"/>
                    <a:pt x="57" y="337"/>
                    <a:pt x="57" y="337"/>
                  </a:cubicBezTo>
                  <a:cubicBezTo>
                    <a:pt x="57" y="340"/>
                    <a:pt x="57" y="340"/>
                    <a:pt x="57" y="340"/>
                  </a:cubicBezTo>
                  <a:cubicBezTo>
                    <a:pt x="56" y="343"/>
                    <a:pt x="56" y="343"/>
                    <a:pt x="56" y="343"/>
                  </a:cubicBezTo>
                  <a:cubicBezTo>
                    <a:pt x="58" y="346"/>
                    <a:pt x="58" y="346"/>
                    <a:pt x="58" y="346"/>
                  </a:cubicBezTo>
                  <a:cubicBezTo>
                    <a:pt x="58" y="346"/>
                    <a:pt x="58" y="348"/>
                    <a:pt x="58" y="348"/>
                  </a:cubicBezTo>
                  <a:cubicBezTo>
                    <a:pt x="58" y="349"/>
                    <a:pt x="58" y="350"/>
                    <a:pt x="59" y="352"/>
                  </a:cubicBezTo>
                  <a:cubicBezTo>
                    <a:pt x="59" y="353"/>
                    <a:pt x="59" y="353"/>
                    <a:pt x="59" y="353"/>
                  </a:cubicBezTo>
                  <a:cubicBezTo>
                    <a:pt x="59" y="353"/>
                    <a:pt x="62" y="357"/>
                    <a:pt x="63" y="358"/>
                  </a:cubicBezTo>
                  <a:cubicBezTo>
                    <a:pt x="64" y="359"/>
                    <a:pt x="64" y="359"/>
                    <a:pt x="64" y="359"/>
                  </a:cubicBezTo>
                  <a:cubicBezTo>
                    <a:pt x="64" y="359"/>
                    <a:pt x="64" y="361"/>
                    <a:pt x="64" y="362"/>
                  </a:cubicBezTo>
                  <a:cubicBezTo>
                    <a:pt x="63" y="363"/>
                    <a:pt x="65" y="365"/>
                    <a:pt x="65" y="365"/>
                  </a:cubicBezTo>
                  <a:cubicBezTo>
                    <a:pt x="65" y="366"/>
                    <a:pt x="65" y="367"/>
                    <a:pt x="65" y="369"/>
                  </a:cubicBezTo>
                  <a:cubicBezTo>
                    <a:pt x="65" y="371"/>
                    <a:pt x="65" y="371"/>
                    <a:pt x="65" y="371"/>
                  </a:cubicBezTo>
                  <a:cubicBezTo>
                    <a:pt x="65" y="371"/>
                    <a:pt x="66" y="373"/>
                    <a:pt x="66" y="373"/>
                  </a:cubicBezTo>
                  <a:cubicBezTo>
                    <a:pt x="66" y="374"/>
                    <a:pt x="68" y="375"/>
                    <a:pt x="68" y="375"/>
                  </a:cubicBezTo>
                  <a:cubicBezTo>
                    <a:pt x="68" y="375"/>
                    <a:pt x="68" y="377"/>
                    <a:pt x="68" y="377"/>
                  </a:cubicBezTo>
                  <a:cubicBezTo>
                    <a:pt x="68" y="377"/>
                    <a:pt x="69" y="378"/>
                    <a:pt x="71" y="379"/>
                  </a:cubicBezTo>
                  <a:cubicBezTo>
                    <a:pt x="72" y="380"/>
                    <a:pt x="72" y="383"/>
                    <a:pt x="72" y="383"/>
                  </a:cubicBezTo>
                  <a:cubicBezTo>
                    <a:pt x="72" y="383"/>
                    <a:pt x="71" y="386"/>
                    <a:pt x="71" y="387"/>
                  </a:cubicBezTo>
                  <a:cubicBezTo>
                    <a:pt x="71" y="387"/>
                    <a:pt x="71" y="389"/>
                    <a:pt x="72" y="390"/>
                  </a:cubicBezTo>
                  <a:cubicBezTo>
                    <a:pt x="73" y="392"/>
                    <a:pt x="73" y="392"/>
                    <a:pt x="73" y="392"/>
                  </a:cubicBezTo>
                  <a:cubicBezTo>
                    <a:pt x="73" y="392"/>
                    <a:pt x="73" y="393"/>
                    <a:pt x="73" y="393"/>
                  </a:cubicBezTo>
                  <a:cubicBezTo>
                    <a:pt x="73" y="393"/>
                    <a:pt x="73" y="394"/>
                    <a:pt x="72" y="394"/>
                  </a:cubicBezTo>
                  <a:cubicBezTo>
                    <a:pt x="71" y="395"/>
                    <a:pt x="72" y="395"/>
                    <a:pt x="72" y="396"/>
                  </a:cubicBezTo>
                  <a:cubicBezTo>
                    <a:pt x="72" y="397"/>
                    <a:pt x="74" y="397"/>
                    <a:pt x="74" y="398"/>
                  </a:cubicBezTo>
                  <a:cubicBezTo>
                    <a:pt x="74" y="399"/>
                    <a:pt x="73" y="399"/>
                    <a:pt x="73" y="400"/>
                  </a:cubicBezTo>
                  <a:cubicBezTo>
                    <a:pt x="74" y="401"/>
                    <a:pt x="73" y="403"/>
                    <a:pt x="73" y="403"/>
                  </a:cubicBezTo>
                  <a:cubicBezTo>
                    <a:pt x="73" y="403"/>
                    <a:pt x="73" y="403"/>
                    <a:pt x="72" y="404"/>
                  </a:cubicBezTo>
                  <a:cubicBezTo>
                    <a:pt x="70" y="405"/>
                    <a:pt x="72" y="406"/>
                    <a:pt x="72" y="406"/>
                  </a:cubicBezTo>
                  <a:cubicBezTo>
                    <a:pt x="72" y="407"/>
                    <a:pt x="74" y="408"/>
                    <a:pt x="74" y="408"/>
                  </a:cubicBezTo>
                  <a:cubicBezTo>
                    <a:pt x="74" y="408"/>
                    <a:pt x="74" y="409"/>
                    <a:pt x="73" y="410"/>
                  </a:cubicBezTo>
                  <a:cubicBezTo>
                    <a:pt x="72" y="411"/>
                    <a:pt x="72" y="412"/>
                    <a:pt x="72" y="412"/>
                  </a:cubicBezTo>
                  <a:cubicBezTo>
                    <a:pt x="72" y="413"/>
                    <a:pt x="72" y="412"/>
                    <a:pt x="73" y="414"/>
                  </a:cubicBezTo>
                  <a:cubicBezTo>
                    <a:pt x="74" y="415"/>
                    <a:pt x="73" y="415"/>
                    <a:pt x="73" y="415"/>
                  </a:cubicBezTo>
                  <a:cubicBezTo>
                    <a:pt x="73" y="415"/>
                    <a:pt x="74" y="416"/>
                    <a:pt x="74" y="417"/>
                  </a:cubicBezTo>
                  <a:cubicBezTo>
                    <a:pt x="73" y="418"/>
                    <a:pt x="71" y="418"/>
                    <a:pt x="70" y="419"/>
                  </a:cubicBezTo>
                  <a:cubicBezTo>
                    <a:pt x="70" y="419"/>
                    <a:pt x="70" y="421"/>
                    <a:pt x="70" y="421"/>
                  </a:cubicBezTo>
                  <a:cubicBezTo>
                    <a:pt x="70" y="422"/>
                    <a:pt x="73" y="420"/>
                    <a:pt x="74" y="419"/>
                  </a:cubicBezTo>
                  <a:cubicBezTo>
                    <a:pt x="75" y="419"/>
                    <a:pt x="75" y="418"/>
                    <a:pt x="75" y="418"/>
                  </a:cubicBezTo>
                  <a:cubicBezTo>
                    <a:pt x="75" y="418"/>
                    <a:pt x="76" y="419"/>
                    <a:pt x="76" y="420"/>
                  </a:cubicBezTo>
                  <a:cubicBezTo>
                    <a:pt x="76" y="420"/>
                    <a:pt x="75" y="422"/>
                    <a:pt x="75" y="423"/>
                  </a:cubicBezTo>
                  <a:cubicBezTo>
                    <a:pt x="75" y="423"/>
                    <a:pt x="76" y="423"/>
                    <a:pt x="76" y="423"/>
                  </a:cubicBezTo>
                  <a:cubicBezTo>
                    <a:pt x="76" y="423"/>
                    <a:pt x="77" y="423"/>
                    <a:pt x="77" y="424"/>
                  </a:cubicBezTo>
                  <a:cubicBezTo>
                    <a:pt x="78" y="424"/>
                    <a:pt x="77" y="425"/>
                    <a:pt x="76" y="425"/>
                  </a:cubicBezTo>
                  <a:cubicBezTo>
                    <a:pt x="76" y="425"/>
                    <a:pt x="75" y="426"/>
                    <a:pt x="75" y="426"/>
                  </a:cubicBezTo>
                  <a:cubicBezTo>
                    <a:pt x="75" y="426"/>
                    <a:pt x="74" y="428"/>
                    <a:pt x="73" y="428"/>
                  </a:cubicBezTo>
                  <a:cubicBezTo>
                    <a:pt x="73" y="428"/>
                    <a:pt x="75" y="429"/>
                    <a:pt x="75" y="429"/>
                  </a:cubicBezTo>
                  <a:cubicBezTo>
                    <a:pt x="76" y="429"/>
                    <a:pt x="76" y="429"/>
                    <a:pt x="76" y="429"/>
                  </a:cubicBezTo>
                  <a:cubicBezTo>
                    <a:pt x="75" y="430"/>
                    <a:pt x="75" y="430"/>
                    <a:pt x="75" y="430"/>
                  </a:cubicBezTo>
                  <a:cubicBezTo>
                    <a:pt x="75" y="430"/>
                    <a:pt x="74" y="433"/>
                    <a:pt x="74" y="433"/>
                  </a:cubicBezTo>
                  <a:cubicBezTo>
                    <a:pt x="74" y="433"/>
                    <a:pt x="75" y="435"/>
                    <a:pt x="75" y="435"/>
                  </a:cubicBezTo>
                  <a:cubicBezTo>
                    <a:pt x="75" y="435"/>
                    <a:pt x="79" y="435"/>
                    <a:pt x="79" y="434"/>
                  </a:cubicBezTo>
                  <a:cubicBezTo>
                    <a:pt x="80" y="433"/>
                    <a:pt x="80" y="434"/>
                    <a:pt x="80" y="434"/>
                  </a:cubicBezTo>
                  <a:cubicBezTo>
                    <a:pt x="80" y="434"/>
                    <a:pt x="82" y="434"/>
                    <a:pt x="83" y="433"/>
                  </a:cubicBezTo>
                  <a:cubicBezTo>
                    <a:pt x="83" y="433"/>
                    <a:pt x="83" y="433"/>
                    <a:pt x="83" y="432"/>
                  </a:cubicBezTo>
                  <a:cubicBezTo>
                    <a:pt x="84" y="432"/>
                    <a:pt x="85" y="433"/>
                    <a:pt x="85" y="433"/>
                  </a:cubicBezTo>
                  <a:cubicBezTo>
                    <a:pt x="85" y="434"/>
                    <a:pt x="85" y="434"/>
                    <a:pt x="85" y="434"/>
                  </a:cubicBezTo>
                  <a:cubicBezTo>
                    <a:pt x="87" y="434"/>
                    <a:pt x="87" y="434"/>
                    <a:pt x="87" y="434"/>
                  </a:cubicBezTo>
                  <a:cubicBezTo>
                    <a:pt x="87" y="435"/>
                    <a:pt x="87" y="435"/>
                    <a:pt x="87" y="435"/>
                  </a:cubicBezTo>
                  <a:cubicBezTo>
                    <a:pt x="87" y="435"/>
                    <a:pt x="88" y="435"/>
                    <a:pt x="88" y="435"/>
                  </a:cubicBezTo>
                  <a:cubicBezTo>
                    <a:pt x="89" y="435"/>
                    <a:pt x="89" y="436"/>
                    <a:pt x="89" y="436"/>
                  </a:cubicBezTo>
                  <a:cubicBezTo>
                    <a:pt x="89" y="436"/>
                    <a:pt x="89" y="437"/>
                    <a:pt x="89" y="438"/>
                  </a:cubicBezTo>
                  <a:cubicBezTo>
                    <a:pt x="89" y="438"/>
                    <a:pt x="89" y="438"/>
                    <a:pt x="89" y="439"/>
                  </a:cubicBezTo>
                  <a:cubicBezTo>
                    <a:pt x="90" y="439"/>
                    <a:pt x="92" y="439"/>
                    <a:pt x="93" y="439"/>
                  </a:cubicBezTo>
                  <a:cubicBezTo>
                    <a:pt x="94" y="438"/>
                    <a:pt x="94" y="437"/>
                    <a:pt x="94" y="437"/>
                  </a:cubicBezTo>
                  <a:cubicBezTo>
                    <a:pt x="94" y="436"/>
                    <a:pt x="94" y="435"/>
                    <a:pt x="94" y="435"/>
                  </a:cubicBezTo>
                  <a:cubicBezTo>
                    <a:pt x="95" y="435"/>
                    <a:pt x="96" y="435"/>
                    <a:pt x="96" y="435"/>
                  </a:cubicBezTo>
                  <a:cubicBezTo>
                    <a:pt x="96" y="435"/>
                    <a:pt x="95" y="436"/>
                    <a:pt x="95" y="436"/>
                  </a:cubicBezTo>
                  <a:cubicBezTo>
                    <a:pt x="95" y="436"/>
                    <a:pt x="94" y="439"/>
                    <a:pt x="94" y="439"/>
                  </a:cubicBezTo>
                  <a:cubicBezTo>
                    <a:pt x="94" y="440"/>
                    <a:pt x="95" y="440"/>
                    <a:pt x="95" y="441"/>
                  </a:cubicBezTo>
                  <a:cubicBezTo>
                    <a:pt x="95" y="441"/>
                    <a:pt x="98" y="441"/>
                    <a:pt x="98" y="441"/>
                  </a:cubicBezTo>
                  <a:cubicBezTo>
                    <a:pt x="98" y="441"/>
                    <a:pt x="99" y="440"/>
                    <a:pt x="99" y="438"/>
                  </a:cubicBezTo>
                  <a:cubicBezTo>
                    <a:pt x="99" y="437"/>
                    <a:pt x="100" y="439"/>
                    <a:pt x="100" y="439"/>
                  </a:cubicBezTo>
                  <a:cubicBezTo>
                    <a:pt x="101" y="440"/>
                    <a:pt x="101" y="441"/>
                    <a:pt x="100" y="441"/>
                  </a:cubicBezTo>
                  <a:cubicBezTo>
                    <a:pt x="100" y="442"/>
                    <a:pt x="100" y="441"/>
                    <a:pt x="98" y="442"/>
                  </a:cubicBezTo>
                  <a:cubicBezTo>
                    <a:pt x="95" y="442"/>
                    <a:pt x="97" y="443"/>
                    <a:pt x="97" y="444"/>
                  </a:cubicBezTo>
                  <a:cubicBezTo>
                    <a:pt x="97" y="444"/>
                    <a:pt x="99" y="445"/>
                    <a:pt x="102" y="445"/>
                  </a:cubicBezTo>
                  <a:cubicBezTo>
                    <a:pt x="104" y="445"/>
                    <a:pt x="103" y="444"/>
                    <a:pt x="103" y="444"/>
                  </a:cubicBezTo>
                  <a:cubicBezTo>
                    <a:pt x="103" y="443"/>
                    <a:pt x="104" y="441"/>
                    <a:pt x="104" y="441"/>
                  </a:cubicBezTo>
                  <a:cubicBezTo>
                    <a:pt x="104" y="441"/>
                    <a:pt x="105" y="442"/>
                    <a:pt x="105" y="443"/>
                  </a:cubicBezTo>
                  <a:cubicBezTo>
                    <a:pt x="105" y="443"/>
                    <a:pt x="105" y="444"/>
                    <a:pt x="104" y="445"/>
                  </a:cubicBezTo>
                  <a:cubicBezTo>
                    <a:pt x="103" y="446"/>
                    <a:pt x="104" y="447"/>
                    <a:pt x="104" y="447"/>
                  </a:cubicBezTo>
                  <a:cubicBezTo>
                    <a:pt x="104" y="447"/>
                    <a:pt x="104" y="447"/>
                    <a:pt x="104" y="448"/>
                  </a:cubicBezTo>
                  <a:cubicBezTo>
                    <a:pt x="104" y="448"/>
                    <a:pt x="102" y="449"/>
                    <a:pt x="102" y="450"/>
                  </a:cubicBezTo>
                  <a:cubicBezTo>
                    <a:pt x="102" y="450"/>
                    <a:pt x="102" y="451"/>
                    <a:pt x="103" y="452"/>
                  </a:cubicBezTo>
                  <a:cubicBezTo>
                    <a:pt x="104" y="453"/>
                    <a:pt x="103" y="452"/>
                    <a:pt x="103" y="453"/>
                  </a:cubicBezTo>
                  <a:cubicBezTo>
                    <a:pt x="103" y="453"/>
                    <a:pt x="102" y="454"/>
                    <a:pt x="102" y="455"/>
                  </a:cubicBezTo>
                  <a:cubicBezTo>
                    <a:pt x="102" y="455"/>
                    <a:pt x="103" y="455"/>
                    <a:pt x="103" y="455"/>
                  </a:cubicBezTo>
                  <a:cubicBezTo>
                    <a:pt x="104" y="454"/>
                    <a:pt x="104" y="454"/>
                    <a:pt x="104" y="454"/>
                  </a:cubicBezTo>
                  <a:cubicBezTo>
                    <a:pt x="104" y="454"/>
                    <a:pt x="105" y="454"/>
                    <a:pt x="107" y="454"/>
                  </a:cubicBezTo>
                  <a:cubicBezTo>
                    <a:pt x="108" y="453"/>
                    <a:pt x="108" y="453"/>
                    <a:pt x="108" y="453"/>
                  </a:cubicBezTo>
                  <a:cubicBezTo>
                    <a:pt x="108" y="453"/>
                    <a:pt x="106" y="452"/>
                    <a:pt x="106" y="451"/>
                  </a:cubicBezTo>
                  <a:cubicBezTo>
                    <a:pt x="106" y="450"/>
                    <a:pt x="107" y="450"/>
                    <a:pt x="107" y="450"/>
                  </a:cubicBezTo>
                  <a:cubicBezTo>
                    <a:pt x="107" y="450"/>
                    <a:pt x="110" y="450"/>
                    <a:pt x="110" y="450"/>
                  </a:cubicBezTo>
                  <a:cubicBezTo>
                    <a:pt x="111" y="449"/>
                    <a:pt x="110" y="450"/>
                    <a:pt x="113" y="449"/>
                  </a:cubicBezTo>
                  <a:cubicBezTo>
                    <a:pt x="115" y="449"/>
                    <a:pt x="113" y="448"/>
                    <a:pt x="113" y="447"/>
                  </a:cubicBezTo>
                  <a:cubicBezTo>
                    <a:pt x="113" y="447"/>
                    <a:pt x="113" y="445"/>
                    <a:pt x="113" y="445"/>
                  </a:cubicBezTo>
                  <a:cubicBezTo>
                    <a:pt x="113" y="445"/>
                    <a:pt x="113" y="446"/>
                    <a:pt x="116" y="448"/>
                  </a:cubicBezTo>
                  <a:cubicBezTo>
                    <a:pt x="118" y="450"/>
                    <a:pt x="116" y="448"/>
                    <a:pt x="116" y="448"/>
                  </a:cubicBezTo>
                  <a:cubicBezTo>
                    <a:pt x="116" y="448"/>
                    <a:pt x="116" y="450"/>
                    <a:pt x="115" y="450"/>
                  </a:cubicBezTo>
                  <a:cubicBezTo>
                    <a:pt x="114" y="451"/>
                    <a:pt x="114" y="451"/>
                    <a:pt x="113" y="452"/>
                  </a:cubicBezTo>
                  <a:cubicBezTo>
                    <a:pt x="112" y="453"/>
                    <a:pt x="113" y="453"/>
                    <a:pt x="113" y="453"/>
                  </a:cubicBezTo>
                  <a:cubicBezTo>
                    <a:pt x="114" y="453"/>
                    <a:pt x="114" y="453"/>
                    <a:pt x="116" y="453"/>
                  </a:cubicBezTo>
                  <a:cubicBezTo>
                    <a:pt x="118" y="453"/>
                    <a:pt x="118" y="452"/>
                    <a:pt x="118" y="452"/>
                  </a:cubicBezTo>
                  <a:cubicBezTo>
                    <a:pt x="118" y="452"/>
                    <a:pt x="118" y="453"/>
                    <a:pt x="119" y="453"/>
                  </a:cubicBezTo>
                  <a:cubicBezTo>
                    <a:pt x="120" y="454"/>
                    <a:pt x="119" y="455"/>
                    <a:pt x="119" y="455"/>
                  </a:cubicBezTo>
                  <a:cubicBezTo>
                    <a:pt x="119" y="455"/>
                    <a:pt x="118" y="455"/>
                    <a:pt x="117" y="455"/>
                  </a:cubicBezTo>
                  <a:cubicBezTo>
                    <a:pt x="117" y="456"/>
                    <a:pt x="118" y="456"/>
                    <a:pt x="118" y="456"/>
                  </a:cubicBezTo>
                  <a:cubicBezTo>
                    <a:pt x="119" y="456"/>
                    <a:pt x="120" y="456"/>
                    <a:pt x="120" y="456"/>
                  </a:cubicBezTo>
                  <a:cubicBezTo>
                    <a:pt x="121" y="456"/>
                    <a:pt x="122" y="456"/>
                    <a:pt x="122" y="455"/>
                  </a:cubicBezTo>
                  <a:cubicBezTo>
                    <a:pt x="122" y="455"/>
                    <a:pt x="123" y="454"/>
                    <a:pt x="123" y="454"/>
                  </a:cubicBezTo>
                  <a:cubicBezTo>
                    <a:pt x="124" y="453"/>
                    <a:pt x="124" y="453"/>
                    <a:pt x="124" y="452"/>
                  </a:cubicBezTo>
                  <a:cubicBezTo>
                    <a:pt x="124" y="451"/>
                    <a:pt x="124" y="451"/>
                    <a:pt x="124" y="451"/>
                  </a:cubicBezTo>
                  <a:cubicBezTo>
                    <a:pt x="124" y="451"/>
                    <a:pt x="124" y="450"/>
                    <a:pt x="124" y="449"/>
                  </a:cubicBezTo>
                  <a:cubicBezTo>
                    <a:pt x="125" y="448"/>
                    <a:pt x="126" y="450"/>
                    <a:pt x="126" y="450"/>
                  </a:cubicBezTo>
                  <a:cubicBezTo>
                    <a:pt x="125" y="451"/>
                    <a:pt x="125" y="451"/>
                    <a:pt x="125" y="451"/>
                  </a:cubicBezTo>
                  <a:cubicBezTo>
                    <a:pt x="127" y="452"/>
                    <a:pt x="127" y="452"/>
                    <a:pt x="127" y="452"/>
                  </a:cubicBezTo>
                  <a:cubicBezTo>
                    <a:pt x="127" y="452"/>
                    <a:pt x="127" y="452"/>
                    <a:pt x="128" y="452"/>
                  </a:cubicBezTo>
                  <a:cubicBezTo>
                    <a:pt x="130" y="451"/>
                    <a:pt x="129" y="451"/>
                    <a:pt x="129" y="451"/>
                  </a:cubicBezTo>
                  <a:cubicBezTo>
                    <a:pt x="130" y="450"/>
                    <a:pt x="131" y="449"/>
                    <a:pt x="131" y="449"/>
                  </a:cubicBezTo>
                  <a:cubicBezTo>
                    <a:pt x="131" y="449"/>
                    <a:pt x="134" y="449"/>
                    <a:pt x="135" y="448"/>
                  </a:cubicBezTo>
                  <a:cubicBezTo>
                    <a:pt x="137" y="448"/>
                    <a:pt x="135" y="448"/>
                    <a:pt x="135" y="447"/>
                  </a:cubicBezTo>
                  <a:cubicBezTo>
                    <a:pt x="135" y="446"/>
                    <a:pt x="136" y="445"/>
                    <a:pt x="137" y="444"/>
                  </a:cubicBezTo>
                  <a:cubicBezTo>
                    <a:pt x="137" y="444"/>
                    <a:pt x="139" y="444"/>
                    <a:pt x="139" y="443"/>
                  </a:cubicBezTo>
                  <a:cubicBezTo>
                    <a:pt x="140" y="443"/>
                    <a:pt x="141" y="443"/>
                    <a:pt x="141" y="443"/>
                  </a:cubicBezTo>
                  <a:cubicBezTo>
                    <a:pt x="142" y="442"/>
                    <a:pt x="142" y="441"/>
                    <a:pt x="143" y="441"/>
                  </a:cubicBezTo>
                  <a:cubicBezTo>
                    <a:pt x="143" y="440"/>
                    <a:pt x="145" y="440"/>
                    <a:pt x="145" y="440"/>
                  </a:cubicBezTo>
                  <a:cubicBezTo>
                    <a:pt x="145" y="440"/>
                    <a:pt x="146" y="442"/>
                    <a:pt x="147" y="442"/>
                  </a:cubicBezTo>
                  <a:cubicBezTo>
                    <a:pt x="148" y="443"/>
                    <a:pt x="149" y="442"/>
                    <a:pt x="149" y="442"/>
                  </a:cubicBezTo>
                  <a:cubicBezTo>
                    <a:pt x="149" y="442"/>
                    <a:pt x="151" y="441"/>
                    <a:pt x="151" y="441"/>
                  </a:cubicBezTo>
                  <a:cubicBezTo>
                    <a:pt x="152" y="440"/>
                    <a:pt x="153" y="439"/>
                    <a:pt x="153" y="439"/>
                  </a:cubicBezTo>
                  <a:cubicBezTo>
                    <a:pt x="153" y="439"/>
                    <a:pt x="154" y="438"/>
                    <a:pt x="154" y="437"/>
                  </a:cubicBezTo>
                  <a:cubicBezTo>
                    <a:pt x="154" y="437"/>
                    <a:pt x="154" y="436"/>
                    <a:pt x="155" y="436"/>
                  </a:cubicBezTo>
                  <a:cubicBezTo>
                    <a:pt x="155" y="436"/>
                    <a:pt x="156" y="436"/>
                    <a:pt x="156" y="436"/>
                  </a:cubicBezTo>
                  <a:cubicBezTo>
                    <a:pt x="156" y="436"/>
                    <a:pt x="158" y="435"/>
                    <a:pt x="158" y="435"/>
                  </a:cubicBezTo>
                  <a:cubicBezTo>
                    <a:pt x="158" y="434"/>
                    <a:pt x="159" y="432"/>
                    <a:pt x="159" y="432"/>
                  </a:cubicBezTo>
                  <a:cubicBezTo>
                    <a:pt x="159" y="432"/>
                    <a:pt x="160" y="434"/>
                    <a:pt x="161" y="434"/>
                  </a:cubicBezTo>
                  <a:cubicBezTo>
                    <a:pt x="161" y="434"/>
                    <a:pt x="167" y="428"/>
                    <a:pt x="167" y="428"/>
                  </a:cubicBezTo>
                  <a:cubicBezTo>
                    <a:pt x="167" y="428"/>
                    <a:pt x="167" y="427"/>
                    <a:pt x="167" y="426"/>
                  </a:cubicBezTo>
                  <a:cubicBezTo>
                    <a:pt x="167" y="426"/>
                    <a:pt x="168" y="424"/>
                    <a:pt x="169" y="424"/>
                  </a:cubicBezTo>
                  <a:cubicBezTo>
                    <a:pt x="169" y="424"/>
                    <a:pt x="171" y="425"/>
                    <a:pt x="171" y="425"/>
                  </a:cubicBezTo>
                  <a:cubicBezTo>
                    <a:pt x="171" y="425"/>
                    <a:pt x="172" y="425"/>
                    <a:pt x="173" y="424"/>
                  </a:cubicBezTo>
                  <a:cubicBezTo>
                    <a:pt x="173" y="424"/>
                    <a:pt x="173" y="422"/>
                    <a:pt x="173" y="422"/>
                  </a:cubicBezTo>
                  <a:cubicBezTo>
                    <a:pt x="173" y="422"/>
                    <a:pt x="175" y="422"/>
                    <a:pt x="175" y="421"/>
                  </a:cubicBezTo>
                  <a:cubicBezTo>
                    <a:pt x="176" y="421"/>
                    <a:pt x="176" y="420"/>
                    <a:pt x="176" y="420"/>
                  </a:cubicBezTo>
                  <a:cubicBezTo>
                    <a:pt x="176" y="419"/>
                    <a:pt x="175" y="416"/>
                    <a:pt x="175" y="416"/>
                  </a:cubicBezTo>
                  <a:cubicBezTo>
                    <a:pt x="175" y="416"/>
                    <a:pt x="176" y="416"/>
                    <a:pt x="177" y="416"/>
                  </a:cubicBezTo>
                  <a:cubicBezTo>
                    <a:pt x="178" y="416"/>
                    <a:pt x="179" y="417"/>
                    <a:pt x="180" y="417"/>
                  </a:cubicBezTo>
                  <a:cubicBezTo>
                    <a:pt x="181" y="418"/>
                    <a:pt x="183" y="415"/>
                    <a:pt x="183" y="415"/>
                  </a:cubicBezTo>
                  <a:cubicBezTo>
                    <a:pt x="183" y="414"/>
                    <a:pt x="183" y="412"/>
                    <a:pt x="183" y="412"/>
                  </a:cubicBezTo>
                  <a:cubicBezTo>
                    <a:pt x="183" y="412"/>
                    <a:pt x="184" y="413"/>
                    <a:pt x="185" y="413"/>
                  </a:cubicBezTo>
                  <a:cubicBezTo>
                    <a:pt x="186" y="414"/>
                    <a:pt x="188" y="414"/>
                    <a:pt x="188" y="414"/>
                  </a:cubicBezTo>
                  <a:cubicBezTo>
                    <a:pt x="189" y="414"/>
                    <a:pt x="189" y="413"/>
                    <a:pt x="189" y="413"/>
                  </a:cubicBezTo>
                  <a:cubicBezTo>
                    <a:pt x="189" y="413"/>
                    <a:pt x="191" y="412"/>
                    <a:pt x="191" y="412"/>
                  </a:cubicBezTo>
                  <a:cubicBezTo>
                    <a:pt x="191" y="412"/>
                    <a:pt x="192" y="411"/>
                    <a:pt x="193" y="410"/>
                  </a:cubicBezTo>
                  <a:cubicBezTo>
                    <a:pt x="194" y="410"/>
                    <a:pt x="195" y="409"/>
                    <a:pt x="195" y="408"/>
                  </a:cubicBezTo>
                  <a:cubicBezTo>
                    <a:pt x="195" y="408"/>
                    <a:pt x="196" y="407"/>
                    <a:pt x="196" y="406"/>
                  </a:cubicBezTo>
                  <a:cubicBezTo>
                    <a:pt x="196" y="406"/>
                    <a:pt x="199" y="405"/>
                    <a:pt x="199" y="405"/>
                  </a:cubicBezTo>
                  <a:cubicBezTo>
                    <a:pt x="201" y="406"/>
                    <a:pt x="201" y="406"/>
                    <a:pt x="201" y="406"/>
                  </a:cubicBezTo>
                  <a:cubicBezTo>
                    <a:pt x="205" y="407"/>
                    <a:pt x="205" y="407"/>
                    <a:pt x="205" y="407"/>
                  </a:cubicBezTo>
                  <a:cubicBezTo>
                    <a:pt x="205" y="407"/>
                    <a:pt x="207" y="406"/>
                    <a:pt x="207" y="406"/>
                  </a:cubicBezTo>
                  <a:cubicBezTo>
                    <a:pt x="207" y="406"/>
                    <a:pt x="207" y="406"/>
                    <a:pt x="208" y="406"/>
                  </a:cubicBezTo>
                  <a:lnTo>
                    <a:pt x="207" y="405"/>
                  </a:lnTo>
                  <a:close/>
                </a:path>
              </a:pathLst>
            </a:custGeom>
            <a:solidFill>
              <a:schemeClr val="accent6">
                <a:lumMod val="75000"/>
              </a:schemeClr>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1" name="Freeform 232"/>
            <p:cNvSpPr>
              <a:spLocks/>
            </p:cNvSpPr>
            <p:nvPr/>
          </p:nvSpPr>
          <p:spPr bwMode="auto">
            <a:xfrm>
              <a:off x="6215116" y="3211716"/>
              <a:ext cx="495342" cy="276405"/>
            </a:xfrm>
            <a:custGeom>
              <a:avLst/>
              <a:gdLst>
                <a:gd name="T0" fmla="*/ 168 w 171"/>
                <a:gd name="T1" fmla="*/ 52 h 101"/>
                <a:gd name="T2" fmla="*/ 166 w 171"/>
                <a:gd name="T3" fmla="*/ 48 h 101"/>
                <a:gd name="T4" fmla="*/ 163 w 171"/>
                <a:gd name="T5" fmla="*/ 43 h 101"/>
                <a:gd name="T6" fmla="*/ 157 w 171"/>
                <a:gd name="T7" fmla="*/ 35 h 101"/>
                <a:gd name="T8" fmla="*/ 152 w 171"/>
                <a:gd name="T9" fmla="*/ 31 h 101"/>
                <a:gd name="T10" fmla="*/ 151 w 171"/>
                <a:gd name="T11" fmla="*/ 16 h 101"/>
                <a:gd name="T12" fmla="*/ 143 w 171"/>
                <a:gd name="T13" fmla="*/ 13 h 101"/>
                <a:gd name="T14" fmla="*/ 140 w 171"/>
                <a:gd name="T15" fmla="*/ 10 h 101"/>
                <a:gd name="T16" fmla="*/ 137 w 171"/>
                <a:gd name="T17" fmla="*/ 10 h 101"/>
                <a:gd name="T18" fmla="*/ 128 w 171"/>
                <a:gd name="T19" fmla="*/ 9 h 101"/>
                <a:gd name="T20" fmla="*/ 123 w 171"/>
                <a:gd name="T21" fmla="*/ 13 h 101"/>
                <a:gd name="T22" fmla="*/ 115 w 171"/>
                <a:gd name="T23" fmla="*/ 14 h 101"/>
                <a:gd name="T24" fmla="*/ 103 w 171"/>
                <a:gd name="T25" fmla="*/ 5 h 101"/>
                <a:gd name="T26" fmla="*/ 92 w 171"/>
                <a:gd name="T27" fmla="*/ 3 h 101"/>
                <a:gd name="T28" fmla="*/ 83 w 171"/>
                <a:gd name="T29" fmla="*/ 0 h 101"/>
                <a:gd name="T30" fmla="*/ 72 w 171"/>
                <a:gd name="T31" fmla="*/ 8 h 101"/>
                <a:gd name="T32" fmla="*/ 66 w 171"/>
                <a:gd name="T33" fmla="*/ 12 h 101"/>
                <a:gd name="T34" fmla="*/ 70 w 171"/>
                <a:gd name="T35" fmla="*/ 28 h 101"/>
                <a:gd name="T36" fmla="*/ 70 w 171"/>
                <a:gd name="T37" fmla="*/ 45 h 101"/>
                <a:gd name="T38" fmla="*/ 65 w 171"/>
                <a:gd name="T39" fmla="*/ 51 h 101"/>
                <a:gd name="T40" fmla="*/ 53 w 171"/>
                <a:gd name="T41" fmla="*/ 53 h 101"/>
                <a:gd name="T42" fmla="*/ 45 w 171"/>
                <a:gd name="T43" fmla="*/ 45 h 101"/>
                <a:gd name="T44" fmla="*/ 36 w 171"/>
                <a:gd name="T45" fmla="*/ 35 h 101"/>
                <a:gd name="T46" fmla="*/ 28 w 171"/>
                <a:gd name="T47" fmla="*/ 24 h 101"/>
                <a:gd name="T48" fmla="*/ 19 w 171"/>
                <a:gd name="T49" fmla="*/ 31 h 101"/>
                <a:gd name="T50" fmla="*/ 8 w 171"/>
                <a:gd name="T51" fmla="*/ 39 h 101"/>
                <a:gd name="T52" fmla="*/ 5 w 171"/>
                <a:gd name="T53" fmla="*/ 64 h 101"/>
                <a:gd name="T54" fmla="*/ 0 w 171"/>
                <a:gd name="T55" fmla="*/ 75 h 101"/>
                <a:gd name="T56" fmla="*/ 1 w 171"/>
                <a:gd name="T57" fmla="*/ 92 h 101"/>
                <a:gd name="T58" fmla="*/ 6 w 171"/>
                <a:gd name="T59" fmla="*/ 99 h 101"/>
                <a:gd name="T60" fmla="*/ 10 w 171"/>
                <a:gd name="T61" fmla="*/ 92 h 101"/>
                <a:gd name="T62" fmla="*/ 19 w 171"/>
                <a:gd name="T63" fmla="*/ 87 h 101"/>
                <a:gd name="T64" fmla="*/ 32 w 171"/>
                <a:gd name="T65" fmla="*/ 81 h 101"/>
                <a:gd name="T66" fmla="*/ 46 w 171"/>
                <a:gd name="T67" fmla="*/ 76 h 101"/>
                <a:gd name="T68" fmla="*/ 52 w 171"/>
                <a:gd name="T69" fmla="*/ 80 h 101"/>
                <a:gd name="T70" fmla="*/ 62 w 171"/>
                <a:gd name="T71" fmla="*/ 76 h 101"/>
                <a:gd name="T72" fmla="*/ 65 w 171"/>
                <a:gd name="T73" fmla="*/ 75 h 101"/>
                <a:gd name="T74" fmla="*/ 75 w 171"/>
                <a:gd name="T75" fmla="*/ 76 h 101"/>
                <a:gd name="T76" fmla="*/ 80 w 171"/>
                <a:gd name="T77" fmla="*/ 73 h 101"/>
                <a:gd name="T78" fmla="*/ 89 w 171"/>
                <a:gd name="T79" fmla="*/ 68 h 101"/>
                <a:gd name="T80" fmla="*/ 97 w 171"/>
                <a:gd name="T81" fmla="*/ 71 h 101"/>
                <a:gd name="T82" fmla="*/ 107 w 171"/>
                <a:gd name="T83" fmla="*/ 74 h 101"/>
                <a:gd name="T84" fmla="*/ 118 w 171"/>
                <a:gd name="T85" fmla="*/ 76 h 101"/>
                <a:gd name="T86" fmla="*/ 127 w 171"/>
                <a:gd name="T87" fmla="*/ 80 h 101"/>
                <a:gd name="T88" fmla="*/ 133 w 171"/>
                <a:gd name="T89" fmla="*/ 87 h 101"/>
                <a:gd name="T90" fmla="*/ 146 w 171"/>
                <a:gd name="T91" fmla="*/ 86 h 101"/>
                <a:gd name="T92" fmla="*/ 153 w 171"/>
                <a:gd name="T93" fmla="*/ 78 h 101"/>
                <a:gd name="T94" fmla="*/ 158 w 171"/>
                <a:gd name="T95" fmla="*/ 78 h 101"/>
                <a:gd name="T96" fmla="*/ 162 w 171"/>
                <a:gd name="T97" fmla="*/ 74 h 101"/>
                <a:gd name="T98" fmla="*/ 171 w 171"/>
                <a:gd name="T99" fmla="*/ 6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1" h="101">
                  <a:moveTo>
                    <a:pt x="171" y="58"/>
                  </a:moveTo>
                  <a:cubicBezTo>
                    <a:pt x="171" y="55"/>
                    <a:pt x="171" y="55"/>
                    <a:pt x="171" y="55"/>
                  </a:cubicBezTo>
                  <a:cubicBezTo>
                    <a:pt x="170" y="54"/>
                    <a:pt x="168" y="52"/>
                    <a:pt x="168" y="52"/>
                  </a:cubicBezTo>
                  <a:cubicBezTo>
                    <a:pt x="168" y="51"/>
                    <a:pt x="168" y="50"/>
                    <a:pt x="167" y="48"/>
                  </a:cubicBezTo>
                  <a:cubicBezTo>
                    <a:pt x="167" y="48"/>
                    <a:pt x="167" y="48"/>
                    <a:pt x="167" y="48"/>
                  </a:cubicBezTo>
                  <a:cubicBezTo>
                    <a:pt x="167" y="48"/>
                    <a:pt x="166" y="48"/>
                    <a:pt x="166" y="48"/>
                  </a:cubicBezTo>
                  <a:cubicBezTo>
                    <a:pt x="165" y="47"/>
                    <a:pt x="164" y="46"/>
                    <a:pt x="164" y="46"/>
                  </a:cubicBezTo>
                  <a:cubicBezTo>
                    <a:pt x="163" y="45"/>
                    <a:pt x="163" y="45"/>
                    <a:pt x="163" y="45"/>
                  </a:cubicBezTo>
                  <a:cubicBezTo>
                    <a:pt x="163" y="43"/>
                    <a:pt x="163" y="43"/>
                    <a:pt x="163" y="43"/>
                  </a:cubicBezTo>
                  <a:cubicBezTo>
                    <a:pt x="162" y="43"/>
                    <a:pt x="162" y="43"/>
                    <a:pt x="162" y="43"/>
                  </a:cubicBezTo>
                  <a:cubicBezTo>
                    <a:pt x="156" y="38"/>
                    <a:pt x="156" y="38"/>
                    <a:pt x="156" y="38"/>
                  </a:cubicBezTo>
                  <a:cubicBezTo>
                    <a:pt x="157" y="35"/>
                    <a:pt x="157" y="35"/>
                    <a:pt x="157" y="35"/>
                  </a:cubicBezTo>
                  <a:cubicBezTo>
                    <a:pt x="157" y="35"/>
                    <a:pt x="157" y="35"/>
                    <a:pt x="157" y="35"/>
                  </a:cubicBezTo>
                  <a:cubicBezTo>
                    <a:pt x="152" y="38"/>
                    <a:pt x="152" y="38"/>
                    <a:pt x="152" y="38"/>
                  </a:cubicBezTo>
                  <a:cubicBezTo>
                    <a:pt x="152" y="31"/>
                    <a:pt x="152" y="31"/>
                    <a:pt x="152" y="31"/>
                  </a:cubicBezTo>
                  <a:cubicBezTo>
                    <a:pt x="150" y="25"/>
                    <a:pt x="150" y="25"/>
                    <a:pt x="150" y="25"/>
                  </a:cubicBezTo>
                  <a:cubicBezTo>
                    <a:pt x="152" y="22"/>
                    <a:pt x="152" y="22"/>
                    <a:pt x="152" y="22"/>
                  </a:cubicBezTo>
                  <a:cubicBezTo>
                    <a:pt x="151" y="16"/>
                    <a:pt x="151" y="16"/>
                    <a:pt x="151" y="16"/>
                  </a:cubicBezTo>
                  <a:cubicBezTo>
                    <a:pt x="151" y="16"/>
                    <a:pt x="150" y="16"/>
                    <a:pt x="150" y="16"/>
                  </a:cubicBezTo>
                  <a:cubicBezTo>
                    <a:pt x="149" y="16"/>
                    <a:pt x="148" y="16"/>
                    <a:pt x="146" y="14"/>
                  </a:cubicBezTo>
                  <a:cubicBezTo>
                    <a:pt x="143" y="13"/>
                    <a:pt x="143" y="13"/>
                    <a:pt x="143" y="13"/>
                  </a:cubicBezTo>
                  <a:cubicBezTo>
                    <a:pt x="142" y="10"/>
                    <a:pt x="142" y="10"/>
                    <a:pt x="142" y="10"/>
                  </a:cubicBezTo>
                  <a:cubicBezTo>
                    <a:pt x="141" y="9"/>
                    <a:pt x="141" y="9"/>
                    <a:pt x="141" y="9"/>
                  </a:cubicBezTo>
                  <a:cubicBezTo>
                    <a:pt x="140" y="10"/>
                    <a:pt x="140" y="10"/>
                    <a:pt x="140" y="10"/>
                  </a:cubicBezTo>
                  <a:cubicBezTo>
                    <a:pt x="139" y="10"/>
                    <a:pt x="139" y="10"/>
                    <a:pt x="139" y="10"/>
                  </a:cubicBezTo>
                  <a:cubicBezTo>
                    <a:pt x="139" y="10"/>
                    <a:pt x="139" y="10"/>
                    <a:pt x="139" y="10"/>
                  </a:cubicBezTo>
                  <a:cubicBezTo>
                    <a:pt x="137" y="10"/>
                    <a:pt x="137" y="10"/>
                    <a:pt x="137" y="10"/>
                  </a:cubicBezTo>
                  <a:cubicBezTo>
                    <a:pt x="137" y="10"/>
                    <a:pt x="137" y="10"/>
                    <a:pt x="137" y="10"/>
                  </a:cubicBezTo>
                  <a:cubicBezTo>
                    <a:pt x="133" y="10"/>
                    <a:pt x="133" y="10"/>
                    <a:pt x="133" y="10"/>
                  </a:cubicBezTo>
                  <a:cubicBezTo>
                    <a:pt x="128" y="9"/>
                    <a:pt x="128" y="9"/>
                    <a:pt x="128" y="9"/>
                  </a:cubicBezTo>
                  <a:cubicBezTo>
                    <a:pt x="126" y="11"/>
                    <a:pt x="126" y="11"/>
                    <a:pt x="126" y="11"/>
                  </a:cubicBezTo>
                  <a:cubicBezTo>
                    <a:pt x="125" y="11"/>
                    <a:pt x="125" y="11"/>
                    <a:pt x="125" y="11"/>
                  </a:cubicBezTo>
                  <a:cubicBezTo>
                    <a:pt x="124" y="12"/>
                    <a:pt x="124" y="12"/>
                    <a:pt x="123" y="13"/>
                  </a:cubicBezTo>
                  <a:cubicBezTo>
                    <a:pt x="123" y="14"/>
                    <a:pt x="121" y="14"/>
                    <a:pt x="121" y="15"/>
                  </a:cubicBezTo>
                  <a:cubicBezTo>
                    <a:pt x="120" y="15"/>
                    <a:pt x="119" y="15"/>
                    <a:pt x="118" y="15"/>
                  </a:cubicBezTo>
                  <a:cubicBezTo>
                    <a:pt x="117" y="15"/>
                    <a:pt x="116" y="15"/>
                    <a:pt x="115" y="14"/>
                  </a:cubicBezTo>
                  <a:cubicBezTo>
                    <a:pt x="112" y="13"/>
                    <a:pt x="112" y="13"/>
                    <a:pt x="112" y="13"/>
                  </a:cubicBezTo>
                  <a:cubicBezTo>
                    <a:pt x="110" y="9"/>
                    <a:pt x="110" y="9"/>
                    <a:pt x="110" y="9"/>
                  </a:cubicBezTo>
                  <a:cubicBezTo>
                    <a:pt x="103" y="5"/>
                    <a:pt x="103" y="5"/>
                    <a:pt x="103" y="5"/>
                  </a:cubicBezTo>
                  <a:cubicBezTo>
                    <a:pt x="100" y="4"/>
                    <a:pt x="100" y="4"/>
                    <a:pt x="100" y="4"/>
                  </a:cubicBezTo>
                  <a:cubicBezTo>
                    <a:pt x="96" y="3"/>
                    <a:pt x="96" y="3"/>
                    <a:pt x="96" y="3"/>
                  </a:cubicBezTo>
                  <a:cubicBezTo>
                    <a:pt x="92" y="3"/>
                    <a:pt x="92" y="3"/>
                    <a:pt x="92" y="3"/>
                  </a:cubicBezTo>
                  <a:cubicBezTo>
                    <a:pt x="89" y="1"/>
                    <a:pt x="89" y="1"/>
                    <a:pt x="89" y="1"/>
                  </a:cubicBezTo>
                  <a:cubicBezTo>
                    <a:pt x="86" y="2"/>
                    <a:pt x="86" y="2"/>
                    <a:pt x="86" y="2"/>
                  </a:cubicBezTo>
                  <a:cubicBezTo>
                    <a:pt x="83" y="0"/>
                    <a:pt x="83" y="0"/>
                    <a:pt x="83" y="0"/>
                  </a:cubicBezTo>
                  <a:cubicBezTo>
                    <a:pt x="80" y="2"/>
                    <a:pt x="80" y="2"/>
                    <a:pt x="80" y="2"/>
                  </a:cubicBezTo>
                  <a:cubicBezTo>
                    <a:pt x="77" y="5"/>
                    <a:pt x="77" y="5"/>
                    <a:pt x="77" y="5"/>
                  </a:cubicBezTo>
                  <a:cubicBezTo>
                    <a:pt x="72" y="8"/>
                    <a:pt x="72" y="8"/>
                    <a:pt x="72" y="8"/>
                  </a:cubicBezTo>
                  <a:cubicBezTo>
                    <a:pt x="72" y="9"/>
                    <a:pt x="70" y="11"/>
                    <a:pt x="68" y="12"/>
                  </a:cubicBezTo>
                  <a:cubicBezTo>
                    <a:pt x="66" y="13"/>
                    <a:pt x="66" y="13"/>
                    <a:pt x="66" y="13"/>
                  </a:cubicBezTo>
                  <a:cubicBezTo>
                    <a:pt x="66" y="12"/>
                    <a:pt x="66" y="12"/>
                    <a:pt x="66" y="12"/>
                  </a:cubicBezTo>
                  <a:cubicBezTo>
                    <a:pt x="66" y="13"/>
                    <a:pt x="66" y="14"/>
                    <a:pt x="66" y="15"/>
                  </a:cubicBezTo>
                  <a:cubicBezTo>
                    <a:pt x="69" y="21"/>
                    <a:pt x="69" y="21"/>
                    <a:pt x="69" y="21"/>
                  </a:cubicBezTo>
                  <a:cubicBezTo>
                    <a:pt x="69" y="21"/>
                    <a:pt x="70" y="26"/>
                    <a:pt x="70" y="28"/>
                  </a:cubicBezTo>
                  <a:cubicBezTo>
                    <a:pt x="70" y="29"/>
                    <a:pt x="71" y="30"/>
                    <a:pt x="72" y="32"/>
                  </a:cubicBezTo>
                  <a:cubicBezTo>
                    <a:pt x="73" y="35"/>
                    <a:pt x="74" y="36"/>
                    <a:pt x="74" y="37"/>
                  </a:cubicBezTo>
                  <a:cubicBezTo>
                    <a:pt x="74" y="38"/>
                    <a:pt x="71" y="44"/>
                    <a:pt x="70" y="45"/>
                  </a:cubicBezTo>
                  <a:cubicBezTo>
                    <a:pt x="70" y="45"/>
                    <a:pt x="69" y="46"/>
                    <a:pt x="68" y="48"/>
                  </a:cubicBezTo>
                  <a:cubicBezTo>
                    <a:pt x="67" y="49"/>
                    <a:pt x="67" y="49"/>
                    <a:pt x="67" y="49"/>
                  </a:cubicBezTo>
                  <a:cubicBezTo>
                    <a:pt x="67" y="50"/>
                    <a:pt x="66" y="50"/>
                    <a:pt x="65" y="51"/>
                  </a:cubicBezTo>
                  <a:cubicBezTo>
                    <a:pt x="64" y="52"/>
                    <a:pt x="62" y="54"/>
                    <a:pt x="62" y="54"/>
                  </a:cubicBezTo>
                  <a:cubicBezTo>
                    <a:pt x="61" y="55"/>
                    <a:pt x="57" y="54"/>
                    <a:pt x="56" y="54"/>
                  </a:cubicBezTo>
                  <a:cubicBezTo>
                    <a:pt x="53" y="53"/>
                    <a:pt x="53" y="53"/>
                    <a:pt x="53" y="53"/>
                  </a:cubicBezTo>
                  <a:cubicBezTo>
                    <a:pt x="53" y="53"/>
                    <a:pt x="49" y="51"/>
                    <a:pt x="48" y="49"/>
                  </a:cubicBezTo>
                  <a:cubicBezTo>
                    <a:pt x="48" y="48"/>
                    <a:pt x="47" y="47"/>
                    <a:pt x="46" y="47"/>
                  </a:cubicBezTo>
                  <a:cubicBezTo>
                    <a:pt x="46" y="46"/>
                    <a:pt x="45" y="45"/>
                    <a:pt x="45" y="45"/>
                  </a:cubicBezTo>
                  <a:cubicBezTo>
                    <a:pt x="43" y="42"/>
                    <a:pt x="44" y="41"/>
                    <a:pt x="44" y="41"/>
                  </a:cubicBezTo>
                  <a:cubicBezTo>
                    <a:pt x="42" y="38"/>
                    <a:pt x="42" y="38"/>
                    <a:pt x="42" y="38"/>
                  </a:cubicBezTo>
                  <a:cubicBezTo>
                    <a:pt x="36" y="35"/>
                    <a:pt x="36" y="35"/>
                    <a:pt x="36" y="35"/>
                  </a:cubicBezTo>
                  <a:cubicBezTo>
                    <a:pt x="33" y="33"/>
                    <a:pt x="33" y="33"/>
                    <a:pt x="33" y="33"/>
                  </a:cubicBezTo>
                  <a:cubicBezTo>
                    <a:pt x="29" y="31"/>
                    <a:pt x="29" y="31"/>
                    <a:pt x="29" y="31"/>
                  </a:cubicBezTo>
                  <a:cubicBezTo>
                    <a:pt x="29" y="29"/>
                    <a:pt x="28" y="25"/>
                    <a:pt x="28" y="24"/>
                  </a:cubicBezTo>
                  <a:cubicBezTo>
                    <a:pt x="28" y="24"/>
                    <a:pt x="27" y="25"/>
                    <a:pt x="27" y="25"/>
                  </a:cubicBezTo>
                  <a:cubicBezTo>
                    <a:pt x="26" y="26"/>
                    <a:pt x="25" y="26"/>
                    <a:pt x="25" y="26"/>
                  </a:cubicBezTo>
                  <a:cubicBezTo>
                    <a:pt x="24" y="26"/>
                    <a:pt x="21" y="29"/>
                    <a:pt x="19" y="31"/>
                  </a:cubicBezTo>
                  <a:cubicBezTo>
                    <a:pt x="15" y="35"/>
                    <a:pt x="15" y="35"/>
                    <a:pt x="15" y="35"/>
                  </a:cubicBezTo>
                  <a:cubicBezTo>
                    <a:pt x="15" y="35"/>
                    <a:pt x="10" y="35"/>
                    <a:pt x="9" y="36"/>
                  </a:cubicBezTo>
                  <a:cubicBezTo>
                    <a:pt x="9" y="36"/>
                    <a:pt x="8" y="37"/>
                    <a:pt x="8" y="39"/>
                  </a:cubicBezTo>
                  <a:cubicBezTo>
                    <a:pt x="5" y="53"/>
                    <a:pt x="5" y="53"/>
                    <a:pt x="5" y="53"/>
                  </a:cubicBezTo>
                  <a:cubicBezTo>
                    <a:pt x="6" y="58"/>
                    <a:pt x="6" y="58"/>
                    <a:pt x="6" y="58"/>
                  </a:cubicBezTo>
                  <a:cubicBezTo>
                    <a:pt x="6" y="58"/>
                    <a:pt x="5" y="64"/>
                    <a:pt x="5" y="64"/>
                  </a:cubicBezTo>
                  <a:cubicBezTo>
                    <a:pt x="5" y="65"/>
                    <a:pt x="5" y="65"/>
                    <a:pt x="3" y="67"/>
                  </a:cubicBezTo>
                  <a:cubicBezTo>
                    <a:pt x="2" y="69"/>
                    <a:pt x="0" y="71"/>
                    <a:pt x="0" y="71"/>
                  </a:cubicBezTo>
                  <a:cubicBezTo>
                    <a:pt x="0" y="72"/>
                    <a:pt x="0" y="75"/>
                    <a:pt x="0" y="75"/>
                  </a:cubicBezTo>
                  <a:cubicBezTo>
                    <a:pt x="0" y="75"/>
                    <a:pt x="1" y="83"/>
                    <a:pt x="2" y="84"/>
                  </a:cubicBezTo>
                  <a:cubicBezTo>
                    <a:pt x="3" y="86"/>
                    <a:pt x="3" y="89"/>
                    <a:pt x="3" y="89"/>
                  </a:cubicBezTo>
                  <a:cubicBezTo>
                    <a:pt x="1" y="92"/>
                    <a:pt x="1" y="92"/>
                    <a:pt x="1" y="92"/>
                  </a:cubicBezTo>
                  <a:cubicBezTo>
                    <a:pt x="1" y="95"/>
                    <a:pt x="3" y="100"/>
                    <a:pt x="3" y="101"/>
                  </a:cubicBezTo>
                  <a:cubicBezTo>
                    <a:pt x="4" y="101"/>
                    <a:pt x="4" y="101"/>
                    <a:pt x="4" y="101"/>
                  </a:cubicBezTo>
                  <a:cubicBezTo>
                    <a:pt x="4" y="100"/>
                    <a:pt x="6" y="100"/>
                    <a:pt x="6" y="99"/>
                  </a:cubicBezTo>
                  <a:cubicBezTo>
                    <a:pt x="6" y="99"/>
                    <a:pt x="7" y="99"/>
                    <a:pt x="8" y="99"/>
                  </a:cubicBezTo>
                  <a:cubicBezTo>
                    <a:pt x="8" y="95"/>
                    <a:pt x="8" y="95"/>
                    <a:pt x="8" y="95"/>
                  </a:cubicBezTo>
                  <a:cubicBezTo>
                    <a:pt x="10" y="92"/>
                    <a:pt x="10" y="92"/>
                    <a:pt x="10" y="92"/>
                  </a:cubicBezTo>
                  <a:cubicBezTo>
                    <a:pt x="13" y="91"/>
                    <a:pt x="13" y="91"/>
                    <a:pt x="13" y="91"/>
                  </a:cubicBezTo>
                  <a:cubicBezTo>
                    <a:pt x="15" y="87"/>
                    <a:pt x="15" y="87"/>
                    <a:pt x="15" y="87"/>
                  </a:cubicBezTo>
                  <a:cubicBezTo>
                    <a:pt x="19" y="87"/>
                    <a:pt x="19" y="87"/>
                    <a:pt x="19" y="87"/>
                  </a:cubicBezTo>
                  <a:cubicBezTo>
                    <a:pt x="23" y="84"/>
                    <a:pt x="23" y="84"/>
                    <a:pt x="23" y="84"/>
                  </a:cubicBezTo>
                  <a:cubicBezTo>
                    <a:pt x="26" y="81"/>
                    <a:pt x="26" y="81"/>
                    <a:pt x="26" y="81"/>
                  </a:cubicBezTo>
                  <a:cubicBezTo>
                    <a:pt x="32" y="81"/>
                    <a:pt x="32" y="81"/>
                    <a:pt x="32" y="81"/>
                  </a:cubicBezTo>
                  <a:cubicBezTo>
                    <a:pt x="33" y="81"/>
                    <a:pt x="34" y="81"/>
                    <a:pt x="37" y="80"/>
                  </a:cubicBezTo>
                  <a:cubicBezTo>
                    <a:pt x="37" y="80"/>
                    <a:pt x="41" y="79"/>
                    <a:pt x="43" y="79"/>
                  </a:cubicBezTo>
                  <a:cubicBezTo>
                    <a:pt x="46" y="76"/>
                    <a:pt x="46" y="76"/>
                    <a:pt x="46" y="76"/>
                  </a:cubicBezTo>
                  <a:cubicBezTo>
                    <a:pt x="47" y="77"/>
                    <a:pt x="47" y="77"/>
                    <a:pt x="47" y="77"/>
                  </a:cubicBezTo>
                  <a:cubicBezTo>
                    <a:pt x="48" y="77"/>
                    <a:pt x="51" y="78"/>
                    <a:pt x="51" y="79"/>
                  </a:cubicBezTo>
                  <a:cubicBezTo>
                    <a:pt x="52" y="80"/>
                    <a:pt x="52" y="80"/>
                    <a:pt x="52" y="80"/>
                  </a:cubicBezTo>
                  <a:cubicBezTo>
                    <a:pt x="52" y="80"/>
                    <a:pt x="53" y="79"/>
                    <a:pt x="53" y="79"/>
                  </a:cubicBezTo>
                  <a:cubicBezTo>
                    <a:pt x="53" y="78"/>
                    <a:pt x="53" y="78"/>
                    <a:pt x="53" y="78"/>
                  </a:cubicBezTo>
                  <a:cubicBezTo>
                    <a:pt x="62" y="76"/>
                    <a:pt x="62" y="76"/>
                    <a:pt x="62" y="76"/>
                  </a:cubicBezTo>
                  <a:cubicBezTo>
                    <a:pt x="63" y="76"/>
                    <a:pt x="64" y="75"/>
                    <a:pt x="65" y="75"/>
                  </a:cubicBezTo>
                  <a:cubicBezTo>
                    <a:pt x="65" y="75"/>
                    <a:pt x="65" y="75"/>
                    <a:pt x="65" y="75"/>
                  </a:cubicBezTo>
                  <a:cubicBezTo>
                    <a:pt x="65" y="75"/>
                    <a:pt x="65" y="75"/>
                    <a:pt x="65" y="75"/>
                  </a:cubicBezTo>
                  <a:cubicBezTo>
                    <a:pt x="66" y="75"/>
                    <a:pt x="68" y="76"/>
                    <a:pt x="71" y="76"/>
                  </a:cubicBezTo>
                  <a:cubicBezTo>
                    <a:pt x="75" y="76"/>
                    <a:pt x="75" y="76"/>
                    <a:pt x="75" y="76"/>
                  </a:cubicBezTo>
                  <a:cubicBezTo>
                    <a:pt x="75" y="76"/>
                    <a:pt x="75" y="76"/>
                    <a:pt x="75" y="76"/>
                  </a:cubicBezTo>
                  <a:cubicBezTo>
                    <a:pt x="77" y="77"/>
                    <a:pt x="77" y="77"/>
                    <a:pt x="78" y="77"/>
                  </a:cubicBezTo>
                  <a:cubicBezTo>
                    <a:pt x="78" y="76"/>
                    <a:pt x="79" y="75"/>
                    <a:pt x="80" y="74"/>
                  </a:cubicBezTo>
                  <a:cubicBezTo>
                    <a:pt x="80" y="73"/>
                    <a:pt x="80" y="73"/>
                    <a:pt x="80" y="73"/>
                  </a:cubicBezTo>
                  <a:cubicBezTo>
                    <a:pt x="85" y="74"/>
                    <a:pt x="85" y="74"/>
                    <a:pt x="85" y="74"/>
                  </a:cubicBezTo>
                  <a:cubicBezTo>
                    <a:pt x="85" y="74"/>
                    <a:pt x="85" y="74"/>
                    <a:pt x="85" y="74"/>
                  </a:cubicBezTo>
                  <a:cubicBezTo>
                    <a:pt x="88" y="69"/>
                    <a:pt x="88" y="68"/>
                    <a:pt x="89" y="68"/>
                  </a:cubicBezTo>
                  <a:cubicBezTo>
                    <a:pt x="89" y="68"/>
                    <a:pt x="92" y="66"/>
                    <a:pt x="92" y="66"/>
                  </a:cubicBezTo>
                  <a:cubicBezTo>
                    <a:pt x="94" y="65"/>
                    <a:pt x="94" y="65"/>
                    <a:pt x="94" y="65"/>
                  </a:cubicBezTo>
                  <a:cubicBezTo>
                    <a:pt x="97" y="71"/>
                    <a:pt x="97" y="71"/>
                    <a:pt x="97" y="71"/>
                  </a:cubicBezTo>
                  <a:cubicBezTo>
                    <a:pt x="101" y="74"/>
                    <a:pt x="101" y="74"/>
                    <a:pt x="101" y="74"/>
                  </a:cubicBezTo>
                  <a:cubicBezTo>
                    <a:pt x="103" y="76"/>
                    <a:pt x="103" y="76"/>
                    <a:pt x="103" y="76"/>
                  </a:cubicBezTo>
                  <a:cubicBezTo>
                    <a:pt x="107" y="74"/>
                    <a:pt x="107" y="74"/>
                    <a:pt x="107" y="74"/>
                  </a:cubicBezTo>
                  <a:cubicBezTo>
                    <a:pt x="114" y="74"/>
                    <a:pt x="114" y="74"/>
                    <a:pt x="114" y="74"/>
                  </a:cubicBezTo>
                  <a:cubicBezTo>
                    <a:pt x="116" y="76"/>
                    <a:pt x="116" y="76"/>
                    <a:pt x="116" y="76"/>
                  </a:cubicBezTo>
                  <a:cubicBezTo>
                    <a:pt x="118" y="76"/>
                    <a:pt x="118" y="76"/>
                    <a:pt x="118" y="76"/>
                  </a:cubicBezTo>
                  <a:cubicBezTo>
                    <a:pt x="122" y="77"/>
                    <a:pt x="122" y="77"/>
                    <a:pt x="122" y="77"/>
                  </a:cubicBezTo>
                  <a:cubicBezTo>
                    <a:pt x="124" y="80"/>
                    <a:pt x="124" y="80"/>
                    <a:pt x="124" y="80"/>
                  </a:cubicBezTo>
                  <a:cubicBezTo>
                    <a:pt x="127" y="80"/>
                    <a:pt x="127" y="80"/>
                    <a:pt x="127" y="80"/>
                  </a:cubicBezTo>
                  <a:cubicBezTo>
                    <a:pt x="130" y="84"/>
                    <a:pt x="130" y="84"/>
                    <a:pt x="130" y="84"/>
                  </a:cubicBezTo>
                  <a:cubicBezTo>
                    <a:pt x="132" y="84"/>
                    <a:pt x="132" y="84"/>
                    <a:pt x="132" y="84"/>
                  </a:cubicBezTo>
                  <a:cubicBezTo>
                    <a:pt x="133" y="87"/>
                    <a:pt x="133" y="87"/>
                    <a:pt x="133" y="87"/>
                  </a:cubicBezTo>
                  <a:cubicBezTo>
                    <a:pt x="141" y="88"/>
                    <a:pt x="141" y="88"/>
                    <a:pt x="141" y="88"/>
                  </a:cubicBezTo>
                  <a:cubicBezTo>
                    <a:pt x="141" y="88"/>
                    <a:pt x="142" y="87"/>
                    <a:pt x="143" y="87"/>
                  </a:cubicBezTo>
                  <a:cubicBezTo>
                    <a:pt x="144" y="86"/>
                    <a:pt x="145" y="86"/>
                    <a:pt x="146" y="86"/>
                  </a:cubicBezTo>
                  <a:cubicBezTo>
                    <a:pt x="147" y="82"/>
                    <a:pt x="147" y="82"/>
                    <a:pt x="147" y="82"/>
                  </a:cubicBezTo>
                  <a:cubicBezTo>
                    <a:pt x="149" y="80"/>
                    <a:pt x="149" y="80"/>
                    <a:pt x="149" y="80"/>
                  </a:cubicBezTo>
                  <a:cubicBezTo>
                    <a:pt x="149" y="79"/>
                    <a:pt x="151" y="78"/>
                    <a:pt x="153" y="78"/>
                  </a:cubicBezTo>
                  <a:cubicBezTo>
                    <a:pt x="155" y="78"/>
                    <a:pt x="155" y="78"/>
                    <a:pt x="155" y="78"/>
                  </a:cubicBezTo>
                  <a:cubicBezTo>
                    <a:pt x="157" y="78"/>
                    <a:pt x="157" y="78"/>
                    <a:pt x="157" y="78"/>
                  </a:cubicBezTo>
                  <a:cubicBezTo>
                    <a:pt x="158" y="78"/>
                    <a:pt x="158" y="78"/>
                    <a:pt x="158" y="78"/>
                  </a:cubicBezTo>
                  <a:cubicBezTo>
                    <a:pt x="163" y="78"/>
                    <a:pt x="163" y="78"/>
                    <a:pt x="163" y="78"/>
                  </a:cubicBezTo>
                  <a:cubicBezTo>
                    <a:pt x="163" y="78"/>
                    <a:pt x="163" y="78"/>
                    <a:pt x="163" y="78"/>
                  </a:cubicBezTo>
                  <a:cubicBezTo>
                    <a:pt x="162" y="74"/>
                    <a:pt x="162" y="74"/>
                    <a:pt x="162" y="74"/>
                  </a:cubicBezTo>
                  <a:cubicBezTo>
                    <a:pt x="166" y="69"/>
                    <a:pt x="166" y="69"/>
                    <a:pt x="166" y="69"/>
                  </a:cubicBezTo>
                  <a:cubicBezTo>
                    <a:pt x="167" y="63"/>
                    <a:pt x="167" y="63"/>
                    <a:pt x="167" y="63"/>
                  </a:cubicBezTo>
                  <a:cubicBezTo>
                    <a:pt x="171" y="61"/>
                    <a:pt x="171" y="61"/>
                    <a:pt x="171" y="61"/>
                  </a:cubicBezTo>
                  <a:cubicBezTo>
                    <a:pt x="171" y="60"/>
                    <a:pt x="171" y="59"/>
                    <a:pt x="171" y="58"/>
                  </a:cubicBezTo>
                  <a:close/>
                </a:path>
              </a:pathLst>
            </a:custGeom>
            <a:solidFill>
              <a:schemeClr val="accent6">
                <a:lumMod val="75000"/>
              </a:schemeClr>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2" name="Freeform 235"/>
            <p:cNvSpPr>
              <a:spLocks/>
            </p:cNvSpPr>
            <p:nvPr/>
          </p:nvSpPr>
          <p:spPr bwMode="auto">
            <a:xfrm>
              <a:off x="6462066" y="3383276"/>
              <a:ext cx="657087" cy="580041"/>
            </a:xfrm>
            <a:custGeom>
              <a:avLst/>
              <a:gdLst>
                <a:gd name="T0" fmla="*/ 21 w 227"/>
                <a:gd name="T1" fmla="*/ 158 h 212"/>
                <a:gd name="T2" fmla="*/ 20 w 227"/>
                <a:gd name="T3" fmla="*/ 168 h 212"/>
                <a:gd name="T4" fmla="*/ 10 w 227"/>
                <a:gd name="T5" fmla="*/ 180 h 212"/>
                <a:gd name="T6" fmla="*/ 14 w 227"/>
                <a:gd name="T7" fmla="*/ 190 h 212"/>
                <a:gd name="T8" fmla="*/ 21 w 227"/>
                <a:gd name="T9" fmla="*/ 199 h 212"/>
                <a:gd name="T10" fmla="*/ 21 w 227"/>
                <a:gd name="T11" fmla="*/ 212 h 212"/>
                <a:gd name="T12" fmla="*/ 32 w 227"/>
                <a:gd name="T13" fmla="*/ 209 h 212"/>
                <a:gd name="T14" fmla="*/ 37 w 227"/>
                <a:gd name="T15" fmla="*/ 201 h 212"/>
                <a:gd name="T16" fmla="*/ 60 w 227"/>
                <a:gd name="T17" fmla="*/ 190 h 212"/>
                <a:gd name="T18" fmla="*/ 95 w 227"/>
                <a:gd name="T19" fmla="*/ 188 h 212"/>
                <a:gd name="T20" fmla="*/ 112 w 227"/>
                <a:gd name="T21" fmla="*/ 188 h 212"/>
                <a:gd name="T22" fmla="*/ 121 w 227"/>
                <a:gd name="T23" fmla="*/ 190 h 212"/>
                <a:gd name="T24" fmla="*/ 130 w 227"/>
                <a:gd name="T25" fmla="*/ 189 h 212"/>
                <a:gd name="T26" fmla="*/ 145 w 227"/>
                <a:gd name="T27" fmla="*/ 187 h 212"/>
                <a:gd name="T28" fmla="*/ 164 w 227"/>
                <a:gd name="T29" fmla="*/ 180 h 212"/>
                <a:gd name="T30" fmla="*/ 175 w 227"/>
                <a:gd name="T31" fmla="*/ 184 h 212"/>
                <a:gd name="T32" fmla="*/ 191 w 227"/>
                <a:gd name="T33" fmla="*/ 177 h 212"/>
                <a:gd name="T34" fmla="*/ 203 w 227"/>
                <a:gd name="T35" fmla="*/ 182 h 212"/>
                <a:gd name="T36" fmla="*/ 202 w 227"/>
                <a:gd name="T37" fmla="*/ 143 h 212"/>
                <a:gd name="T38" fmla="*/ 218 w 227"/>
                <a:gd name="T39" fmla="*/ 137 h 212"/>
                <a:gd name="T40" fmla="*/ 213 w 227"/>
                <a:gd name="T41" fmla="*/ 130 h 212"/>
                <a:gd name="T42" fmla="*/ 206 w 227"/>
                <a:gd name="T43" fmla="*/ 118 h 212"/>
                <a:gd name="T44" fmla="*/ 201 w 227"/>
                <a:gd name="T45" fmla="*/ 111 h 212"/>
                <a:gd name="T46" fmla="*/ 203 w 227"/>
                <a:gd name="T47" fmla="*/ 94 h 212"/>
                <a:gd name="T48" fmla="*/ 217 w 227"/>
                <a:gd name="T49" fmla="*/ 93 h 212"/>
                <a:gd name="T50" fmla="*/ 227 w 227"/>
                <a:gd name="T51" fmla="*/ 82 h 212"/>
                <a:gd name="T52" fmla="*/ 216 w 227"/>
                <a:gd name="T53" fmla="*/ 73 h 212"/>
                <a:gd name="T54" fmla="*/ 208 w 227"/>
                <a:gd name="T55" fmla="*/ 70 h 212"/>
                <a:gd name="T56" fmla="*/ 196 w 227"/>
                <a:gd name="T57" fmla="*/ 61 h 212"/>
                <a:gd name="T58" fmla="*/ 179 w 227"/>
                <a:gd name="T59" fmla="*/ 50 h 212"/>
                <a:gd name="T60" fmla="*/ 174 w 227"/>
                <a:gd name="T61" fmla="*/ 43 h 212"/>
                <a:gd name="T62" fmla="*/ 164 w 227"/>
                <a:gd name="T63" fmla="*/ 29 h 212"/>
                <a:gd name="T64" fmla="*/ 158 w 227"/>
                <a:gd name="T65" fmla="*/ 15 h 212"/>
                <a:gd name="T66" fmla="*/ 154 w 227"/>
                <a:gd name="T67" fmla="*/ 6 h 212"/>
                <a:gd name="T68" fmla="*/ 136 w 227"/>
                <a:gd name="T69" fmla="*/ 2 h 212"/>
                <a:gd name="T70" fmla="*/ 124 w 227"/>
                <a:gd name="T71" fmla="*/ 11 h 212"/>
                <a:gd name="T72" fmla="*/ 119 w 227"/>
                <a:gd name="T73" fmla="*/ 7 h 212"/>
                <a:gd name="T74" fmla="*/ 108 w 227"/>
                <a:gd name="T75" fmla="*/ 5 h 212"/>
                <a:gd name="T76" fmla="*/ 97 w 227"/>
                <a:gd name="T77" fmla="*/ 2 h 212"/>
                <a:gd name="T78" fmla="*/ 92 w 227"/>
                <a:gd name="T79" fmla="*/ 4 h 212"/>
                <a:gd name="T80" fmla="*/ 86 w 227"/>
                <a:gd name="T81" fmla="*/ 1 h 212"/>
                <a:gd name="T82" fmla="*/ 79 w 227"/>
                <a:gd name="T83" fmla="*/ 11 h 212"/>
                <a:gd name="T84" fmla="*/ 69 w 227"/>
                <a:gd name="T85" fmla="*/ 18 h 212"/>
                <a:gd name="T86" fmla="*/ 59 w 227"/>
                <a:gd name="T87" fmla="*/ 26 h 212"/>
                <a:gd name="T88" fmla="*/ 57 w 227"/>
                <a:gd name="T89" fmla="*/ 42 h 212"/>
                <a:gd name="T90" fmla="*/ 63 w 227"/>
                <a:gd name="T91" fmla="*/ 47 h 212"/>
                <a:gd name="T92" fmla="*/ 54 w 227"/>
                <a:gd name="T93" fmla="*/ 59 h 212"/>
                <a:gd name="T94" fmla="*/ 45 w 227"/>
                <a:gd name="T95" fmla="*/ 70 h 212"/>
                <a:gd name="T96" fmla="*/ 47 w 227"/>
                <a:gd name="T97" fmla="*/ 89 h 212"/>
                <a:gd name="T98" fmla="*/ 46 w 227"/>
                <a:gd name="T99" fmla="*/ 96 h 212"/>
                <a:gd name="T100" fmla="*/ 37 w 227"/>
                <a:gd name="T101" fmla="*/ 96 h 212"/>
                <a:gd name="T102" fmla="*/ 29 w 227"/>
                <a:gd name="T103" fmla="*/ 102 h 212"/>
                <a:gd name="T104" fmla="*/ 18 w 227"/>
                <a:gd name="T105" fmla="*/ 113 h 212"/>
                <a:gd name="T106" fmla="*/ 1 w 227"/>
                <a:gd name="T107" fmla="*/ 11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7" h="212">
                  <a:moveTo>
                    <a:pt x="11" y="138"/>
                  </a:moveTo>
                  <a:cubicBezTo>
                    <a:pt x="17" y="147"/>
                    <a:pt x="17" y="147"/>
                    <a:pt x="17" y="147"/>
                  </a:cubicBezTo>
                  <a:cubicBezTo>
                    <a:pt x="18" y="153"/>
                    <a:pt x="18" y="153"/>
                    <a:pt x="18" y="153"/>
                  </a:cubicBezTo>
                  <a:cubicBezTo>
                    <a:pt x="19" y="155"/>
                    <a:pt x="20" y="157"/>
                    <a:pt x="21" y="158"/>
                  </a:cubicBezTo>
                  <a:cubicBezTo>
                    <a:pt x="21" y="158"/>
                    <a:pt x="21" y="159"/>
                    <a:pt x="21" y="160"/>
                  </a:cubicBezTo>
                  <a:cubicBezTo>
                    <a:pt x="21" y="161"/>
                    <a:pt x="21" y="161"/>
                    <a:pt x="21" y="162"/>
                  </a:cubicBezTo>
                  <a:cubicBezTo>
                    <a:pt x="21" y="162"/>
                    <a:pt x="21" y="162"/>
                    <a:pt x="21" y="162"/>
                  </a:cubicBezTo>
                  <a:cubicBezTo>
                    <a:pt x="22" y="165"/>
                    <a:pt x="22" y="167"/>
                    <a:pt x="20" y="168"/>
                  </a:cubicBezTo>
                  <a:cubicBezTo>
                    <a:pt x="20" y="169"/>
                    <a:pt x="19" y="171"/>
                    <a:pt x="17" y="173"/>
                  </a:cubicBezTo>
                  <a:cubicBezTo>
                    <a:pt x="17" y="173"/>
                    <a:pt x="17" y="173"/>
                    <a:pt x="17" y="173"/>
                  </a:cubicBezTo>
                  <a:cubicBezTo>
                    <a:pt x="13" y="175"/>
                    <a:pt x="13" y="175"/>
                    <a:pt x="13" y="175"/>
                  </a:cubicBezTo>
                  <a:cubicBezTo>
                    <a:pt x="10" y="180"/>
                    <a:pt x="10" y="180"/>
                    <a:pt x="10" y="180"/>
                  </a:cubicBezTo>
                  <a:cubicBezTo>
                    <a:pt x="7" y="187"/>
                    <a:pt x="7" y="187"/>
                    <a:pt x="7" y="187"/>
                  </a:cubicBezTo>
                  <a:cubicBezTo>
                    <a:pt x="7" y="189"/>
                    <a:pt x="7" y="189"/>
                    <a:pt x="7" y="189"/>
                  </a:cubicBezTo>
                  <a:cubicBezTo>
                    <a:pt x="7" y="189"/>
                    <a:pt x="7" y="189"/>
                    <a:pt x="7" y="189"/>
                  </a:cubicBezTo>
                  <a:cubicBezTo>
                    <a:pt x="8" y="189"/>
                    <a:pt x="14" y="190"/>
                    <a:pt x="14" y="190"/>
                  </a:cubicBezTo>
                  <a:cubicBezTo>
                    <a:pt x="14" y="190"/>
                    <a:pt x="14" y="190"/>
                    <a:pt x="14" y="190"/>
                  </a:cubicBezTo>
                  <a:cubicBezTo>
                    <a:pt x="20" y="193"/>
                    <a:pt x="20" y="193"/>
                    <a:pt x="20" y="193"/>
                  </a:cubicBezTo>
                  <a:cubicBezTo>
                    <a:pt x="21" y="198"/>
                    <a:pt x="21" y="198"/>
                    <a:pt x="21" y="198"/>
                  </a:cubicBezTo>
                  <a:cubicBezTo>
                    <a:pt x="21" y="199"/>
                    <a:pt x="21" y="199"/>
                    <a:pt x="21" y="199"/>
                  </a:cubicBezTo>
                  <a:cubicBezTo>
                    <a:pt x="21" y="205"/>
                    <a:pt x="21" y="205"/>
                    <a:pt x="21" y="206"/>
                  </a:cubicBezTo>
                  <a:cubicBezTo>
                    <a:pt x="21" y="206"/>
                    <a:pt x="21" y="210"/>
                    <a:pt x="21" y="211"/>
                  </a:cubicBezTo>
                  <a:cubicBezTo>
                    <a:pt x="21" y="211"/>
                    <a:pt x="21" y="211"/>
                    <a:pt x="21" y="211"/>
                  </a:cubicBezTo>
                  <a:cubicBezTo>
                    <a:pt x="21" y="211"/>
                    <a:pt x="21" y="212"/>
                    <a:pt x="21" y="212"/>
                  </a:cubicBezTo>
                  <a:cubicBezTo>
                    <a:pt x="24" y="210"/>
                    <a:pt x="24" y="210"/>
                    <a:pt x="24" y="210"/>
                  </a:cubicBezTo>
                  <a:cubicBezTo>
                    <a:pt x="25" y="211"/>
                    <a:pt x="25" y="211"/>
                    <a:pt x="25" y="211"/>
                  </a:cubicBezTo>
                  <a:cubicBezTo>
                    <a:pt x="25" y="211"/>
                    <a:pt x="27" y="211"/>
                    <a:pt x="29" y="212"/>
                  </a:cubicBezTo>
                  <a:cubicBezTo>
                    <a:pt x="30" y="210"/>
                    <a:pt x="31" y="209"/>
                    <a:pt x="32" y="209"/>
                  </a:cubicBezTo>
                  <a:cubicBezTo>
                    <a:pt x="32" y="209"/>
                    <a:pt x="32" y="209"/>
                    <a:pt x="32" y="210"/>
                  </a:cubicBezTo>
                  <a:cubicBezTo>
                    <a:pt x="33" y="209"/>
                    <a:pt x="34" y="206"/>
                    <a:pt x="34" y="206"/>
                  </a:cubicBezTo>
                  <a:cubicBezTo>
                    <a:pt x="35" y="203"/>
                    <a:pt x="35" y="203"/>
                    <a:pt x="35" y="203"/>
                  </a:cubicBezTo>
                  <a:cubicBezTo>
                    <a:pt x="37" y="201"/>
                    <a:pt x="37" y="201"/>
                    <a:pt x="37" y="201"/>
                  </a:cubicBezTo>
                  <a:cubicBezTo>
                    <a:pt x="37" y="199"/>
                    <a:pt x="37" y="199"/>
                    <a:pt x="37" y="199"/>
                  </a:cubicBezTo>
                  <a:cubicBezTo>
                    <a:pt x="42" y="196"/>
                    <a:pt x="42" y="196"/>
                    <a:pt x="42" y="196"/>
                  </a:cubicBezTo>
                  <a:cubicBezTo>
                    <a:pt x="54" y="194"/>
                    <a:pt x="54" y="194"/>
                    <a:pt x="54" y="194"/>
                  </a:cubicBezTo>
                  <a:cubicBezTo>
                    <a:pt x="60" y="190"/>
                    <a:pt x="60" y="190"/>
                    <a:pt x="60" y="190"/>
                  </a:cubicBezTo>
                  <a:cubicBezTo>
                    <a:pt x="68" y="191"/>
                    <a:pt x="68" y="191"/>
                    <a:pt x="68" y="191"/>
                  </a:cubicBezTo>
                  <a:cubicBezTo>
                    <a:pt x="88" y="190"/>
                    <a:pt x="88" y="190"/>
                    <a:pt x="88" y="190"/>
                  </a:cubicBezTo>
                  <a:cubicBezTo>
                    <a:pt x="95" y="188"/>
                    <a:pt x="95" y="188"/>
                    <a:pt x="95" y="188"/>
                  </a:cubicBezTo>
                  <a:cubicBezTo>
                    <a:pt x="95" y="188"/>
                    <a:pt x="95" y="188"/>
                    <a:pt x="95" y="188"/>
                  </a:cubicBezTo>
                  <a:cubicBezTo>
                    <a:pt x="95" y="188"/>
                    <a:pt x="96" y="188"/>
                    <a:pt x="96" y="188"/>
                  </a:cubicBezTo>
                  <a:cubicBezTo>
                    <a:pt x="97" y="189"/>
                    <a:pt x="100" y="189"/>
                    <a:pt x="101" y="189"/>
                  </a:cubicBezTo>
                  <a:cubicBezTo>
                    <a:pt x="103" y="189"/>
                    <a:pt x="111" y="188"/>
                    <a:pt x="112" y="188"/>
                  </a:cubicBezTo>
                  <a:cubicBezTo>
                    <a:pt x="112" y="188"/>
                    <a:pt x="112" y="188"/>
                    <a:pt x="112" y="188"/>
                  </a:cubicBezTo>
                  <a:cubicBezTo>
                    <a:pt x="116" y="191"/>
                    <a:pt x="116" y="191"/>
                    <a:pt x="116" y="191"/>
                  </a:cubicBezTo>
                  <a:cubicBezTo>
                    <a:pt x="118" y="193"/>
                    <a:pt x="118" y="193"/>
                    <a:pt x="118" y="193"/>
                  </a:cubicBezTo>
                  <a:cubicBezTo>
                    <a:pt x="119" y="192"/>
                    <a:pt x="120" y="191"/>
                    <a:pt x="121" y="190"/>
                  </a:cubicBezTo>
                  <a:cubicBezTo>
                    <a:pt x="121" y="190"/>
                    <a:pt x="121" y="190"/>
                    <a:pt x="121" y="190"/>
                  </a:cubicBezTo>
                  <a:cubicBezTo>
                    <a:pt x="122" y="190"/>
                    <a:pt x="122" y="190"/>
                    <a:pt x="122" y="190"/>
                  </a:cubicBezTo>
                  <a:cubicBezTo>
                    <a:pt x="124" y="190"/>
                    <a:pt x="127" y="192"/>
                    <a:pt x="127" y="192"/>
                  </a:cubicBezTo>
                  <a:cubicBezTo>
                    <a:pt x="129" y="193"/>
                    <a:pt x="129" y="193"/>
                    <a:pt x="129" y="193"/>
                  </a:cubicBezTo>
                  <a:cubicBezTo>
                    <a:pt x="130" y="189"/>
                    <a:pt x="130" y="189"/>
                    <a:pt x="130" y="189"/>
                  </a:cubicBezTo>
                  <a:cubicBezTo>
                    <a:pt x="135" y="190"/>
                    <a:pt x="135" y="190"/>
                    <a:pt x="135" y="190"/>
                  </a:cubicBezTo>
                  <a:cubicBezTo>
                    <a:pt x="140" y="185"/>
                    <a:pt x="140" y="185"/>
                    <a:pt x="140" y="185"/>
                  </a:cubicBezTo>
                  <a:cubicBezTo>
                    <a:pt x="143" y="186"/>
                    <a:pt x="143" y="186"/>
                    <a:pt x="143" y="186"/>
                  </a:cubicBezTo>
                  <a:cubicBezTo>
                    <a:pt x="145" y="187"/>
                    <a:pt x="145" y="187"/>
                    <a:pt x="145" y="187"/>
                  </a:cubicBezTo>
                  <a:cubicBezTo>
                    <a:pt x="149" y="184"/>
                    <a:pt x="149" y="184"/>
                    <a:pt x="149" y="184"/>
                  </a:cubicBezTo>
                  <a:cubicBezTo>
                    <a:pt x="153" y="187"/>
                    <a:pt x="153" y="187"/>
                    <a:pt x="153" y="187"/>
                  </a:cubicBezTo>
                  <a:cubicBezTo>
                    <a:pt x="153" y="185"/>
                    <a:pt x="155" y="184"/>
                    <a:pt x="158" y="183"/>
                  </a:cubicBezTo>
                  <a:cubicBezTo>
                    <a:pt x="159" y="182"/>
                    <a:pt x="162" y="180"/>
                    <a:pt x="164" y="180"/>
                  </a:cubicBezTo>
                  <a:cubicBezTo>
                    <a:pt x="166" y="180"/>
                    <a:pt x="168" y="181"/>
                    <a:pt x="168" y="182"/>
                  </a:cubicBezTo>
                  <a:cubicBezTo>
                    <a:pt x="169" y="183"/>
                    <a:pt x="170" y="183"/>
                    <a:pt x="171" y="185"/>
                  </a:cubicBezTo>
                  <a:cubicBezTo>
                    <a:pt x="172" y="186"/>
                    <a:pt x="172" y="186"/>
                    <a:pt x="172" y="186"/>
                  </a:cubicBezTo>
                  <a:cubicBezTo>
                    <a:pt x="175" y="184"/>
                    <a:pt x="175" y="184"/>
                    <a:pt x="175" y="184"/>
                  </a:cubicBezTo>
                  <a:cubicBezTo>
                    <a:pt x="177" y="181"/>
                    <a:pt x="177" y="181"/>
                    <a:pt x="177" y="181"/>
                  </a:cubicBezTo>
                  <a:cubicBezTo>
                    <a:pt x="180" y="181"/>
                    <a:pt x="180" y="181"/>
                    <a:pt x="180" y="181"/>
                  </a:cubicBezTo>
                  <a:cubicBezTo>
                    <a:pt x="184" y="179"/>
                    <a:pt x="184" y="179"/>
                    <a:pt x="184" y="179"/>
                  </a:cubicBezTo>
                  <a:cubicBezTo>
                    <a:pt x="191" y="177"/>
                    <a:pt x="191" y="177"/>
                    <a:pt x="191" y="177"/>
                  </a:cubicBezTo>
                  <a:cubicBezTo>
                    <a:pt x="197" y="179"/>
                    <a:pt x="197" y="179"/>
                    <a:pt x="197" y="179"/>
                  </a:cubicBezTo>
                  <a:cubicBezTo>
                    <a:pt x="200" y="183"/>
                    <a:pt x="200" y="183"/>
                    <a:pt x="200" y="183"/>
                  </a:cubicBezTo>
                  <a:cubicBezTo>
                    <a:pt x="202" y="183"/>
                    <a:pt x="202" y="183"/>
                    <a:pt x="202" y="183"/>
                  </a:cubicBezTo>
                  <a:cubicBezTo>
                    <a:pt x="203" y="182"/>
                    <a:pt x="203" y="182"/>
                    <a:pt x="203" y="182"/>
                  </a:cubicBezTo>
                  <a:cubicBezTo>
                    <a:pt x="201" y="179"/>
                    <a:pt x="201" y="179"/>
                    <a:pt x="201" y="179"/>
                  </a:cubicBezTo>
                  <a:cubicBezTo>
                    <a:pt x="196" y="168"/>
                    <a:pt x="196" y="168"/>
                    <a:pt x="196" y="168"/>
                  </a:cubicBezTo>
                  <a:cubicBezTo>
                    <a:pt x="201" y="153"/>
                    <a:pt x="201" y="153"/>
                    <a:pt x="201" y="153"/>
                  </a:cubicBezTo>
                  <a:cubicBezTo>
                    <a:pt x="202" y="143"/>
                    <a:pt x="202" y="143"/>
                    <a:pt x="202" y="143"/>
                  </a:cubicBezTo>
                  <a:cubicBezTo>
                    <a:pt x="213" y="142"/>
                    <a:pt x="213" y="142"/>
                    <a:pt x="213" y="142"/>
                  </a:cubicBezTo>
                  <a:cubicBezTo>
                    <a:pt x="216" y="138"/>
                    <a:pt x="216" y="138"/>
                    <a:pt x="216" y="138"/>
                  </a:cubicBezTo>
                  <a:cubicBezTo>
                    <a:pt x="219" y="137"/>
                    <a:pt x="219" y="137"/>
                    <a:pt x="219" y="137"/>
                  </a:cubicBezTo>
                  <a:cubicBezTo>
                    <a:pt x="218" y="137"/>
                    <a:pt x="218" y="137"/>
                    <a:pt x="218" y="137"/>
                  </a:cubicBezTo>
                  <a:cubicBezTo>
                    <a:pt x="218" y="135"/>
                    <a:pt x="218" y="135"/>
                    <a:pt x="218" y="135"/>
                  </a:cubicBezTo>
                  <a:cubicBezTo>
                    <a:pt x="216" y="135"/>
                    <a:pt x="216" y="135"/>
                    <a:pt x="216" y="135"/>
                  </a:cubicBezTo>
                  <a:cubicBezTo>
                    <a:pt x="212" y="133"/>
                    <a:pt x="212" y="133"/>
                    <a:pt x="212" y="133"/>
                  </a:cubicBezTo>
                  <a:cubicBezTo>
                    <a:pt x="213" y="130"/>
                    <a:pt x="213" y="130"/>
                    <a:pt x="213" y="130"/>
                  </a:cubicBezTo>
                  <a:cubicBezTo>
                    <a:pt x="210" y="123"/>
                    <a:pt x="210" y="123"/>
                    <a:pt x="210" y="123"/>
                  </a:cubicBezTo>
                  <a:cubicBezTo>
                    <a:pt x="210" y="122"/>
                    <a:pt x="210" y="122"/>
                    <a:pt x="210" y="122"/>
                  </a:cubicBezTo>
                  <a:cubicBezTo>
                    <a:pt x="209" y="122"/>
                    <a:pt x="209" y="122"/>
                    <a:pt x="209" y="122"/>
                  </a:cubicBezTo>
                  <a:cubicBezTo>
                    <a:pt x="206" y="118"/>
                    <a:pt x="206" y="118"/>
                    <a:pt x="206" y="118"/>
                  </a:cubicBezTo>
                  <a:cubicBezTo>
                    <a:pt x="208" y="115"/>
                    <a:pt x="208" y="115"/>
                    <a:pt x="208" y="115"/>
                  </a:cubicBezTo>
                  <a:cubicBezTo>
                    <a:pt x="207" y="114"/>
                    <a:pt x="207" y="114"/>
                    <a:pt x="207" y="114"/>
                  </a:cubicBezTo>
                  <a:cubicBezTo>
                    <a:pt x="205" y="112"/>
                    <a:pt x="205" y="112"/>
                    <a:pt x="205" y="112"/>
                  </a:cubicBezTo>
                  <a:cubicBezTo>
                    <a:pt x="201" y="111"/>
                    <a:pt x="201" y="111"/>
                    <a:pt x="201" y="111"/>
                  </a:cubicBezTo>
                  <a:cubicBezTo>
                    <a:pt x="197" y="107"/>
                    <a:pt x="197" y="107"/>
                    <a:pt x="197" y="107"/>
                  </a:cubicBezTo>
                  <a:cubicBezTo>
                    <a:pt x="196" y="104"/>
                    <a:pt x="196" y="104"/>
                    <a:pt x="196" y="104"/>
                  </a:cubicBezTo>
                  <a:cubicBezTo>
                    <a:pt x="198" y="97"/>
                    <a:pt x="198" y="97"/>
                    <a:pt x="198" y="97"/>
                  </a:cubicBezTo>
                  <a:cubicBezTo>
                    <a:pt x="199" y="96"/>
                    <a:pt x="200" y="95"/>
                    <a:pt x="203" y="94"/>
                  </a:cubicBezTo>
                  <a:cubicBezTo>
                    <a:pt x="204" y="93"/>
                    <a:pt x="205" y="93"/>
                    <a:pt x="206" y="93"/>
                  </a:cubicBezTo>
                  <a:cubicBezTo>
                    <a:pt x="207" y="93"/>
                    <a:pt x="208" y="93"/>
                    <a:pt x="209" y="94"/>
                  </a:cubicBezTo>
                  <a:cubicBezTo>
                    <a:pt x="213" y="95"/>
                    <a:pt x="213" y="95"/>
                    <a:pt x="213" y="95"/>
                  </a:cubicBezTo>
                  <a:cubicBezTo>
                    <a:pt x="217" y="93"/>
                    <a:pt x="217" y="93"/>
                    <a:pt x="217" y="93"/>
                  </a:cubicBezTo>
                  <a:cubicBezTo>
                    <a:pt x="219" y="92"/>
                    <a:pt x="222" y="90"/>
                    <a:pt x="223" y="89"/>
                  </a:cubicBezTo>
                  <a:cubicBezTo>
                    <a:pt x="223" y="88"/>
                    <a:pt x="223" y="87"/>
                    <a:pt x="222" y="86"/>
                  </a:cubicBezTo>
                  <a:cubicBezTo>
                    <a:pt x="221" y="84"/>
                    <a:pt x="221" y="84"/>
                    <a:pt x="221" y="84"/>
                  </a:cubicBezTo>
                  <a:cubicBezTo>
                    <a:pt x="227" y="82"/>
                    <a:pt x="227" y="82"/>
                    <a:pt x="227" y="82"/>
                  </a:cubicBezTo>
                  <a:cubicBezTo>
                    <a:pt x="227" y="81"/>
                    <a:pt x="227" y="81"/>
                    <a:pt x="227" y="81"/>
                  </a:cubicBezTo>
                  <a:cubicBezTo>
                    <a:pt x="227" y="79"/>
                    <a:pt x="227" y="79"/>
                    <a:pt x="227" y="79"/>
                  </a:cubicBezTo>
                  <a:cubicBezTo>
                    <a:pt x="222" y="77"/>
                    <a:pt x="222" y="77"/>
                    <a:pt x="222" y="77"/>
                  </a:cubicBezTo>
                  <a:cubicBezTo>
                    <a:pt x="216" y="73"/>
                    <a:pt x="216" y="73"/>
                    <a:pt x="216" y="73"/>
                  </a:cubicBezTo>
                  <a:cubicBezTo>
                    <a:pt x="217" y="71"/>
                    <a:pt x="217" y="71"/>
                    <a:pt x="217" y="71"/>
                  </a:cubicBezTo>
                  <a:cubicBezTo>
                    <a:pt x="217" y="71"/>
                    <a:pt x="217" y="71"/>
                    <a:pt x="217" y="71"/>
                  </a:cubicBezTo>
                  <a:cubicBezTo>
                    <a:pt x="209" y="69"/>
                    <a:pt x="209" y="69"/>
                    <a:pt x="209" y="69"/>
                  </a:cubicBezTo>
                  <a:cubicBezTo>
                    <a:pt x="208" y="70"/>
                    <a:pt x="208" y="70"/>
                    <a:pt x="208" y="70"/>
                  </a:cubicBezTo>
                  <a:cubicBezTo>
                    <a:pt x="206" y="72"/>
                    <a:pt x="206" y="72"/>
                    <a:pt x="206" y="72"/>
                  </a:cubicBezTo>
                  <a:cubicBezTo>
                    <a:pt x="199" y="72"/>
                    <a:pt x="199" y="72"/>
                    <a:pt x="199" y="72"/>
                  </a:cubicBezTo>
                  <a:cubicBezTo>
                    <a:pt x="198" y="64"/>
                    <a:pt x="198" y="64"/>
                    <a:pt x="198" y="64"/>
                  </a:cubicBezTo>
                  <a:cubicBezTo>
                    <a:pt x="196" y="61"/>
                    <a:pt x="196" y="61"/>
                    <a:pt x="196" y="61"/>
                  </a:cubicBezTo>
                  <a:cubicBezTo>
                    <a:pt x="193" y="60"/>
                    <a:pt x="193" y="60"/>
                    <a:pt x="193" y="60"/>
                  </a:cubicBezTo>
                  <a:cubicBezTo>
                    <a:pt x="184" y="58"/>
                    <a:pt x="184" y="58"/>
                    <a:pt x="184" y="58"/>
                  </a:cubicBezTo>
                  <a:cubicBezTo>
                    <a:pt x="179" y="52"/>
                    <a:pt x="179" y="52"/>
                    <a:pt x="179" y="52"/>
                  </a:cubicBezTo>
                  <a:cubicBezTo>
                    <a:pt x="179" y="50"/>
                    <a:pt x="179" y="50"/>
                    <a:pt x="179" y="50"/>
                  </a:cubicBezTo>
                  <a:cubicBezTo>
                    <a:pt x="179" y="50"/>
                    <a:pt x="177" y="50"/>
                    <a:pt x="177" y="50"/>
                  </a:cubicBezTo>
                  <a:cubicBezTo>
                    <a:pt x="175" y="49"/>
                    <a:pt x="174" y="48"/>
                    <a:pt x="174" y="48"/>
                  </a:cubicBezTo>
                  <a:cubicBezTo>
                    <a:pt x="173" y="46"/>
                    <a:pt x="174" y="45"/>
                    <a:pt x="174" y="44"/>
                  </a:cubicBezTo>
                  <a:cubicBezTo>
                    <a:pt x="174" y="43"/>
                    <a:pt x="174" y="43"/>
                    <a:pt x="174" y="43"/>
                  </a:cubicBezTo>
                  <a:cubicBezTo>
                    <a:pt x="173" y="43"/>
                    <a:pt x="173" y="43"/>
                    <a:pt x="173" y="43"/>
                  </a:cubicBezTo>
                  <a:cubicBezTo>
                    <a:pt x="168" y="40"/>
                    <a:pt x="168" y="40"/>
                    <a:pt x="168" y="40"/>
                  </a:cubicBezTo>
                  <a:cubicBezTo>
                    <a:pt x="162" y="38"/>
                    <a:pt x="162" y="38"/>
                    <a:pt x="162" y="38"/>
                  </a:cubicBezTo>
                  <a:cubicBezTo>
                    <a:pt x="164" y="29"/>
                    <a:pt x="164" y="29"/>
                    <a:pt x="164" y="29"/>
                  </a:cubicBezTo>
                  <a:cubicBezTo>
                    <a:pt x="165" y="24"/>
                    <a:pt x="165" y="24"/>
                    <a:pt x="165" y="24"/>
                  </a:cubicBezTo>
                  <a:cubicBezTo>
                    <a:pt x="163" y="22"/>
                    <a:pt x="163" y="22"/>
                    <a:pt x="163" y="22"/>
                  </a:cubicBezTo>
                  <a:cubicBezTo>
                    <a:pt x="159" y="19"/>
                    <a:pt x="159" y="19"/>
                    <a:pt x="159" y="19"/>
                  </a:cubicBezTo>
                  <a:cubicBezTo>
                    <a:pt x="158" y="15"/>
                    <a:pt x="158" y="15"/>
                    <a:pt x="158" y="15"/>
                  </a:cubicBezTo>
                  <a:cubicBezTo>
                    <a:pt x="158" y="6"/>
                    <a:pt x="158" y="6"/>
                    <a:pt x="158" y="6"/>
                  </a:cubicBezTo>
                  <a:cubicBezTo>
                    <a:pt x="158" y="6"/>
                    <a:pt x="158" y="6"/>
                    <a:pt x="158" y="6"/>
                  </a:cubicBezTo>
                  <a:cubicBezTo>
                    <a:pt x="155" y="8"/>
                    <a:pt x="155" y="8"/>
                    <a:pt x="155" y="8"/>
                  </a:cubicBezTo>
                  <a:cubicBezTo>
                    <a:pt x="154" y="6"/>
                    <a:pt x="154" y="6"/>
                    <a:pt x="154" y="6"/>
                  </a:cubicBezTo>
                  <a:cubicBezTo>
                    <a:pt x="152" y="6"/>
                    <a:pt x="152" y="6"/>
                    <a:pt x="152" y="6"/>
                  </a:cubicBezTo>
                  <a:cubicBezTo>
                    <a:pt x="146" y="2"/>
                    <a:pt x="146" y="2"/>
                    <a:pt x="146" y="2"/>
                  </a:cubicBezTo>
                  <a:cubicBezTo>
                    <a:pt x="141" y="0"/>
                    <a:pt x="141" y="0"/>
                    <a:pt x="141" y="0"/>
                  </a:cubicBezTo>
                  <a:cubicBezTo>
                    <a:pt x="140" y="1"/>
                    <a:pt x="138" y="2"/>
                    <a:pt x="136" y="2"/>
                  </a:cubicBezTo>
                  <a:cubicBezTo>
                    <a:pt x="135" y="2"/>
                    <a:pt x="135" y="3"/>
                    <a:pt x="135" y="3"/>
                  </a:cubicBezTo>
                  <a:cubicBezTo>
                    <a:pt x="134" y="3"/>
                    <a:pt x="133" y="4"/>
                    <a:pt x="132" y="4"/>
                  </a:cubicBezTo>
                  <a:cubicBezTo>
                    <a:pt x="132" y="4"/>
                    <a:pt x="131" y="5"/>
                    <a:pt x="131" y="6"/>
                  </a:cubicBezTo>
                  <a:cubicBezTo>
                    <a:pt x="130" y="9"/>
                    <a:pt x="126" y="11"/>
                    <a:pt x="124" y="11"/>
                  </a:cubicBezTo>
                  <a:cubicBezTo>
                    <a:pt x="124" y="11"/>
                    <a:pt x="124" y="11"/>
                    <a:pt x="124" y="11"/>
                  </a:cubicBezTo>
                  <a:cubicBezTo>
                    <a:pt x="122" y="11"/>
                    <a:pt x="120" y="9"/>
                    <a:pt x="119" y="7"/>
                  </a:cubicBezTo>
                  <a:cubicBezTo>
                    <a:pt x="119" y="7"/>
                    <a:pt x="119" y="7"/>
                    <a:pt x="119" y="7"/>
                  </a:cubicBezTo>
                  <a:cubicBezTo>
                    <a:pt x="119" y="7"/>
                    <a:pt x="119" y="7"/>
                    <a:pt x="119" y="7"/>
                  </a:cubicBezTo>
                  <a:cubicBezTo>
                    <a:pt x="118" y="1"/>
                    <a:pt x="118" y="1"/>
                    <a:pt x="118" y="1"/>
                  </a:cubicBezTo>
                  <a:cubicBezTo>
                    <a:pt x="114" y="1"/>
                    <a:pt x="114" y="1"/>
                    <a:pt x="114" y="1"/>
                  </a:cubicBezTo>
                  <a:cubicBezTo>
                    <a:pt x="110" y="3"/>
                    <a:pt x="110" y="3"/>
                    <a:pt x="110" y="3"/>
                  </a:cubicBezTo>
                  <a:cubicBezTo>
                    <a:pt x="108" y="5"/>
                    <a:pt x="108" y="5"/>
                    <a:pt x="108" y="5"/>
                  </a:cubicBezTo>
                  <a:cubicBezTo>
                    <a:pt x="102" y="4"/>
                    <a:pt x="102" y="4"/>
                    <a:pt x="102" y="4"/>
                  </a:cubicBezTo>
                  <a:cubicBezTo>
                    <a:pt x="100" y="1"/>
                    <a:pt x="100" y="1"/>
                    <a:pt x="100" y="1"/>
                  </a:cubicBezTo>
                  <a:cubicBezTo>
                    <a:pt x="99" y="1"/>
                    <a:pt x="99" y="1"/>
                    <a:pt x="99" y="1"/>
                  </a:cubicBezTo>
                  <a:cubicBezTo>
                    <a:pt x="97" y="2"/>
                    <a:pt x="97" y="2"/>
                    <a:pt x="97" y="2"/>
                  </a:cubicBezTo>
                  <a:cubicBezTo>
                    <a:pt x="96" y="3"/>
                    <a:pt x="95" y="4"/>
                    <a:pt x="94" y="4"/>
                  </a:cubicBezTo>
                  <a:cubicBezTo>
                    <a:pt x="94" y="4"/>
                    <a:pt x="94" y="4"/>
                    <a:pt x="94" y="4"/>
                  </a:cubicBezTo>
                  <a:cubicBezTo>
                    <a:pt x="93" y="4"/>
                    <a:pt x="93" y="4"/>
                    <a:pt x="93" y="4"/>
                  </a:cubicBezTo>
                  <a:cubicBezTo>
                    <a:pt x="93" y="4"/>
                    <a:pt x="92" y="4"/>
                    <a:pt x="92" y="4"/>
                  </a:cubicBezTo>
                  <a:cubicBezTo>
                    <a:pt x="92" y="4"/>
                    <a:pt x="91" y="4"/>
                    <a:pt x="91" y="4"/>
                  </a:cubicBezTo>
                  <a:cubicBezTo>
                    <a:pt x="91" y="4"/>
                    <a:pt x="91" y="4"/>
                    <a:pt x="91" y="4"/>
                  </a:cubicBezTo>
                  <a:cubicBezTo>
                    <a:pt x="90" y="4"/>
                    <a:pt x="89" y="3"/>
                    <a:pt x="87" y="1"/>
                  </a:cubicBezTo>
                  <a:cubicBezTo>
                    <a:pt x="86" y="1"/>
                    <a:pt x="86" y="1"/>
                    <a:pt x="86" y="1"/>
                  </a:cubicBezTo>
                  <a:cubicBezTo>
                    <a:pt x="86" y="0"/>
                    <a:pt x="86" y="0"/>
                    <a:pt x="86" y="0"/>
                  </a:cubicBezTo>
                  <a:cubicBezTo>
                    <a:pt x="84" y="2"/>
                    <a:pt x="84" y="2"/>
                    <a:pt x="84" y="2"/>
                  </a:cubicBezTo>
                  <a:cubicBezTo>
                    <a:pt x="83" y="7"/>
                    <a:pt x="83" y="7"/>
                    <a:pt x="83" y="7"/>
                  </a:cubicBezTo>
                  <a:cubicBezTo>
                    <a:pt x="79" y="11"/>
                    <a:pt x="79" y="11"/>
                    <a:pt x="79" y="11"/>
                  </a:cubicBezTo>
                  <a:cubicBezTo>
                    <a:pt x="80" y="15"/>
                    <a:pt x="80" y="15"/>
                    <a:pt x="80" y="15"/>
                  </a:cubicBezTo>
                  <a:cubicBezTo>
                    <a:pt x="79" y="17"/>
                    <a:pt x="79" y="17"/>
                    <a:pt x="79" y="17"/>
                  </a:cubicBezTo>
                  <a:cubicBezTo>
                    <a:pt x="73" y="17"/>
                    <a:pt x="73" y="17"/>
                    <a:pt x="73" y="17"/>
                  </a:cubicBezTo>
                  <a:cubicBezTo>
                    <a:pt x="73" y="17"/>
                    <a:pt x="72" y="18"/>
                    <a:pt x="69" y="18"/>
                  </a:cubicBezTo>
                  <a:cubicBezTo>
                    <a:pt x="65" y="17"/>
                    <a:pt x="66" y="18"/>
                    <a:pt x="66" y="18"/>
                  </a:cubicBezTo>
                  <a:cubicBezTo>
                    <a:pt x="64" y="20"/>
                    <a:pt x="64" y="20"/>
                    <a:pt x="64" y="20"/>
                  </a:cubicBezTo>
                  <a:cubicBezTo>
                    <a:pt x="63" y="25"/>
                    <a:pt x="63" y="25"/>
                    <a:pt x="63" y="25"/>
                  </a:cubicBezTo>
                  <a:cubicBezTo>
                    <a:pt x="63" y="25"/>
                    <a:pt x="61" y="25"/>
                    <a:pt x="59" y="26"/>
                  </a:cubicBezTo>
                  <a:cubicBezTo>
                    <a:pt x="56" y="27"/>
                    <a:pt x="57" y="28"/>
                    <a:pt x="57" y="28"/>
                  </a:cubicBezTo>
                  <a:cubicBezTo>
                    <a:pt x="58" y="35"/>
                    <a:pt x="58" y="35"/>
                    <a:pt x="58" y="35"/>
                  </a:cubicBezTo>
                  <a:cubicBezTo>
                    <a:pt x="57" y="39"/>
                    <a:pt x="57" y="39"/>
                    <a:pt x="57" y="39"/>
                  </a:cubicBezTo>
                  <a:cubicBezTo>
                    <a:pt x="57" y="42"/>
                    <a:pt x="57" y="42"/>
                    <a:pt x="57" y="42"/>
                  </a:cubicBezTo>
                  <a:cubicBezTo>
                    <a:pt x="59" y="43"/>
                    <a:pt x="59" y="43"/>
                    <a:pt x="59" y="43"/>
                  </a:cubicBezTo>
                  <a:cubicBezTo>
                    <a:pt x="64" y="42"/>
                    <a:pt x="64" y="42"/>
                    <a:pt x="64" y="42"/>
                  </a:cubicBezTo>
                  <a:cubicBezTo>
                    <a:pt x="65" y="46"/>
                    <a:pt x="65" y="46"/>
                    <a:pt x="65" y="46"/>
                  </a:cubicBezTo>
                  <a:cubicBezTo>
                    <a:pt x="63" y="47"/>
                    <a:pt x="63" y="47"/>
                    <a:pt x="63" y="47"/>
                  </a:cubicBezTo>
                  <a:cubicBezTo>
                    <a:pt x="63" y="51"/>
                    <a:pt x="63" y="51"/>
                    <a:pt x="63" y="51"/>
                  </a:cubicBezTo>
                  <a:cubicBezTo>
                    <a:pt x="57" y="50"/>
                    <a:pt x="57" y="50"/>
                    <a:pt x="57" y="50"/>
                  </a:cubicBezTo>
                  <a:cubicBezTo>
                    <a:pt x="54" y="53"/>
                    <a:pt x="54" y="53"/>
                    <a:pt x="54" y="53"/>
                  </a:cubicBezTo>
                  <a:cubicBezTo>
                    <a:pt x="54" y="59"/>
                    <a:pt x="54" y="59"/>
                    <a:pt x="54" y="59"/>
                  </a:cubicBezTo>
                  <a:cubicBezTo>
                    <a:pt x="48" y="61"/>
                    <a:pt x="48" y="61"/>
                    <a:pt x="48" y="61"/>
                  </a:cubicBezTo>
                  <a:cubicBezTo>
                    <a:pt x="47" y="64"/>
                    <a:pt x="47" y="64"/>
                    <a:pt x="47" y="64"/>
                  </a:cubicBezTo>
                  <a:cubicBezTo>
                    <a:pt x="46" y="67"/>
                    <a:pt x="46" y="67"/>
                    <a:pt x="46" y="67"/>
                  </a:cubicBezTo>
                  <a:cubicBezTo>
                    <a:pt x="45" y="70"/>
                    <a:pt x="45" y="70"/>
                    <a:pt x="45" y="70"/>
                  </a:cubicBezTo>
                  <a:cubicBezTo>
                    <a:pt x="47" y="77"/>
                    <a:pt x="47" y="77"/>
                    <a:pt x="47" y="77"/>
                  </a:cubicBezTo>
                  <a:cubicBezTo>
                    <a:pt x="47" y="81"/>
                    <a:pt x="47" y="81"/>
                    <a:pt x="47" y="81"/>
                  </a:cubicBezTo>
                  <a:cubicBezTo>
                    <a:pt x="47" y="81"/>
                    <a:pt x="46" y="85"/>
                    <a:pt x="45" y="87"/>
                  </a:cubicBezTo>
                  <a:cubicBezTo>
                    <a:pt x="44" y="89"/>
                    <a:pt x="47" y="89"/>
                    <a:pt x="47" y="89"/>
                  </a:cubicBezTo>
                  <a:cubicBezTo>
                    <a:pt x="50" y="90"/>
                    <a:pt x="50" y="90"/>
                    <a:pt x="50" y="90"/>
                  </a:cubicBezTo>
                  <a:cubicBezTo>
                    <a:pt x="52" y="91"/>
                    <a:pt x="52" y="91"/>
                    <a:pt x="52" y="91"/>
                  </a:cubicBezTo>
                  <a:cubicBezTo>
                    <a:pt x="51" y="96"/>
                    <a:pt x="51" y="96"/>
                    <a:pt x="51" y="96"/>
                  </a:cubicBezTo>
                  <a:cubicBezTo>
                    <a:pt x="46" y="96"/>
                    <a:pt x="46" y="96"/>
                    <a:pt x="46" y="96"/>
                  </a:cubicBezTo>
                  <a:cubicBezTo>
                    <a:pt x="47" y="93"/>
                    <a:pt x="47" y="93"/>
                    <a:pt x="47" y="93"/>
                  </a:cubicBezTo>
                  <a:cubicBezTo>
                    <a:pt x="45" y="91"/>
                    <a:pt x="45" y="91"/>
                    <a:pt x="45" y="91"/>
                  </a:cubicBezTo>
                  <a:cubicBezTo>
                    <a:pt x="43" y="94"/>
                    <a:pt x="43" y="94"/>
                    <a:pt x="43" y="94"/>
                  </a:cubicBezTo>
                  <a:cubicBezTo>
                    <a:pt x="37" y="96"/>
                    <a:pt x="37" y="96"/>
                    <a:pt x="37" y="96"/>
                  </a:cubicBezTo>
                  <a:cubicBezTo>
                    <a:pt x="37" y="97"/>
                    <a:pt x="37" y="97"/>
                    <a:pt x="37" y="97"/>
                  </a:cubicBezTo>
                  <a:cubicBezTo>
                    <a:pt x="36" y="100"/>
                    <a:pt x="36" y="100"/>
                    <a:pt x="36" y="100"/>
                  </a:cubicBezTo>
                  <a:cubicBezTo>
                    <a:pt x="36" y="100"/>
                    <a:pt x="32" y="100"/>
                    <a:pt x="31" y="100"/>
                  </a:cubicBezTo>
                  <a:cubicBezTo>
                    <a:pt x="30" y="100"/>
                    <a:pt x="29" y="102"/>
                    <a:pt x="29" y="102"/>
                  </a:cubicBezTo>
                  <a:cubicBezTo>
                    <a:pt x="31" y="108"/>
                    <a:pt x="31" y="108"/>
                    <a:pt x="31" y="108"/>
                  </a:cubicBezTo>
                  <a:cubicBezTo>
                    <a:pt x="27" y="108"/>
                    <a:pt x="27" y="108"/>
                    <a:pt x="27" y="108"/>
                  </a:cubicBezTo>
                  <a:cubicBezTo>
                    <a:pt x="24" y="111"/>
                    <a:pt x="24" y="111"/>
                    <a:pt x="24" y="111"/>
                  </a:cubicBezTo>
                  <a:cubicBezTo>
                    <a:pt x="18" y="113"/>
                    <a:pt x="18" y="113"/>
                    <a:pt x="18" y="113"/>
                  </a:cubicBezTo>
                  <a:cubicBezTo>
                    <a:pt x="13" y="112"/>
                    <a:pt x="13" y="112"/>
                    <a:pt x="13" y="112"/>
                  </a:cubicBezTo>
                  <a:cubicBezTo>
                    <a:pt x="5" y="115"/>
                    <a:pt x="5" y="115"/>
                    <a:pt x="5" y="115"/>
                  </a:cubicBezTo>
                  <a:cubicBezTo>
                    <a:pt x="0" y="116"/>
                    <a:pt x="0" y="116"/>
                    <a:pt x="0" y="116"/>
                  </a:cubicBezTo>
                  <a:cubicBezTo>
                    <a:pt x="1" y="118"/>
                    <a:pt x="1" y="118"/>
                    <a:pt x="1" y="118"/>
                  </a:cubicBezTo>
                  <a:cubicBezTo>
                    <a:pt x="1" y="119"/>
                    <a:pt x="3" y="124"/>
                    <a:pt x="6" y="129"/>
                  </a:cubicBezTo>
                  <a:lnTo>
                    <a:pt x="11" y="138"/>
                  </a:lnTo>
                  <a:close/>
                </a:path>
              </a:pathLst>
            </a:custGeom>
            <a:solidFill>
              <a:schemeClr val="accent6">
                <a:lumMod val="75000"/>
              </a:schemeClr>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3" name="Freeform 238"/>
            <p:cNvSpPr>
              <a:spLocks/>
            </p:cNvSpPr>
            <p:nvPr/>
          </p:nvSpPr>
          <p:spPr bwMode="auto">
            <a:xfrm>
              <a:off x="5123342" y="1651323"/>
              <a:ext cx="1241965" cy="1669320"/>
            </a:xfrm>
            <a:custGeom>
              <a:avLst/>
              <a:gdLst>
                <a:gd name="T0" fmla="*/ 413 w 429"/>
                <a:gd name="T1" fmla="*/ 45 h 611"/>
                <a:gd name="T2" fmla="*/ 410 w 429"/>
                <a:gd name="T3" fmla="*/ 10 h 611"/>
                <a:gd name="T4" fmla="*/ 367 w 429"/>
                <a:gd name="T5" fmla="*/ 4 h 611"/>
                <a:gd name="T6" fmla="*/ 357 w 429"/>
                <a:gd name="T7" fmla="*/ 18 h 611"/>
                <a:gd name="T8" fmla="*/ 336 w 429"/>
                <a:gd name="T9" fmla="*/ 41 h 611"/>
                <a:gd name="T10" fmla="*/ 333 w 429"/>
                <a:gd name="T11" fmla="*/ 15 h 611"/>
                <a:gd name="T12" fmla="*/ 326 w 429"/>
                <a:gd name="T13" fmla="*/ 32 h 611"/>
                <a:gd name="T14" fmla="*/ 303 w 429"/>
                <a:gd name="T15" fmla="*/ 51 h 611"/>
                <a:gd name="T16" fmla="*/ 291 w 429"/>
                <a:gd name="T17" fmla="*/ 61 h 611"/>
                <a:gd name="T18" fmla="*/ 282 w 429"/>
                <a:gd name="T19" fmla="*/ 71 h 611"/>
                <a:gd name="T20" fmla="*/ 264 w 429"/>
                <a:gd name="T21" fmla="*/ 78 h 611"/>
                <a:gd name="T22" fmla="*/ 250 w 429"/>
                <a:gd name="T23" fmla="*/ 83 h 611"/>
                <a:gd name="T24" fmla="*/ 223 w 429"/>
                <a:gd name="T25" fmla="*/ 115 h 611"/>
                <a:gd name="T26" fmla="*/ 221 w 429"/>
                <a:gd name="T27" fmla="*/ 133 h 611"/>
                <a:gd name="T28" fmla="*/ 189 w 429"/>
                <a:gd name="T29" fmla="*/ 146 h 611"/>
                <a:gd name="T30" fmla="*/ 161 w 429"/>
                <a:gd name="T31" fmla="*/ 179 h 611"/>
                <a:gd name="T32" fmla="*/ 206 w 429"/>
                <a:gd name="T33" fmla="*/ 171 h 611"/>
                <a:gd name="T34" fmla="*/ 194 w 429"/>
                <a:gd name="T35" fmla="*/ 180 h 611"/>
                <a:gd name="T36" fmla="*/ 192 w 429"/>
                <a:gd name="T37" fmla="*/ 196 h 611"/>
                <a:gd name="T38" fmla="*/ 177 w 429"/>
                <a:gd name="T39" fmla="*/ 221 h 611"/>
                <a:gd name="T40" fmla="*/ 179 w 429"/>
                <a:gd name="T41" fmla="*/ 253 h 611"/>
                <a:gd name="T42" fmla="*/ 159 w 429"/>
                <a:gd name="T43" fmla="*/ 284 h 611"/>
                <a:gd name="T44" fmla="*/ 138 w 429"/>
                <a:gd name="T45" fmla="*/ 306 h 611"/>
                <a:gd name="T46" fmla="*/ 143 w 429"/>
                <a:gd name="T47" fmla="*/ 322 h 611"/>
                <a:gd name="T48" fmla="*/ 117 w 429"/>
                <a:gd name="T49" fmla="*/ 351 h 611"/>
                <a:gd name="T50" fmla="*/ 126 w 429"/>
                <a:gd name="T51" fmla="*/ 368 h 611"/>
                <a:gd name="T52" fmla="*/ 91 w 429"/>
                <a:gd name="T53" fmla="*/ 365 h 611"/>
                <a:gd name="T54" fmla="*/ 77 w 429"/>
                <a:gd name="T55" fmla="*/ 388 h 611"/>
                <a:gd name="T56" fmla="*/ 59 w 429"/>
                <a:gd name="T57" fmla="*/ 404 h 611"/>
                <a:gd name="T58" fmla="*/ 29 w 429"/>
                <a:gd name="T59" fmla="*/ 419 h 611"/>
                <a:gd name="T60" fmla="*/ 16 w 429"/>
                <a:gd name="T61" fmla="*/ 428 h 611"/>
                <a:gd name="T62" fmla="*/ 12 w 429"/>
                <a:gd name="T63" fmla="*/ 443 h 611"/>
                <a:gd name="T64" fmla="*/ 13 w 429"/>
                <a:gd name="T65" fmla="*/ 469 h 611"/>
                <a:gd name="T66" fmla="*/ 2 w 429"/>
                <a:gd name="T67" fmla="*/ 507 h 611"/>
                <a:gd name="T68" fmla="*/ 6 w 429"/>
                <a:gd name="T69" fmla="*/ 528 h 611"/>
                <a:gd name="T70" fmla="*/ 11 w 429"/>
                <a:gd name="T71" fmla="*/ 555 h 611"/>
                <a:gd name="T72" fmla="*/ 11 w 429"/>
                <a:gd name="T73" fmla="*/ 574 h 611"/>
                <a:gd name="T74" fmla="*/ 32 w 429"/>
                <a:gd name="T75" fmla="*/ 606 h 611"/>
                <a:gd name="T76" fmla="*/ 77 w 429"/>
                <a:gd name="T77" fmla="*/ 601 h 611"/>
                <a:gd name="T78" fmla="*/ 128 w 429"/>
                <a:gd name="T79" fmla="*/ 557 h 611"/>
                <a:gd name="T80" fmla="*/ 148 w 429"/>
                <a:gd name="T81" fmla="*/ 570 h 611"/>
                <a:gd name="T82" fmla="*/ 151 w 429"/>
                <a:gd name="T83" fmla="*/ 532 h 611"/>
                <a:gd name="T84" fmla="*/ 165 w 429"/>
                <a:gd name="T85" fmla="*/ 515 h 611"/>
                <a:gd name="T86" fmla="*/ 167 w 429"/>
                <a:gd name="T87" fmla="*/ 473 h 611"/>
                <a:gd name="T88" fmla="*/ 151 w 429"/>
                <a:gd name="T89" fmla="*/ 405 h 611"/>
                <a:gd name="T90" fmla="*/ 154 w 429"/>
                <a:gd name="T91" fmla="*/ 359 h 611"/>
                <a:gd name="T92" fmla="*/ 191 w 429"/>
                <a:gd name="T93" fmla="*/ 291 h 611"/>
                <a:gd name="T94" fmla="*/ 205 w 429"/>
                <a:gd name="T95" fmla="*/ 235 h 611"/>
                <a:gd name="T96" fmla="*/ 220 w 429"/>
                <a:gd name="T97" fmla="*/ 183 h 611"/>
                <a:gd name="T98" fmla="*/ 243 w 429"/>
                <a:gd name="T99" fmla="*/ 138 h 611"/>
                <a:gd name="T100" fmla="*/ 271 w 429"/>
                <a:gd name="T101" fmla="*/ 136 h 611"/>
                <a:gd name="T102" fmla="*/ 283 w 429"/>
                <a:gd name="T103" fmla="*/ 109 h 611"/>
                <a:gd name="T104" fmla="*/ 325 w 429"/>
                <a:gd name="T105" fmla="*/ 122 h 611"/>
                <a:gd name="T106" fmla="*/ 349 w 429"/>
                <a:gd name="T107" fmla="*/ 112 h 611"/>
                <a:gd name="T108" fmla="*/ 357 w 429"/>
                <a:gd name="T109" fmla="*/ 64 h 611"/>
                <a:gd name="T110" fmla="*/ 386 w 429"/>
                <a:gd name="T111" fmla="*/ 49 h 611"/>
                <a:gd name="T112" fmla="*/ 408 w 429"/>
                <a:gd name="T113" fmla="*/ 69 h 611"/>
                <a:gd name="T114" fmla="*/ 420 w 429"/>
                <a:gd name="T115" fmla="*/ 63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29" h="611">
                  <a:moveTo>
                    <a:pt x="429" y="54"/>
                  </a:moveTo>
                  <a:cubicBezTo>
                    <a:pt x="429" y="53"/>
                    <a:pt x="428" y="52"/>
                    <a:pt x="428" y="51"/>
                  </a:cubicBezTo>
                  <a:cubicBezTo>
                    <a:pt x="428" y="50"/>
                    <a:pt x="427" y="49"/>
                    <a:pt x="427" y="48"/>
                  </a:cubicBezTo>
                  <a:cubicBezTo>
                    <a:pt x="426" y="47"/>
                    <a:pt x="426" y="47"/>
                    <a:pt x="426" y="47"/>
                  </a:cubicBezTo>
                  <a:cubicBezTo>
                    <a:pt x="427" y="46"/>
                    <a:pt x="427" y="46"/>
                    <a:pt x="427" y="46"/>
                  </a:cubicBezTo>
                  <a:cubicBezTo>
                    <a:pt x="427" y="46"/>
                    <a:pt x="427" y="45"/>
                    <a:pt x="428" y="45"/>
                  </a:cubicBezTo>
                  <a:cubicBezTo>
                    <a:pt x="427" y="44"/>
                    <a:pt x="427" y="44"/>
                    <a:pt x="426" y="44"/>
                  </a:cubicBezTo>
                  <a:cubicBezTo>
                    <a:pt x="424" y="45"/>
                    <a:pt x="420" y="50"/>
                    <a:pt x="420" y="50"/>
                  </a:cubicBezTo>
                  <a:cubicBezTo>
                    <a:pt x="419" y="42"/>
                    <a:pt x="419" y="42"/>
                    <a:pt x="419" y="42"/>
                  </a:cubicBezTo>
                  <a:cubicBezTo>
                    <a:pt x="413" y="45"/>
                    <a:pt x="413" y="45"/>
                    <a:pt x="413" y="45"/>
                  </a:cubicBezTo>
                  <a:cubicBezTo>
                    <a:pt x="406" y="43"/>
                    <a:pt x="406" y="43"/>
                    <a:pt x="406" y="43"/>
                  </a:cubicBezTo>
                  <a:cubicBezTo>
                    <a:pt x="406" y="43"/>
                    <a:pt x="404" y="40"/>
                    <a:pt x="402" y="41"/>
                  </a:cubicBezTo>
                  <a:cubicBezTo>
                    <a:pt x="399" y="41"/>
                    <a:pt x="395" y="41"/>
                    <a:pt x="395" y="41"/>
                  </a:cubicBezTo>
                  <a:cubicBezTo>
                    <a:pt x="395" y="41"/>
                    <a:pt x="391" y="38"/>
                    <a:pt x="394" y="38"/>
                  </a:cubicBezTo>
                  <a:cubicBezTo>
                    <a:pt x="396" y="38"/>
                    <a:pt x="401" y="38"/>
                    <a:pt x="403" y="38"/>
                  </a:cubicBezTo>
                  <a:cubicBezTo>
                    <a:pt x="405" y="38"/>
                    <a:pt x="417" y="34"/>
                    <a:pt x="417" y="34"/>
                  </a:cubicBezTo>
                  <a:cubicBezTo>
                    <a:pt x="418" y="29"/>
                    <a:pt x="418" y="29"/>
                    <a:pt x="418" y="29"/>
                  </a:cubicBezTo>
                  <a:cubicBezTo>
                    <a:pt x="424" y="24"/>
                    <a:pt x="424" y="24"/>
                    <a:pt x="424" y="24"/>
                  </a:cubicBezTo>
                  <a:cubicBezTo>
                    <a:pt x="414" y="17"/>
                    <a:pt x="414" y="17"/>
                    <a:pt x="414" y="17"/>
                  </a:cubicBezTo>
                  <a:cubicBezTo>
                    <a:pt x="410" y="10"/>
                    <a:pt x="410" y="10"/>
                    <a:pt x="410" y="10"/>
                  </a:cubicBezTo>
                  <a:cubicBezTo>
                    <a:pt x="410" y="10"/>
                    <a:pt x="410" y="8"/>
                    <a:pt x="407" y="8"/>
                  </a:cubicBezTo>
                  <a:cubicBezTo>
                    <a:pt x="405" y="8"/>
                    <a:pt x="399" y="11"/>
                    <a:pt x="399" y="11"/>
                  </a:cubicBezTo>
                  <a:cubicBezTo>
                    <a:pt x="394" y="8"/>
                    <a:pt x="394" y="8"/>
                    <a:pt x="394" y="8"/>
                  </a:cubicBezTo>
                  <a:cubicBezTo>
                    <a:pt x="387" y="9"/>
                    <a:pt x="387" y="9"/>
                    <a:pt x="387" y="9"/>
                  </a:cubicBezTo>
                  <a:cubicBezTo>
                    <a:pt x="377" y="6"/>
                    <a:pt x="377" y="6"/>
                    <a:pt x="377" y="6"/>
                  </a:cubicBezTo>
                  <a:cubicBezTo>
                    <a:pt x="376" y="8"/>
                    <a:pt x="376" y="8"/>
                    <a:pt x="376" y="8"/>
                  </a:cubicBezTo>
                  <a:cubicBezTo>
                    <a:pt x="376" y="8"/>
                    <a:pt x="373" y="7"/>
                    <a:pt x="373" y="5"/>
                  </a:cubicBezTo>
                  <a:cubicBezTo>
                    <a:pt x="373" y="4"/>
                    <a:pt x="373" y="2"/>
                    <a:pt x="373" y="2"/>
                  </a:cubicBezTo>
                  <a:cubicBezTo>
                    <a:pt x="369" y="3"/>
                    <a:pt x="369" y="3"/>
                    <a:pt x="369" y="3"/>
                  </a:cubicBezTo>
                  <a:cubicBezTo>
                    <a:pt x="367" y="4"/>
                    <a:pt x="367" y="4"/>
                    <a:pt x="367" y="4"/>
                  </a:cubicBezTo>
                  <a:cubicBezTo>
                    <a:pt x="362" y="0"/>
                    <a:pt x="362" y="0"/>
                    <a:pt x="362" y="0"/>
                  </a:cubicBezTo>
                  <a:cubicBezTo>
                    <a:pt x="360" y="6"/>
                    <a:pt x="360" y="6"/>
                    <a:pt x="360" y="6"/>
                  </a:cubicBezTo>
                  <a:cubicBezTo>
                    <a:pt x="363" y="11"/>
                    <a:pt x="363" y="11"/>
                    <a:pt x="363" y="11"/>
                  </a:cubicBezTo>
                  <a:cubicBezTo>
                    <a:pt x="360" y="17"/>
                    <a:pt x="360" y="17"/>
                    <a:pt x="360" y="17"/>
                  </a:cubicBezTo>
                  <a:cubicBezTo>
                    <a:pt x="362" y="22"/>
                    <a:pt x="362" y="22"/>
                    <a:pt x="362" y="22"/>
                  </a:cubicBezTo>
                  <a:cubicBezTo>
                    <a:pt x="362" y="28"/>
                    <a:pt x="362" y="28"/>
                    <a:pt x="362" y="28"/>
                  </a:cubicBezTo>
                  <a:cubicBezTo>
                    <a:pt x="359" y="34"/>
                    <a:pt x="359" y="34"/>
                    <a:pt x="359" y="34"/>
                  </a:cubicBezTo>
                  <a:cubicBezTo>
                    <a:pt x="354" y="30"/>
                    <a:pt x="354" y="30"/>
                    <a:pt x="354" y="30"/>
                  </a:cubicBezTo>
                  <a:cubicBezTo>
                    <a:pt x="355" y="24"/>
                    <a:pt x="355" y="24"/>
                    <a:pt x="355" y="24"/>
                  </a:cubicBezTo>
                  <a:cubicBezTo>
                    <a:pt x="357" y="18"/>
                    <a:pt x="357" y="18"/>
                    <a:pt x="357" y="18"/>
                  </a:cubicBezTo>
                  <a:cubicBezTo>
                    <a:pt x="354" y="11"/>
                    <a:pt x="354" y="11"/>
                    <a:pt x="354" y="11"/>
                  </a:cubicBezTo>
                  <a:cubicBezTo>
                    <a:pt x="347" y="17"/>
                    <a:pt x="347" y="17"/>
                    <a:pt x="347" y="17"/>
                  </a:cubicBezTo>
                  <a:cubicBezTo>
                    <a:pt x="348" y="25"/>
                    <a:pt x="348" y="25"/>
                    <a:pt x="348" y="25"/>
                  </a:cubicBezTo>
                  <a:cubicBezTo>
                    <a:pt x="345" y="30"/>
                    <a:pt x="345" y="30"/>
                    <a:pt x="345" y="30"/>
                  </a:cubicBezTo>
                  <a:cubicBezTo>
                    <a:pt x="345" y="37"/>
                    <a:pt x="345" y="37"/>
                    <a:pt x="345" y="37"/>
                  </a:cubicBezTo>
                  <a:cubicBezTo>
                    <a:pt x="343" y="43"/>
                    <a:pt x="343" y="43"/>
                    <a:pt x="343" y="43"/>
                  </a:cubicBezTo>
                  <a:cubicBezTo>
                    <a:pt x="342" y="51"/>
                    <a:pt x="342" y="51"/>
                    <a:pt x="342" y="51"/>
                  </a:cubicBezTo>
                  <a:cubicBezTo>
                    <a:pt x="342" y="51"/>
                    <a:pt x="342" y="52"/>
                    <a:pt x="340" y="52"/>
                  </a:cubicBezTo>
                  <a:cubicBezTo>
                    <a:pt x="339" y="53"/>
                    <a:pt x="336" y="52"/>
                    <a:pt x="336" y="52"/>
                  </a:cubicBezTo>
                  <a:cubicBezTo>
                    <a:pt x="336" y="41"/>
                    <a:pt x="336" y="41"/>
                    <a:pt x="336" y="41"/>
                  </a:cubicBezTo>
                  <a:cubicBezTo>
                    <a:pt x="337" y="35"/>
                    <a:pt x="337" y="35"/>
                    <a:pt x="337" y="35"/>
                  </a:cubicBezTo>
                  <a:cubicBezTo>
                    <a:pt x="339" y="30"/>
                    <a:pt x="339" y="30"/>
                    <a:pt x="339" y="30"/>
                  </a:cubicBezTo>
                  <a:cubicBezTo>
                    <a:pt x="343" y="24"/>
                    <a:pt x="343" y="24"/>
                    <a:pt x="343" y="24"/>
                  </a:cubicBezTo>
                  <a:cubicBezTo>
                    <a:pt x="343" y="24"/>
                    <a:pt x="343" y="20"/>
                    <a:pt x="342" y="20"/>
                  </a:cubicBezTo>
                  <a:cubicBezTo>
                    <a:pt x="342" y="19"/>
                    <a:pt x="341" y="18"/>
                    <a:pt x="341" y="18"/>
                  </a:cubicBezTo>
                  <a:cubicBezTo>
                    <a:pt x="341" y="18"/>
                    <a:pt x="345" y="15"/>
                    <a:pt x="345" y="15"/>
                  </a:cubicBezTo>
                  <a:cubicBezTo>
                    <a:pt x="345" y="15"/>
                    <a:pt x="344" y="12"/>
                    <a:pt x="342" y="11"/>
                  </a:cubicBezTo>
                  <a:cubicBezTo>
                    <a:pt x="340" y="9"/>
                    <a:pt x="339" y="8"/>
                    <a:pt x="338" y="9"/>
                  </a:cubicBezTo>
                  <a:cubicBezTo>
                    <a:pt x="336" y="10"/>
                    <a:pt x="332" y="11"/>
                    <a:pt x="332" y="12"/>
                  </a:cubicBezTo>
                  <a:cubicBezTo>
                    <a:pt x="332" y="12"/>
                    <a:pt x="332" y="14"/>
                    <a:pt x="333" y="15"/>
                  </a:cubicBezTo>
                  <a:cubicBezTo>
                    <a:pt x="334" y="16"/>
                    <a:pt x="335" y="16"/>
                    <a:pt x="335" y="16"/>
                  </a:cubicBezTo>
                  <a:cubicBezTo>
                    <a:pt x="335" y="17"/>
                    <a:pt x="336" y="19"/>
                    <a:pt x="335" y="20"/>
                  </a:cubicBezTo>
                  <a:cubicBezTo>
                    <a:pt x="335" y="21"/>
                    <a:pt x="335" y="23"/>
                    <a:pt x="333" y="22"/>
                  </a:cubicBezTo>
                  <a:cubicBezTo>
                    <a:pt x="331" y="21"/>
                    <a:pt x="327" y="19"/>
                    <a:pt x="326" y="19"/>
                  </a:cubicBezTo>
                  <a:cubicBezTo>
                    <a:pt x="326" y="18"/>
                    <a:pt x="326" y="15"/>
                    <a:pt x="325" y="18"/>
                  </a:cubicBezTo>
                  <a:cubicBezTo>
                    <a:pt x="323" y="21"/>
                    <a:pt x="323" y="22"/>
                    <a:pt x="323" y="23"/>
                  </a:cubicBezTo>
                  <a:cubicBezTo>
                    <a:pt x="324" y="25"/>
                    <a:pt x="325" y="25"/>
                    <a:pt x="325" y="25"/>
                  </a:cubicBezTo>
                  <a:cubicBezTo>
                    <a:pt x="325" y="26"/>
                    <a:pt x="322" y="27"/>
                    <a:pt x="322" y="27"/>
                  </a:cubicBezTo>
                  <a:cubicBezTo>
                    <a:pt x="322" y="28"/>
                    <a:pt x="321" y="29"/>
                    <a:pt x="323" y="30"/>
                  </a:cubicBezTo>
                  <a:cubicBezTo>
                    <a:pt x="324" y="31"/>
                    <a:pt x="326" y="32"/>
                    <a:pt x="326" y="32"/>
                  </a:cubicBezTo>
                  <a:cubicBezTo>
                    <a:pt x="326" y="32"/>
                    <a:pt x="327" y="35"/>
                    <a:pt x="327" y="35"/>
                  </a:cubicBezTo>
                  <a:cubicBezTo>
                    <a:pt x="327" y="35"/>
                    <a:pt x="322" y="34"/>
                    <a:pt x="322" y="35"/>
                  </a:cubicBezTo>
                  <a:cubicBezTo>
                    <a:pt x="322" y="36"/>
                    <a:pt x="322" y="38"/>
                    <a:pt x="322" y="39"/>
                  </a:cubicBezTo>
                  <a:cubicBezTo>
                    <a:pt x="322" y="39"/>
                    <a:pt x="322" y="41"/>
                    <a:pt x="322" y="41"/>
                  </a:cubicBezTo>
                  <a:cubicBezTo>
                    <a:pt x="322" y="42"/>
                    <a:pt x="318" y="42"/>
                    <a:pt x="317" y="43"/>
                  </a:cubicBezTo>
                  <a:cubicBezTo>
                    <a:pt x="316" y="43"/>
                    <a:pt x="316" y="46"/>
                    <a:pt x="315" y="48"/>
                  </a:cubicBezTo>
                  <a:cubicBezTo>
                    <a:pt x="315" y="49"/>
                    <a:pt x="315" y="50"/>
                    <a:pt x="314" y="51"/>
                  </a:cubicBezTo>
                  <a:cubicBezTo>
                    <a:pt x="314" y="52"/>
                    <a:pt x="313" y="54"/>
                    <a:pt x="313" y="54"/>
                  </a:cubicBezTo>
                  <a:cubicBezTo>
                    <a:pt x="313" y="54"/>
                    <a:pt x="313" y="54"/>
                    <a:pt x="311" y="54"/>
                  </a:cubicBezTo>
                  <a:cubicBezTo>
                    <a:pt x="310" y="54"/>
                    <a:pt x="305" y="50"/>
                    <a:pt x="303" y="51"/>
                  </a:cubicBezTo>
                  <a:cubicBezTo>
                    <a:pt x="302" y="51"/>
                    <a:pt x="300" y="52"/>
                    <a:pt x="300" y="53"/>
                  </a:cubicBezTo>
                  <a:cubicBezTo>
                    <a:pt x="300" y="54"/>
                    <a:pt x="303" y="56"/>
                    <a:pt x="303" y="56"/>
                  </a:cubicBezTo>
                  <a:cubicBezTo>
                    <a:pt x="304" y="56"/>
                    <a:pt x="308" y="57"/>
                    <a:pt x="308" y="58"/>
                  </a:cubicBezTo>
                  <a:cubicBezTo>
                    <a:pt x="308" y="59"/>
                    <a:pt x="308" y="64"/>
                    <a:pt x="308" y="64"/>
                  </a:cubicBezTo>
                  <a:cubicBezTo>
                    <a:pt x="308" y="64"/>
                    <a:pt x="312" y="71"/>
                    <a:pt x="306" y="65"/>
                  </a:cubicBezTo>
                  <a:cubicBezTo>
                    <a:pt x="300" y="59"/>
                    <a:pt x="300" y="58"/>
                    <a:pt x="299" y="58"/>
                  </a:cubicBezTo>
                  <a:cubicBezTo>
                    <a:pt x="298" y="58"/>
                    <a:pt x="292" y="56"/>
                    <a:pt x="292" y="56"/>
                  </a:cubicBezTo>
                  <a:cubicBezTo>
                    <a:pt x="292" y="56"/>
                    <a:pt x="291" y="54"/>
                    <a:pt x="291" y="56"/>
                  </a:cubicBezTo>
                  <a:cubicBezTo>
                    <a:pt x="290" y="58"/>
                    <a:pt x="292" y="61"/>
                    <a:pt x="292" y="61"/>
                  </a:cubicBezTo>
                  <a:cubicBezTo>
                    <a:pt x="291" y="61"/>
                    <a:pt x="291" y="61"/>
                    <a:pt x="291" y="61"/>
                  </a:cubicBezTo>
                  <a:cubicBezTo>
                    <a:pt x="291" y="61"/>
                    <a:pt x="289" y="59"/>
                    <a:pt x="288" y="58"/>
                  </a:cubicBezTo>
                  <a:cubicBezTo>
                    <a:pt x="287" y="57"/>
                    <a:pt x="284" y="58"/>
                    <a:pt x="284" y="58"/>
                  </a:cubicBezTo>
                  <a:cubicBezTo>
                    <a:pt x="284" y="58"/>
                    <a:pt x="283" y="60"/>
                    <a:pt x="282" y="61"/>
                  </a:cubicBezTo>
                  <a:cubicBezTo>
                    <a:pt x="281" y="62"/>
                    <a:pt x="278" y="59"/>
                    <a:pt x="281" y="62"/>
                  </a:cubicBezTo>
                  <a:cubicBezTo>
                    <a:pt x="283" y="66"/>
                    <a:pt x="285" y="66"/>
                    <a:pt x="286" y="67"/>
                  </a:cubicBezTo>
                  <a:cubicBezTo>
                    <a:pt x="287" y="68"/>
                    <a:pt x="290" y="68"/>
                    <a:pt x="291" y="69"/>
                  </a:cubicBezTo>
                  <a:cubicBezTo>
                    <a:pt x="291" y="70"/>
                    <a:pt x="292" y="73"/>
                    <a:pt x="292" y="73"/>
                  </a:cubicBezTo>
                  <a:cubicBezTo>
                    <a:pt x="292" y="73"/>
                    <a:pt x="294" y="76"/>
                    <a:pt x="290" y="73"/>
                  </a:cubicBezTo>
                  <a:cubicBezTo>
                    <a:pt x="286" y="71"/>
                    <a:pt x="285" y="70"/>
                    <a:pt x="284" y="70"/>
                  </a:cubicBezTo>
                  <a:cubicBezTo>
                    <a:pt x="283" y="70"/>
                    <a:pt x="282" y="71"/>
                    <a:pt x="282" y="71"/>
                  </a:cubicBezTo>
                  <a:cubicBezTo>
                    <a:pt x="282" y="71"/>
                    <a:pt x="277" y="70"/>
                    <a:pt x="277" y="68"/>
                  </a:cubicBezTo>
                  <a:cubicBezTo>
                    <a:pt x="276" y="66"/>
                    <a:pt x="278" y="62"/>
                    <a:pt x="274" y="62"/>
                  </a:cubicBezTo>
                  <a:cubicBezTo>
                    <a:pt x="271" y="63"/>
                    <a:pt x="269" y="64"/>
                    <a:pt x="269" y="65"/>
                  </a:cubicBezTo>
                  <a:cubicBezTo>
                    <a:pt x="269" y="66"/>
                    <a:pt x="267" y="66"/>
                    <a:pt x="270" y="69"/>
                  </a:cubicBezTo>
                  <a:cubicBezTo>
                    <a:pt x="272" y="72"/>
                    <a:pt x="274" y="73"/>
                    <a:pt x="274" y="73"/>
                  </a:cubicBezTo>
                  <a:cubicBezTo>
                    <a:pt x="275" y="73"/>
                    <a:pt x="279" y="73"/>
                    <a:pt x="277" y="74"/>
                  </a:cubicBezTo>
                  <a:cubicBezTo>
                    <a:pt x="275" y="76"/>
                    <a:pt x="272" y="76"/>
                    <a:pt x="271" y="76"/>
                  </a:cubicBezTo>
                  <a:cubicBezTo>
                    <a:pt x="271" y="76"/>
                    <a:pt x="272" y="75"/>
                    <a:pt x="270" y="75"/>
                  </a:cubicBezTo>
                  <a:cubicBezTo>
                    <a:pt x="269" y="76"/>
                    <a:pt x="265" y="80"/>
                    <a:pt x="265" y="80"/>
                  </a:cubicBezTo>
                  <a:cubicBezTo>
                    <a:pt x="265" y="80"/>
                    <a:pt x="264" y="79"/>
                    <a:pt x="264" y="78"/>
                  </a:cubicBezTo>
                  <a:cubicBezTo>
                    <a:pt x="264" y="77"/>
                    <a:pt x="267" y="76"/>
                    <a:pt x="267" y="74"/>
                  </a:cubicBezTo>
                  <a:cubicBezTo>
                    <a:pt x="268" y="72"/>
                    <a:pt x="265" y="67"/>
                    <a:pt x="265" y="67"/>
                  </a:cubicBezTo>
                  <a:cubicBezTo>
                    <a:pt x="265" y="67"/>
                    <a:pt x="263" y="65"/>
                    <a:pt x="262" y="65"/>
                  </a:cubicBezTo>
                  <a:cubicBezTo>
                    <a:pt x="261" y="64"/>
                    <a:pt x="259" y="63"/>
                    <a:pt x="258" y="63"/>
                  </a:cubicBezTo>
                  <a:cubicBezTo>
                    <a:pt x="257" y="64"/>
                    <a:pt x="256" y="67"/>
                    <a:pt x="258" y="68"/>
                  </a:cubicBezTo>
                  <a:cubicBezTo>
                    <a:pt x="259" y="70"/>
                    <a:pt x="261" y="72"/>
                    <a:pt x="260" y="73"/>
                  </a:cubicBezTo>
                  <a:cubicBezTo>
                    <a:pt x="259" y="73"/>
                    <a:pt x="258" y="74"/>
                    <a:pt x="257" y="73"/>
                  </a:cubicBezTo>
                  <a:cubicBezTo>
                    <a:pt x="256" y="73"/>
                    <a:pt x="254" y="71"/>
                    <a:pt x="252" y="72"/>
                  </a:cubicBezTo>
                  <a:cubicBezTo>
                    <a:pt x="250" y="73"/>
                    <a:pt x="247" y="78"/>
                    <a:pt x="247" y="78"/>
                  </a:cubicBezTo>
                  <a:cubicBezTo>
                    <a:pt x="247" y="78"/>
                    <a:pt x="250" y="83"/>
                    <a:pt x="250" y="83"/>
                  </a:cubicBezTo>
                  <a:cubicBezTo>
                    <a:pt x="251" y="84"/>
                    <a:pt x="252" y="85"/>
                    <a:pt x="252" y="87"/>
                  </a:cubicBezTo>
                  <a:cubicBezTo>
                    <a:pt x="251" y="88"/>
                    <a:pt x="252" y="86"/>
                    <a:pt x="250" y="87"/>
                  </a:cubicBezTo>
                  <a:cubicBezTo>
                    <a:pt x="248" y="88"/>
                    <a:pt x="247" y="88"/>
                    <a:pt x="246" y="89"/>
                  </a:cubicBezTo>
                  <a:cubicBezTo>
                    <a:pt x="244" y="89"/>
                    <a:pt x="240" y="93"/>
                    <a:pt x="240" y="93"/>
                  </a:cubicBezTo>
                  <a:cubicBezTo>
                    <a:pt x="242" y="96"/>
                    <a:pt x="242" y="96"/>
                    <a:pt x="242" y="96"/>
                  </a:cubicBezTo>
                  <a:cubicBezTo>
                    <a:pt x="242" y="96"/>
                    <a:pt x="236" y="99"/>
                    <a:pt x="235" y="99"/>
                  </a:cubicBezTo>
                  <a:cubicBezTo>
                    <a:pt x="233" y="100"/>
                    <a:pt x="237" y="99"/>
                    <a:pt x="233" y="100"/>
                  </a:cubicBezTo>
                  <a:cubicBezTo>
                    <a:pt x="229" y="101"/>
                    <a:pt x="227" y="105"/>
                    <a:pt x="227" y="106"/>
                  </a:cubicBezTo>
                  <a:cubicBezTo>
                    <a:pt x="226" y="107"/>
                    <a:pt x="223" y="107"/>
                    <a:pt x="223" y="109"/>
                  </a:cubicBezTo>
                  <a:cubicBezTo>
                    <a:pt x="223" y="111"/>
                    <a:pt x="224" y="114"/>
                    <a:pt x="223" y="115"/>
                  </a:cubicBezTo>
                  <a:cubicBezTo>
                    <a:pt x="223" y="116"/>
                    <a:pt x="223" y="116"/>
                    <a:pt x="223" y="117"/>
                  </a:cubicBezTo>
                  <a:cubicBezTo>
                    <a:pt x="223" y="119"/>
                    <a:pt x="222" y="120"/>
                    <a:pt x="225" y="120"/>
                  </a:cubicBezTo>
                  <a:cubicBezTo>
                    <a:pt x="227" y="120"/>
                    <a:pt x="230" y="119"/>
                    <a:pt x="231" y="118"/>
                  </a:cubicBezTo>
                  <a:cubicBezTo>
                    <a:pt x="231" y="117"/>
                    <a:pt x="232" y="114"/>
                    <a:pt x="233" y="115"/>
                  </a:cubicBezTo>
                  <a:cubicBezTo>
                    <a:pt x="234" y="117"/>
                    <a:pt x="234" y="120"/>
                    <a:pt x="234" y="120"/>
                  </a:cubicBezTo>
                  <a:cubicBezTo>
                    <a:pt x="234" y="120"/>
                    <a:pt x="234" y="123"/>
                    <a:pt x="234" y="124"/>
                  </a:cubicBezTo>
                  <a:cubicBezTo>
                    <a:pt x="234" y="125"/>
                    <a:pt x="239" y="123"/>
                    <a:pt x="233" y="126"/>
                  </a:cubicBezTo>
                  <a:cubicBezTo>
                    <a:pt x="228" y="129"/>
                    <a:pt x="226" y="129"/>
                    <a:pt x="226" y="130"/>
                  </a:cubicBezTo>
                  <a:cubicBezTo>
                    <a:pt x="226" y="131"/>
                    <a:pt x="229" y="136"/>
                    <a:pt x="225" y="134"/>
                  </a:cubicBezTo>
                  <a:cubicBezTo>
                    <a:pt x="221" y="133"/>
                    <a:pt x="222" y="134"/>
                    <a:pt x="221" y="133"/>
                  </a:cubicBezTo>
                  <a:cubicBezTo>
                    <a:pt x="220" y="132"/>
                    <a:pt x="222" y="138"/>
                    <a:pt x="217" y="130"/>
                  </a:cubicBezTo>
                  <a:cubicBezTo>
                    <a:pt x="213" y="123"/>
                    <a:pt x="213" y="124"/>
                    <a:pt x="212" y="122"/>
                  </a:cubicBezTo>
                  <a:cubicBezTo>
                    <a:pt x="212" y="121"/>
                    <a:pt x="212" y="115"/>
                    <a:pt x="212" y="115"/>
                  </a:cubicBezTo>
                  <a:cubicBezTo>
                    <a:pt x="212" y="115"/>
                    <a:pt x="211" y="109"/>
                    <a:pt x="208" y="112"/>
                  </a:cubicBezTo>
                  <a:cubicBezTo>
                    <a:pt x="206" y="114"/>
                    <a:pt x="205" y="118"/>
                    <a:pt x="205" y="118"/>
                  </a:cubicBezTo>
                  <a:cubicBezTo>
                    <a:pt x="205" y="118"/>
                    <a:pt x="201" y="122"/>
                    <a:pt x="201" y="123"/>
                  </a:cubicBezTo>
                  <a:cubicBezTo>
                    <a:pt x="200" y="123"/>
                    <a:pt x="198" y="123"/>
                    <a:pt x="196" y="125"/>
                  </a:cubicBezTo>
                  <a:cubicBezTo>
                    <a:pt x="194" y="127"/>
                    <a:pt x="189" y="135"/>
                    <a:pt x="189" y="135"/>
                  </a:cubicBezTo>
                  <a:cubicBezTo>
                    <a:pt x="189" y="135"/>
                    <a:pt x="185" y="141"/>
                    <a:pt x="186" y="142"/>
                  </a:cubicBezTo>
                  <a:cubicBezTo>
                    <a:pt x="187" y="144"/>
                    <a:pt x="189" y="146"/>
                    <a:pt x="189" y="146"/>
                  </a:cubicBezTo>
                  <a:cubicBezTo>
                    <a:pt x="189" y="146"/>
                    <a:pt x="190" y="145"/>
                    <a:pt x="190" y="148"/>
                  </a:cubicBezTo>
                  <a:cubicBezTo>
                    <a:pt x="190" y="150"/>
                    <a:pt x="194" y="151"/>
                    <a:pt x="194" y="151"/>
                  </a:cubicBezTo>
                  <a:cubicBezTo>
                    <a:pt x="194" y="151"/>
                    <a:pt x="196" y="152"/>
                    <a:pt x="194" y="153"/>
                  </a:cubicBezTo>
                  <a:cubicBezTo>
                    <a:pt x="192" y="155"/>
                    <a:pt x="185" y="156"/>
                    <a:pt x="185" y="156"/>
                  </a:cubicBezTo>
                  <a:cubicBezTo>
                    <a:pt x="179" y="156"/>
                    <a:pt x="179" y="156"/>
                    <a:pt x="179" y="156"/>
                  </a:cubicBezTo>
                  <a:cubicBezTo>
                    <a:pt x="179" y="156"/>
                    <a:pt x="176" y="160"/>
                    <a:pt x="175" y="160"/>
                  </a:cubicBezTo>
                  <a:cubicBezTo>
                    <a:pt x="173" y="161"/>
                    <a:pt x="171" y="163"/>
                    <a:pt x="170" y="164"/>
                  </a:cubicBezTo>
                  <a:cubicBezTo>
                    <a:pt x="170" y="166"/>
                    <a:pt x="162" y="172"/>
                    <a:pt x="162" y="172"/>
                  </a:cubicBezTo>
                  <a:cubicBezTo>
                    <a:pt x="162" y="172"/>
                    <a:pt x="163" y="175"/>
                    <a:pt x="163" y="176"/>
                  </a:cubicBezTo>
                  <a:cubicBezTo>
                    <a:pt x="163" y="177"/>
                    <a:pt x="159" y="179"/>
                    <a:pt x="161" y="179"/>
                  </a:cubicBezTo>
                  <a:cubicBezTo>
                    <a:pt x="163" y="180"/>
                    <a:pt x="165" y="181"/>
                    <a:pt x="167" y="178"/>
                  </a:cubicBezTo>
                  <a:cubicBezTo>
                    <a:pt x="168" y="175"/>
                    <a:pt x="169" y="171"/>
                    <a:pt x="169" y="171"/>
                  </a:cubicBezTo>
                  <a:cubicBezTo>
                    <a:pt x="169" y="171"/>
                    <a:pt x="170" y="169"/>
                    <a:pt x="172" y="169"/>
                  </a:cubicBezTo>
                  <a:cubicBezTo>
                    <a:pt x="174" y="169"/>
                    <a:pt x="177" y="167"/>
                    <a:pt x="179" y="167"/>
                  </a:cubicBezTo>
                  <a:cubicBezTo>
                    <a:pt x="181" y="166"/>
                    <a:pt x="184" y="162"/>
                    <a:pt x="185" y="162"/>
                  </a:cubicBezTo>
                  <a:cubicBezTo>
                    <a:pt x="186" y="162"/>
                    <a:pt x="186" y="163"/>
                    <a:pt x="189" y="163"/>
                  </a:cubicBezTo>
                  <a:cubicBezTo>
                    <a:pt x="193" y="162"/>
                    <a:pt x="196" y="162"/>
                    <a:pt x="197" y="161"/>
                  </a:cubicBezTo>
                  <a:cubicBezTo>
                    <a:pt x="198" y="160"/>
                    <a:pt x="205" y="164"/>
                    <a:pt x="205" y="165"/>
                  </a:cubicBezTo>
                  <a:cubicBezTo>
                    <a:pt x="206" y="166"/>
                    <a:pt x="199" y="167"/>
                    <a:pt x="202" y="169"/>
                  </a:cubicBezTo>
                  <a:cubicBezTo>
                    <a:pt x="205" y="170"/>
                    <a:pt x="205" y="171"/>
                    <a:pt x="206" y="171"/>
                  </a:cubicBezTo>
                  <a:cubicBezTo>
                    <a:pt x="207" y="171"/>
                    <a:pt x="208" y="171"/>
                    <a:pt x="211" y="169"/>
                  </a:cubicBezTo>
                  <a:cubicBezTo>
                    <a:pt x="213" y="168"/>
                    <a:pt x="209" y="165"/>
                    <a:pt x="214" y="167"/>
                  </a:cubicBezTo>
                  <a:cubicBezTo>
                    <a:pt x="219" y="169"/>
                    <a:pt x="218" y="170"/>
                    <a:pt x="218" y="170"/>
                  </a:cubicBezTo>
                  <a:cubicBezTo>
                    <a:pt x="218" y="172"/>
                    <a:pt x="218" y="172"/>
                    <a:pt x="218" y="172"/>
                  </a:cubicBezTo>
                  <a:cubicBezTo>
                    <a:pt x="214" y="173"/>
                    <a:pt x="214" y="173"/>
                    <a:pt x="214" y="173"/>
                  </a:cubicBezTo>
                  <a:cubicBezTo>
                    <a:pt x="209" y="172"/>
                    <a:pt x="209" y="172"/>
                    <a:pt x="209" y="172"/>
                  </a:cubicBezTo>
                  <a:cubicBezTo>
                    <a:pt x="206" y="173"/>
                    <a:pt x="206" y="173"/>
                    <a:pt x="206" y="173"/>
                  </a:cubicBezTo>
                  <a:cubicBezTo>
                    <a:pt x="206" y="173"/>
                    <a:pt x="205" y="174"/>
                    <a:pt x="205" y="174"/>
                  </a:cubicBezTo>
                  <a:cubicBezTo>
                    <a:pt x="204" y="174"/>
                    <a:pt x="197" y="175"/>
                    <a:pt x="197" y="175"/>
                  </a:cubicBezTo>
                  <a:cubicBezTo>
                    <a:pt x="194" y="180"/>
                    <a:pt x="194" y="180"/>
                    <a:pt x="194" y="180"/>
                  </a:cubicBezTo>
                  <a:cubicBezTo>
                    <a:pt x="194" y="180"/>
                    <a:pt x="196" y="184"/>
                    <a:pt x="197" y="183"/>
                  </a:cubicBezTo>
                  <a:cubicBezTo>
                    <a:pt x="198" y="183"/>
                    <a:pt x="202" y="182"/>
                    <a:pt x="202" y="182"/>
                  </a:cubicBezTo>
                  <a:cubicBezTo>
                    <a:pt x="203" y="182"/>
                    <a:pt x="204" y="184"/>
                    <a:pt x="203" y="185"/>
                  </a:cubicBezTo>
                  <a:cubicBezTo>
                    <a:pt x="203" y="186"/>
                    <a:pt x="200" y="188"/>
                    <a:pt x="200" y="188"/>
                  </a:cubicBezTo>
                  <a:cubicBezTo>
                    <a:pt x="198" y="191"/>
                    <a:pt x="198" y="191"/>
                    <a:pt x="198" y="191"/>
                  </a:cubicBezTo>
                  <a:cubicBezTo>
                    <a:pt x="198" y="191"/>
                    <a:pt x="201" y="192"/>
                    <a:pt x="202" y="192"/>
                  </a:cubicBezTo>
                  <a:cubicBezTo>
                    <a:pt x="202" y="192"/>
                    <a:pt x="207" y="192"/>
                    <a:pt x="206" y="193"/>
                  </a:cubicBezTo>
                  <a:cubicBezTo>
                    <a:pt x="206" y="193"/>
                    <a:pt x="199" y="194"/>
                    <a:pt x="199" y="194"/>
                  </a:cubicBezTo>
                  <a:cubicBezTo>
                    <a:pt x="199" y="194"/>
                    <a:pt x="193" y="193"/>
                    <a:pt x="193" y="193"/>
                  </a:cubicBezTo>
                  <a:cubicBezTo>
                    <a:pt x="193" y="194"/>
                    <a:pt x="192" y="195"/>
                    <a:pt x="192" y="196"/>
                  </a:cubicBezTo>
                  <a:cubicBezTo>
                    <a:pt x="192" y="196"/>
                    <a:pt x="191" y="198"/>
                    <a:pt x="191" y="198"/>
                  </a:cubicBezTo>
                  <a:cubicBezTo>
                    <a:pt x="190" y="198"/>
                    <a:pt x="188" y="199"/>
                    <a:pt x="188" y="199"/>
                  </a:cubicBezTo>
                  <a:cubicBezTo>
                    <a:pt x="188" y="200"/>
                    <a:pt x="187" y="202"/>
                    <a:pt x="187" y="203"/>
                  </a:cubicBezTo>
                  <a:cubicBezTo>
                    <a:pt x="187" y="204"/>
                    <a:pt x="190" y="206"/>
                    <a:pt x="190" y="206"/>
                  </a:cubicBezTo>
                  <a:cubicBezTo>
                    <a:pt x="189" y="208"/>
                    <a:pt x="189" y="208"/>
                    <a:pt x="189" y="208"/>
                  </a:cubicBezTo>
                  <a:cubicBezTo>
                    <a:pt x="186" y="211"/>
                    <a:pt x="186" y="211"/>
                    <a:pt x="186" y="211"/>
                  </a:cubicBezTo>
                  <a:cubicBezTo>
                    <a:pt x="186" y="211"/>
                    <a:pt x="184" y="212"/>
                    <a:pt x="184" y="213"/>
                  </a:cubicBezTo>
                  <a:cubicBezTo>
                    <a:pt x="184" y="213"/>
                    <a:pt x="181" y="215"/>
                    <a:pt x="181" y="215"/>
                  </a:cubicBezTo>
                  <a:cubicBezTo>
                    <a:pt x="175" y="218"/>
                    <a:pt x="175" y="218"/>
                    <a:pt x="175" y="218"/>
                  </a:cubicBezTo>
                  <a:cubicBezTo>
                    <a:pt x="175" y="218"/>
                    <a:pt x="176" y="220"/>
                    <a:pt x="177" y="221"/>
                  </a:cubicBezTo>
                  <a:cubicBezTo>
                    <a:pt x="177" y="221"/>
                    <a:pt x="179" y="223"/>
                    <a:pt x="177" y="224"/>
                  </a:cubicBezTo>
                  <a:cubicBezTo>
                    <a:pt x="176" y="225"/>
                    <a:pt x="174" y="226"/>
                    <a:pt x="173" y="226"/>
                  </a:cubicBezTo>
                  <a:cubicBezTo>
                    <a:pt x="173" y="227"/>
                    <a:pt x="171" y="228"/>
                    <a:pt x="172" y="229"/>
                  </a:cubicBezTo>
                  <a:cubicBezTo>
                    <a:pt x="172" y="231"/>
                    <a:pt x="170" y="233"/>
                    <a:pt x="170" y="234"/>
                  </a:cubicBezTo>
                  <a:cubicBezTo>
                    <a:pt x="170" y="234"/>
                    <a:pt x="168" y="235"/>
                    <a:pt x="169" y="237"/>
                  </a:cubicBezTo>
                  <a:cubicBezTo>
                    <a:pt x="169" y="239"/>
                    <a:pt x="168" y="244"/>
                    <a:pt x="168" y="244"/>
                  </a:cubicBezTo>
                  <a:cubicBezTo>
                    <a:pt x="168" y="244"/>
                    <a:pt x="171" y="248"/>
                    <a:pt x="171" y="248"/>
                  </a:cubicBezTo>
                  <a:cubicBezTo>
                    <a:pt x="172" y="248"/>
                    <a:pt x="175" y="246"/>
                    <a:pt x="177" y="246"/>
                  </a:cubicBezTo>
                  <a:cubicBezTo>
                    <a:pt x="178" y="247"/>
                    <a:pt x="180" y="248"/>
                    <a:pt x="180" y="248"/>
                  </a:cubicBezTo>
                  <a:cubicBezTo>
                    <a:pt x="180" y="248"/>
                    <a:pt x="180" y="252"/>
                    <a:pt x="179" y="253"/>
                  </a:cubicBezTo>
                  <a:cubicBezTo>
                    <a:pt x="178" y="253"/>
                    <a:pt x="173" y="254"/>
                    <a:pt x="173" y="254"/>
                  </a:cubicBezTo>
                  <a:cubicBezTo>
                    <a:pt x="173" y="254"/>
                    <a:pt x="171" y="252"/>
                    <a:pt x="170" y="253"/>
                  </a:cubicBezTo>
                  <a:cubicBezTo>
                    <a:pt x="169" y="253"/>
                    <a:pt x="165" y="257"/>
                    <a:pt x="165" y="257"/>
                  </a:cubicBezTo>
                  <a:cubicBezTo>
                    <a:pt x="165" y="257"/>
                    <a:pt x="165" y="259"/>
                    <a:pt x="164" y="260"/>
                  </a:cubicBezTo>
                  <a:cubicBezTo>
                    <a:pt x="163" y="260"/>
                    <a:pt x="162" y="259"/>
                    <a:pt x="162" y="260"/>
                  </a:cubicBezTo>
                  <a:cubicBezTo>
                    <a:pt x="162" y="261"/>
                    <a:pt x="162" y="264"/>
                    <a:pt x="162" y="265"/>
                  </a:cubicBezTo>
                  <a:cubicBezTo>
                    <a:pt x="162" y="266"/>
                    <a:pt x="162" y="268"/>
                    <a:pt x="162" y="268"/>
                  </a:cubicBezTo>
                  <a:cubicBezTo>
                    <a:pt x="162" y="268"/>
                    <a:pt x="160" y="271"/>
                    <a:pt x="159" y="273"/>
                  </a:cubicBezTo>
                  <a:cubicBezTo>
                    <a:pt x="159" y="275"/>
                    <a:pt x="157" y="279"/>
                    <a:pt x="157" y="279"/>
                  </a:cubicBezTo>
                  <a:cubicBezTo>
                    <a:pt x="158" y="280"/>
                    <a:pt x="159" y="284"/>
                    <a:pt x="159" y="284"/>
                  </a:cubicBezTo>
                  <a:cubicBezTo>
                    <a:pt x="154" y="287"/>
                    <a:pt x="154" y="287"/>
                    <a:pt x="154" y="287"/>
                  </a:cubicBezTo>
                  <a:cubicBezTo>
                    <a:pt x="155" y="291"/>
                    <a:pt x="155" y="291"/>
                    <a:pt x="155" y="291"/>
                  </a:cubicBezTo>
                  <a:cubicBezTo>
                    <a:pt x="155" y="291"/>
                    <a:pt x="156" y="292"/>
                    <a:pt x="156" y="293"/>
                  </a:cubicBezTo>
                  <a:cubicBezTo>
                    <a:pt x="156" y="294"/>
                    <a:pt x="153" y="296"/>
                    <a:pt x="153" y="296"/>
                  </a:cubicBezTo>
                  <a:cubicBezTo>
                    <a:pt x="153" y="296"/>
                    <a:pt x="153" y="300"/>
                    <a:pt x="152" y="301"/>
                  </a:cubicBezTo>
                  <a:cubicBezTo>
                    <a:pt x="152" y="302"/>
                    <a:pt x="148" y="299"/>
                    <a:pt x="148" y="299"/>
                  </a:cubicBezTo>
                  <a:cubicBezTo>
                    <a:pt x="145" y="300"/>
                    <a:pt x="145" y="300"/>
                    <a:pt x="145" y="300"/>
                  </a:cubicBezTo>
                  <a:cubicBezTo>
                    <a:pt x="145" y="303"/>
                    <a:pt x="145" y="303"/>
                    <a:pt x="145" y="303"/>
                  </a:cubicBezTo>
                  <a:cubicBezTo>
                    <a:pt x="143" y="306"/>
                    <a:pt x="143" y="306"/>
                    <a:pt x="143" y="306"/>
                  </a:cubicBezTo>
                  <a:cubicBezTo>
                    <a:pt x="138" y="306"/>
                    <a:pt x="138" y="306"/>
                    <a:pt x="138" y="306"/>
                  </a:cubicBezTo>
                  <a:cubicBezTo>
                    <a:pt x="138" y="306"/>
                    <a:pt x="133" y="309"/>
                    <a:pt x="133" y="310"/>
                  </a:cubicBezTo>
                  <a:cubicBezTo>
                    <a:pt x="133" y="310"/>
                    <a:pt x="132" y="312"/>
                    <a:pt x="133" y="312"/>
                  </a:cubicBezTo>
                  <a:cubicBezTo>
                    <a:pt x="135" y="313"/>
                    <a:pt x="136" y="313"/>
                    <a:pt x="137" y="312"/>
                  </a:cubicBezTo>
                  <a:cubicBezTo>
                    <a:pt x="138" y="312"/>
                    <a:pt x="142" y="310"/>
                    <a:pt x="142" y="310"/>
                  </a:cubicBezTo>
                  <a:cubicBezTo>
                    <a:pt x="143" y="310"/>
                    <a:pt x="146" y="310"/>
                    <a:pt x="144" y="312"/>
                  </a:cubicBezTo>
                  <a:cubicBezTo>
                    <a:pt x="143" y="313"/>
                    <a:pt x="141" y="314"/>
                    <a:pt x="140" y="314"/>
                  </a:cubicBezTo>
                  <a:cubicBezTo>
                    <a:pt x="139" y="315"/>
                    <a:pt x="137" y="315"/>
                    <a:pt x="136" y="317"/>
                  </a:cubicBezTo>
                  <a:cubicBezTo>
                    <a:pt x="136" y="320"/>
                    <a:pt x="136" y="322"/>
                    <a:pt x="136" y="322"/>
                  </a:cubicBezTo>
                  <a:cubicBezTo>
                    <a:pt x="141" y="320"/>
                    <a:pt x="141" y="320"/>
                    <a:pt x="141" y="320"/>
                  </a:cubicBezTo>
                  <a:cubicBezTo>
                    <a:pt x="141" y="320"/>
                    <a:pt x="142" y="320"/>
                    <a:pt x="143" y="322"/>
                  </a:cubicBezTo>
                  <a:cubicBezTo>
                    <a:pt x="144" y="325"/>
                    <a:pt x="141" y="326"/>
                    <a:pt x="140" y="326"/>
                  </a:cubicBezTo>
                  <a:cubicBezTo>
                    <a:pt x="139" y="326"/>
                    <a:pt x="135" y="323"/>
                    <a:pt x="135" y="323"/>
                  </a:cubicBezTo>
                  <a:cubicBezTo>
                    <a:pt x="131" y="325"/>
                    <a:pt x="131" y="325"/>
                    <a:pt x="131" y="325"/>
                  </a:cubicBezTo>
                  <a:cubicBezTo>
                    <a:pt x="131" y="325"/>
                    <a:pt x="131" y="324"/>
                    <a:pt x="128" y="327"/>
                  </a:cubicBezTo>
                  <a:cubicBezTo>
                    <a:pt x="124" y="330"/>
                    <a:pt x="123" y="334"/>
                    <a:pt x="123" y="335"/>
                  </a:cubicBezTo>
                  <a:cubicBezTo>
                    <a:pt x="123" y="336"/>
                    <a:pt x="122" y="338"/>
                    <a:pt x="121" y="339"/>
                  </a:cubicBezTo>
                  <a:cubicBezTo>
                    <a:pt x="119" y="340"/>
                    <a:pt x="116" y="343"/>
                    <a:pt x="116" y="343"/>
                  </a:cubicBezTo>
                  <a:cubicBezTo>
                    <a:pt x="116" y="343"/>
                    <a:pt x="115" y="344"/>
                    <a:pt x="115" y="346"/>
                  </a:cubicBezTo>
                  <a:cubicBezTo>
                    <a:pt x="114" y="348"/>
                    <a:pt x="114" y="348"/>
                    <a:pt x="114" y="348"/>
                  </a:cubicBezTo>
                  <a:cubicBezTo>
                    <a:pt x="117" y="351"/>
                    <a:pt x="117" y="351"/>
                    <a:pt x="117" y="351"/>
                  </a:cubicBezTo>
                  <a:cubicBezTo>
                    <a:pt x="111" y="354"/>
                    <a:pt x="111" y="354"/>
                    <a:pt x="111" y="354"/>
                  </a:cubicBezTo>
                  <a:cubicBezTo>
                    <a:pt x="109" y="356"/>
                    <a:pt x="109" y="356"/>
                    <a:pt x="109" y="356"/>
                  </a:cubicBezTo>
                  <a:cubicBezTo>
                    <a:pt x="109" y="356"/>
                    <a:pt x="104" y="361"/>
                    <a:pt x="108" y="362"/>
                  </a:cubicBezTo>
                  <a:cubicBezTo>
                    <a:pt x="111" y="362"/>
                    <a:pt x="113" y="362"/>
                    <a:pt x="113" y="362"/>
                  </a:cubicBezTo>
                  <a:cubicBezTo>
                    <a:pt x="113" y="362"/>
                    <a:pt x="113" y="367"/>
                    <a:pt x="114" y="367"/>
                  </a:cubicBezTo>
                  <a:cubicBezTo>
                    <a:pt x="115" y="367"/>
                    <a:pt x="122" y="368"/>
                    <a:pt x="122" y="368"/>
                  </a:cubicBezTo>
                  <a:cubicBezTo>
                    <a:pt x="126" y="364"/>
                    <a:pt x="126" y="364"/>
                    <a:pt x="126" y="364"/>
                  </a:cubicBezTo>
                  <a:cubicBezTo>
                    <a:pt x="128" y="363"/>
                    <a:pt x="128" y="363"/>
                    <a:pt x="128" y="363"/>
                  </a:cubicBezTo>
                  <a:cubicBezTo>
                    <a:pt x="130" y="366"/>
                    <a:pt x="130" y="366"/>
                    <a:pt x="130" y="366"/>
                  </a:cubicBezTo>
                  <a:cubicBezTo>
                    <a:pt x="130" y="366"/>
                    <a:pt x="129" y="368"/>
                    <a:pt x="126" y="368"/>
                  </a:cubicBezTo>
                  <a:cubicBezTo>
                    <a:pt x="124" y="368"/>
                    <a:pt x="125" y="368"/>
                    <a:pt x="123" y="370"/>
                  </a:cubicBezTo>
                  <a:cubicBezTo>
                    <a:pt x="121" y="372"/>
                    <a:pt x="120" y="373"/>
                    <a:pt x="119" y="373"/>
                  </a:cubicBezTo>
                  <a:cubicBezTo>
                    <a:pt x="118" y="373"/>
                    <a:pt x="116" y="375"/>
                    <a:pt x="115" y="372"/>
                  </a:cubicBezTo>
                  <a:cubicBezTo>
                    <a:pt x="114" y="370"/>
                    <a:pt x="112" y="367"/>
                    <a:pt x="112" y="367"/>
                  </a:cubicBezTo>
                  <a:cubicBezTo>
                    <a:pt x="105" y="364"/>
                    <a:pt x="105" y="364"/>
                    <a:pt x="105" y="364"/>
                  </a:cubicBezTo>
                  <a:cubicBezTo>
                    <a:pt x="103" y="365"/>
                    <a:pt x="103" y="365"/>
                    <a:pt x="103" y="365"/>
                  </a:cubicBezTo>
                  <a:cubicBezTo>
                    <a:pt x="103" y="365"/>
                    <a:pt x="103" y="368"/>
                    <a:pt x="102" y="368"/>
                  </a:cubicBezTo>
                  <a:cubicBezTo>
                    <a:pt x="101" y="368"/>
                    <a:pt x="96" y="368"/>
                    <a:pt x="95" y="368"/>
                  </a:cubicBezTo>
                  <a:cubicBezTo>
                    <a:pt x="93" y="368"/>
                    <a:pt x="92" y="368"/>
                    <a:pt x="92" y="367"/>
                  </a:cubicBezTo>
                  <a:cubicBezTo>
                    <a:pt x="92" y="366"/>
                    <a:pt x="92" y="365"/>
                    <a:pt x="91" y="365"/>
                  </a:cubicBezTo>
                  <a:cubicBezTo>
                    <a:pt x="91" y="364"/>
                    <a:pt x="89" y="361"/>
                    <a:pt x="88" y="361"/>
                  </a:cubicBezTo>
                  <a:cubicBezTo>
                    <a:pt x="86" y="361"/>
                    <a:pt x="83" y="363"/>
                    <a:pt x="83" y="363"/>
                  </a:cubicBezTo>
                  <a:cubicBezTo>
                    <a:pt x="82" y="370"/>
                    <a:pt x="82" y="370"/>
                    <a:pt x="82" y="370"/>
                  </a:cubicBezTo>
                  <a:cubicBezTo>
                    <a:pt x="82" y="370"/>
                    <a:pt x="80" y="369"/>
                    <a:pt x="80" y="371"/>
                  </a:cubicBezTo>
                  <a:cubicBezTo>
                    <a:pt x="80" y="372"/>
                    <a:pt x="83" y="375"/>
                    <a:pt x="83" y="375"/>
                  </a:cubicBezTo>
                  <a:cubicBezTo>
                    <a:pt x="83" y="375"/>
                    <a:pt x="85" y="376"/>
                    <a:pt x="85" y="377"/>
                  </a:cubicBezTo>
                  <a:cubicBezTo>
                    <a:pt x="85" y="378"/>
                    <a:pt x="83" y="380"/>
                    <a:pt x="83" y="380"/>
                  </a:cubicBezTo>
                  <a:cubicBezTo>
                    <a:pt x="83" y="380"/>
                    <a:pt x="79" y="380"/>
                    <a:pt x="79" y="381"/>
                  </a:cubicBezTo>
                  <a:cubicBezTo>
                    <a:pt x="78" y="382"/>
                    <a:pt x="79" y="385"/>
                    <a:pt x="79" y="385"/>
                  </a:cubicBezTo>
                  <a:cubicBezTo>
                    <a:pt x="78" y="385"/>
                    <a:pt x="76" y="387"/>
                    <a:pt x="77" y="388"/>
                  </a:cubicBezTo>
                  <a:cubicBezTo>
                    <a:pt x="77" y="388"/>
                    <a:pt x="78" y="392"/>
                    <a:pt x="78" y="392"/>
                  </a:cubicBezTo>
                  <a:cubicBezTo>
                    <a:pt x="78" y="392"/>
                    <a:pt x="78" y="396"/>
                    <a:pt x="77" y="394"/>
                  </a:cubicBezTo>
                  <a:cubicBezTo>
                    <a:pt x="75" y="392"/>
                    <a:pt x="70" y="390"/>
                    <a:pt x="70" y="390"/>
                  </a:cubicBezTo>
                  <a:cubicBezTo>
                    <a:pt x="67" y="388"/>
                    <a:pt x="67" y="388"/>
                    <a:pt x="67" y="388"/>
                  </a:cubicBezTo>
                  <a:cubicBezTo>
                    <a:pt x="67" y="388"/>
                    <a:pt x="64" y="390"/>
                    <a:pt x="63" y="390"/>
                  </a:cubicBezTo>
                  <a:cubicBezTo>
                    <a:pt x="63" y="390"/>
                    <a:pt x="57" y="389"/>
                    <a:pt x="56" y="390"/>
                  </a:cubicBezTo>
                  <a:cubicBezTo>
                    <a:pt x="55" y="391"/>
                    <a:pt x="55" y="392"/>
                    <a:pt x="54" y="394"/>
                  </a:cubicBezTo>
                  <a:cubicBezTo>
                    <a:pt x="53" y="395"/>
                    <a:pt x="50" y="395"/>
                    <a:pt x="52" y="398"/>
                  </a:cubicBezTo>
                  <a:cubicBezTo>
                    <a:pt x="55" y="400"/>
                    <a:pt x="58" y="401"/>
                    <a:pt x="58" y="401"/>
                  </a:cubicBezTo>
                  <a:cubicBezTo>
                    <a:pt x="58" y="401"/>
                    <a:pt x="60" y="401"/>
                    <a:pt x="59" y="404"/>
                  </a:cubicBezTo>
                  <a:cubicBezTo>
                    <a:pt x="57" y="407"/>
                    <a:pt x="53" y="405"/>
                    <a:pt x="53" y="405"/>
                  </a:cubicBezTo>
                  <a:cubicBezTo>
                    <a:pt x="52" y="404"/>
                    <a:pt x="48" y="402"/>
                    <a:pt x="48" y="402"/>
                  </a:cubicBezTo>
                  <a:cubicBezTo>
                    <a:pt x="47" y="403"/>
                    <a:pt x="44" y="407"/>
                    <a:pt x="44" y="407"/>
                  </a:cubicBezTo>
                  <a:cubicBezTo>
                    <a:pt x="44" y="407"/>
                    <a:pt x="43" y="408"/>
                    <a:pt x="42" y="408"/>
                  </a:cubicBezTo>
                  <a:cubicBezTo>
                    <a:pt x="41" y="407"/>
                    <a:pt x="39" y="404"/>
                    <a:pt x="38" y="404"/>
                  </a:cubicBezTo>
                  <a:cubicBezTo>
                    <a:pt x="37" y="405"/>
                    <a:pt x="36" y="407"/>
                    <a:pt x="36" y="407"/>
                  </a:cubicBezTo>
                  <a:cubicBezTo>
                    <a:pt x="36" y="408"/>
                    <a:pt x="37" y="410"/>
                    <a:pt x="37" y="411"/>
                  </a:cubicBezTo>
                  <a:cubicBezTo>
                    <a:pt x="36" y="411"/>
                    <a:pt x="32" y="412"/>
                    <a:pt x="32" y="413"/>
                  </a:cubicBezTo>
                  <a:cubicBezTo>
                    <a:pt x="32" y="414"/>
                    <a:pt x="31" y="412"/>
                    <a:pt x="30" y="416"/>
                  </a:cubicBezTo>
                  <a:cubicBezTo>
                    <a:pt x="29" y="419"/>
                    <a:pt x="31" y="419"/>
                    <a:pt x="29" y="419"/>
                  </a:cubicBezTo>
                  <a:cubicBezTo>
                    <a:pt x="28" y="419"/>
                    <a:pt x="25" y="417"/>
                    <a:pt x="25" y="417"/>
                  </a:cubicBezTo>
                  <a:cubicBezTo>
                    <a:pt x="25" y="417"/>
                    <a:pt x="22" y="414"/>
                    <a:pt x="22" y="417"/>
                  </a:cubicBezTo>
                  <a:cubicBezTo>
                    <a:pt x="22" y="420"/>
                    <a:pt x="22" y="424"/>
                    <a:pt x="22" y="424"/>
                  </a:cubicBezTo>
                  <a:cubicBezTo>
                    <a:pt x="23" y="425"/>
                    <a:pt x="23" y="425"/>
                    <a:pt x="23" y="425"/>
                  </a:cubicBezTo>
                  <a:cubicBezTo>
                    <a:pt x="23" y="425"/>
                    <a:pt x="23" y="426"/>
                    <a:pt x="22" y="427"/>
                  </a:cubicBezTo>
                  <a:cubicBezTo>
                    <a:pt x="22" y="427"/>
                    <a:pt x="20" y="426"/>
                    <a:pt x="20" y="425"/>
                  </a:cubicBezTo>
                  <a:cubicBezTo>
                    <a:pt x="19" y="424"/>
                    <a:pt x="20" y="423"/>
                    <a:pt x="18" y="422"/>
                  </a:cubicBezTo>
                  <a:cubicBezTo>
                    <a:pt x="15" y="421"/>
                    <a:pt x="13" y="420"/>
                    <a:pt x="13" y="421"/>
                  </a:cubicBezTo>
                  <a:cubicBezTo>
                    <a:pt x="13" y="423"/>
                    <a:pt x="13" y="424"/>
                    <a:pt x="13" y="425"/>
                  </a:cubicBezTo>
                  <a:cubicBezTo>
                    <a:pt x="14" y="427"/>
                    <a:pt x="16" y="428"/>
                    <a:pt x="16" y="428"/>
                  </a:cubicBezTo>
                  <a:cubicBezTo>
                    <a:pt x="17" y="428"/>
                    <a:pt x="17" y="428"/>
                    <a:pt x="17" y="428"/>
                  </a:cubicBezTo>
                  <a:cubicBezTo>
                    <a:pt x="17" y="428"/>
                    <a:pt x="16" y="431"/>
                    <a:pt x="15" y="431"/>
                  </a:cubicBezTo>
                  <a:cubicBezTo>
                    <a:pt x="14" y="431"/>
                    <a:pt x="13" y="429"/>
                    <a:pt x="13" y="430"/>
                  </a:cubicBezTo>
                  <a:cubicBezTo>
                    <a:pt x="12" y="430"/>
                    <a:pt x="10" y="432"/>
                    <a:pt x="10" y="432"/>
                  </a:cubicBezTo>
                  <a:cubicBezTo>
                    <a:pt x="10" y="432"/>
                    <a:pt x="11" y="433"/>
                    <a:pt x="11" y="434"/>
                  </a:cubicBezTo>
                  <a:cubicBezTo>
                    <a:pt x="11" y="434"/>
                    <a:pt x="9" y="436"/>
                    <a:pt x="8" y="436"/>
                  </a:cubicBezTo>
                  <a:cubicBezTo>
                    <a:pt x="8" y="437"/>
                    <a:pt x="7" y="437"/>
                    <a:pt x="7" y="438"/>
                  </a:cubicBezTo>
                  <a:cubicBezTo>
                    <a:pt x="7" y="439"/>
                    <a:pt x="8" y="441"/>
                    <a:pt x="8" y="441"/>
                  </a:cubicBezTo>
                  <a:cubicBezTo>
                    <a:pt x="9" y="441"/>
                    <a:pt x="13" y="441"/>
                    <a:pt x="13" y="441"/>
                  </a:cubicBezTo>
                  <a:cubicBezTo>
                    <a:pt x="13" y="441"/>
                    <a:pt x="13" y="443"/>
                    <a:pt x="12" y="443"/>
                  </a:cubicBezTo>
                  <a:cubicBezTo>
                    <a:pt x="11" y="444"/>
                    <a:pt x="10" y="445"/>
                    <a:pt x="9" y="446"/>
                  </a:cubicBezTo>
                  <a:cubicBezTo>
                    <a:pt x="9" y="448"/>
                    <a:pt x="10" y="451"/>
                    <a:pt x="12" y="452"/>
                  </a:cubicBezTo>
                  <a:cubicBezTo>
                    <a:pt x="14" y="452"/>
                    <a:pt x="17" y="453"/>
                    <a:pt x="16" y="454"/>
                  </a:cubicBezTo>
                  <a:cubicBezTo>
                    <a:pt x="16" y="455"/>
                    <a:pt x="12" y="458"/>
                    <a:pt x="11" y="458"/>
                  </a:cubicBezTo>
                  <a:cubicBezTo>
                    <a:pt x="10" y="459"/>
                    <a:pt x="9" y="459"/>
                    <a:pt x="9" y="461"/>
                  </a:cubicBezTo>
                  <a:cubicBezTo>
                    <a:pt x="8" y="462"/>
                    <a:pt x="9" y="463"/>
                    <a:pt x="7" y="464"/>
                  </a:cubicBezTo>
                  <a:cubicBezTo>
                    <a:pt x="6" y="465"/>
                    <a:pt x="4" y="464"/>
                    <a:pt x="5" y="466"/>
                  </a:cubicBezTo>
                  <a:cubicBezTo>
                    <a:pt x="5" y="469"/>
                    <a:pt x="5" y="470"/>
                    <a:pt x="6" y="469"/>
                  </a:cubicBezTo>
                  <a:cubicBezTo>
                    <a:pt x="6" y="469"/>
                    <a:pt x="7" y="469"/>
                    <a:pt x="7" y="469"/>
                  </a:cubicBezTo>
                  <a:cubicBezTo>
                    <a:pt x="13" y="469"/>
                    <a:pt x="13" y="469"/>
                    <a:pt x="13" y="469"/>
                  </a:cubicBezTo>
                  <a:cubicBezTo>
                    <a:pt x="13" y="469"/>
                    <a:pt x="13" y="470"/>
                    <a:pt x="13" y="471"/>
                  </a:cubicBezTo>
                  <a:cubicBezTo>
                    <a:pt x="12" y="472"/>
                    <a:pt x="8" y="477"/>
                    <a:pt x="8" y="477"/>
                  </a:cubicBezTo>
                  <a:cubicBezTo>
                    <a:pt x="8" y="477"/>
                    <a:pt x="8" y="479"/>
                    <a:pt x="7" y="480"/>
                  </a:cubicBezTo>
                  <a:cubicBezTo>
                    <a:pt x="6" y="481"/>
                    <a:pt x="4" y="481"/>
                    <a:pt x="4" y="482"/>
                  </a:cubicBezTo>
                  <a:cubicBezTo>
                    <a:pt x="4" y="483"/>
                    <a:pt x="4" y="484"/>
                    <a:pt x="4" y="486"/>
                  </a:cubicBezTo>
                  <a:cubicBezTo>
                    <a:pt x="4" y="487"/>
                    <a:pt x="6" y="489"/>
                    <a:pt x="6" y="490"/>
                  </a:cubicBezTo>
                  <a:cubicBezTo>
                    <a:pt x="7" y="491"/>
                    <a:pt x="6" y="492"/>
                    <a:pt x="6" y="492"/>
                  </a:cubicBezTo>
                  <a:cubicBezTo>
                    <a:pt x="4" y="499"/>
                    <a:pt x="4" y="499"/>
                    <a:pt x="4" y="499"/>
                  </a:cubicBezTo>
                  <a:cubicBezTo>
                    <a:pt x="4" y="499"/>
                    <a:pt x="4" y="502"/>
                    <a:pt x="4" y="503"/>
                  </a:cubicBezTo>
                  <a:cubicBezTo>
                    <a:pt x="4" y="503"/>
                    <a:pt x="0" y="505"/>
                    <a:pt x="2" y="507"/>
                  </a:cubicBezTo>
                  <a:cubicBezTo>
                    <a:pt x="4" y="509"/>
                    <a:pt x="5" y="510"/>
                    <a:pt x="6" y="510"/>
                  </a:cubicBezTo>
                  <a:cubicBezTo>
                    <a:pt x="7" y="511"/>
                    <a:pt x="11" y="510"/>
                    <a:pt x="11" y="511"/>
                  </a:cubicBezTo>
                  <a:cubicBezTo>
                    <a:pt x="11" y="511"/>
                    <a:pt x="11" y="512"/>
                    <a:pt x="9" y="512"/>
                  </a:cubicBezTo>
                  <a:cubicBezTo>
                    <a:pt x="7" y="513"/>
                    <a:pt x="5" y="512"/>
                    <a:pt x="5" y="513"/>
                  </a:cubicBezTo>
                  <a:cubicBezTo>
                    <a:pt x="5" y="514"/>
                    <a:pt x="1" y="519"/>
                    <a:pt x="1" y="519"/>
                  </a:cubicBezTo>
                  <a:cubicBezTo>
                    <a:pt x="5" y="524"/>
                    <a:pt x="5" y="524"/>
                    <a:pt x="5" y="524"/>
                  </a:cubicBezTo>
                  <a:cubicBezTo>
                    <a:pt x="5" y="524"/>
                    <a:pt x="7" y="522"/>
                    <a:pt x="8" y="522"/>
                  </a:cubicBezTo>
                  <a:cubicBezTo>
                    <a:pt x="8" y="522"/>
                    <a:pt x="11" y="522"/>
                    <a:pt x="11" y="523"/>
                  </a:cubicBezTo>
                  <a:cubicBezTo>
                    <a:pt x="11" y="523"/>
                    <a:pt x="9" y="525"/>
                    <a:pt x="9" y="526"/>
                  </a:cubicBezTo>
                  <a:cubicBezTo>
                    <a:pt x="8" y="526"/>
                    <a:pt x="6" y="527"/>
                    <a:pt x="6" y="528"/>
                  </a:cubicBezTo>
                  <a:cubicBezTo>
                    <a:pt x="6" y="528"/>
                    <a:pt x="8" y="531"/>
                    <a:pt x="8" y="531"/>
                  </a:cubicBezTo>
                  <a:cubicBezTo>
                    <a:pt x="8" y="531"/>
                    <a:pt x="10" y="531"/>
                    <a:pt x="10" y="532"/>
                  </a:cubicBezTo>
                  <a:cubicBezTo>
                    <a:pt x="10" y="533"/>
                    <a:pt x="7" y="535"/>
                    <a:pt x="7" y="535"/>
                  </a:cubicBezTo>
                  <a:cubicBezTo>
                    <a:pt x="7" y="537"/>
                    <a:pt x="7" y="537"/>
                    <a:pt x="7" y="537"/>
                  </a:cubicBezTo>
                  <a:cubicBezTo>
                    <a:pt x="6" y="542"/>
                    <a:pt x="6" y="542"/>
                    <a:pt x="6" y="542"/>
                  </a:cubicBezTo>
                  <a:cubicBezTo>
                    <a:pt x="9" y="545"/>
                    <a:pt x="9" y="545"/>
                    <a:pt x="9" y="545"/>
                  </a:cubicBezTo>
                  <a:cubicBezTo>
                    <a:pt x="9" y="545"/>
                    <a:pt x="13" y="545"/>
                    <a:pt x="11" y="547"/>
                  </a:cubicBezTo>
                  <a:cubicBezTo>
                    <a:pt x="10" y="549"/>
                    <a:pt x="8" y="550"/>
                    <a:pt x="8" y="551"/>
                  </a:cubicBezTo>
                  <a:cubicBezTo>
                    <a:pt x="8" y="553"/>
                    <a:pt x="7" y="555"/>
                    <a:pt x="9" y="555"/>
                  </a:cubicBezTo>
                  <a:cubicBezTo>
                    <a:pt x="10" y="555"/>
                    <a:pt x="10" y="556"/>
                    <a:pt x="11" y="555"/>
                  </a:cubicBezTo>
                  <a:cubicBezTo>
                    <a:pt x="12" y="555"/>
                    <a:pt x="14" y="554"/>
                    <a:pt x="14" y="554"/>
                  </a:cubicBezTo>
                  <a:cubicBezTo>
                    <a:pt x="14" y="554"/>
                    <a:pt x="17" y="552"/>
                    <a:pt x="18" y="552"/>
                  </a:cubicBezTo>
                  <a:cubicBezTo>
                    <a:pt x="19" y="552"/>
                    <a:pt x="21" y="553"/>
                    <a:pt x="21" y="554"/>
                  </a:cubicBezTo>
                  <a:cubicBezTo>
                    <a:pt x="21" y="555"/>
                    <a:pt x="22" y="555"/>
                    <a:pt x="22" y="556"/>
                  </a:cubicBezTo>
                  <a:cubicBezTo>
                    <a:pt x="23" y="556"/>
                    <a:pt x="21" y="560"/>
                    <a:pt x="21" y="560"/>
                  </a:cubicBezTo>
                  <a:cubicBezTo>
                    <a:pt x="19" y="564"/>
                    <a:pt x="19" y="564"/>
                    <a:pt x="19" y="564"/>
                  </a:cubicBezTo>
                  <a:cubicBezTo>
                    <a:pt x="19" y="564"/>
                    <a:pt x="21" y="566"/>
                    <a:pt x="21" y="566"/>
                  </a:cubicBezTo>
                  <a:cubicBezTo>
                    <a:pt x="20" y="566"/>
                    <a:pt x="17" y="567"/>
                    <a:pt x="16" y="567"/>
                  </a:cubicBezTo>
                  <a:cubicBezTo>
                    <a:pt x="15" y="567"/>
                    <a:pt x="14" y="567"/>
                    <a:pt x="14" y="568"/>
                  </a:cubicBezTo>
                  <a:cubicBezTo>
                    <a:pt x="13" y="570"/>
                    <a:pt x="11" y="574"/>
                    <a:pt x="11" y="574"/>
                  </a:cubicBezTo>
                  <a:cubicBezTo>
                    <a:pt x="11" y="574"/>
                    <a:pt x="10" y="575"/>
                    <a:pt x="11" y="577"/>
                  </a:cubicBezTo>
                  <a:cubicBezTo>
                    <a:pt x="12" y="579"/>
                    <a:pt x="15" y="584"/>
                    <a:pt x="15" y="584"/>
                  </a:cubicBezTo>
                  <a:cubicBezTo>
                    <a:pt x="15" y="585"/>
                    <a:pt x="17" y="587"/>
                    <a:pt x="19" y="589"/>
                  </a:cubicBezTo>
                  <a:cubicBezTo>
                    <a:pt x="21" y="590"/>
                    <a:pt x="23" y="591"/>
                    <a:pt x="23" y="592"/>
                  </a:cubicBezTo>
                  <a:cubicBezTo>
                    <a:pt x="23" y="594"/>
                    <a:pt x="23" y="594"/>
                    <a:pt x="23" y="594"/>
                  </a:cubicBezTo>
                  <a:cubicBezTo>
                    <a:pt x="27" y="597"/>
                    <a:pt x="27" y="597"/>
                    <a:pt x="27" y="597"/>
                  </a:cubicBezTo>
                  <a:cubicBezTo>
                    <a:pt x="27" y="597"/>
                    <a:pt x="28" y="597"/>
                    <a:pt x="31" y="598"/>
                  </a:cubicBezTo>
                  <a:cubicBezTo>
                    <a:pt x="34" y="598"/>
                    <a:pt x="36" y="599"/>
                    <a:pt x="37" y="599"/>
                  </a:cubicBezTo>
                  <a:cubicBezTo>
                    <a:pt x="37" y="600"/>
                    <a:pt x="34" y="602"/>
                    <a:pt x="34" y="602"/>
                  </a:cubicBezTo>
                  <a:cubicBezTo>
                    <a:pt x="34" y="602"/>
                    <a:pt x="30" y="605"/>
                    <a:pt x="32" y="606"/>
                  </a:cubicBezTo>
                  <a:cubicBezTo>
                    <a:pt x="34" y="607"/>
                    <a:pt x="44" y="609"/>
                    <a:pt x="44" y="609"/>
                  </a:cubicBezTo>
                  <a:cubicBezTo>
                    <a:pt x="44" y="609"/>
                    <a:pt x="46" y="610"/>
                    <a:pt x="46" y="611"/>
                  </a:cubicBezTo>
                  <a:cubicBezTo>
                    <a:pt x="47" y="611"/>
                    <a:pt x="49" y="610"/>
                    <a:pt x="49" y="610"/>
                  </a:cubicBezTo>
                  <a:cubicBezTo>
                    <a:pt x="49" y="609"/>
                    <a:pt x="53" y="611"/>
                    <a:pt x="53" y="611"/>
                  </a:cubicBezTo>
                  <a:cubicBezTo>
                    <a:pt x="54" y="610"/>
                    <a:pt x="58" y="610"/>
                    <a:pt x="58" y="610"/>
                  </a:cubicBezTo>
                  <a:cubicBezTo>
                    <a:pt x="62" y="608"/>
                    <a:pt x="62" y="608"/>
                    <a:pt x="62" y="608"/>
                  </a:cubicBezTo>
                  <a:cubicBezTo>
                    <a:pt x="62" y="608"/>
                    <a:pt x="65" y="604"/>
                    <a:pt x="67" y="605"/>
                  </a:cubicBezTo>
                  <a:cubicBezTo>
                    <a:pt x="69" y="606"/>
                    <a:pt x="68" y="607"/>
                    <a:pt x="69" y="607"/>
                  </a:cubicBezTo>
                  <a:cubicBezTo>
                    <a:pt x="71" y="607"/>
                    <a:pt x="72" y="607"/>
                    <a:pt x="74" y="605"/>
                  </a:cubicBezTo>
                  <a:cubicBezTo>
                    <a:pt x="75" y="603"/>
                    <a:pt x="77" y="602"/>
                    <a:pt x="77" y="601"/>
                  </a:cubicBezTo>
                  <a:cubicBezTo>
                    <a:pt x="78" y="601"/>
                    <a:pt x="88" y="595"/>
                    <a:pt x="88" y="595"/>
                  </a:cubicBezTo>
                  <a:cubicBezTo>
                    <a:pt x="95" y="584"/>
                    <a:pt x="95" y="584"/>
                    <a:pt x="95" y="584"/>
                  </a:cubicBezTo>
                  <a:cubicBezTo>
                    <a:pt x="97" y="576"/>
                    <a:pt x="97" y="576"/>
                    <a:pt x="97" y="576"/>
                  </a:cubicBezTo>
                  <a:cubicBezTo>
                    <a:pt x="97" y="576"/>
                    <a:pt x="100" y="572"/>
                    <a:pt x="102" y="572"/>
                  </a:cubicBezTo>
                  <a:cubicBezTo>
                    <a:pt x="104" y="572"/>
                    <a:pt x="110" y="569"/>
                    <a:pt x="109" y="568"/>
                  </a:cubicBezTo>
                  <a:cubicBezTo>
                    <a:pt x="109" y="566"/>
                    <a:pt x="111" y="565"/>
                    <a:pt x="112" y="568"/>
                  </a:cubicBezTo>
                  <a:cubicBezTo>
                    <a:pt x="112" y="571"/>
                    <a:pt x="111" y="574"/>
                    <a:pt x="113" y="573"/>
                  </a:cubicBezTo>
                  <a:cubicBezTo>
                    <a:pt x="115" y="572"/>
                    <a:pt x="119" y="566"/>
                    <a:pt x="119" y="566"/>
                  </a:cubicBezTo>
                  <a:cubicBezTo>
                    <a:pt x="119" y="566"/>
                    <a:pt x="122" y="564"/>
                    <a:pt x="123" y="563"/>
                  </a:cubicBezTo>
                  <a:cubicBezTo>
                    <a:pt x="125" y="563"/>
                    <a:pt x="128" y="557"/>
                    <a:pt x="128" y="557"/>
                  </a:cubicBezTo>
                  <a:cubicBezTo>
                    <a:pt x="128" y="557"/>
                    <a:pt x="131" y="555"/>
                    <a:pt x="132" y="558"/>
                  </a:cubicBezTo>
                  <a:cubicBezTo>
                    <a:pt x="133" y="560"/>
                    <a:pt x="136" y="565"/>
                    <a:pt x="136" y="566"/>
                  </a:cubicBezTo>
                  <a:cubicBezTo>
                    <a:pt x="136" y="566"/>
                    <a:pt x="137" y="567"/>
                    <a:pt x="137" y="567"/>
                  </a:cubicBezTo>
                  <a:cubicBezTo>
                    <a:pt x="137" y="566"/>
                    <a:pt x="137" y="566"/>
                    <a:pt x="137" y="566"/>
                  </a:cubicBezTo>
                  <a:cubicBezTo>
                    <a:pt x="138" y="558"/>
                    <a:pt x="138" y="558"/>
                    <a:pt x="138" y="558"/>
                  </a:cubicBezTo>
                  <a:cubicBezTo>
                    <a:pt x="141" y="560"/>
                    <a:pt x="141" y="560"/>
                    <a:pt x="141" y="560"/>
                  </a:cubicBezTo>
                  <a:cubicBezTo>
                    <a:pt x="147" y="565"/>
                    <a:pt x="147" y="565"/>
                    <a:pt x="147" y="566"/>
                  </a:cubicBezTo>
                  <a:cubicBezTo>
                    <a:pt x="147" y="566"/>
                    <a:pt x="147" y="566"/>
                    <a:pt x="148" y="570"/>
                  </a:cubicBezTo>
                  <a:cubicBezTo>
                    <a:pt x="148" y="570"/>
                    <a:pt x="148" y="570"/>
                    <a:pt x="148" y="570"/>
                  </a:cubicBezTo>
                  <a:cubicBezTo>
                    <a:pt x="148" y="570"/>
                    <a:pt x="148" y="570"/>
                    <a:pt x="148" y="570"/>
                  </a:cubicBezTo>
                  <a:cubicBezTo>
                    <a:pt x="149" y="566"/>
                    <a:pt x="149" y="566"/>
                    <a:pt x="149" y="566"/>
                  </a:cubicBezTo>
                  <a:cubicBezTo>
                    <a:pt x="149" y="561"/>
                    <a:pt x="149" y="561"/>
                    <a:pt x="149" y="561"/>
                  </a:cubicBezTo>
                  <a:cubicBezTo>
                    <a:pt x="152" y="556"/>
                    <a:pt x="152" y="556"/>
                    <a:pt x="152" y="556"/>
                  </a:cubicBezTo>
                  <a:cubicBezTo>
                    <a:pt x="152" y="551"/>
                    <a:pt x="152" y="551"/>
                    <a:pt x="152" y="551"/>
                  </a:cubicBezTo>
                  <a:cubicBezTo>
                    <a:pt x="149" y="546"/>
                    <a:pt x="149" y="546"/>
                    <a:pt x="149" y="546"/>
                  </a:cubicBezTo>
                  <a:cubicBezTo>
                    <a:pt x="147" y="540"/>
                    <a:pt x="147" y="540"/>
                    <a:pt x="147" y="540"/>
                  </a:cubicBezTo>
                  <a:cubicBezTo>
                    <a:pt x="151" y="538"/>
                    <a:pt x="151" y="538"/>
                    <a:pt x="151" y="538"/>
                  </a:cubicBezTo>
                  <a:cubicBezTo>
                    <a:pt x="152" y="537"/>
                    <a:pt x="152" y="537"/>
                    <a:pt x="152" y="537"/>
                  </a:cubicBezTo>
                  <a:cubicBezTo>
                    <a:pt x="152" y="534"/>
                    <a:pt x="152" y="534"/>
                    <a:pt x="152" y="534"/>
                  </a:cubicBezTo>
                  <a:cubicBezTo>
                    <a:pt x="151" y="532"/>
                    <a:pt x="151" y="532"/>
                    <a:pt x="151" y="532"/>
                  </a:cubicBezTo>
                  <a:cubicBezTo>
                    <a:pt x="152" y="529"/>
                    <a:pt x="152" y="529"/>
                    <a:pt x="152" y="529"/>
                  </a:cubicBezTo>
                  <a:cubicBezTo>
                    <a:pt x="152" y="528"/>
                    <a:pt x="152" y="528"/>
                    <a:pt x="152" y="528"/>
                  </a:cubicBezTo>
                  <a:cubicBezTo>
                    <a:pt x="152" y="527"/>
                    <a:pt x="153" y="526"/>
                    <a:pt x="154" y="526"/>
                  </a:cubicBezTo>
                  <a:cubicBezTo>
                    <a:pt x="154" y="526"/>
                    <a:pt x="155" y="525"/>
                    <a:pt x="156" y="525"/>
                  </a:cubicBezTo>
                  <a:cubicBezTo>
                    <a:pt x="156" y="525"/>
                    <a:pt x="157" y="526"/>
                    <a:pt x="157" y="526"/>
                  </a:cubicBezTo>
                  <a:cubicBezTo>
                    <a:pt x="159" y="525"/>
                    <a:pt x="159" y="525"/>
                    <a:pt x="159" y="525"/>
                  </a:cubicBezTo>
                  <a:cubicBezTo>
                    <a:pt x="161" y="523"/>
                    <a:pt x="161" y="523"/>
                    <a:pt x="161" y="523"/>
                  </a:cubicBezTo>
                  <a:cubicBezTo>
                    <a:pt x="162" y="522"/>
                    <a:pt x="163" y="521"/>
                    <a:pt x="163" y="520"/>
                  </a:cubicBezTo>
                  <a:cubicBezTo>
                    <a:pt x="163" y="520"/>
                    <a:pt x="164" y="519"/>
                    <a:pt x="165" y="518"/>
                  </a:cubicBezTo>
                  <a:cubicBezTo>
                    <a:pt x="165" y="515"/>
                    <a:pt x="165" y="515"/>
                    <a:pt x="165" y="515"/>
                  </a:cubicBezTo>
                  <a:cubicBezTo>
                    <a:pt x="163" y="510"/>
                    <a:pt x="163" y="510"/>
                    <a:pt x="163" y="510"/>
                  </a:cubicBezTo>
                  <a:cubicBezTo>
                    <a:pt x="165" y="507"/>
                    <a:pt x="165" y="507"/>
                    <a:pt x="165" y="507"/>
                  </a:cubicBezTo>
                  <a:cubicBezTo>
                    <a:pt x="167" y="503"/>
                    <a:pt x="167" y="503"/>
                    <a:pt x="167" y="503"/>
                  </a:cubicBezTo>
                  <a:cubicBezTo>
                    <a:pt x="166" y="499"/>
                    <a:pt x="166" y="499"/>
                    <a:pt x="166" y="499"/>
                  </a:cubicBezTo>
                  <a:cubicBezTo>
                    <a:pt x="161" y="493"/>
                    <a:pt x="161" y="493"/>
                    <a:pt x="161" y="493"/>
                  </a:cubicBezTo>
                  <a:cubicBezTo>
                    <a:pt x="158" y="486"/>
                    <a:pt x="158" y="486"/>
                    <a:pt x="158" y="486"/>
                  </a:cubicBezTo>
                  <a:cubicBezTo>
                    <a:pt x="157" y="480"/>
                    <a:pt x="157" y="480"/>
                    <a:pt x="157" y="480"/>
                  </a:cubicBezTo>
                  <a:cubicBezTo>
                    <a:pt x="162" y="474"/>
                    <a:pt x="162" y="474"/>
                    <a:pt x="162" y="474"/>
                  </a:cubicBezTo>
                  <a:cubicBezTo>
                    <a:pt x="167" y="473"/>
                    <a:pt x="167" y="473"/>
                    <a:pt x="167" y="473"/>
                  </a:cubicBezTo>
                  <a:cubicBezTo>
                    <a:pt x="167" y="473"/>
                    <a:pt x="167" y="473"/>
                    <a:pt x="167" y="473"/>
                  </a:cubicBezTo>
                  <a:cubicBezTo>
                    <a:pt x="167" y="473"/>
                    <a:pt x="167" y="473"/>
                    <a:pt x="168" y="473"/>
                  </a:cubicBezTo>
                  <a:cubicBezTo>
                    <a:pt x="168" y="473"/>
                    <a:pt x="169" y="473"/>
                    <a:pt x="169" y="473"/>
                  </a:cubicBezTo>
                  <a:cubicBezTo>
                    <a:pt x="169" y="472"/>
                    <a:pt x="170" y="470"/>
                    <a:pt x="170" y="468"/>
                  </a:cubicBezTo>
                  <a:cubicBezTo>
                    <a:pt x="170" y="462"/>
                    <a:pt x="170" y="462"/>
                    <a:pt x="170" y="462"/>
                  </a:cubicBezTo>
                  <a:cubicBezTo>
                    <a:pt x="165" y="458"/>
                    <a:pt x="165" y="458"/>
                    <a:pt x="165" y="458"/>
                  </a:cubicBezTo>
                  <a:cubicBezTo>
                    <a:pt x="159" y="454"/>
                    <a:pt x="159" y="454"/>
                    <a:pt x="159" y="454"/>
                  </a:cubicBezTo>
                  <a:cubicBezTo>
                    <a:pt x="157" y="447"/>
                    <a:pt x="157" y="447"/>
                    <a:pt x="157" y="447"/>
                  </a:cubicBezTo>
                  <a:cubicBezTo>
                    <a:pt x="156" y="422"/>
                    <a:pt x="156" y="422"/>
                    <a:pt x="156" y="422"/>
                  </a:cubicBezTo>
                  <a:cubicBezTo>
                    <a:pt x="150" y="412"/>
                    <a:pt x="150" y="411"/>
                    <a:pt x="150" y="410"/>
                  </a:cubicBezTo>
                  <a:cubicBezTo>
                    <a:pt x="150" y="410"/>
                    <a:pt x="150" y="407"/>
                    <a:pt x="151" y="405"/>
                  </a:cubicBezTo>
                  <a:cubicBezTo>
                    <a:pt x="151" y="405"/>
                    <a:pt x="151" y="404"/>
                    <a:pt x="151" y="404"/>
                  </a:cubicBezTo>
                  <a:cubicBezTo>
                    <a:pt x="150" y="398"/>
                    <a:pt x="150" y="398"/>
                    <a:pt x="150" y="398"/>
                  </a:cubicBezTo>
                  <a:cubicBezTo>
                    <a:pt x="152" y="395"/>
                    <a:pt x="152" y="395"/>
                    <a:pt x="152" y="395"/>
                  </a:cubicBezTo>
                  <a:cubicBezTo>
                    <a:pt x="152" y="391"/>
                    <a:pt x="152" y="391"/>
                    <a:pt x="152" y="391"/>
                  </a:cubicBezTo>
                  <a:cubicBezTo>
                    <a:pt x="148" y="384"/>
                    <a:pt x="148" y="384"/>
                    <a:pt x="148" y="384"/>
                  </a:cubicBezTo>
                  <a:cubicBezTo>
                    <a:pt x="148" y="384"/>
                    <a:pt x="148" y="384"/>
                    <a:pt x="148" y="384"/>
                  </a:cubicBezTo>
                  <a:cubicBezTo>
                    <a:pt x="148" y="384"/>
                    <a:pt x="148" y="379"/>
                    <a:pt x="148" y="378"/>
                  </a:cubicBezTo>
                  <a:cubicBezTo>
                    <a:pt x="149" y="377"/>
                    <a:pt x="149" y="376"/>
                    <a:pt x="152" y="373"/>
                  </a:cubicBezTo>
                  <a:cubicBezTo>
                    <a:pt x="152" y="368"/>
                    <a:pt x="152" y="368"/>
                    <a:pt x="152" y="368"/>
                  </a:cubicBezTo>
                  <a:cubicBezTo>
                    <a:pt x="154" y="359"/>
                    <a:pt x="154" y="359"/>
                    <a:pt x="154" y="359"/>
                  </a:cubicBezTo>
                  <a:cubicBezTo>
                    <a:pt x="165" y="345"/>
                    <a:pt x="165" y="345"/>
                    <a:pt x="165" y="345"/>
                  </a:cubicBezTo>
                  <a:cubicBezTo>
                    <a:pt x="184" y="343"/>
                    <a:pt x="184" y="343"/>
                    <a:pt x="184" y="343"/>
                  </a:cubicBezTo>
                  <a:cubicBezTo>
                    <a:pt x="185" y="343"/>
                    <a:pt x="185" y="343"/>
                    <a:pt x="185" y="343"/>
                  </a:cubicBezTo>
                  <a:cubicBezTo>
                    <a:pt x="187" y="338"/>
                    <a:pt x="187" y="338"/>
                    <a:pt x="187" y="338"/>
                  </a:cubicBezTo>
                  <a:cubicBezTo>
                    <a:pt x="186" y="327"/>
                    <a:pt x="186" y="327"/>
                    <a:pt x="186" y="327"/>
                  </a:cubicBezTo>
                  <a:cubicBezTo>
                    <a:pt x="179" y="326"/>
                    <a:pt x="179" y="326"/>
                    <a:pt x="179" y="326"/>
                  </a:cubicBezTo>
                  <a:cubicBezTo>
                    <a:pt x="176" y="319"/>
                    <a:pt x="176" y="319"/>
                    <a:pt x="176" y="319"/>
                  </a:cubicBezTo>
                  <a:cubicBezTo>
                    <a:pt x="189" y="299"/>
                    <a:pt x="189" y="299"/>
                    <a:pt x="189" y="299"/>
                  </a:cubicBezTo>
                  <a:cubicBezTo>
                    <a:pt x="188" y="293"/>
                    <a:pt x="188" y="293"/>
                    <a:pt x="188" y="293"/>
                  </a:cubicBezTo>
                  <a:cubicBezTo>
                    <a:pt x="191" y="291"/>
                    <a:pt x="191" y="291"/>
                    <a:pt x="191" y="291"/>
                  </a:cubicBezTo>
                  <a:cubicBezTo>
                    <a:pt x="191" y="290"/>
                    <a:pt x="190" y="289"/>
                    <a:pt x="190" y="288"/>
                  </a:cubicBezTo>
                  <a:cubicBezTo>
                    <a:pt x="190" y="288"/>
                    <a:pt x="189" y="287"/>
                    <a:pt x="190" y="281"/>
                  </a:cubicBezTo>
                  <a:cubicBezTo>
                    <a:pt x="191" y="275"/>
                    <a:pt x="191" y="275"/>
                    <a:pt x="191" y="275"/>
                  </a:cubicBezTo>
                  <a:cubicBezTo>
                    <a:pt x="193" y="269"/>
                    <a:pt x="193" y="269"/>
                    <a:pt x="193" y="269"/>
                  </a:cubicBezTo>
                  <a:cubicBezTo>
                    <a:pt x="189" y="255"/>
                    <a:pt x="189" y="255"/>
                    <a:pt x="189" y="255"/>
                  </a:cubicBezTo>
                  <a:cubicBezTo>
                    <a:pt x="193" y="251"/>
                    <a:pt x="193" y="251"/>
                    <a:pt x="193" y="251"/>
                  </a:cubicBezTo>
                  <a:cubicBezTo>
                    <a:pt x="200" y="250"/>
                    <a:pt x="200" y="250"/>
                    <a:pt x="200" y="250"/>
                  </a:cubicBezTo>
                  <a:cubicBezTo>
                    <a:pt x="204" y="246"/>
                    <a:pt x="204" y="246"/>
                    <a:pt x="204" y="246"/>
                  </a:cubicBezTo>
                  <a:cubicBezTo>
                    <a:pt x="205" y="243"/>
                    <a:pt x="205" y="243"/>
                    <a:pt x="205" y="243"/>
                  </a:cubicBezTo>
                  <a:cubicBezTo>
                    <a:pt x="205" y="235"/>
                    <a:pt x="205" y="235"/>
                    <a:pt x="205" y="235"/>
                  </a:cubicBezTo>
                  <a:cubicBezTo>
                    <a:pt x="209" y="224"/>
                    <a:pt x="209" y="224"/>
                    <a:pt x="209" y="224"/>
                  </a:cubicBezTo>
                  <a:cubicBezTo>
                    <a:pt x="209" y="223"/>
                    <a:pt x="209" y="223"/>
                    <a:pt x="209" y="223"/>
                  </a:cubicBezTo>
                  <a:cubicBezTo>
                    <a:pt x="212" y="220"/>
                    <a:pt x="216" y="215"/>
                    <a:pt x="216" y="214"/>
                  </a:cubicBezTo>
                  <a:cubicBezTo>
                    <a:pt x="217" y="213"/>
                    <a:pt x="218" y="209"/>
                    <a:pt x="219" y="208"/>
                  </a:cubicBezTo>
                  <a:cubicBezTo>
                    <a:pt x="218" y="205"/>
                    <a:pt x="218" y="202"/>
                    <a:pt x="217" y="202"/>
                  </a:cubicBezTo>
                  <a:cubicBezTo>
                    <a:pt x="216" y="201"/>
                    <a:pt x="214" y="197"/>
                    <a:pt x="213" y="195"/>
                  </a:cubicBezTo>
                  <a:cubicBezTo>
                    <a:pt x="213" y="195"/>
                    <a:pt x="213" y="195"/>
                    <a:pt x="213" y="195"/>
                  </a:cubicBezTo>
                  <a:cubicBezTo>
                    <a:pt x="213" y="189"/>
                    <a:pt x="213" y="189"/>
                    <a:pt x="213" y="189"/>
                  </a:cubicBezTo>
                  <a:cubicBezTo>
                    <a:pt x="218" y="186"/>
                    <a:pt x="218" y="186"/>
                    <a:pt x="218" y="186"/>
                  </a:cubicBezTo>
                  <a:cubicBezTo>
                    <a:pt x="220" y="183"/>
                    <a:pt x="220" y="183"/>
                    <a:pt x="220" y="183"/>
                  </a:cubicBezTo>
                  <a:cubicBezTo>
                    <a:pt x="220" y="182"/>
                    <a:pt x="219" y="179"/>
                    <a:pt x="219" y="178"/>
                  </a:cubicBezTo>
                  <a:cubicBezTo>
                    <a:pt x="219" y="177"/>
                    <a:pt x="219" y="177"/>
                    <a:pt x="220" y="174"/>
                  </a:cubicBezTo>
                  <a:cubicBezTo>
                    <a:pt x="221" y="173"/>
                    <a:pt x="221" y="173"/>
                    <a:pt x="221" y="173"/>
                  </a:cubicBezTo>
                  <a:cubicBezTo>
                    <a:pt x="221" y="172"/>
                    <a:pt x="221" y="171"/>
                    <a:pt x="225" y="167"/>
                  </a:cubicBezTo>
                  <a:cubicBezTo>
                    <a:pt x="229" y="159"/>
                    <a:pt x="229" y="159"/>
                    <a:pt x="229" y="159"/>
                  </a:cubicBezTo>
                  <a:cubicBezTo>
                    <a:pt x="238" y="164"/>
                    <a:pt x="238" y="164"/>
                    <a:pt x="238" y="164"/>
                  </a:cubicBezTo>
                  <a:cubicBezTo>
                    <a:pt x="240" y="164"/>
                    <a:pt x="240" y="164"/>
                    <a:pt x="240" y="164"/>
                  </a:cubicBezTo>
                  <a:cubicBezTo>
                    <a:pt x="241" y="163"/>
                    <a:pt x="241" y="163"/>
                    <a:pt x="241" y="163"/>
                  </a:cubicBezTo>
                  <a:cubicBezTo>
                    <a:pt x="240" y="159"/>
                    <a:pt x="239" y="144"/>
                    <a:pt x="242" y="139"/>
                  </a:cubicBezTo>
                  <a:cubicBezTo>
                    <a:pt x="243" y="138"/>
                    <a:pt x="243" y="138"/>
                    <a:pt x="243" y="138"/>
                  </a:cubicBezTo>
                  <a:cubicBezTo>
                    <a:pt x="244" y="139"/>
                    <a:pt x="244" y="139"/>
                    <a:pt x="244" y="139"/>
                  </a:cubicBezTo>
                  <a:cubicBezTo>
                    <a:pt x="244" y="139"/>
                    <a:pt x="250" y="139"/>
                    <a:pt x="254" y="139"/>
                  </a:cubicBezTo>
                  <a:cubicBezTo>
                    <a:pt x="255" y="139"/>
                    <a:pt x="256" y="139"/>
                    <a:pt x="256" y="139"/>
                  </a:cubicBezTo>
                  <a:cubicBezTo>
                    <a:pt x="256" y="139"/>
                    <a:pt x="256" y="139"/>
                    <a:pt x="257" y="139"/>
                  </a:cubicBezTo>
                  <a:cubicBezTo>
                    <a:pt x="259" y="139"/>
                    <a:pt x="263" y="141"/>
                    <a:pt x="264" y="141"/>
                  </a:cubicBezTo>
                  <a:cubicBezTo>
                    <a:pt x="264" y="142"/>
                    <a:pt x="266" y="142"/>
                    <a:pt x="268" y="143"/>
                  </a:cubicBezTo>
                  <a:cubicBezTo>
                    <a:pt x="272" y="142"/>
                    <a:pt x="272" y="142"/>
                    <a:pt x="272" y="142"/>
                  </a:cubicBezTo>
                  <a:cubicBezTo>
                    <a:pt x="273" y="140"/>
                    <a:pt x="273" y="140"/>
                    <a:pt x="273" y="140"/>
                  </a:cubicBezTo>
                  <a:cubicBezTo>
                    <a:pt x="270" y="137"/>
                    <a:pt x="270" y="137"/>
                    <a:pt x="270" y="137"/>
                  </a:cubicBezTo>
                  <a:cubicBezTo>
                    <a:pt x="271" y="136"/>
                    <a:pt x="271" y="136"/>
                    <a:pt x="271" y="136"/>
                  </a:cubicBezTo>
                  <a:cubicBezTo>
                    <a:pt x="274" y="132"/>
                    <a:pt x="274" y="127"/>
                    <a:pt x="273" y="127"/>
                  </a:cubicBezTo>
                  <a:cubicBezTo>
                    <a:pt x="273" y="126"/>
                    <a:pt x="272" y="124"/>
                    <a:pt x="272" y="121"/>
                  </a:cubicBezTo>
                  <a:cubicBezTo>
                    <a:pt x="271" y="119"/>
                    <a:pt x="271" y="118"/>
                    <a:pt x="270" y="117"/>
                  </a:cubicBezTo>
                  <a:cubicBezTo>
                    <a:pt x="270" y="117"/>
                    <a:pt x="270" y="115"/>
                    <a:pt x="272" y="113"/>
                  </a:cubicBezTo>
                  <a:cubicBezTo>
                    <a:pt x="273" y="113"/>
                    <a:pt x="273" y="113"/>
                    <a:pt x="273" y="113"/>
                  </a:cubicBezTo>
                  <a:cubicBezTo>
                    <a:pt x="276" y="113"/>
                    <a:pt x="276" y="113"/>
                    <a:pt x="276" y="113"/>
                  </a:cubicBezTo>
                  <a:cubicBezTo>
                    <a:pt x="279" y="110"/>
                    <a:pt x="279" y="110"/>
                    <a:pt x="279" y="110"/>
                  </a:cubicBezTo>
                  <a:cubicBezTo>
                    <a:pt x="279" y="110"/>
                    <a:pt x="279" y="110"/>
                    <a:pt x="279" y="110"/>
                  </a:cubicBezTo>
                  <a:cubicBezTo>
                    <a:pt x="279" y="110"/>
                    <a:pt x="279" y="110"/>
                    <a:pt x="280" y="110"/>
                  </a:cubicBezTo>
                  <a:cubicBezTo>
                    <a:pt x="280" y="110"/>
                    <a:pt x="281" y="109"/>
                    <a:pt x="283" y="109"/>
                  </a:cubicBezTo>
                  <a:cubicBezTo>
                    <a:pt x="283" y="109"/>
                    <a:pt x="283" y="109"/>
                    <a:pt x="284" y="109"/>
                  </a:cubicBezTo>
                  <a:cubicBezTo>
                    <a:pt x="283" y="109"/>
                    <a:pt x="283" y="108"/>
                    <a:pt x="283" y="108"/>
                  </a:cubicBezTo>
                  <a:cubicBezTo>
                    <a:pt x="282" y="105"/>
                    <a:pt x="283" y="103"/>
                    <a:pt x="284" y="101"/>
                  </a:cubicBezTo>
                  <a:cubicBezTo>
                    <a:pt x="285" y="99"/>
                    <a:pt x="287" y="98"/>
                    <a:pt x="289" y="98"/>
                  </a:cubicBezTo>
                  <a:cubicBezTo>
                    <a:pt x="291" y="98"/>
                    <a:pt x="292" y="99"/>
                    <a:pt x="293" y="100"/>
                  </a:cubicBezTo>
                  <a:cubicBezTo>
                    <a:pt x="297" y="100"/>
                    <a:pt x="297" y="100"/>
                    <a:pt x="297" y="100"/>
                  </a:cubicBezTo>
                  <a:cubicBezTo>
                    <a:pt x="302" y="108"/>
                    <a:pt x="302" y="108"/>
                    <a:pt x="302" y="108"/>
                  </a:cubicBezTo>
                  <a:cubicBezTo>
                    <a:pt x="308" y="113"/>
                    <a:pt x="308" y="113"/>
                    <a:pt x="308" y="113"/>
                  </a:cubicBezTo>
                  <a:cubicBezTo>
                    <a:pt x="311" y="116"/>
                    <a:pt x="315" y="119"/>
                    <a:pt x="316" y="119"/>
                  </a:cubicBezTo>
                  <a:cubicBezTo>
                    <a:pt x="317" y="119"/>
                    <a:pt x="323" y="121"/>
                    <a:pt x="325" y="122"/>
                  </a:cubicBezTo>
                  <a:cubicBezTo>
                    <a:pt x="327" y="120"/>
                    <a:pt x="327" y="120"/>
                    <a:pt x="327" y="120"/>
                  </a:cubicBezTo>
                  <a:cubicBezTo>
                    <a:pt x="329" y="118"/>
                    <a:pt x="329" y="118"/>
                    <a:pt x="329" y="118"/>
                  </a:cubicBezTo>
                  <a:cubicBezTo>
                    <a:pt x="328" y="116"/>
                    <a:pt x="328" y="116"/>
                    <a:pt x="328" y="116"/>
                  </a:cubicBezTo>
                  <a:cubicBezTo>
                    <a:pt x="335" y="112"/>
                    <a:pt x="335" y="112"/>
                    <a:pt x="335" y="112"/>
                  </a:cubicBezTo>
                  <a:cubicBezTo>
                    <a:pt x="339" y="115"/>
                    <a:pt x="339" y="115"/>
                    <a:pt x="339" y="115"/>
                  </a:cubicBezTo>
                  <a:cubicBezTo>
                    <a:pt x="347" y="117"/>
                    <a:pt x="347" y="117"/>
                    <a:pt x="347" y="117"/>
                  </a:cubicBezTo>
                  <a:cubicBezTo>
                    <a:pt x="350" y="119"/>
                    <a:pt x="350" y="119"/>
                    <a:pt x="350" y="119"/>
                  </a:cubicBezTo>
                  <a:cubicBezTo>
                    <a:pt x="350" y="119"/>
                    <a:pt x="350" y="119"/>
                    <a:pt x="350" y="119"/>
                  </a:cubicBezTo>
                  <a:cubicBezTo>
                    <a:pt x="350" y="118"/>
                    <a:pt x="350" y="116"/>
                    <a:pt x="350" y="114"/>
                  </a:cubicBezTo>
                  <a:cubicBezTo>
                    <a:pt x="349" y="114"/>
                    <a:pt x="349" y="113"/>
                    <a:pt x="349" y="112"/>
                  </a:cubicBezTo>
                  <a:cubicBezTo>
                    <a:pt x="349" y="111"/>
                    <a:pt x="349" y="110"/>
                    <a:pt x="351" y="108"/>
                  </a:cubicBezTo>
                  <a:cubicBezTo>
                    <a:pt x="356" y="104"/>
                    <a:pt x="356" y="104"/>
                    <a:pt x="356" y="104"/>
                  </a:cubicBezTo>
                  <a:cubicBezTo>
                    <a:pt x="357" y="103"/>
                    <a:pt x="357" y="103"/>
                    <a:pt x="357" y="103"/>
                  </a:cubicBezTo>
                  <a:cubicBezTo>
                    <a:pt x="357" y="103"/>
                    <a:pt x="358" y="103"/>
                    <a:pt x="358" y="102"/>
                  </a:cubicBezTo>
                  <a:cubicBezTo>
                    <a:pt x="358" y="100"/>
                    <a:pt x="356" y="96"/>
                    <a:pt x="356" y="94"/>
                  </a:cubicBezTo>
                  <a:cubicBezTo>
                    <a:pt x="355" y="93"/>
                    <a:pt x="354" y="89"/>
                    <a:pt x="354" y="87"/>
                  </a:cubicBezTo>
                  <a:cubicBezTo>
                    <a:pt x="355" y="83"/>
                    <a:pt x="354" y="79"/>
                    <a:pt x="354" y="76"/>
                  </a:cubicBezTo>
                  <a:cubicBezTo>
                    <a:pt x="353" y="72"/>
                    <a:pt x="352" y="69"/>
                    <a:pt x="356" y="68"/>
                  </a:cubicBezTo>
                  <a:cubicBezTo>
                    <a:pt x="358" y="66"/>
                    <a:pt x="358" y="66"/>
                    <a:pt x="358" y="66"/>
                  </a:cubicBezTo>
                  <a:cubicBezTo>
                    <a:pt x="358" y="66"/>
                    <a:pt x="358" y="65"/>
                    <a:pt x="357" y="64"/>
                  </a:cubicBezTo>
                  <a:cubicBezTo>
                    <a:pt x="356" y="62"/>
                    <a:pt x="355" y="60"/>
                    <a:pt x="356" y="58"/>
                  </a:cubicBezTo>
                  <a:cubicBezTo>
                    <a:pt x="357" y="57"/>
                    <a:pt x="358" y="56"/>
                    <a:pt x="361" y="56"/>
                  </a:cubicBezTo>
                  <a:cubicBezTo>
                    <a:pt x="363" y="54"/>
                    <a:pt x="363" y="54"/>
                    <a:pt x="363" y="54"/>
                  </a:cubicBezTo>
                  <a:cubicBezTo>
                    <a:pt x="369" y="54"/>
                    <a:pt x="369" y="54"/>
                    <a:pt x="369" y="54"/>
                  </a:cubicBezTo>
                  <a:cubicBezTo>
                    <a:pt x="370" y="51"/>
                    <a:pt x="370" y="51"/>
                    <a:pt x="370" y="51"/>
                  </a:cubicBezTo>
                  <a:cubicBezTo>
                    <a:pt x="375" y="46"/>
                    <a:pt x="375" y="46"/>
                    <a:pt x="375" y="46"/>
                  </a:cubicBezTo>
                  <a:cubicBezTo>
                    <a:pt x="376" y="46"/>
                    <a:pt x="376" y="46"/>
                    <a:pt x="376" y="46"/>
                  </a:cubicBezTo>
                  <a:cubicBezTo>
                    <a:pt x="377" y="46"/>
                    <a:pt x="378" y="45"/>
                    <a:pt x="380" y="45"/>
                  </a:cubicBezTo>
                  <a:cubicBezTo>
                    <a:pt x="382" y="45"/>
                    <a:pt x="383" y="46"/>
                    <a:pt x="384" y="47"/>
                  </a:cubicBezTo>
                  <a:cubicBezTo>
                    <a:pt x="385" y="48"/>
                    <a:pt x="386" y="48"/>
                    <a:pt x="386" y="49"/>
                  </a:cubicBezTo>
                  <a:cubicBezTo>
                    <a:pt x="387" y="50"/>
                    <a:pt x="387" y="50"/>
                    <a:pt x="388" y="51"/>
                  </a:cubicBezTo>
                  <a:cubicBezTo>
                    <a:pt x="398" y="54"/>
                    <a:pt x="398" y="54"/>
                    <a:pt x="398" y="54"/>
                  </a:cubicBezTo>
                  <a:cubicBezTo>
                    <a:pt x="404" y="55"/>
                    <a:pt x="404" y="55"/>
                    <a:pt x="404" y="55"/>
                  </a:cubicBezTo>
                  <a:cubicBezTo>
                    <a:pt x="407" y="57"/>
                    <a:pt x="407" y="57"/>
                    <a:pt x="407" y="57"/>
                  </a:cubicBezTo>
                  <a:cubicBezTo>
                    <a:pt x="407" y="58"/>
                    <a:pt x="407" y="58"/>
                    <a:pt x="407" y="58"/>
                  </a:cubicBezTo>
                  <a:cubicBezTo>
                    <a:pt x="407" y="60"/>
                    <a:pt x="407" y="61"/>
                    <a:pt x="407" y="62"/>
                  </a:cubicBezTo>
                  <a:cubicBezTo>
                    <a:pt x="407" y="63"/>
                    <a:pt x="408" y="65"/>
                    <a:pt x="409" y="65"/>
                  </a:cubicBezTo>
                  <a:cubicBezTo>
                    <a:pt x="409" y="66"/>
                    <a:pt x="409" y="66"/>
                    <a:pt x="409" y="66"/>
                  </a:cubicBezTo>
                  <a:cubicBezTo>
                    <a:pt x="409" y="66"/>
                    <a:pt x="409" y="66"/>
                    <a:pt x="409" y="66"/>
                  </a:cubicBezTo>
                  <a:cubicBezTo>
                    <a:pt x="409" y="67"/>
                    <a:pt x="409" y="67"/>
                    <a:pt x="408" y="69"/>
                  </a:cubicBezTo>
                  <a:cubicBezTo>
                    <a:pt x="408" y="70"/>
                    <a:pt x="407" y="71"/>
                    <a:pt x="407" y="71"/>
                  </a:cubicBezTo>
                  <a:cubicBezTo>
                    <a:pt x="407" y="72"/>
                    <a:pt x="407" y="73"/>
                    <a:pt x="407" y="74"/>
                  </a:cubicBezTo>
                  <a:cubicBezTo>
                    <a:pt x="407" y="75"/>
                    <a:pt x="407" y="75"/>
                    <a:pt x="407" y="75"/>
                  </a:cubicBezTo>
                  <a:cubicBezTo>
                    <a:pt x="407" y="75"/>
                    <a:pt x="407" y="76"/>
                    <a:pt x="407" y="76"/>
                  </a:cubicBezTo>
                  <a:cubicBezTo>
                    <a:pt x="407" y="76"/>
                    <a:pt x="407" y="77"/>
                    <a:pt x="407" y="77"/>
                  </a:cubicBezTo>
                  <a:cubicBezTo>
                    <a:pt x="407" y="78"/>
                    <a:pt x="407" y="80"/>
                    <a:pt x="408" y="81"/>
                  </a:cubicBezTo>
                  <a:cubicBezTo>
                    <a:pt x="408" y="81"/>
                    <a:pt x="410" y="82"/>
                    <a:pt x="411" y="83"/>
                  </a:cubicBezTo>
                  <a:cubicBezTo>
                    <a:pt x="411" y="81"/>
                    <a:pt x="412" y="78"/>
                    <a:pt x="412" y="77"/>
                  </a:cubicBezTo>
                  <a:cubicBezTo>
                    <a:pt x="410" y="73"/>
                    <a:pt x="414" y="69"/>
                    <a:pt x="415" y="68"/>
                  </a:cubicBezTo>
                  <a:cubicBezTo>
                    <a:pt x="420" y="63"/>
                    <a:pt x="420" y="63"/>
                    <a:pt x="420" y="63"/>
                  </a:cubicBezTo>
                  <a:cubicBezTo>
                    <a:pt x="418" y="56"/>
                    <a:pt x="418" y="56"/>
                    <a:pt x="418" y="56"/>
                  </a:cubicBezTo>
                  <a:cubicBezTo>
                    <a:pt x="427" y="56"/>
                    <a:pt x="427" y="56"/>
                    <a:pt x="427" y="56"/>
                  </a:cubicBezTo>
                  <a:cubicBezTo>
                    <a:pt x="428" y="55"/>
                    <a:pt x="429" y="54"/>
                    <a:pt x="429" y="54"/>
                  </a:cubicBezTo>
                  <a:close/>
                </a:path>
              </a:pathLst>
            </a:custGeom>
            <a:solidFill>
              <a:schemeClr val="accent6">
                <a:lumMod val="75000"/>
              </a:schemeClr>
            </a:solidFill>
            <a:ln w="635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84" name="Dikdörtgen 283"/>
          <p:cNvSpPr/>
          <p:nvPr/>
        </p:nvSpPr>
        <p:spPr>
          <a:xfrm>
            <a:off x="593770" y="224752"/>
            <a:ext cx="12112580" cy="683264"/>
          </a:xfrm>
          <a:prstGeom prst="rect">
            <a:avLst/>
          </a:prstGeom>
        </p:spPr>
        <p:txBody>
          <a:bodyPr wrap="square">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tr-TR" sz="4800" b="0" i="0" u="none" strike="noStrike" kern="1200" cap="none" spc="-90" normalizeH="0" baseline="0" noProof="0" dirty="0">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rPr>
              <a:t>Service Area</a:t>
            </a:r>
          </a:p>
        </p:txBody>
      </p:sp>
      <p:sp>
        <p:nvSpPr>
          <p:cNvPr id="285" name="Rounded Rectangle 15"/>
          <p:cNvSpPr>
            <a:spLocks/>
          </p:cNvSpPr>
          <p:nvPr/>
        </p:nvSpPr>
        <p:spPr>
          <a:xfrm>
            <a:off x="225449" y="-152401"/>
            <a:ext cx="212701" cy="1102549"/>
          </a:xfrm>
          <a:prstGeom prst="roundRect">
            <a:avLst>
              <a:gd name="adj" fmla="val 50000"/>
            </a:avLst>
          </a:prstGeom>
          <a:gradFill flip="none" rotWithShape="1">
            <a:gsLst>
              <a:gs pos="0">
                <a:srgbClr val="EC2B8C"/>
              </a:gs>
              <a:gs pos="100000">
                <a:srgbClr val="8D27CB"/>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73928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0" name="Freeform: Shape 2459">
            <a:extLst>
              <a:ext uri="{FF2B5EF4-FFF2-40B4-BE49-F238E27FC236}">
                <a16:creationId xmlns:a16="http://schemas.microsoft.com/office/drawing/2014/main" id="{17C87A06-085A-4F67-8D68-21F3D06060CD}"/>
              </a:ext>
            </a:extLst>
          </p:cNvPr>
          <p:cNvSpPr>
            <a:spLocks noChangeArrowheads="1"/>
          </p:cNvSpPr>
          <p:nvPr/>
        </p:nvSpPr>
        <p:spPr bwMode="auto">
          <a:xfrm>
            <a:off x="1463194" y="1605512"/>
            <a:ext cx="8978749" cy="4806848"/>
          </a:xfrm>
          <a:custGeom>
            <a:avLst/>
            <a:gdLst>
              <a:gd name="connsiteX0" fmla="*/ 2604936 w 8978749"/>
              <a:gd name="connsiteY0" fmla="*/ 4748110 h 4806848"/>
              <a:gd name="connsiteX1" fmla="*/ 2663674 w 8978749"/>
              <a:gd name="connsiteY1" fmla="*/ 4748110 h 4806848"/>
              <a:gd name="connsiteX2" fmla="*/ 2663674 w 8978749"/>
              <a:gd name="connsiteY2" fmla="*/ 4806848 h 4806848"/>
              <a:gd name="connsiteX3" fmla="*/ 2604936 w 8978749"/>
              <a:gd name="connsiteY3" fmla="*/ 4806848 h 4806848"/>
              <a:gd name="connsiteX4" fmla="*/ 2525561 w 8978749"/>
              <a:gd name="connsiteY4" fmla="*/ 4748110 h 4806848"/>
              <a:gd name="connsiteX5" fmla="*/ 2584299 w 8978749"/>
              <a:gd name="connsiteY5" fmla="*/ 4748110 h 4806848"/>
              <a:gd name="connsiteX6" fmla="*/ 2584299 w 8978749"/>
              <a:gd name="connsiteY6" fmla="*/ 4806848 h 4806848"/>
              <a:gd name="connsiteX7" fmla="*/ 2525561 w 8978749"/>
              <a:gd name="connsiteY7" fmla="*/ 4806848 h 4806848"/>
              <a:gd name="connsiteX8" fmla="*/ 3314548 w 8978749"/>
              <a:gd name="connsiteY8" fmla="*/ 4670322 h 4806848"/>
              <a:gd name="connsiteX9" fmla="*/ 3373286 w 8978749"/>
              <a:gd name="connsiteY9" fmla="*/ 4670322 h 4806848"/>
              <a:gd name="connsiteX10" fmla="*/ 3373286 w 8978749"/>
              <a:gd name="connsiteY10" fmla="*/ 4729060 h 4806848"/>
              <a:gd name="connsiteX11" fmla="*/ 3314548 w 8978749"/>
              <a:gd name="connsiteY11" fmla="*/ 4729060 h 4806848"/>
              <a:gd name="connsiteX12" fmla="*/ 2525561 w 8978749"/>
              <a:gd name="connsiteY12" fmla="*/ 4670322 h 4806848"/>
              <a:gd name="connsiteX13" fmla="*/ 2584299 w 8978749"/>
              <a:gd name="connsiteY13" fmla="*/ 4670322 h 4806848"/>
              <a:gd name="connsiteX14" fmla="*/ 2584299 w 8978749"/>
              <a:gd name="connsiteY14" fmla="*/ 4729060 h 4806848"/>
              <a:gd name="connsiteX15" fmla="*/ 2525561 w 8978749"/>
              <a:gd name="connsiteY15" fmla="*/ 4729060 h 4806848"/>
              <a:gd name="connsiteX16" fmla="*/ 2447774 w 8978749"/>
              <a:gd name="connsiteY16" fmla="*/ 4670322 h 4806848"/>
              <a:gd name="connsiteX17" fmla="*/ 2504923 w 8978749"/>
              <a:gd name="connsiteY17" fmla="*/ 4670322 h 4806848"/>
              <a:gd name="connsiteX18" fmla="*/ 2504923 w 8978749"/>
              <a:gd name="connsiteY18" fmla="*/ 4729060 h 4806848"/>
              <a:gd name="connsiteX19" fmla="*/ 2447774 w 8978749"/>
              <a:gd name="connsiteY19" fmla="*/ 4729060 h 4806848"/>
              <a:gd name="connsiteX20" fmla="*/ 2368399 w 8978749"/>
              <a:gd name="connsiteY20" fmla="*/ 4670322 h 4806848"/>
              <a:gd name="connsiteX21" fmla="*/ 2427137 w 8978749"/>
              <a:gd name="connsiteY21" fmla="*/ 4670322 h 4806848"/>
              <a:gd name="connsiteX22" fmla="*/ 2427137 w 8978749"/>
              <a:gd name="connsiteY22" fmla="*/ 4729060 h 4806848"/>
              <a:gd name="connsiteX23" fmla="*/ 2368399 w 8978749"/>
              <a:gd name="connsiteY23" fmla="*/ 4729060 h 4806848"/>
              <a:gd name="connsiteX24" fmla="*/ 2763686 w 8978749"/>
              <a:gd name="connsiteY24" fmla="*/ 4592535 h 4806848"/>
              <a:gd name="connsiteX25" fmla="*/ 2820836 w 8978749"/>
              <a:gd name="connsiteY25" fmla="*/ 4592535 h 4806848"/>
              <a:gd name="connsiteX26" fmla="*/ 2820836 w 8978749"/>
              <a:gd name="connsiteY26" fmla="*/ 4651273 h 4806848"/>
              <a:gd name="connsiteX27" fmla="*/ 2763686 w 8978749"/>
              <a:gd name="connsiteY27" fmla="*/ 4651273 h 4806848"/>
              <a:gd name="connsiteX28" fmla="*/ 2684311 w 8978749"/>
              <a:gd name="connsiteY28" fmla="*/ 4592535 h 4806848"/>
              <a:gd name="connsiteX29" fmla="*/ 2743049 w 8978749"/>
              <a:gd name="connsiteY29" fmla="*/ 4592535 h 4806848"/>
              <a:gd name="connsiteX30" fmla="*/ 2743049 w 8978749"/>
              <a:gd name="connsiteY30" fmla="*/ 4651273 h 4806848"/>
              <a:gd name="connsiteX31" fmla="*/ 2684311 w 8978749"/>
              <a:gd name="connsiteY31" fmla="*/ 4651273 h 4806848"/>
              <a:gd name="connsiteX32" fmla="*/ 2447774 w 8978749"/>
              <a:gd name="connsiteY32" fmla="*/ 4592535 h 4806848"/>
              <a:gd name="connsiteX33" fmla="*/ 2504924 w 8978749"/>
              <a:gd name="connsiteY33" fmla="*/ 4592535 h 4806848"/>
              <a:gd name="connsiteX34" fmla="*/ 2504924 w 8978749"/>
              <a:gd name="connsiteY34" fmla="*/ 4651273 h 4806848"/>
              <a:gd name="connsiteX35" fmla="*/ 2447774 w 8978749"/>
              <a:gd name="connsiteY35" fmla="*/ 4651273 h 4806848"/>
              <a:gd name="connsiteX36" fmla="*/ 2368399 w 8978749"/>
              <a:gd name="connsiteY36" fmla="*/ 4592535 h 4806848"/>
              <a:gd name="connsiteX37" fmla="*/ 2427137 w 8978749"/>
              <a:gd name="connsiteY37" fmla="*/ 4592535 h 4806848"/>
              <a:gd name="connsiteX38" fmla="*/ 2427137 w 8978749"/>
              <a:gd name="connsiteY38" fmla="*/ 4651273 h 4806848"/>
              <a:gd name="connsiteX39" fmla="*/ 2368399 w 8978749"/>
              <a:gd name="connsiteY39" fmla="*/ 4651273 h 4806848"/>
              <a:gd name="connsiteX40" fmla="*/ 8367561 w 8978749"/>
              <a:gd name="connsiteY40" fmla="*/ 4514747 h 4806848"/>
              <a:gd name="connsiteX41" fmla="*/ 8426299 w 8978749"/>
              <a:gd name="connsiteY41" fmla="*/ 4514747 h 4806848"/>
              <a:gd name="connsiteX42" fmla="*/ 8426299 w 8978749"/>
              <a:gd name="connsiteY42" fmla="*/ 4573485 h 4806848"/>
              <a:gd name="connsiteX43" fmla="*/ 8367561 w 8978749"/>
              <a:gd name="connsiteY43" fmla="*/ 4573485 h 4806848"/>
              <a:gd name="connsiteX44" fmla="*/ 2525562 w 8978749"/>
              <a:gd name="connsiteY44" fmla="*/ 4514747 h 4806848"/>
              <a:gd name="connsiteX45" fmla="*/ 2584300 w 8978749"/>
              <a:gd name="connsiteY45" fmla="*/ 4514747 h 4806848"/>
              <a:gd name="connsiteX46" fmla="*/ 2584300 w 8978749"/>
              <a:gd name="connsiteY46" fmla="*/ 4573485 h 4806848"/>
              <a:gd name="connsiteX47" fmla="*/ 2525562 w 8978749"/>
              <a:gd name="connsiteY47" fmla="*/ 4573485 h 4806848"/>
              <a:gd name="connsiteX48" fmla="*/ 2447775 w 8978749"/>
              <a:gd name="connsiteY48" fmla="*/ 4514747 h 4806848"/>
              <a:gd name="connsiteX49" fmla="*/ 2504925 w 8978749"/>
              <a:gd name="connsiteY49" fmla="*/ 4514747 h 4806848"/>
              <a:gd name="connsiteX50" fmla="*/ 2504925 w 8978749"/>
              <a:gd name="connsiteY50" fmla="*/ 4573485 h 4806848"/>
              <a:gd name="connsiteX51" fmla="*/ 2447775 w 8978749"/>
              <a:gd name="connsiteY51" fmla="*/ 4573485 h 4806848"/>
              <a:gd name="connsiteX52" fmla="*/ 2368400 w 8978749"/>
              <a:gd name="connsiteY52" fmla="*/ 4514747 h 4806848"/>
              <a:gd name="connsiteX53" fmla="*/ 2427138 w 8978749"/>
              <a:gd name="connsiteY53" fmla="*/ 4514747 h 4806848"/>
              <a:gd name="connsiteX54" fmla="*/ 2427138 w 8978749"/>
              <a:gd name="connsiteY54" fmla="*/ 4573485 h 4806848"/>
              <a:gd name="connsiteX55" fmla="*/ 2368400 w 8978749"/>
              <a:gd name="connsiteY55" fmla="*/ 4573485 h 4806848"/>
              <a:gd name="connsiteX56" fmla="*/ 8446936 w 8978749"/>
              <a:gd name="connsiteY56" fmla="*/ 4436960 h 4806848"/>
              <a:gd name="connsiteX57" fmla="*/ 8505674 w 8978749"/>
              <a:gd name="connsiteY57" fmla="*/ 4436960 h 4806848"/>
              <a:gd name="connsiteX58" fmla="*/ 8505674 w 8978749"/>
              <a:gd name="connsiteY58" fmla="*/ 4495698 h 4806848"/>
              <a:gd name="connsiteX59" fmla="*/ 8446936 w 8978749"/>
              <a:gd name="connsiteY59" fmla="*/ 4495698 h 4806848"/>
              <a:gd name="connsiteX60" fmla="*/ 2525563 w 8978749"/>
              <a:gd name="connsiteY60" fmla="*/ 4436960 h 4806848"/>
              <a:gd name="connsiteX61" fmla="*/ 2584301 w 8978749"/>
              <a:gd name="connsiteY61" fmla="*/ 4436960 h 4806848"/>
              <a:gd name="connsiteX62" fmla="*/ 2584301 w 8978749"/>
              <a:gd name="connsiteY62" fmla="*/ 4495698 h 4806848"/>
              <a:gd name="connsiteX63" fmla="*/ 2525563 w 8978749"/>
              <a:gd name="connsiteY63" fmla="*/ 4495698 h 4806848"/>
              <a:gd name="connsiteX64" fmla="*/ 2447775 w 8978749"/>
              <a:gd name="connsiteY64" fmla="*/ 4436960 h 4806848"/>
              <a:gd name="connsiteX65" fmla="*/ 2504926 w 8978749"/>
              <a:gd name="connsiteY65" fmla="*/ 4436960 h 4806848"/>
              <a:gd name="connsiteX66" fmla="*/ 2504926 w 8978749"/>
              <a:gd name="connsiteY66" fmla="*/ 4495698 h 4806848"/>
              <a:gd name="connsiteX67" fmla="*/ 2447775 w 8978749"/>
              <a:gd name="connsiteY67" fmla="*/ 4495698 h 4806848"/>
              <a:gd name="connsiteX68" fmla="*/ 2368400 w 8978749"/>
              <a:gd name="connsiteY68" fmla="*/ 4436960 h 4806848"/>
              <a:gd name="connsiteX69" fmla="*/ 2427139 w 8978749"/>
              <a:gd name="connsiteY69" fmla="*/ 4436960 h 4806848"/>
              <a:gd name="connsiteX70" fmla="*/ 2427139 w 8978749"/>
              <a:gd name="connsiteY70" fmla="*/ 4495698 h 4806848"/>
              <a:gd name="connsiteX71" fmla="*/ 2368400 w 8978749"/>
              <a:gd name="connsiteY71" fmla="*/ 4495698 h 4806848"/>
              <a:gd name="connsiteX72" fmla="*/ 8526311 w 8978749"/>
              <a:gd name="connsiteY72" fmla="*/ 4359172 h 4806848"/>
              <a:gd name="connsiteX73" fmla="*/ 8583461 w 8978749"/>
              <a:gd name="connsiteY73" fmla="*/ 4359172 h 4806848"/>
              <a:gd name="connsiteX74" fmla="*/ 8583461 w 8978749"/>
              <a:gd name="connsiteY74" fmla="*/ 4417910 h 4806848"/>
              <a:gd name="connsiteX75" fmla="*/ 8526311 w 8978749"/>
              <a:gd name="connsiteY75" fmla="*/ 4417910 h 4806848"/>
              <a:gd name="connsiteX76" fmla="*/ 8446936 w 8978749"/>
              <a:gd name="connsiteY76" fmla="*/ 4359172 h 4806848"/>
              <a:gd name="connsiteX77" fmla="*/ 8505674 w 8978749"/>
              <a:gd name="connsiteY77" fmla="*/ 4359172 h 4806848"/>
              <a:gd name="connsiteX78" fmla="*/ 8505674 w 8978749"/>
              <a:gd name="connsiteY78" fmla="*/ 4417910 h 4806848"/>
              <a:gd name="connsiteX79" fmla="*/ 8446936 w 8978749"/>
              <a:gd name="connsiteY79" fmla="*/ 4417910 h 4806848"/>
              <a:gd name="connsiteX80" fmla="*/ 2525564 w 8978749"/>
              <a:gd name="connsiteY80" fmla="*/ 4359172 h 4806848"/>
              <a:gd name="connsiteX81" fmla="*/ 2584302 w 8978749"/>
              <a:gd name="connsiteY81" fmla="*/ 4359172 h 4806848"/>
              <a:gd name="connsiteX82" fmla="*/ 2584302 w 8978749"/>
              <a:gd name="connsiteY82" fmla="*/ 4417910 h 4806848"/>
              <a:gd name="connsiteX83" fmla="*/ 2525564 w 8978749"/>
              <a:gd name="connsiteY83" fmla="*/ 4417910 h 4806848"/>
              <a:gd name="connsiteX84" fmla="*/ 2447776 w 8978749"/>
              <a:gd name="connsiteY84" fmla="*/ 4359172 h 4806848"/>
              <a:gd name="connsiteX85" fmla="*/ 2504926 w 8978749"/>
              <a:gd name="connsiteY85" fmla="*/ 4359172 h 4806848"/>
              <a:gd name="connsiteX86" fmla="*/ 2504926 w 8978749"/>
              <a:gd name="connsiteY86" fmla="*/ 4417910 h 4806848"/>
              <a:gd name="connsiteX87" fmla="*/ 2447776 w 8978749"/>
              <a:gd name="connsiteY87" fmla="*/ 4417910 h 4806848"/>
              <a:gd name="connsiteX88" fmla="*/ 8526311 w 8978749"/>
              <a:gd name="connsiteY88" fmla="*/ 4281385 h 4806848"/>
              <a:gd name="connsiteX89" fmla="*/ 8583461 w 8978749"/>
              <a:gd name="connsiteY89" fmla="*/ 4281385 h 4806848"/>
              <a:gd name="connsiteX90" fmla="*/ 8583461 w 8978749"/>
              <a:gd name="connsiteY90" fmla="*/ 4340123 h 4806848"/>
              <a:gd name="connsiteX91" fmla="*/ 8526311 w 8978749"/>
              <a:gd name="connsiteY91" fmla="*/ 4340123 h 4806848"/>
              <a:gd name="connsiteX92" fmla="*/ 7894486 w 8978749"/>
              <a:gd name="connsiteY92" fmla="*/ 4281385 h 4806848"/>
              <a:gd name="connsiteX93" fmla="*/ 7951636 w 8978749"/>
              <a:gd name="connsiteY93" fmla="*/ 4281385 h 4806848"/>
              <a:gd name="connsiteX94" fmla="*/ 7951636 w 8978749"/>
              <a:gd name="connsiteY94" fmla="*/ 4340123 h 4806848"/>
              <a:gd name="connsiteX95" fmla="*/ 7894486 w 8978749"/>
              <a:gd name="connsiteY95" fmla="*/ 4340123 h 4806848"/>
              <a:gd name="connsiteX96" fmla="*/ 2525565 w 8978749"/>
              <a:gd name="connsiteY96" fmla="*/ 4281385 h 4806848"/>
              <a:gd name="connsiteX97" fmla="*/ 2584303 w 8978749"/>
              <a:gd name="connsiteY97" fmla="*/ 4281385 h 4806848"/>
              <a:gd name="connsiteX98" fmla="*/ 2584303 w 8978749"/>
              <a:gd name="connsiteY98" fmla="*/ 4340123 h 4806848"/>
              <a:gd name="connsiteX99" fmla="*/ 2525565 w 8978749"/>
              <a:gd name="connsiteY99" fmla="*/ 4340123 h 4806848"/>
              <a:gd name="connsiteX100" fmla="*/ 2447777 w 8978749"/>
              <a:gd name="connsiteY100" fmla="*/ 4281385 h 4806848"/>
              <a:gd name="connsiteX101" fmla="*/ 2504927 w 8978749"/>
              <a:gd name="connsiteY101" fmla="*/ 4281385 h 4806848"/>
              <a:gd name="connsiteX102" fmla="*/ 2504927 w 8978749"/>
              <a:gd name="connsiteY102" fmla="*/ 4340123 h 4806848"/>
              <a:gd name="connsiteX103" fmla="*/ 2447777 w 8978749"/>
              <a:gd name="connsiteY103" fmla="*/ 4340123 h 4806848"/>
              <a:gd name="connsiteX104" fmla="*/ 8604098 w 8978749"/>
              <a:gd name="connsiteY104" fmla="*/ 4203597 h 4806848"/>
              <a:gd name="connsiteX105" fmla="*/ 8662836 w 8978749"/>
              <a:gd name="connsiteY105" fmla="*/ 4203597 h 4806848"/>
              <a:gd name="connsiteX106" fmla="*/ 8662836 w 8978749"/>
              <a:gd name="connsiteY106" fmla="*/ 4262335 h 4806848"/>
              <a:gd name="connsiteX107" fmla="*/ 8604098 w 8978749"/>
              <a:gd name="connsiteY107" fmla="*/ 4262335 h 4806848"/>
              <a:gd name="connsiteX108" fmla="*/ 2604936 w 8978749"/>
              <a:gd name="connsiteY108" fmla="*/ 4203597 h 4806848"/>
              <a:gd name="connsiteX109" fmla="*/ 2663674 w 8978749"/>
              <a:gd name="connsiteY109" fmla="*/ 4203597 h 4806848"/>
              <a:gd name="connsiteX110" fmla="*/ 2663674 w 8978749"/>
              <a:gd name="connsiteY110" fmla="*/ 4262335 h 4806848"/>
              <a:gd name="connsiteX111" fmla="*/ 2604936 w 8978749"/>
              <a:gd name="connsiteY111" fmla="*/ 4262335 h 4806848"/>
              <a:gd name="connsiteX112" fmla="*/ 2525565 w 8978749"/>
              <a:gd name="connsiteY112" fmla="*/ 4203597 h 4806848"/>
              <a:gd name="connsiteX113" fmla="*/ 2584304 w 8978749"/>
              <a:gd name="connsiteY113" fmla="*/ 4203597 h 4806848"/>
              <a:gd name="connsiteX114" fmla="*/ 2584304 w 8978749"/>
              <a:gd name="connsiteY114" fmla="*/ 4262335 h 4806848"/>
              <a:gd name="connsiteX115" fmla="*/ 2525565 w 8978749"/>
              <a:gd name="connsiteY115" fmla="*/ 4262335 h 4806848"/>
              <a:gd name="connsiteX116" fmla="*/ 2447778 w 8978749"/>
              <a:gd name="connsiteY116" fmla="*/ 4203597 h 4806848"/>
              <a:gd name="connsiteX117" fmla="*/ 2504928 w 8978749"/>
              <a:gd name="connsiteY117" fmla="*/ 4203597 h 4806848"/>
              <a:gd name="connsiteX118" fmla="*/ 2504928 w 8978749"/>
              <a:gd name="connsiteY118" fmla="*/ 4262335 h 4806848"/>
              <a:gd name="connsiteX119" fmla="*/ 2447778 w 8978749"/>
              <a:gd name="connsiteY119" fmla="*/ 4262335 h 4806848"/>
              <a:gd name="connsiteX120" fmla="*/ 8604098 w 8978749"/>
              <a:gd name="connsiteY120" fmla="*/ 4125810 h 4806848"/>
              <a:gd name="connsiteX121" fmla="*/ 8662836 w 8978749"/>
              <a:gd name="connsiteY121" fmla="*/ 4125810 h 4806848"/>
              <a:gd name="connsiteX122" fmla="*/ 8662836 w 8978749"/>
              <a:gd name="connsiteY122" fmla="*/ 4184548 h 4806848"/>
              <a:gd name="connsiteX123" fmla="*/ 8604098 w 8978749"/>
              <a:gd name="connsiteY123" fmla="*/ 4184548 h 4806848"/>
              <a:gd name="connsiteX124" fmla="*/ 7973861 w 8978749"/>
              <a:gd name="connsiteY124" fmla="*/ 4125810 h 4806848"/>
              <a:gd name="connsiteX125" fmla="*/ 8031011 w 8978749"/>
              <a:gd name="connsiteY125" fmla="*/ 4125810 h 4806848"/>
              <a:gd name="connsiteX126" fmla="*/ 8031011 w 8978749"/>
              <a:gd name="connsiteY126" fmla="*/ 4184548 h 4806848"/>
              <a:gd name="connsiteX127" fmla="*/ 7973861 w 8978749"/>
              <a:gd name="connsiteY127" fmla="*/ 4184548 h 4806848"/>
              <a:gd name="connsiteX128" fmla="*/ 7894486 w 8978749"/>
              <a:gd name="connsiteY128" fmla="*/ 4125810 h 4806848"/>
              <a:gd name="connsiteX129" fmla="*/ 7951636 w 8978749"/>
              <a:gd name="connsiteY129" fmla="*/ 4125810 h 4806848"/>
              <a:gd name="connsiteX130" fmla="*/ 7951636 w 8978749"/>
              <a:gd name="connsiteY130" fmla="*/ 4184548 h 4806848"/>
              <a:gd name="connsiteX131" fmla="*/ 7894486 w 8978749"/>
              <a:gd name="connsiteY131" fmla="*/ 4184548 h 4806848"/>
              <a:gd name="connsiteX132" fmla="*/ 7815111 w 8978749"/>
              <a:gd name="connsiteY132" fmla="*/ 4125810 h 4806848"/>
              <a:gd name="connsiteX133" fmla="*/ 7873849 w 8978749"/>
              <a:gd name="connsiteY133" fmla="*/ 4125810 h 4806848"/>
              <a:gd name="connsiteX134" fmla="*/ 7873849 w 8978749"/>
              <a:gd name="connsiteY134" fmla="*/ 4184548 h 4806848"/>
              <a:gd name="connsiteX135" fmla="*/ 7815111 w 8978749"/>
              <a:gd name="connsiteY135" fmla="*/ 4184548 h 4806848"/>
              <a:gd name="connsiteX136" fmla="*/ 2763686 w 8978749"/>
              <a:gd name="connsiteY136" fmla="*/ 4125810 h 4806848"/>
              <a:gd name="connsiteX137" fmla="*/ 2820836 w 8978749"/>
              <a:gd name="connsiteY137" fmla="*/ 4125810 h 4806848"/>
              <a:gd name="connsiteX138" fmla="*/ 2820836 w 8978749"/>
              <a:gd name="connsiteY138" fmla="*/ 4184548 h 4806848"/>
              <a:gd name="connsiteX139" fmla="*/ 2763686 w 8978749"/>
              <a:gd name="connsiteY139" fmla="*/ 4184548 h 4806848"/>
              <a:gd name="connsiteX140" fmla="*/ 2684311 w 8978749"/>
              <a:gd name="connsiteY140" fmla="*/ 4125810 h 4806848"/>
              <a:gd name="connsiteX141" fmla="*/ 2743049 w 8978749"/>
              <a:gd name="connsiteY141" fmla="*/ 4125810 h 4806848"/>
              <a:gd name="connsiteX142" fmla="*/ 2743049 w 8978749"/>
              <a:gd name="connsiteY142" fmla="*/ 4184548 h 4806848"/>
              <a:gd name="connsiteX143" fmla="*/ 2684311 w 8978749"/>
              <a:gd name="connsiteY143" fmla="*/ 4184548 h 4806848"/>
              <a:gd name="connsiteX144" fmla="*/ 2604936 w 8978749"/>
              <a:gd name="connsiteY144" fmla="*/ 4125810 h 4806848"/>
              <a:gd name="connsiteX145" fmla="*/ 2663674 w 8978749"/>
              <a:gd name="connsiteY145" fmla="*/ 4125810 h 4806848"/>
              <a:gd name="connsiteX146" fmla="*/ 2663674 w 8978749"/>
              <a:gd name="connsiteY146" fmla="*/ 4184548 h 4806848"/>
              <a:gd name="connsiteX147" fmla="*/ 2604936 w 8978749"/>
              <a:gd name="connsiteY147" fmla="*/ 4184548 h 4806848"/>
              <a:gd name="connsiteX148" fmla="*/ 2525567 w 8978749"/>
              <a:gd name="connsiteY148" fmla="*/ 4125810 h 4806848"/>
              <a:gd name="connsiteX149" fmla="*/ 2584305 w 8978749"/>
              <a:gd name="connsiteY149" fmla="*/ 4125810 h 4806848"/>
              <a:gd name="connsiteX150" fmla="*/ 2584305 w 8978749"/>
              <a:gd name="connsiteY150" fmla="*/ 4184548 h 4806848"/>
              <a:gd name="connsiteX151" fmla="*/ 2525567 w 8978749"/>
              <a:gd name="connsiteY151" fmla="*/ 4184548 h 4806848"/>
              <a:gd name="connsiteX152" fmla="*/ 2447779 w 8978749"/>
              <a:gd name="connsiteY152" fmla="*/ 4125810 h 4806848"/>
              <a:gd name="connsiteX153" fmla="*/ 2504929 w 8978749"/>
              <a:gd name="connsiteY153" fmla="*/ 4125810 h 4806848"/>
              <a:gd name="connsiteX154" fmla="*/ 2504929 w 8978749"/>
              <a:gd name="connsiteY154" fmla="*/ 4184548 h 4806848"/>
              <a:gd name="connsiteX155" fmla="*/ 2447779 w 8978749"/>
              <a:gd name="connsiteY155" fmla="*/ 4184548 h 4806848"/>
              <a:gd name="connsiteX156" fmla="*/ 8526311 w 8978749"/>
              <a:gd name="connsiteY156" fmla="*/ 4048022 h 4806848"/>
              <a:gd name="connsiteX157" fmla="*/ 8583461 w 8978749"/>
              <a:gd name="connsiteY157" fmla="*/ 4048022 h 4806848"/>
              <a:gd name="connsiteX158" fmla="*/ 8583461 w 8978749"/>
              <a:gd name="connsiteY158" fmla="*/ 4106760 h 4806848"/>
              <a:gd name="connsiteX159" fmla="*/ 8526311 w 8978749"/>
              <a:gd name="connsiteY159" fmla="*/ 4106760 h 4806848"/>
              <a:gd name="connsiteX160" fmla="*/ 7973861 w 8978749"/>
              <a:gd name="connsiteY160" fmla="*/ 4048022 h 4806848"/>
              <a:gd name="connsiteX161" fmla="*/ 8031011 w 8978749"/>
              <a:gd name="connsiteY161" fmla="*/ 4048022 h 4806848"/>
              <a:gd name="connsiteX162" fmla="*/ 8031011 w 8978749"/>
              <a:gd name="connsiteY162" fmla="*/ 4106760 h 4806848"/>
              <a:gd name="connsiteX163" fmla="*/ 7973861 w 8978749"/>
              <a:gd name="connsiteY163" fmla="*/ 4106760 h 4806848"/>
              <a:gd name="connsiteX164" fmla="*/ 7894486 w 8978749"/>
              <a:gd name="connsiteY164" fmla="*/ 4048022 h 4806848"/>
              <a:gd name="connsiteX165" fmla="*/ 7951636 w 8978749"/>
              <a:gd name="connsiteY165" fmla="*/ 4048022 h 4806848"/>
              <a:gd name="connsiteX166" fmla="*/ 7951636 w 8978749"/>
              <a:gd name="connsiteY166" fmla="*/ 4106760 h 4806848"/>
              <a:gd name="connsiteX167" fmla="*/ 7894486 w 8978749"/>
              <a:gd name="connsiteY167" fmla="*/ 4106760 h 4806848"/>
              <a:gd name="connsiteX168" fmla="*/ 7815111 w 8978749"/>
              <a:gd name="connsiteY168" fmla="*/ 4048022 h 4806848"/>
              <a:gd name="connsiteX169" fmla="*/ 7873849 w 8978749"/>
              <a:gd name="connsiteY169" fmla="*/ 4048022 h 4806848"/>
              <a:gd name="connsiteX170" fmla="*/ 7873849 w 8978749"/>
              <a:gd name="connsiteY170" fmla="*/ 4106760 h 4806848"/>
              <a:gd name="connsiteX171" fmla="*/ 7815111 w 8978749"/>
              <a:gd name="connsiteY171" fmla="*/ 4106760 h 4806848"/>
              <a:gd name="connsiteX172" fmla="*/ 7735736 w 8978749"/>
              <a:gd name="connsiteY172" fmla="*/ 4048022 h 4806848"/>
              <a:gd name="connsiteX173" fmla="*/ 7794474 w 8978749"/>
              <a:gd name="connsiteY173" fmla="*/ 4048022 h 4806848"/>
              <a:gd name="connsiteX174" fmla="*/ 7794474 w 8978749"/>
              <a:gd name="connsiteY174" fmla="*/ 4106760 h 4806848"/>
              <a:gd name="connsiteX175" fmla="*/ 7735736 w 8978749"/>
              <a:gd name="connsiteY175" fmla="*/ 4106760 h 4806848"/>
              <a:gd name="connsiteX176" fmla="*/ 7183286 w 8978749"/>
              <a:gd name="connsiteY176" fmla="*/ 4048022 h 4806848"/>
              <a:gd name="connsiteX177" fmla="*/ 7242024 w 8978749"/>
              <a:gd name="connsiteY177" fmla="*/ 4048022 h 4806848"/>
              <a:gd name="connsiteX178" fmla="*/ 7242024 w 8978749"/>
              <a:gd name="connsiteY178" fmla="*/ 4106760 h 4806848"/>
              <a:gd name="connsiteX179" fmla="*/ 7183286 w 8978749"/>
              <a:gd name="connsiteY179" fmla="*/ 4106760 h 4806848"/>
              <a:gd name="connsiteX180" fmla="*/ 2763686 w 8978749"/>
              <a:gd name="connsiteY180" fmla="*/ 4048022 h 4806848"/>
              <a:gd name="connsiteX181" fmla="*/ 2820836 w 8978749"/>
              <a:gd name="connsiteY181" fmla="*/ 4048022 h 4806848"/>
              <a:gd name="connsiteX182" fmla="*/ 2820836 w 8978749"/>
              <a:gd name="connsiteY182" fmla="*/ 4106760 h 4806848"/>
              <a:gd name="connsiteX183" fmla="*/ 2763686 w 8978749"/>
              <a:gd name="connsiteY183" fmla="*/ 4106760 h 4806848"/>
              <a:gd name="connsiteX184" fmla="*/ 2684311 w 8978749"/>
              <a:gd name="connsiteY184" fmla="*/ 4048022 h 4806848"/>
              <a:gd name="connsiteX185" fmla="*/ 2743049 w 8978749"/>
              <a:gd name="connsiteY185" fmla="*/ 4048022 h 4806848"/>
              <a:gd name="connsiteX186" fmla="*/ 2743049 w 8978749"/>
              <a:gd name="connsiteY186" fmla="*/ 4106760 h 4806848"/>
              <a:gd name="connsiteX187" fmla="*/ 2684311 w 8978749"/>
              <a:gd name="connsiteY187" fmla="*/ 4106760 h 4806848"/>
              <a:gd name="connsiteX188" fmla="*/ 2604936 w 8978749"/>
              <a:gd name="connsiteY188" fmla="*/ 4048022 h 4806848"/>
              <a:gd name="connsiteX189" fmla="*/ 2663674 w 8978749"/>
              <a:gd name="connsiteY189" fmla="*/ 4048022 h 4806848"/>
              <a:gd name="connsiteX190" fmla="*/ 2663674 w 8978749"/>
              <a:gd name="connsiteY190" fmla="*/ 4106760 h 4806848"/>
              <a:gd name="connsiteX191" fmla="*/ 2604936 w 8978749"/>
              <a:gd name="connsiteY191" fmla="*/ 4106760 h 4806848"/>
              <a:gd name="connsiteX192" fmla="*/ 2525569 w 8978749"/>
              <a:gd name="connsiteY192" fmla="*/ 4048022 h 4806848"/>
              <a:gd name="connsiteX193" fmla="*/ 2584307 w 8978749"/>
              <a:gd name="connsiteY193" fmla="*/ 4048022 h 4806848"/>
              <a:gd name="connsiteX194" fmla="*/ 2584307 w 8978749"/>
              <a:gd name="connsiteY194" fmla="*/ 4106760 h 4806848"/>
              <a:gd name="connsiteX195" fmla="*/ 2525569 w 8978749"/>
              <a:gd name="connsiteY195" fmla="*/ 4106760 h 4806848"/>
              <a:gd name="connsiteX196" fmla="*/ 2447781 w 8978749"/>
              <a:gd name="connsiteY196" fmla="*/ 4048022 h 4806848"/>
              <a:gd name="connsiteX197" fmla="*/ 2504930 w 8978749"/>
              <a:gd name="connsiteY197" fmla="*/ 4048022 h 4806848"/>
              <a:gd name="connsiteX198" fmla="*/ 2504930 w 8978749"/>
              <a:gd name="connsiteY198" fmla="*/ 4106760 h 4806848"/>
              <a:gd name="connsiteX199" fmla="*/ 2447781 w 8978749"/>
              <a:gd name="connsiteY199" fmla="*/ 4106760 h 4806848"/>
              <a:gd name="connsiteX200" fmla="*/ 7973861 w 8978749"/>
              <a:gd name="connsiteY200" fmla="*/ 3970235 h 4806848"/>
              <a:gd name="connsiteX201" fmla="*/ 8031011 w 8978749"/>
              <a:gd name="connsiteY201" fmla="*/ 3970235 h 4806848"/>
              <a:gd name="connsiteX202" fmla="*/ 8031011 w 8978749"/>
              <a:gd name="connsiteY202" fmla="*/ 4028973 h 4806848"/>
              <a:gd name="connsiteX203" fmla="*/ 7973861 w 8978749"/>
              <a:gd name="connsiteY203" fmla="*/ 4028973 h 4806848"/>
              <a:gd name="connsiteX204" fmla="*/ 7894486 w 8978749"/>
              <a:gd name="connsiteY204" fmla="*/ 3970235 h 4806848"/>
              <a:gd name="connsiteX205" fmla="*/ 7951636 w 8978749"/>
              <a:gd name="connsiteY205" fmla="*/ 3970235 h 4806848"/>
              <a:gd name="connsiteX206" fmla="*/ 7951636 w 8978749"/>
              <a:gd name="connsiteY206" fmla="*/ 4028973 h 4806848"/>
              <a:gd name="connsiteX207" fmla="*/ 7894486 w 8978749"/>
              <a:gd name="connsiteY207" fmla="*/ 4028973 h 4806848"/>
              <a:gd name="connsiteX208" fmla="*/ 7815111 w 8978749"/>
              <a:gd name="connsiteY208" fmla="*/ 3970235 h 4806848"/>
              <a:gd name="connsiteX209" fmla="*/ 7873849 w 8978749"/>
              <a:gd name="connsiteY209" fmla="*/ 3970235 h 4806848"/>
              <a:gd name="connsiteX210" fmla="*/ 7873849 w 8978749"/>
              <a:gd name="connsiteY210" fmla="*/ 4028973 h 4806848"/>
              <a:gd name="connsiteX211" fmla="*/ 7815111 w 8978749"/>
              <a:gd name="connsiteY211" fmla="*/ 4028973 h 4806848"/>
              <a:gd name="connsiteX212" fmla="*/ 7735736 w 8978749"/>
              <a:gd name="connsiteY212" fmla="*/ 3970235 h 4806848"/>
              <a:gd name="connsiteX213" fmla="*/ 7794474 w 8978749"/>
              <a:gd name="connsiteY213" fmla="*/ 3970235 h 4806848"/>
              <a:gd name="connsiteX214" fmla="*/ 7794474 w 8978749"/>
              <a:gd name="connsiteY214" fmla="*/ 4028973 h 4806848"/>
              <a:gd name="connsiteX215" fmla="*/ 7735736 w 8978749"/>
              <a:gd name="connsiteY215" fmla="*/ 4028973 h 4806848"/>
              <a:gd name="connsiteX216" fmla="*/ 7657948 w 8978749"/>
              <a:gd name="connsiteY216" fmla="*/ 3970235 h 4806848"/>
              <a:gd name="connsiteX217" fmla="*/ 7715098 w 8978749"/>
              <a:gd name="connsiteY217" fmla="*/ 3970235 h 4806848"/>
              <a:gd name="connsiteX218" fmla="*/ 7715098 w 8978749"/>
              <a:gd name="connsiteY218" fmla="*/ 4028973 h 4806848"/>
              <a:gd name="connsiteX219" fmla="*/ 7657948 w 8978749"/>
              <a:gd name="connsiteY219" fmla="*/ 4028973 h 4806848"/>
              <a:gd name="connsiteX220" fmla="*/ 7578573 w 8978749"/>
              <a:gd name="connsiteY220" fmla="*/ 3970235 h 4806848"/>
              <a:gd name="connsiteX221" fmla="*/ 7637311 w 8978749"/>
              <a:gd name="connsiteY221" fmla="*/ 3970235 h 4806848"/>
              <a:gd name="connsiteX222" fmla="*/ 7637311 w 8978749"/>
              <a:gd name="connsiteY222" fmla="*/ 4028973 h 4806848"/>
              <a:gd name="connsiteX223" fmla="*/ 7578573 w 8978749"/>
              <a:gd name="connsiteY223" fmla="*/ 4028973 h 4806848"/>
              <a:gd name="connsiteX224" fmla="*/ 7262661 w 8978749"/>
              <a:gd name="connsiteY224" fmla="*/ 3970235 h 4806848"/>
              <a:gd name="connsiteX225" fmla="*/ 7321399 w 8978749"/>
              <a:gd name="connsiteY225" fmla="*/ 3970235 h 4806848"/>
              <a:gd name="connsiteX226" fmla="*/ 7321399 w 8978749"/>
              <a:gd name="connsiteY226" fmla="*/ 4028973 h 4806848"/>
              <a:gd name="connsiteX227" fmla="*/ 7262661 w 8978749"/>
              <a:gd name="connsiteY227" fmla="*/ 4028973 h 4806848"/>
              <a:gd name="connsiteX228" fmla="*/ 7183286 w 8978749"/>
              <a:gd name="connsiteY228" fmla="*/ 3970235 h 4806848"/>
              <a:gd name="connsiteX229" fmla="*/ 7242024 w 8978749"/>
              <a:gd name="connsiteY229" fmla="*/ 3970235 h 4806848"/>
              <a:gd name="connsiteX230" fmla="*/ 7242024 w 8978749"/>
              <a:gd name="connsiteY230" fmla="*/ 4028973 h 4806848"/>
              <a:gd name="connsiteX231" fmla="*/ 7183286 w 8978749"/>
              <a:gd name="connsiteY231" fmla="*/ 4028973 h 4806848"/>
              <a:gd name="connsiteX232" fmla="*/ 7105498 w 8978749"/>
              <a:gd name="connsiteY232" fmla="*/ 3970235 h 4806848"/>
              <a:gd name="connsiteX233" fmla="*/ 7162648 w 8978749"/>
              <a:gd name="connsiteY233" fmla="*/ 3970235 h 4806848"/>
              <a:gd name="connsiteX234" fmla="*/ 7162648 w 8978749"/>
              <a:gd name="connsiteY234" fmla="*/ 4028973 h 4806848"/>
              <a:gd name="connsiteX235" fmla="*/ 7105498 w 8978749"/>
              <a:gd name="connsiteY235" fmla="*/ 4028973 h 4806848"/>
              <a:gd name="connsiteX236" fmla="*/ 4894111 w 8978749"/>
              <a:gd name="connsiteY236" fmla="*/ 3970235 h 4806848"/>
              <a:gd name="connsiteX237" fmla="*/ 4952849 w 8978749"/>
              <a:gd name="connsiteY237" fmla="*/ 3970235 h 4806848"/>
              <a:gd name="connsiteX238" fmla="*/ 4952849 w 8978749"/>
              <a:gd name="connsiteY238" fmla="*/ 4028973 h 4806848"/>
              <a:gd name="connsiteX239" fmla="*/ 4894111 w 8978749"/>
              <a:gd name="connsiteY239" fmla="*/ 4028973 h 4806848"/>
              <a:gd name="connsiteX240" fmla="*/ 4814736 w 8978749"/>
              <a:gd name="connsiteY240" fmla="*/ 3970235 h 4806848"/>
              <a:gd name="connsiteX241" fmla="*/ 4873474 w 8978749"/>
              <a:gd name="connsiteY241" fmla="*/ 3970235 h 4806848"/>
              <a:gd name="connsiteX242" fmla="*/ 4873474 w 8978749"/>
              <a:gd name="connsiteY242" fmla="*/ 4028973 h 4806848"/>
              <a:gd name="connsiteX243" fmla="*/ 4814736 w 8978749"/>
              <a:gd name="connsiteY243" fmla="*/ 4028973 h 4806848"/>
              <a:gd name="connsiteX244" fmla="*/ 4736948 w 8978749"/>
              <a:gd name="connsiteY244" fmla="*/ 3970235 h 4806848"/>
              <a:gd name="connsiteX245" fmla="*/ 4794098 w 8978749"/>
              <a:gd name="connsiteY245" fmla="*/ 3970235 h 4806848"/>
              <a:gd name="connsiteX246" fmla="*/ 4794098 w 8978749"/>
              <a:gd name="connsiteY246" fmla="*/ 4028973 h 4806848"/>
              <a:gd name="connsiteX247" fmla="*/ 4736948 w 8978749"/>
              <a:gd name="connsiteY247" fmla="*/ 4028973 h 4806848"/>
              <a:gd name="connsiteX248" fmla="*/ 2841473 w 8978749"/>
              <a:gd name="connsiteY248" fmla="*/ 3970235 h 4806848"/>
              <a:gd name="connsiteX249" fmla="*/ 2900211 w 8978749"/>
              <a:gd name="connsiteY249" fmla="*/ 3970235 h 4806848"/>
              <a:gd name="connsiteX250" fmla="*/ 2900211 w 8978749"/>
              <a:gd name="connsiteY250" fmla="*/ 4028973 h 4806848"/>
              <a:gd name="connsiteX251" fmla="*/ 2841473 w 8978749"/>
              <a:gd name="connsiteY251" fmla="*/ 4028973 h 4806848"/>
              <a:gd name="connsiteX252" fmla="*/ 2763686 w 8978749"/>
              <a:gd name="connsiteY252" fmla="*/ 3970235 h 4806848"/>
              <a:gd name="connsiteX253" fmla="*/ 2820836 w 8978749"/>
              <a:gd name="connsiteY253" fmla="*/ 3970235 h 4806848"/>
              <a:gd name="connsiteX254" fmla="*/ 2820836 w 8978749"/>
              <a:gd name="connsiteY254" fmla="*/ 4028973 h 4806848"/>
              <a:gd name="connsiteX255" fmla="*/ 2763686 w 8978749"/>
              <a:gd name="connsiteY255" fmla="*/ 4028973 h 4806848"/>
              <a:gd name="connsiteX256" fmla="*/ 2684311 w 8978749"/>
              <a:gd name="connsiteY256" fmla="*/ 3970235 h 4806848"/>
              <a:gd name="connsiteX257" fmla="*/ 2743049 w 8978749"/>
              <a:gd name="connsiteY257" fmla="*/ 3970235 h 4806848"/>
              <a:gd name="connsiteX258" fmla="*/ 2743049 w 8978749"/>
              <a:gd name="connsiteY258" fmla="*/ 4028973 h 4806848"/>
              <a:gd name="connsiteX259" fmla="*/ 2684311 w 8978749"/>
              <a:gd name="connsiteY259" fmla="*/ 4028973 h 4806848"/>
              <a:gd name="connsiteX260" fmla="*/ 2604936 w 8978749"/>
              <a:gd name="connsiteY260" fmla="*/ 3970235 h 4806848"/>
              <a:gd name="connsiteX261" fmla="*/ 2663674 w 8978749"/>
              <a:gd name="connsiteY261" fmla="*/ 3970235 h 4806848"/>
              <a:gd name="connsiteX262" fmla="*/ 2663674 w 8978749"/>
              <a:gd name="connsiteY262" fmla="*/ 4028973 h 4806848"/>
              <a:gd name="connsiteX263" fmla="*/ 2604936 w 8978749"/>
              <a:gd name="connsiteY263" fmla="*/ 4028973 h 4806848"/>
              <a:gd name="connsiteX264" fmla="*/ 2525572 w 8978749"/>
              <a:gd name="connsiteY264" fmla="*/ 3970235 h 4806848"/>
              <a:gd name="connsiteX265" fmla="*/ 2584309 w 8978749"/>
              <a:gd name="connsiteY265" fmla="*/ 3970235 h 4806848"/>
              <a:gd name="connsiteX266" fmla="*/ 2584309 w 8978749"/>
              <a:gd name="connsiteY266" fmla="*/ 4028973 h 4806848"/>
              <a:gd name="connsiteX267" fmla="*/ 2525572 w 8978749"/>
              <a:gd name="connsiteY267" fmla="*/ 4028973 h 4806848"/>
              <a:gd name="connsiteX268" fmla="*/ 2447784 w 8978749"/>
              <a:gd name="connsiteY268" fmla="*/ 3970235 h 4806848"/>
              <a:gd name="connsiteX269" fmla="*/ 2504934 w 8978749"/>
              <a:gd name="connsiteY269" fmla="*/ 3970235 h 4806848"/>
              <a:gd name="connsiteX270" fmla="*/ 2504934 w 8978749"/>
              <a:gd name="connsiteY270" fmla="*/ 4028973 h 4806848"/>
              <a:gd name="connsiteX271" fmla="*/ 2447784 w 8978749"/>
              <a:gd name="connsiteY271" fmla="*/ 4028973 h 4806848"/>
              <a:gd name="connsiteX272" fmla="*/ 2289034 w 8978749"/>
              <a:gd name="connsiteY272" fmla="*/ 3970235 h 4806848"/>
              <a:gd name="connsiteX273" fmla="*/ 2347772 w 8978749"/>
              <a:gd name="connsiteY273" fmla="*/ 3970235 h 4806848"/>
              <a:gd name="connsiteX274" fmla="*/ 2347772 w 8978749"/>
              <a:gd name="connsiteY274" fmla="*/ 4028973 h 4806848"/>
              <a:gd name="connsiteX275" fmla="*/ 2289034 w 8978749"/>
              <a:gd name="connsiteY275" fmla="*/ 4028973 h 4806848"/>
              <a:gd name="connsiteX276" fmla="*/ 8051648 w 8978749"/>
              <a:gd name="connsiteY276" fmla="*/ 3892447 h 4806848"/>
              <a:gd name="connsiteX277" fmla="*/ 8110386 w 8978749"/>
              <a:gd name="connsiteY277" fmla="*/ 3892447 h 4806848"/>
              <a:gd name="connsiteX278" fmla="*/ 8110386 w 8978749"/>
              <a:gd name="connsiteY278" fmla="*/ 3951185 h 4806848"/>
              <a:gd name="connsiteX279" fmla="*/ 8051648 w 8978749"/>
              <a:gd name="connsiteY279" fmla="*/ 3951185 h 4806848"/>
              <a:gd name="connsiteX280" fmla="*/ 7973861 w 8978749"/>
              <a:gd name="connsiteY280" fmla="*/ 3892447 h 4806848"/>
              <a:gd name="connsiteX281" fmla="*/ 8031011 w 8978749"/>
              <a:gd name="connsiteY281" fmla="*/ 3892447 h 4806848"/>
              <a:gd name="connsiteX282" fmla="*/ 8031011 w 8978749"/>
              <a:gd name="connsiteY282" fmla="*/ 3951185 h 4806848"/>
              <a:gd name="connsiteX283" fmla="*/ 7973861 w 8978749"/>
              <a:gd name="connsiteY283" fmla="*/ 3951185 h 4806848"/>
              <a:gd name="connsiteX284" fmla="*/ 7894486 w 8978749"/>
              <a:gd name="connsiteY284" fmla="*/ 3892447 h 4806848"/>
              <a:gd name="connsiteX285" fmla="*/ 7951636 w 8978749"/>
              <a:gd name="connsiteY285" fmla="*/ 3892447 h 4806848"/>
              <a:gd name="connsiteX286" fmla="*/ 7951636 w 8978749"/>
              <a:gd name="connsiteY286" fmla="*/ 3951185 h 4806848"/>
              <a:gd name="connsiteX287" fmla="*/ 7894486 w 8978749"/>
              <a:gd name="connsiteY287" fmla="*/ 3951185 h 4806848"/>
              <a:gd name="connsiteX288" fmla="*/ 7815111 w 8978749"/>
              <a:gd name="connsiteY288" fmla="*/ 3892447 h 4806848"/>
              <a:gd name="connsiteX289" fmla="*/ 7873849 w 8978749"/>
              <a:gd name="connsiteY289" fmla="*/ 3892447 h 4806848"/>
              <a:gd name="connsiteX290" fmla="*/ 7873849 w 8978749"/>
              <a:gd name="connsiteY290" fmla="*/ 3951185 h 4806848"/>
              <a:gd name="connsiteX291" fmla="*/ 7815111 w 8978749"/>
              <a:gd name="connsiteY291" fmla="*/ 3951185 h 4806848"/>
              <a:gd name="connsiteX292" fmla="*/ 7735736 w 8978749"/>
              <a:gd name="connsiteY292" fmla="*/ 3892447 h 4806848"/>
              <a:gd name="connsiteX293" fmla="*/ 7794474 w 8978749"/>
              <a:gd name="connsiteY293" fmla="*/ 3892447 h 4806848"/>
              <a:gd name="connsiteX294" fmla="*/ 7794474 w 8978749"/>
              <a:gd name="connsiteY294" fmla="*/ 3951185 h 4806848"/>
              <a:gd name="connsiteX295" fmla="*/ 7735736 w 8978749"/>
              <a:gd name="connsiteY295" fmla="*/ 3951185 h 4806848"/>
              <a:gd name="connsiteX296" fmla="*/ 7657948 w 8978749"/>
              <a:gd name="connsiteY296" fmla="*/ 3892447 h 4806848"/>
              <a:gd name="connsiteX297" fmla="*/ 7715098 w 8978749"/>
              <a:gd name="connsiteY297" fmla="*/ 3892447 h 4806848"/>
              <a:gd name="connsiteX298" fmla="*/ 7715098 w 8978749"/>
              <a:gd name="connsiteY298" fmla="*/ 3951185 h 4806848"/>
              <a:gd name="connsiteX299" fmla="*/ 7657948 w 8978749"/>
              <a:gd name="connsiteY299" fmla="*/ 3951185 h 4806848"/>
              <a:gd name="connsiteX300" fmla="*/ 7578573 w 8978749"/>
              <a:gd name="connsiteY300" fmla="*/ 3892447 h 4806848"/>
              <a:gd name="connsiteX301" fmla="*/ 7637311 w 8978749"/>
              <a:gd name="connsiteY301" fmla="*/ 3892447 h 4806848"/>
              <a:gd name="connsiteX302" fmla="*/ 7637311 w 8978749"/>
              <a:gd name="connsiteY302" fmla="*/ 3951185 h 4806848"/>
              <a:gd name="connsiteX303" fmla="*/ 7578573 w 8978749"/>
              <a:gd name="connsiteY303" fmla="*/ 3951185 h 4806848"/>
              <a:gd name="connsiteX304" fmla="*/ 7499198 w 8978749"/>
              <a:gd name="connsiteY304" fmla="*/ 3892447 h 4806848"/>
              <a:gd name="connsiteX305" fmla="*/ 7557936 w 8978749"/>
              <a:gd name="connsiteY305" fmla="*/ 3892447 h 4806848"/>
              <a:gd name="connsiteX306" fmla="*/ 7557936 w 8978749"/>
              <a:gd name="connsiteY306" fmla="*/ 3951185 h 4806848"/>
              <a:gd name="connsiteX307" fmla="*/ 7499198 w 8978749"/>
              <a:gd name="connsiteY307" fmla="*/ 3951185 h 4806848"/>
              <a:gd name="connsiteX308" fmla="*/ 7419823 w 8978749"/>
              <a:gd name="connsiteY308" fmla="*/ 3892447 h 4806848"/>
              <a:gd name="connsiteX309" fmla="*/ 7478561 w 8978749"/>
              <a:gd name="connsiteY309" fmla="*/ 3892447 h 4806848"/>
              <a:gd name="connsiteX310" fmla="*/ 7478561 w 8978749"/>
              <a:gd name="connsiteY310" fmla="*/ 3951185 h 4806848"/>
              <a:gd name="connsiteX311" fmla="*/ 7419823 w 8978749"/>
              <a:gd name="connsiteY311" fmla="*/ 3951185 h 4806848"/>
              <a:gd name="connsiteX312" fmla="*/ 7342036 w 8978749"/>
              <a:gd name="connsiteY312" fmla="*/ 3892447 h 4806848"/>
              <a:gd name="connsiteX313" fmla="*/ 7400774 w 8978749"/>
              <a:gd name="connsiteY313" fmla="*/ 3892447 h 4806848"/>
              <a:gd name="connsiteX314" fmla="*/ 7400774 w 8978749"/>
              <a:gd name="connsiteY314" fmla="*/ 3951185 h 4806848"/>
              <a:gd name="connsiteX315" fmla="*/ 7342036 w 8978749"/>
              <a:gd name="connsiteY315" fmla="*/ 3951185 h 4806848"/>
              <a:gd name="connsiteX316" fmla="*/ 7262661 w 8978749"/>
              <a:gd name="connsiteY316" fmla="*/ 3892447 h 4806848"/>
              <a:gd name="connsiteX317" fmla="*/ 7321399 w 8978749"/>
              <a:gd name="connsiteY317" fmla="*/ 3892447 h 4806848"/>
              <a:gd name="connsiteX318" fmla="*/ 7321399 w 8978749"/>
              <a:gd name="connsiteY318" fmla="*/ 3951185 h 4806848"/>
              <a:gd name="connsiteX319" fmla="*/ 7262661 w 8978749"/>
              <a:gd name="connsiteY319" fmla="*/ 3951185 h 4806848"/>
              <a:gd name="connsiteX320" fmla="*/ 7183286 w 8978749"/>
              <a:gd name="connsiteY320" fmla="*/ 3892447 h 4806848"/>
              <a:gd name="connsiteX321" fmla="*/ 7242024 w 8978749"/>
              <a:gd name="connsiteY321" fmla="*/ 3892447 h 4806848"/>
              <a:gd name="connsiteX322" fmla="*/ 7242024 w 8978749"/>
              <a:gd name="connsiteY322" fmla="*/ 3951185 h 4806848"/>
              <a:gd name="connsiteX323" fmla="*/ 7183286 w 8978749"/>
              <a:gd name="connsiteY323" fmla="*/ 3951185 h 4806848"/>
              <a:gd name="connsiteX324" fmla="*/ 7105498 w 8978749"/>
              <a:gd name="connsiteY324" fmla="*/ 3892447 h 4806848"/>
              <a:gd name="connsiteX325" fmla="*/ 7162648 w 8978749"/>
              <a:gd name="connsiteY325" fmla="*/ 3892447 h 4806848"/>
              <a:gd name="connsiteX326" fmla="*/ 7162648 w 8978749"/>
              <a:gd name="connsiteY326" fmla="*/ 3951185 h 4806848"/>
              <a:gd name="connsiteX327" fmla="*/ 7105498 w 8978749"/>
              <a:gd name="connsiteY327" fmla="*/ 3951185 h 4806848"/>
              <a:gd name="connsiteX328" fmla="*/ 4973486 w 8978749"/>
              <a:gd name="connsiteY328" fmla="*/ 3892447 h 4806848"/>
              <a:gd name="connsiteX329" fmla="*/ 5030636 w 8978749"/>
              <a:gd name="connsiteY329" fmla="*/ 3892447 h 4806848"/>
              <a:gd name="connsiteX330" fmla="*/ 5030636 w 8978749"/>
              <a:gd name="connsiteY330" fmla="*/ 3951185 h 4806848"/>
              <a:gd name="connsiteX331" fmla="*/ 4973486 w 8978749"/>
              <a:gd name="connsiteY331" fmla="*/ 3951185 h 4806848"/>
              <a:gd name="connsiteX332" fmla="*/ 4894111 w 8978749"/>
              <a:gd name="connsiteY332" fmla="*/ 3892447 h 4806848"/>
              <a:gd name="connsiteX333" fmla="*/ 4952849 w 8978749"/>
              <a:gd name="connsiteY333" fmla="*/ 3892447 h 4806848"/>
              <a:gd name="connsiteX334" fmla="*/ 4952849 w 8978749"/>
              <a:gd name="connsiteY334" fmla="*/ 3951185 h 4806848"/>
              <a:gd name="connsiteX335" fmla="*/ 4894111 w 8978749"/>
              <a:gd name="connsiteY335" fmla="*/ 3951185 h 4806848"/>
              <a:gd name="connsiteX336" fmla="*/ 4814736 w 8978749"/>
              <a:gd name="connsiteY336" fmla="*/ 3892447 h 4806848"/>
              <a:gd name="connsiteX337" fmla="*/ 4873474 w 8978749"/>
              <a:gd name="connsiteY337" fmla="*/ 3892447 h 4806848"/>
              <a:gd name="connsiteX338" fmla="*/ 4873474 w 8978749"/>
              <a:gd name="connsiteY338" fmla="*/ 3951185 h 4806848"/>
              <a:gd name="connsiteX339" fmla="*/ 4814736 w 8978749"/>
              <a:gd name="connsiteY339" fmla="*/ 3951185 h 4806848"/>
              <a:gd name="connsiteX340" fmla="*/ 4736948 w 8978749"/>
              <a:gd name="connsiteY340" fmla="*/ 3892447 h 4806848"/>
              <a:gd name="connsiteX341" fmla="*/ 4794098 w 8978749"/>
              <a:gd name="connsiteY341" fmla="*/ 3892447 h 4806848"/>
              <a:gd name="connsiteX342" fmla="*/ 4794098 w 8978749"/>
              <a:gd name="connsiteY342" fmla="*/ 3951185 h 4806848"/>
              <a:gd name="connsiteX343" fmla="*/ 4736948 w 8978749"/>
              <a:gd name="connsiteY343" fmla="*/ 3951185 h 4806848"/>
              <a:gd name="connsiteX344" fmla="*/ 2920848 w 8978749"/>
              <a:gd name="connsiteY344" fmla="*/ 3892447 h 4806848"/>
              <a:gd name="connsiteX345" fmla="*/ 2979586 w 8978749"/>
              <a:gd name="connsiteY345" fmla="*/ 3892447 h 4806848"/>
              <a:gd name="connsiteX346" fmla="*/ 2979586 w 8978749"/>
              <a:gd name="connsiteY346" fmla="*/ 3951185 h 4806848"/>
              <a:gd name="connsiteX347" fmla="*/ 2920848 w 8978749"/>
              <a:gd name="connsiteY347" fmla="*/ 3951185 h 4806848"/>
              <a:gd name="connsiteX348" fmla="*/ 2841473 w 8978749"/>
              <a:gd name="connsiteY348" fmla="*/ 3892447 h 4806848"/>
              <a:gd name="connsiteX349" fmla="*/ 2900211 w 8978749"/>
              <a:gd name="connsiteY349" fmla="*/ 3892447 h 4806848"/>
              <a:gd name="connsiteX350" fmla="*/ 2900211 w 8978749"/>
              <a:gd name="connsiteY350" fmla="*/ 3951185 h 4806848"/>
              <a:gd name="connsiteX351" fmla="*/ 2841473 w 8978749"/>
              <a:gd name="connsiteY351" fmla="*/ 3951185 h 4806848"/>
              <a:gd name="connsiteX352" fmla="*/ 2763686 w 8978749"/>
              <a:gd name="connsiteY352" fmla="*/ 3892447 h 4806848"/>
              <a:gd name="connsiteX353" fmla="*/ 2820836 w 8978749"/>
              <a:gd name="connsiteY353" fmla="*/ 3892447 h 4806848"/>
              <a:gd name="connsiteX354" fmla="*/ 2820836 w 8978749"/>
              <a:gd name="connsiteY354" fmla="*/ 3951185 h 4806848"/>
              <a:gd name="connsiteX355" fmla="*/ 2763686 w 8978749"/>
              <a:gd name="connsiteY355" fmla="*/ 3951185 h 4806848"/>
              <a:gd name="connsiteX356" fmla="*/ 2684311 w 8978749"/>
              <a:gd name="connsiteY356" fmla="*/ 3892447 h 4806848"/>
              <a:gd name="connsiteX357" fmla="*/ 2743049 w 8978749"/>
              <a:gd name="connsiteY357" fmla="*/ 3892447 h 4806848"/>
              <a:gd name="connsiteX358" fmla="*/ 2743049 w 8978749"/>
              <a:gd name="connsiteY358" fmla="*/ 3951185 h 4806848"/>
              <a:gd name="connsiteX359" fmla="*/ 2684311 w 8978749"/>
              <a:gd name="connsiteY359" fmla="*/ 3951185 h 4806848"/>
              <a:gd name="connsiteX360" fmla="*/ 2604936 w 8978749"/>
              <a:gd name="connsiteY360" fmla="*/ 3892447 h 4806848"/>
              <a:gd name="connsiteX361" fmla="*/ 2663674 w 8978749"/>
              <a:gd name="connsiteY361" fmla="*/ 3892447 h 4806848"/>
              <a:gd name="connsiteX362" fmla="*/ 2663674 w 8978749"/>
              <a:gd name="connsiteY362" fmla="*/ 3951185 h 4806848"/>
              <a:gd name="connsiteX363" fmla="*/ 2604936 w 8978749"/>
              <a:gd name="connsiteY363" fmla="*/ 3951185 h 4806848"/>
              <a:gd name="connsiteX364" fmla="*/ 2525575 w 8978749"/>
              <a:gd name="connsiteY364" fmla="*/ 3892447 h 4806848"/>
              <a:gd name="connsiteX365" fmla="*/ 2584313 w 8978749"/>
              <a:gd name="connsiteY365" fmla="*/ 3892447 h 4806848"/>
              <a:gd name="connsiteX366" fmla="*/ 2584313 w 8978749"/>
              <a:gd name="connsiteY366" fmla="*/ 3951185 h 4806848"/>
              <a:gd name="connsiteX367" fmla="*/ 2525575 w 8978749"/>
              <a:gd name="connsiteY367" fmla="*/ 3951185 h 4806848"/>
              <a:gd name="connsiteX368" fmla="*/ 8051648 w 8978749"/>
              <a:gd name="connsiteY368" fmla="*/ 3814660 h 4806848"/>
              <a:gd name="connsiteX369" fmla="*/ 8110386 w 8978749"/>
              <a:gd name="connsiteY369" fmla="*/ 3814660 h 4806848"/>
              <a:gd name="connsiteX370" fmla="*/ 8110386 w 8978749"/>
              <a:gd name="connsiteY370" fmla="*/ 3871810 h 4806848"/>
              <a:gd name="connsiteX371" fmla="*/ 8051648 w 8978749"/>
              <a:gd name="connsiteY371" fmla="*/ 3871810 h 4806848"/>
              <a:gd name="connsiteX372" fmla="*/ 7973861 w 8978749"/>
              <a:gd name="connsiteY372" fmla="*/ 3814660 h 4806848"/>
              <a:gd name="connsiteX373" fmla="*/ 8031011 w 8978749"/>
              <a:gd name="connsiteY373" fmla="*/ 3814660 h 4806848"/>
              <a:gd name="connsiteX374" fmla="*/ 8031011 w 8978749"/>
              <a:gd name="connsiteY374" fmla="*/ 3871810 h 4806848"/>
              <a:gd name="connsiteX375" fmla="*/ 7973861 w 8978749"/>
              <a:gd name="connsiteY375" fmla="*/ 3871810 h 4806848"/>
              <a:gd name="connsiteX376" fmla="*/ 7894486 w 8978749"/>
              <a:gd name="connsiteY376" fmla="*/ 3814660 h 4806848"/>
              <a:gd name="connsiteX377" fmla="*/ 7951636 w 8978749"/>
              <a:gd name="connsiteY377" fmla="*/ 3814660 h 4806848"/>
              <a:gd name="connsiteX378" fmla="*/ 7951636 w 8978749"/>
              <a:gd name="connsiteY378" fmla="*/ 3871810 h 4806848"/>
              <a:gd name="connsiteX379" fmla="*/ 7894486 w 8978749"/>
              <a:gd name="connsiteY379" fmla="*/ 3871810 h 4806848"/>
              <a:gd name="connsiteX380" fmla="*/ 7815111 w 8978749"/>
              <a:gd name="connsiteY380" fmla="*/ 3814660 h 4806848"/>
              <a:gd name="connsiteX381" fmla="*/ 7873849 w 8978749"/>
              <a:gd name="connsiteY381" fmla="*/ 3814660 h 4806848"/>
              <a:gd name="connsiteX382" fmla="*/ 7873849 w 8978749"/>
              <a:gd name="connsiteY382" fmla="*/ 3871810 h 4806848"/>
              <a:gd name="connsiteX383" fmla="*/ 7815111 w 8978749"/>
              <a:gd name="connsiteY383" fmla="*/ 3871810 h 4806848"/>
              <a:gd name="connsiteX384" fmla="*/ 7735736 w 8978749"/>
              <a:gd name="connsiteY384" fmla="*/ 3814660 h 4806848"/>
              <a:gd name="connsiteX385" fmla="*/ 7794474 w 8978749"/>
              <a:gd name="connsiteY385" fmla="*/ 3814660 h 4806848"/>
              <a:gd name="connsiteX386" fmla="*/ 7794474 w 8978749"/>
              <a:gd name="connsiteY386" fmla="*/ 3871810 h 4806848"/>
              <a:gd name="connsiteX387" fmla="*/ 7735736 w 8978749"/>
              <a:gd name="connsiteY387" fmla="*/ 3871810 h 4806848"/>
              <a:gd name="connsiteX388" fmla="*/ 7657948 w 8978749"/>
              <a:gd name="connsiteY388" fmla="*/ 3814660 h 4806848"/>
              <a:gd name="connsiteX389" fmla="*/ 7715098 w 8978749"/>
              <a:gd name="connsiteY389" fmla="*/ 3814660 h 4806848"/>
              <a:gd name="connsiteX390" fmla="*/ 7715098 w 8978749"/>
              <a:gd name="connsiteY390" fmla="*/ 3871810 h 4806848"/>
              <a:gd name="connsiteX391" fmla="*/ 7657948 w 8978749"/>
              <a:gd name="connsiteY391" fmla="*/ 3871810 h 4806848"/>
              <a:gd name="connsiteX392" fmla="*/ 7578573 w 8978749"/>
              <a:gd name="connsiteY392" fmla="*/ 3814660 h 4806848"/>
              <a:gd name="connsiteX393" fmla="*/ 7637311 w 8978749"/>
              <a:gd name="connsiteY393" fmla="*/ 3814660 h 4806848"/>
              <a:gd name="connsiteX394" fmla="*/ 7637311 w 8978749"/>
              <a:gd name="connsiteY394" fmla="*/ 3871810 h 4806848"/>
              <a:gd name="connsiteX395" fmla="*/ 7578573 w 8978749"/>
              <a:gd name="connsiteY395" fmla="*/ 3871810 h 4806848"/>
              <a:gd name="connsiteX396" fmla="*/ 7499198 w 8978749"/>
              <a:gd name="connsiteY396" fmla="*/ 3814660 h 4806848"/>
              <a:gd name="connsiteX397" fmla="*/ 7557936 w 8978749"/>
              <a:gd name="connsiteY397" fmla="*/ 3814660 h 4806848"/>
              <a:gd name="connsiteX398" fmla="*/ 7557936 w 8978749"/>
              <a:gd name="connsiteY398" fmla="*/ 3871810 h 4806848"/>
              <a:gd name="connsiteX399" fmla="*/ 7499198 w 8978749"/>
              <a:gd name="connsiteY399" fmla="*/ 3871810 h 4806848"/>
              <a:gd name="connsiteX400" fmla="*/ 7419823 w 8978749"/>
              <a:gd name="connsiteY400" fmla="*/ 3814660 h 4806848"/>
              <a:gd name="connsiteX401" fmla="*/ 7478561 w 8978749"/>
              <a:gd name="connsiteY401" fmla="*/ 3814660 h 4806848"/>
              <a:gd name="connsiteX402" fmla="*/ 7478561 w 8978749"/>
              <a:gd name="connsiteY402" fmla="*/ 3871810 h 4806848"/>
              <a:gd name="connsiteX403" fmla="*/ 7419823 w 8978749"/>
              <a:gd name="connsiteY403" fmla="*/ 3871810 h 4806848"/>
              <a:gd name="connsiteX404" fmla="*/ 7342036 w 8978749"/>
              <a:gd name="connsiteY404" fmla="*/ 3814660 h 4806848"/>
              <a:gd name="connsiteX405" fmla="*/ 7400774 w 8978749"/>
              <a:gd name="connsiteY405" fmla="*/ 3814660 h 4806848"/>
              <a:gd name="connsiteX406" fmla="*/ 7400774 w 8978749"/>
              <a:gd name="connsiteY406" fmla="*/ 3871810 h 4806848"/>
              <a:gd name="connsiteX407" fmla="*/ 7342036 w 8978749"/>
              <a:gd name="connsiteY407" fmla="*/ 3871810 h 4806848"/>
              <a:gd name="connsiteX408" fmla="*/ 7262661 w 8978749"/>
              <a:gd name="connsiteY408" fmla="*/ 3814660 h 4806848"/>
              <a:gd name="connsiteX409" fmla="*/ 7321399 w 8978749"/>
              <a:gd name="connsiteY409" fmla="*/ 3814660 h 4806848"/>
              <a:gd name="connsiteX410" fmla="*/ 7321399 w 8978749"/>
              <a:gd name="connsiteY410" fmla="*/ 3871810 h 4806848"/>
              <a:gd name="connsiteX411" fmla="*/ 7262661 w 8978749"/>
              <a:gd name="connsiteY411" fmla="*/ 3871810 h 4806848"/>
              <a:gd name="connsiteX412" fmla="*/ 7183286 w 8978749"/>
              <a:gd name="connsiteY412" fmla="*/ 3814660 h 4806848"/>
              <a:gd name="connsiteX413" fmla="*/ 7242024 w 8978749"/>
              <a:gd name="connsiteY413" fmla="*/ 3814660 h 4806848"/>
              <a:gd name="connsiteX414" fmla="*/ 7242024 w 8978749"/>
              <a:gd name="connsiteY414" fmla="*/ 3871810 h 4806848"/>
              <a:gd name="connsiteX415" fmla="*/ 7183286 w 8978749"/>
              <a:gd name="connsiteY415" fmla="*/ 3871810 h 4806848"/>
              <a:gd name="connsiteX416" fmla="*/ 7105498 w 8978749"/>
              <a:gd name="connsiteY416" fmla="*/ 3814660 h 4806848"/>
              <a:gd name="connsiteX417" fmla="*/ 7162648 w 8978749"/>
              <a:gd name="connsiteY417" fmla="*/ 3814660 h 4806848"/>
              <a:gd name="connsiteX418" fmla="*/ 7162648 w 8978749"/>
              <a:gd name="connsiteY418" fmla="*/ 3871810 h 4806848"/>
              <a:gd name="connsiteX419" fmla="*/ 7105498 w 8978749"/>
              <a:gd name="connsiteY419" fmla="*/ 3871810 h 4806848"/>
              <a:gd name="connsiteX420" fmla="*/ 4973486 w 8978749"/>
              <a:gd name="connsiteY420" fmla="*/ 3814660 h 4806848"/>
              <a:gd name="connsiteX421" fmla="*/ 5030636 w 8978749"/>
              <a:gd name="connsiteY421" fmla="*/ 3814660 h 4806848"/>
              <a:gd name="connsiteX422" fmla="*/ 5030636 w 8978749"/>
              <a:gd name="connsiteY422" fmla="*/ 3871810 h 4806848"/>
              <a:gd name="connsiteX423" fmla="*/ 4973486 w 8978749"/>
              <a:gd name="connsiteY423" fmla="*/ 3871810 h 4806848"/>
              <a:gd name="connsiteX424" fmla="*/ 4894111 w 8978749"/>
              <a:gd name="connsiteY424" fmla="*/ 3814660 h 4806848"/>
              <a:gd name="connsiteX425" fmla="*/ 4952849 w 8978749"/>
              <a:gd name="connsiteY425" fmla="*/ 3814660 h 4806848"/>
              <a:gd name="connsiteX426" fmla="*/ 4952849 w 8978749"/>
              <a:gd name="connsiteY426" fmla="*/ 3871810 h 4806848"/>
              <a:gd name="connsiteX427" fmla="*/ 4894111 w 8978749"/>
              <a:gd name="connsiteY427" fmla="*/ 3871810 h 4806848"/>
              <a:gd name="connsiteX428" fmla="*/ 4814736 w 8978749"/>
              <a:gd name="connsiteY428" fmla="*/ 3814660 h 4806848"/>
              <a:gd name="connsiteX429" fmla="*/ 4873474 w 8978749"/>
              <a:gd name="connsiteY429" fmla="*/ 3814660 h 4806848"/>
              <a:gd name="connsiteX430" fmla="*/ 4873474 w 8978749"/>
              <a:gd name="connsiteY430" fmla="*/ 3871810 h 4806848"/>
              <a:gd name="connsiteX431" fmla="*/ 4814736 w 8978749"/>
              <a:gd name="connsiteY431" fmla="*/ 3871810 h 4806848"/>
              <a:gd name="connsiteX432" fmla="*/ 4736948 w 8978749"/>
              <a:gd name="connsiteY432" fmla="*/ 3814660 h 4806848"/>
              <a:gd name="connsiteX433" fmla="*/ 4794098 w 8978749"/>
              <a:gd name="connsiteY433" fmla="*/ 3814660 h 4806848"/>
              <a:gd name="connsiteX434" fmla="*/ 4794098 w 8978749"/>
              <a:gd name="connsiteY434" fmla="*/ 3871810 h 4806848"/>
              <a:gd name="connsiteX435" fmla="*/ 4736948 w 8978749"/>
              <a:gd name="connsiteY435" fmla="*/ 3871810 h 4806848"/>
              <a:gd name="connsiteX436" fmla="*/ 4657573 w 8978749"/>
              <a:gd name="connsiteY436" fmla="*/ 3814660 h 4806848"/>
              <a:gd name="connsiteX437" fmla="*/ 4716311 w 8978749"/>
              <a:gd name="connsiteY437" fmla="*/ 3814660 h 4806848"/>
              <a:gd name="connsiteX438" fmla="*/ 4716311 w 8978749"/>
              <a:gd name="connsiteY438" fmla="*/ 3871810 h 4806848"/>
              <a:gd name="connsiteX439" fmla="*/ 4657573 w 8978749"/>
              <a:gd name="connsiteY439" fmla="*/ 3871810 h 4806848"/>
              <a:gd name="connsiteX440" fmla="*/ 2920848 w 8978749"/>
              <a:gd name="connsiteY440" fmla="*/ 3814660 h 4806848"/>
              <a:gd name="connsiteX441" fmla="*/ 2979586 w 8978749"/>
              <a:gd name="connsiteY441" fmla="*/ 3814660 h 4806848"/>
              <a:gd name="connsiteX442" fmla="*/ 2979586 w 8978749"/>
              <a:gd name="connsiteY442" fmla="*/ 3871810 h 4806848"/>
              <a:gd name="connsiteX443" fmla="*/ 2920848 w 8978749"/>
              <a:gd name="connsiteY443" fmla="*/ 3871810 h 4806848"/>
              <a:gd name="connsiteX444" fmla="*/ 2841473 w 8978749"/>
              <a:gd name="connsiteY444" fmla="*/ 3814660 h 4806848"/>
              <a:gd name="connsiteX445" fmla="*/ 2900211 w 8978749"/>
              <a:gd name="connsiteY445" fmla="*/ 3814660 h 4806848"/>
              <a:gd name="connsiteX446" fmla="*/ 2900211 w 8978749"/>
              <a:gd name="connsiteY446" fmla="*/ 3871810 h 4806848"/>
              <a:gd name="connsiteX447" fmla="*/ 2841473 w 8978749"/>
              <a:gd name="connsiteY447" fmla="*/ 3871810 h 4806848"/>
              <a:gd name="connsiteX448" fmla="*/ 2763686 w 8978749"/>
              <a:gd name="connsiteY448" fmla="*/ 3814660 h 4806848"/>
              <a:gd name="connsiteX449" fmla="*/ 2820836 w 8978749"/>
              <a:gd name="connsiteY449" fmla="*/ 3814660 h 4806848"/>
              <a:gd name="connsiteX450" fmla="*/ 2820836 w 8978749"/>
              <a:gd name="connsiteY450" fmla="*/ 3871810 h 4806848"/>
              <a:gd name="connsiteX451" fmla="*/ 2763686 w 8978749"/>
              <a:gd name="connsiteY451" fmla="*/ 3871810 h 4806848"/>
              <a:gd name="connsiteX452" fmla="*/ 2684311 w 8978749"/>
              <a:gd name="connsiteY452" fmla="*/ 3814660 h 4806848"/>
              <a:gd name="connsiteX453" fmla="*/ 2743049 w 8978749"/>
              <a:gd name="connsiteY453" fmla="*/ 3814660 h 4806848"/>
              <a:gd name="connsiteX454" fmla="*/ 2743049 w 8978749"/>
              <a:gd name="connsiteY454" fmla="*/ 3871810 h 4806848"/>
              <a:gd name="connsiteX455" fmla="*/ 2684311 w 8978749"/>
              <a:gd name="connsiteY455" fmla="*/ 3871810 h 4806848"/>
              <a:gd name="connsiteX456" fmla="*/ 2604936 w 8978749"/>
              <a:gd name="connsiteY456" fmla="*/ 3814660 h 4806848"/>
              <a:gd name="connsiteX457" fmla="*/ 2663674 w 8978749"/>
              <a:gd name="connsiteY457" fmla="*/ 3814660 h 4806848"/>
              <a:gd name="connsiteX458" fmla="*/ 2663674 w 8978749"/>
              <a:gd name="connsiteY458" fmla="*/ 3871810 h 4806848"/>
              <a:gd name="connsiteX459" fmla="*/ 2604936 w 8978749"/>
              <a:gd name="connsiteY459" fmla="*/ 3871810 h 4806848"/>
              <a:gd name="connsiteX460" fmla="*/ 2525579 w 8978749"/>
              <a:gd name="connsiteY460" fmla="*/ 3814660 h 4806848"/>
              <a:gd name="connsiteX461" fmla="*/ 2584317 w 8978749"/>
              <a:gd name="connsiteY461" fmla="*/ 3814660 h 4806848"/>
              <a:gd name="connsiteX462" fmla="*/ 2584317 w 8978749"/>
              <a:gd name="connsiteY462" fmla="*/ 3871810 h 4806848"/>
              <a:gd name="connsiteX463" fmla="*/ 2525579 w 8978749"/>
              <a:gd name="connsiteY463" fmla="*/ 3871810 h 4806848"/>
              <a:gd name="connsiteX464" fmla="*/ 1500053 w 8978749"/>
              <a:gd name="connsiteY464" fmla="*/ 3814660 h 4806848"/>
              <a:gd name="connsiteX465" fmla="*/ 1558792 w 8978749"/>
              <a:gd name="connsiteY465" fmla="*/ 3814660 h 4806848"/>
              <a:gd name="connsiteX466" fmla="*/ 1558792 w 8978749"/>
              <a:gd name="connsiteY466" fmla="*/ 3871810 h 4806848"/>
              <a:gd name="connsiteX467" fmla="*/ 1500053 w 8978749"/>
              <a:gd name="connsiteY467" fmla="*/ 3871810 h 4806848"/>
              <a:gd name="connsiteX468" fmla="*/ 8051648 w 8978749"/>
              <a:gd name="connsiteY468" fmla="*/ 3736872 h 4806848"/>
              <a:gd name="connsiteX469" fmla="*/ 8110386 w 8978749"/>
              <a:gd name="connsiteY469" fmla="*/ 3736872 h 4806848"/>
              <a:gd name="connsiteX470" fmla="*/ 8110386 w 8978749"/>
              <a:gd name="connsiteY470" fmla="*/ 3794022 h 4806848"/>
              <a:gd name="connsiteX471" fmla="*/ 8051648 w 8978749"/>
              <a:gd name="connsiteY471" fmla="*/ 3794022 h 4806848"/>
              <a:gd name="connsiteX472" fmla="*/ 7973861 w 8978749"/>
              <a:gd name="connsiteY472" fmla="*/ 3736872 h 4806848"/>
              <a:gd name="connsiteX473" fmla="*/ 8031011 w 8978749"/>
              <a:gd name="connsiteY473" fmla="*/ 3736872 h 4806848"/>
              <a:gd name="connsiteX474" fmla="*/ 8031011 w 8978749"/>
              <a:gd name="connsiteY474" fmla="*/ 3794022 h 4806848"/>
              <a:gd name="connsiteX475" fmla="*/ 7973861 w 8978749"/>
              <a:gd name="connsiteY475" fmla="*/ 3794022 h 4806848"/>
              <a:gd name="connsiteX476" fmla="*/ 7894486 w 8978749"/>
              <a:gd name="connsiteY476" fmla="*/ 3736872 h 4806848"/>
              <a:gd name="connsiteX477" fmla="*/ 7951636 w 8978749"/>
              <a:gd name="connsiteY477" fmla="*/ 3736872 h 4806848"/>
              <a:gd name="connsiteX478" fmla="*/ 7951636 w 8978749"/>
              <a:gd name="connsiteY478" fmla="*/ 3794022 h 4806848"/>
              <a:gd name="connsiteX479" fmla="*/ 7894486 w 8978749"/>
              <a:gd name="connsiteY479" fmla="*/ 3794022 h 4806848"/>
              <a:gd name="connsiteX480" fmla="*/ 7815111 w 8978749"/>
              <a:gd name="connsiteY480" fmla="*/ 3736872 h 4806848"/>
              <a:gd name="connsiteX481" fmla="*/ 7873849 w 8978749"/>
              <a:gd name="connsiteY481" fmla="*/ 3736872 h 4806848"/>
              <a:gd name="connsiteX482" fmla="*/ 7873849 w 8978749"/>
              <a:gd name="connsiteY482" fmla="*/ 3794022 h 4806848"/>
              <a:gd name="connsiteX483" fmla="*/ 7815111 w 8978749"/>
              <a:gd name="connsiteY483" fmla="*/ 3794022 h 4806848"/>
              <a:gd name="connsiteX484" fmla="*/ 7735736 w 8978749"/>
              <a:gd name="connsiteY484" fmla="*/ 3736872 h 4806848"/>
              <a:gd name="connsiteX485" fmla="*/ 7794474 w 8978749"/>
              <a:gd name="connsiteY485" fmla="*/ 3736872 h 4806848"/>
              <a:gd name="connsiteX486" fmla="*/ 7794474 w 8978749"/>
              <a:gd name="connsiteY486" fmla="*/ 3794022 h 4806848"/>
              <a:gd name="connsiteX487" fmla="*/ 7735736 w 8978749"/>
              <a:gd name="connsiteY487" fmla="*/ 3794022 h 4806848"/>
              <a:gd name="connsiteX488" fmla="*/ 7657948 w 8978749"/>
              <a:gd name="connsiteY488" fmla="*/ 3736872 h 4806848"/>
              <a:gd name="connsiteX489" fmla="*/ 7715098 w 8978749"/>
              <a:gd name="connsiteY489" fmla="*/ 3736872 h 4806848"/>
              <a:gd name="connsiteX490" fmla="*/ 7715098 w 8978749"/>
              <a:gd name="connsiteY490" fmla="*/ 3794022 h 4806848"/>
              <a:gd name="connsiteX491" fmla="*/ 7657948 w 8978749"/>
              <a:gd name="connsiteY491" fmla="*/ 3794022 h 4806848"/>
              <a:gd name="connsiteX492" fmla="*/ 7578573 w 8978749"/>
              <a:gd name="connsiteY492" fmla="*/ 3736872 h 4806848"/>
              <a:gd name="connsiteX493" fmla="*/ 7637311 w 8978749"/>
              <a:gd name="connsiteY493" fmla="*/ 3736872 h 4806848"/>
              <a:gd name="connsiteX494" fmla="*/ 7637311 w 8978749"/>
              <a:gd name="connsiteY494" fmla="*/ 3794022 h 4806848"/>
              <a:gd name="connsiteX495" fmla="*/ 7578573 w 8978749"/>
              <a:gd name="connsiteY495" fmla="*/ 3794022 h 4806848"/>
              <a:gd name="connsiteX496" fmla="*/ 7499198 w 8978749"/>
              <a:gd name="connsiteY496" fmla="*/ 3736872 h 4806848"/>
              <a:gd name="connsiteX497" fmla="*/ 7557936 w 8978749"/>
              <a:gd name="connsiteY497" fmla="*/ 3736872 h 4806848"/>
              <a:gd name="connsiteX498" fmla="*/ 7557936 w 8978749"/>
              <a:gd name="connsiteY498" fmla="*/ 3794022 h 4806848"/>
              <a:gd name="connsiteX499" fmla="*/ 7499198 w 8978749"/>
              <a:gd name="connsiteY499" fmla="*/ 3794022 h 4806848"/>
              <a:gd name="connsiteX500" fmla="*/ 7419823 w 8978749"/>
              <a:gd name="connsiteY500" fmla="*/ 3736872 h 4806848"/>
              <a:gd name="connsiteX501" fmla="*/ 7478561 w 8978749"/>
              <a:gd name="connsiteY501" fmla="*/ 3736872 h 4806848"/>
              <a:gd name="connsiteX502" fmla="*/ 7478561 w 8978749"/>
              <a:gd name="connsiteY502" fmla="*/ 3794022 h 4806848"/>
              <a:gd name="connsiteX503" fmla="*/ 7419823 w 8978749"/>
              <a:gd name="connsiteY503" fmla="*/ 3794022 h 4806848"/>
              <a:gd name="connsiteX504" fmla="*/ 7342036 w 8978749"/>
              <a:gd name="connsiteY504" fmla="*/ 3736872 h 4806848"/>
              <a:gd name="connsiteX505" fmla="*/ 7400774 w 8978749"/>
              <a:gd name="connsiteY505" fmla="*/ 3736872 h 4806848"/>
              <a:gd name="connsiteX506" fmla="*/ 7400774 w 8978749"/>
              <a:gd name="connsiteY506" fmla="*/ 3794022 h 4806848"/>
              <a:gd name="connsiteX507" fmla="*/ 7342036 w 8978749"/>
              <a:gd name="connsiteY507" fmla="*/ 3794022 h 4806848"/>
              <a:gd name="connsiteX508" fmla="*/ 7262661 w 8978749"/>
              <a:gd name="connsiteY508" fmla="*/ 3736872 h 4806848"/>
              <a:gd name="connsiteX509" fmla="*/ 7321399 w 8978749"/>
              <a:gd name="connsiteY509" fmla="*/ 3736872 h 4806848"/>
              <a:gd name="connsiteX510" fmla="*/ 7321399 w 8978749"/>
              <a:gd name="connsiteY510" fmla="*/ 3794022 h 4806848"/>
              <a:gd name="connsiteX511" fmla="*/ 7262661 w 8978749"/>
              <a:gd name="connsiteY511" fmla="*/ 3794022 h 4806848"/>
              <a:gd name="connsiteX512" fmla="*/ 7183286 w 8978749"/>
              <a:gd name="connsiteY512" fmla="*/ 3736872 h 4806848"/>
              <a:gd name="connsiteX513" fmla="*/ 7242024 w 8978749"/>
              <a:gd name="connsiteY513" fmla="*/ 3736872 h 4806848"/>
              <a:gd name="connsiteX514" fmla="*/ 7242024 w 8978749"/>
              <a:gd name="connsiteY514" fmla="*/ 3794022 h 4806848"/>
              <a:gd name="connsiteX515" fmla="*/ 7183286 w 8978749"/>
              <a:gd name="connsiteY515" fmla="*/ 3794022 h 4806848"/>
              <a:gd name="connsiteX516" fmla="*/ 7105498 w 8978749"/>
              <a:gd name="connsiteY516" fmla="*/ 3736872 h 4806848"/>
              <a:gd name="connsiteX517" fmla="*/ 7162648 w 8978749"/>
              <a:gd name="connsiteY517" fmla="*/ 3736872 h 4806848"/>
              <a:gd name="connsiteX518" fmla="*/ 7162648 w 8978749"/>
              <a:gd name="connsiteY518" fmla="*/ 3794022 h 4806848"/>
              <a:gd name="connsiteX519" fmla="*/ 7105498 w 8978749"/>
              <a:gd name="connsiteY519" fmla="*/ 3794022 h 4806848"/>
              <a:gd name="connsiteX520" fmla="*/ 7026123 w 8978749"/>
              <a:gd name="connsiteY520" fmla="*/ 3736872 h 4806848"/>
              <a:gd name="connsiteX521" fmla="*/ 7084861 w 8978749"/>
              <a:gd name="connsiteY521" fmla="*/ 3736872 h 4806848"/>
              <a:gd name="connsiteX522" fmla="*/ 7084861 w 8978749"/>
              <a:gd name="connsiteY522" fmla="*/ 3794022 h 4806848"/>
              <a:gd name="connsiteX523" fmla="*/ 7026123 w 8978749"/>
              <a:gd name="connsiteY523" fmla="*/ 3794022 h 4806848"/>
              <a:gd name="connsiteX524" fmla="*/ 5368773 w 8978749"/>
              <a:gd name="connsiteY524" fmla="*/ 3736872 h 4806848"/>
              <a:gd name="connsiteX525" fmla="*/ 5425923 w 8978749"/>
              <a:gd name="connsiteY525" fmla="*/ 3736872 h 4806848"/>
              <a:gd name="connsiteX526" fmla="*/ 5425923 w 8978749"/>
              <a:gd name="connsiteY526" fmla="*/ 3794022 h 4806848"/>
              <a:gd name="connsiteX527" fmla="*/ 5368773 w 8978749"/>
              <a:gd name="connsiteY527" fmla="*/ 3794022 h 4806848"/>
              <a:gd name="connsiteX528" fmla="*/ 4973486 w 8978749"/>
              <a:gd name="connsiteY528" fmla="*/ 3736872 h 4806848"/>
              <a:gd name="connsiteX529" fmla="*/ 5030636 w 8978749"/>
              <a:gd name="connsiteY529" fmla="*/ 3736872 h 4806848"/>
              <a:gd name="connsiteX530" fmla="*/ 5030636 w 8978749"/>
              <a:gd name="connsiteY530" fmla="*/ 3794022 h 4806848"/>
              <a:gd name="connsiteX531" fmla="*/ 4973486 w 8978749"/>
              <a:gd name="connsiteY531" fmla="*/ 3794022 h 4806848"/>
              <a:gd name="connsiteX532" fmla="*/ 4894111 w 8978749"/>
              <a:gd name="connsiteY532" fmla="*/ 3736872 h 4806848"/>
              <a:gd name="connsiteX533" fmla="*/ 4952849 w 8978749"/>
              <a:gd name="connsiteY533" fmla="*/ 3736872 h 4806848"/>
              <a:gd name="connsiteX534" fmla="*/ 4952849 w 8978749"/>
              <a:gd name="connsiteY534" fmla="*/ 3794022 h 4806848"/>
              <a:gd name="connsiteX535" fmla="*/ 4894111 w 8978749"/>
              <a:gd name="connsiteY535" fmla="*/ 3794022 h 4806848"/>
              <a:gd name="connsiteX536" fmla="*/ 4814736 w 8978749"/>
              <a:gd name="connsiteY536" fmla="*/ 3736872 h 4806848"/>
              <a:gd name="connsiteX537" fmla="*/ 4873474 w 8978749"/>
              <a:gd name="connsiteY537" fmla="*/ 3736872 h 4806848"/>
              <a:gd name="connsiteX538" fmla="*/ 4873474 w 8978749"/>
              <a:gd name="connsiteY538" fmla="*/ 3794022 h 4806848"/>
              <a:gd name="connsiteX539" fmla="*/ 4814736 w 8978749"/>
              <a:gd name="connsiteY539" fmla="*/ 3794022 h 4806848"/>
              <a:gd name="connsiteX540" fmla="*/ 4736948 w 8978749"/>
              <a:gd name="connsiteY540" fmla="*/ 3736872 h 4806848"/>
              <a:gd name="connsiteX541" fmla="*/ 4794098 w 8978749"/>
              <a:gd name="connsiteY541" fmla="*/ 3736872 h 4806848"/>
              <a:gd name="connsiteX542" fmla="*/ 4794098 w 8978749"/>
              <a:gd name="connsiteY542" fmla="*/ 3794022 h 4806848"/>
              <a:gd name="connsiteX543" fmla="*/ 4736948 w 8978749"/>
              <a:gd name="connsiteY543" fmla="*/ 3794022 h 4806848"/>
              <a:gd name="connsiteX544" fmla="*/ 4657573 w 8978749"/>
              <a:gd name="connsiteY544" fmla="*/ 3736872 h 4806848"/>
              <a:gd name="connsiteX545" fmla="*/ 4716311 w 8978749"/>
              <a:gd name="connsiteY545" fmla="*/ 3736872 h 4806848"/>
              <a:gd name="connsiteX546" fmla="*/ 4716311 w 8978749"/>
              <a:gd name="connsiteY546" fmla="*/ 3794022 h 4806848"/>
              <a:gd name="connsiteX547" fmla="*/ 4657573 w 8978749"/>
              <a:gd name="connsiteY547" fmla="*/ 3794022 h 4806848"/>
              <a:gd name="connsiteX548" fmla="*/ 3000223 w 8978749"/>
              <a:gd name="connsiteY548" fmla="*/ 3736872 h 4806848"/>
              <a:gd name="connsiteX549" fmla="*/ 3057373 w 8978749"/>
              <a:gd name="connsiteY549" fmla="*/ 3736872 h 4806848"/>
              <a:gd name="connsiteX550" fmla="*/ 3057373 w 8978749"/>
              <a:gd name="connsiteY550" fmla="*/ 3794022 h 4806848"/>
              <a:gd name="connsiteX551" fmla="*/ 3000223 w 8978749"/>
              <a:gd name="connsiteY551" fmla="*/ 3794022 h 4806848"/>
              <a:gd name="connsiteX552" fmla="*/ 2920848 w 8978749"/>
              <a:gd name="connsiteY552" fmla="*/ 3736872 h 4806848"/>
              <a:gd name="connsiteX553" fmla="*/ 2979586 w 8978749"/>
              <a:gd name="connsiteY553" fmla="*/ 3736872 h 4806848"/>
              <a:gd name="connsiteX554" fmla="*/ 2979586 w 8978749"/>
              <a:gd name="connsiteY554" fmla="*/ 3794022 h 4806848"/>
              <a:gd name="connsiteX555" fmla="*/ 2920848 w 8978749"/>
              <a:gd name="connsiteY555" fmla="*/ 3794022 h 4806848"/>
              <a:gd name="connsiteX556" fmla="*/ 2841473 w 8978749"/>
              <a:gd name="connsiteY556" fmla="*/ 3736872 h 4806848"/>
              <a:gd name="connsiteX557" fmla="*/ 2900211 w 8978749"/>
              <a:gd name="connsiteY557" fmla="*/ 3736872 h 4806848"/>
              <a:gd name="connsiteX558" fmla="*/ 2900211 w 8978749"/>
              <a:gd name="connsiteY558" fmla="*/ 3794022 h 4806848"/>
              <a:gd name="connsiteX559" fmla="*/ 2841473 w 8978749"/>
              <a:gd name="connsiteY559" fmla="*/ 3794022 h 4806848"/>
              <a:gd name="connsiteX560" fmla="*/ 2763686 w 8978749"/>
              <a:gd name="connsiteY560" fmla="*/ 3736872 h 4806848"/>
              <a:gd name="connsiteX561" fmla="*/ 2820836 w 8978749"/>
              <a:gd name="connsiteY561" fmla="*/ 3736872 h 4806848"/>
              <a:gd name="connsiteX562" fmla="*/ 2820836 w 8978749"/>
              <a:gd name="connsiteY562" fmla="*/ 3794022 h 4806848"/>
              <a:gd name="connsiteX563" fmla="*/ 2763686 w 8978749"/>
              <a:gd name="connsiteY563" fmla="*/ 3794022 h 4806848"/>
              <a:gd name="connsiteX564" fmla="*/ 2684311 w 8978749"/>
              <a:gd name="connsiteY564" fmla="*/ 3736872 h 4806848"/>
              <a:gd name="connsiteX565" fmla="*/ 2743049 w 8978749"/>
              <a:gd name="connsiteY565" fmla="*/ 3736872 h 4806848"/>
              <a:gd name="connsiteX566" fmla="*/ 2743049 w 8978749"/>
              <a:gd name="connsiteY566" fmla="*/ 3794022 h 4806848"/>
              <a:gd name="connsiteX567" fmla="*/ 2684311 w 8978749"/>
              <a:gd name="connsiteY567" fmla="*/ 3794022 h 4806848"/>
              <a:gd name="connsiteX568" fmla="*/ 2604936 w 8978749"/>
              <a:gd name="connsiteY568" fmla="*/ 3736872 h 4806848"/>
              <a:gd name="connsiteX569" fmla="*/ 2663674 w 8978749"/>
              <a:gd name="connsiteY569" fmla="*/ 3736872 h 4806848"/>
              <a:gd name="connsiteX570" fmla="*/ 2663674 w 8978749"/>
              <a:gd name="connsiteY570" fmla="*/ 3794022 h 4806848"/>
              <a:gd name="connsiteX571" fmla="*/ 2604936 w 8978749"/>
              <a:gd name="connsiteY571" fmla="*/ 3794022 h 4806848"/>
              <a:gd name="connsiteX572" fmla="*/ 2525584 w 8978749"/>
              <a:gd name="connsiteY572" fmla="*/ 3736872 h 4806848"/>
              <a:gd name="connsiteX573" fmla="*/ 2584322 w 8978749"/>
              <a:gd name="connsiteY573" fmla="*/ 3736872 h 4806848"/>
              <a:gd name="connsiteX574" fmla="*/ 2584322 w 8978749"/>
              <a:gd name="connsiteY574" fmla="*/ 3794022 h 4806848"/>
              <a:gd name="connsiteX575" fmla="*/ 2525584 w 8978749"/>
              <a:gd name="connsiteY575" fmla="*/ 3794022 h 4806848"/>
              <a:gd name="connsiteX576" fmla="*/ 1657221 w 8978749"/>
              <a:gd name="connsiteY576" fmla="*/ 3736872 h 4806848"/>
              <a:gd name="connsiteX577" fmla="*/ 1715959 w 8978749"/>
              <a:gd name="connsiteY577" fmla="*/ 3736872 h 4806848"/>
              <a:gd name="connsiteX578" fmla="*/ 1715959 w 8978749"/>
              <a:gd name="connsiteY578" fmla="*/ 3794022 h 4806848"/>
              <a:gd name="connsiteX579" fmla="*/ 1657221 w 8978749"/>
              <a:gd name="connsiteY579" fmla="*/ 3794022 h 4806848"/>
              <a:gd name="connsiteX580" fmla="*/ 7973861 w 8978749"/>
              <a:gd name="connsiteY580" fmla="*/ 3659085 h 4806848"/>
              <a:gd name="connsiteX581" fmla="*/ 8031011 w 8978749"/>
              <a:gd name="connsiteY581" fmla="*/ 3659085 h 4806848"/>
              <a:gd name="connsiteX582" fmla="*/ 8031011 w 8978749"/>
              <a:gd name="connsiteY582" fmla="*/ 3716235 h 4806848"/>
              <a:gd name="connsiteX583" fmla="*/ 7973861 w 8978749"/>
              <a:gd name="connsiteY583" fmla="*/ 3716235 h 4806848"/>
              <a:gd name="connsiteX584" fmla="*/ 7894486 w 8978749"/>
              <a:gd name="connsiteY584" fmla="*/ 3659085 h 4806848"/>
              <a:gd name="connsiteX585" fmla="*/ 7951636 w 8978749"/>
              <a:gd name="connsiteY585" fmla="*/ 3659085 h 4806848"/>
              <a:gd name="connsiteX586" fmla="*/ 7951636 w 8978749"/>
              <a:gd name="connsiteY586" fmla="*/ 3716235 h 4806848"/>
              <a:gd name="connsiteX587" fmla="*/ 7894486 w 8978749"/>
              <a:gd name="connsiteY587" fmla="*/ 3716235 h 4806848"/>
              <a:gd name="connsiteX588" fmla="*/ 7815111 w 8978749"/>
              <a:gd name="connsiteY588" fmla="*/ 3659085 h 4806848"/>
              <a:gd name="connsiteX589" fmla="*/ 7873849 w 8978749"/>
              <a:gd name="connsiteY589" fmla="*/ 3659085 h 4806848"/>
              <a:gd name="connsiteX590" fmla="*/ 7873849 w 8978749"/>
              <a:gd name="connsiteY590" fmla="*/ 3716235 h 4806848"/>
              <a:gd name="connsiteX591" fmla="*/ 7815111 w 8978749"/>
              <a:gd name="connsiteY591" fmla="*/ 3716235 h 4806848"/>
              <a:gd name="connsiteX592" fmla="*/ 7735736 w 8978749"/>
              <a:gd name="connsiteY592" fmla="*/ 3659085 h 4806848"/>
              <a:gd name="connsiteX593" fmla="*/ 7794474 w 8978749"/>
              <a:gd name="connsiteY593" fmla="*/ 3659085 h 4806848"/>
              <a:gd name="connsiteX594" fmla="*/ 7794474 w 8978749"/>
              <a:gd name="connsiteY594" fmla="*/ 3716235 h 4806848"/>
              <a:gd name="connsiteX595" fmla="*/ 7735736 w 8978749"/>
              <a:gd name="connsiteY595" fmla="*/ 3716235 h 4806848"/>
              <a:gd name="connsiteX596" fmla="*/ 7657948 w 8978749"/>
              <a:gd name="connsiteY596" fmla="*/ 3659085 h 4806848"/>
              <a:gd name="connsiteX597" fmla="*/ 7715098 w 8978749"/>
              <a:gd name="connsiteY597" fmla="*/ 3659085 h 4806848"/>
              <a:gd name="connsiteX598" fmla="*/ 7715098 w 8978749"/>
              <a:gd name="connsiteY598" fmla="*/ 3716235 h 4806848"/>
              <a:gd name="connsiteX599" fmla="*/ 7657948 w 8978749"/>
              <a:gd name="connsiteY599" fmla="*/ 3716235 h 4806848"/>
              <a:gd name="connsiteX600" fmla="*/ 7578573 w 8978749"/>
              <a:gd name="connsiteY600" fmla="*/ 3659085 h 4806848"/>
              <a:gd name="connsiteX601" fmla="*/ 7637311 w 8978749"/>
              <a:gd name="connsiteY601" fmla="*/ 3659085 h 4806848"/>
              <a:gd name="connsiteX602" fmla="*/ 7637311 w 8978749"/>
              <a:gd name="connsiteY602" fmla="*/ 3716235 h 4806848"/>
              <a:gd name="connsiteX603" fmla="*/ 7578573 w 8978749"/>
              <a:gd name="connsiteY603" fmla="*/ 3716235 h 4806848"/>
              <a:gd name="connsiteX604" fmla="*/ 7499198 w 8978749"/>
              <a:gd name="connsiteY604" fmla="*/ 3659085 h 4806848"/>
              <a:gd name="connsiteX605" fmla="*/ 7557936 w 8978749"/>
              <a:gd name="connsiteY605" fmla="*/ 3659085 h 4806848"/>
              <a:gd name="connsiteX606" fmla="*/ 7557936 w 8978749"/>
              <a:gd name="connsiteY606" fmla="*/ 3716235 h 4806848"/>
              <a:gd name="connsiteX607" fmla="*/ 7499198 w 8978749"/>
              <a:gd name="connsiteY607" fmla="*/ 3716235 h 4806848"/>
              <a:gd name="connsiteX608" fmla="*/ 7419823 w 8978749"/>
              <a:gd name="connsiteY608" fmla="*/ 3659085 h 4806848"/>
              <a:gd name="connsiteX609" fmla="*/ 7478561 w 8978749"/>
              <a:gd name="connsiteY609" fmla="*/ 3659085 h 4806848"/>
              <a:gd name="connsiteX610" fmla="*/ 7478561 w 8978749"/>
              <a:gd name="connsiteY610" fmla="*/ 3716235 h 4806848"/>
              <a:gd name="connsiteX611" fmla="*/ 7419823 w 8978749"/>
              <a:gd name="connsiteY611" fmla="*/ 3716235 h 4806848"/>
              <a:gd name="connsiteX612" fmla="*/ 7342036 w 8978749"/>
              <a:gd name="connsiteY612" fmla="*/ 3659085 h 4806848"/>
              <a:gd name="connsiteX613" fmla="*/ 7400774 w 8978749"/>
              <a:gd name="connsiteY613" fmla="*/ 3659085 h 4806848"/>
              <a:gd name="connsiteX614" fmla="*/ 7400774 w 8978749"/>
              <a:gd name="connsiteY614" fmla="*/ 3716235 h 4806848"/>
              <a:gd name="connsiteX615" fmla="*/ 7342036 w 8978749"/>
              <a:gd name="connsiteY615" fmla="*/ 3716235 h 4806848"/>
              <a:gd name="connsiteX616" fmla="*/ 7262661 w 8978749"/>
              <a:gd name="connsiteY616" fmla="*/ 3659085 h 4806848"/>
              <a:gd name="connsiteX617" fmla="*/ 7321399 w 8978749"/>
              <a:gd name="connsiteY617" fmla="*/ 3659085 h 4806848"/>
              <a:gd name="connsiteX618" fmla="*/ 7321399 w 8978749"/>
              <a:gd name="connsiteY618" fmla="*/ 3716235 h 4806848"/>
              <a:gd name="connsiteX619" fmla="*/ 7262661 w 8978749"/>
              <a:gd name="connsiteY619" fmla="*/ 3716235 h 4806848"/>
              <a:gd name="connsiteX620" fmla="*/ 7183286 w 8978749"/>
              <a:gd name="connsiteY620" fmla="*/ 3659085 h 4806848"/>
              <a:gd name="connsiteX621" fmla="*/ 7242024 w 8978749"/>
              <a:gd name="connsiteY621" fmla="*/ 3659085 h 4806848"/>
              <a:gd name="connsiteX622" fmla="*/ 7242024 w 8978749"/>
              <a:gd name="connsiteY622" fmla="*/ 3716235 h 4806848"/>
              <a:gd name="connsiteX623" fmla="*/ 7183286 w 8978749"/>
              <a:gd name="connsiteY623" fmla="*/ 3716235 h 4806848"/>
              <a:gd name="connsiteX624" fmla="*/ 7105498 w 8978749"/>
              <a:gd name="connsiteY624" fmla="*/ 3659085 h 4806848"/>
              <a:gd name="connsiteX625" fmla="*/ 7162648 w 8978749"/>
              <a:gd name="connsiteY625" fmla="*/ 3659085 h 4806848"/>
              <a:gd name="connsiteX626" fmla="*/ 7162648 w 8978749"/>
              <a:gd name="connsiteY626" fmla="*/ 3716235 h 4806848"/>
              <a:gd name="connsiteX627" fmla="*/ 7105498 w 8978749"/>
              <a:gd name="connsiteY627" fmla="*/ 3716235 h 4806848"/>
              <a:gd name="connsiteX628" fmla="*/ 5368773 w 8978749"/>
              <a:gd name="connsiteY628" fmla="*/ 3659085 h 4806848"/>
              <a:gd name="connsiteX629" fmla="*/ 5425923 w 8978749"/>
              <a:gd name="connsiteY629" fmla="*/ 3659085 h 4806848"/>
              <a:gd name="connsiteX630" fmla="*/ 5425923 w 8978749"/>
              <a:gd name="connsiteY630" fmla="*/ 3716235 h 4806848"/>
              <a:gd name="connsiteX631" fmla="*/ 5368773 w 8978749"/>
              <a:gd name="connsiteY631" fmla="*/ 3716235 h 4806848"/>
              <a:gd name="connsiteX632" fmla="*/ 5130648 w 8978749"/>
              <a:gd name="connsiteY632" fmla="*/ 3659085 h 4806848"/>
              <a:gd name="connsiteX633" fmla="*/ 5189386 w 8978749"/>
              <a:gd name="connsiteY633" fmla="*/ 3659085 h 4806848"/>
              <a:gd name="connsiteX634" fmla="*/ 5189386 w 8978749"/>
              <a:gd name="connsiteY634" fmla="*/ 3716235 h 4806848"/>
              <a:gd name="connsiteX635" fmla="*/ 5130648 w 8978749"/>
              <a:gd name="connsiteY635" fmla="*/ 3716235 h 4806848"/>
              <a:gd name="connsiteX636" fmla="*/ 5052861 w 8978749"/>
              <a:gd name="connsiteY636" fmla="*/ 3659085 h 4806848"/>
              <a:gd name="connsiteX637" fmla="*/ 5110011 w 8978749"/>
              <a:gd name="connsiteY637" fmla="*/ 3659085 h 4806848"/>
              <a:gd name="connsiteX638" fmla="*/ 5110011 w 8978749"/>
              <a:gd name="connsiteY638" fmla="*/ 3716235 h 4806848"/>
              <a:gd name="connsiteX639" fmla="*/ 5052861 w 8978749"/>
              <a:gd name="connsiteY639" fmla="*/ 3716235 h 4806848"/>
              <a:gd name="connsiteX640" fmla="*/ 4973486 w 8978749"/>
              <a:gd name="connsiteY640" fmla="*/ 3659085 h 4806848"/>
              <a:gd name="connsiteX641" fmla="*/ 5030636 w 8978749"/>
              <a:gd name="connsiteY641" fmla="*/ 3659085 h 4806848"/>
              <a:gd name="connsiteX642" fmla="*/ 5030636 w 8978749"/>
              <a:gd name="connsiteY642" fmla="*/ 3716235 h 4806848"/>
              <a:gd name="connsiteX643" fmla="*/ 4973486 w 8978749"/>
              <a:gd name="connsiteY643" fmla="*/ 3716235 h 4806848"/>
              <a:gd name="connsiteX644" fmla="*/ 4894111 w 8978749"/>
              <a:gd name="connsiteY644" fmla="*/ 3659085 h 4806848"/>
              <a:gd name="connsiteX645" fmla="*/ 4952849 w 8978749"/>
              <a:gd name="connsiteY645" fmla="*/ 3659085 h 4806848"/>
              <a:gd name="connsiteX646" fmla="*/ 4952849 w 8978749"/>
              <a:gd name="connsiteY646" fmla="*/ 3716235 h 4806848"/>
              <a:gd name="connsiteX647" fmla="*/ 4894111 w 8978749"/>
              <a:gd name="connsiteY647" fmla="*/ 3716235 h 4806848"/>
              <a:gd name="connsiteX648" fmla="*/ 4814736 w 8978749"/>
              <a:gd name="connsiteY648" fmla="*/ 3659085 h 4806848"/>
              <a:gd name="connsiteX649" fmla="*/ 4873474 w 8978749"/>
              <a:gd name="connsiteY649" fmla="*/ 3659085 h 4806848"/>
              <a:gd name="connsiteX650" fmla="*/ 4873474 w 8978749"/>
              <a:gd name="connsiteY650" fmla="*/ 3716235 h 4806848"/>
              <a:gd name="connsiteX651" fmla="*/ 4814736 w 8978749"/>
              <a:gd name="connsiteY651" fmla="*/ 3716235 h 4806848"/>
              <a:gd name="connsiteX652" fmla="*/ 4736948 w 8978749"/>
              <a:gd name="connsiteY652" fmla="*/ 3659085 h 4806848"/>
              <a:gd name="connsiteX653" fmla="*/ 4794098 w 8978749"/>
              <a:gd name="connsiteY653" fmla="*/ 3659085 h 4806848"/>
              <a:gd name="connsiteX654" fmla="*/ 4794098 w 8978749"/>
              <a:gd name="connsiteY654" fmla="*/ 3716235 h 4806848"/>
              <a:gd name="connsiteX655" fmla="*/ 4736948 w 8978749"/>
              <a:gd name="connsiteY655" fmla="*/ 3716235 h 4806848"/>
              <a:gd name="connsiteX656" fmla="*/ 4657573 w 8978749"/>
              <a:gd name="connsiteY656" fmla="*/ 3659085 h 4806848"/>
              <a:gd name="connsiteX657" fmla="*/ 4716311 w 8978749"/>
              <a:gd name="connsiteY657" fmla="*/ 3659085 h 4806848"/>
              <a:gd name="connsiteX658" fmla="*/ 4716311 w 8978749"/>
              <a:gd name="connsiteY658" fmla="*/ 3716235 h 4806848"/>
              <a:gd name="connsiteX659" fmla="*/ 4657573 w 8978749"/>
              <a:gd name="connsiteY659" fmla="*/ 3716235 h 4806848"/>
              <a:gd name="connsiteX660" fmla="*/ 4578198 w 8978749"/>
              <a:gd name="connsiteY660" fmla="*/ 3659085 h 4806848"/>
              <a:gd name="connsiteX661" fmla="*/ 4636936 w 8978749"/>
              <a:gd name="connsiteY661" fmla="*/ 3659085 h 4806848"/>
              <a:gd name="connsiteX662" fmla="*/ 4636936 w 8978749"/>
              <a:gd name="connsiteY662" fmla="*/ 3716235 h 4806848"/>
              <a:gd name="connsiteX663" fmla="*/ 4578198 w 8978749"/>
              <a:gd name="connsiteY663" fmla="*/ 3716235 h 4806848"/>
              <a:gd name="connsiteX664" fmla="*/ 3078011 w 8978749"/>
              <a:gd name="connsiteY664" fmla="*/ 3659085 h 4806848"/>
              <a:gd name="connsiteX665" fmla="*/ 3136749 w 8978749"/>
              <a:gd name="connsiteY665" fmla="*/ 3659085 h 4806848"/>
              <a:gd name="connsiteX666" fmla="*/ 3136749 w 8978749"/>
              <a:gd name="connsiteY666" fmla="*/ 3716235 h 4806848"/>
              <a:gd name="connsiteX667" fmla="*/ 3078011 w 8978749"/>
              <a:gd name="connsiteY667" fmla="*/ 3716235 h 4806848"/>
              <a:gd name="connsiteX668" fmla="*/ 3000223 w 8978749"/>
              <a:gd name="connsiteY668" fmla="*/ 3659085 h 4806848"/>
              <a:gd name="connsiteX669" fmla="*/ 3057373 w 8978749"/>
              <a:gd name="connsiteY669" fmla="*/ 3659085 h 4806848"/>
              <a:gd name="connsiteX670" fmla="*/ 3057373 w 8978749"/>
              <a:gd name="connsiteY670" fmla="*/ 3716235 h 4806848"/>
              <a:gd name="connsiteX671" fmla="*/ 3000223 w 8978749"/>
              <a:gd name="connsiteY671" fmla="*/ 3716235 h 4806848"/>
              <a:gd name="connsiteX672" fmla="*/ 2920848 w 8978749"/>
              <a:gd name="connsiteY672" fmla="*/ 3659085 h 4806848"/>
              <a:gd name="connsiteX673" fmla="*/ 2979586 w 8978749"/>
              <a:gd name="connsiteY673" fmla="*/ 3659085 h 4806848"/>
              <a:gd name="connsiteX674" fmla="*/ 2979586 w 8978749"/>
              <a:gd name="connsiteY674" fmla="*/ 3716235 h 4806848"/>
              <a:gd name="connsiteX675" fmla="*/ 2920848 w 8978749"/>
              <a:gd name="connsiteY675" fmla="*/ 3716235 h 4806848"/>
              <a:gd name="connsiteX676" fmla="*/ 2841473 w 8978749"/>
              <a:gd name="connsiteY676" fmla="*/ 3659085 h 4806848"/>
              <a:gd name="connsiteX677" fmla="*/ 2900211 w 8978749"/>
              <a:gd name="connsiteY677" fmla="*/ 3659085 h 4806848"/>
              <a:gd name="connsiteX678" fmla="*/ 2900211 w 8978749"/>
              <a:gd name="connsiteY678" fmla="*/ 3716235 h 4806848"/>
              <a:gd name="connsiteX679" fmla="*/ 2841473 w 8978749"/>
              <a:gd name="connsiteY679" fmla="*/ 3716235 h 4806848"/>
              <a:gd name="connsiteX680" fmla="*/ 2763686 w 8978749"/>
              <a:gd name="connsiteY680" fmla="*/ 3659085 h 4806848"/>
              <a:gd name="connsiteX681" fmla="*/ 2820836 w 8978749"/>
              <a:gd name="connsiteY681" fmla="*/ 3659085 h 4806848"/>
              <a:gd name="connsiteX682" fmla="*/ 2820836 w 8978749"/>
              <a:gd name="connsiteY682" fmla="*/ 3716235 h 4806848"/>
              <a:gd name="connsiteX683" fmla="*/ 2763686 w 8978749"/>
              <a:gd name="connsiteY683" fmla="*/ 3716235 h 4806848"/>
              <a:gd name="connsiteX684" fmla="*/ 2684311 w 8978749"/>
              <a:gd name="connsiteY684" fmla="*/ 3659085 h 4806848"/>
              <a:gd name="connsiteX685" fmla="*/ 2743049 w 8978749"/>
              <a:gd name="connsiteY685" fmla="*/ 3659085 h 4806848"/>
              <a:gd name="connsiteX686" fmla="*/ 2743049 w 8978749"/>
              <a:gd name="connsiteY686" fmla="*/ 3716235 h 4806848"/>
              <a:gd name="connsiteX687" fmla="*/ 2684311 w 8978749"/>
              <a:gd name="connsiteY687" fmla="*/ 3716235 h 4806848"/>
              <a:gd name="connsiteX688" fmla="*/ 2604936 w 8978749"/>
              <a:gd name="connsiteY688" fmla="*/ 3659085 h 4806848"/>
              <a:gd name="connsiteX689" fmla="*/ 2663674 w 8978749"/>
              <a:gd name="connsiteY689" fmla="*/ 3659085 h 4806848"/>
              <a:gd name="connsiteX690" fmla="*/ 2663674 w 8978749"/>
              <a:gd name="connsiteY690" fmla="*/ 3716235 h 4806848"/>
              <a:gd name="connsiteX691" fmla="*/ 2604936 w 8978749"/>
              <a:gd name="connsiteY691" fmla="*/ 3716235 h 4806848"/>
              <a:gd name="connsiteX692" fmla="*/ 2525589 w 8978749"/>
              <a:gd name="connsiteY692" fmla="*/ 3659085 h 4806848"/>
              <a:gd name="connsiteX693" fmla="*/ 2584327 w 8978749"/>
              <a:gd name="connsiteY693" fmla="*/ 3659085 h 4806848"/>
              <a:gd name="connsiteX694" fmla="*/ 2584327 w 8978749"/>
              <a:gd name="connsiteY694" fmla="*/ 3716235 h 4806848"/>
              <a:gd name="connsiteX695" fmla="*/ 2525589 w 8978749"/>
              <a:gd name="connsiteY695" fmla="*/ 3716235 h 4806848"/>
              <a:gd name="connsiteX696" fmla="*/ 1026987 w 8978749"/>
              <a:gd name="connsiteY696" fmla="*/ 3659085 h 4806848"/>
              <a:gd name="connsiteX697" fmla="*/ 1084138 w 8978749"/>
              <a:gd name="connsiteY697" fmla="*/ 3659085 h 4806848"/>
              <a:gd name="connsiteX698" fmla="*/ 1084138 w 8978749"/>
              <a:gd name="connsiteY698" fmla="*/ 3716235 h 4806848"/>
              <a:gd name="connsiteX699" fmla="*/ 1026987 w 8978749"/>
              <a:gd name="connsiteY699" fmla="*/ 3716235 h 4806848"/>
              <a:gd name="connsiteX700" fmla="*/ 868238 w 8978749"/>
              <a:gd name="connsiteY700" fmla="*/ 3659085 h 4806848"/>
              <a:gd name="connsiteX701" fmla="*/ 926976 w 8978749"/>
              <a:gd name="connsiteY701" fmla="*/ 3659085 h 4806848"/>
              <a:gd name="connsiteX702" fmla="*/ 926976 w 8978749"/>
              <a:gd name="connsiteY702" fmla="*/ 3716235 h 4806848"/>
              <a:gd name="connsiteX703" fmla="*/ 868238 w 8978749"/>
              <a:gd name="connsiteY703" fmla="*/ 3716235 h 4806848"/>
              <a:gd name="connsiteX704" fmla="*/ 8842223 w 8978749"/>
              <a:gd name="connsiteY704" fmla="*/ 3581297 h 4806848"/>
              <a:gd name="connsiteX705" fmla="*/ 8899373 w 8978749"/>
              <a:gd name="connsiteY705" fmla="*/ 3581297 h 4806848"/>
              <a:gd name="connsiteX706" fmla="*/ 8899373 w 8978749"/>
              <a:gd name="connsiteY706" fmla="*/ 3640035 h 4806848"/>
              <a:gd name="connsiteX707" fmla="*/ 8842223 w 8978749"/>
              <a:gd name="connsiteY707" fmla="*/ 3640035 h 4806848"/>
              <a:gd name="connsiteX708" fmla="*/ 8367561 w 8978749"/>
              <a:gd name="connsiteY708" fmla="*/ 3581297 h 4806848"/>
              <a:gd name="connsiteX709" fmla="*/ 8426299 w 8978749"/>
              <a:gd name="connsiteY709" fmla="*/ 3581297 h 4806848"/>
              <a:gd name="connsiteX710" fmla="*/ 8426299 w 8978749"/>
              <a:gd name="connsiteY710" fmla="*/ 3640035 h 4806848"/>
              <a:gd name="connsiteX711" fmla="*/ 8367561 w 8978749"/>
              <a:gd name="connsiteY711" fmla="*/ 3640035 h 4806848"/>
              <a:gd name="connsiteX712" fmla="*/ 7894486 w 8978749"/>
              <a:gd name="connsiteY712" fmla="*/ 3581297 h 4806848"/>
              <a:gd name="connsiteX713" fmla="*/ 7951636 w 8978749"/>
              <a:gd name="connsiteY713" fmla="*/ 3581297 h 4806848"/>
              <a:gd name="connsiteX714" fmla="*/ 7951636 w 8978749"/>
              <a:gd name="connsiteY714" fmla="*/ 3640035 h 4806848"/>
              <a:gd name="connsiteX715" fmla="*/ 7894486 w 8978749"/>
              <a:gd name="connsiteY715" fmla="*/ 3640035 h 4806848"/>
              <a:gd name="connsiteX716" fmla="*/ 7815111 w 8978749"/>
              <a:gd name="connsiteY716" fmla="*/ 3581297 h 4806848"/>
              <a:gd name="connsiteX717" fmla="*/ 7873849 w 8978749"/>
              <a:gd name="connsiteY717" fmla="*/ 3581297 h 4806848"/>
              <a:gd name="connsiteX718" fmla="*/ 7873849 w 8978749"/>
              <a:gd name="connsiteY718" fmla="*/ 3640035 h 4806848"/>
              <a:gd name="connsiteX719" fmla="*/ 7815111 w 8978749"/>
              <a:gd name="connsiteY719" fmla="*/ 3640035 h 4806848"/>
              <a:gd name="connsiteX720" fmla="*/ 7735736 w 8978749"/>
              <a:gd name="connsiteY720" fmla="*/ 3581297 h 4806848"/>
              <a:gd name="connsiteX721" fmla="*/ 7794474 w 8978749"/>
              <a:gd name="connsiteY721" fmla="*/ 3581297 h 4806848"/>
              <a:gd name="connsiteX722" fmla="*/ 7794474 w 8978749"/>
              <a:gd name="connsiteY722" fmla="*/ 3640035 h 4806848"/>
              <a:gd name="connsiteX723" fmla="*/ 7735736 w 8978749"/>
              <a:gd name="connsiteY723" fmla="*/ 3640035 h 4806848"/>
              <a:gd name="connsiteX724" fmla="*/ 7657948 w 8978749"/>
              <a:gd name="connsiteY724" fmla="*/ 3581297 h 4806848"/>
              <a:gd name="connsiteX725" fmla="*/ 7715098 w 8978749"/>
              <a:gd name="connsiteY725" fmla="*/ 3581297 h 4806848"/>
              <a:gd name="connsiteX726" fmla="*/ 7715098 w 8978749"/>
              <a:gd name="connsiteY726" fmla="*/ 3640035 h 4806848"/>
              <a:gd name="connsiteX727" fmla="*/ 7657948 w 8978749"/>
              <a:gd name="connsiteY727" fmla="*/ 3640035 h 4806848"/>
              <a:gd name="connsiteX728" fmla="*/ 7578573 w 8978749"/>
              <a:gd name="connsiteY728" fmla="*/ 3581297 h 4806848"/>
              <a:gd name="connsiteX729" fmla="*/ 7637311 w 8978749"/>
              <a:gd name="connsiteY729" fmla="*/ 3581297 h 4806848"/>
              <a:gd name="connsiteX730" fmla="*/ 7637311 w 8978749"/>
              <a:gd name="connsiteY730" fmla="*/ 3640035 h 4806848"/>
              <a:gd name="connsiteX731" fmla="*/ 7578573 w 8978749"/>
              <a:gd name="connsiteY731" fmla="*/ 3640035 h 4806848"/>
              <a:gd name="connsiteX732" fmla="*/ 7499198 w 8978749"/>
              <a:gd name="connsiteY732" fmla="*/ 3581297 h 4806848"/>
              <a:gd name="connsiteX733" fmla="*/ 7557936 w 8978749"/>
              <a:gd name="connsiteY733" fmla="*/ 3581297 h 4806848"/>
              <a:gd name="connsiteX734" fmla="*/ 7557936 w 8978749"/>
              <a:gd name="connsiteY734" fmla="*/ 3640035 h 4806848"/>
              <a:gd name="connsiteX735" fmla="*/ 7499198 w 8978749"/>
              <a:gd name="connsiteY735" fmla="*/ 3640035 h 4806848"/>
              <a:gd name="connsiteX736" fmla="*/ 7419823 w 8978749"/>
              <a:gd name="connsiteY736" fmla="*/ 3581297 h 4806848"/>
              <a:gd name="connsiteX737" fmla="*/ 7478561 w 8978749"/>
              <a:gd name="connsiteY737" fmla="*/ 3581297 h 4806848"/>
              <a:gd name="connsiteX738" fmla="*/ 7478561 w 8978749"/>
              <a:gd name="connsiteY738" fmla="*/ 3640035 h 4806848"/>
              <a:gd name="connsiteX739" fmla="*/ 7419823 w 8978749"/>
              <a:gd name="connsiteY739" fmla="*/ 3640035 h 4806848"/>
              <a:gd name="connsiteX740" fmla="*/ 7342036 w 8978749"/>
              <a:gd name="connsiteY740" fmla="*/ 3581297 h 4806848"/>
              <a:gd name="connsiteX741" fmla="*/ 7400774 w 8978749"/>
              <a:gd name="connsiteY741" fmla="*/ 3581297 h 4806848"/>
              <a:gd name="connsiteX742" fmla="*/ 7400774 w 8978749"/>
              <a:gd name="connsiteY742" fmla="*/ 3640035 h 4806848"/>
              <a:gd name="connsiteX743" fmla="*/ 7342036 w 8978749"/>
              <a:gd name="connsiteY743" fmla="*/ 3640035 h 4806848"/>
              <a:gd name="connsiteX744" fmla="*/ 7262661 w 8978749"/>
              <a:gd name="connsiteY744" fmla="*/ 3581297 h 4806848"/>
              <a:gd name="connsiteX745" fmla="*/ 7321399 w 8978749"/>
              <a:gd name="connsiteY745" fmla="*/ 3581297 h 4806848"/>
              <a:gd name="connsiteX746" fmla="*/ 7321399 w 8978749"/>
              <a:gd name="connsiteY746" fmla="*/ 3640035 h 4806848"/>
              <a:gd name="connsiteX747" fmla="*/ 7262661 w 8978749"/>
              <a:gd name="connsiteY747" fmla="*/ 3640035 h 4806848"/>
              <a:gd name="connsiteX748" fmla="*/ 5605311 w 8978749"/>
              <a:gd name="connsiteY748" fmla="*/ 3581297 h 4806848"/>
              <a:gd name="connsiteX749" fmla="*/ 5664049 w 8978749"/>
              <a:gd name="connsiteY749" fmla="*/ 3581297 h 4806848"/>
              <a:gd name="connsiteX750" fmla="*/ 5664049 w 8978749"/>
              <a:gd name="connsiteY750" fmla="*/ 3640035 h 4806848"/>
              <a:gd name="connsiteX751" fmla="*/ 5605311 w 8978749"/>
              <a:gd name="connsiteY751" fmla="*/ 3640035 h 4806848"/>
              <a:gd name="connsiteX752" fmla="*/ 5446561 w 8978749"/>
              <a:gd name="connsiteY752" fmla="*/ 3581297 h 4806848"/>
              <a:gd name="connsiteX753" fmla="*/ 5505299 w 8978749"/>
              <a:gd name="connsiteY753" fmla="*/ 3581297 h 4806848"/>
              <a:gd name="connsiteX754" fmla="*/ 5505299 w 8978749"/>
              <a:gd name="connsiteY754" fmla="*/ 3640035 h 4806848"/>
              <a:gd name="connsiteX755" fmla="*/ 5446561 w 8978749"/>
              <a:gd name="connsiteY755" fmla="*/ 3640035 h 4806848"/>
              <a:gd name="connsiteX756" fmla="*/ 5368773 w 8978749"/>
              <a:gd name="connsiteY756" fmla="*/ 3581297 h 4806848"/>
              <a:gd name="connsiteX757" fmla="*/ 5425923 w 8978749"/>
              <a:gd name="connsiteY757" fmla="*/ 3581297 h 4806848"/>
              <a:gd name="connsiteX758" fmla="*/ 5425923 w 8978749"/>
              <a:gd name="connsiteY758" fmla="*/ 3640035 h 4806848"/>
              <a:gd name="connsiteX759" fmla="*/ 5368773 w 8978749"/>
              <a:gd name="connsiteY759" fmla="*/ 3640035 h 4806848"/>
              <a:gd name="connsiteX760" fmla="*/ 5052861 w 8978749"/>
              <a:gd name="connsiteY760" fmla="*/ 3581297 h 4806848"/>
              <a:gd name="connsiteX761" fmla="*/ 5110011 w 8978749"/>
              <a:gd name="connsiteY761" fmla="*/ 3581297 h 4806848"/>
              <a:gd name="connsiteX762" fmla="*/ 5110011 w 8978749"/>
              <a:gd name="connsiteY762" fmla="*/ 3640035 h 4806848"/>
              <a:gd name="connsiteX763" fmla="*/ 5052861 w 8978749"/>
              <a:gd name="connsiteY763" fmla="*/ 3640035 h 4806848"/>
              <a:gd name="connsiteX764" fmla="*/ 4973486 w 8978749"/>
              <a:gd name="connsiteY764" fmla="*/ 3581297 h 4806848"/>
              <a:gd name="connsiteX765" fmla="*/ 5030636 w 8978749"/>
              <a:gd name="connsiteY765" fmla="*/ 3581297 h 4806848"/>
              <a:gd name="connsiteX766" fmla="*/ 5030636 w 8978749"/>
              <a:gd name="connsiteY766" fmla="*/ 3640035 h 4806848"/>
              <a:gd name="connsiteX767" fmla="*/ 4973486 w 8978749"/>
              <a:gd name="connsiteY767" fmla="*/ 3640035 h 4806848"/>
              <a:gd name="connsiteX768" fmla="*/ 4894111 w 8978749"/>
              <a:gd name="connsiteY768" fmla="*/ 3581297 h 4806848"/>
              <a:gd name="connsiteX769" fmla="*/ 4952849 w 8978749"/>
              <a:gd name="connsiteY769" fmla="*/ 3581297 h 4806848"/>
              <a:gd name="connsiteX770" fmla="*/ 4952849 w 8978749"/>
              <a:gd name="connsiteY770" fmla="*/ 3640035 h 4806848"/>
              <a:gd name="connsiteX771" fmla="*/ 4894111 w 8978749"/>
              <a:gd name="connsiteY771" fmla="*/ 3640035 h 4806848"/>
              <a:gd name="connsiteX772" fmla="*/ 4814736 w 8978749"/>
              <a:gd name="connsiteY772" fmla="*/ 3581297 h 4806848"/>
              <a:gd name="connsiteX773" fmla="*/ 4873474 w 8978749"/>
              <a:gd name="connsiteY773" fmla="*/ 3581297 h 4806848"/>
              <a:gd name="connsiteX774" fmla="*/ 4873474 w 8978749"/>
              <a:gd name="connsiteY774" fmla="*/ 3640035 h 4806848"/>
              <a:gd name="connsiteX775" fmla="*/ 4814736 w 8978749"/>
              <a:gd name="connsiteY775" fmla="*/ 3640035 h 4806848"/>
              <a:gd name="connsiteX776" fmla="*/ 4736948 w 8978749"/>
              <a:gd name="connsiteY776" fmla="*/ 3581297 h 4806848"/>
              <a:gd name="connsiteX777" fmla="*/ 4794098 w 8978749"/>
              <a:gd name="connsiteY777" fmla="*/ 3581297 h 4806848"/>
              <a:gd name="connsiteX778" fmla="*/ 4794098 w 8978749"/>
              <a:gd name="connsiteY778" fmla="*/ 3640035 h 4806848"/>
              <a:gd name="connsiteX779" fmla="*/ 4736948 w 8978749"/>
              <a:gd name="connsiteY779" fmla="*/ 3640035 h 4806848"/>
              <a:gd name="connsiteX780" fmla="*/ 4657573 w 8978749"/>
              <a:gd name="connsiteY780" fmla="*/ 3581297 h 4806848"/>
              <a:gd name="connsiteX781" fmla="*/ 4716311 w 8978749"/>
              <a:gd name="connsiteY781" fmla="*/ 3581297 h 4806848"/>
              <a:gd name="connsiteX782" fmla="*/ 4716311 w 8978749"/>
              <a:gd name="connsiteY782" fmla="*/ 3640035 h 4806848"/>
              <a:gd name="connsiteX783" fmla="*/ 4657573 w 8978749"/>
              <a:gd name="connsiteY783" fmla="*/ 3640035 h 4806848"/>
              <a:gd name="connsiteX784" fmla="*/ 4578198 w 8978749"/>
              <a:gd name="connsiteY784" fmla="*/ 3581297 h 4806848"/>
              <a:gd name="connsiteX785" fmla="*/ 4636936 w 8978749"/>
              <a:gd name="connsiteY785" fmla="*/ 3581297 h 4806848"/>
              <a:gd name="connsiteX786" fmla="*/ 4636936 w 8978749"/>
              <a:gd name="connsiteY786" fmla="*/ 3640035 h 4806848"/>
              <a:gd name="connsiteX787" fmla="*/ 4578198 w 8978749"/>
              <a:gd name="connsiteY787" fmla="*/ 3640035 h 4806848"/>
              <a:gd name="connsiteX788" fmla="*/ 3157386 w 8978749"/>
              <a:gd name="connsiteY788" fmla="*/ 3581297 h 4806848"/>
              <a:gd name="connsiteX789" fmla="*/ 3216124 w 8978749"/>
              <a:gd name="connsiteY789" fmla="*/ 3581297 h 4806848"/>
              <a:gd name="connsiteX790" fmla="*/ 3216124 w 8978749"/>
              <a:gd name="connsiteY790" fmla="*/ 3640035 h 4806848"/>
              <a:gd name="connsiteX791" fmla="*/ 3157386 w 8978749"/>
              <a:gd name="connsiteY791" fmla="*/ 3640035 h 4806848"/>
              <a:gd name="connsiteX792" fmla="*/ 3078011 w 8978749"/>
              <a:gd name="connsiteY792" fmla="*/ 3581297 h 4806848"/>
              <a:gd name="connsiteX793" fmla="*/ 3136749 w 8978749"/>
              <a:gd name="connsiteY793" fmla="*/ 3581297 h 4806848"/>
              <a:gd name="connsiteX794" fmla="*/ 3136749 w 8978749"/>
              <a:gd name="connsiteY794" fmla="*/ 3640035 h 4806848"/>
              <a:gd name="connsiteX795" fmla="*/ 3078011 w 8978749"/>
              <a:gd name="connsiteY795" fmla="*/ 3640035 h 4806848"/>
              <a:gd name="connsiteX796" fmla="*/ 3000223 w 8978749"/>
              <a:gd name="connsiteY796" fmla="*/ 3581297 h 4806848"/>
              <a:gd name="connsiteX797" fmla="*/ 3057373 w 8978749"/>
              <a:gd name="connsiteY797" fmla="*/ 3581297 h 4806848"/>
              <a:gd name="connsiteX798" fmla="*/ 3057373 w 8978749"/>
              <a:gd name="connsiteY798" fmla="*/ 3640035 h 4806848"/>
              <a:gd name="connsiteX799" fmla="*/ 3000223 w 8978749"/>
              <a:gd name="connsiteY799" fmla="*/ 3640035 h 4806848"/>
              <a:gd name="connsiteX800" fmla="*/ 2920848 w 8978749"/>
              <a:gd name="connsiteY800" fmla="*/ 3581297 h 4806848"/>
              <a:gd name="connsiteX801" fmla="*/ 2979586 w 8978749"/>
              <a:gd name="connsiteY801" fmla="*/ 3581297 h 4806848"/>
              <a:gd name="connsiteX802" fmla="*/ 2979586 w 8978749"/>
              <a:gd name="connsiteY802" fmla="*/ 3640035 h 4806848"/>
              <a:gd name="connsiteX803" fmla="*/ 2920848 w 8978749"/>
              <a:gd name="connsiteY803" fmla="*/ 3640035 h 4806848"/>
              <a:gd name="connsiteX804" fmla="*/ 2841473 w 8978749"/>
              <a:gd name="connsiteY804" fmla="*/ 3581297 h 4806848"/>
              <a:gd name="connsiteX805" fmla="*/ 2900211 w 8978749"/>
              <a:gd name="connsiteY805" fmla="*/ 3581297 h 4806848"/>
              <a:gd name="connsiteX806" fmla="*/ 2900211 w 8978749"/>
              <a:gd name="connsiteY806" fmla="*/ 3640035 h 4806848"/>
              <a:gd name="connsiteX807" fmla="*/ 2841473 w 8978749"/>
              <a:gd name="connsiteY807" fmla="*/ 3640035 h 4806848"/>
              <a:gd name="connsiteX808" fmla="*/ 2763686 w 8978749"/>
              <a:gd name="connsiteY808" fmla="*/ 3581297 h 4806848"/>
              <a:gd name="connsiteX809" fmla="*/ 2820836 w 8978749"/>
              <a:gd name="connsiteY809" fmla="*/ 3581297 h 4806848"/>
              <a:gd name="connsiteX810" fmla="*/ 2820836 w 8978749"/>
              <a:gd name="connsiteY810" fmla="*/ 3640035 h 4806848"/>
              <a:gd name="connsiteX811" fmla="*/ 2763686 w 8978749"/>
              <a:gd name="connsiteY811" fmla="*/ 3640035 h 4806848"/>
              <a:gd name="connsiteX812" fmla="*/ 2684311 w 8978749"/>
              <a:gd name="connsiteY812" fmla="*/ 3581297 h 4806848"/>
              <a:gd name="connsiteX813" fmla="*/ 2743049 w 8978749"/>
              <a:gd name="connsiteY813" fmla="*/ 3581297 h 4806848"/>
              <a:gd name="connsiteX814" fmla="*/ 2743049 w 8978749"/>
              <a:gd name="connsiteY814" fmla="*/ 3640035 h 4806848"/>
              <a:gd name="connsiteX815" fmla="*/ 2684311 w 8978749"/>
              <a:gd name="connsiteY815" fmla="*/ 3640035 h 4806848"/>
              <a:gd name="connsiteX816" fmla="*/ 2604936 w 8978749"/>
              <a:gd name="connsiteY816" fmla="*/ 3581297 h 4806848"/>
              <a:gd name="connsiteX817" fmla="*/ 2663674 w 8978749"/>
              <a:gd name="connsiteY817" fmla="*/ 3581297 h 4806848"/>
              <a:gd name="connsiteX818" fmla="*/ 2663674 w 8978749"/>
              <a:gd name="connsiteY818" fmla="*/ 3640035 h 4806848"/>
              <a:gd name="connsiteX819" fmla="*/ 2604936 w 8978749"/>
              <a:gd name="connsiteY819" fmla="*/ 3640035 h 4806848"/>
              <a:gd name="connsiteX820" fmla="*/ 2525594 w 8978749"/>
              <a:gd name="connsiteY820" fmla="*/ 3581297 h 4806848"/>
              <a:gd name="connsiteX821" fmla="*/ 2584332 w 8978749"/>
              <a:gd name="connsiteY821" fmla="*/ 3581297 h 4806848"/>
              <a:gd name="connsiteX822" fmla="*/ 2584332 w 8978749"/>
              <a:gd name="connsiteY822" fmla="*/ 3640035 h 4806848"/>
              <a:gd name="connsiteX823" fmla="*/ 2525594 w 8978749"/>
              <a:gd name="connsiteY823" fmla="*/ 3640035 h 4806848"/>
              <a:gd name="connsiteX824" fmla="*/ 868242 w 8978749"/>
              <a:gd name="connsiteY824" fmla="*/ 3581297 h 4806848"/>
              <a:gd name="connsiteX825" fmla="*/ 926982 w 8978749"/>
              <a:gd name="connsiteY825" fmla="*/ 3581297 h 4806848"/>
              <a:gd name="connsiteX826" fmla="*/ 926982 w 8978749"/>
              <a:gd name="connsiteY826" fmla="*/ 3640035 h 4806848"/>
              <a:gd name="connsiteX827" fmla="*/ 868242 w 8978749"/>
              <a:gd name="connsiteY827" fmla="*/ 3640035 h 4806848"/>
              <a:gd name="connsiteX828" fmla="*/ 711084 w 8978749"/>
              <a:gd name="connsiteY828" fmla="*/ 3581297 h 4806848"/>
              <a:gd name="connsiteX829" fmla="*/ 768233 w 8978749"/>
              <a:gd name="connsiteY829" fmla="*/ 3581297 h 4806848"/>
              <a:gd name="connsiteX830" fmla="*/ 768233 w 8978749"/>
              <a:gd name="connsiteY830" fmla="*/ 3640035 h 4806848"/>
              <a:gd name="connsiteX831" fmla="*/ 711084 w 8978749"/>
              <a:gd name="connsiteY831" fmla="*/ 3640035 h 4806848"/>
              <a:gd name="connsiteX832" fmla="*/ 8683473 w 8978749"/>
              <a:gd name="connsiteY832" fmla="*/ 3503510 h 4806848"/>
              <a:gd name="connsiteX833" fmla="*/ 8742211 w 8978749"/>
              <a:gd name="connsiteY833" fmla="*/ 3503510 h 4806848"/>
              <a:gd name="connsiteX834" fmla="*/ 8742211 w 8978749"/>
              <a:gd name="connsiteY834" fmla="*/ 3560660 h 4806848"/>
              <a:gd name="connsiteX835" fmla="*/ 8683473 w 8978749"/>
              <a:gd name="connsiteY835" fmla="*/ 3560660 h 4806848"/>
              <a:gd name="connsiteX836" fmla="*/ 8446936 w 8978749"/>
              <a:gd name="connsiteY836" fmla="*/ 3503510 h 4806848"/>
              <a:gd name="connsiteX837" fmla="*/ 8505674 w 8978749"/>
              <a:gd name="connsiteY837" fmla="*/ 3503510 h 4806848"/>
              <a:gd name="connsiteX838" fmla="*/ 8505674 w 8978749"/>
              <a:gd name="connsiteY838" fmla="*/ 3560660 h 4806848"/>
              <a:gd name="connsiteX839" fmla="*/ 8446936 w 8978749"/>
              <a:gd name="connsiteY839" fmla="*/ 3560660 h 4806848"/>
              <a:gd name="connsiteX840" fmla="*/ 8367561 w 8978749"/>
              <a:gd name="connsiteY840" fmla="*/ 3503510 h 4806848"/>
              <a:gd name="connsiteX841" fmla="*/ 8426299 w 8978749"/>
              <a:gd name="connsiteY841" fmla="*/ 3503510 h 4806848"/>
              <a:gd name="connsiteX842" fmla="*/ 8426299 w 8978749"/>
              <a:gd name="connsiteY842" fmla="*/ 3560660 h 4806848"/>
              <a:gd name="connsiteX843" fmla="*/ 8367561 w 8978749"/>
              <a:gd name="connsiteY843" fmla="*/ 3560660 h 4806848"/>
              <a:gd name="connsiteX844" fmla="*/ 7894486 w 8978749"/>
              <a:gd name="connsiteY844" fmla="*/ 3503510 h 4806848"/>
              <a:gd name="connsiteX845" fmla="*/ 7951636 w 8978749"/>
              <a:gd name="connsiteY845" fmla="*/ 3503510 h 4806848"/>
              <a:gd name="connsiteX846" fmla="*/ 7951636 w 8978749"/>
              <a:gd name="connsiteY846" fmla="*/ 3560660 h 4806848"/>
              <a:gd name="connsiteX847" fmla="*/ 7894486 w 8978749"/>
              <a:gd name="connsiteY847" fmla="*/ 3560660 h 4806848"/>
              <a:gd name="connsiteX848" fmla="*/ 7815111 w 8978749"/>
              <a:gd name="connsiteY848" fmla="*/ 3503510 h 4806848"/>
              <a:gd name="connsiteX849" fmla="*/ 7873849 w 8978749"/>
              <a:gd name="connsiteY849" fmla="*/ 3503510 h 4806848"/>
              <a:gd name="connsiteX850" fmla="*/ 7873849 w 8978749"/>
              <a:gd name="connsiteY850" fmla="*/ 3560660 h 4806848"/>
              <a:gd name="connsiteX851" fmla="*/ 7815111 w 8978749"/>
              <a:gd name="connsiteY851" fmla="*/ 3560660 h 4806848"/>
              <a:gd name="connsiteX852" fmla="*/ 7735736 w 8978749"/>
              <a:gd name="connsiteY852" fmla="*/ 3503510 h 4806848"/>
              <a:gd name="connsiteX853" fmla="*/ 7794474 w 8978749"/>
              <a:gd name="connsiteY853" fmla="*/ 3503510 h 4806848"/>
              <a:gd name="connsiteX854" fmla="*/ 7794474 w 8978749"/>
              <a:gd name="connsiteY854" fmla="*/ 3560660 h 4806848"/>
              <a:gd name="connsiteX855" fmla="*/ 7735736 w 8978749"/>
              <a:gd name="connsiteY855" fmla="*/ 3560660 h 4806848"/>
              <a:gd name="connsiteX856" fmla="*/ 7657948 w 8978749"/>
              <a:gd name="connsiteY856" fmla="*/ 3503510 h 4806848"/>
              <a:gd name="connsiteX857" fmla="*/ 7715098 w 8978749"/>
              <a:gd name="connsiteY857" fmla="*/ 3503510 h 4806848"/>
              <a:gd name="connsiteX858" fmla="*/ 7715098 w 8978749"/>
              <a:gd name="connsiteY858" fmla="*/ 3560660 h 4806848"/>
              <a:gd name="connsiteX859" fmla="*/ 7657948 w 8978749"/>
              <a:gd name="connsiteY859" fmla="*/ 3560660 h 4806848"/>
              <a:gd name="connsiteX860" fmla="*/ 7578573 w 8978749"/>
              <a:gd name="connsiteY860" fmla="*/ 3503510 h 4806848"/>
              <a:gd name="connsiteX861" fmla="*/ 7637311 w 8978749"/>
              <a:gd name="connsiteY861" fmla="*/ 3503510 h 4806848"/>
              <a:gd name="connsiteX862" fmla="*/ 7637311 w 8978749"/>
              <a:gd name="connsiteY862" fmla="*/ 3560660 h 4806848"/>
              <a:gd name="connsiteX863" fmla="*/ 7578573 w 8978749"/>
              <a:gd name="connsiteY863" fmla="*/ 3560660 h 4806848"/>
              <a:gd name="connsiteX864" fmla="*/ 7499198 w 8978749"/>
              <a:gd name="connsiteY864" fmla="*/ 3503510 h 4806848"/>
              <a:gd name="connsiteX865" fmla="*/ 7557936 w 8978749"/>
              <a:gd name="connsiteY865" fmla="*/ 3503510 h 4806848"/>
              <a:gd name="connsiteX866" fmla="*/ 7557936 w 8978749"/>
              <a:gd name="connsiteY866" fmla="*/ 3560660 h 4806848"/>
              <a:gd name="connsiteX867" fmla="*/ 7499198 w 8978749"/>
              <a:gd name="connsiteY867" fmla="*/ 3560660 h 4806848"/>
              <a:gd name="connsiteX868" fmla="*/ 7419823 w 8978749"/>
              <a:gd name="connsiteY868" fmla="*/ 3503510 h 4806848"/>
              <a:gd name="connsiteX869" fmla="*/ 7478561 w 8978749"/>
              <a:gd name="connsiteY869" fmla="*/ 3503510 h 4806848"/>
              <a:gd name="connsiteX870" fmla="*/ 7478561 w 8978749"/>
              <a:gd name="connsiteY870" fmla="*/ 3560660 h 4806848"/>
              <a:gd name="connsiteX871" fmla="*/ 7419823 w 8978749"/>
              <a:gd name="connsiteY871" fmla="*/ 3560660 h 4806848"/>
              <a:gd name="connsiteX872" fmla="*/ 7342036 w 8978749"/>
              <a:gd name="connsiteY872" fmla="*/ 3503510 h 4806848"/>
              <a:gd name="connsiteX873" fmla="*/ 7400774 w 8978749"/>
              <a:gd name="connsiteY873" fmla="*/ 3503510 h 4806848"/>
              <a:gd name="connsiteX874" fmla="*/ 7400774 w 8978749"/>
              <a:gd name="connsiteY874" fmla="*/ 3560660 h 4806848"/>
              <a:gd name="connsiteX875" fmla="*/ 7342036 w 8978749"/>
              <a:gd name="connsiteY875" fmla="*/ 3560660 h 4806848"/>
              <a:gd name="connsiteX876" fmla="*/ 7262661 w 8978749"/>
              <a:gd name="connsiteY876" fmla="*/ 3503510 h 4806848"/>
              <a:gd name="connsiteX877" fmla="*/ 7321399 w 8978749"/>
              <a:gd name="connsiteY877" fmla="*/ 3503510 h 4806848"/>
              <a:gd name="connsiteX878" fmla="*/ 7321399 w 8978749"/>
              <a:gd name="connsiteY878" fmla="*/ 3560660 h 4806848"/>
              <a:gd name="connsiteX879" fmla="*/ 7262661 w 8978749"/>
              <a:gd name="connsiteY879" fmla="*/ 3560660 h 4806848"/>
              <a:gd name="connsiteX880" fmla="*/ 5446561 w 8978749"/>
              <a:gd name="connsiteY880" fmla="*/ 3503510 h 4806848"/>
              <a:gd name="connsiteX881" fmla="*/ 5505299 w 8978749"/>
              <a:gd name="connsiteY881" fmla="*/ 3503510 h 4806848"/>
              <a:gd name="connsiteX882" fmla="*/ 5505299 w 8978749"/>
              <a:gd name="connsiteY882" fmla="*/ 3560660 h 4806848"/>
              <a:gd name="connsiteX883" fmla="*/ 5446561 w 8978749"/>
              <a:gd name="connsiteY883" fmla="*/ 3560660 h 4806848"/>
              <a:gd name="connsiteX884" fmla="*/ 5368773 w 8978749"/>
              <a:gd name="connsiteY884" fmla="*/ 3503510 h 4806848"/>
              <a:gd name="connsiteX885" fmla="*/ 5425923 w 8978749"/>
              <a:gd name="connsiteY885" fmla="*/ 3503510 h 4806848"/>
              <a:gd name="connsiteX886" fmla="*/ 5425923 w 8978749"/>
              <a:gd name="connsiteY886" fmla="*/ 3560660 h 4806848"/>
              <a:gd name="connsiteX887" fmla="*/ 5368773 w 8978749"/>
              <a:gd name="connsiteY887" fmla="*/ 3560660 h 4806848"/>
              <a:gd name="connsiteX888" fmla="*/ 5130648 w 8978749"/>
              <a:gd name="connsiteY888" fmla="*/ 3503510 h 4806848"/>
              <a:gd name="connsiteX889" fmla="*/ 5189386 w 8978749"/>
              <a:gd name="connsiteY889" fmla="*/ 3503510 h 4806848"/>
              <a:gd name="connsiteX890" fmla="*/ 5189386 w 8978749"/>
              <a:gd name="connsiteY890" fmla="*/ 3560660 h 4806848"/>
              <a:gd name="connsiteX891" fmla="*/ 5130648 w 8978749"/>
              <a:gd name="connsiteY891" fmla="*/ 3560660 h 4806848"/>
              <a:gd name="connsiteX892" fmla="*/ 5052861 w 8978749"/>
              <a:gd name="connsiteY892" fmla="*/ 3503510 h 4806848"/>
              <a:gd name="connsiteX893" fmla="*/ 5110011 w 8978749"/>
              <a:gd name="connsiteY893" fmla="*/ 3503510 h 4806848"/>
              <a:gd name="connsiteX894" fmla="*/ 5110011 w 8978749"/>
              <a:gd name="connsiteY894" fmla="*/ 3560660 h 4806848"/>
              <a:gd name="connsiteX895" fmla="*/ 5052861 w 8978749"/>
              <a:gd name="connsiteY895" fmla="*/ 3560660 h 4806848"/>
              <a:gd name="connsiteX896" fmla="*/ 4973486 w 8978749"/>
              <a:gd name="connsiteY896" fmla="*/ 3503510 h 4806848"/>
              <a:gd name="connsiteX897" fmla="*/ 5030636 w 8978749"/>
              <a:gd name="connsiteY897" fmla="*/ 3503510 h 4806848"/>
              <a:gd name="connsiteX898" fmla="*/ 5030636 w 8978749"/>
              <a:gd name="connsiteY898" fmla="*/ 3560660 h 4806848"/>
              <a:gd name="connsiteX899" fmla="*/ 4973486 w 8978749"/>
              <a:gd name="connsiteY899" fmla="*/ 3560660 h 4806848"/>
              <a:gd name="connsiteX900" fmla="*/ 4894111 w 8978749"/>
              <a:gd name="connsiteY900" fmla="*/ 3503510 h 4806848"/>
              <a:gd name="connsiteX901" fmla="*/ 4952849 w 8978749"/>
              <a:gd name="connsiteY901" fmla="*/ 3503510 h 4806848"/>
              <a:gd name="connsiteX902" fmla="*/ 4952849 w 8978749"/>
              <a:gd name="connsiteY902" fmla="*/ 3560660 h 4806848"/>
              <a:gd name="connsiteX903" fmla="*/ 4894111 w 8978749"/>
              <a:gd name="connsiteY903" fmla="*/ 3560660 h 4806848"/>
              <a:gd name="connsiteX904" fmla="*/ 4814736 w 8978749"/>
              <a:gd name="connsiteY904" fmla="*/ 3503510 h 4806848"/>
              <a:gd name="connsiteX905" fmla="*/ 4873474 w 8978749"/>
              <a:gd name="connsiteY905" fmla="*/ 3503510 h 4806848"/>
              <a:gd name="connsiteX906" fmla="*/ 4873474 w 8978749"/>
              <a:gd name="connsiteY906" fmla="*/ 3560660 h 4806848"/>
              <a:gd name="connsiteX907" fmla="*/ 4814736 w 8978749"/>
              <a:gd name="connsiteY907" fmla="*/ 3560660 h 4806848"/>
              <a:gd name="connsiteX908" fmla="*/ 4736948 w 8978749"/>
              <a:gd name="connsiteY908" fmla="*/ 3503510 h 4806848"/>
              <a:gd name="connsiteX909" fmla="*/ 4794098 w 8978749"/>
              <a:gd name="connsiteY909" fmla="*/ 3503510 h 4806848"/>
              <a:gd name="connsiteX910" fmla="*/ 4794098 w 8978749"/>
              <a:gd name="connsiteY910" fmla="*/ 3560660 h 4806848"/>
              <a:gd name="connsiteX911" fmla="*/ 4736948 w 8978749"/>
              <a:gd name="connsiteY911" fmla="*/ 3560660 h 4806848"/>
              <a:gd name="connsiteX912" fmla="*/ 4657573 w 8978749"/>
              <a:gd name="connsiteY912" fmla="*/ 3503510 h 4806848"/>
              <a:gd name="connsiteX913" fmla="*/ 4716311 w 8978749"/>
              <a:gd name="connsiteY913" fmla="*/ 3503510 h 4806848"/>
              <a:gd name="connsiteX914" fmla="*/ 4716311 w 8978749"/>
              <a:gd name="connsiteY914" fmla="*/ 3560660 h 4806848"/>
              <a:gd name="connsiteX915" fmla="*/ 4657573 w 8978749"/>
              <a:gd name="connsiteY915" fmla="*/ 3560660 h 4806848"/>
              <a:gd name="connsiteX916" fmla="*/ 4578198 w 8978749"/>
              <a:gd name="connsiteY916" fmla="*/ 3503510 h 4806848"/>
              <a:gd name="connsiteX917" fmla="*/ 4636936 w 8978749"/>
              <a:gd name="connsiteY917" fmla="*/ 3503510 h 4806848"/>
              <a:gd name="connsiteX918" fmla="*/ 4636936 w 8978749"/>
              <a:gd name="connsiteY918" fmla="*/ 3560660 h 4806848"/>
              <a:gd name="connsiteX919" fmla="*/ 4578198 w 8978749"/>
              <a:gd name="connsiteY919" fmla="*/ 3560660 h 4806848"/>
              <a:gd name="connsiteX920" fmla="*/ 3157386 w 8978749"/>
              <a:gd name="connsiteY920" fmla="*/ 3503510 h 4806848"/>
              <a:gd name="connsiteX921" fmla="*/ 3216124 w 8978749"/>
              <a:gd name="connsiteY921" fmla="*/ 3503510 h 4806848"/>
              <a:gd name="connsiteX922" fmla="*/ 3216124 w 8978749"/>
              <a:gd name="connsiteY922" fmla="*/ 3560660 h 4806848"/>
              <a:gd name="connsiteX923" fmla="*/ 3157386 w 8978749"/>
              <a:gd name="connsiteY923" fmla="*/ 3560660 h 4806848"/>
              <a:gd name="connsiteX924" fmla="*/ 3078011 w 8978749"/>
              <a:gd name="connsiteY924" fmla="*/ 3503510 h 4806848"/>
              <a:gd name="connsiteX925" fmla="*/ 3136749 w 8978749"/>
              <a:gd name="connsiteY925" fmla="*/ 3503510 h 4806848"/>
              <a:gd name="connsiteX926" fmla="*/ 3136749 w 8978749"/>
              <a:gd name="connsiteY926" fmla="*/ 3560660 h 4806848"/>
              <a:gd name="connsiteX927" fmla="*/ 3078011 w 8978749"/>
              <a:gd name="connsiteY927" fmla="*/ 3560660 h 4806848"/>
              <a:gd name="connsiteX928" fmla="*/ 3000223 w 8978749"/>
              <a:gd name="connsiteY928" fmla="*/ 3503510 h 4806848"/>
              <a:gd name="connsiteX929" fmla="*/ 3057373 w 8978749"/>
              <a:gd name="connsiteY929" fmla="*/ 3503510 h 4806848"/>
              <a:gd name="connsiteX930" fmla="*/ 3057373 w 8978749"/>
              <a:gd name="connsiteY930" fmla="*/ 3560660 h 4806848"/>
              <a:gd name="connsiteX931" fmla="*/ 3000223 w 8978749"/>
              <a:gd name="connsiteY931" fmla="*/ 3560660 h 4806848"/>
              <a:gd name="connsiteX932" fmla="*/ 2920848 w 8978749"/>
              <a:gd name="connsiteY932" fmla="*/ 3503510 h 4806848"/>
              <a:gd name="connsiteX933" fmla="*/ 2979586 w 8978749"/>
              <a:gd name="connsiteY933" fmla="*/ 3503510 h 4806848"/>
              <a:gd name="connsiteX934" fmla="*/ 2979586 w 8978749"/>
              <a:gd name="connsiteY934" fmla="*/ 3560660 h 4806848"/>
              <a:gd name="connsiteX935" fmla="*/ 2920848 w 8978749"/>
              <a:gd name="connsiteY935" fmla="*/ 3560660 h 4806848"/>
              <a:gd name="connsiteX936" fmla="*/ 2841473 w 8978749"/>
              <a:gd name="connsiteY936" fmla="*/ 3503510 h 4806848"/>
              <a:gd name="connsiteX937" fmla="*/ 2900211 w 8978749"/>
              <a:gd name="connsiteY937" fmla="*/ 3503510 h 4806848"/>
              <a:gd name="connsiteX938" fmla="*/ 2900211 w 8978749"/>
              <a:gd name="connsiteY938" fmla="*/ 3560660 h 4806848"/>
              <a:gd name="connsiteX939" fmla="*/ 2841473 w 8978749"/>
              <a:gd name="connsiteY939" fmla="*/ 3560660 h 4806848"/>
              <a:gd name="connsiteX940" fmla="*/ 2763686 w 8978749"/>
              <a:gd name="connsiteY940" fmla="*/ 3503510 h 4806848"/>
              <a:gd name="connsiteX941" fmla="*/ 2820836 w 8978749"/>
              <a:gd name="connsiteY941" fmla="*/ 3503510 h 4806848"/>
              <a:gd name="connsiteX942" fmla="*/ 2820836 w 8978749"/>
              <a:gd name="connsiteY942" fmla="*/ 3560660 h 4806848"/>
              <a:gd name="connsiteX943" fmla="*/ 2763686 w 8978749"/>
              <a:gd name="connsiteY943" fmla="*/ 3560660 h 4806848"/>
              <a:gd name="connsiteX944" fmla="*/ 2684311 w 8978749"/>
              <a:gd name="connsiteY944" fmla="*/ 3503510 h 4806848"/>
              <a:gd name="connsiteX945" fmla="*/ 2743049 w 8978749"/>
              <a:gd name="connsiteY945" fmla="*/ 3503510 h 4806848"/>
              <a:gd name="connsiteX946" fmla="*/ 2743049 w 8978749"/>
              <a:gd name="connsiteY946" fmla="*/ 3560660 h 4806848"/>
              <a:gd name="connsiteX947" fmla="*/ 2684311 w 8978749"/>
              <a:gd name="connsiteY947" fmla="*/ 3560660 h 4806848"/>
              <a:gd name="connsiteX948" fmla="*/ 2604936 w 8978749"/>
              <a:gd name="connsiteY948" fmla="*/ 3503510 h 4806848"/>
              <a:gd name="connsiteX949" fmla="*/ 2663674 w 8978749"/>
              <a:gd name="connsiteY949" fmla="*/ 3503510 h 4806848"/>
              <a:gd name="connsiteX950" fmla="*/ 2663674 w 8978749"/>
              <a:gd name="connsiteY950" fmla="*/ 3560660 h 4806848"/>
              <a:gd name="connsiteX951" fmla="*/ 2604936 w 8978749"/>
              <a:gd name="connsiteY951" fmla="*/ 3560660 h 4806848"/>
              <a:gd name="connsiteX952" fmla="*/ 2525599 w 8978749"/>
              <a:gd name="connsiteY952" fmla="*/ 3503510 h 4806848"/>
              <a:gd name="connsiteX953" fmla="*/ 2584337 w 8978749"/>
              <a:gd name="connsiteY953" fmla="*/ 3503510 h 4806848"/>
              <a:gd name="connsiteX954" fmla="*/ 2584337 w 8978749"/>
              <a:gd name="connsiteY954" fmla="*/ 3560660 h 4806848"/>
              <a:gd name="connsiteX955" fmla="*/ 2525599 w 8978749"/>
              <a:gd name="connsiteY955" fmla="*/ 3560660 h 4806848"/>
              <a:gd name="connsiteX956" fmla="*/ 2447810 w 8978749"/>
              <a:gd name="connsiteY956" fmla="*/ 3503510 h 4806848"/>
              <a:gd name="connsiteX957" fmla="*/ 2504963 w 8978749"/>
              <a:gd name="connsiteY957" fmla="*/ 3503510 h 4806848"/>
              <a:gd name="connsiteX958" fmla="*/ 2504963 w 8978749"/>
              <a:gd name="connsiteY958" fmla="*/ 3560660 h 4806848"/>
              <a:gd name="connsiteX959" fmla="*/ 2447810 w 8978749"/>
              <a:gd name="connsiteY959" fmla="*/ 3560660 h 4806848"/>
              <a:gd name="connsiteX960" fmla="*/ 552340 w 8978749"/>
              <a:gd name="connsiteY960" fmla="*/ 3503510 h 4806848"/>
              <a:gd name="connsiteX961" fmla="*/ 611079 w 8978749"/>
              <a:gd name="connsiteY961" fmla="*/ 3503510 h 4806848"/>
              <a:gd name="connsiteX962" fmla="*/ 611079 w 8978749"/>
              <a:gd name="connsiteY962" fmla="*/ 3560660 h 4806848"/>
              <a:gd name="connsiteX963" fmla="*/ 552340 w 8978749"/>
              <a:gd name="connsiteY963" fmla="*/ 3560660 h 4806848"/>
              <a:gd name="connsiteX964" fmla="*/ 7815111 w 8978749"/>
              <a:gd name="connsiteY964" fmla="*/ 3425723 h 4806848"/>
              <a:gd name="connsiteX965" fmla="*/ 7873849 w 8978749"/>
              <a:gd name="connsiteY965" fmla="*/ 3425723 h 4806848"/>
              <a:gd name="connsiteX966" fmla="*/ 7873849 w 8978749"/>
              <a:gd name="connsiteY966" fmla="*/ 3482873 h 4806848"/>
              <a:gd name="connsiteX967" fmla="*/ 7815111 w 8978749"/>
              <a:gd name="connsiteY967" fmla="*/ 3482873 h 4806848"/>
              <a:gd name="connsiteX968" fmla="*/ 7578573 w 8978749"/>
              <a:gd name="connsiteY968" fmla="*/ 3425723 h 4806848"/>
              <a:gd name="connsiteX969" fmla="*/ 7637311 w 8978749"/>
              <a:gd name="connsiteY969" fmla="*/ 3425723 h 4806848"/>
              <a:gd name="connsiteX970" fmla="*/ 7637311 w 8978749"/>
              <a:gd name="connsiteY970" fmla="*/ 3482873 h 4806848"/>
              <a:gd name="connsiteX971" fmla="*/ 7578573 w 8978749"/>
              <a:gd name="connsiteY971" fmla="*/ 3482873 h 4806848"/>
              <a:gd name="connsiteX972" fmla="*/ 7499198 w 8978749"/>
              <a:gd name="connsiteY972" fmla="*/ 3425723 h 4806848"/>
              <a:gd name="connsiteX973" fmla="*/ 7557936 w 8978749"/>
              <a:gd name="connsiteY973" fmla="*/ 3425723 h 4806848"/>
              <a:gd name="connsiteX974" fmla="*/ 7557936 w 8978749"/>
              <a:gd name="connsiteY974" fmla="*/ 3482873 h 4806848"/>
              <a:gd name="connsiteX975" fmla="*/ 7499198 w 8978749"/>
              <a:gd name="connsiteY975" fmla="*/ 3482873 h 4806848"/>
              <a:gd name="connsiteX976" fmla="*/ 7419823 w 8978749"/>
              <a:gd name="connsiteY976" fmla="*/ 3425723 h 4806848"/>
              <a:gd name="connsiteX977" fmla="*/ 7478561 w 8978749"/>
              <a:gd name="connsiteY977" fmla="*/ 3425723 h 4806848"/>
              <a:gd name="connsiteX978" fmla="*/ 7478561 w 8978749"/>
              <a:gd name="connsiteY978" fmla="*/ 3482873 h 4806848"/>
              <a:gd name="connsiteX979" fmla="*/ 7419823 w 8978749"/>
              <a:gd name="connsiteY979" fmla="*/ 3482873 h 4806848"/>
              <a:gd name="connsiteX980" fmla="*/ 7342036 w 8978749"/>
              <a:gd name="connsiteY980" fmla="*/ 3425723 h 4806848"/>
              <a:gd name="connsiteX981" fmla="*/ 7400774 w 8978749"/>
              <a:gd name="connsiteY981" fmla="*/ 3425723 h 4806848"/>
              <a:gd name="connsiteX982" fmla="*/ 7400774 w 8978749"/>
              <a:gd name="connsiteY982" fmla="*/ 3482873 h 4806848"/>
              <a:gd name="connsiteX983" fmla="*/ 7342036 w 8978749"/>
              <a:gd name="connsiteY983" fmla="*/ 3482873 h 4806848"/>
              <a:gd name="connsiteX984" fmla="*/ 5446561 w 8978749"/>
              <a:gd name="connsiteY984" fmla="*/ 3425723 h 4806848"/>
              <a:gd name="connsiteX985" fmla="*/ 5505299 w 8978749"/>
              <a:gd name="connsiteY985" fmla="*/ 3425723 h 4806848"/>
              <a:gd name="connsiteX986" fmla="*/ 5505299 w 8978749"/>
              <a:gd name="connsiteY986" fmla="*/ 3482873 h 4806848"/>
              <a:gd name="connsiteX987" fmla="*/ 5446561 w 8978749"/>
              <a:gd name="connsiteY987" fmla="*/ 3482873 h 4806848"/>
              <a:gd name="connsiteX988" fmla="*/ 5210023 w 8978749"/>
              <a:gd name="connsiteY988" fmla="*/ 3425723 h 4806848"/>
              <a:gd name="connsiteX989" fmla="*/ 5268761 w 8978749"/>
              <a:gd name="connsiteY989" fmla="*/ 3425723 h 4806848"/>
              <a:gd name="connsiteX990" fmla="*/ 5268761 w 8978749"/>
              <a:gd name="connsiteY990" fmla="*/ 3482873 h 4806848"/>
              <a:gd name="connsiteX991" fmla="*/ 5210023 w 8978749"/>
              <a:gd name="connsiteY991" fmla="*/ 3482873 h 4806848"/>
              <a:gd name="connsiteX992" fmla="*/ 5130648 w 8978749"/>
              <a:gd name="connsiteY992" fmla="*/ 3425723 h 4806848"/>
              <a:gd name="connsiteX993" fmla="*/ 5189386 w 8978749"/>
              <a:gd name="connsiteY993" fmla="*/ 3425723 h 4806848"/>
              <a:gd name="connsiteX994" fmla="*/ 5189386 w 8978749"/>
              <a:gd name="connsiteY994" fmla="*/ 3482873 h 4806848"/>
              <a:gd name="connsiteX995" fmla="*/ 5130648 w 8978749"/>
              <a:gd name="connsiteY995" fmla="*/ 3482873 h 4806848"/>
              <a:gd name="connsiteX996" fmla="*/ 5052861 w 8978749"/>
              <a:gd name="connsiteY996" fmla="*/ 3425723 h 4806848"/>
              <a:gd name="connsiteX997" fmla="*/ 5110011 w 8978749"/>
              <a:gd name="connsiteY997" fmla="*/ 3425723 h 4806848"/>
              <a:gd name="connsiteX998" fmla="*/ 5110011 w 8978749"/>
              <a:gd name="connsiteY998" fmla="*/ 3482873 h 4806848"/>
              <a:gd name="connsiteX999" fmla="*/ 5052861 w 8978749"/>
              <a:gd name="connsiteY999" fmla="*/ 3482873 h 4806848"/>
              <a:gd name="connsiteX1000" fmla="*/ 4973486 w 8978749"/>
              <a:gd name="connsiteY1000" fmla="*/ 3425723 h 4806848"/>
              <a:gd name="connsiteX1001" fmla="*/ 5030636 w 8978749"/>
              <a:gd name="connsiteY1001" fmla="*/ 3425723 h 4806848"/>
              <a:gd name="connsiteX1002" fmla="*/ 5030636 w 8978749"/>
              <a:gd name="connsiteY1002" fmla="*/ 3482873 h 4806848"/>
              <a:gd name="connsiteX1003" fmla="*/ 4973486 w 8978749"/>
              <a:gd name="connsiteY1003" fmla="*/ 3482873 h 4806848"/>
              <a:gd name="connsiteX1004" fmla="*/ 4894111 w 8978749"/>
              <a:gd name="connsiteY1004" fmla="*/ 3425723 h 4806848"/>
              <a:gd name="connsiteX1005" fmla="*/ 4952849 w 8978749"/>
              <a:gd name="connsiteY1005" fmla="*/ 3425723 h 4806848"/>
              <a:gd name="connsiteX1006" fmla="*/ 4952849 w 8978749"/>
              <a:gd name="connsiteY1006" fmla="*/ 3482873 h 4806848"/>
              <a:gd name="connsiteX1007" fmla="*/ 4894111 w 8978749"/>
              <a:gd name="connsiteY1007" fmla="*/ 3482873 h 4806848"/>
              <a:gd name="connsiteX1008" fmla="*/ 4814736 w 8978749"/>
              <a:gd name="connsiteY1008" fmla="*/ 3425723 h 4806848"/>
              <a:gd name="connsiteX1009" fmla="*/ 4873474 w 8978749"/>
              <a:gd name="connsiteY1009" fmla="*/ 3425723 h 4806848"/>
              <a:gd name="connsiteX1010" fmla="*/ 4873474 w 8978749"/>
              <a:gd name="connsiteY1010" fmla="*/ 3482873 h 4806848"/>
              <a:gd name="connsiteX1011" fmla="*/ 4814736 w 8978749"/>
              <a:gd name="connsiteY1011" fmla="*/ 3482873 h 4806848"/>
              <a:gd name="connsiteX1012" fmla="*/ 4736948 w 8978749"/>
              <a:gd name="connsiteY1012" fmla="*/ 3425723 h 4806848"/>
              <a:gd name="connsiteX1013" fmla="*/ 4794098 w 8978749"/>
              <a:gd name="connsiteY1013" fmla="*/ 3425723 h 4806848"/>
              <a:gd name="connsiteX1014" fmla="*/ 4794098 w 8978749"/>
              <a:gd name="connsiteY1014" fmla="*/ 3482873 h 4806848"/>
              <a:gd name="connsiteX1015" fmla="*/ 4736948 w 8978749"/>
              <a:gd name="connsiteY1015" fmla="*/ 3482873 h 4806848"/>
              <a:gd name="connsiteX1016" fmla="*/ 4657573 w 8978749"/>
              <a:gd name="connsiteY1016" fmla="*/ 3425723 h 4806848"/>
              <a:gd name="connsiteX1017" fmla="*/ 4716311 w 8978749"/>
              <a:gd name="connsiteY1017" fmla="*/ 3425723 h 4806848"/>
              <a:gd name="connsiteX1018" fmla="*/ 4716311 w 8978749"/>
              <a:gd name="connsiteY1018" fmla="*/ 3482873 h 4806848"/>
              <a:gd name="connsiteX1019" fmla="*/ 4657573 w 8978749"/>
              <a:gd name="connsiteY1019" fmla="*/ 3482873 h 4806848"/>
              <a:gd name="connsiteX1020" fmla="*/ 4578198 w 8978749"/>
              <a:gd name="connsiteY1020" fmla="*/ 3425723 h 4806848"/>
              <a:gd name="connsiteX1021" fmla="*/ 4636936 w 8978749"/>
              <a:gd name="connsiteY1021" fmla="*/ 3425723 h 4806848"/>
              <a:gd name="connsiteX1022" fmla="*/ 4636936 w 8978749"/>
              <a:gd name="connsiteY1022" fmla="*/ 3482873 h 4806848"/>
              <a:gd name="connsiteX1023" fmla="*/ 4578198 w 8978749"/>
              <a:gd name="connsiteY1023" fmla="*/ 3482873 h 4806848"/>
              <a:gd name="connsiteX1024" fmla="*/ 3236761 w 8978749"/>
              <a:gd name="connsiteY1024" fmla="*/ 3425723 h 4806848"/>
              <a:gd name="connsiteX1025" fmla="*/ 3293911 w 8978749"/>
              <a:gd name="connsiteY1025" fmla="*/ 3425723 h 4806848"/>
              <a:gd name="connsiteX1026" fmla="*/ 3293911 w 8978749"/>
              <a:gd name="connsiteY1026" fmla="*/ 3482873 h 4806848"/>
              <a:gd name="connsiteX1027" fmla="*/ 3236761 w 8978749"/>
              <a:gd name="connsiteY1027" fmla="*/ 3482873 h 4806848"/>
              <a:gd name="connsiteX1028" fmla="*/ 3157386 w 8978749"/>
              <a:gd name="connsiteY1028" fmla="*/ 3425723 h 4806848"/>
              <a:gd name="connsiteX1029" fmla="*/ 3216124 w 8978749"/>
              <a:gd name="connsiteY1029" fmla="*/ 3425723 h 4806848"/>
              <a:gd name="connsiteX1030" fmla="*/ 3216124 w 8978749"/>
              <a:gd name="connsiteY1030" fmla="*/ 3482873 h 4806848"/>
              <a:gd name="connsiteX1031" fmla="*/ 3157386 w 8978749"/>
              <a:gd name="connsiteY1031" fmla="*/ 3482873 h 4806848"/>
              <a:gd name="connsiteX1032" fmla="*/ 3078011 w 8978749"/>
              <a:gd name="connsiteY1032" fmla="*/ 3425723 h 4806848"/>
              <a:gd name="connsiteX1033" fmla="*/ 3136749 w 8978749"/>
              <a:gd name="connsiteY1033" fmla="*/ 3425723 h 4806848"/>
              <a:gd name="connsiteX1034" fmla="*/ 3136749 w 8978749"/>
              <a:gd name="connsiteY1034" fmla="*/ 3482873 h 4806848"/>
              <a:gd name="connsiteX1035" fmla="*/ 3078011 w 8978749"/>
              <a:gd name="connsiteY1035" fmla="*/ 3482873 h 4806848"/>
              <a:gd name="connsiteX1036" fmla="*/ 3000223 w 8978749"/>
              <a:gd name="connsiteY1036" fmla="*/ 3425723 h 4806848"/>
              <a:gd name="connsiteX1037" fmla="*/ 3057373 w 8978749"/>
              <a:gd name="connsiteY1037" fmla="*/ 3425723 h 4806848"/>
              <a:gd name="connsiteX1038" fmla="*/ 3057373 w 8978749"/>
              <a:gd name="connsiteY1038" fmla="*/ 3482873 h 4806848"/>
              <a:gd name="connsiteX1039" fmla="*/ 3000223 w 8978749"/>
              <a:gd name="connsiteY1039" fmla="*/ 3482873 h 4806848"/>
              <a:gd name="connsiteX1040" fmla="*/ 2920848 w 8978749"/>
              <a:gd name="connsiteY1040" fmla="*/ 3425723 h 4806848"/>
              <a:gd name="connsiteX1041" fmla="*/ 2979586 w 8978749"/>
              <a:gd name="connsiteY1041" fmla="*/ 3425723 h 4806848"/>
              <a:gd name="connsiteX1042" fmla="*/ 2979586 w 8978749"/>
              <a:gd name="connsiteY1042" fmla="*/ 3482873 h 4806848"/>
              <a:gd name="connsiteX1043" fmla="*/ 2920848 w 8978749"/>
              <a:gd name="connsiteY1043" fmla="*/ 3482873 h 4806848"/>
              <a:gd name="connsiteX1044" fmla="*/ 2841473 w 8978749"/>
              <a:gd name="connsiteY1044" fmla="*/ 3425723 h 4806848"/>
              <a:gd name="connsiteX1045" fmla="*/ 2900211 w 8978749"/>
              <a:gd name="connsiteY1045" fmla="*/ 3425723 h 4806848"/>
              <a:gd name="connsiteX1046" fmla="*/ 2900211 w 8978749"/>
              <a:gd name="connsiteY1046" fmla="*/ 3482873 h 4806848"/>
              <a:gd name="connsiteX1047" fmla="*/ 2841473 w 8978749"/>
              <a:gd name="connsiteY1047" fmla="*/ 3482873 h 4806848"/>
              <a:gd name="connsiteX1048" fmla="*/ 2763686 w 8978749"/>
              <a:gd name="connsiteY1048" fmla="*/ 3425723 h 4806848"/>
              <a:gd name="connsiteX1049" fmla="*/ 2820836 w 8978749"/>
              <a:gd name="connsiteY1049" fmla="*/ 3425723 h 4806848"/>
              <a:gd name="connsiteX1050" fmla="*/ 2820836 w 8978749"/>
              <a:gd name="connsiteY1050" fmla="*/ 3482873 h 4806848"/>
              <a:gd name="connsiteX1051" fmla="*/ 2763686 w 8978749"/>
              <a:gd name="connsiteY1051" fmla="*/ 3482873 h 4806848"/>
              <a:gd name="connsiteX1052" fmla="*/ 2684311 w 8978749"/>
              <a:gd name="connsiteY1052" fmla="*/ 3425723 h 4806848"/>
              <a:gd name="connsiteX1053" fmla="*/ 2743049 w 8978749"/>
              <a:gd name="connsiteY1053" fmla="*/ 3425723 h 4806848"/>
              <a:gd name="connsiteX1054" fmla="*/ 2743049 w 8978749"/>
              <a:gd name="connsiteY1054" fmla="*/ 3482873 h 4806848"/>
              <a:gd name="connsiteX1055" fmla="*/ 2684311 w 8978749"/>
              <a:gd name="connsiteY1055" fmla="*/ 3482873 h 4806848"/>
              <a:gd name="connsiteX1056" fmla="*/ 2604936 w 8978749"/>
              <a:gd name="connsiteY1056" fmla="*/ 3425723 h 4806848"/>
              <a:gd name="connsiteX1057" fmla="*/ 2663674 w 8978749"/>
              <a:gd name="connsiteY1057" fmla="*/ 3425723 h 4806848"/>
              <a:gd name="connsiteX1058" fmla="*/ 2663674 w 8978749"/>
              <a:gd name="connsiteY1058" fmla="*/ 3482873 h 4806848"/>
              <a:gd name="connsiteX1059" fmla="*/ 2604936 w 8978749"/>
              <a:gd name="connsiteY1059" fmla="*/ 3482873 h 4806848"/>
              <a:gd name="connsiteX1060" fmla="*/ 2525604 w 8978749"/>
              <a:gd name="connsiteY1060" fmla="*/ 3425723 h 4806848"/>
              <a:gd name="connsiteX1061" fmla="*/ 2584342 w 8978749"/>
              <a:gd name="connsiteY1061" fmla="*/ 3425723 h 4806848"/>
              <a:gd name="connsiteX1062" fmla="*/ 2584342 w 8978749"/>
              <a:gd name="connsiteY1062" fmla="*/ 3482873 h 4806848"/>
              <a:gd name="connsiteX1063" fmla="*/ 2525604 w 8978749"/>
              <a:gd name="connsiteY1063" fmla="*/ 3482873 h 4806848"/>
              <a:gd name="connsiteX1064" fmla="*/ 2447814 w 8978749"/>
              <a:gd name="connsiteY1064" fmla="*/ 3425723 h 4806848"/>
              <a:gd name="connsiteX1065" fmla="*/ 2504967 w 8978749"/>
              <a:gd name="connsiteY1065" fmla="*/ 3425723 h 4806848"/>
              <a:gd name="connsiteX1066" fmla="*/ 2504967 w 8978749"/>
              <a:gd name="connsiteY1066" fmla="*/ 3482873 h 4806848"/>
              <a:gd name="connsiteX1067" fmla="*/ 2447814 w 8978749"/>
              <a:gd name="connsiteY1067" fmla="*/ 3482873 h 4806848"/>
              <a:gd name="connsiteX1068" fmla="*/ 2368442 w 8978749"/>
              <a:gd name="connsiteY1068" fmla="*/ 3425723 h 4806848"/>
              <a:gd name="connsiteX1069" fmla="*/ 2427179 w 8978749"/>
              <a:gd name="connsiteY1069" fmla="*/ 3425723 h 4806848"/>
              <a:gd name="connsiteX1070" fmla="*/ 2427179 w 8978749"/>
              <a:gd name="connsiteY1070" fmla="*/ 3482873 h 4806848"/>
              <a:gd name="connsiteX1071" fmla="*/ 2368442 w 8978749"/>
              <a:gd name="connsiteY1071" fmla="*/ 3482873 h 4806848"/>
              <a:gd name="connsiteX1072" fmla="*/ 8920011 w 8978749"/>
              <a:gd name="connsiteY1072" fmla="*/ 3425722 h 4806848"/>
              <a:gd name="connsiteX1073" fmla="*/ 8978749 w 8978749"/>
              <a:gd name="connsiteY1073" fmla="*/ 3425722 h 4806848"/>
              <a:gd name="connsiteX1074" fmla="*/ 8978749 w 8978749"/>
              <a:gd name="connsiteY1074" fmla="*/ 3482872 h 4806848"/>
              <a:gd name="connsiteX1075" fmla="*/ 8920011 w 8978749"/>
              <a:gd name="connsiteY1075" fmla="*/ 3482872 h 4806848"/>
              <a:gd name="connsiteX1076" fmla="*/ 7815111 w 8978749"/>
              <a:gd name="connsiteY1076" fmla="*/ 3347935 h 4806848"/>
              <a:gd name="connsiteX1077" fmla="*/ 7873849 w 8978749"/>
              <a:gd name="connsiteY1077" fmla="*/ 3347935 h 4806848"/>
              <a:gd name="connsiteX1078" fmla="*/ 7873849 w 8978749"/>
              <a:gd name="connsiteY1078" fmla="*/ 3405085 h 4806848"/>
              <a:gd name="connsiteX1079" fmla="*/ 7815111 w 8978749"/>
              <a:gd name="connsiteY1079" fmla="*/ 3405085 h 4806848"/>
              <a:gd name="connsiteX1080" fmla="*/ 7657948 w 8978749"/>
              <a:gd name="connsiteY1080" fmla="*/ 3347935 h 4806848"/>
              <a:gd name="connsiteX1081" fmla="*/ 7715098 w 8978749"/>
              <a:gd name="connsiteY1081" fmla="*/ 3347935 h 4806848"/>
              <a:gd name="connsiteX1082" fmla="*/ 7715098 w 8978749"/>
              <a:gd name="connsiteY1082" fmla="*/ 3405085 h 4806848"/>
              <a:gd name="connsiteX1083" fmla="*/ 7657948 w 8978749"/>
              <a:gd name="connsiteY1083" fmla="*/ 3405085 h 4806848"/>
              <a:gd name="connsiteX1084" fmla="*/ 7578573 w 8978749"/>
              <a:gd name="connsiteY1084" fmla="*/ 3347935 h 4806848"/>
              <a:gd name="connsiteX1085" fmla="*/ 7637311 w 8978749"/>
              <a:gd name="connsiteY1085" fmla="*/ 3347935 h 4806848"/>
              <a:gd name="connsiteX1086" fmla="*/ 7637311 w 8978749"/>
              <a:gd name="connsiteY1086" fmla="*/ 3405085 h 4806848"/>
              <a:gd name="connsiteX1087" fmla="*/ 7578573 w 8978749"/>
              <a:gd name="connsiteY1087" fmla="*/ 3405085 h 4806848"/>
              <a:gd name="connsiteX1088" fmla="*/ 7499198 w 8978749"/>
              <a:gd name="connsiteY1088" fmla="*/ 3347935 h 4806848"/>
              <a:gd name="connsiteX1089" fmla="*/ 7557936 w 8978749"/>
              <a:gd name="connsiteY1089" fmla="*/ 3347935 h 4806848"/>
              <a:gd name="connsiteX1090" fmla="*/ 7557936 w 8978749"/>
              <a:gd name="connsiteY1090" fmla="*/ 3405085 h 4806848"/>
              <a:gd name="connsiteX1091" fmla="*/ 7499198 w 8978749"/>
              <a:gd name="connsiteY1091" fmla="*/ 3405085 h 4806848"/>
              <a:gd name="connsiteX1092" fmla="*/ 5368773 w 8978749"/>
              <a:gd name="connsiteY1092" fmla="*/ 3347935 h 4806848"/>
              <a:gd name="connsiteX1093" fmla="*/ 5425923 w 8978749"/>
              <a:gd name="connsiteY1093" fmla="*/ 3347935 h 4806848"/>
              <a:gd name="connsiteX1094" fmla="*/ 5425923 w 8978749"/>
              <a:gd name="connsiteY1094" fmla="*/ 3405085 h 4806848"/>
              <a:gd name="connsiteX1095" fmla="*/ 5368773 w 8978749"/>
              <a:gd name="connsiteY1095" fmla="*/ 3405085 h 4806848"/>
              <a:gd name="connsiteX1096" fmla="*/ 5210023 w 8978749"/>
              <a:gd name="connsiteY1096" fmla="*/ 3347935 h 4806848"/>
              <a:gd name="connsiteX1097" fmla="*/ 5268761 w 8978749"/>
              <a:gd name="connsiteY1097" fmla="*/ 3347935 h 4806848"/>
              <a:gd name="connsiteX1098" fmla="*/ 5268761 w 8978749"/>
              <a:gd name="connsiteY1098" fmla="*/ 3405085 h 4806848"/>
              <a:gd name="connsiteX1099" fmla="*/ 5210023 w 8978749"/>
              <a:gd name="connsiteY1099" fmla="*/ 3405085 h 4806848"/>
              <a:gd name="connsiteX1100" fmla="*/ 5130648 w 8978749"/>
              <a:gd name="connsiteY1100" fmla="*/ 3347935 h 4806848"/>
              <a:gd name="connsiteX1101" fmla="*/ 5189386 w 8978749"/>
              <a:gd name="connsiteY1101" fmla="*/ 3347935 h 4806848"/>
              <a:gd name="connsiteX1102" fmla="*/ 5189386 w 8978749"/>
              <a:gd name="connsiteY1102" fmla="*/ 3405085 h 4806848"/>
              <a:gd name="connsiteX1103" fmla="*/ 5130648 w 8978749"/>
              <a:gd name="connsiteY1103" fmla="*/ 3405085 h 4806848"/>
              <a:gd name="connsiteX1104" fmla="*/ 5052861 w 8978749"/>
              <a:gd name="connsiteY1104" fmla="*/ 3347935 h 4806848"/>
              <a:gd name="connsiteX1105" fmla="*/ 5110011 w 8978749"/>
              <a:gd name="connsiteY1105" fmla="*/ 3347935 h 4806848"/>
              <a:gd name="connsiteX1106" fmla="*/ 5110011 w 8978749"/>
              <a:gd name="connsiteY1106" fmla="*/ 3405085 h 4806848"/>
              <a:gd name="connsiteX1107" fmla="*/ 5052861 w 8978749"/>
              <a:gd name="connsiteY1107" fmla="*/ 3405085 h 4806848"/>
              <a:gd name="connsiteX1108" fmla="*/ 4973486 w 8978749"/>
              <a:gd name="connsiteY1108" fmla="*/ 3347935 h 4806848"/>
              <a:gd name="connsiteX1109" fmla="*/ 5030636 w 8978749"/>
              <a:gd name="connsiteY1109" fmla="*/ 3347935 h 4806848"/>
              <a:gd name="connsiteX1110" fmla="*/ 5030636 w 8978749"/>
              <a:gd name="connsiteY1110" fmla="*/ 3405085 h 4806848"/>
              <a:gd name="connsiteX1111" fmla="*/ 4973486 w 8978749"/>
              <a:gd name="connsiteY1111" fmla="*/ 3405085 h 4806848"/>
              <a:gd name="connsiteX1112" fmla="*/ 4894111 w 8978749"/>
              <a:gd name="connsiteY1112" fmla="*/ 3347935 h 4806848"/>
              <a:gd name="connsiteX1113" fmla="*/ 4952849 w 8978749"/>
              <a:gd name="connsiteY1113" fmla="*/ 3347935 h 4806848"/>
              <a:gd name="connsiteX1114" fmla="*/ 4952849 w 8978749"/>
              <a:gd name="connsiteY1114" fmla="*/ 3405085 h 4806848"/>
              <a:gd name="connsiteX1115" fmla="*/ 4894111 w 8978749"/>
              <a:gd name="connsiteY1115" fmla="*/ 3405085 h 4806848"/>
              <a:gd name="connsiteX1116" fmla="*/ 4814736 w 8978749"/>
              <a:gd name="connsiteY1116" fmla="*/ 3347935 h 4806848"/>
              <a:gd name="connsiteX1117" fmla="*/ 4873474 w 8978749"/>
              <a:gd name="connsiteY1117" fmla="*/ 3347935 h 4806848"/>
              <a:gd name="connsiteX1118" fmla="*/ 4873474 w 8978749"/>
              <a:gd name="connsiteY1118" fmla="*/ 3405085 h 4806848"/>
              <a:gd name="connsiteX1119" fmla="*/ 4814736 w 8978749"/>
              <a:gd name="connsiteY1119" fmla="*/ 3405085 h 4806848"/>
              <a:gd name="connsiteX1120" fmla="*/ 4736948 w 8978749"/>
              <a:gd name="connsiteY1120" fmla="*/ 3347935 h 4806848"/>
              <a:gd name="connsiteX1121" fmla="*/ 4794098 w 8978749"/>
              <a:gd name="connsiteY1121" fmla="*/ 3347935 h 4806848"/>
              <a:gd name="connsiteX1122" fmla="*/ 4794098 w 8978749"/>
              <a:gd name="connsiteY1122" fmla="*/ 3405085 h 4806848"/>
              <a:gd name="connsiteX1123" fmla="*/ 4736948 w 8978749"/>
              <a:gd name="connsiteY1123" fmla="*/ 3405085 h 4806848"/>
              <a:gd name="connsiteX1124" fmla="*/ 4657573 w 8978749"/>
              <a:gd name="connsiteY1124" fmla="*/ 3347935 h 4806848"/>
              <a:gd name="connsiteX1125" fmla="*/ 4716311 w 8978749"/>
              <a:gd name="connsiteY1125" fmla="*/ 3347935 h 4806848"/>
              <a:gd name="connsiteX1126" fmla="*/ 4716311 w 8978749"/>
              <a:gd name="connsiteY1126" fmla="*/ 3405085 h 4806848"/>
              <a:gd name="connsiteX1127" fmla="*/ 4657573 w 8978749"/>
              <a:gd name="connsiteY1127" fmla="*/ 3405085 h 4806848"/>
              <a:gd name="connsiteX1128" fmla="*/ 3236761 w 8978749"/>
              <a:gd name="connsiteY1128" fmla="*/ 3347935 h 4806848"/>
              <a:gd name="connsiteX1129" fmla="*/ 3293911 w 8978749"/>
              <a:gd name="connsiteY1129" fmla="*/ 3347935 h 4806848"/>
              <a:gd name="connsiteX1130" fmla="*/ 3293911 w 8978749"/>
              <a:gd name="connsiteY1130" fmla="*/ 3405085 h 4806848"/>
              <a:gd name="connsiteX1131" fmla="*/ 3236761 w 8978749"/>
              <a:gd name="connsiteY1131" fmla="*/ 3405085 h 4806848"/>
              <a:gd name="connsiteX1132" fmla="*/ 3157386 w 8978749"/>
              <a:gd name="connsiteY1132" fmla="*/ 3347935 h 4806848"/>
              <a:gd name="connsiteX1133" fmla="*/ 3216124 w 8978749"/>
              <a:gd name="connsiteY1133" fmla="*/ 3347935 h 4806848"/>
              <a:gd name="connsiteX1134" fmla="*/ 3216124 w 8978749"/>
              <a:gd name="connsiteY1134" fmla="*/ 3405085 h 4806848"/>
              <a:gd name="connsiteX1135" fmla="*/ 3157386 w 8978749"/>
              <a:gd name="connsiteY1135" fmla="*/ 3405085 h 4806848"/>
              <a:gd name="connsiteX1136" fmla="*/ 3078011 w 8978749"/>
              <a:gd name="connsiteY1136" fmla="*/ 3347935 h 4806848"/>
              <a:gd name="connsiteX1137" fmla="*/ 3136749 w 8978749"/>
              <a:gd name="connsiteY1137" fmla="*/ 3347935 h 4806848"/>
              <a:gd name="connsiteX1138" fmla="*/ 3136749 w 8978749"/>
              <a:gd name="connsiteY1138" fmla="*/ 3405085 h 4806848"/>
              <a:gd name="connsiteX1139" fmla="*/ 3078011 w 8978749"/>
              <a:gd name="connsiteY1139" fmla="*/ 3405085 h 4806848"/>
              <a:gd name="connsiteX1140" fmla="*/ 3000223 w 8978749"/>
              <a:gd name="connsiteY1140" fmla="*/ 3347935 h 4806848"/>
              <a:gd name="connsiteX1141" fmla="*/ 3057373 w 8978749"/>
              <a:gd name="connsiteY1141" fmla="*/ 3347935 h 4806848"/>
              <a:gd name="connsiteX1142" fmla="*/ 3057373 w 8978749"/>
              <a:gd name="connsiteY1142" fmla="*/ 3405085 h 4806848"/>
              <a:gd name="connsiteX1143" fmla="*/ 3000223 w 8978749"/>
              <a:gd name="connsiteY1143" fmla="*/ 3405085 h 4806848"/>
              <a:gd name="connsiteX1144" fmla="*/ 2920848 w 8978749"/>
              <a:gd name="connsiteY1144" fmla="*/ 3347935 h 4806848"/>
              <a:gd name="connsiteX1145" fmla="*/ 2979586 w 8978749"/>
              <a:gd name="connsiteY1145" fmla="*/ 3347935 h 4806848"/>
              <a:gd name="connsiteX1146" fmla="*/ 2979586 w 8978749"/>
              <a:gd name="connsiteY1146" fmla="*/ 3405085 h 4806848"/>
              <a:gd name="connsiteX1147" fmla="*/ 2920848 w 8978749"/>
              <a:gd name="connsiteY1147" fmla="*/ 3405085 h 4806848"/>
              <a:gd name="connsiteX1148" fmla="*/ 2841473 w 8978749"/>
              <a:gd name="connsiteY1148" fmla="*/ 3347935 h 4806848"/>
              <a:gd name="connsiteX1149" fmla="*/ 2900211 w 8978749"/>
              <a:gd name="connsiteY1149" fmla="*/ 3347935 h 4806848"/>
              <a:gd name="connsiteX1150" fmla="*/ 2900211 w 8978749"/>
              <a:gd name="connsiteY1150" fmla="*/ 3405085 h 4806848"/>
              <a:gd name="connsiteX1151" fmla="*/ 2841473 w 8978749"/>
              <a:gd name="connsiteY1151" fmla="*/ 3405085 h 4806848"/>
              <a:gd name="connsiteX1152" fmla="*/ 2763686 w 8978749"/>
              <a:gd name="connsiteY1152" fmla="*/ 3347935 h 4806848"/>
              <a:gd name="connsiteX1153" fmla="*/ 2820836 w 8978749"/>
              <a:gd name="connsiteY1153" fmla="*/ 3347935 h 4806848"/>
              <a:gd name="connsiteX1154" fmla="*/ 2820836 w 8978749"/>
              <a:gd name="connsiteY1154" fmla="*/ 3405085 h 4806848"/>
              <a:gd name="connsiteX1155" fmla="*/ 2763686 w 8978749"/>
              <a:gd name="connsiteY1155" fmla="*/ 3405085 h 4806848"/>
              <a:gd name="connsiteX1156" fmla="*/ 2684311 w 8978749"/>
              <a:gd name="connsiteY1156" fmla="*/ 3347935 h 4806848"/>
              <a:gd name="connsiteX1157" fmla="*/ 2743049 w 8978749"/>
              <a:gd name="connsiteY1157" fmla="*/ 3347935 h 4806848"/>
              <a:gd name="connsiteX1158" fmla="*/ 2743049 w 8978749"/>
              <a:gd name="connsiteY1158" fmla="*/ 3405085 h 4806848"/>
              <a:gd name="connsiteX1159" fmla="*/ 2684311 w 8978749"/>
              <a:gd name="connsiteY1159" fmla="*/ 3405085 h 4806848"/>
              <a:gd name="connsiteX1160" fmla="*/ 2604936 w 8978749"/>
              <a:gd name="connsiteY1160" fmla="*/ 3347935 h 4806848"/>
              <a:gd name="connsiteX1161" fmla="*/ 2663674 w 8978749"/>
              <a:gd name="connsiteY1161" fmla="*/ 3347935 h 4806848"/>
              <a:gd name="connsiteX1162" fmla="*/ 2663674 w 8978749"/>
              <a:gd name="connsiteY1162" fmla="*/ 3405085 h 4806848"/>
              <a:gd name="connsiteX1163" fmla="*/ 2604936 w 8978749"/>
              <a:gd name="connsiteY1163" fmla="*/ 3405085 h 4806848"/>
              <a:gd name="connsiteX1164" fmla="*/ 2525608 w 8978749"/>
              <a:gd name="connsiteY1164" fmla="*/ 3347935 h 4806848"/>
              <a:gd name="connsiteX1165" fmla="*/ 2584346 w 8978749"/>
              <a:gd name="connsiteY1165" fmla="*/ 3347935 h 4806848"/>
              <a:gd name="connsiteX1166" fmla="*/ 2584346 w 8978749"/>
              <a:gd name="connsiteY1166" fmla="*/ 3405085 h 4806848"/>
              <a:gd name="connsiteX1167" fmla="*/ 2525608 w 8978749"/>
              <a:gd name="connsiteY1167" fmla="*/ 3405085 h 4806848"/>
              <a:gd name="connsiteX1168" fmla="*/ 2447818 w 8978749"/>
              <a:gd name="connsiteY1168" fmla="*/ 3347935 h 4806848"/>
              <a:gd name="connsiteX1169" fmla="*/ 2504971 w 8978749"/>
              <a:gd name="connsiteY1169" fmla="*/ 3347935 h 4806848"/>
              <a:gd name="connsiteX1170" fmla="*/ 2504971 w 8978749"/>
              <a:gd name="connsiteY1170" fmla="*/ 3405085 h 4806848"/>
              <a:gd name="connsiteX1171" fmla="*/ 2447818 w 8978749"/>
              <a:gd name="connsiteY1171" fmla="*/ 3405085 h 4806848"/>
              <a:gd name="connsiteX1172" fmla="*/ 2368446 w 8978749"/>
              <a:gd name="connsiteY1172" fmla="*/ 3347935 h 4806848"/>
              <a:gd name="connsiteX1173" fmla="*/ 2427183 w 8978749"/>
              <a:gd name="connsiteY1173" fmla="*/ 3347935 h 4806848"/>
              <a:gd name="connsiteX1174" fmla="*/ 2427183 w 8978749"/>
              <a:gd name="connsiteY1174" fmla="*/ 3405085 h 4806848"/>
              <a:gd name="connsiteX1175" fmla="*/ 2368446 w 8978749"/>
              <a:gd name="connsiteY1175" fmla="*/ 3405085 h 4806848"/>
              <a:gd name="connsiteX1176" fmla="*/ 8289773 w 8978749"/>
              <a:gd name="connsiteY1176" fmla="*/ 3270148 h 4806848"/>
              <a:gd name="connsiteX1177" fmla="*/ 8346923 w 8978749"/>
              <a:gd name="connsiteY1177" fmla="*/ 3270148 h 4806848"/>
              <a:gd name="connsiteX1178" fmla="*/ 8346923 w 8978749"/>
              <a:gd name="connsiteY1178" fmla="*/ 3327298 h 4806848"/>
              <a:gd name="connsiteX1179" fmla="*/ 8289773 w 8978749"/>
              <a:gd name="connsiteY1179" fmla="*/ 3327298 h 4806848"/>
              <a:gd name="connsiteX1180" fmla="*/ 8210398 w 8978749"/>
              <a:gd name="connsiteY1180" fmla="*/ 3270148 h 4806848"/>
              <a:gd name="connsiteX1181" fmla="*/ 8267548 w 8978749"/>
              <a:gd name="connsiteY1181" fmla="*/ 3270148 h 4806848"/>
              <a:gd name="connsiteX1182" fmla="*/ 8267548 w 8978749"/>
              <a:gd name="connsiteY1182" fmla="*/ 3327298 h 4806848"/>
              <a:gd name="connsiteX1183" fmla="*/ 8210398 w 8978749"/>
              <a:gd name="connsiteY1183" fmla="*/ 3327298 h 4806848"/>
              <a:gd name="connsiteX1184" fmla="*/ 8051648 w 8978749"/>
              <a:gd name="connsiteY1184" fmla="*/ 3270148 h 4806848"/>
              <a:gd name="connsiteX1185" fmla="*/ 8110386 w 8978749"/>
              <a:gd name="connsiteY1185" fmla="*/ 3270148 h 4806848"/>
              <a:gd name="connsiteX1186" fmla="*/ 8110386 w 8978749"/>
              <a:gd name="connsiteY1186" fmla="*/ 3327298 h 4806848"/>
              <a:gd name="connsiteX1187" fmla="*/ 8051648 w 8978749"/>
              <a:gd name="connsiteY1187" fmla="*/ 3327298 h 4806848"/>
              <a:gd name="connsiteX1188" fmla="*/ 7973861 w 8978749"/>
              <a:gd name="connsiteY1188" fmla="*/ 3270148 h 4806848"/>
              <a:gd name="connsiteX1189" fmla="*/ 8031011 w 8978749"/>
              <a:gd name="connsiteY1189" fmla="*/ 3270148 h 4806848"/>
              <a:gd name="connsiteX1190" fmla="*/ 8031011 w 8978749"/>
              <a:gd name="connsiteY1190" fmla="*/ 3327298 h 4806848"/>
              <a:gd name="connsiteX1191" fmla="*/ 7973861 w 8978749"/>
              <a:gd name="connsiteY1191" fmla="*/ 3327298 h 4806848"/>
              <a:gd name="connsiteX1192" fmla="*/ 7894486 w 8978749"/>
              <a:gd name="connsiteY1192" fmla="*/ 3270148 h 4806848"/>
              <a:gd name="connsiteX1193" fmla="*/ 7951636 w 8978749"/>
              <a:gd name="connsiteY1193" fmla="*/ 3270148 h 4806848"/>
              <a:gd name="connsiteX1194" fmla="*/ 7951636 w 8978749"/>
              <a:gd name="connsiteY1194" fmla="*/ 3327298 h 4806848"/>
              <a:gd name="connsiteX1195" fmla="*/ 7894486 w 8978749"/>
              <a:gd name="connsiteY1195" fmla="*/ 3327298 h 4806848"/>
              <a:gd name="connsiteX1196" fmla="*/ 7342036 w 8978749"/>
              <a:gd name="connsiteY1196" fmla="*/ 3270148 h 4806848"/>
              <a:gd name="connsiteX1197" fmla="*/ 7400774 w 8978749"/>
              <a:gd name="connsiteY1197" fmla="*/ 3270148 h 4806848"/>
              <a:gd name="connsiteX1198" fmla="*/ 7400774 w 8978749"/>
              <a:gd name="connsiteY1198" fmla="*/ 3327298 h 4806848"/>
              <a:gd name="connsiteX1199" fmla="*/ 7342036 w 8978749"/>
              <a:gd name="connsiteY1199" fmla="*/ 3327298 h 4806848"/>
              <a:gd name="connsiteX1200" fmla="*/ 7262661 w 8978749"/>
              <a:gd name="connsiteY1200" fmla="*/ 3270148 h 4806848"/>
              <a:gd name="connsiteX1201" fmla="*/ 7321399 w 8978749"/>
              <a:gd name="connsiteY1201" fmla="*/ 3270148 h 4806848"/>
              <a:gd name="connsiteX1202" fmla="*/ 7321399 w 8978749"/>
              <a:gd name="connsiteY1202" fmla="*/ 3327298 h 4806848"/>
              <a:gd name="connsiteX1203" fmla="*/ 7262661 w 8978749"/>
              <a:gd name="connsiteY1203" fmla="*/ 3327298 h 4806848"/>
              <a:gd name="connsiteX1204" fmla="*/ 7183286 w 8978749"/>
              <a:gd name="connsiteY1204" fmla="*/ 3270148 h 4806848"/>
              <a:gd name="connsiteX1205" fmla="*/ 7242024 w 8978749"/>
              <a:gd name="connsiteY1205" fmla="*/ 3270148 h 4806848"/>
              <a:gd name="connsiteX1206" fmla="*/ 7242024 w 8978749"/>
              <a:gd name="connsiteY1206" fmla="*/ 3327298 h 4806848"/>
              <a:gd name="connsiteX1207" fmla="*/ 7183286 w 8978749"/>
              <a:gd name="connsiteY1207" fmla="*/ 3327298 h 4806848"/>
              <a:gd name="connsiteX1208" fmla="*/ 5210023 w 8978749"/>
              <a:gd name="connsiteY1208" fmla="*/ 3270148 h 4806848"/>
              <a:gd name="connsiteX1209" fmla="*/ 5268761 w 8978749"/>
              <a:gd name="connsiteY1209" fmla="*/ 3270148 h 4806848"/>
              <a:gd name="connsiteX1210" fmla="*/ 5268761 w 8978749"/>
              <a:gd name="connsiteY1210" fmla="*/ 3327298 h 4806848"/>
              <a:gd name="connsiteX1211" fmla="*/ 5210023 w 8978749"/>
              <a:gd name="connsiteY1211" fmla="*/ 3327298 h 4806848"/>
              <a:gd name="connsiteX1212" fmla="*/ 5130648 w 8978749"/>
              <a:gd name="connsiteY1212" fmla="*/ 3270148 h 4806848"/>
              <a:gd name="connsiteX1213" fmla="*/ 5189386 w 8978749"/>
              <a:gd name="connsiteY1213" fmla="*/ 3270148 h 4806848"/>
              <a:gd name="connsiteX1214" fmla="*/ 5189386 w 8978749"/>
              <a:gd name="connsiteY1214" fmla="*/ 3327298 h 4806848"/>
              <a:gd name="connsiteX1215" fmla="*/ 5130648 w 8978749"/>
              <a:gd name="connsiteY1215" fmla="*/ 3327298 h 4806848"/>
              <a:gd name="connsiteX1216" fmla="*/ 5052861 w 8978749"/>
              <a:gd name="connsiteY1216" fmla="*/ 3270148 h 4806848"/>
              <a:gd name="connsiteX1217" fmla="*/ 5110011 w 8978749"/>
              <a:gd name="connsiteY1217" fmla="*/ 3270148 h 4806848"/>
              <a:gd name="connsiteX1218" fmla="*/ 5110011 w 8978749"/>
              <a:gd name="connsiteY1218" fmla="*/ 3327298 h 4806848"/>
              <a:gd name="connsiteX1219" fmla="*/ 5052861 w 8978749"/>
              <a:gd name="connsiteY1219" fmla="*/ 3327298 h 4806848"/>
              <a:gd name="connsiteX1220" fmla="*/ 4973486 w 8978749"/>
              <a:gd name="connsiteY1220" fmla="*/ 3270148 h 4806848"/>
              <a:gd name="connsiteX1221" fmla="*/ 5030636 w 8978749"/>
              <a:gd name="connsiteY1221" fmla="*/ 3270148 h 4806848"/>
              <a:gd name="connsiteX1222" fmla="*/ 5030636 w 8978749"/>
              <a:gd name="connsiteY1222" fmla="*/ 3327298 h 4806848"/>
              <a:gd name="connsiteX1223" fmla="*/ 4973486 w 8978749"/>
              <a:gd name="connsiteY1223" fmla="*/ 3327298 h 4806848"/>
              <a:gd name="connsiteX1224" fmla="*/ 4894111 w 8978749"/>
              <a:gd name="connsiteY1224" fmla="*/ 3270148 h 4806848"/>
              <a:gd name="connsiteX1225" fmla="*/ 4952849 w 8978749"/>
              <a:gd name="connsiteY1225" fmla="*/ 3270148 h 4806848"/>
              <a:gd name="connsiteX1226" fmla="*/ 4952849 w 8978749"/>
              <a:gd name="connsiteY1226" fmla="*/ 3327298 h 4806848"/>
              <a:gd name="connsiteX1227" fmla="*/ 4894111 w 8978749"/>
              <a:gd name="connsiteY1227" fmla="*/ 3327298 h 4806848"/>
              <a:gd name="connsiteX1228" fmla="*/ 4814736 w 8978749"/>
              <a:gd name="connsiteY1228" fmla="*/ 3270148 h 4806848"/>
              <a:gd name="connsiteX1229" fmla="*/ 4873474 w 8978749"/>
              <a:gd name="connsiteY1229" fmla="*/ 3270148 h 4806848"/>
              <a:gd name="connsiteX1230" fmla="*/ 4873474 w 8978749"/>
              <a:gd name="connsiteY1230" fmla="*/ 3327298 h 4806848"/>
              <a:gd name="connsiteX1231" fmla="*/ 4814736 w 8978749"/>
              <a:gd name="connsiteY1231" fmla="*/ 3327298 h 4806848"/>
              <a:gd name="connsiteX1232" fmla="*/ 4736948 w 8978749"/>
              <a:gd name="connsiteY1232" fmla="*/ 3270148 h 4806848"/>
              <a:gd name="connsiteX1233" fmla="*/ 4794098 w 8978749"/>
              <a:gd name="connsiteY1233" fmla="*/ 3270148 h 4806848"/>
              <a:gd name="connsiteX1234" fmla="*/ 4794098 w 8978749"/>
              <a:gd name="connsiteY1234" fmla="*/ 3327298 h 4806848"/>
              <a:gd name="connsiteX1235" fmla="*/ 4736948 w 8978749"/>
              <a:gd name="connsiteY1235" fmla="*/ 3327298 h 4806848"/>
              <a:gd name="connsiteX1236" fmla="*/ 4657573 w 8978749"/>
              <a:gd name="connsiteY1236" fmla="*/ 3270148 h 4806848"/>
              <a:gd name="connsiteX1237" fmla="*/ 4716311 w 8978749"/>
              <a:gd name="connsiteY1237" fmla="*/ 3270148 h 4806848"/>
              <a:gd name="connsiteX1238" fmla="*/ 4716311 w 8978749"/>
              <a:gd name="connsiteY1238" fmla="*/ 3327298 h 4806848"/>
              <a:gd name="connsiteX1239" fmla="*/ 4657573 w 8978749"/>
              <a:gd name="connsiteY1239" fmla="*/ 3327298 h 4806848"/>
              <a:gd name="connsiteX1240" fmla="*/ 4578198 w 8978749"/>
              <a:gd name="connsiteY1240" fmla="*/ 3270148 h 4806848"/>
              <a:gd name="connsiteX1241" fmla="*/ 4636936 w 8978749"/>
              <a:gd name="connsiteY1241" fmla="*/ 3270148 h 4806848"/>
              <a:gd name="connsiteX1242" fmla="*/ 4636936 w 8978749"/>
              <a:gd name="connsiteY1242" fmla="*/ 3327298 h 4806848"/>
              <a:gd name="connsiteX1243" fmla="*/ 4578198 w 8978749"/>
              <a:gd name="connsiteY1243" fmla="*/ 3327298 h 4806848"/>
              <a:gd name="connsiteX1244" fmla="*/ 3314548 w 8978749"/>
              <a:gd name="connsiteY1244" fmla="*/ 3270148 h 4806848"/>
              <a:gd name="connsiteX1245" fmla="*/ 3373286 w 8978749"/>
              <a:gd name="connsiteY1245" fmla="*/ 3270148 h 4806848"/>
              <a:gd name="connsiteX1246" fmla="*/ 3373286 w 8978749"/>
              <a:gd name="connsiteY1246" fmla="*/ 3327298 h 4806848"/>
              <a:gd name="connsiteX1247" fmla="*/ 3314548 w 8978749"/>
              <a:gd name="connsiteY1247" fmla="*/ 3327298 h 4806848"/>
              <a:gd name="connsiteX1248" fmla="*/ 3236761 w 8978749"/>
              <a:gd name="connsiteY1248" fmla="*/ 3270148 h 4806848"/>
              <a:gd name="connsiteX1249" fmla="*/ 3293911 w 8978749"/>
              <a:gd name="connsiteY1249" fmla="*/ 3270148 h 4806848"/>
              <a:gd name="connsiteX1250" fmla="*/ 3293911 w 8978749"/>
              <a:gd name="connsiteY1250" fmla="*/ 3327298 h 4806848"/>
              <a:gd name="connsiteX1251" fmla="*/ 3236761 w 8978749"/>
              <a:gd name="connsiteY1251" fmla="*/ 3327298 h 4806848"/>
              <a:gd name="connsiteX1252" fmla="*/ 3157386 w 8978749"/>
              <a:gd name="connsiteY1252" fmla="*/ 3270148 h 4806848"/>
              <a:gd name="connsiteX1253" fmla="*/ 3216124 w 8978749"/>
              <a:gd name="connsiteY1253" fmla="*/ 3270148 h 4806848"/>
              <a:gd name="connsiteX1254" fmla="*/ 3216124 w 8978749"/>
              <a:gd name="connsiteY1254" fmla="*/ 3327298 h 4806848"/>
              <a:gd name="connsiteX1255" fmla="*/ 3157386 w 8978749"/>
              <a:gd name="connsiteY1255" fmla="*/ 3327298 h 4806848"/>
              <a:gd name="connsiteX1256" fmla="*/ 3078011 w 8978749"/>
              <a:gd name="connsiteY1256" fmla="*/ 3270148 h 4806848"/>
              <a:gd name="connsiteX1257" fmla="*/ 3136749 w 8978749"/>
              <a:gd name="connsiteY1257" fmla="*/ 3270148 h 4806848"/>
              <a:gd name="connsiteX1258" fmla="*/ 3136749 w 8978749"/>
              <a:gd name="connsiteY1258" fmla="*/ 3327298 h 4806848"/>
              <a:gd name="connsiteX1259" fmla="*/ 3078011 w 8978749"/>
              <a:gd name="connsiteY1259" fmla="*/ 3327298 h 4806848"/>
              <a:gd name="connsiteX1260" fmla="*/ 3000223 w 8978749"/>
              <a:gd name="connsiteY1260" fmla="*/ 3270148 h 4806848"/>
              <a:gd name="connsiteX1261" fmla="*/ 3057373 w 8978749"/>
              <a:gd name="connsiteY1261" fmla="*/ 3270148 h 4806848"/>
              <a:gd name="connsiteX1262" fmla="*/ 3057373 w 8978749"/>
              <a:gd name="connsiteY1262" fmla="*/ 3327298 h 4806848"/>
              <a:gd name="connsiteX1263" fmla="*/ 3000223 w 8978749"/>
              <a:gd name="connsiteY1263" fmla="*/ 3327298 h 4806848"/>
              <a:gd name="connsiteX1264" fmla="*/ 2920848 w 8978749"/>
              <a:gd name="connsiteY1264" fmla="*/ 3270148 h 4806848"/>
              <a:gd name="connsiteX1265" fmla="*/ 2979586 w 8978749"/>
              <a:gd name="connsiteY1265" fmla="*/ 3270148 h 4806848"/>
              <a:gd name="connsiteX1266" fmla="*/ 2979586 w 8978749"/>
              <a:gd name="connsiteY1266" fmla="*/ 3327298 h 4806848"/>
              <a:gd name="connsiteX1267" fmla="*/ 2920848 w 8978749"/>
              <a:gd name="connsiteY1267" fmla="*/ 3327298 h 4806848"/>
              <a:gd name="connsiteX1268" fmla="*/ 2841473 w 8978749"/>
              <a:gd name="connsiteY1268" fmla="*/ 3270148 h 4806848"/>
              <a:gd name="connsiteX1269" fmla="*/ 2900211 w 8978749"/>
              <a:gd name="connsiteY1269" fmla="*/ 3270148 h 4806848"/>
              <a:gd name="connsiteX1270" fmla="*/ 2900211 w 8978749"/>
              <a:gd name="connsiteY1270" fmla="*/ 3327298 h 4806848"/>
              <a:gd name="connsiteX1271" fmla="*/ 2841473 w 8978749"/>
              <a:gd name="connsiteY1271" fmla="*/ 3327298 h 4806848"/>
              <a:gd name="connsiteX1272" fmla="*/ 2763686 w 8978749"/>
              <a:gd name="connsiteY1272" fmla="*/ 3270148 h 4806848"/>
              <a:gd name="connsiteX1273" fmla="*/ 2820836 w 8978749"/>
              <a:gd name="connsiteY1273" fmla="*/ 3270148 h 4806848"/>
              <a:gd name="connsiteX1274" fmla="*/ 2820836 w 8978749"/>
              <a:gd name="connsiteY1274" fmla="*/ 3327298 h 4806848"/>
              <a:gd name="connsiteX1275" fmla="*/ 2763686 w 8978749"/>
              <a:gd name="connsiteY1275" fmla="*/ 3327298 h 4806848"/>
              <a:gd name="connsiteX1276" fmla="*/ 2684311 w 8978749"/>
              <a:gd name="connsiteY1276" fmla="*/ 3270148 h 4806848"/>
              <a:gd name="connsiteX1277" fmla="*/ 2743049 w 8978749"/>
              <a:gd name="connsiteY1277" fmla="*/ 3270148 h 4806848"/>
              <a:gd name="connsiteX1278" fmla="*/ 2743049 w 8978749"/>
              <a:gd name="connsiteY1278" fmla="*/ 3327298 h 4806848"/>
              <a:gd name="connsiteX1279" fmla="*/ 2684311 w 8978749"/>
              <a:gd name="connsiteY1279" fmla="*/ 3327298 h 4806848"/>
              <a:gd name="connsiteX1280" fmla="*/ 2604936 w 8978749"/>
              <a:gd name="connsiteY1280" fmla="*/ 3270148 h 4806848"/>
              <a:gd name="connsiteX1281" fmla="*/ 2663674 w 8978749"/>
              <a:gd name="connsiteY1281" fmla="*/ 3270148 h 4806848"/>
              <a:gd name="connsiteX1282" fmla="*/ 2663674 w 8978749"/>
              <a:gd name="connsiteY1282" fmla="*/ 3327298 h 4806848"/>
              <a:gd name="connsiteX1283" fmla="*/ 2604936 w 8978749"/>
              <a:gd name="connsiteY1283" fmla="*/ 3327298 h 4806848"/>
              <a:gd name="connsiteX1284" fmla="*/ 2525613 w 8978749"/>
              <a:gd name="connsiteY1284" fmla="*/ 3270148 h 4806848"/>
              <a:gd name="connsiteX1285" fmla="*/ 2584350 w 8978749"/>
              <a:gd name="connsiteY1285" fmla="*/ 3270148 h 4806848"/>
              <a:gd name="connsiteX1286" fmla="*/ 2584350 w 8978749"/>
              <a:gd name="connsiteY1286" fmla="*/ 3327298 h 4806848"/>
              <a:gd name="connsiteX1287" fmla="*/ 2525613 w 8978749"/>
              <a:gd name="connsiteY1287" fmla="*/ 3327298 h 4806848"/>
              <a:gd name="connsiteX1288" fmla="*/ 2447823 w 8978749"/>
              <a:gd name="connsiteY1288" fmla="*/ 3270148 h 4806848"/>
              <a:gd name="connsiteX1289" fmla="*/ 2504976 w 8978749"/>
              <a:gd name="connsiteY1289" fmla="*/ 3270148 h 4806848"/>
              <a:gd name="connsiteX1290" fmla="*/ 2504976 w 8978749"/>
              <a:gd name="connsiteY1290" fmla="*/ 3327298 h 4806848"/>
              <a:gd name="connsiteX1291" fmla="*/ 2447823 w 8978749"/>
              <a:gd name="connsiteY1291" fmla="*/ 3327298 h 4806848"/>
              <a:gd name="connsiteX1292" fmla="*/ 2368452 w 8978749"/>
              <a:gd name="connsiteY1292" fmla="*/ 3270148 h 4806848"/>
              <a:gd name="connsiteX1293" fmla="*/ 2427187 w 8978749"/>
              <a:gd name="connsiteY1293" fmla="*/ 3270148 h 4806848"/>
              <a:gd name="connsiteX1294" fmla="*/ 2427187 w 8978749"/>
              <a:gd name="connsiteY1294" fmla="*/ 3327298 h 4806848"/>
              <a:gd name="connsiteX1295" fmla="*/ 2368452 w 8978749"/>
              <a:gd name="connsiteY1295" fmla="*/ 3327298 h 4806848"/>
              <a:gd name="connsiteX1296" fmla="*/ 2289075 w 8978749"/>
              <a:gd name="connsiteY1296" fmla="*/ 3270148 h 4806848"/>
              <a:gd name="connsiteX1297" fmla="*/ 2347814 w 8978749"/>
              <a:gd name="connsiteY1297" fmla="*/ 3270148 h 4806848"/>
              <a:gd name="connsiteX1298" fmla="*/ 2347814 w 8978749"/>
              <a:gd name="connsiteY1298" fmla="*/ 3327298 h 4806848"/>
              <a:gd name="connsiteX1299" fmla="*/ 2289075 w 8978749"/>
              <a:gd name="connsiteY1299" fmla="*/ 3327298 h 4806848"/>
              <a:gd name="connsiteX1300" fmla="*/ 8210398 w 8978749"/>
              <a:gd name="connsiteY1300" fmla="*/ 3192360 h 4806848"/>
              <a:gd name="connsiteX1301" fmla="*/ 8267548 w 8978749"/>
              <a:gd name="connsiteY1301" fmla="*/ 3192360 h 4806848"/>
              <a:gd name="connsiteX1302" fmla="*/ 8267548 w 8978749"/>
              <a:gd name="connsiteY1302" fmla="*/ 3249510 h 4806848"/>
              <a:gd name="connsiteX1303" fmla="*/ 8210398 w 8978749"/>
              <a:gd name="connsiteY1303" fmla="*/ 3249510 h 4806848"/>
              <a:gd name="connsiteX1304" fmla="*/ 8131023 w 8978749"/>
              <a:gd name="connsiteY1304" fmla="*/ 3192360 h 4806848"/>
              <a:gd name="connsiteX1305" fmla="*/ 8189761 w 8978749"/>
              <a:gd name="connsiteY1305" fmla="*/ 3192360 h 4806848"/>
              <a:gd name="connsiteX1306" fmla="*/ 8189761 w 8978749"/>
              <a:gd name="connsiteY1306" fmla="*/ 3249510 h 4806848"/>
              <a:gd name="connsiteX1307" fmla="*/ 8131023 w 8978749"/>
              <a:gd name="connsiteY1307" fmla="*/ 3249510 h 4806848"/>
              <a:gd name="connsiteX1308" fmla="*/ 7894486 w 8978749"/>
              <a:gd name="connsiteY1308" fmla="*/ 3192360 h 4806848"/>
              <a:gd name="connsiteX1309" fmla="*/ 7951636 w 8978749"/>
              <a:gd name="connsiteY1309" fmla="*/ 3192360 h 4806848"/>
              <a:gd name="connsiteX1310" fmla="*/ 7951636 w 8978749"/>
              <a:gd name="connsiteY1310" fmla="*/ 3249510 h 4806848"/>
              <a:gd name="connsiteX1311" fmla="*/ 7894486 w 8978749"/>
              <a:gd name="connsiteY1311" fmla="*/ 3249510 h 4806848"/>
              <a:gd name="connsiteX1312" fmla="*/ 7815111 w 8978749"/>
              <a:gd name="connsiteY1312" fmla="*/ 3192360 h 4806848"/>
              <a:gd name="connsiteX1313" fmla="*/ 7873849 w 8978749"/>
              <a:gd name="connsiteY1313" fmla="*/ 3192360 h 4806848"/>
              <a:gd name="connsiteX1314" fmla="*/ 7873849 w 8978749"/>
              <a:gd name="connsiteY1314" fmla="*/ 3249510 h 4806848"/>
              <a:gd name="connsiteX1315" fmla="*/ 7815111 w 8978749"/>
              <a:gd name="connsiteY1315" fmla="*/ 3249510 h 4806848"/>
              <a:gd name="connsiteX1316" fmla="*/ 7735736 w 8978749"/>
              <a:gd name="connsiteY1316" fmla="*/ 3192360 h 4806848"/>
              <a:gd name="connsiteX1317" fmla="*/ 7794474 w 8978749"/>
              <a:gd name="connsiteY1317" fmla="*/ 3192360 h 4806848"/>
              <a:gd name="connsiteX1318" fmla="*/ 7794474 w 8978749"/>
              <a:gd name="connsiteY1318" fmla="*/ 3249510 h 4806848"/>
              <a:gd name="connsiteX1319" fmla="*/ 7735736 w 8978749"/>
              <a:gd name="connsiteY1319" fmla="*/ 3249510 h 4806848"/>
              <a:gd name="connsiteX1320" fmla="*/ 7419823 w 8978749"/>
              <a:gd name="connsiteY1320" fmla="*/ 3192360 h 4806848"/>
              <a:gd name="connsiteX1321" fmla="*/ 7478561 w 8978749"/>
              <a:gd name="connsiteY1321" fmla="*/ 3192360 h 4806848"/>
              <a:gd name="connsiteX1322" fmla="*/ 7478561 w 8978749"/>
              <a:gd name="connsiteY1322" fmla="*/ 3249510 h 4806848"/>
              <a:gd name="connsiteX1323" fmla="*/ 7419823 w 8978749"/>
              <a:gd name="connsiteY1323" fmla="*/ 3249510 h 4806848"/>
              <a:gd name="connsiteX1324" fmla="*/ 7105498 w 8978749"/>
              <a:gd name="connsiteY1324" fmla="*/ 3192360 h 4806848"/>
              <a:gd name="connsiteX1325" fmla="*/ 7162648 w 8978749"/>
              <a:gd name="connsiteY1325" fmla="*/ 3192360 h 4806848"/>
              <a:gd name="connsiteX1326" fmla="*/ 7162648 w 8978749"/>
              <a:gd name="connsiteY1326" fmla="*/ 3249510 h 4806848"/>
              <a:gd name="connsiteX1327" fmla="*/ 7105498 w 8978749"/>
              <a:gd name="connsiteY1327" fmla="*/ 3249510 h 4806848"/>
              <a:gd name="connsiteX1328" fmla="*/ 7026123 w 8978749"/>
              <a:gd name="connsiteY1328" fmla="*/ 3192360 h 4806848"/>
              <a:gd name="connsiteX1329" fmla="*/ 7084861 w 8978749"/>
              <a:gd name="connsiteY1329" fmla="*/ 3192360 h 4806848"/>
              <a:gd name="connsiteX1330" fmla="*/ 7084861 w 8978749"/>
              <a:gd name="connsiteY1330" fmla="*/ 3249510 h 4806848"/>
              <a:gd name="connsiteX1331" fmla="*/ 7026123 w 8978749"/>
              <a:gd name="connsiteY1331" fmla="*/ 3249510 h 4806848"/>
              <a:gd name="connsiteX1332" fmla="*/ 6946748 w 8978749"/>
              <a:gd name="connsiteY1332" fmla="*/ 3192360 h 4806848"/>
              <a:gd name="connsiteX1333" fmla="*/ 7005486 w 8978749"/>
              <a:gd name="connsiteY1333" fmla="*/ 3192360 h 4806848"/>
              <a:gd name="connsiteX1334" fmla="*/ 7005486 w 8978749"/>
              <a:gd name="connsiteY1334" fmla="*/ 3249510 h 4806848"/>
              <a:gd name="connsiteX1335" fmla="*/ 6946748 w 8978749"/>
              <a:gd name="connsiteY1335" fmla="*/ 3249510 h 4806848"/>
              <a:gd name="connsiteX1336" fmla="*/ 6867373 w 8978749"/>
              <a:gd name="connsiteY1336" fmla="*/ 3192360 h 4806848"/>
              <a:gd name="connsiteX1337" fmla="*/ 6926111 w 8978749"/>
              <a:gd name="connsiteY1337" fmla="*/ 3192360 h 4806848"/>
              <a:gd name="connsiteX1338" fmla="*/ 6926111 w 8978749"/>
              <a:gd name="connsiteY1338" fmla="*/ 3249510 h 4806848"/>
              <a:gd name="connsiteX1339" fmla="*/ 6867373 w 8978749"/>
              <a:gd name="connsiteY1339" fmla="*/ 3249510 h 4806848"/>
              <a:gd name="connsiteX1340" fmla="*/ 5605311 w 8978749"/>
              <a:gd name="connsiteY1340" fmla="*/ 3192360 h 4806848"/>
              <a:gd name="connsiteX1341" fmla="*/ 5664049 w 8978749"/>
              <a:gd name="connsiteY1341" fmla="*/ 3192360 h 4806848"/>
              <a:gd name="connsiteX1342" fmla="*/ 5664049 w 8978749"/>
              <a:gd name="connsiteY1342" fmla="*/ 3249510 h 4806848"/>
              <a:gd name="connsiteX1343" fmla="*/ 5605311 w 8978749"/>
              <a:gd name="connsiteY1343" fmla="*/ 3249510 h 4806848"/>
              <a:gd name="connsiteX1344" fmla="*/ 5210023 w 8978749"/>
              <a:gd name="connsiteY1344" fmla="*/ 3192360 h 4806848"/>
              <a:gd name="connsiteX1345" fmla="*/ 5268761 w 8978749"/>
              <a:gd name="connsiteY1345" fmla="*/ 3192360 h 4806848"/>
              <a:gd name="connsiteX1346" fmla="*/ 5268761 w 8978749"/>
              <a:gd name="connsiteY1346" fmla="*/ 3249510 h 4806848"/>
              <a:gd name="connsiteX1347" fmla="*/ 5210023 w 8978749"/>
              <a:gd name="connsiteY1347" fmla="*/ 3249510 h 4806848"/>
              <a:gd name="connsiteX1348" fmla="*/ 5130648 w 8978749"/>
              <a:gd name="connsiteY1348" fmla="*/ 3192360 h 4806848"/>
              <a:gd name="connsiteX1349" fmla="*/ 5189386 w 8978749"/>
              <a:gd name="connsiteY1349" fmla="*/ 3192360 h 4806848"/>
              <a:gd name="connsiteX1350" fmla="*/ 5189386 w 8978749"/>
              <a:gd name="connsiteY1350" fmla="*/ 3249510 h 4806848"/>
              <a:gd name="connsiteX1351" fmla="*/ 5130648 w 8978749"/>
              <a:gd name="connsiteY1351" fmla="*/ 3249510 h 4806848"/>
              <a:gd name="connsiteX1352" fmla="*/ 5052861 w 8978749"/>
              <a:gd name="connsiteY1352" fmla="*/ 3192360 h 4806848"/>
              <a:gd name="connsiteX1353" fmla="*/ 5110011 w 8978749"/>
              <a:gd name="connsiteY1353" fmla="*/ 3192360 h 4806848"/>
              <a:gd name="connsiteX1354" fmla="*/ 5110011 w 8978749"/>
              <a:gd name="connsiteY1354" fmla="*/ 3249510 h 4806848"/>
              <a:gd name="connsiteX1355" fmla="*/ 5052861 w 8978749"/>
              <a:gd name="connsiteY1355" fmla="*/ 3249510 h 4806848"/>
              <a:gd name="connsiteX1356" fmla="*/ 4973486 w 8978749"/>
              <a:gd name="connsiteY1356" fmla="*/ 3192360 h 4806848"/>
              <a:gd name="connsiteX1357" fmla="*/ 5030636 w 8978749"/>
              <a:gd name="connsiteY1357" fmla="*/ 3192360 h 4806848"/>
              <a:gd name="connsiteX1358" fmla="*/ 5030636 w 8978749"/>
              <a:gd name="connsiteY1358" fmla="*/ 3249510 h 4806848"/>
              <a:gd name="connsiteX1359" fmla="*/ 4973486 w 8978749"/>
              <a:gd name="connsiteY1359" fmla="*/ 3249510 h 4806848"/>
              <a:gd name="connsiteX1360" fmla="*/ 4894111 w 8978749"/>
              <a:gd name="connsiteY1360" fmla="*/ 3192360 h 4806848"/>
              <a:gd name="connsiteX1361" fmla="*/ 4952849 w 8978749"/>
              <a:gd name="connsiteY1361" fmla="*/ 3192360 h 4806848"/>
              <a:gd name="connsiteX1362" fmla="*/ 4952849 w 8978749"/>
              <a:gd name="connsiteY1362" fmla="*/ 3249510 h 4806848"/>
              <a:gd name="connsiteX1363" fmla="*/ 4894111 w 8978749"/>
              <a:gd name="connsiteY1363" fmla="*/ 3249510 h 4806848"/>
              <a:gd name="connsiteX1364" fmla="*/ 4814736 w 8978749"/>
              <a:gd name="connsiteY1364" fmla="*/ 3192360 h 4806848"/>
              <a:gd name="connsiteX1365" fmla="*/ 4873474 w 8978749"/>
              <a:gd name="connsiteY1365" fmla="*/ 3192360 h 4806848"/>
              <a:gd name="connsiteX1366" fmla="*/ 4873474 w 8978749"/>
              <a:gd name="connsiteY1366" fmla="*/ 3249510 h 4806848"/>
              <a:gd name="connsiteX1367" fmla="*/ 4814736 w 8978749"/>
              <a:gd name="connsiteY1367" fmla="*/ 3249510 h 4806848"/>
              <a:gd name="connsiteX1368" fmla="*/ 4736948 w 8978749"/>
              <a:gd name="connsiteY1368" fmla="*/ 3192360 h 4806848"/>
              <a:gd name="connsiteX1369" fmla="*/ 4794098 w 8978749"/>
              <a:gd name="connsiteY1369" fmla="*/ 3192360 h 4806848"/>
              <a:gd name="connsiteX1370" fmla="*/ 4794098 w 8978749"/>
              <a:gd name="connsiteY1370" fmla="*/ 3249510 h 4806848"/>
              <a:gd name="connsiteX1371" fmla="*/ 4736948 w 8978749"/>
              <a:gd name="connsiteY1371" fmla="*/ 3249510 h 4806848"/>
              <a:gd name="connsiteX1372" fmla="*/ 4657573 w 8978749"/>
              <a:gd name="connsiteY1372" fmla="*/ 3192360 h 4806848"/>
              <a:gd name="connsiteX1373" fmla="*/ 4716311 w 8978749"/>
              <a:gd name="connsiteY1373" fmla="*/ 3192360 h 4806848"/>
              <a:gd name="connsiteX1374" fmla="*/ 4716311 w 8978749"/>
              <a:gd name="connsiteY1374" fmla="*/ 3249510 h 4806848"/>
              <a:gd name="connsiteX1375" fmla="*/ 4657573 w 8978749"/>
              <a:gd name="connsiteY1375" fmla="*/ 3249510 h 4806848"/>
              <a:gd name="connsiteX1376" fmla="*/ 4578198 w 8978749"/>
              <a:gd name="connsiteY1376" fmla="*/ 3192360 h 4806848"/>
              <a:gd name="connsiteX1377" fmla="*/ 4636936 w 8978749"/>
              <a:gd name="connsiteY1377" fmla="*/ 3192360 h 4806848"/>
              <a:gd name="connsiteX1378" fmla="*/ 4636936 w 8978749"/>
              <a:gd name="connsiteY1378" fmla="*/ 3249510 h 4806848"/>
              <a:gd name="connsiteX1379" fmla="*/ 4578198 w 8978749"/>
              <a:gd name="connsiteY1379" fmla="*/ 3249510 h 4806848"/>
              <a:gd name="connsiteX1380" fmla="*/ 3314548 w 8978749"/>
              <a:gd name="connsiteY1380" fmla="*/ 3192360 h 4806848"/>
              <a:gd name="connsiteX1381" fmla="*/ 3373286 w 8978749"/>
              <a:gd name="connsiteY1381" fmla="*/ 3192360 h 4806848"/>
              <a:gd name="connsiteX1382" fmla="*/ 3373286 w 8978749"/>
              <a:gd name="connsiteY1382" fmla="*/ 3249510 h 4806848"/>
              <a:gd name="connsiteX1383" fmla="*/ 3314548 w 8978749"/>
              <a:gd name="connsiteY1383" fmla="*/ 3249510 h 4806848"/>
              <a:gd name="connsiteX1384" fmla="*/ 3236761 w 8978749"/>
              <a:gd name="connsiteY1384" fmla="*/ 3192360 h 4806848"/>
              <a:gd name="connsiteX1385" fmla="*/ 3293911 w 8978749"/>
              <a:gd name="connsiteY1385" fmla="*/ 3192360 h 4806848"/>
              <a:gd name="connsiteX1386" fmla="*/ 3293911 w 8978749"/>
              <a:gd name="connsiteY1386" fmla="*/ 3249510 h 4806848"/>
              <a:gd name="connsiteX1387" fmla="*/ 3236761 w 8978749"/>
              <a:gd name="connsiteY1387" fmla="*/ 3249510 h 4806848"/>
              <a:gd name="connsiteX1388" fmla="*/ 3157386 w 8978749"/>
              <a:gd name="connsiteY1388" fmla="*/ 3192360 h 4806848"/>
              <a:gd name="connsiteX1389" fmla="*/ 3216124 w 8978749"/>
              <a:gd name="connsiteY1389" fmla="*/ 3192360 h 4806848"/>
              <a:gd name="connsiteX1390" fmla="*/ 3216124 w 8978749"/>
              <a:gd name="connsiteY1390" fmla="*/ 3249510 h 4806848"/>
              <a:gd name="connsiteX1391" fmla="*/ 3157386 w 8978749"/>
              <a:gd name="connsiteY1391" fmla="*/ 3249510 h 4806848"/>
              <a:gd name="connsiteX1392" fmla="*/ 3078011 w 8978749"/>
              <a:gd name="connsiteY1392" fmla="*/ 3192360 h 4806848"/>
              <a:gd name="connsiteX1393" fmla="*/ 3136749 w 8978749"/>
              <a:gd name="connsiteY1393" fmla="*/ 3192360 h 4806848"/>
              <a:gd name="connsiteX1394" fmla="*/ 3136749 w 8978749"/>
              <a:gd name="connsiteY1394" fmla="*/ 3249510 h 4806848"/>
              <a:gd name="connsiteX1395" fmla="*/ 3078011 w 8978749"/>
              <a:gd name="connsiteY1395" fmla="*/ 3249510 h 4806848"/>
              <a:gd name="connsiteX1396" fmla="*/ 3000223 w 8978749"/>
              <a:gd name="connsiteY1396" fmla="*/ 3192360 h 4806848"/>
              <a:gd name="connsiteX1397" fmla="*/ 3057373 w 8978749"/>
              <a:gd name="connsiteY1397" fmla="*/ 3192360 h 4806848"/>
              <a:gd name="connsiteX1398" fmla="*/ 3057373 w 8978749"/>
              <a:gd name="connsiteY1398" fmla="*/ 3249510 h 4806848"/>
              <a:gd name="connsiteX1399" fmla="*/ 3000223 w 8978749"/>
              <a:gd name="connsiteY1399" fmla="*/ 3249510 h 4806848"/>
              <a:gd name="connsiteX1400" fmla="*/ 2920848 w 8978749"/>
              <a:gd name="connsiteY1400" fmla="*/ 3192360 h 4806848"/>
              <a:gd name="connsiteX1401" fmla="*/ 2979586 w 8978749"/>
              <a:gd name="connsiteY1401" fmla="*/ 3192360 h 4806848"/>
              <a:gd name="connsiteX1402" fmla="*/ 2979586 w 8978749"/>
              <a:gd name="connsiteY1402" fmla="*/ 3249510 h 4806848"/>
              <a:gd name="connsiteX1403" fmla="*/ 2920848 w 8978749"/>
              <a:gd name="connsiteY1403" fmla="*/ 3249510 h 4806848"/>
              <a:gd name="connsiteX1404" fmla="*/ 2841473 w 8978749"/>
              <a:gd name="connsiteY1404" fmla="*/ 3192360 h 4806848"/>
              <a:gd name="connsiteX1405" fmla="*/ 2900211 w 8978749"/>
              <a:gd name="connsiteY1405" fmla="*/ 3192360 h 4806848"/>
              <a:gd name="connsiteX1406" fmla="*/ 2900211 w 8978749"/>
              <a:gd name="connsiteY1406" fmla="*/ 3249510 h 4806848"/>
              <a:gd name="connsiteX1407" fmla="*/ 2841473 w 8978749"/>
              <a:gd name="connsiteY1407" fmla="*/ 3249510 h 4806848"/>
              <a:gd name="connsiteX1408" fmla="*/ 2763686 w 8978749"/>
              <a:gd name="connsiteY1408" fmla="*/ 3192360 h 4806848"/>
              <a:gd name="connsiteX1409" fmla="*/ 2820836 w 8978749"/>
              <a:gd name="connsiteY1409" fmla="*/ 3192360 h 4806848"/>
              <a:gd name="connsiteX1410" fmla="*/ 2820836 w 8978749"/>
              <a:gd name="connsiteY1410" fmla="*/ 3249510 h 4806848"/>
              <a:gd name="connsiteX1411" fmla="*/ 2763686 w 8978749"/>
              <a:gd name="connsiteY1411" fmla="*/ 3249510 h 4806848"/>
              <a:gd name="connsiteX1412" fmla="*/ 2684311 w 8978749"/>
              <a:gd name="connsiteY1412" fmla="*/ 3192360 h 4806848"/>
              <a:gd name="connsiteX1413" fmla="*/ 2743049 w 8978749"/>
              <a:gd name="connsiteY1413" fmla="*/ 3192360 h 4806848"/>
              <a:gd name="connsiteX1414" fmla="*/ 2743049 w 8978749"/>
              <a:gd name="connsiteY1414" fmla="*/ 3249510 h 4806848"/>
              <a:gd name="connsiteX1415" fmla="*/ 2684311 w 8978749"/>
              <a:gd name="connsiteY1415" fmla="*/ 3249510 h 4806848"/>
              <a:gd name="connsiteX1416" fmla="*/ 2604936 w 8978749"/>
              <a:gd name="connsiteY1416" fmla="*/ 3192360 h 4806848"/>
              <a:gd name="connsiteX1417" fmla="*/ 2663674 w 8978749"/>
              <a:gd name="connsiteY1417" fmla="*/ 3192360 h 4806848"/>
              <a:gd name="connsiteX1418" fmla="*/ 2663674 w 8978749"/>
              <a:gd name="connsiteY1418" fmla="*/ 3249510 h 4806848"/>
              <a:gd name="connsiteX1419" fmla="*/ 2604936 w 8978749"/>
              <a:gd name="connsiteY1419" fmla="*/ 3249510 h 4806848"/>
              <a:gd name="connsiteX1420" fmla="*/ 2525618 w 8978749"/>
              <a:gd name="connsiteY1420" fmla="*/ 3192360 h 4806848"/>
              <a:gd name="connsiteX1421" fmla="*/ 2584356 w 8978749"/>
              <a:gd name="connsiteY1421" fmla="*/ 3192360 h 4806848"/>
              <a:gd name="connsiteX1422" fmla="*/ 2584356 w 8978749"/>
              <a:gd name="connsiteY1422" fmla="*/ 3249510 h 4806848"/>
              <a:gd name="connsiteX1423" fmla="*/ 2525618 w 8978749"/>
              <a:gd name="connsiteY1423" fmla="*/ 3249510 h 4806848"/>
              <a:gd name="connsiteX1424" fmla="*/ 2447828 w 8978749"/>
              <a:gd name="connsiteY1424" fmla="*/ 3192360 h 4806848"/>
              <a:gd name="connsiteX1425" fmla="*/ 2504982 w 8978749"/>
              <a:gd name="connsiteY1425" fmla="*/ 3192360 h 4806848"/>
              <a:gd name="connsiteX1426" fmla="*/ 2504982 w 8978749"/>
              <a:gd name="connsiteY1426" fmla="*/ 3249510 h 4806848"/>
              <a:gd name="connsiteX1427" fmla="*/ 2447828 w 8978749"/>
              <a:gd name="connsiteY1427" fmla="*/ 3249510 h 4806848"/>
              <a:gd name="connsiteX1428" fmla="*/ 2368456 w 8978749"/>
              <a:gd name="connsiteY1428" fmla="*/ 3192360 h 4806848"/>
              <a:gd name="connsiteX1429" fmla="*/ 2427194 w 8978749"/>
              <a:gd name="connsiteY1429" fmla="*/ 3192360 h 4806848"/>
              <a:gd name="connsiteX1430" fmla="*/ 2427194 w 8978749"/>
              <a:gd name="connsiteY1430" fmla="*/ 3249510 h 4806848"/>
              <a:gd name="connsiteX1431" fmla="*/ 2368456 w 8978749"/>
              <a:gd name="connsiteY1431" fmla="*/ 3249510 h 4806848"/>
              <a:gd name="connsiteX1432" fmla="*/ 2289079 w 8978749"/>
              <a:gd name="connsiteY1432" fmla="*/ 3192360 h 4806848"/>
              <a:gd name="connsiteX1433" fmla="*/ 2347819 w 8978749"/>
              <a:gd name="connsiteY1433" fmla="*/ 3192360 h 4806848"/>
              <a:gd name="connsiteX1434" fmla="*/ 2347819 w 8978749"/>
              <a:gd name="connsiteY1434" fmla="*/ 3249510 h 4806848"/>
              <a:gd name="connsiteX1435" fmla="*/ 2289079 w 8978749"/>
              <a:gd name="connsiteY1435" fmla="*/ 3249510 h 4806848"/>
              <a:gd name="connsiteX1436" fmla="*/ 8051648 w 8978749"/>
              <a:gd name="connsiteY1436" fmla="*/ 3114573 h 4806848"/>
              <a:gd name="connsiteX1437" fmla="*/ 8110386 w 8978749"/>
              <a:gd name="connsiteY1437" fmla="*/ 3114573 h 4806848"/>
              <a:gd name="connsiteX1438" fmla="*/ 8110386 w 8978749"/>
              <a:gd name="connsiteY1438" fmla="*/ 3171723 h 4806848"/>
              <a:gd name="connsiteX1439" fmla="*/ 8051648 w 8978749"/>
              <a:gd name="connsiteY1439" fmla="*/ 3171723 h 4806848"/>
              <a:gd name="connsiteX1440" fmla="*/ 7973861 w 8978749"/>
              <a:gd name="connsiteY1440" fmla="*/ 3114573 h 4806848"/>
              <a:gd name="connsiteX1441" fmla="*/ 8031011 w 8978749"/>
              <a:gd name="connsiteY1441" fmla="*/ 3114573 h 4806848"/>
              <a:gd name="connsiteX1442" fmla="*/ 8031011 w 8978749"/>
              <a:gd name="connsiteY1442" fmla="*/ 3171723 h 4806848"/>
              <a:gd name="connsiteX1443" fmla="*/ 7973861 w 8978749"/>
              <a:gd name="connsiteY1443" fmla="*/ 3171723 h 4806848"/>
              <a:gd name="connsiteX1444" fmla="*/ 7894486 w 8978749"/>
              <a:gd name="connsiteY1444" fmla="*/ 3114573 h 4806848"/>
              <a:gd name="connsiteX1445" fmla="*/ 7951636 w 8978749"/>
              <a:gd name="connsiteY1445" fmla="*/ 3114573 h 4806848"/>
              <a:gd name="connsiteX1446" fmla="*/ 7951636 w 8978749"/>
              <a:gd name="connsiteY1446" fmla="*/ 3171723 h 4806848"/>
              <a:gd name="connsiteX1447" fmla="*/ 7894486 w 8978749"/>
              <a:gd name="connsiteY1447" fmla="*/ 3171723 h 4806848"/>
              <a:gd name="connsiteX1448" fmla="*/ 7815111 w 8978749"/>
              <a:gd name="connsiteY1448" fmla="*/ 3114573 h 4806848"/>
              <a:gd name="connsiteX1449" fmla="*/ 7873849 w 8978749"/>
              <a:gd name="connsiteY1449" fmla="*/ 3114573 h 4806848"/>
              <a:gd name="connsiteX1450" fmla="*/ 7873849 w 8978749"/>
              <a:gd name="connsiteY1450" fmla="*/ 3171723 h 4806848"/>
              <a:gd name="connsiteX1451" fmla="*/ 7815111 w 8978749"/>
              <a:gd name="connsiteY1451" fmla="*/ 3171723 h 4806848"/>
              <a:gd name="connsiteX1452" fmla="*/ 7735736 w 8978749"/>
              <a:gd name="connsiteY1452" fmla="*/ 3114573 h 4806848"/>
              <a:gd name="connsiteX1453" fmla="*/ 7794474 w 8978749"/>
              <a:gd name="connsiteY1453" fmla="*/ 3114573 h 4806848"/>
              <a:gd name="connsiteX1454" fmla="*/ 7794474 w 8978749"/>
              <a:gd name="connsiteY1454" fmla="*/ 3171723 h 4806848"/>
              <a:gd name="connsiteX1455" fmla="*/ 7735736 w 8978749"/>
              <a:gd name="connsiteY1455" fmla="*/ 3171723 h 4806848"/>
              <a:gd name="connsiteX1456" fmla="*/ 7657948 w 8978749"/>
              <a:gd name="connsiteY1456" fmla="*/ 3114573 h 4806848"/>
              <a:gd name="connsiteX1457" fmla="*/ 7715098 w 8978749"/>
              <a:gd name="connsiteY1457" fmla="*/ 3114573 h 4806848"/>
              <a:gd name="connsiteX1458" fmla="*/ 7715098 w 8978749"/>
              <a:gd name="connsiteY1458" fmla="*/ 3171723 h 4806848"/>
              <a:gd name="connsiteX1459" fmla="*/ 7657948 w 8978749"/>
              <a:gd name="connsiteY1459" fmla="*/ 3171723 h 4806848"/>
              <a:gd name="connsiteX1460" fmla="*/ 7578573 w 8978749"/>
              <a:gd name="connsiteY1460" fmla="*/ 3114573 h 4806848"/>
              <a:gd name="connsiteX1461" fmla="*/ 7637311 w 8978749"/>
              <a:gd name="connsiteY1461" fmla="*/ 3114573 h 4806848"/>
              <a:gd name="connsiteX1462" fmla="*/ 7637311 w 8978749"/>
              <a:gd name="connsiteY1462" fmla="*/ 3171723 h 4806848"/>
              <a:gd name="connsiteX1463" fmla="*/ 7578573 w 8978749"/>
              <a:gd name="connsiteY1463" fmla="*/ 3171723 h 4806848"/>
              <a:gd name="connsiteX1464" fmla="*/ 7419823 w 8978749"/>
              <a:gd name="connsiteY1464" fmla="*/ 3114573 h 4806848"/>
              <a:gd name="connsiteX1465" fmla="*/ 7478561 w 8978749"/>
              <a:gd name="connsiteY1465" fmla="*/ 3114573 h 4806848"/>
              <a:gd name="connsiteX1466" fmla="*/ 7478561 w 8978749"/>
              <a:gd name="connsiteY1466" fmla="*/ 3171723 h 4806848"/>
              <a:gd name="connsiteX1467" fmla="*/ 7419823 w 8978749"/>
              <a:gd name="connsiteY1467" fmla="*/ 3171723 h 4806848"/>
              <a:gd name="connsiteX1468" fmla="*/ 7262661 w 8978749"/>
              <a:gd name="connsiteY1468" fmla="*/ 3114573 h 4806848"/>
              <a:gd name="connsiteX1469" fmla="*/ 7321399 w 8978749"/>
              <a:gd name="connsiteY1469" fmla="*/ 3114573 h 4806848"/>
              <a:gd name="connsiteX1470" fmla="*/ 7321399 w 8978749"/>
              <a:gd name="connsiteY1470" fmla="*/ 3171723 h 4806848"/>
              <a:gd name="connsiteX1471" fmla="*/ 7262661 w 8978749"/>
              <a:gd name="connsiteY1471" fmla="*/ 3171723 h 4806848"/>
              <a:gd name="connsiteX1472" fmla="*/ 7183286 w 8978749"/>
              <a:gd name="connsiteY1472" fmla="*/ 3114573 h 4806848"/>
              <a:gd name="connsiteX1473" fmla="*/ 7242024 w 8978749"/>
              <a:gd name="connsiteY1473" fmla="*/ 3114573 h 4806848"/>
              <a:gd name="connsiteX1474" fmla="*/ 7242024 w 8978749"/>
              <a:gd name="connsiteY1474" fmla="*/ 3171723 h 4806848"/>
              <a:gd name="connsiteX1475" fmla="*/ 7183286 w 8978749"/>
              <a:gd name="connsiteY1475" fmla="*/ 3171723 h 4806848"/>
              <a:gd name="connsiteX1476" fmla="*/ 6867373 w 8978749"/>
              <a:gd name="connsiteY1476" fmla="*/ 3114573 h 4806848"/>
              <a:gd name="connsiteX1477" fmla="*/ 6926111 w 8978749"/>
              <a:gd name="connsiteY1477" fmla="*/ 3114573 h 4806848"/>
              <a:gd name="connsiteX1478" fmla="*/ 6926111 w 8978749"/>
              <a:gd name="connsiteY1478" fmla="*/ 3171723 h 4806848"/>
              <a:gd name="connsiteX1479" fmla="*/ 6867373 w 8978749"/>
              <a:gd name="connsiteY1479" fmla="*/ 3171723 h 4806848"/>
              <a:gd name="connsiteX1480" fmla="*/ 6789586 w 8978749"/>
              <a:gd name="connsiteY1480" fmla="*/ 3114573 h 4806848"/>
              <a:gd name="connsiteX1481" fmla="*/ 6846736 w 8978749"/>
              <a:gd name="connsiteY1481" fmla="*/ 3114573 h 4806848"/>
              <a:gd name="connsiteX1482" fmla="*/ 6846736 w 8978749"/>
              <a:gd name="connsiteY1482" fmla="*/ 3171723 h 4806848"/>
              <a:gd name="connsiteX1483" fmla="*/ 6789586 w 8978749"/>
              <a:gd name="connsiteY1483" fmla="*/ 3171723 h 4806848"/>
              <a:gd name="connsiteX1484" fmla="*/ 5210023 w 8978749"/>
              <a:gd name="connsiteY1484" fmla="*/ 3114573 h 4806848"/>
              <a:gd name="connsiteX1485" fmla="*/ 5268761 w 8978749"/>
              <a:gd name="connsiteY1485" fmla="*/ 3114573 h 4806848"/>
              <a:gd name="connsiteX1486" fmla="*/ 5268761 w 8978749"/>
              <a:gd name="connsiteY1486" fmla="*/ 3171723 h 4806848"/>
              <a:gd name="connsiteX1487" fmla="*/ 5210023 w 8978749"/>
              <a:gd name="connsiteY1487" fmla="*/ 3171723 h 4806848"/>
              <a:gd name="connsiteX1488" fmla="*/ 5130648 w 8978749"/>
              <a:gd name="connsiteY1488" fmla="*/ 3114573 h 4806848"/>
              <a:gd name="connsiteX1489" fmla="*/ 5189386 w 8978749"/>
              <a:gd name="connsiteY1489" fmla="*/ 3114573 h 4806848"/>
              <a:gd name="connsiteX1490" fmla="*/ 5189386 w 8978749"/>
              <a:gd name="connsiteY1490" fmla="*/ 3171723 h 4806848"/>
              <a:gd name="connsiteX1491" fmla="*/ 5130648 w 8978749"/>
              <a:gd name="connsiteY1491" fmla="*/ 3171723 h 4806848"/>
              <a:gd name="connsiteX1492" fmla="*/ 5052861 w 8978749"/>
              <a:gd name="connsiteY1492" fmla="*/ 3114573 h 4806848"/>
              <a:gd name="connsiteX1493" fmla="*/ 5110011 w 8978749"/>
              <a:gd name="connsiteY1493" fmla="*/ 3114573 h 4806848"/>
              <a:gd name="connsiteX1494" fmla="*/ 5110011 w 8978749"/>
              <a:gd name="connsiteY1494" fmla="*/ 3171723 h 4806848"/>
              <a:gd name="connsiteX1495" fmla="*/ 5052861 w 8978749"/>
              <a:gd name="connsiteY1495" fmla="*/ 3171723 h 4806848"/>
              <a:gd name="connsiteX1496" fmla="*/ 4973486 w 8978749"/>
              <a:gd name="connsiteY1496" fmla="*/ 3114573 h 4806848"/>
              <a:gd name="connsiteX1497" fmla="*/ 5030636 w 8978749"/>
              <a:gd name="connsiteY1497" fmla="*/ 3114573 h 4806848"/>
              <a:gd name="connsiteX1498" fmla="*/ 5030636 w 8978749"/>
              <a:gd name="connsiteY1498" fmla="*/ 3171723 h 4806848"/>
              <a:gd name="connsiteX1499" fmla="*/ 4973486 w 8978749"/>
              <a:gd name="connsiteY1499" fmla="*/ 3171723 h 4806848"/>
              <a:gd name="connsiteX1500" fmla="*/ 4894111 w 8978749"/>
              <a:gd name="connsiteY1500" fmla="*/ 3114573 h 4806848"/>
              <a:gd name="connsiteX1501" fmla="*/ 4952849 w 8978749"/>
              <a:gd name="connsiteY1501" fmla="*/ 3114573 h 4806848"/>
              <a:gd name="connsiteX1502" fmla="*/ 4952849 w 8978749"/>
              <a:gd name="connsiteY1502" fmla="*/ 3171723 h 4806848"/>
              <a:gd name="connsiteX1503" fmla="*/ 4894111 w 8978749"/>
              <a:gd name="connsiteY1503" fmla="*/ 3171723 h 4806848"/>
              <a:gd name="connsiteX1504" fmla="*/ 4814736 w 8978749"/>
              <a:gd name="connsiteY1504" fmla="*/ 3114573 h 4806848"/>
              <a:gd name="connsiteX1505" fmla="*/ 4873474 w 8978749"/>
              <a:gd name="connsiteY1505" fmla="*/ 3114573 h 4806848"/>
              <a:gd name="connsiteX1506" fmla="*/ 4873474 w 8978749"/>
              <a:gd name="connsiteY1506" fmla="*/ 3171723 h 4806848"/>
              <a:gd name="connsiteX1507" fmla="*/ 4814736 w 8978749"/>
              <a:gd name="connsiteY1507" fmla="*/ 3171723 h 4806848"/>
              <a:gd name="connsiteX1508" fmla="*/ 4736948 w 8978749"/>
              <a:gd name="connsiteY1508" fmla="*/ 3114573 h 4806848"/>
              <a:gd name="connsiteX1509" fmla="*/ 4794098 w 8978749"/>
              <a:gd name="connsiteY1509" fmla="*/ 3114573 h 4806848"/>
              <a:gd name="connsiteX1510" fmla="*/ 4794098 w 8978749"/>
              <a:gd name="connsiteY1510" fmla="*/ 3171723 h 4806848"/>
              <a:gd name="connsiteX1511" fmla="*/ 4736948 w 8978749"/>
              <a:gd name="connsiteY1511" fmla="*/ 3171723 h 4806848"/>
              <a:gd name="connsiteX1512" fmla="*/ 4657573 w 8978749"/>
              <a:gd name="connsiteY1512" fmla="*/ 3114573 h 4806848"/>
              <a:gd name="connsiteX1513" fmla="*/ 4716311 w 8978749"/>
              <a:gd name="connsiteY1513" fmla="*/ 3114573 h 4806848"/>
              <a:gd name="connsiteX1514" fmla="*/ 4716311 w 8978749"/>
              <a:gd name="connsiteY1514" fmla="*/ 3171723 h 4806848"/>
              <a:gd name="connsiteX1515" fmla="*/ 4657573 w 8978749"/>
              <a:gd name="connsiteY1515" fmla="*/ 3171723 h 4806848"/>
              <a:gd name="connsiteX1516" fmla="*/ 4578198 w 8978749"/>
              <a:gd name="connsiteY1516" fmla="*/ 3114573 h 4806848"/>
              <a:gd name="connsiteX1517" fmla="*/ 4636936 w 8978749"/>
              <a:gd name="connsiteY1517" fmla="*/ 3114573 h 4806848"/>
              <a:gd name="connsiteX1518" fmla="*/ 4636936 w 8978749"/>
              <a:gd name="connsiteY1518" fmla="*/ 3171723 h 4806848"/>
              <a:gd name="connsiteX1519" fmla="*/ 4578198 w 8978749"/>
              <a:gd name="connsiteY1519" fmla="*/ 3171723 h 4806848"/>
              <a:gd name="connsiteX1520" fmla="*/ 3236761 w 8978749"/>
              <a:gd name="connsiteY1520" fmla="*/ 3114573 h 4806848"/>
              <a:gd name="connsiteX1521" fmla="*/ 3293911 w 8978749"/>
              <a:gd name="connsiteY1521" fmla="*/ 3114573 h 4806848"/>
              <a:gd name="connsiteX1522" fmla="*/ 3293911 w 8978749"/>
              <a:gd name="connsiteY1522" fmla="*/ 3171723 h 4806848"/>
              <a:gd name="connsiteX1523" fmla="*/ 3236761 w 8978749"/>
              <a:gd name="connsiteY1523" fmla="*/ 3171723 h 4806848"/>
              <a:gd name="connsiteX1524" fmla="*/ 3157386 w 8978749"/>
              <a:gd name="connsiteY1524" fmla="*/ 3114573 h 4806848"/>
              <a:gd name="connsiteX1525" fmla="*/ 3216124 w 8978749"/>
              <a:gd name="connsiteY1525" fmla="*/ 3114573 h 4806848"/>
              <a:gd name="connsiteX1526" fmla="*/ 3216124 w 8978749"/>
              <a:gd name="connsiteY1526" fmla="*/ 3171723 h 4806848"/>
              <a:gd name="connsiteX1527" fmla="*/ 3157386 w 8978749"/>
              <a:gd name="connsiteY1527" fmla="*/ 3171723 h 4806848"/>
              <a:gd name="connsiteX1528" fmla="*/ 3078011 w 8978749"/>
              <a:gd name="connsiteY1528" fmla="*/ 3114573 h 4806848"/>
              <a:gd name="connsiteX1529" fmla="*/ 3136749 w 8978749"/>
              <a:gd name="connsiteY1529" fmla="*/ 3114573 h 4806848"/>
              <a:gd name="connsiteX1530" fmla="*/ 3136749 w 8978749"/>
              <a:gd name="connsiteY1530" fmla="*/ 3171723 h 4806848"/>
              <a:gd name="connsiteX1531" fmla="*/ 3078011 w 8978749"/>
              <a:gd name="connsiteY1531" fmla="*/ 3171723 h 4806848"/>
              <a:gd name="connsiteX1532" fmla="*/ 3000223 w 8978749"/>
              <a:gd name="connsiteY1532" fmla="*/ 3114573 h 4806848"/>
              <a:gd name="connsiteX1533" fmla="*/ 3057373 w 8978749"/>
              <a:gd name="connsiteY1533" fmla="*/ 3114573 h 4806848"/>
              <a:gd name="connsiteX1534" fmla="*/ 3057373 w 8978749"/>
              <a:gd name="connsiteY1534" fmla="*/ 3171723 h 4806848"/>
              <a:gd name="connsiteX1535" fmla="*/ 3000223 w 8978749"/>
              <a:gd name="connsiteY1535" fmla="*/ 3171723 h 4806848"/>
              <a:gd name="connsiteX1536" fmla="*/ 2920848 w 8978749"/>
              <a:gd name="connsiteY1536" fmla="*/ 3114573 h 4806848"/>
              <a:gd name="connsiteX1537" fmla="*/ 2979586 w 8978749"/>
              <a:gd name="connsiteY1537" fmla="*/ 3114573 h 4806848"/>
              <a:gd name="connsiteX1538" fmla="*/ 2979586 w 8978749"/>
              <a:gd name="connsiteY1538" fmla="*/ 3171723 h 4806848"/>
              <a:gd name="connsiteX1539" fmla="*/ 2920848 w 8978749"/>
              <a:gd name="connsiteY1539" fmla="*/ 3171723 h 4806848"/>
              <a:gd name="connsiteX1540" fmla="*/ 2841473 w 8978749"/>
              <a:gd name="connsiteY1540" fmla="*/ 3114573 h 4806848"/>
              <a:gd name="connsiteX1541" fmla="*/ 2900211 w 8978749"/>
              <a:gd name="connsiteY1541" fmla="*/ 3114573 h 4806848"/>
              <a:gd name="connsiteX1542" fmla="*/ 2900211 w 8978749"/>
              <a:gd name="connsiteY1542" fmla="*/ 3171723 h 4806848"/>
              <a:gd name="connsiteX1543" fmla="*/ 2841473 w 8978749"/>
              <a:gd name="connsiteY1543" fmla="*/ 3171723 h 4806848"/>
              <a:gd name="connsiteX1544" fmla="*/ 2763686 w 8978749"/>
              <a:gd name="connsiteY1544" fmla="*/ 3114573 h 4806848"/>
              <a:gd name="connsiteX1545" fmla="*/ 2820836 w 8978749"/>
              <a:gd name="connsiteY1545" fmla="*/ 3114573 h 4806848"/>
              <a:gd name="connsiteX1546" fmla="*/ 2820836 w 8978749"/>
              <a:gd name="connsiteY1546" fmla="*/ 3171723 h 4806848"/>
              <a:gd name="connsiteX1547" fmla="*/ 2763686 w 8978749"/>
              <a:gd name="connsiteY1547" fmla="*/ 3171723 h 4806848"/>
              <a:gd name="connsiteX1548" fmla="*/ 2684311 w 8978749"/>
              <a:gd name="connsiteY1548" fmla="*/ 3114573 h 4806848"/>
              <a:gd name="connsiteX1549" fmla="*/ 2743049 w 8978749"/>
              <a:gd name="connsiteY1549" fmla="*/ 3114573 h 4806848"/>
              <a:gd name="connsiteX1550" fmla="*/ 2743049 w 8978749"/>
              <a:gd name="connsiteY1550" fmla="*/ 3171723 h 4806848"/>
              <a:gd name="connsiteX1551" fmla="*/ 2684311 w 8978749"/>
              <a:gd name="connsiteY1551" fmla="*/ 3171723 h 4806848"/>
              <a:gd name="connsiteX1552" fmla="*/ 2604936 w 8978749"/>
              <a:gd name="connsiteY1552" fmla="*/ 3114573 h 4806848"/>
              <a:gd name="connsiteX1553" fmla="*/ 2663674 w 8978749"/>
              <a:gd name="connsiteY1553" fmla="*/ 3114573 h 4806848"/>
              <a:gd name="connsiteX1554" fmla="*/ 2663674 w 8978749"/>
              <a:gd name="connsiteY1554" fmla="*/ 3171723 h 4806848"/>
              <a:gd name="connsiteX1555" fmla="*/ 2604936 w 8978749"/>
              <a:gd name="connsiteY1555" fmla="*/ 3171723 h 4806848"/>
              <a:gd name="connsiteX1556" fmla="*/ 2525624 w 8978749"/>
              <a:gd name="connsiteY1556" fmla="*/ 3114573 h 4806848"/>
              <a:gd name="connsiteX1557" fmla="*/ 2584362 w 8978749"/>
              <a:gd name="connsiteY1557" fmla="*/ 3114573 h 4806848"/>
              <a:gd name="connsiteX1558" fmla="*/ 2584362 w 8978749"/>
              <a:gd name="connsiteY1558" fmla="*/ 3171723 h 4806848"/>
              <a:gd name="connsiteX1559" fmla="*/ 2525624 w 8978749"/>
              <a:gd name="connsiteY1559" fmla="*/ 3171723 h 4806848"/>
              <a:gd name="connsiteX1560" fmla="*/ 2447833 w 8978749"/>
              <a:gd name="connsiteY1560" fmla="*/ 3114573 h 4806848"/>
              <a:gd name="connsiteX1561" fmla="*/ 2504987 w 8978749"/>
              <a:gd name="connsiteY1561" fmla="*/ 3114573 h 4806848"/>
              <a:gd name="connsiteX1562" fmla="*/ 2504987 w 8978749"/>
              <a:gd name="connsiteY1562" fmla="*/ 3171723 h 4806848"/>
              <a:gd name="connsiteX1563" fmla="*/ 2447833 w 8978749"/>
              <a:gd name="connsiteY1563" fmla="*/ 3171723 h 4806848"/>
              <a:gd name="connsiteX1564" fmla="*/ 2368462 w 8978749"/>
              <a:gd name="connsiteY1564" fmla="*/ 3114573 h 4806848"/>
              <a:gd name="connsiteX1565" fmla="*/ 2427198 w 8978749"/>
              <a:gd name="connsiteY1565" fmla="*/ 3114573 h 4806848"/>
              <a:gd name="connsiteX1566" fmla="*/ 2427198 w 8978749"/>
              <a:gd name="connsiteY1566" fmla="*/ 3171723 h 4806848"/>
              <a:gd name="connsiteX1567" fmla="*/ 2368462 w 8978749"/>
              <a:gd name="connsiteY1567" fmla="*/ 3171723 h 4806848"/>
              <a:gd name="connsiteX1568" fmla="*/ 2289086 w 8978749"/>
              <a:gd name="connsiteY1568" fmla="*/ 3114573 h 4806848"/>
              <a:gd name="connsiteX1569" fmla="*/ 2347825 w 8978749"/>
              <a:gd name="connsiteY1569" fmla="*/ 3114573 h 4806848"/>
              <a:gd name="connsiteX1570" fmla="*/ 2347825 w 8978749"/>
              <a:gd name="connsiteY1570" fmla="*/ 3171723 h 4806848"/>
              <a:gd name="connsiteX1571" fmla="*/ 2289086 w 8978749"/>
              <a:gd name="connsiteY1571" fmla="*/ 3171723 h 4806848"/>
              <a:gd name="connsiteX1572" fmla="*/ 2209710 w 8978749"/>
              <a:gd name="connsiteY1572" fmla="*/ 3114573 h 4806848"/>
              <a:gd name="connsiteX1573" fmla="*/ 2268448 w 8978749"/>
              <a:gd name="connsiteY1573" fmla="*/ 3114573 h 4806848"/>
              <a:gd name="connsiteX1574" fmla="*/ 2268448 w 8978749"/>
              <a:gd name="connsiteY1574" fmla="*/ 3171723 h 4806848"/>
              <a:gd name="connsiteX1575" fmla="*/ 2209710 w 8978749"/>
              <a:gd name="connsiteY1575" fmla="*/ 3171723 h 4806848"/>
              <a:gd name="connsiteX1576" fmla="*/ 8526311 w 8978749"/>
              <a:gd name="connsiteY1576" fmla="*/ 3035198 h 4806848"/>
              <a:gd name="connsiteX1577" fmla="*/ 8583461 w 8978749"/>
              <a:gd name="connsiteY1577" fmla="*/ 3035198 h 4806848"/>
              <a:gd name="connsiteX1578" fmla="*/ 8583461 w 8978749"/>
              <a:gd name="connsiteY1578" fmla="*/ 3093936 h 4806848"/>
              <a:gd name="connsiteX1579" fmla="*/ 8526311 w 8978749"/>
              <a:gd name="connsiteY1579" fmla="*/ 3093936 h 4806848"/>
              <a:gd name="connsiteX1580" fmla="*/ 7815111 w 8978749"/>
              <a:gd name="connsiteY1580" fmla="*/ 3035198 h 4806848"/>
              <a:gd name="connsiteX1581" fmla="*/ 7873849 w 8978749"/>
              <a:gd name="connsiteY1581" fmla="*/ 3035198 h 4806848"/>
              <a:gd name="connsiteX1582" fmla="*/ 7873849 w 8978749"/>
              <a:gd name="connsiteY1582" fmla="*/ 3093936 h 4806848"/>
              <a:gd name="connsiteX1583" fmla="*/ 7815111 w 8978749"/>
              <a:gd name="connsiteY1583" fmla="*/ 3093936 h 4806848"/>
              <a:gd name="connsiteX1584" fmla="*/ 7657948 w 8978749"/>
              <a:gd name="connsiteY1584" fmla="*/ 3035198 h 4806848"/>
              <a:gd name="connsiteX1585" fmla="*/ 7715098 w 8978749"/>
              <a:gd name="connsiteY1585" fmla="*/ 3035198 h 4806848"/>
              <a:gd name="connsiteX1586" fmla="*/ 7715098 w 8978749"/>
              <a:gd name="connsiteY1586" fmla="*/ 3093936 h 4806848"/>
              <a:gd name="connsiteX1587" fmla="*/ 7657948 w 8978749"/>
              <a:gd name="connsiteY1587" fmla="*/ 3093936 h 4806848"/>
              <a:gd name="connsiteX1588" fmla="*/ 7578573 w 8978749"/>
              <a:gd name="connsiteY1588" fmla="*/ 3035198 h 4806848"/>
              <a:gd name="connsiteX1589" fmla="*/ 7637311 w 8978749"/>
              <a:gd name="connsiteY1589" fmla="*/ 3035198 h 4806848"/>
              <a:gd name="connsiteX1590" fmla="*/ 7637311 w 8978749"/>
              <a:gd name="connsiteY1590" fmla="*/ 3093936 h 4806848"/>
              <a:gd name="connsiteX1591" fmla="*/ 7578573 w 8978749"/>
              <a:gd name="connsiteY1591" fmla="*/ 3093936 h 4806848"/>
              <a:gd name="connsiteX1592" fmla="*/ 7499198 w 8978749"/>
              <a:gd name="connsiteY1592" fmla="*/ 3035198 h 4806848"/>
              <a:gd name="connsiteX1593" fmla="*/ 7557936 w 8978749"/>
              <a:gd name="connsiteY1593" fmla="*/ 3035198 h 4806848"/>
              <a:gd name="connsiteX1594" fmla="*/ 7557936 w 8978749"/>
              <a:gd name="connsiteY1594" fmla="*/ 3093936 h 4806848"/>
              <a:gd name="connsiteX1595" fmla="*/ 7499198 w 8978749"/>
              <a:gd name="connsiteY1595" fmla="*/ 3093936 h 4806848"/>
              <a:gd name="connsiteX1596" fmla="*/ 7419823 w 8978749"/>
              <a:gd name="connsiteY1596" fmla="*/ 3035198 h 4806848"/>
              <a:gd name="connsiteX1597" fmla="*/ 7478561 w 8978749"/>
              <a:gd name="connsiteY1597" fmla="*/ 3035198 h 4806848"/>
              <a:gd name="connsiteX1598" fmla="*/ 7478561 w 8978749"/>
              <a:gd name="connsiteY1598" fmla="*/ 3093936 h 4806848"/>
              <a:gd name="connsiteX1599" fmla="*/ 7419823 w 8978749"/>
              <a:gd name="connsiteY1599" fmla="*/ 3093936 h 4806848"/>
              <a:gd name="connsiteX1600" fmla="*/ 7262661 w 8978749"/>
              <a:gd name="connsiteY1600" fmla="*/ 3035198 h 4806848"/>
              <a:gd name="connsiteX1601" fmla="*/ 7321399 w 8978749"/>
              <a:gd name="connsiteY1601" fmla="*/ 3035198 h 4806848"/>
              <a:gd name="connsiteX1602" fmla="*/ 7321399 w 8978749"/>
              <a:gd name="connsiteY1602" fmla="*/ 3093936 h 4806848"/>
              <a:gd name="connsiteX1603" fmla="*/ 7262661 w 8978749"/>
              <a:gd name="connsiteY1603" fmla="*/ 3093936 h 4806848"/>
              <a:gd name="connsiteX1604" fmla="*/ 7183286 w 8978749"/>
              <a:gd name="connsiteY1604" fmla="*/ 3035198 h 4806848"/>
              <a:gd name="connsiteX1605" fmla="*/ 7242024 w 8978749"/>
              <a:gd name="connsiteY1605" fmla="*/ 3035198 h 4806848"/>
              <a:gd name="connsiteX1606" fmla="*/ 7242024 w 8978749"/>
              <a:gd name="connsiteY1606" fmla="*/ 3093936 h 4806848"/>
              <a:gd name="connsiteX1607" fmla="*/ 7183286 w 8978749"/>
              <a:gd name="connsiteY1607" fmla="*/ 3093936 h 4806848"/>
              <a:gd name="connsiteX1608" fmla="*/ 7105498 w 8978749"/>
              <a:gd name="connsiteY1608" fmla="*/ 3035198 h 4806848"/>
              <a:gd name="connsiteX1609" fmla="*/ 7162648 w 8978749"/>
              <a:gd name="connsiteY1609" fmla="*/ 3035198 h 4806848"/>
              <a:gd name="connsiteX1610" fmla="*/ 7162648 w 8978749"/>
              <a:gd name="connsiteY1610" fmla="*/ 3093936 h 4806848"/>
              <a:gd name="connsiteX1611" fmla="*/ 7105498 w 8978749"/>
              <a:gd name="connsiteY1611" fmla="*/ 3093936 h 4806848"/>
              <a:gd name="connsiteX1612" fmla="*/ 7026123 w 8978749"/>
              <a:gd name="connsiteY1612" fmla="*/ 3035198 h 4806848"/>
              <a:gd name="connsiteX1613" fmla="*/ 7084861 w 8978749"/>
              <a:gd name="connsiteY1613" fmla="*/ 3035198 h 4806848"/>
              <a:gd name="connsiteX1614" fmla="*/ 7084861 w 8978749"/>
              <a:gd name="connsiteY1614" fmla="*/ 3093936 h 4806848"/>
              <a:gd name="connsiteX1615" fmla="*/ 7026123 w 8978749"/>
              <a:gd name="connsiteY1615" fmla="*/ 3093936 h 4806848"/>
              <a:gd name="connsiteX1616" fmla="*/ 6946748 w 8978749"/>
              <a:gd name="connsiteY1616" fmla="*/ 3035198 h 4806848"/>
              <a:gd name="connsiteX1617" fmla="*/ 7005486 w 8978749"/>
              <a:gd name="connsiteY1617" fmla="*/ 3035198 h 4806848"/>
              <a:gd name="connsiteX1618" fmla="*/ 7005486 w 8978749"/>
              <a:gd name="connsiteY1618" fmla="*/ 3093936 h 4806848"/>
              <a:gd name="connsiteX1619" fmla="*/ 6946748 w 8978749"/>
              <a:gd name="connsiteY1619" fmla="*/ 3093936 h 4806848"/>
              <a:gd name="connsiteX1620" fmla="*/ 6789586 w 8978749"/>
              <a:gd name="connsiteY1620" fmla="*/ 3035198 h 4806848"/>
              <a:gd name="connsiteX1621" fmla="*/ 6846736 w 8978749"/>
              <a:gd name="connsiteY1621" fmla="*/ 3035198 h 4806848"/>
              <a:gd name="connsiteX1622" fmla="*/ 6846736 w 8978749"/>
              <a:gd name="connsiteY1622" fmla="*/ 3093936 h 4806848"/>
              <a:gd name="connsiteX1623" fmla="*/ 6789586 w 8978749"/>
              <a:gd name="connsiteY1623" fmla="*/ 3093936 h 4806848"/>
              <a:gd name="connsiteX1624" fmla="*/ 6710211 w 8978749"/>
              <a:gd name="connsiteY1624" fmla="*/ 3035198 h 4806848"/>
              <a:gd name="connsiteX1625" fmla="*/ 6768949 w 8978749"/>
              <a:gd name="connsiteY1625" fmla="*/ 3035198 h 4806848"/>
              <a:gd name="connsiteX1626" fmla="*/ 6768949 w 8978749"/>
              <a:gd name="connsiteY1626" fmla="*/ 3093936 h 4806848"/>
              <a:gd name="connsiteX1627" fmla="*/ 6710211 w 8978749"/>
              <a:gd name="connsiteY1627" fmla="*/ 3093936 h 4806848"/>
              <a:gd name="connsiteX1628" fmla="*/ 5210023 w 8978749"/>
              <a:gd name="connsiteY1628" fmla="*/ 3035198 h 4806848"/>
              <a:gd name="connsiteX1629" fmla="*/ 5268761 w 8978749"/>
              <a:gd name="connsiteY1629" fmla="*/ 3035198 h 4806848"/>
              <a:gd name="connsiteX1630" fmla="*/ 5268761 w 8978749"/>
              <a:gd name="connsiteY1630" fmla="*/ 3093936 h 4806848"/>
              <a:gd name="connsiteX1631" fmla="*/ 5210023 w 8978749"/>
              <a:gd name="connsiteY1631" fmla="*/ 3093936 h 4806848"/>
              <a:gd name="connsiteX1632" fmla="*/ 5130648 w 8978749"/>
              <a:gd name="connsiteY1632" fmla="*/ 3035198 h 4806848"/>
              <a:gd name="connsiteX1633" fmla="*/ 5189386 w 8978749"/>
              <a:gd name="connsiteY1633" fmla="*/ 3035198 h 4806848"/>
              <a:gd name="connsiteX1634" fmla="*/ 5189386 w 8978749"/>
              <a:gd name="connsiteY1634" fmla="*/ 3093936 h 4806848"/>
              <a:gd name="connsiteX1635" fmla="*/ 5130648 w 8978749"/>
              <a:gd name="connsiteY1635" fmla="*/ 3093936 h 4806848"/>
              <a:gd name="connsiteX1636" fmla="*/ 5052861 w 8978749"/>
              <a:gd name="connsiteY1636" fmla="*/ 3035198 h 4806848"/>
              <a:gd name="connsiteX1637" fmla="*/ 5110011 w 8978749"/>
              <a:gd name="connsiteY1637" fmla="*/ 3035198 h 4806848"/>
              <a:gd name="connsiteX1638" fmla="*/ 5110011 w 8978749"/>
              <a:gd name="connsiteY1638" fmla="*/ 3093936 h 4806848"/>
              <a:gd name="connsiteX1639" fmla="*/ 5052861 w 8978749"/>
              <a:gd name="connsiteY1639" fmla="*/ 3093936 h 4806848"/>
              <a:gd name="connsiteX1640" fmla="*/ 4973486 w 8978749"/>
              <a:gd name="connsiteY1640" fmla="*/ 3035198 h 4806848"/>
              <a:gd name="connsiteX1641" fmla="*/ 5030636 w 8978749"/>
              <a:gd name="connsiteY1641" fmla="*/ 3035198 h 4806848"/>
              <a:gd name="connsiteX1642" fmla="*/ 5030636 w 8978749"/>
              <a:gd name="connsiteY1642" fmla="*/ 3093936 h 4806848"/>
              <a:gd name="connsiteX1643" fmla="*/ 4973486 w 8978749"/>
              <a:gd name="connsiteY1643" fmla="*/ 3093936 h 4806848"/>
              <a:gd name="connsiteX1644" fmla="*/ 4894111 w 8978749"/>
              <a:gd name="connsiteY1644" fmla="*/ 3035198 h 4806848"/>
              <a:gd name="connsiteX1645" fmla="*/ 4952849 w 8978749"/>
              <a:gd name="connsiteY1645" fmla="*/ 3035198 h 4806848"/>
              <a:gd name="connsiteX1646" fmla="*/ 4952849 w 8978749"/>
              <a:gd name="connsiteY1646" fmla="*/ 3093936 h 4806848"/>
              <a:gd name="connsiteX1647" fmla="*/ 4894111 w 8978749"/>
              <a:gd name="connsiteY1647" fmla="*/ 3093936 h 4806848"/>
              <a:gd name="connsiteX1648" fmla="*/ 4814736 w 8978749"/>
              <a:gd name="connsiteY1648" fmla="*/ 3035198 h 4806848"/>
              <a:gd name="connsiteX1649" fmla="*/ 4873474 w 8978749"/>
              <a:gd name="connsiteY1649" fmla="*/ 3035198 h 4806848"/>
              <a:gd name="connsiteX1650" fmla="*/ 4873474 w 8978749"/>
              <a:gd name="connsiteY1650" fmla="*/ 3093936 h 4806848"/>
              <a:gd name="connsiteX1651" fmla="*/ 4814736 w 8978749"/>
              <a:gd name="connsiteY1651" fmla="*/ 3093936 h 4806848"/>
              <a:gd name="connsiteX1652" fmla="*/ 4736948 w 8978749"/>
              <a:gd name="connsiteY1652" fmla="*/ 3035198 h 4806848"/>
              <a:gd name="connsiteX1653" fmla="*/ 4794098 w 8978749"/>
              <a:gd name="connsiteY1653" fmla="*/ 3035198 h 4806848"/>
              <a:gd name="connsiteX1654" fmla="*/ 4794098 w 8978749"/>
              <a:gd name="connsiteY1654" fmla="*/ 3093936 h 4806848"/>
              <a:gd name="connsiteX1655" fmla="*/ 4736948 w 8978749"/>
              <a:gd name="connsiteY1655" fmla="*/ 3093936 h 4806848"/>
              <a:gd name="connsiteX1656" fmla="*/ 4657573 w 8978749"/>
              <a:gd name="connsiteY1656" fmla="*/ 3035198 h 4806848"/>
              <a:gd name="connsiteX1657" fmla="*/ 4716311 w 8978749"/>
              <a:gd name="connsiteY1657" fmla="*/ 3035198 h 4806848"/>
              <a:gd name="connsiteX1658" fmla="*/ 4716311 w 8978749"/>
              <a:gd name="connsiteY1658" fmla="*/ 3093936 h 4806848"/>
              <a:gd name="connsiteX1659" fmla="*/ 4657573 w 8978749"/>
              <a:gd name="connsiteY1659" fmla="*/ 3093936 h 4806848"/>
              <a:gd name="connsiteX1660" fmla="*/ 4578198 w 8978749"/>
              <a:gd name="connsiteY1660" fmla="*/ 3035198 h 4806848"/>
              <a:gd name="connsiteX1661" fmla="*/ 4636936 w 8978749"/>
              <a:gd name="connsiteY1661" fmla="*/ 3035198 h 4806848"/>
              <a:gd name="connsiteX1662" fmla="*/ 4636936 w 8978749"/>
              <a:gd name="connsiteY1662" fmla="*/ 3093936 h 4806848"/>
              <a:gd name="connsiteX1663" fmla="*/ 4578198 w 8978749"/>
              <a:gd name="connsiteY1663" fmla="*/ 3093936 h 4806848"/>
              <a:gd name="connsiteX1664" fmla="*/ 4498823 w 8978749"/>
              <a:gd name="connsiteY1664" fmla="*/ 3035198 h 4806848"/>
              <a:gd name="connsiteX1665" fmla="*/ 4557561 w 8978749"/>
              <a:gd name="connsiteY1665" fmla="*/ 3035198 h 4806848"/>
              <a:gd name="connsiteX1666" fmla="*/ 4557561 w 8978749"/>
              <a:gd name="connsiteY1666" fmla="*/ 3093936 h 4806848"/>
              <a:gd name="connsiteX1667" fmla="*/ 4498823 w 8978749"/>
              <a:gd name="connsiteY1667" fmla="*/ 3093936 h 4806848"/>
              <a:gd name="connsiteX1668" fmla="*/ 3078011 w 8978749"/>
              <a:gd name="connsiteY1668" fmla="*/ 3035198 h 4806848"/>
              <a:gd name="connsiteX1669" fmla="*/ 3136749 w 8978749"/>
              <a:gd name="connsiteY1669" fmla="*/ 3035198 h 4806848"/>
              <a:gd name="connsiteX1670" fmla="*/ 3136749 w 8978749"/>
              <a:gd name="connsiteY1670" fmla="*/ 3093936 h 4806848"/>
              <a:gd name="connsiteX1671" fmla="*/ 3078011 w 8978749"/>
              <a:gd name="connsiteY1671" fmla="*/ 3093936 h 4806848"/>
              <a:gd name="connsiteX1672" fmla="*/ 3000223 w 8978749"/>
              <a:gd name="connsiteY1672" fmla="*/ 3035198 h 4806848"/>
              <a:gd name="connsiteX1673" fmla="*/ 3057373 w 8978749"/>
              <a:gd name="connsiteY1673" fmla="*/ 3035198 h 4806848"/>
              <a:gd name="connsiteX1674" fmla="*/ 3057373 w 8978749"/>
              <a:gd name="connsiteY1674" fmla="*/ 3093936 h 4806848"/>
              <a:gd name="connsiteX1675" fmla="*/ 3000223 w 8978749"/>
              <a:gd name="connsiteY1675" fmla="*/ 3093936 h 4806848"/>
              <a:gd name="connsiteX1676" fmla="*/ 2920848 w 8978749"/>
              <a:gd name="connsiteY1676" fmla="*/ 3035198 h 4806848"/>
              <a:gd name="connsiteX1677" fmla="*/ 2979586 w 8978749"/>
              <a:gd name="connsiteY1677" fmla="*/ 3035198 h 4806848"/>
              <a:gd name="connsiteX1678" fmla="*/ 2979586 w 8978749"/>
              <a:gd name="connsiteY1678" fmla="*/ 3093936 h 4806848"/>
              <a:gd name="connsiteX1679" fmla="*/ 2920848 w 8978749"/>
              <a:gd name="connsiteY1679" fmla="*/ 3093936 h 4806848"/>
              <a:gd name="connsiteX1680" fmla="*/ 2841473 w 8978749"/>
              <a:gd name="connsiteY1680" fmla="*/ 3035198 h 4806848"/>
              <a:gd name="connsiteX1681" fmla="*/ 2900211 w 8978749"/>
              <a:gd name="connsiteY1681" fmla="*/ 3035198 h 4806848"/>
              <a:gd name="connsiteX1682" fmla="*/ 2900211 w 8978749"/>
              <a:gd name="connsiteY1682" fmla="*/ 3093936 h 4806848"/>
              <a:gd name="connsiteX1683" fmla="*/ 2841473 w 8978749"/>
              <a:gd name="connsiteY1683" fmla="*/ 3093936 h 4806848"/>
              <a:gd name="connsiteX1684" fmla="*/ 2763686 w 8978749"/>
              <a:gd name="connsiteY1684" fmla="*/ 3035198 h 4806848"/>
              <a:gd name="connsiteX1685" fmla="*/ 2820836 w 8978749"/>
              <a:gd name="connsiteY1685" fmla="*/ 3035198 h 4806848"/>
              <a:gd name="connsiteX1686" fmla="*/ 2820836 w 8978749"/>
              <a:gd name="connsiteY1686" fmla="*/ 3093936 h 4806848"/>
              <a:gd name="connsiteX1687" fmla="*/ 2763686 w 8978749"/>
              <a:gd name="connsiteY1687" fmla="*/ 3093936 h 4806848"/>
              <a:gd name="connsiteX1688" fmla="*/ 2684311 w 8978749"/>
              <a:gd name="connsiteY1688" fmla="*/ 3035198 h 4806848"/>
              <a:gd name="connsiteX1689" fmla="*/ 2743049 w 8978749"/>
              <a:gd name="connsiteY1689" fmla="*/ 3035198 h 4806848"/>
              <a:gd name="connsiteX1690" fmla="*/ 2743049 w 8978749"/>
              <a:gd name="connsiteY1690" fmla="*/ 3093936 h 4806848"/>
              <a:gd name="connsiteX1691" fmla="*/ 2684311 w 8978749"/>
              <a:gd name="connsiteY1691" fmla="*/ 3093936 h 4806848"/>
              <a:gd name="connsiteX1692" fmla="*/ 2604936 w 8978749"/>
              <a:gd name="connsiteY1692" fmla="*/ 3035198 h 4806848"/>
              <a:gd name="connsiteX1693" fmla="*/ 2663674 w 8978749"/>
              <a:gd name="connsiteY1693" fmla="*/ 3035198 h 4806848"/>
              <a:gd name="connsiteX1694" fmla="*/ 2663674 w 8978749"/>
              <a:gd name="connsiteY1694" fmla="*/ 3093936 h 4806848"/>
              <a:gd name="connsiteX1695" fmla="*/ 2604936 w 8978749"/>
              <a:gd name="connsiteY1695" fmla="*/ 3093936 h 4806848"/>
              <a:gd name="connsiteX1696" fmla="*/ 2525630 w 8978749"/>
              <a:gd name="connsiteY1696" fmla="*/ 3035198 h 4806848"/>
              <a:gd name="connsiteX1697" fmla="*/ 2584367 w 8978749"/>
              <a:gd name="connsiteY1697" fmla="*/ 3035198 h 4806848"/>
              <a:gd name="connsiteX1698" fmla="*/ 2584367 w 8978749"/>
              <a:gd name="connsiteY1698" fmla="*/ 3093936 h 4806848"/>
              <a:gd name="connsiteX1699" fmla="*/ 2525630 w 8978749"/>
              <a:gd name="connsiteY1699" fmla="*/ 3093936 h 4806848"/>
              <a:gd name="connsiteX1700" fmla="*/ 2447839 w 8978749"/>
              <a:gd name="connsiteY1700" fmla="*/ 3035198 h 4806848"/>
              <a:gd name="connsiteX1701" fmla="*/ 2504993 w 8978749"/>
              <a:gd name="connsiteY1701" fmla="*/ 3035198 h 4806848"/>
              <a:gd name="connsiteX1702" fmla="*/ 2504993 w 8978749"/>
              <a:gd name="connsiteY1702" fmla="*/ 3093936 h 4806848"/>
              <a:gd name="connsiteX1703" fmla="*/ 2447839 w 8978749"/>
              <a:gd name="connsiteY1703" fmla="*/ 3093936 h 4806848"/>
              <a:gd name="connsiteX1704" fmla="*/ 2368468 w 8978749"/>
              <a:gd name="connsiteY1704" fmla="*/ 3035198 h 4806848"/>
              <a:gd name="connsiteX1705" fmla="*/ 2427204 w 8978749"/>
              <a:gd name="connsiteY1705" fmla="*/ 3035198 h 4806848"/>
              <a:gd name="connsiteX1706" fmla="*/ 2427204 w 8978749"/>
              <a:gd name="connsiteY1706" fmla="*/ 3093936 h 4806848"/>
              <a:gd name="connsiteX1707" fmla="*/ 2368468 w 8978749"/>
              <a:gd name="connsiteY1707" fmla="*/ 3093936 h 4806848"/>
              <a:gd name="connsiteX1708" fmla="*/ 2289091 w 8978749"/>
              <a:gd name="connsiteY1708" fmla="*/ 3035198 h 4806848"/>
              <a:gd name="connsiteX1709" fmla="*/ 2347831 w 8978749"/>
              <a:gd name="connsiteY1709" fmla="*/ 3035198 h 4806848"/>
              <a:gd name="connsiteX1710" fmla="*/ 2347831 w 8978749"/>
              <a:gd name="connsiteY1710" fmla="*/ 3093936 h 4806848"/>
              <a:gd name="connsiteX1711" fmla="*/ 2289091 w 8978749"/>
              <a:gd name="connsiteY1711" fmla="*/ 3093936 h 4806848"/>
              <a:gd name="connsiteX1712" fmla="*/ 2209714 w 8978749"/>
              <a:gd name="connsiteY1712" fmla="*/ 3035198 h 4806848"/>
              <a:gd name="connsiteX1713" fmla="*/ 2268453 w 8978749"/>
              <a:gd name="connsiteY1713" fmla="*/ 3035198 h 4806848"/>
              <a:gd name="connsiteX1714" fmla="*/ 2268453 w 8978749"/>
              <a:gd name="connsiteY1714" fmla="*/ 3093936 h 4806848"/>
              <a:gd name="connsiteX1715" fmla="*/ 2209714 w 8978749"/>
              <a:gd name="connsiteY1715" fmla="*/ 3093936 h 4806848"/>
              <a:gd name="connsiteX1716" fmla="*/ 8367561 w 8978749"/>
              <a:gd name="connsiteY1716" fmla="*/ 2957410 h 4806848"/>
              <a:gd name="connsiteX1717" fmla="*/ 8426299 w 8978749"/>
              <a:gd name="connsiteY1717" fmla="*/ 2957410 h 4806848"/>
              <a:gd name="connsiteX1718" fmla="*/ 8426299 w 8978749"/>
              <a:gd name="connsiteY1718" fmla="*/ 3016148 h 4806848"/>
              <a:gd name="connsiteX1719" fmla="*/ 8367561 w 8978749"/>
              <a:gd name="connsiteY1719" fmla="*/ 3016148 h 4806848"/>
              <a:gd name="connsiteX1720" fmla="*/ 7499198 w 8978749"/>
              <a:gd name="connsiteY1720" fmla="*/ 2957410 h 4806848"/>
              <a:gd name="connsiteX1721" fmla="*/ 7557936 w 8978749"/>
              <a:gd name="connsiteY1721" fmla="*/ 2957410 h 4806848"/>
              <a:gd name="connsiteX1722" fmla="*/ 7557936 w 8978749"/>
              <a:gd name="connsiteY1722" fmla="*/ 3016148 h 4806848"/>
              <a:gd name="connsiteX1723" fmla="*/ 7499198 w 8978749"/>
              <a:gd name="connsiteY1723" fmla="*/ 3016148 h 4806848"/>
              <a:gd name="connsiteX1724" fmla="*/ 7419823 w 8978749"/>
              <a:gd name="connsiteY1724" fmla="*/ 2957410 h 4806848"/>
              <a:gd name="connsiteX1725" fmla="*/ 7478561 w 8978749"/>
              <a:gd name="connsiteY1725" fmla="*/ 2957410 h 4806848"/>
              <a:gd name="connsiteX1726" fmla="*/ 7478561 w 8978749"/>
              <a:gd name="connsiteY1726" fmla="*/ 3016148 h 4806848"/>
              <a:gd name="connsiteX1727" fmla="*/ 7419823 w 8978749"/>
              <a:gd name="connsiteY1727" fmla="*/ 3016148 h 4806848"/>
              <a:gd name="connsiteX1728" fmla="*/ 7342036 w 8978749"/>
              <a:gd name="connsiteY1728" fmla="*/ 2957410 h 4806848"/>
              <a:gd name="connsiteX1729" fmla="*/ 7400774 w 8978749"/>
              <a:gd name="connsiteY1729" fmla="*/ 2957410 h 4806848"/>
              <a:gd name="connsiteX1730" fmla="*/ 7400774 w 8978749"/>
              <a:gd name="connsiteY1730" fmla="*/ 3016148 h 4806848"/>
              <a:gd name="connsiteX1731" fmla="*/ 7342036 w 8978749"/>
              <a:gd name="connsiteY1731" fmla="*/ 3016148 h 4806848"/>
              <a:gd name="connsiteX1732" fmla="*/ 7262661 w 8978749"/>
              <a:gd name="connsiteY1732" fmla="*/ 2957410 h 4806848"/>
              <a:gd name="connsiteX1733" fmla="*/ 7321399 w 8978749"/>
              <a:gd name="connsiteY1733" fmla="*/ 2957410 h 4806848"/>
              <a:gd name="connsiteX1734" fmla="*/ 7321399 w 8978749"/>
              <a:gd name="connsiteY1734" fmla="*/ 3016148 h 4806848"/>
              <a:gd name="connsiteX1735" fmla="*/ 7262661 w 8978749"/>
              <a:gd name="connsiteY1735" fmla="*/ 3016148 h 4806848"/>
              <a:gd name="connsiteX1736" fmla="*/ 7183286 w 8978749"/>
              <a:gd name="connsiteY1736" fmla="*/ 2957410 h 4806848"/>
              <a:gd name="connsiteX1737" fmla="*/ 7242024 w 8978749"/>
              <a:gd name="connsiteY1737" fmla="*/ 2957410 h 4806848"/>
              <a:gd name="connsiteX1738" fmla="*/ 7242024 w 8978749"/>
              <a:gd name="connsiteY1738" fmla="*/ 3016148 h 4806848"/>
              <a:gd name="connsiteX1739" fmla="*/ 7183286 w 8978749"/>
              <a:gd name="connsiteY1739" fmla="*/ 3016148 h 4806848"/>
              <a:gd name="connsiteX1740" fmla="*/ 7105498 w 8978749"/>
              <a:gd name="connsiteY1740" fmla="*/ 2957410 h 4806848"/>
              <a:gd name="connsiteX1741" fmla="*/ 7162648 w 8978749"/>
              <a:gd name="connsiteY1741" fmla="*/ 2957410 h 4806848"/>
              <a:gd name="connsiteX1742" fmla="*/ 7162648 w 8978749"/>
              <a:gd name="connsiteY1742" fmla="*/ 3016148 h 4806848"/>
              <a:gd name="connsiteX1743" fmla="*/ 7105498 w 8978749"/>
              <a:gd name="connsiteY1743" fmla="*/ 3016148 h 4806848"/>
              <a:gd name="connsiteX1744" fmla="*/ 7026123 w 8978749"/>
              <a:gd name="connsiteY1744" fmla="*/ 2957410 h 4806848"/>
              <a:gd name="connsiteX1745" fmla="*/ 7084861 w 8978749"/>
              <a:gd name="connsiteY1745" fmla="*/ 2957410 h 4806848"/>
              <a:gd name="connsiteX1746" fmla="*/ 7084861 w 8978749"/>
              <a:gd name="connsiteY1746" fmla="*/ 3016148 h 4806848"/>
              <a:gd name="connsiteX1747" fmla="*/ 7026123 w 8978749"/>
              <a:gd name="connsiteY1747" fmla="*/ 3016148 h 4806848"/>
              <a:gd name="connsiteX1748" fmla="*/ 6946748 w 8978749"/>
              <a:gd name="connsiteY1748" fmla="*/ 2957410 h 4806848"/>
              <a:gd name="connsiteX1749" fmla="*/ 7005486 w 8978749"/>
              <a:gd name="connsiteY1749" fmla="*/ 2957410 h 4806848"/>
              <a:gd name="connsiteX1750" fmla="*/ 7005486 w 8978749"/>
              <a:gd name="connsiteY1750" fmla="*/ 3016148 h 4806848"/>
              <a:gd name="connsiteX1751" fmla="*/ 6946748 w 8978749"/>
              <a:gd name="connsiteY1751" fmla="*/ 3016148 h 4806848"/>
              <a:gd name="connsiteX1752" fmla="*/ 6710211 w 8978749"/>
              <a:gd name="connsiteY1752" fmla="*/ 2957410 h 4806848"/>
              <a:gd name="connsiteX1753" fmla="*/ 6768949 w 8978749"/>
              <a:gd name="connsiteY1753" fmla="*/ 2957410 h 4806848"/>
              <a:gd name="connsiteX1754" fmla="*/ 6768949 w 8978749"/>
              <a:gd name="connsiteY1754" fmla="*/ 3016148 h 4806848"/>
              <a:gd name="connsiteX1755" fmla="*/ 6710211 w 8978749"/>
              <a:gd name="connsiteY1755" fmla="*/ 3016148 h 4806848"/>
              <a:gd name="connsiteX1756" fmla="*/ 5289398 w 8978749"/>
              <a:gd name="connsiteY1756" fmla="*/ 2957410 h 4806848"/>
              <a:gd name="connsiteX1757" fmla="*/ 5348136 w 8978749"/>
              <a:gd name="connsiteY1757" fmla="*/ 2957410 h 4806848"/>
              <a:gd name="connsiteX1758" fmla="*/ 5348136 w 8978749"/>
              <a:gd name="connsiteY1758" fmla="*/ 3016148 h 4806848"/>
              <a:gd name="connsiteX1759" fmla="*/ 5289398 w 8978749"/>
              <a:gd name="connsiteY1759" fmla="*/ 3016148 h 4806848"/>
              <a:gd name="connsiteX1760" fmla="*/ 5210023 w 8978749"/>
              <a:gd name="connsiteY1760" fmla="*/ 2957410 h 4806848"/>
              <a:gd name="connsiteX1761" fmla="*/ 5268761 w 8978749"/>
              <a:gd name="connsiteY1761" fmla="*/ 2957410 h 4806848"/>
              <a:gd name="connsiteX1762" fmla="*/ 5268761 w 8978749"/>
              <a:gd name="connsiteY1762" fmla="*/ 3016148 h 4806848"/>
              <a:gd name="connsiteX1763" fmla="*/ 5210023 w 8978749"/>
              <a:gd name="connsiteY1763" fmla="*/ 3016148 h 4806848"/>
              <a:gd name="connsiteX1764" fmla="*/ 5130648 w 8978749"/>
              <a:gd name="connsiteY1764" fmla="*/ 2957410 h 4806848"/>
              <a:gd name="connsiteX1765" fmla="*/ 5189386 w 8978749"/>
              <a:gd name="connsiteY1765" fmla="*/ 2957410 h 4806848"/>
              <a:gd name="connsiteX1766" fmla="*/ 5189386 w 8978749"/>
              <a:gd name="connsiteY1766" fmla="*/ 3016148 h 4806848"/>
              <a:gd name="connsiteX1767" fmla="*/ 5130648 w 8978749"/>
              <a:gd name="connsiteY1767" fmla="*/ 3016148 h 4806848"/>
              <a:gd name="connsiteX1768" fmla="*/ 5052861 w 8978749"/>
              <a:gd name="connsiteY1768" fmla="*/ 2957410 h 4806848"/>
              <a:gd name="connsiteX1769" fmla="*/ 5110011 w 8978749"/>
              <a:gd name="connsiteY1769" fmla="*/ 2957410 h 4806848"/>
              <a:gd name="connsiteX1770" fmla="*/ 5110011 w 8978749"/>
              <a:gd name="connsiteY1770" fmla="*/ 3016148 h 4806848"/>
              <a:gd name="connsiteX1771" fmla="*/ 5052861 w 8978749"/>
              <a:gd name="connsiteY1771" fmla="*/ 3016148 h 4806848"/>
              <a:gd name="connsiteX1772" fmla="*/ 4973486 w 8978749"/>
              <a:gd name="connsiteY1772" fmla="*/ 2957410 h 4806848"/>
              <a:gd name="connsiteX1773" fmla="*/ 5030636 w 8978749"/>
              <a:gd name="connsiteY1773" fmla="*/ 2957410 h 4806848"/>
              <a:gd name="connsiteX1774" fmla="*/ 5030636 w 8978749"/>
              <a:gd name="connsiteY1774" fmla="*/ 3016148 h 4806848"/>
              <a:gd name="connsiteX1775" fmla="*/ 4973486 w 8978749"/>
              <a:gd name="connsiteY1775" fmla="*/ 3016148 h 4806848"/>
              <a:gd name="connsiteX1776" fmla="*/ 4894111 w 8978749"/>
              <a:gd name="connsiteY1776" fmla="*/ 2957410 h 4806848"/>
              <a:gd name="connsiteX1777" fmla="*/ 4952849 w 8978749"/>
              <a:gd name="connsiteY1777" fmla="*/ 2957410 h 4806848"/>
              <a:gd name="connsiteX1778" fmla="*/ 4952849 w 8978749"/>
              <a:gd name="connsiteY1778" fmla="*/ 3016148 h 4806848"/>
              <a:gd name="connsiteX1779" fmla="*/ 4894111 w 8978749"/>
              <a:gd name="connsiteY1779" fmla="*/ 3016148 h 4806848"/>
              <a:gd name="connsiteX1780" fmla="*/ 4814736 w 8978749"/>
              <a:gd name="connsiteY1780" fmla="*/ 2957410 h 4806848"/>
              <a:gd name="connsiteX1781" fmla="*/ 4873474 w 8978749"/>
              <a:gd name="connsiteY1781" fmla="*/ 2957410 h 4806848"/>
              <a:gd name="connsiteX1782" fmla="*/ 4873474 w 8978749"/>
              <a:gd name="connsiteY1782" fmla="*/ 3016148 h 4806848"/>
              <a:gd name="connsiteX1783" fmla="*/ 4814736 w 8978749"/>
              <a:gd name="connsiteY1783" fmla="*/ 3016148 h 4806848"/>
              <a:gd name="connsiteX1784" fmla="*/ 4736949 w 8978749"/>
              <a:gd name="connsiteY1784" fmla="*/ 2957410 h 4806848"/>
              <a:gd name="connsiteX1785" fmla="*/ 4794099 w 8978749"/>
              <a:gd name="connsiteY1785" fmla="*/ 2957410 h 4806848"/>
              <a:gd name="connsiteX1786" fmla="*/ 4794099 w 8978749"/>
              <a:gd name="connsiteY1786" fmla="*/ 3016148 h 4806848"/>
              <a:gd name="connsiteX1787" fmla="*/ 4736949 w 8978749"/>
              <a:gd name="connsiteY1787" fmla="*/ 3016148 h 4806848"/>
              <a:gd name="connsiteX1788" fmla="*/ 4657574 w 8978749"/>
              <a:gd name="connsiteY1788" fmla="*/ 2957410 h 4806848"/>
              <a:gd name="connsiteX1789" fmla="*/ 4716312 w 8978749"/>
              <a:gd name="connsiteY1789" fmla="*/ 2957410 h 4806848"/>
              <a:gd name="connsiteX1790" fmla="*/ 4716312 w 8978749"/>
              <a:gd name="connsiteY1790" fmla="*/ 3016148 h 4806848"/>
              <a:gd name="connsiteX1791" fmla="*/ 4657574 w 8978749"/>
              <a:gd name="connsiteY1791" fmla="*/ 3016148 h 4806848"/>
              <a:gd name="connsiteX1792" fmla="*/ 4578199 w 8978749"/>
              <a:gd name="connsiteY1792" fmla="*/ 2957410 h 4806848"/>
              <a:gd name="connsiteX1793" fmla="*/ 4636937 w 8978749"/>
              <a:gd name="connsiteY1793" fmla="*/ 2957410 h 4806848"/>
              <a:gd name="connsiteX1794" fmla="*/ 4636937 w 8978749"/>
              <a:gd name="connsiteY1794" fmla="*/ 3016148 h 4806848"/>
              <a:gd name="connsiteX1795" fmla="*/ 4578199 w 8978749"/>
              <a:gd name="connsiteY1795" fmla="*/ 3016148 h 4806848"/>
              <a:gd name="connsiteX1796" fmla="*/ 4498824 w 8978749"/>
              <a:gd name="connsiteY1796" fmla="*/ 2957410 h 4806848"/>
              <a:gd name="connsiteX1797" fmla="*/ 4557562 w 8978749"/>
              <a:gd name="connsiteY1797" fmla="*/ 2957410 h 4806848"/>
              <a:gd name="connsiteX1798" fmla="*/ 4557562 w 8978749"/>
              <a:gd name="connsiteY1798" fmla="*/ 3016148 h 4806848"/>
              <a:gd name="connsiteX1799" fmla="*/ 4498824 w 8978749"/>
              <a:gd name="connsiteY1799" fmla="*/ 3016148 h 4806848"/>
              <a:gd name="connsiteX1800" fmla="*/ 4421036 w 8978749"/>
              <a:gd name="connsiteY1800" fmla="*/ 2957410 h 4806848"/>
              <a:gd name="connsiteX1801" fmla="*/ 4479774 w 8978749"/>
              <a:gd name="connsiteY1801" fmla="*/ 2957410 h 4806848"/>
              <a:gd name="connsiteX1802" fmla="*/ 4479774 w 8978749"/>
              <a:gd name="connsiteY1802" fmla="*/ 3016148 h 4806848"/>
              <a:gd name="connsiteX1803" fmla="*/ 4421036 w 8978749"/>
              <a:gd name="connsiteY1803" fmla="*/ 3016148 h 4806848"/>
              <a:gd name="connsiteX1804" fmla="*/ 3000224 w 8978749"/>
              <a:gd name="connsiteY1804" fmla="*/ 2957410 h 4806848"/>
              <a:gd name="connsiteX1805" fmla="*/ 3057374 w 8978749"/>
              <a:gd name="connsiteY1805" fmla="*/ 2957410 h 4806848"/>
              <a:gd name="connsiteX1806" fmla="*/ 3057374 w 8978749"/>
              <a:gd name="connsiteY1806" fmla="*/ 3016148 h 4806848"/>
              <a:gd name="connsiteX1807" fmla="*/ 3000224 w 8978749"/>
              <a:gd name="connsiteY1807" fmla="*/ 3016148 h 4806848"/>
              <a:gd name="connsiteX1808" fmla="*/ 2920849 w 8978749"/>
              <a:gd name="connsiteY1808" fmla="*/ 2957410 h 4806848"/>
              <a:gd name="connsiteX1809" fmla="*/ 2979587 w 8978749"/>
              <a:gd name="connsiteY1809" fmla="*/ 2957410 h 4806848"/>
              <a:gd name="connsiteX1810" fmla="*/ 2979587 w 8978749"/>
              <a:gd name="connsiteY1810" fmla="*/ 3016148 h 4806848"/>
              <a:gd name="connsiteX1811" fmla="*/ 2920849 w 8978749"/>
              <a:gd name="connsiteY1811" fmla="*/ 3016148 h 4806848"/>
              <a:gd name="connsiteX1812" fmla="*/ 2841474 w 8978749"/>
              <a:gd name="connsiteY1812" fmla="*/ 2957410 h 4806848"/>
              <a:gd name="connsiteX1813" fmla="*/ 2900212 w 8978749"/>
              <a:gd name="connsiteY1813" fmla="*/ 2957410 h 4806848"/>
              <a:gd name="connsiteX1814" fmla="*/ 2900212 w 8978749"/>
              <a:gd name="connsiteY1814" fmla="*/ 3016148 h 4806848"/>
              <a:gd name="connsiteX1815" fmla="*/ 2841474 w 8978749"/>
              <a:gd name="connsiteY1815" fmla="*/ 3016148 h 4806848"/>
              <a:gd name="connsiteX1816" fmla="*/ 2763686 w 8978749"/>
              <a:gd name="connsiteY1816" fmla="*/ 2957410 h 4806848"/>
              <a:gd name="connsiteX1817" fmla="*/ 2820836 w 8978749"/>
              <a:gd name="connsiteY1817" fmla="*/ 2957410 h 4806848"/>
              <a:gd name="connsiteX1818" fmla="*/ 2820836 w 8978749"/>
              <a:gd name="connsiteY1818" fmla="*/ 3016148 h 4806848"/>
              <a:gd name="connsiteX1819" fmla="*/ 2763686 w 8978749"/>
              <a:gd name="connsiteY1819" fmla="*/ 3016148 h 4806848"/>
              <a:gd name="connsiteX1820" fmla="*/ 2684311 w 8978749"/>
              <a:gd name="connsiteY1820" fmla="*/ 2957410 h 4806848"/>
              <a:gd name="connsiteX1821" fmla="*/ 2743049 w 8978749"/>
              <a:gd name="connsiteY1821" fmla="*/ 2957410 h 4806848"/>
              <a:gd name="connsiteX1822" fmla="*/ 2743049 w 8978749"/>
              <a:gd name="connsiteY1822" fmla="*/ 3016148 h 4806848"/>
              <a:gd name="connsiteX1823" fmla="*/ 2684311 w 8978749"/>
              <a:gd name="connsiteY1823" fmla="*/ 3016148 h 4806848"/>
              <a:gd name="connsiteX1824" fmla="*/ 2604936 w 8978749"/>
              <a:gd name="connsiteY1824" fmla="*/ 2957410 h 4806848"/>
              <a:gd name="connsiteX1825" fmla="*/ 2663674 w 8978749"/>
              <a:gd name="connsiteY1825" fmla="*/ 2957410 h 4806848"/>
              <a:gd name="connsiteX1826" fmla="*/ 2663674 w 8978749"/>
              <a:gd name="connsiteY1826" fmla="*/ 3016148 h 4806848"/>
              <a:gd name="connsiteX1827" fmla="*/ 2604936 w 8978749"/>
              <a:gd name="connsiteY1827" fmla="*/ 3016148 h 4806848"/>
              <a:gd name="connsiteX1828" fmla="*/ 2525635 w 8978749"/>
              <a:gd name="connsiteY1828" fmla="*/ 2957410 h 4806848"/>
              <a:gd name="connsiteX1829" fmla="*/ 2584372 w 8978749"/>
              <a:gd name="connsiteY1829" fmla="*/ 2957410 h 4806848"/>
              <a:gd name="connsiteX1830" fmla="*/ 2584372 w 8978749"/>
              <a:gd name="connsiteY1830" fmla="*/ 3016148 h 4806848"/>
              <a:gd name="connsiteX1831" fmla="*/ 2525635 w 8978749"/>
              <a:gd name="connsiteY1831" fmla="*/ 3016148 h 4806848"/>
              <a:gd name="connsiteX1832" fmla="*/ 2447845 w 8978749"/>
              <a:gd name="connsiteY1832" fmla="*/ 2957410 h 4806848"/>
              <a:gd name="connsiteX1833" fmla="*/ 2505000 w 8978749"/>
              <a:gd name="connsiteY1833" fmla="*/ 2957410 h 4806848"/>
              <a:gd name="connsiteX1834" fmla="*/ 2505000 w 8978749"/>
              <a:gd name="connsiteY1834" fmla="*/ 3016148 h 4806848"/>
              <a:gd name="connsiteX1835" fmla="*/ 2447845 w 8978749"/>
              <a:gd name="connsiteY1835" fmla="*/ 3016148 h 4806848"/>
              <a:gd name="connsiteX1836" fmla="*/ 2368474 w 8978749"/>
              <a:gd name="connsiteY1836" fmla="*/ 2957410 h 4806848"/>
              <a:gd name="connsiteX1837" fmla="*/ 2427211 w 8978749"/>
              <a:gd name="connsiteY1837" fmla="*/ 2957410 h 4806848"/>
              <a:gd name="connsiteX1838" fmla="*/ 2427211 w 8978749"/>
              <a:gd name="connsiteY1838" fmla="*/ 3016148 h 4806848"/>
              <a:gd name="connsiteX1839" fmla="*/ 2368474 w 8978749"/>
              <a:gd name="connsiteY1839" fmla="*/ 3016148 h 4806848"/>
              <a:gd name="connsiteX1840" fmla="*/ 2289099 w 8978749"/>
              <a:gd name="connsiteY1840" fmla="*/ 2957410 h 4806848"/>
              <a:gd name="connsiteX1841" fmla="*/ 2347837 w 8978749"/>
              <a:gd name="connsiteY1841" fmla="*/ 2957410 h 4806848"/>
              <a:gd name="connsiteX1842" fmla="*/ 2347837 w 8978749"/>
              <a:gd name="connsiteY1842" fmla="*/ 3016148 h 4806848"/>
              <a:gd name="connsiteX1843" fmla="*/ 2289099 w 8978749"/>
              <a:gd name="connsiteY1843" fmla="*/ 3016148 h 4806848"/>
              <a:gd name="connsiteX1844" fmla="*/ 1893802 w 8978749"/>
              <a:gd name="connsiteY1844" fmla="*/ 2957410 h 4806848"/>
              <a:gd name="connsiteX1845" fmla="*/ 1952541 w 8978749"/>
              <a:gd name="connsiteY1845" fmla="*/ 2957410 h 4806848"/>
              <a:gd name="connsiteX1846" fmla="*/ 1952541 w 8978749"/>
              <a:gd name="connsiteY1846" fmla="*/ 3016148 h 4806848"/>
              <a:gd name="connsiteX1847" fmla="*/ 1893802 w 8978749"/>
              <a:gd name="connsiteY1847" fmla="*/ 3016148 h 4806848"/>
              <a:gd name="connsiteX1848" fmla="*/ 7183286 w 8978749"/>
              <a:gd name="connsiteY1848" fmla="*/ 2879622 h 4806848"/>
              <a:gd name="connsiteX1849" fmla="*/ 7242024 w 8978749"/>
              <a:gd name="connsiteY1849" fmla="*/ 2879622 h 4806848"/>
              <a:gd name="connsiteX1850" fmla="*/ 7242024 w 8978749"/>
              <a:gd name="connsiteY1850" fmla="*/ 2938360 h 4806848"/>
              <a:gd name="connsiteX1851" fmla="*/ 7183286 w 8978749"/>
              <a:gd name="connsiteY1851" fmla="*/ 2938360 h 4806848"/>
              <a:gd name="connsiteX1852" fmla="*/ 7105499 w 8978749"/>
              <a:gd name="connsiteY1852" fmla="*/ 2879622 h 4806848"/>
              <a:gd name="connsiteX1853" fmla="*/ 7162649 w 8978749"/>
              <a:gd name="connsiteY1853" fmla="*/ 2879622 h 4806848"/>
              <a:gd name="connsiteX1854" fmla="*/ 7162649 w 8978749"/>
              <a:gd name="connsiteY1854" fmla="*/ 2938360 h 4806848"/>
              <a:gd name="connsiteX1855" fmla="*/ 7105499 w 8978749"/>
              <a:gd name="connsiteY1855" fmla="*/ 2938360 h 4806848"/>
              <a:gd name="connsiteX1856" fmla="*/ 7026124 w 8978749"/>
              <a:gd name="connsiteY1856" fmla="*/ 2879622 h 4806848"/>
              <a:gd name="connsiteX1857" fmla="*/ 7084862 w 8978749"/>
              <a:gd name="connsiteY1857" fmla="*/ 2879622 h 4806848"/>
              <a:gd name="connsiteX1858" fmla="*/ 7084862 w 8978749"/>
              <a:gd name="connsiteY1858" fmla="*/ 2938360 h 4806848"/>
              <a:gd name="connsiteX1859" fmla="*/ 7026124 w 8978749"/>
              <a:gd name="connsiteY1859" fmla="*/ 2938360 h 4806848"/>
              <a:gd name="connsiteX1860" fmla="*/ 6789586 w 8978749"/>
              <a:gd name="connsiteY1860" fmla="*/ 2879622 h 4806848"/>
              <a:gd name="connsiteX1861" fmla="*/ 6846736 w 8978749"/>
              <a:gd name="connsiteY1861" fmla="*/ 2879622 h 4806848"/>
              <a:gd name="connsiteX1862" fmla="*/ 6846736 w 8978749"/>
              <a:gd name="connsiteY1862" fmla="*/ 2938360 h 4806848"/>
              <a:gd name="connsiteX1863" fmla="*/ 6789586 w 8978749"/>
              <a:gd name="connsiteY1863" fmla="*/ 2938360 h 4806848"/>
              <a:gd name="connsiteX1864" fmla="*/ 6710211 w 8978749"/>
              <a:gd name="connsiteY1864" fmla="*/ 2879622 h 4806848"/>
              <a:gd name="connsiteX1865" fmla="*/ 6768949 w 8978749"/>
              <a:gd name="connsiteY1865" fmla="*/ 2879622 h 4806848"/>
              <a:gd name="connsiteX1866" fmla="*/ 6768949 w 8978749"/>
              <a:gd name="connsiteY1866" fmla="*/ 2938360 h 4806848"/>
              <a:gd name="connsiteX1867" fmla="*/ 6710211 w 8978749"/>
              <a:gd name="connsiteY1867" fmla="*/ 2938360 h 4806848"/>
              <a:gd name="connsiteX1868" fmla="*/ 6630836 w 8978749"/>
              <a:gd name="connsiteY1868" fmla="*/ 2879622 h 4806848"/>
              <a:gd name="connsiteX1869" fmla="*/ 6689574 w 8978749"/>
              <a:gd name="connsiteY1869" fmla="*/ 2879622 h 4806848"/>
              <a:gd name="connsiteX1870" fmla="*/ 6689574 w 8978749"/>
              <a:gd name="connsiteY1870" fmla="*/ 2938360 h 4806848"/>
              <a:gd name="connsiteX1871" fmla="*/ 6630836 w 8978749"/>
              <a:gd name="connsiteY1871" fmla="*/ 2938360 h 4806848"/>
              <a:gd name="connsiteX1872" fmla="*/ 5368774 w 8978749"/>
              <a:gd name="connsiteY1872" fmla="*/ 2879622 h 4806848"/>
              <a:gd name="connsiteX1873" fmla="*/ 5425924 w 8978749"/>
              <a:gd name="connsiteY1873" fmla="*/ 2879622 h 4806848"/>
              <a:gd name="connsiteX1874" fmla="*/ 5425924 w 8978749"/>
              <a:gd name="connsiteY1874" fmla="*/ 2938360 h 4806848"/>
              <a:gd name="connsiteX1875" fmla="*/ 5368774 w 8978749"/>
              <a:gd name="connsiteY1875" fmla="*/ 2938360 h 4806848"/>
              <a:gd name="connsiteX1876" fmla="*/ 5289399 w 8978749"/>
              <a:gd name="connsiteY1876" fmla="*/ 2879622 h 4806848"/>
              <a:gd name="connsiteX1877" fmla="*/ 5348137 w 8978749"/>
              <a:gd name="connsiteY1877" fmla="*/ 2879622 h 4806848"/>
              <a:gd name="connsiteX1878" fmla="*/ 5348137 w 8978749"/>
              <a:gd name="connsiteY1878" fmla="*/ 2938360 h 4806848"/>
              <a:gd name="connsiteX1879" fmla="*/ 5289399 w 8978749"/>
              <a:gd name="connsiteY1879" fmla="*/ 2938360 h 4806848"/>
              <a:gd name="connsiteX1880" fmla="*/ 5210024 w 8978749"/>
              <a:gd name="connsiteY1880" fmla="*/ 2879622 h 4806848"/>
              <a:gd name="connsiteX1881" fmla="*/ 5268762 w 8978749"/>
              <a:gd name="connsiteY1881" fmla="*/ 2879622 h 4806848"/>
              <a:gd name="connsiteX1882" fmla="*/ 5268762 w 8978749"/>
              <a:gd name="connsiteY1882" fmla="*/ 2938360 h 4806848"/>
              <a:gd name="connsiteX1883" fmla="*/ 5210024 w 8978749"/>
              <a:gd name="connsiteY1883" fmla="*/ 2938360 h 4806848"/>
              <a:gd name="connsiteX1884" fmla="*/ 5130649 w 8978749"/>
              <a:gd name="connsiteY1884" fmla="*/ 2879622 h 4806848"/>
              <a:gd name="connsiteX1885" fmla="*/ 5189387 w 8978749"/>
              <a:gd name="connsiteY1885" fmla="*/ 2879622 h 4806848"/>
              <a:gd name="connsiteX1886" fmla="*/ 5189387 w 8978749"/>
              <a:gd name="connsiteY1886" fmla="*/ 2938360 h 4806848"/>
              <a:gd name="connsiteX1887" fmla="*/ 5130649 w 8978749"/>
              <a:gd name="connsiteY1887" fmla="*/ 2938360 h 4806848"/>
              <a:gd name="connsiteX1888" fmla="*/ 5052861 w 8978749"/>
              <a:gd name="connsiteY1888" fmla="*/ 2879622 h 4806848"/>
              <a:gd name="connsiteX1889" fmla="*/ 5110011 w 8978749"/>
              <a:gd name="connsiteY1889" fmla="*/ 2879622 h 4806848"/>
              <a:gd name="connsiteX1890" fmla="*/ 5110011 w 8978749"/>
              <a:gd name="connsiteY1890" fmla="*/ 2938360 h 4806848"/>
              <a:gd name="connsiteX1891" fmla="*/ 5052861 w 8978749"/>
              <a:gd name="connsiteY1891" fmla="*/ 2938360 h 4806848"/>
              <a:gd name="connsiteX1892" fmla="*/ 4973486 w 8978749"/>
              <a:gd name="connsiteY1892" fmla="*/ 2879622 h 4806848"/>
              <a:gd name="connsiteX1893" fmla="*/ 5030636 w 8978749"/>
              <a:gd name="connsiteY1893" fmla="*/ 2879622 h 4806848"/>
              <a:gd name="connsiteX1894" fmla="*/ 5030636 w 8978749"/>
              <a:gd name="connsiteY1894" fmla="*/ 2938360 h 4806848"/>
              <a:gd name="connsiteX1895" fmla="*/ 4973486 w 8978749"/>
              <a:gd name="connsiteY1895" fmla="*/ 2938360 h 4806848"/>
              <a:gd name="connsiteX1896" fmla="*/ 4894111 w 8978749"/>
              <a:gd name="connsiteY1896" fmla="*/ 2879622 h 4806848"/>
              <a:gd name="connsiteX1897" fmla="*/ 4952849 w 8978749"/>
              <a:gd name="connsiteY1897" fmla="*/ 2879622 h 4806848"/>
              <a:gd name="connsiteX1898" fmla="*/ 4952849 w 8978749"/>
              <a:gd name="connsiteY1898" fmla="*/ 2938360 h 4806848"/>
              <a:gd name="connsiteX1899" fmla="*/ 4894111 w 8978749"/>
              <a:gd name="connsiteY1899" fmla="*/ 2938360 h 4806848"/>
              <a:gd name="connsiteX1900" fmla="*/ 4814736 w 8978749"/>
              <a:gd name="connsiteY1900" fmla="*/ 2879622 h 4806848"/>
              <a:gd name="connsiteX1901" fmla="*/ 4873474 w 8978749"/>
              <a:gd name="connsiteY1901" fmla="*/ 2879622 h 4806848"/>
              <a:gd name="connsiteX1902" fmla="*/ 4873474 w 8978749"/>
              <a:gd name="connsiteY1902" fmla="*/ 2938360 h 4806848"/>
              <a:gd name="connsiteX1903" fmla="*/ 4814736 w 8978749"/>
              <a:gd name="connsiteY1903" fmla="*/ 2938360 h 4806848"/>
              <a:gd name="connsiteX1904" fmla="*/ 4736949 w 8978749"/>
              <a:gd name="connsiteY1904" fmla="*/ 2879622 h 4806848"/>
              <a:gd name="connsiteX1905" fmla="*/ 4794099 w 8978749"/>
              <a:gd name="connsiteY1905" fmla="*/ 2879622 h 4806848"/>
              <a:gd name="connsiteX1906" fmla="*/ 4794099 w 8978749"/>
              <a:gd name="connsiteY1906" fmla="*/ 2938360 h 4806848"/>
              <a:gd name="connsiteX1907" fmla="*/ 4736949 w 8978749"/>
              <a:gd name="connsiteY1907" fmla="*/ 2938360 h 4806848"/>
              <a:gd name="connsiteX1908" fmla="*/ 4657574 w 8978749"/>
              <a:gd name="connsiteY1908" fmla="*/ 2879622 h 4806848"/>
              <a:gd name="connsiteX1909" fmla="*/ 4716312 w 8978749"/>
              <a:gd name="connsiteY1909" fmla="*/ 2879622 h 4806848"/>
              <a:gd name="connsiteX1910" fmla="*/ 4716312 w 8978749"/>
              <a:gd name="connsiteY1910" fmla="*/ 2938360 h 4806848"/>
              <a:gd name="connsiteX1911" fmla="*/ 4657574 w 8978749"/>
              <a:gd name="connsiteY1911" fmla="*/ 2938360 h 4806848"/>
              <a:gd name="connsiteX1912" fmla="*/ 4578199 w 8978749"/>
              <a:gd name="connsiteY1912" fmla="*/ 2879622 h 4806848"/>
              <a:gd name="connsiteX1913" fmla="*/ 4636937 w 8978749"/>
              <a:gd name="connsiteY1913" fmla="*/ 2879622 h 4806848"/>
              <a:gd name="connsiteX1914" fmla="*/ 4636937 w 8978749"/>
              <a:gd name="connsiteY1914" fmla="*/ 2938360 h 4806848"/>
              <a:gd name="connsiteX1915" fmla="*/ 4578199 w 8978749"/>
              <a:gd name="connsiteY1915" fmla="*/ 2938360 h 4806848"/>
              <a:gd name="connsiteX1916" fmla="*/ 4498824 w 8978749"/>
              <a:gd name="connsiteY1916" fmla="*/ 2879622 h 4806848"/>
              <a:gd name="connsiteX1917" fmla="*/ 4557562 w 8978749"/>
              <a:gd name="connsiteY1917" fmla="*/ 2879622 h 4806848"/>
              <a:gd name="connsiteX1918" fmla="*/ 4557562 w 8978749"/>
              <a:gd name="connsiteY1918" fmla="*/ 2938360 h 4806848"/>
              <a:gd name="connsiteX1919" fmla="*/ 4498824 w 8978749"/>
              <a:gd name="connsiteY1919" fmla="*/ 2938360 h 4806848"/>
              <a:gd name="connsiteX1920" fmla="*/ 2920849 w 8978749"/>
              <a:gd name="connsiteY1920" fmla="*/ 2879622 h 4806848"/>
              <a:gd name="connsiteX1921" fmla="*/ 2979587 w 8978749"/>
              <a:gd name="connsiteY1921" fmla="*/ 2879622 h 4806848"/>
              <a:gd name="connsiteX1922" fmla="*/ 2979587 w 8978749"/>
              <a:gd name="connsiteY1922" fmla="*/ 2938360 h 4806848"/>
              <a:gd name="connsiteX1923" fmla="*/ 2920849 w 8978749"/>
              <a:gd name="connsiteY1923" fmla="*/ 2938360 h 4806848"/>
              <a:gd name="connsiteX1924" fmla="*/ 2841474 w 8978749"/>
              <a:gd name="connsiteY1924" fmla="*/ 2879622 h 4806848"/>
              <a:gd name="connsiteX1925" fmla="*/ 2900212 w 8978749"/>
              <a:gd name="connsiteY1925" fmla="*/ 2879622 h 4806848"/>
              <a:gd name="connsiteX1926" fmla="*/ 2900212 w 8978749"/>
              <a:gd name="connsiteY1926" fmla="*/ 2938360 h 4806848"/>
              <a:gd name="connsiteX1927" fmla="*/ 2841474 w 8978749"/>
              <a:gd name="connsiteY1927" fmla="*/ 2938360 h 4806848"/>
              <a:gd name="connsiteX1928" fmla="*/ 2763686 w 8978749"/>
              <a:gd name="connsiteY1928" fmla="*/ 2879622 h 4806848"/>
              <a:gd name="connsiteX1929" fmla="*/ 2820836 w 8978749"/>
              <a:gd name="connsiteY1929" fmla="*/ 2879622 h 4806848"/>
              <a:gd name="connsiteX1930" fmla="*/ 2820836 w 8978749"/>
              <a:gd name="connsiteY1930" fmla="*/ 2938360 h 4806848"/>
              <a:gd name="connsiteX1931" fmla="*/ 2763686 w 8978749"/>
              <a:gd name="connsiteY1931" fmla="*/ 2938360 h 4806848"/>
              <a:gd name="connsiteX1932" fmla="*/ 2684311 w 8978749"/>
              <a:gd name="connsiteY1932" fmla="*/ 2879622 h 4806848"/>
              <a:gd name="connsiteX1933" fmla="*/ 2743049 w 8978749"/>
              <a:gd name="connsiteY1933" fmla="*/ 2879622 h 4806848"/>
              <a:gd name="connsiteX1934" fmla="*/ 2743049 w 8978749"/>
              <a:gd name="connsiteY1934" fmla="*/ 2938360 h 4806848"/>
              <a:gd name="connsiteX1935" fmla="*/ 2684311 w 8978749"/>
              <a:gd name="connsiteY1935" fmla="*/ 2938360 h 4806848"/>
              <a:gd name="connsiteX1936" fmla="*/ 2604936 w 8978749"/>
              <a:gd name="connsiteY1936" fmla="*/ 2879622 h 4806848"/>
              <a:gd name="connsiteX1937" fmla="*/ 2663674 w 8978749"/>
              <a:gd name="connsiteY1937" fmla="*/ 2879622 h 4806848"/>
              <a:gd name="connsiteX1938" fmla="*/ 2663674 w 8978749"/>
              <a:gd name="connsiteY1938" fmla="*/ 2938360 h 4806848"/>
              <a:gd name="connsiteX1939" fmla="*/ 2604936 w 8978749"/>
              <a:gd name="connsiteY1939" fmla="*/ 2938360 h 4806848"/>
              <a:gd name="connsiteX1940" fmla="*/ 2525639 w 8978749"/>
              <a:gd name="connsiteY1940" fmla="*/ 2879622 h 4806848"/>
              <a:gd name="connsiteX1941" fmla="*/ 2584377 w 8978749"/>
              <a:gd name="connsiteY1941" fmla="*/ 2879622 h 4806848"/>
              <a:gd name="connsiteX1942" fmla="*/ 2584377 w 8978749"/>
              <a:gd name="connsiteY1942" fmla="*/ 2938360 h 4806848"/>
              <a:gd name="connsiteX1943" fmla="*/ 2525639 w 8978749"/>
              <a:gd name="connsiteY1943" fmla="*/ 2938360 h 4806848"/>
              <a:gd name="connsiteX1944" fmla="*/ 2447849 w 8978749"/>
              <a:gd name="connsiteY1944" fmla="*/ 2879622 h 4806848"/>
              <a:gd name="connsiteX1945" fmla="*/ 2505004 w 8978749"/>
              <a:gd name="connsiteY1945" fmla="*/ 2879622 h 4806848"/>
              <a:gd name="connsiteX1946" fmla="*/ 2505004 w 8978749"/>
              <a:gd name="connsiteY1946" fmla="*/ 2938360 h 4806848"/>
              <a:gd name="connsiteX1947" fmla="*/ 2447849 w 8978749"/>
              <a:gd name="connsiteY1947" fmla="*/ 2938360 h 4806848"/>
              <a:gd name="connsiteX1948" fmla="*/ 2368479 w 8978749"/>
              <a:gd name="connsiteY1948" fmla="*/ 2879622 h 4806848"/>
              <a:gd name="connsiteX1949" fmla="*/ 2427214 w 8978749"/>
              <a:gd name="connsiteY1949" fmla="*/ 2879622 h 4806848"/>
              <a:gd name="connsiteX1950" fmla="*/ 2427214 w 8978749"/>
              <a:gd name="connsiteY1950" fmla="*/ 2938360 h 4806848"/>
              <a:gd name="connsiteX1951" fmla="*/ 2368479 w 8978749"/>
              <a:gd name="connsiteY1951" fmla="*/ 2938360 h 4806848"/>
              <a:gd name="connsiteX1952" fmla="*/ 2289103 w 8978749"/>
              <a:gd name="connsiteY1952" fmla="*/ 2879622 h 4806848"/>
              <a:gd name="connsiteX1953" fmla="*/ 2347841 w 8978749"/>
              <a:gd name="connsiteY1953" fmla="*/ 2879622 h 4806848"/>
              <a:gd name="connsiteX1954" fmla="*/ 2347841 w 8978749"/>
              <a:gd name="connsiteY1954" fmla="*/ 2938360 h 4806848"/>
              <a:gd name="connsiteX1955" fmla="*/ 2289103 w 8978749"/>
              <a:gd name="connsiteY1955" fmla="*/ 2938360 h 4806848"/>
              <a:gd name="connsiteX1956" fmla="*/ 8289774 w 8978749"/>
              <a:gd name="connsiteY1956" fmla="*/ 2803422 h 4806848"/>
              <a:gd name="connsiteX1957" fmla="*/ 8346924 w 8978749"/>
              <a:gd name="connsiteY1957" fmla="*/ 2803422 h 4806848"/>
              <a:gd name="connsiteX1958" fmla="*/ 8346924 w 8978749"/>
              <a:gd name="connsiteY1958" fmla="*/ 2860572 h 4806848"/>
              <a:gd name="connsiteX1959" fmla="*/ 8289774 w 8978749"/>
              <a:gd name="connsiteY1959" fmla="*/ 2860572 h 4806848"/>
              <a:gd name="connsiteX1960" fmla="*/ 7894486 w 8978749"/>
              <a:gd name="connsiteY1960" fmla="*/ 2803422 h 4806848"/>
              <a:gd name="connsiteX1961" fmla="*/ 7951636 w 8978749"/>
              <a:gd name="connsiteY1961" fmla="*/ 2803422 h 4806848"/>
              <a:gd name="connsiteX1962" fmla="*/ 7951636 w 8978749"/>
              <a:gd name="connsiteY1962" fmla="*/ 2860572 h 4806848"/>
              <a:gd name="connsiteX1963" fmla="*/ 7894486 w 8978749"/>
              <a:gd name="connsiteY1963" fmla="*/ 2860572 h 4806848"/>
              <a:gd name="connsiteX1964" fmla="*/ 7262661 w 8978749"/>
              <a:gd name="connsiteY1964" fmla="*/ 2803422 h 4806848"/>
              <a:gd name="connsiteX1965" fmla="*/ 7321399 w 8978749"/>
              <a:gd name="connsiteY1965" fmla="*/ 2803422 h 4806848"/>
              <a:gd name="connsiteX1966" fmla="*/ 7321399 w 8978749"/>
              <a:gd name="connsiteY1966" fmla="*/ 2860572 h 4806848"/>
              <a:gd name="connsiteX1967" fmla="*/ 7262661 w 8978749"/>
              <a:gd name="connsiteY1967" fmla="*/ 2860572 h 4806848"/>
              <a:gd name="connsiteX1968" fmla="*/ 7183286 w 8978749"/>
              <a:gd name="connsiteY1968" fmla="*/ 2803422 h 4806848"/>
              <a:gd name="connsiteX1969" fmla="*/ 7242024 w 8978749"/>
              <a:gd name="connsiteY1969" fmla="*/ 2803422 h 4806848"/>
              <a:gd name="connsiteX1970" fmla="*/ 7242024 w 8978749"/>
              <a:gd name="connsiteY1970" fmla="*/ 2860572 h 4806848"/>
              <a:gd name="connsiteX1971" fmla="*/ 7183286 w 8978749"/>
              <a:gd name="connsiteY1971" fmla="*/ 2860572 h 4806848"/>
              <a:gd name="connsiteX1972" fmla="*/ 7105499 w 8978749"/>
              <a:gd name="connsiteY1972" fmla="*/ 2803422 h 4806848"/>
              <a:gd name="connsiteX1973" fmla="*/ 7162649 w 8978749"/>
              <a:gd name="connsiteY1973" fmla="*/ 2803422 h 4806848"/>
              <a:gd name="connsiteX1974" fmla="*/ 7162649 w 8978749"/>
              <a:gd name="connsiteY1974" fmla="*/ 2860572 h 4806848"/>
              <a:gd name="connsiteX1975" fmla="*/ 7105499 w 8978749"/>
              <a:gd name="connsiteY1975" fmla="*/ 2860572 h 4806848"/>
              <a:gd name="connsiteX1976" fmla="*/ 6789586 w 8978749"/>
              <a:gd name="connsiteY1976" fmla="*/ 2803422 h 4806848"/>
              <a:gd name="connsiteX1977" fmla="*/ 6846736 w 8978749"/>
              <a:gd name="connsiteY1977" fmla="*/ 2803422 h 4806848"/>
              <a:gd name="connsiteX1978" fmla="*/ 6846736 w 8978749"/>
              <a:gd name="connsiteY1978" fmla="*/ 2860572 h 4806848"/>
              <a:gd name="connsiteX1979" fmla="*/ 6789586 w 8978749"/>
              <a:gd name="connsiteY1979" fmla="*/ 2860572 h 4806848"/>
              <a:gd name="connsiteX1980" fmla="*/ 6710211 w 8978749"/>
              <a:gd name="connsiteY1980" fmla="*/ 2803422 h 4806848"/>
              <a:gd name="connsiteX1981" fmla="*/ 6768949 w 8978749"/>
              <a:gd name="connsiteY1981" fmla="*/ 2803422 h 4806848"/>
              <a:gd name="connsiteX1982" fmla="*/ 6768949 w 8978749"/>
              <a:gd name="connsiteY1982" fmla="*/ 2860572 h 4806848"/>
              <a:gd name="connsiteX1983" fmla="*/ 6710211 w 8978749"/>
              <a:gd name="connsiteY1983" fmla="*/ 2860572 h 4806848"/>
              <a:gd name="connsiteX1984" fmla="*/ 6235549 w 8978749"/>
              <a:gd name="connsiteY1984" fmla="*/ 2803422 h 4806848"/>
              <a:gd name="connsiteX1985" fmla="*/ 6294287 w 8978749"/>
              <a:gd name="connsiteY1985" fmla="*/ 2803422 h 4806848"/>
              <a:gd name="connsiteX1986" fmla="*/ 6294287 w 8978749"/>
              <a:gd name="connsiteY1986" fmla="*/ 2860572 h 4806848"/>
              <a:gd name="connsiteX1987" fmla="*/ 6235549 w 8978749"/>
              <a:gd name="connsiteY1987" fmla="*/ 2860572 h 4806848"/>
              <a:gd name="connsiteX1988" fmla="*/ 5446561 w 8978749"/>
              <a:gd name="connsiteY1988" fmla="*/ 2803422 h 4806848"/>
              <a:gd name="connsiteX1989" fmla="*/ 5505299 w 8978749"/>
              <a:gd name="connsiteY1989" fmla="*/ 2803422 h 4806848"/>
              <a:gd name="connsiteX1990" fmla="*/ 5505299 w 8978749"/>
              <a:gd name="connsiteY1990" fmla="*/ 2860572 h 4806848"/>
              <a:gd name="connsiteX1991" fmla="*/ 5446561 w 8978749"/>
              <a:gd name="connsiteY1991" fmla="*/ 2860572 h 4806848"/>
              <a:gd name="connsiteX1992" fmla="*/ 5368774 w 8978749"/>
              <a:gd name="connsiteY1992" fmla="*/ 2803422 h 4806848"/>
              <a:gd name="connsiteX1993" fmla="*/ 5425924 w 8978749"/>
              <a:gd name="connsiteY1993" fmla="*/ 2803422 h 4806848"/>
              <a:gd name="connsiteX1994" fmla="*/ 5425924 w 8978749"/>
              <a:gd name="connsiteY1994" fmla="*/ 2860572 h 4806848"/>
              <a:gd name="connsiteX1995" fmla="*/ 5368774 w 8978749"/>
              <a:gd name="connsiteY1995" fmla="*/ 2860572 h 4806848"/>
              <a:gd name="connsiteX1996" fmla="*/ 5289399 w 8978749"/>
              <a:gd name="connsiteY1996" fmla="*/ 2803422 h 4806848"/>
              <a:gd name="connsiteX1997" fmla="*/ 5348137 w 8978749"/>
              <a:gd name="connsiteY1997" fmla="*/ 2803422 h 4806848"/>
              <a:gd name="connsiteX1998" fmla="*/ 5348137 w 8978749"/>
              <a:gd name="connsiteY1998" fmla="*/ 2860572 h 4806848"/>
              <a:gd name="connsiteX1999" fmla="*/ 5289399 w 8978749"/>
              <a:gd name="connsiteY1999" fmla="*/ 2860572 h 4806848"/>
              <a:gd name="connsiteX2000" fmla="*/ 5210024 w 8978749"/>
              <a:gd name="connsiteY2000" fmla="*/ 2803422 h 4806848"/>
              <a:gd name="connsiteX2001" fmla="*/ 5268762 w 8978749"/>
              <a:gd name="connsiteY2001" fmla="*/ 2803422 h 4806848"/>
              <a:gd name="connsiteX2002" fmla="*/ 5268762 w 8978749"/>
              <a:gd name="connsiteY2002" fmla="*/ 2860572 h 4806848"/>
              <a:gd name="connsiteX2003" fmla="*/ 5210024 w 8978749"/>
              <a:gd name="connsiteY2003" fmla="*/ 2860572 h 4806848"/>
              <a:gd name="connsiteX2004" fmla="*/ 5130649 w 8978749"/>
              <a:gd name="connsiteY2004" fmla="*/ 2803422 h 4806848"/>
              <a:gd name="connsiteX2005" fmla="*/ 5189387 w 8978749"/>
              <a:gd name="connsiteY2005" fmla="*/ 2803422 h 4806848"/>
              <a:gd name="connsiteX2006" fmla="*/ 5189387 w 8978749"/>
              <a:gd name="connsiteY2006" fmla="*/ 2860572 h 4806848"/>
              <a:gd name="connsiteX2007" fmla="*/ 5130649 w 8978749"/>
              <a:gd name="connsiteY2007" fmla="*/ 2860572 h 4806848"/>
              <a:gd name="connsiteX2008" fmla="*/ 5052861 w 8978749"/>
              <a:gd name="connsiteY2008" fmla="*/ 2803422 h 4806848"/>
              <a:gd name="connsiteX2009" fmla="*/ 5110011 w 8978749"/>
              <a:gd name="connsiteY2009" fmla="*/ 2803422 h 4806848"/>
              <a:gd name="connsiteX2010" fmla="*/ 5110011 w 8978749"/>
              <a:gd name="connsiteY2010" fmla="*/ 2860572 h 4806848"/>
              <a:gd name="connsiteX2011" fmla="*/ 5052861 w 8978749"/>
              <a:gd name="connsiteY2011" fmla="*/ 2860572 h 4806848"/>
              <a:gd name="connsiteX2012" fmla="*/ 4973486 w 8978749"/>
              <a:gd name="connsiteY2012" fmla="*/ 2803422 h 4806848"/>
              <a:gd name="connsiteX2013" fmla="*/ 5030636 w 8978749"/>
              <a:gd name="connsiteY2013" fmla="*/ 2803422 h 4806848"/>
              <a:gd name="connsiteX2014" fmla="*/ 5030636 w 8978749"/>
              <a:gd name="connsiteY2014" fmla="*/ 2860572 h 4806848"/>
              <a:gd name="connsiteX2015" fmla="*/ 4973486 w 8978749"/>
              <a:gd name="connsiteY2015" fmla="*/ 2860572 h 4806848"/>
              <a:gd name="connsiteX2016" fmla="*/ 4894111 w 8978749"/>
              <a:gd name="connsiteY2016" fmla="*/ 2803422 h 4806848"/>
              <a:gd name="connsiteX2017" fmla="*/ 4952849 w 8978749"/>
              <a:gd name="connsiteY2017" fmla="*/ 2803422 h 4806848"/>
              <a:gd name="connsiteX2018" fmla="*/ 4952849 w 8978749"/>
              <a:gd name="connsiteY2018" fmla="*/ 2860572 h 4806848"/>
              <a:gd name="connsiteX2019" fmla="*/ 4894111 w 8978749"/>
              <a:gd name="connsiteY2019" fmla="*/ 2860572 h 4806848"/>
              <a:gd name="connsiteX2020" fmla="*/ 4814736 w 8978749"/>
              <a:gd name="connsiteY2020" fmla="*/ 2803422 h 4806848"/>
              <a:gd name="connsiteX2021" fmla="*/ 4873474 w 8978749"/>
              <a:gd name="connsiteY2021" fmla="*/ 2803422 h 4806848"/>
              <a:gd name="connsiteX2022" fmla="*/ 4873474 w 8978749"/>
              <a:gd name="connsiteY2022" fmla="*/ 2860572 h 4806848"/>
              <a:gd name="connsiteX2023" fmla="*/ 4814736 w 8978749"/>
              <a:gd name="connsiteY2023" fmla="*/ 2860572 h 4806848"/>
              <a:gd name="connsiteX2024" fmla="*/ 4736949 w 8978749"/>
              <a:gd name="connsiteY2024" fmla="*/ 2803422 h 4806848"/>
              <a:gd name="connsiteX2025" fmla="*/ 4794099 w 8978749"/>
              <a:gd name="connsiteY2025" fmla="*/ 2803422 h 4806848"/>
              <a:gd name="connsiteX2026" fmla="*/ 4794099 w 8978749"/>
              <a:gd name="connsiteY2026" fmla="*/ 2860572 h 4806848"/>
              <a:gd name="connsiteX2027" fmla="*/ 4736949 w 8978749"/>
              <a:gd name="connsiteY2027" fmla="*/ 2860572 h 4806848"/>
              <a:gd name="connsiteX2028" fmla="*/ 4657574 w 8978749"/>
              <a:gd name="connsiteY2028" fmla="*/ 2803422 h 4806848"/>
              <a:gd name="connsiteX2029" fmla="*/ 4716312 w 8978749"/>
              <a:gd name="connsiteY2029" fmla="*/ 2803422 h 4806848"/>
              <a:gd name="connsiteX2030" fmla="*/ 4716312 w 8978749"/>
              <a:gd name="connsiteY2030" fmla="*/ 2860572 h 4806848"/>
              <a:gd name="connsiteX2031" fmla="*/ 4657574 w 8978749"/>
              <a:gd name="connsiteY2031" fmla="*/ 2860572 h 4806848"/>
              <a:gd name="connsiteX2032" fmla="*/ 4578199 w 8978749"/>
              <a:gd name="connsiteY2032" fmla="*/ 2803422 h 4806848"/>
              <a:gd name="connsiteX2033" fmla="*/ 4636937 w 8978749"/>
              <a:gd name="connsiteY2033" fmla="*/ 2803422 h 4806848"/>
              <a:gd name="connsiteX2034" fmla="*/ 4636937 w 8978749"/>
              <a:gd name="connsiteY2034" fmla="*/ 2860572 h 4806848"/>
              <a:gd name="connsiteX2035" fmla="*/ 4578199 w 8978749"/>
              <a:gd name="connsiteY2035" fmla="*/ 2860572 h 4806848"/>
              <a:gd name="connsiteX2036" fmla="*/ 4498824 w 8978749"/>
              <a:gd name="connsiteY2036" fmla="*/ 2803422 h 4806848"/>
              <a:gd name="connsiteX2037" fmla="*/ 4557562 w 8978749"/>
              <a:gd name="connsiteY2037" fmla="*/ 2803422 h 4806848"/>
              <a:gd name="connsiteX2038" fmla="*/ 4557562 w 8978749"/>
              <a:gd name="connsiteY2038" fmla="*/ 2860572 h 4806848"/>
              <a:gd name="connsiteX2039" fmla="*/ 4498824 w 8978749"/>
              <a:gd name="connsiteY2039" fmla="*/ 2860572 h 4806848"/>
              <a:gd name="connsiteX2040" fmla="*/ 4421036 w 8978749"/>
              <a:gd name="connsiteY2040" fmla="*/ 2803422 h 4806848"/>
              <a:gd name="connsiteX2041" fmla="*/ 4479774 w 8978749"/>
              <a:gd name="connsiteY2041" fmla="*/ 2803422 h 4806848"/>
              <a:gd name="connsiteX2042" fmla="*/ 4479774 w 8978749"/>
              <a:gd name="connsiteY2042" fmla="*/ 2860572 h 4806848"/>
              <a:gd name="connsiteX2043" fmla="*/ 4421036 w 8978749"/>
              <a:gd name="connsiteY2043" fmla="*/ 2860572 h 4806848"/>
              <a:gd name="connsiteX2044" fmla="*/ 4184499 w 8978749"/>
              <a:gd name="connsiteY2044" fmla="*/ 2803422 h 4806848"/>
              <a:gd name="connsiteX2045" fmla="*/ 4241649 w 8978749"/>
              <a:gd name="connsiteY2045" fmla="*/ 2803422 h 4806848"/>
              <a:gd name="connsiteX2046" fmla="*/ 4241649 w 8978749"/>
              <a:gd name="connsiteY2046" fmla="*/ 2860572 h 4806848"/>
              <a:gd name="connsiteX2047" fmla="*/ 4184499 w 8978749"/>
              <a:gd name="connsiteY2047" fmla="*/ 2860572 h 4806848"/>
              <a:gd name="connsiteX2048" fmla="*/ 4105124 w 8978749"/>
              <a:gd name="connsiteY2048" fmla="*/ 2803422 h 4806848"/>
              <a:gd name="connsiteX2049" fmla="*/ 4163862 w 8978749"/>
              <a:gd name="connsiteY2049" fmla="*/ 2803422 h 4806848"/>
              <a:gd name="connsiteX2050" fmla="*/ 4163862 w 8978749"/>
              <a:gd name="connsiteY2050" fmla="*/ 2860572 h 4806848"/>
              <a:gd name="connsiteX2051" fmla="*/ 4105124 w 8978749"/>
              <a:gd name="connsiteY2051" fmla="*/ 2860572 h 4806848"/>
              <a:gd name="connsiteX2052" fmla="*/ 4025749 w 8978749"/>
              <a:gd name="connsiteY2052" fmla="*/ 2803422 h 4806848"/>
              <a:gd name="connsiteX2053" fmla="*/ 4084487 w 8978749"/>
              <a:gd name="connsiteY2053" fmla="*/ 2803422 h 4806848"/>
              <a:gd name="connsiteX2054" fmla="*/ 4084487 w 8978749"/>
              <a:gd name="connsiteY2054" fmla="*/ 2860572 h 4806848"/>
              <a:gd name="connsiteX2055" fmla="*/ 4025749 w 8978749"/>
              <a:gd name="connsiteY2055" fmla="*/ 2860572 h 4806848"/>
              <a:gd name="connsiteX2056" fmla="*/ 2763686 w 8978749"/>
              <a:gd name="connsiteY2056" fmla="*/ 2803422 h 4806848"/>
              <a:gd name="connsiteX2057" fmla="*/ 2820836 w 8978749"/>
              <a:gd name="connsiteY2057" fmla="*/ 2803422 h 4806848"/>
              <a:gd name="connsiteX2058" fmla="*/ 2820836 w 8978749"/>
              <a:gd name="connsiteY2058" fmla="*/ 2860572 h 4806848"/>
              <a:gd name="connsiteX2059" fmla="*/ 2763686 w 8978749"/>
              <a:gd name="connsiteY2059" fmla="*/ 2860572 h 4806848"/>
              <a:gd name="connsiteX2060" fmla="*/ 2684311 w 8978749"/>
              <a:gd name="connsiteY2060" fmla="*/ 2803422 h 4806848"/>
              <a:gd name="connsiteX2061" fmla="*/ 2743049 w 8978749"/>
              <a:gd name="connsiteY2061" fmla="*/ 2803422 h 4806848"/>
              <a:gd name="connsiteX2062" fmla="*/ 2743049 w 8978749"/>
              <a:gd name="connsiteY2062" fmla="*/ 2860572 h 4806848"/>
              <a:gd name="connsiteX2063" fmla="*/ 2684311 w 8978749"/>
              <a:gd name="connsiteY2063" fmla="*/ 2860572 h 4806848"/>
              <a:gd name="connsiteX2064" fmla="*/ 2604936 w 8978749"/>
              <a:gd name="connsiteY2064" fmla="*/ 2803422 h 4806848"/>
              <a:gd name="connsiteX2065" fmla="*/ 2663674 w 8978749"/>
              <a:gd name="connsiteY2065" fmla="*/ 2803422 h 4806848"/>
              <a:gd name="connsiteX2066" fmla="*/ 2663674 w 8978749"/>
              <a:gd name="connsiteY2066" fmla="*/ 2860572 h 4806848"/>
              <a:gd name="connsiteX2067" fmla="*/ 2604936 w 8978749"/>
              <a:gd name="connsiteY2067" fmla="*/ 2860572 h 4806848"/>
              <a:gd name="connsiteX2068" fmla="*/ 2525642 w 8978749"/>
              <a:gd name="connsiteY2068" fmla="*/ 2803422 h 4806848"/>
              <a:gd name="connsiteX2069" fmla="*/ 2584380 w 8978749"/>
              <a:gd name="connsiteY2069" fmla="*/ 2803422 h 4806848"/>
              <a:gd name="connsiteX2070" fmla="*/ 2584380 w 8978749"/>
              <a:gd name="connsiteY2070" fmla="*/ 2860572 h 4806848"/>
              <a:gd name="connsiteX2071" fmla="*/ 2525642 w 8978749"/>
              <a:gd name="connsiteY2071" fmla="*/ 2860572 h 4806848"/>
              <a:gd name="connsiteX2072" fmla="*/ 2447852 w 8978749"/>
              <a:gd name="connsiteY2072" fmla="*/ 2803422 h 4806848"/>
              <a:gd name="connsiteX2073" fmla="*/ 2505007 w 8978749"/>
              <a:gd name="connsiteY2073" fmla="*/ 2803422 h 4806848"/>
              <a:gd name="connsiteX2074" fmla="*/ 2505007 w 8978749"/>
              <a:gd name="connsiteY2074" fmla="*/ 2860572 h 4806848"/>
              <a:gd name="connsiteX2075" fmla="*/ 2447852 w 8978749"/>
              <a:gd name="connsiteY2075" fmla="*/ 2860572 h 4806848"/>
              <a:gd name="connsiteX2076" fmla="*/ 2368481 w 8978749"/>
              <a:gd name="connsiteY2076" fmla="*/ 2803422 h 4806848"/>
              <a:gd name="connsiteX2077" fmla="*/ 2427217 w 8978749"/>
              <a:gd name="connsiteY2077" fmla="*/ 2803422 h 4806848"/>
              <a:gd name="connsiteX2078" fmla="*/ 2427217 w 8978749"/>
              <a:gd name="connsiteY2078" fmla="*/ 2860572 h 4806848"/>
              <a:gd name="connsiteX2079" fmla="*/ 2368481 w 8978749"/>
              <a:gd name="connsiteY2079" fmla="*/ 2860572 h 4806848"/>
              <a:gd name="connsiteX2080" fmla="*/ 8526311 w 8978749"/>
              <a:gd name="connsiteY2080" fmla="*/ 2724047 h 4806848"/>
              <a:gd name="connsiteX2081" fmla="*/ 8583461 w 8978749"/>
              <a:gd name="connsiteY2081" fmla="*/ 2724047 h 4806848"/>
              <a:gd name="connsiteX2082" fmla="*/ 8583461 w 8978749"/>
              <a:gd name="connsiteY2082" fmla="*/ 2782785 h 4806848"/>
              <a:gd name="connsiteX2083" fmla="*/ 8526311 w 8978749"/>
              <a:gd name="connsiteY2083" fmla="*/ 2782785 h 4806848"/>
              <a:gd name="connsiteX2084" fmla="*/ 8051649 w 8978749"/>
              <a:gd name="connsiteY2084" fmla="*/ 2724047 h 4806848"/>
              <a:gd name="connsiteX2085" fmla="*/ 8110387 w 8978749"/>
              <a:gd name="connsiteY2085" fmla="*/ 2724047 h 4806848"/>
              <a:gd name="connsiteX2086" fmla="*/ 8110387 w 8978749"/>
              <a:gd name="connsiteY2086" fmla="*/ 2782785 h 4806848"/>
              <a:gd name="connsiteX2087" fmla="*/ 8051649 w 8978749"/>
              <a:gd name="connsiteY2087" fmla="*/ 2782785 h 4806848"/>
              <a:gd name="connsiteX2088" fmla="*/ 7973861 w 8978749"/>
              <a:gd name="connsiteY2088" fmla="*/ 2724047 h 4806848"/>
              <a:gd name="connsiteX2089" fmla="*/ 8031011 w 8978749"/>
              <a:gd name="connsiteY2089" fmla="*/ 2724047 h 4806848"/>
              <a:gd name="connsiteX2090" fmla="*/ 8031011 w 8978749"/>
              <a:gd name="connsiteY2090" fmla="*/ 2782785 h 4806848"/>
              <a:gd name="connsiteX2091" fmla="*/ 7973861 w 8978749"/>
              <a:gd name="connsiteY2091" fmla="*/ 2782785 h 4806848"/>
              <a:gd name="connsiteX2092" fmla="*/ 7342036 w 8978749"/>
              <a:gd name="connsiteY2092" fmla="*/ 2724047 h 4806848"/>
              <a:gd name="connsiteX2093" fmla="*/ 7400774 w 8978749"/>
              <a:gd name="connsiteY2093" fmla="*/ 2724047 h 4806848"/>
              <a:gd name="connsiteX2094" fmla="*/ 7400774 w 8978749"/>
              <a:gd name="connsiteY2094" fmla="*/ 2782785 h 4806848"/>
              <a:gd name="connsiteX2095" fmla="*/ 7342036 w 8978749"/>
              <a:gd name="connsiteY2095" fmla="*/ 2782785 h 4806848"/>
              <a:gd name="connsiteX2096" fmla="*/ 6710211 w 8978749"/>
              <a:gd name="connsiteY2096" fmla="*/ 2724047 h 4806848"/>
              <a:gd name="connsiteX2097" fmla="*/ 6768949 w 8978749"/>
              <a:gd name="connsiteY2097" fmla="*/ 2724047 h 4806848"/>
              <a:gd name="connsiteX2098" fmla="*/ 6768949 w 8978749"/>
              <a:gd name="connsiteY2098" fmla="*/ 2782785 h 4806848"/>
              <a:gd name="connsiteX2099" fmla="*/ 6710211 w 8978749"/>
              <a:gd name="connsiteY2099" fmla="*/ 2782785 h 4806848"/>
              <a:gd name="connsiteX2100" fmla="*/ 6235549 w 8978749"/>
              <a:gd name="connsiteY2100" fmla="*/ 2724047 h 4806848"/>
              <a:gd name="connsiteX2101" fmla="*/ 6294287 w 8978749"/>
              <a:gd name="connsiteY2101" fmla="*/ 2724047 h 4806848"/>
              <a:gd name="connsiteX2102" fmla="*/ 6294287 w 8978749"/>
              <a:gd name="connsiteY2102" fmla="*/ 2782785 h 4806848"/>
              <a:gd name="connsiteX2103" fmla="*/ 6235549 w 8978749"/>
              <a:gd name="connsiteY2103" fmla="*/ 2782785 h 4806848"/>
              <a:gd name="connsiteX2104" fmla="*/ 6157761 w 8978749"/>
              <a:gd name="connsiteY2104" fmla="*/ 2724047 h 4806848"/>
              <a:gd name="connsiteX2105" fmla="*/ 6214911 w 8978749"/>
              <a:gd name="connsiteY2105" fmla="*/ 2724047 h 4806848"/>
              <a:gd name="connsiteX2106" fmla="*/ 6214911 w 8978749"/>
              <a:gd name="connsiteY2106" fmla="*/ 2782785 h 4806848"/>
              <a:gd name="connsiteX2107" fmla="*/ 6157761 w 8978749"/>
              <a:gd name="connsiteY2107" fmla="*/ 2782785 h 4806848"/>
              <a:gd name="connsiteX2108" fmla="*/ 6078386 w 8978749"/>
              <a:gd name="connsiteY2108" fmla="*/ 2724047 h 4806848"/>
              <a:gd name="connsiteX2109" fmla="*/ 6137124 w 8978749"/>
              <a:gd name="connsiteY2109" fmla="*/ 2724047 h 4806848"/>
              <a:gd name="connsiteX2110" fmla="*/ 6137124 w 8978749"/>
              <a:gd name="connsiteY2110" fmla="*/ 2782785 h 4806848"/>
              <a:gd name="connsiteX2111" fmla="*/ 6078386 w 8978749"/>
              <a:gd name="connsiteY2111" fmla="*/ 2782785 h 4806848"/>
              <a:gd name="connsiteX2112" fmla="*/ 5446561 w 8978749"/>
              <a:gd name="connsiteY2112" fmla="*/ 2724047 h 4806848"/>
              <a:gd name="connsiteX2113" fmla="*/ 5505299 w 8978749"/>
              <a:gd name="connsiteY2113" fmla="*/ 2724047 h 4806848"/>
              <a:gd name="connsiteX2114" fmla="*/ 5505299 w 8978749"/>
              <a:gd name="connsiteY2114" fmla="*/ 2782785 h 4806848"/>
              <a:gd name="connsiteX2115" fmla="*/ 5446561 w 8978749"/>
              <a:gd name="connsiteY2115" fmla="*/ 2782785 h 4806848"/>
              <a:gd name="connsiteX2116" fmla="*/ 5368774 w 8978749"/>
              <a:gd name="connsiteY2116" fmla="*/ 2724047 h 4806848"/>
              <a:gd name="connsiteX2117" fmla="*/ 5425924 w 8978749"/>
              <a:gd name="connsiteY2117" fmla="*/ 2724047 h 4806848"/>
              <a:gd name="connsiteX2118" fmla="*/ 5425924 w 8978749"/>
              <a:gd name="connsiteY2118" fmla="*/ 2782785 h 4806848"/>
              <a:gd name="connsiteX2119" fmla="*/ 5368774 w 8978749"/>
              <a:gd name="connsiteY2119" fmla="*/ 2782785 h 4806848"/>
              <a:gd name="connsiteX2120" fmla="*/ 5289399 w 8978749"/>
              <a:gd name="connsiteY2120" fmla="*/ 2724047 h 4806848"/>
              <a:gd name="connsiteX2121" fmla="*/ 5348137 w 8978749"/>
              <a:gd name="connsiteY2121" fmla="*/ 2724047 h 4806848"/>
              <a:gd name="connsiteX2122" fmla="*/ 5348137 w 8978749"/>
              <a:gd name="connsiteY2122" fmla="*/ 2782785 h 4806848"/>
              <a:gd name="connsiteX2123" fmla="*/ 5289399 w 8978749"/>
              <a:gd name="connsiteY2123" fmla="*/ 2782785 h 4806848"/>
              <a:gd name="connsiteX2124" fmla="*/ 5210024 w 8978749"/>
              <a:gd name="connsiteY2124" fmla="*/ 2724047 h 4806848"/>
              <a:gd name="connsiteX2125" fmla="*/ 5268762 w 8978749"/>
              <a:gd name="connsiteY2125" fmla="*/ 2724047 h 4806848"/>
              <a:gd name="connsiteX2126" fmla="*/ 5268762 w 8978749"/>
              <a:gd name="connsiteY2126" fmla="*/ 2782785 h 4806848"/>
              <a:gd name="connsiteX2127" fmla="*/ 5210024 w 8978749"/>
              <a:gd name="connsiteY2127" fmla="*/ 2782785 h 4806848"/>
              <a:gd name="connsiteX2128" fmla="*/ 5130649 w 8978749"/>
              <a:gd name="connsiteY2128" fmla="*/ 2724047 h 4806848"/>
              <a:gd name="connsiteX2129" fmla="*/ 5189387 w 8978749"/>
              <a:gd name="connsiteY2129" fmla="*/ 2724047 h 4806848"/>
              <a:gd name="connsiteX2130" fmla="*/ 5189387 w 8978749"/>
              <a:gd name="connsiteY2130" fmla="*/ 2782785 h 4806848"/>
              <a:gd name="connsiteX2131" fmla="*/ 5130649 w 8978749"/>
              <a:gd name="connsiteY2131" fmla="*/ 2782785 h 4806848"/>
              <a:gd name="connsiteX2132" fmla="*/ 5052861 w 8978749"/>
              <a:gd name="connsiteY2132" fmla="*/ 2724047 h 4806848"/>
              <a:gd name="connsiteX2133" fmla="*/ 5110011 w 8978749"/>
              <a:gd name="connsiteY2133" fmla="*/ 2724047 h 4806848"/>
              <a:gd name="connsiteX2134" fmla="*/ 5110011 w 8978749"/>
              <a:gd name="connsiteY2134" fmla="*/ 2782785 h 4806848"/>
              <a:gd name="connsiteX2135" fmla="*/ 5052861 w 8978749"/>
              <a:gd name="connsiteY2135" fmla="*/ 2782785 h 4806848"/>
              <a:gd name="connsiteX2136" fmla="*/ 4973486 w 8978749"/>
              <a:gd name="connsiteY2136" fmla="*/ 2724047 h 4806848"/>
              <a:gd name="connsiteX2137" fmla="*/ 5030636 w 8978749"/>
              <a:gd name="connsiteY2137" fmla="*/ 2724047 h 4806848"/>
              <a:gd name="connsiteX2138" fmla="*/ 5030636 w 8978749"/>
              <a:gd name="connsiteY2138" fmla="*/ 2782785 h 4806848"/>
              <a:gd name="connsiteX2139" fmla="*/ 4973486 w 8978749"/>
              <a:gd name="connsiteY2139" fmla="*/ 2782785 h 4806848"/>
              <a:gd name="connsiteX2140" fmla="*/ 4894111 w 8978749"/>
              <a:gd name="connsiteY2140" fmla="*/ 2724047 h 4806848"/>
              <a:gd name="connsiteX2141" fmla="*/ 4952849 w 8978749"/>
              <a:gd name="connsiteY2141" fmla="*/ 2724047 h 4806848"/>
              <a:gd name="connsiteX2142" fmla="*/ 4952849 w 8978749"/>
              <a:gd name="connsiteY2142" fmla="*/ 2782785 h 4806848"/>
              <a:gd name="connsiteX2143" fmla="*/ 4894111 w 8978749"/>
              <a:gd name="connsiteY2143" fmla="*/ 2782785 h 4806848"/>
              <a:gd name="connsiteX2144" fmla="*/ 4814736 w 8978749"/>
              <a:gd name="connsiteY2144" fmla="*/ 2724047 h 4806848"/>
              <a:gd name="connsiteX2145" fmla="*/ 4873474 w 8978749"/>
              <a:gd name="connsiteY2145" fmla="*/ 2724047 h 4806848"/>
              <a:gd name="connsiteX2146" fmla="*/ 4873474 w 8978749"/>
              <a:gd name="connsiteY2146" fmla="*/ 2782785 h 4806848"/>
              <a:gd name="connsiteX2147" fmla="*/ 4814736 w 8978749"/>
              <a:gd name="connsiteY2147" fmla="*/ 2782785 h 4806848"/>
              <a:gd name="connsiteX2148" fmla="*/ 4736949 w 8978749"/>
              <a:gd name="connsiteY2148" fmla="*/ 2724047 h 4806848"/>
              <a:gd name="connsiteX2149" fmla="*/ 4794099 w 8978749"/>
              <a:gd name="connsiteY2149" fmla="*/ 2724047 h 4806848"/>
              <a:gd name="connsiteX2150" fmla="*/ 4794099 w 8978749"/>
              <a:gd name="connsiteY2150" fmla="*/ 2782785 h 4806848"/>
              <a:gd name="connsiteX2151" fmla="*/ 4736949 w 8978749"/>
              <a:gd name="connsiteY2151" fmla="*/ 2782785 h 4806848"/>
              <a:gd name="connsiteX2152" fmla="*/ 4657574 w 8978749"/>
              <a:gd name="connsiteY2152" fmla="*/ 2724047 h 4806848"/>
              <a:gd name="connsiteX2153" fmla="*/ 4716312 w 8978749"/>
              <a:gd name="connsiteY2153" fmla="*/ 2724047 h 4806848"/>
              <a:gd name="connsiteX2154" fmla="*/ 4716312 w 8978749"/>
              <a:gd name="connsiteY2154" fmla="*/ 2782785 h 4806848"/>
              <a:gd name="connsiteX2155" fmla="*/ 4657574 w 8978749"/>
              <a:gd name="connsiteY2155" fmla="*/ 2782785 h 4806848"/>
              <a:gd name="connsiteX2156" fmla="*/ 4578199 w 8978749"/>
              <a:gd name="connsiteY2156" fmla="*/ 2724047 h 4806848"/>
              <a:gd name="connsiteX2157" fmla="*/ 4636937 w 8978749"/>
              <a:gd name="connsiteY2157" fmla="*/ 2724047 h 4806848"/>
              <a:gd name="connsiteX2158" fmla="*/ 4636937 w 8978749"/>
              <a:gd name="connsiteY2158" fmla="*/ 2782785 h 4806848"/>
              <a:gd name="connsiteX2159" fmla="*/ 4578199 w 8978749"/>
              <a:gd name="connsiteY2159" fmla="*/ 2782785 h 4806848"/>
              <a:gd name="connsiteX2160" fmla="*/ 4498824 w 8978749"/>
              <a:gd name="connsiteY2160" fmla="*/ 2724047 h 4806848"/>
              <a:gd name="connsiteX2161" fmla="*/ 4557562 w 8978749"/>
              <a:gd name="connsiteY2161" fmla="*/ 2724047 h 4806848"/>
              <a:gd name="connsiteX2162" fmla="*/ 4557562 w 8978749"/>
              <a:gd name="connsiteY2162" fmla="*/ 2782785 h 4806848"/>
              <a:gd name="connsiteX2163" fmla="*/ 4498824 w 8978749"/>
              <a:gd name="connsiteY2163" fmla="*/ 2782785 h 4806848"/>
              <a:gd name="connsiteX2164" fmla="*/ 4421036 w 8978749"/>
              <a:gd name="connsiteY2164" fmla="*/ 2724047 h 4806848"/>
              <a:gd name="connsiteX2165" fmla="*/ 4479774 w 8978749"/>
              <a:gd name="connsiteY2165" fmla="*/ 2724047 h 4806848"/>
              <a:gd name="connsiteX2166" fmla="*/ 4479774 w 8978749"/>
              <a:gd name="connsiteY2166" fmla="*/ 2782785 h 4806848"/>
              <a:gd name="connsiteX2167" fmla="*/ 4421036 w 8978749"/>
              <a:gd name="connsiteY2167" fmla="*/ 2782785 h 4806848"/>
              <a:gd name="connsiteX2168" fmla="*/ 4341661 w 8978749"/>
              <a:gd name="connsiteY2168" fmla="*/ 2724047 h 4806848"/>
              <a:gd name="connsiteX2169" fmla="*/ 4400399 w 8978749"/>
              <a:gd name="connsiteY2169" fmla="*/ 2724047 h 4806848"/>
              <a:gd name="connsiteX2170" fmla="*/ 4400399 w 8978749"/>
              <a:gd name="connsiteY2170" fmla="*/ 2782785 h 4806848"/>
              <a:gd name="connsiteX2171" fmla="*/ 4341661 w 8978749"/>
              <a:gd name="connsiteY2171" fmla="*/ 2782785 h 4806848"/>
              <a:gd name="connsiteX2172" fmla="*/ 4262286 w 8978749"/>
              <a:gd name="connsiteY2172" fmla="*/ 2724047 h 4806848"/>
              <a:gd name="connsiteX2173" fmla="*/ 4321024 w 8978749"/>
              <a:gd name="connsiteY2173" fmla="*/ 2724047 h 4806848"/>
              <a:gd name="connsiteX2174" fmla="*/ 4321024 w 8978749"/>
              <a:gd name="connsiteY2174" fmla="*/ 2782785 h 4806848"/>
              <a:gd name="connsiteX2175" fmla="*/ 4262286 w 8978749"/>
              <a:gd name="connsiteY2175" fmla="*/ 2782785 h 4806848"/>
              <a:gd name="connsiteX2176" fmla="*/ 4184499 w 8978749"/>
              <a:gd name="connsiteY2176" fmla="*/ 2724047 h 4806848"/>
              <a:gd name="connsiteX2177" fmla="*/ 4241649 w 8978749"/>
              <a:gd name="connsiteY2177" fmla="*/ 2724047 h 4806848"/>
              <a:gd name="connsiteX2178" fmla="*/ 4241649 w 8978749"/>
              <a:gd name="connsiteY2178" fmla="*/ 2782785 h 4806848"/>
              <a:gd name="connsiteX2179" fmla="*/ 4184499 w 8978749"/>
              <a:gd name="connsiteY2179" fmla="*/ 2782785 h 4806848"/>
              <a:gd name="connsiteX2180" fmla="*/ 4105124 w 8978749"/>
              <a:gd name="connsiteY2180" fmla="*/ 2724047 h 4806848"/>
              <a:gd name="connsiteX2181" fmla="*/ 4163862 w 8978749"/>
              <a:gd name="connsiteY2181" fmla="*/ 2724047 h 4806848"/>
              <a:gd name="connsiteX2182" fmla="*/ 4163862 w 8978749"/>
              <a:gd name="connsiteY2182" fmla="*/ 2782785 h 4806848"/>
              <a:gd name="connsiteX2183" fmla="*/ 4105124 w 8978749"/>
              <a:gd name="connsiteY2183" fmla="*/ 2782785 h 4806848"/>
              <a:gd name="connsiteX2184" fmla="*/ 4025749 w 8978749"/>
              <a:gd name="connsiteY2184" fmla="*/ 2724047 h 4806848"/>
              <a:gd name="connsiteX2185" fmla="*/ 4084487 w 8978749"/>
              <a:gd name="connsiteY2185" fmla="*/ 2724047 h 4806848"/>
              <a:gd name="connsiteX2186" fmla="*/ 4084487 w 8978749"/>
              <a:gd name="connsiteY2186" fmla="*/ 2782785 h 4806848"/>
              <a:gd name="connsiteX2187" fmla="*/ 4025749 w 8978749"/>
              <a:gd name="connsiteY2187" fmla="*/ 2782785 h 4806848"/>
              <a:gd name="connsiteX2188" fmla="*/ 3947961 w 8978749"/>
              <a:gd name="connsiteY2188" fmla="*/ 2724047 h 4806848"/>
              <a:gd name="connsiteX2189" fmla="*/ 4005111 w 8978749"/>
              <a:gd name="connsiteY2189" fmla="*/ 2724047 h 4806848"/>
              <a:gd name="connsiteX2190" fmla="*/ 4005111 w 8978749"/>
              <a:gd name="connsiteY2190" fmla="*/ 2782785 h 4806848"/>
              <a:gd name="connsiteX2191" fmla="*/ 3947961 w 8978749"/>
              <a:gd name="connsiteY2191" fmla="*/ 2782785 h 4806848"/>
              <a:gd name="connsiteX2192" fmla="*/ 2684311 w 8978749"/>
              <a:gd name="connsiteY2192" fmla="*/ 2724047 h 4806848"/>
              <a:gd name="connsiteX2193" fmla="*/ 2743049 w 8978749"/>
              <a:gd name="connsiteY2193" fmla="*/ 2724047 h 4806848"/>
              <a:gd name="connsiteX2194" fmla="*/ 2743049 w 8978749"/>
              <a:gd name="connsiteY2194" fmla="*/ 2782785 h 4806848"/>
              <a:gd name="connsiteX2195" fmla="*/ 2684311 w 8978749"/>
              <a:gd name="connsiteY2195" fmla="*/ 2782785 h 4806848"/>
              <a:gd name="connsiteX2196" fmla="*/ 2604936 w 8978749"/>
              <a:gd name="connsiteY2196" fmla="*/ 2724047 h 4806848"/>
              <a:gd name="connsiteX2197" fmla="*/ 2663674 w 8978749"/>
              <a:gd name="connsiteY2197" fmla="*/ 2724047 h 4806848"/>
              <a:gd name="connsiteX2198" fmla="*/ 2663674 w 8978749"/>
              <a:gd name="connsiteY2198" fmla="*/ 2782785 h 4806848"/>
              <a:gd name="connsiteX2199" fmla="*/ 2604936 w 8978749"/>
              <a:gd name="connsiteY2199" fmla="*/ 2782785 h 4806848"/>
              <a:gd name="connsiteX2200" fmla="*/ 2525645 w 8978749"/>
              <a:gd name="connsiteY2200" fmla="*/ 2724047 h 4806848"/>
              <a:gd name="connsiteX2201" fmla="*/ 2584383 w 8978749"/>
              <a:gd name="connsiteY2201" fmla="*/ 2724047 h 4806848"/>
              <a:gd name="connsiteX2202" fmla="*/ 2584383 w 8978749"/>
              <a:gd name="connsiteY2202" fmla="*/ 2782785 h 4806848"/>
              <a:gd name="connsiteX2203" fmla="*/ 2525645 w 8978749"/>
              <a:gd name="connsiteY2203" fmla="*/ 2782785 h 4806848"/>
              <a:gd name="connsiteX2204" fmla="*/ 2447854 w 8978749"/>
              <a:gd name="connsiteY2204" fmla="*/ 2724047 h 4806848"/>
              <a:gd name="connsiteX2205" fmla="*/ 2505010 w 8978749"/>
              <a:gd name="connsiteY2205" fmla="*/ 2724047 h 4806848"/>
              <a:gd name="connsiteX2206" fmla="*/ 2505010 w 8978749"/>
              <a:gd name="connsiteY2206" fmla="*/ 2782785 h 4806848"/>
              <a:gd name="connsiteX2207" fmla="*/ 2447854 w 8978749"/>
              <a:gd name="connsiteY2207" fmla="*/ 2782785 h 4806848"/>
              <a:gd name="connsiteX2208" fmla="*/ 2368485 w 8978749"/>
              <a:gd name="connsiteY2208" fmla="*/ 2724047 h 4806848"/>
              <a:gd name="connsiteX2209" fmla="*/ 2427219 w 8978749"/>
              <a:gd name="connsiteY2209" fmla="*/ 2724047 h 4806848"/>
              <a:gd name="connsiteX2210" fmla="*/ 2427219 w 8978749"/>
              <a:gd name="connsiteY2210" fmla="*/ 2782785 h 4806848"/>
              <a:gd name="connsiteX2211" fmla="*/ 2368485 w 8978749"/>
              <a:gd name="connsiteY2211" fmla="*/ 2782785 h 4806848"/>
              <a:gd name="connsiteX2212" fmla="*/ 2289109 w 8978749"/>
              <a:gd name="connsiteY2212" fmla="*/ 2724047 h 4806848"/>
              <a:gd name="connsiteX2213" fmla="*/ 2347847 w 8978749"/>
              <a:gd name="connsiteY2213" fmla="*/ 2724047 h 4806848"/>
              <a:gd name="connsiteX2214" fmla="*/ 2347847 w 8978749"/>
              <a:gd name="connsiteY2214" fmla="*/ 2782785 h 4806848"/>
              <a:gd name="connsiteX2215" fmla="*/ 2289109 w 8978749"/>
              <a:gd name="connsiteY2215" fmla="*/ 2782785 h 4806848"/>
              <a:gd name="connsiteX2216" fmla="*/ 2209732 w 8978749"/>
              <a:gd name="connsiteY2216" fmla="*/ 2724047 h 4806848"/>
              <a:gd name="connsiteX2217" fmla="*/ 2268470 w 8978749"/>
              <a:gd name="connsiteY2217" fmla="*/ 2724047 h 4806848"/>
              <a:gd name="connsiteX2218" fmla="*/ 2268470 w 8978749"/>
              <a:gd name="connsiteY2218" fmla="*/ 2782785 h 4806848"/>
              <a:gd name="connsiteX2219" fmla="*/ 2209732 w 8978749"/>
              <a:gd name="connsiteY2219" fmla="*/ 2782785 h 4806848"/>
              <a:gd name="connsiteX2220" fmla="*/ 7342036 w 8978749"/>
              <a:gd name="connsiteY2220" fmla="*/ 2646260 h 4806848"/>
              <a:gd name="connsiteX2221" fmla="*/ 7400774 w 8978749"/>
              <a:gd name="connsiteY2221" fmla="*/ 2646260 h 4806848"/>
              <a:gd name="connsiteX2222" fmla="*/ 7400774 w 8978749"/>
              <a:gd name="connsiteY2222" fmla="*/ 2704998 h 4806848"/>
              <a:gd name="connsiteX2223" fmla="*/ 7342036 w 8978749"/>
              <a:gd name="connsiteY2223" fmla="*/ 2704998 h 4806848"/>
              <a:gd name="connsiteX2224" fmla="*/ 7183286 w 8978749"/>
              <a:gd name="connsiteY2224" fmla="*/ 2646260 h 4806848"/>
              <a:gd name="connsiteX2225" fmla="*/ 7242024 w 8978749"/>
              <a:gd name="connsiteY2225" fmla="*/ 2646260 h 4806848"/>
              <a:gd name="connsiteX2226" fmla="*/ 7242024 w 8978749"/>
              <a:gd name="connsiteY2226" fmla="*/ 2704998 h 4806848"/>
              <a:gd name="connsiteX2227" fmla="*/ 7183286 w 8978749"/>
              <a:gd name="connsiteY2227" fmla="*/ 2704998 h 4806848"/>
              <a:gd name="connsiteX2228" fmla="*/ 6946749 w 8978749"/>
              <a:gd name="connsiteY2228" fmla="*/ 2646260 h 4806848"/>
              <a:gd name="connsiteX2229" fmla="*/ 7005487 w 8978749"/>
              <a:gd name="connsiteY2229" fmla="*/ 2646260 h 4806848"/>
              <a:gd name="connsiteX2230" fmla="*/ 7005487 w 8978749"/>
              <a:gd name="connsiteY2230" fmla="*/ 2704998 h 4806848"/>
              <a:gd name="connsiteX2231" fmla="*/ 6946749 w 8978749"/>
              <a:gd name="connsiteY2231" fmla="*/ 2704998 h 4806848"/>
              <a:gd name="connsiteX2232" fmla="*/ 6867374 w 8978749"/>
              <a:gd name="connsiteY2232" fmla="*/ 2646260 h 4806848"/>
              <a:gd name="connsiteX2233" fmla="*/ 6926112 w 8978749"/>
              <a:gd name="connsiteY2233" fmla="*/ 2646260 h 4806848"/>
              <a:gd name="connsiteX2234" fmla="*/ 6926112 w 8978749"/>
              <a:gd name="connsiteY2234" fmla="*/ 2704998 h 4806848"/>
              <a:gd name="connsiteX2235" fmla="*/ 6867374 w 8978749"/>
              <a:gd name="connsiteY2235" fmla="*/ 2704998 h 4806848"/>
              <a:gd name="connsiteX2236" fmla="*/ 6710211 w 8978749"/>
              <a:gd name="connsiteY2236" fmla="*/ 2646260 h 4806848"/>
              <a:gd name="connsiteX2237" fmla="*/ 6768949 w 8978749"/>
              <a:gd name="connsiteY2237" fmla="*/ 2646260 h 4806848"/>
              <a:gd name="connsiteX2238" fmla="*/ 6768949 w 8978749"/>
              <a:gd name="connsiteY2238" fmla="*/ 2704998 h 4806848"/>
              <a:gd name="connsiteX2239" fmla="*/ 6710211 w 8978749"/>
              <a:gd name="connsiteY2239" fmla="*/ 2704998 h 4806848"/>
              <a:gd name="connsiteX2240" fmla="*/ 6235549 w 8978749"/>
              <a:gd name="connsiteY2240" fmla="*/ 2646260 h 4806848"/>
              <a:gd name="connsiteX2241" fmla="*/ 6294287 w 8978749"/>
              <a:gd name="connsiteY2241" fmla="*/ 2646260 h 4806848"/>
              <a:gd name="connsiteX2242" fmla="*/ 6294287 w 8978749"/>
              <a:gd name="connsiteY2242" fmla="*/ 2704998 h 4806848"/>
              <a:gd name="connsiteX2243" fmla="*/ 6235549 w 8978749"/>
              <a:gd name="connsiteY2243" fmla="*/ 2704998 h 4806848"/>
              <a:gd name="connsiteX2244" fmla="*/ 6157761 w 8978749"/>
              <a:gd name="connsiteY2244" fmla="*/ 2646260 h 4806848"/>
              <a:gd name="connsiteX2245" fmla="*/ 6214911 w 8978749"/>
              <a:gd name="connsiteY2245" fmla="*/ 2646260 h 4806848"/>
              <a:gd name="connsiteX2246" fmla="*/ 6214911 w 8978749"/>
              <a:gd name="connsiteY2246" fmla="*/ 2704998 h 4806848"/>
              <a:gd name="connsiteX2247" fmla="*/ 6157761 w 8978749"/>
              <a:gd name="connsiteY2247" fmla="*/ 2704998 h 4806848"/>
              <a:gd name="connsiteX2248" fmla="*/ 5605311 w 8978749"/>
              <a:gd name="connsiteY2248" fmla="*/ 2646260 h 4806848"/>
              <a:gd name="connsiteX2249" fmla="*/ 5664049 w 8978749"/>
              <a:gd name="connsiteY2249" fmla="*/ 2646260 h 4806848"/>
              <a:gd name="connsiteX2250" fmla="*/ 5664049 w 8978749"/>
              <a:gd name="connsiteY2250" fmla="*/ 2704998 h 4806848"/>
              <a:gd name="connsiteX2251" fmla="*/ 5605311 w 8978749"/>
              <a:gd name="connsiteY2251" fmla="*/ 2704998 h 4806848"/>
              <a:gd name="connsiteX2252" fmla="*/ 5525936 w 8978749"/>
              <a:gd name="connsiteY2252" fmla="*/ 2646260 h 4806848"/>
              <a:gd name="connsiteX2253" fmla="*/ 5584674 w 8978749"/>
              <a:gd name="connsiteY2253" fmla="*/ 2646260 h 4806848"/>
              <a:gd name="connsiteX2254" fmla="*/ 5584674 w 8978749"/>
              <a:gd name="connsiteY2254" fmla="*/ 2704998 h 4806848"/>
              <a:gd name="connsiteX2255" fmla="*/ 5525936 w 8978749"/>
              <a:gd name="connsiteY2255" fmla="*/ 2704998 h 4806848"/>
              <a:gd name="connsiteX2256" fmla="*/ 5446561 w 8978749"/>
              <a:gd name="connsiteY2256" fmla="*/ 2646260 h 4806848"/>
              <a:gd name="connsiteX2257" fmla="*/ 5505299 w 8978749"/>
              <a:gd name="connsiteY2257" fmla="*/ 2646260 h 4806848"/>
              <a:gd name="connsiteX2258" fmla="*/ 5505299 w 8978749"/>
              <a:gd name="connsiteY2258" fmla="*/ 2704998 h 4806848"/>
              <a:gd name="connsiteX2259" fmla="*/ 5446561 w 8978749"/>
              <a:gd name="connsiteY2259" fmla="*/ 2704998 h 4806848"/>
              <a:gd name="connsiteX2260" fmla="*/ 5289399 w 8978749"/>
              <a:gd name="connsiteY2260" fmla="*/ 2646260 h 4806848"/>
              <a:gd name="connsiteX2261" fmla="*/ 5348137 w 8978749"/>
              <a:gd name="connsiteY2261" fmla="*/ 2646260 h 4806848"/>
              <a:gd name="connsiteX2262" fmla="*/ 5348137 w 8978749"/>
              <a:gd name="connsiteY2262" fmla="*/ 2704998 h 4806848"/>
              <a:gd name="connsiteX2263" fmla="*/ 5289399 w 8978749"/>
              <a:gd name="connsiteY2263" fmla="*/ 2704998 h 4806848"/>
              <a:gd name="connsiteX2264" fmla="*/ 5210024 w 8978749"/>
              <a:gd name="connsiteY2264" fmla="*/ 2646260 h 4806848"/>
              <a:gd name="connsiteX2265" fmla="*/ 5268762 w 8978749"/>
              <a:gd name="connsiteY2265" fmla="*/ 2646260 h 4806848"/>
              <a:gd name="connsiteX2266" fmla="*/ 5268762 w 8978749"/>
              <a:gd name="connsiteY2266" fmla="*/ 2704998 h 4806848"/>
              <a:gd name="connsiteX2267" fmla="*/ 5210024 w 8978749"/>
              <a:gd name="connsiteY2267" fmla="*/ 2704998 h 4806848"/>
              <a:gd name="connsiteX2268" fmla="*/ 5130649 w 8978749"/>
              <a:gd name="connsiteY2268" fmla="*/ 2646260 h 4806848"/>
              <a:gd name="connsiteX2269" fmla="*/ 5189387 w 8978749"/>
              <a:gd name="connsiteY2269" fmla="*/ 2646260 h 4806848"/>
              <a:gd name="connsiteX2270" fmla="*/ 5189387 w 8978749"/>
              <a:gd name="connsiteY2270" fmla="*/ 2704998 h 4806848"/>
              <a:gd name="connsiteX2271" fmla="*/ 5130649 w 8978749"/>
              <a:gd name="connsiteY2271" fmla="*/ 2704998 h 4806848"/>
              <a:gd name="connsiteX2272" fmla="*/ 5052861 w 8978749"/>
              <a:gd name="connsiteY2272" fmla="*/ 2646260 h 4806848"/>
              <a:gd name="connsiteX2273" fmla="*/ 5110011 w 8978749"/>
              <a:gd name="connsiteY2273" fmla="*/ 2646260 h 4806848"/>
              <a:gd name="connsiteX2274" fmla="*/ 5110011 w 8978749"/>
              <a:gd name="connsiteY2274" fmla="*/ 2704998 h 4806848"/>
              <a:gd name="connsiteX2275" fmla="*/ 5052861 w 8978749"/>
              <a:gd name="connsiteY2275" fmla="*/ 2704998 h 4806848"/>
              <a:gd name="connsiteX2276" fmla="*/ 4973486 w 8978749"/>
              <a:gd name="connsiteY2276" fmla="*/ 2646260 h 4806848"/>
              <a:gd name="connsiteX2277" fmla="*/ 5030636 w 8978749"/>
              <a:gd name="connsiteY2277" fmla="*/ 2646260 h 4806848"/>
              <a:gd name="connsiteX2278" fmla="*/ 5030636 w 8978749"/>
              <a:gd name="connsiteY2278" fmla="*/ 2704998 h 4806848"/>
              <a:gd name="connsiteX2279" fmla="*/ 4973486 w 8978749"/>
              <a:gd name="connsiteY2279" fmla="*/ 2704998 h 4806848"/>
              <a:gd name="connsiteX2280" fmla="*/ 4894111 w 8978749"/>
              <a:gd name="connsiteY2280" fmla="*/ 2646260 h 4806848"/>
              <a:gd name="connsiteX2281" fmla="*/ 4952849 w 8978749"/>
              <a:gd name="connsiteY2281" fmla="*/ 2646260 h 4806848"/>
              <a:gd name="connsiteX2282" fmla="*/ 4952849 w 8978749"/>
              <a:gd name="connsiteY2282" fmla="*/ 2704998 h 4806848"/>
              <a:gd name="connsiteX2283" fmla="*/ 4894111 w 8978749"/>
              <a:gd name="connsiteY2283" fmla="*/ 2704998 h 4806848"/>
              <a:gd name="connsiteX2284" fmla="*/ 4814736 w 8978749"/>
              <a:gd name="connsiteY2284" fmla="*/ 2646260 h 4806848"/>
              <a:gd name="connsiteX2285" fmla="*/ 4873474 w 8978749"/>
              <a:gd name="connsiteY2285" fmla="*/ 2646260 h 4806848"/>
              <a:gd name="connsiteX2286" fmla="*/ 4873474 w 8978749"/>
              <a:gd name="connsiteY2286" fmla="*/ 2704998 h 4806848"/>
              <a:gd name="connsiteX2287" fmla="*/ 4814736 w 8978749"/>
              <a:gd name="connsiteY2287" fmla="*/ 2704998 h 4806848"/>
              <a:gd name="connsiteX2288" fmla="*/ 4736949 w 8978749"/>
              <a:gd name="connsiteY2288" fmla="*/ 2646260 h 4806848"/>
              <a:gd name="connsiteX2289" fmla="*/ 4794099 w 8978749"/>
              <a:gd name="connsiteY2289" fmla="*/ 2646260 h 4806848"/>
              <a:gd name="connsiteX2290" fmla="*/ 4794099 w 8978749"/>
              <a:gd name="connsiteY2290" fmla="*/ 2704998 h 4806848"/>
              <a:gd name="connsiteX2291" fmla="*/ 4736949 w 8978749"/>
              <a:gd name="connsiteY2291" fmla="*/ 2704998 h 4806848"/>
              <a:gd name="connsiteX2292" fmla="*/ 4657574 w 8978749"/>
              <a:gd name="connsiteY2292" fmla="*/ 2646260 h 4806848"/>
              <a:gd name="connsiteX2293" fmla="*/ 4716312 w 8978749"/>
              <a:gd name="connsiteY2293" fmla="*/ 2646260 h 4806848"/>
              <a:gd name="connsiteX2294" fmla="*/ 4716312 w 8978749"/>
              <a:gd name="connsiteY2294" fmla="*/ 2704998 h 4806848"/>
              <a:gd name="connsiteX2295" fmla="*/ 4657574 w 8978749"/>
              <a:gd name="connsiteY2295" fmla="*/ 2704998 h 4806848"/>
              <a:gd name="connsiteX2296" fmla="*/ 4578199 w 8978749"/>
              <a:gd name="connsiteY2296" fmla="*/ 2646260 h 4806848"/>
              <a:gd name="connsiteX2297" fmla="*/ 4636937 w 8978749"/>
              <a:gd name="connsiteY2297" fmla="*/ 2646260 h 4806848"/>
              <a:gd name="connsiteX2298" fmla="*/ 4636937 w 8978749"/>
              <a:gd name="connsiteY2298" fmla="*/ 2704998 h 4806848"/>
              <a:gd name="connsiteX2299" fmla="*/ 4578199 w 8978749"/>
              <a:gd name="connsiteY2299" fmla="*/ 2704998 h 4806848"/>
              <a:gd name="connsiteX2300" fmla="*/ 4498824 w 8978749"/>
              <a:gd name="connsiteY2300" fmla="*/ 2646260 h 4806848"/>
              <a:gd name="connsiteX2301" fmla="*/ 4557562 w 8978749"/>
              <a:gd name="connsiteY2301" fmla="*/ 2646260 h 4806848"/>
              <a:gd name="connsiteX2302" fmla="*/ 4557562 w 8978749"/>
              <a:gd name="connsiteY2302" fmla="*/ 2704998 h 4806848"/>
              <a:gd name="connsiteX2303" fmla="*/ 4498824 w 8978749"/>
              <a:gd name="connsiteY2303" fmla="*/ 2704998 h 4806848"/>
              <a:gd name="connsiteX2304" fmla="*/ 4421036 w 8978749"/>
              <a:gd name="connsiteY2304" fmla="*/ 2646260 h 4806848"/>
              <a:gd name="connsiteX2305" fmla="*/ 4479774 w 8978749"/>
              <a:gd name="connsiteY2305" fmla="*/ 2646260 h 4806848"/>
              <a:gd name="connsiteX2306" fmla="*/ 4479774 w 8978749"/>
              <a:gd name="connsiteY2306" fmla="*/ 2704998 h 4806848"/>
              <a:gd name="connsiteX2307" fmla="*/ 4421036 w 8978749"/>
              <a:gd name="connsiteY2307" fmla="*/ 2704998 h 4806848"/>
              <a:gd name="connsiteX2308" fmla="*/ 4341661 w 8978749"/>
              <a:gd name="connsiteY2308" fmla="*/ 2646260 h 4806848"/>
              <a:gd name="connsiteX2309" fmla="*/ 4400399 w 8978749"/>
              <a:gd name="connsiteY2309" fmla="*/ 2646260 h 4806848"/>
              <a:gd name="connsiteX2310" fmla="*/ 4400399 w 8978749"/>
              <a:gd name="connsiteY2310" fmla="*/ 2704998 h 4806848"/>
              <a:gd name="connsiteX2311" fmla="*/ 4341661 w 8978749"/>
              <a:gd name="connsiteY2311" fmla="*/ 2704998 h 4806848"/>
              <a:gd name="connsiteX2312" fmla="*/ 4262286 w 8978749"/>
              <a:gd name="connsiteY2312" fmla="*/ 2646260 h 4806848"/>
              <a:gd name="connsiteX2313" fmla="*/ 4321024 w 8978749"/>
              <a:gd name="connsiteY2313" fmla="*/ 2646260 h 4806848"/>
              <a:gd name="connsiteX2314" fmla="*/ 4321024 w 8978749"/>
              <a:gd name="connsiteY2314" fmla="*/ 2704998 h 4806848"/>
              <a:gd name="connsiteX2315" fmla="*/ 4262286 w 8978749"/>
              <a:gd name="connsiteY2315" fmla="*/ 2704998 h 4806848"/>
              <a:gd name="connsiteX2316" fmla="*/ 4184499 w 8978749"/>
              <a:gd name="connsiteY2316" fmla="*/ 2646260 h 4806848"/>
              <a:gd name="connsiteX2317" fmla="*/ 4241649 w 8978749"/>
              <a:gd name="connsiteY2317" fmla="*/ 2646260 h 4806848"/>
              <a:gd name="connsiteX2318" fmla="*/ 4241649 w 8978749"/>
              <a:gd name="connsiteY2318" fmla="*/ 2704998 h 4806848"/>
              <a:gd name="connsiteX2319" fmla="*/ 4184499 w 8978749"/>
              <a:gd name="connsiteY2319" fmla="*/ 2704998 h 4806848"/>
              <a:gd name="connsiteX2320" fmla="*/ 4105124 w 8978749"/>
              <a:gd name="connsiteY2320" fmla="*/ 2646260 h 4806848"/>
              <a:gd name="connsiteX2321" fmla="*/ 4163862 w 8978749"/>
              <a:gd name="connsiteY2321" fmla="*/ 2646260 h 4806848"/>
              <a:gd name="connsiteX2322" fmla="*/ 4163862 w 8978749"/>
              <a:gd name="connsiteY2322" fmla="*/ 2704998 h 4806848"/>
              <a:gd name="connsiteX2323" fmla="*/ 4105124 w 8978749"/>
              <a:gd name="connsiteY2323" fmla="*/ 2704998 h 4806848"/>
              <a:gd name="connsiteX2324" fmla="*/ 4025749 w 8978749"/>
              <a:gd name="connsiteY2324" fmla="*/ 2646260 h 4806848"/>
              <a:gd name="connsiteX2325" fmla="*/ 4084487 w 8978749"/>
              <a:gd name="connsiteY2325" fmla="*/ 2646260 h 4806848"/>
              <a:gd name="connsiteX2326" fmla="*/ 4084487 w 8978749"/>
              <a:gd name="connsiteY2326" fmla="*/ 2704998 h 4806848"/>
              <a:gd name="connsiteX2327" fmla="*/ 4025749 w 8978749"/>
              <a:gd name="connsiteY2327" fmla="*/ 2704998 h 4806848"/>
              <a:gd name="connsiteX2328" fmla="*/ 3947961 w 8978749"/>
              <a:gd name="connsiteY2328" fmla="*/ 2646260 h 4806848"/>
              <a:gd name="connsiteX2329" fmla="*/ 4005111 w 8978749"/>
              <a:gd name="connsiteY2329" fmla="*/ 2646260 h 4806848"/>
              <a:gd name="connsiteX2330" fmla="*/ 4005111 w 8978749"/>
              <a:gd name="connsiteY2330" fmla="*/ 2704998 h 4806848"/>
              <a:gd name="connsiteX2331" fmla="*/ 3947961 w 8978749"/>
              <a:gd name="connsiteY2331" fmla="*/ 2704998 h 4806848"/>
              <a:gd name="connsiteX2332" fmla="*/ 2604936 w 8978749"/>
              <a:gd name="connsiteY2332" fmla="*/ 2646260 h 4806848"/>
              <a:gd name="connsiteX2333" fmla="*/ 2663674 w 8978749"/>
              <a:gd name="connsiteY2333" fmla="*/ 2646260 h 4806848"/>
              <a:gd name="connsiteX2334" fmla="*/ 2663674 w 8978749"/>
              <a:gd name="connsiteY2334" fmla="*/ 2704998 h 4806848"/>
              <a:gd name="connsiteX2335" fmla="*/ 2604936 w 8978749"/>
              <a:gd name="connsiteY2335" fmla="*/ 2704998 h 4806848"/>
              <a:gd name="connsiteX2336" fmla="*/ 2525648 w 8978749"/>
              <a:gd name="connsiteY2336" fmla="*/ 2646260 h 4806848"/>
              <a:gd name="connsiteX2337" fmla="*/ 2584385 w 8978749"/>
              <a:gd name="connsiteY2337" fmla="*/ 2646260 h 4806848"/>
              <a:gd name="connsiteX2338" fmla="*/ 2584385 w 8978749"/>
              <a:gd name="connsiteY2338" fmla="*/ 2704998 h 4806848"/>
              <a:gd name="connsiteX2339" fmla="*/ 2525648 w 8978749"/>
              <a:gd name="connsiteY2339" fmla="*/ 2704998 h 4806848"/>
              <a:gd name="connsiteX2340" fmla="*/ 2447857 w 8978749"/>
              <a:gd name="connsiteY2340" fmla="*/ 2646260 h 4806848"/>
              <a:gd name="connsiteX2341" fmla="*/ 2505013 w 8978749"/>
              <a:gd name="connsiteY2341" fmla="*/ 2646260 h 4806848"/>
              <a:gd name="connsiteX2342" fmla="*/ 2505013 w 8978749"/>
              <a:gd name="connsiteY2342" fmla="*/ 2704998 h 4806848"/>
              <a:gd name="connsiteX2343" fmla="*/ 2447857 w 8978749"/>
              <a:gd name="connsiteY2343" fmla="*/ 2704998 h 4806848"/>
              <a:gd name="connsiteX2344" fmla="*/ 2131947 w 8978749"/>
              <a:gd name="connsiteY2344" fmla="*/ 2646260 h 4806848"/>
              <a:gd name="connsiteX2345" fmla="*/ 2189097 w 8978749"/>
              <a:gd name="connsiteY2345" fmla="*/ 2646260 h 4806848"/>
              <a:gd name="connsiteX2346" fmla="*/ 2189097 w 8978749"/>
              <a:gd name="connsiteY2346" fmla="*/ 2704998 h 4806848"/>
              <a:gd name="connsiteX2347" fmla="*/ 2131947 w 8978749"/>
              <a:gd name="connsiteY2347" fmla="*/ 2704998 h 4806848"/>
              <a:gd name="connsiteX2348" fmla="*/ 8446936 w 8978749"/>
              <a:gd name="connsiteY2348" fmla="*/ 2568472 h 4806848"/>
              <a:gd name="connsiteX2349" fmla="*/ 8505674 w 8978749"/>
              <a:gd name="connsiteY2349" fmla="*/ 2568472 h 4806848"/>
              <a:gd name="connsiteX2350" fmla="*/ 8505674 w 8978749"/>
              <a:gd name="connsiteY2350" fmla="*/ 2627210 h 4806848"/>
              <a:gd name="connsiteX2351" fmla="*/ 8446936 w 8978749"/>
              <a:gd name="connsiteY2351" fmla="*/ 2627210 h 4806848"/>
              <a:gd name="connsiteX2352" fmla="*/ 7815111 w 8978749"/>
              <a:gd name="connsiteY2352" fmla="*/ 2568472 h 4806848"/>
              <a:gd name="connsiteX2353" fmla="*/ 7873849 w 8978749"/>
              <a:gd name="connsiteY2353" fmla="*/ 2568472 h 4806848"/>
              <a:gd name="connsiteX2354" fmla="*/ 7873849 w 8978749"/>
              <a:gd name="connsiteY2354" fmla="*/ 2627210 h 4806848"/>
              <a:gd name="connsiteX2355" fmla="*/ 7815111 w 8978749"/>
              <a:gd name="connsiteY2355" fmla="*/ 2627210 h 4806848"/>
              <a:gd name="connsiteX2356" fmla="*/ 7342036 w 8978749"/>
              <a:gd name="connsiteY2356" fmla="*/ 2568472 h 4806848"/>
              <a:gd name="connsiteX2357" fmla="*/ 7400774 w 8978749"/>
              <a:gd name="connsiteY2357" fmla="*/ 2568472 h 4806848"/>
              <a:gd name="connsiteX2358" fmla="*/ 7400774 w 8978749"/>
              <a:gd name="connsiteY2358" fmla="*/ 2627210 h 4806848"/>
              <a:gd name="connsiteX2359" fmla="*/ 7342036 w 8978749"/>
              <a:gd name="connsiteY2359" fmla="*/ 2627210 h 4806848"/>
              <a:gd name="connsiteX2360" fmla="*/ 7262661 w 8978749"/>
              <a:gd name="connsiteY2360" fmla="*/ 2568472 h 4806848"/>
              <a:gd name="connsiteX2361" fmla="*/ 7321399 w 8978749"/>
              <a:gd name="connsiteY2361" fmla="*/ 2568472 h 4806848"/>
              <a:gd name="connsiteX2362" fmla="*/ 7321399 w 8978749"/>
              <a:gd name="connsiteY2362" fmla="*/ 2627210 h 4806848"/>
              <a:gd name="connsiteX2363" fmla="*/ 7262661 w 8978749"/>
              <a:gd name="connsiteY2363" fmla="*/ 2627210 h 4806848"/>
              <a:gd name="connsiteX2364" fmla="*/ 6946749 w 8978749"/>
              <a:gd name="connsiteY2364" fmla="*/ 2568472 h 4806848"/>
              <a:gd name="connsiteX2365" fmla="*/ 7005487 w 8978749"/>
              <a:gd name="connsiteY2365" fmla="*/ 2568472 h 4806848"/>
              <a:gd name="connsiteX2366" fmla="*/ 7005487 w 8978749"/>
              <a:gd name="connsiteY2366" fmla="*/ 2627210 h 4806848"/>
              <a:gd name="connsiteX2367" fmla="*/ 6946749 w 8978749"/>
              <a:gd name="connsiteY2367" fmla="*/ 2627210 h 4806848"/>
              <a:gd name="connsiteX2368" fmla="*/ 6867374 w 8978749"/>
              <a:gd name="connsiteY2368" fmla="*/ 2568472 h 4806848"/>
              <a:gd name="connsiteX2369" fmla="*/ 6926112 w 8978749"/>
              <a:gd name="connsiteY2369" fmla="*/ 2568472 h 4806848"/>
              <a:gd name="connsiteX2370" fmla="*/ 6926112 w 8978749"/>
              <a:gd name="connsiteY2370" fmla="*/ 2627210 h 4806848"/>
              <a:gd name="connsiteX2371" fmla="*/ 6867374 w 8978749"/>
              <a:gd name="connsiteY2371" fmla="*/ 2627210 h 4806848"/>
              <a:gd name="connsiteX2372" fmla="*/ 6789586 w 8978749"/>
              <a:gd name="connsiteY2372" fmla="*/ 2568472 h 4806848"/>
              <a:gd name="connsiteX2373" fmla="*/ 6846736 w 8978749"/>
              <a:gd name="connsiteY2373" fmla="*/ 2568472 h 4806848"/>
              <a:gd name="connsiteX2374" fmla="*/ 6846736 w 8978749"/>
              <a:gd name="connsiteY2374" fmla="*/ 2627210 h 4806848"/>
              <a:gd name="connsiteX2375" fmla="*/ 6789586 w 8978749"/>
              <a:gd name="connsiteY2375" fmla="*/ 2627210 h 4806848"/>
              <a:gd name="connsiteX2376" fmla="*/ 6710211 w 8978749"/>
              <a:gd name="connsiteY2376" fmla="*/ 2568472 h 4806848"/>
              <a:gd name="connsiteX2377" fmla="*/ 6768949 w 8978749"/>
              <a:gd name="connsiteY2377" fmla="*/ 2568472 h 4806848"/>
              <a:gd name="connsiteX2378" fmla="*/ 6768949 w 8978749"/>
              <a:gd name="connsiteY2378" fmla="*/ 2627210 h 4806848"/>
              <a:gd name="connsiteX2379" fmla="*/ 6710211 w 8978749"/>
              <a:gd name="connsiteY2379" fmla="*/ 2627210 h 4806848"/>
              <a:gd name="connsiteX2380" fmla="*/ 6551461 w 8978749"/>
              <a:gd name="connsiteY2380" fmla="*/ 2568472 h 4806848"/>
              <a:gd name="connsiteX2381" fmla="*/ 6610199 w 8978749"/>
              <a:gd name="connsiteY2381" fmla="*/ 2568472 h 4806848"/>
              <a:gd name="connsiteX2382" fmla="*/ 6610199 w 8978749"/>
              <a:gd name="connsiteY2382" fmla="*/ 2627210 h 4806848"/>
              <a:gd name="connsiteX2383" fmla="*/ 6551461 w 8978749"/>
              <a:gd name="connsiteY2383" fmla="*/ 2627210 h 4806848"/>
              <a:gd name="connsiteX2384" fmla="*/ 6235549 w 8978749"/>
              <a:gd name="connsiteY2384" fmla="*/ 2568472 h 4806848"/>
              <a:gd name="connsiteX2385" fmla="*/ 6294287 w 8978749"/>
              <a:gd name="connsiteY2385" fmla="*/ 2568472 h 4806848"/>
              <a:gd name="connsiteX2386" fmla="*/ 6294287 w 8978749"/>
              <a:gd name="connsiteY2386" fmla="*/ 2627210 h 4806848"/>
              <a:gd name="connsiteX2387" fmla="*/ 6235549 w 8978749"/>
              <a:gd name="connsiteY2387" fmla="*/ 2627210 h 4806848"/>
              <a:gd name="connsiteX2388" fmla="*/ 6157761 w 8978749"/>
              <a:gd name="connsiteY2388" fmla="*/ 2568472 h 4806848"/>
              <a:gd name="connsiteX2389" fmla="*/ 6214911 w 8978749"/>
              <a:gd name="connsiteY2389" fmla="*/ 2568472 h 4806848"/>
              <a:gd name="connsiteX2390" fmla="*/ 6214911 w 8978749"/>
              <a:gd name="connsiteY2390" fmla="*/ 2627210 h 4806848"/>
              <a:gd name="connsiteX2391" fmla="*/ 6157761 w 8978749"/>
              <a:gd name="connsiteY2391" fmla="*/ 2627210 h 4806848"/>
              <a:gd name="connsiteX2392" fmla="*/ 5368774 w 8978749"/>
              <a:gd name="connsiteY2392" fmla="*/ 2568472 h 4806848"/>
              <a:gd name="connsiteX2393" fmla="*/ 5425924 w 8978749"/>
              <a:gd name="connsiteY2393" fmla="*/ 2568472 h 4806848"/>
              <a:gd name="connsiteX2394" fmla="*/ 5425924 w 8978749"/>
              <a:gd name="connsiteY2394" fmla="*/ 2627210 h 4806848"/>
              <a:gd name="connsiteX2395" fmla="*/ 5368774 w 8978749"/>
              <a:gd name="connsiteY2395" fmla="*/ 2627210 h 4806848"/>
              <a:gd name="connsiteX2396" fmla="*/ 5210024 w 8978749"/>
              <a:gd name="connsiteY2396" fmla="*/ 2568472 h 4806848"/>
              <a:gd name="connsiteX2397" fmla="*/ 5268762 w 8978749"/>
              <a:gd name="connsiteY2397" fmla="*/ 2568472 h 4806848"/>
              <a:gd name="connsiteX2398" fmla="*/ 5268762 w 8978749"/>
              <a:gd name="connsiteY2398" fmla="*/ 2627210 h 4806848"/>
              <a:gd name="connsiteX2399" fmla="*/ 5210024 w 8978749"/>
              <a:gd name="connsiteY2399" fmla="*/ 2627210 h 4806848"/>
              <a:gd name="connsiteX2400" fmla="*/ 5130649 w 8978749"/>
              <a:gd name="connsiteY2400" fmla="*/ 2568472 h 4806848"/>
              <a:gd name="connsiteX2401" fmla="*/ 5189387 w 8978749"/>
              <a:gd name="connsiteY2401" fmla="*/ 2568472 h 4806848"/>
              <a:gd name="connsiteX2402" fmla="*/ 5189387 w 8978749"/>
              <a:gd name="connsiteY2402" fmla="*/ 2627210 h 4806848"/>
              <a:gd name="connsiteX2403" fmla="*/ 5130649 w 8978749"/>
              <a:gd name="connsiteY2403" fmla="*/ 2627210 h 4806848"/>
              <a:gd name="connsiteX2404" fmla="*/ 5052861 w 8978749"/>
              <a:gd name="connsiteY2404" fmla="*/ 2568472 h 4806848"/>
              <a:gd name="connsiteX2405" fmla="*/ 5110011 w 8978749"/>
              <a:gd name="connsiteY2405" fmla="*/ 2568472 h 4806848"/>
              <a:gd name="connsiteX2406" fmla="*/ 5110011 w 8978749"/>
              <a:gd name="connsiteY2406" fmla="*/ 2627210 h 4806848"/>
              <a:gd name="connsiteX2407" fmla="*/ 5052861 w 8978749"/>
              <a:gd name="connsiteY2407" fmla="*/ 2627210 h 4806848"/>
              <a:gd name="connsiteX2408" fmla="*/ 4973486 w 8978749"/>
              <a:gd name="connsiteY2408" fmla="*/ 2568472 h 4806848"/>
              <a:gd name="connsiteX2409" fmla="*/ 5030636 w 8978749"/>
              <a:gd name="connsiteY2409" fmla="*/ 2568472 h 4806848"/>
              <a:gd name="connsiteX2410" fmla="*/ 5030636 w 8978749"/>
              <a:gd name="connsiteY2410" fmla="*/ 2627210 h 4806848"/>
              <a:gd name="connsiteX2411" fmla="*/ 4973486 w 8978749"/>
              <a:gd name="connsiteY2411" fmla="*/ 2627210 h 4806848"/>
              <a:gd name="connsiteX2412" fmla="*/ 4894111 w 8978749"/>
              <a:gd name="connsiteY2412" fmla="*/ 2568472 h 4806848"/>
              <a:gd name="connsiteX2413" fmla="*/ 4952849 w 8978749"/>
              <a:gd name="connsiteY2413" fmla="*/ 2568472 h 4806848"/>
              <a:gd name="connsiteX2414" fmla="*/ 4952849 w 8978749"/>
              <a:gd name="connsiteY2414" fmla="*/ 2627210 h 4806848"/>
              <a:gd name="connsiteX2415" fmla="*/ 4894111 w 8978749"/>
              <a:gd name="connsiteY2415" fmla="*/ 2627210 h 4806848"/>
              <a:gd name="connsiteX2416" fmla="*/ 4814736 w 8978749"/>
              <a:gd name="connsiteY2416" fmla="*/ 2568472 h 4806848"/>
              <a:gd name="connsiteX2417" fmla="*/ 4873474 w 8978749"/>
              <a:gd name="connsiteY2417" fmla="*/ 2568472 h 4806848"/>
              <a:gd name="connsiteX2418" fmla="*/ 4873474 w 8978749"/>
              <a:gd name="connsiteY2418" fmla="*/ 2627210 h 4806848"/>
              <a:gd name="connsiteX2419" fmla="*/ 4814736 w 8978749"/>
              <a:gd name="connsiteY2419" fmla="*/ 2627210 h 4806848"/>
              <a:gd name="connsiteX2420" fmla="*/ 4736949 w 8978749"/>
              <a:gd name="connsiteY2420" fmla="*/ 2568472 h 4806848"/>
              <a:gd name="connsiteX2421" fmla="*/ 4794099 w 8978749"/>
              <a:gd name="connsiteY2421" fmla="*/ 2568472 h 4806848"/>
              <a:gd name="connsiteX2422" fmla="*/ 4794099 w 8978749"/>
              <a:gd name="connsiteY2422" fmla="*/ 2627210 h 4806848"/>
              <a:gd name="connsiteX2423" fmla="*/ 4736949 w 8978749"/>
              <a:gd name="connsiteY2423" fmla="*/ 2627210 h 4806848"/>
              <a:gd name="connsiteX2424" fmla="*/ 4657574 w 8978749"/>
              <a:gd name="connsiteY2424" fmla="*/ 2568472 h 4806848"/>
              <a:gd name="connsiteX2425" fmla="*/ 4716312 w 8978749"/>
              <a:gd name="connsiteY2425" fmla="*/ 2568472 h 4806848"/>
              <a:gd name="connsiteX2426" fmla="*/ 4716312 w 8978749"/>
              <a:gd name="connsiteY2426" fmla="*/ 2627210 h 4806848"/>
              <a:gd name="connsiteX2427" fmla="*/ 4657574 w 8978749"/>
              <a:gd name="connsiteY2427" fmla="*/ 2627210 h 4806848"/>
              <a:gd name="connsiteX2428" fmla="*/ 4578199 w 8978749"/>
              <a:gd name="connsiteY2428" fmla="*/ 2568472 h 4806848"/>
              <a:gd name="connsiteX2429" fmla="*/ 4636937 w 8978749"/>
              <a:gd name="connsiteY2429" fmla="*/ 2568472 h 4806848"/>
              <a:gd name="connsiteX2430" fmla="*/ 4636937 w 8978749"/>
              <a:gd name="connsiteY2430" fmla="*/ 2627210 h 4806848"/>
              <a:gd name="connsiteX2431" fmla="*/ 4578199 w 8978749"/>
              <a:gd name="connsiteY2431" fmla="*/ 2627210 h 4806848"/>
              <a:gd name="connsiteX2432" fmla="*/ 4498824 w 8978749"/>
              <a:gd name="connsiteY2432" fmla="*/ 2568472 h 4806848"/>
              <a:gd name="connsiteX2433" fmla="*/ 4557562 w 8978749"/>
              <a:gd name="connsiteY2433" fmla="*/ 2568472 h 4806848"/>
              <a:gd name="connsiteX2434" fmla="*/ 4557562 w 8978749"/>
              <a:gd name="connsiteY2434" fmla="*/ 2627210 h 4806848"/>
              <a:gd name="connsiteX2435" fmla="*/ 4498824 w 8978749"/>
              <a:gd name="connsiteY2435" fmla="*/ 2627210 h 4806848"/>
              <a:gd name="connsiteX2436" fmla="*/ 4421036 w 8978749"/>
              <a:gd name="connsiteY2436" fmla="*/ 2568472 h 4806848"/>
              <a:gd name="connsiteX2437" fmla="*/ 4479774 w 8978749"/>
              <a:gd name="connsiteY2437" fmla="*/ 2568472 h 4806848"/>
              <a:gd name="connsiteX2438" fmla="*/ 4479774 w 8978749"/>
              <a:gd name="connsiteY2438" fmla="*/ 2627210 h 4806848"/>
              <a:gd name="connsiteX2439" fmla="*/ 4421036 w 8978749"/>
              <a:gd name="connsiteY2439" fmla="*/ 2627210 h 4806848"/>
              <a:gd name="connsiteX2440" fmla="*/ 4341661 w 8978749"/>
              <a:gd name="connsiteY2440" fmla="*/ 2568472 h 4806848"/>
              <a:gd name="connsiteX2441" fmla="*/ 4400399 w 8978749"/>
              <a:gd name="connsiteY2441" fmla="*/ 2568472 h 4806848"/>
              <a:gd name="connsiteX2442" fmla="*/ 4400399 w 8978749"/>
              <a:gd name="connsiteY2442" fmla="*/ 2627210 h 4806848"/>
              <a:gd name="connsiteX2443" fmla="*/ 4341661 w 8978749"/>
              <a:gd name="connsiteY2443" fmla="*/ 2627210 h 4806848"/>
              <a:gd name="connsiteX2444" fmla="*/ 4262286 w 8978749"/>
              <a:gd name="connsiteY2444" fmla="*/ 2568472 h 4806848"/>
              <a:gd name="connsiteX2445" fmla="*/ 4321024 w 8978749"/>
              <a:gd name="connsiteY2445" fmla="*/ 2568472 h 4806848"/>
              <a:gd name="connsiteX2446" fmla="*/ 4321024 w 8978749"/>
              <a:gd name="connsiteY2446" fmla="*/ 2627210 h 4806848"/>
              <a:gd name="connsiteX2447" fmla="*/ 4262286 w 8978749"/>
              <a:gd name="connsiteY2447" fmla="*/ 2627210 h 4806848"/>
              <a:gd name="connsiteX2448" fmla="*/ 4184499 w 8978749"/>
              <a:gd name="connsiteY2448" fmla="*/ 2568472 h 4806848"/>
              <a:gd name="connsiteX2449" fmla="*/ 4241649 w 8978749"/>
              <a:gd name="connsiteY2449" fmla="*/ 2568472 h 4806848"/>
              <a:gd name="connsiteX2450" fmla="*/ 4241649 w 8978749"/>
              <a:gd name="connsiteY2450" fmla="*/ 2627210 h 4806848"/>
              <a:gd name="connsiteX2451" fmla="*/ 4184499 w 8978749"/>
              <a:gd name="connsiteY2451" fmla="*/ 2627210 h 4806848"/>
              <a:gd name="connsiteX2452" fmla="*/ 4105124 w 8978749"/>
              <a:gd name="connsiteY2452" fmla="*/ 2568472 h 4806848"/>
              <a:gd name="connsiteX2453" fmla="*/ 4163862 w 8978749"/>
              <a:gd name="connsiteY2453" fmla="*/ 2568472 h 4806848"/>
              <a:gd name="connsiteX2454" fmla="*/ 4163862 w 8978749"/>
              <a:gd name="connsiteY2454" fmla="*/ 2627210 h 4806848"/>
              <a:gd name="connsiteX2455" fmla="*/ 4105124 w 8978749"/>
              <a:gd name="connsiteY2455" fmla="*/ 2627210 h 4806848"/>
              <a:gd name="connsiteX2456" fmla="*/ 4025749 w 8978749"/>
              <a:gd name="connsiteY2456" fmla="*/ 2568472 h 4806848"/>
              <a:gd name="connsiteX2457" fmla="*/ 4084487 w 8978749"/>
              <a:gd name="connsiteY2457" fmla="*/ 2568472 h 4806848"/>
              <a:gd name="connsiteX2458" fmla="*/ 4084487 w 8978749"/>
              <a:gd name="connsiteY2458" fmla="*/ 2627210 h 4806848"/>
              <a:gd name="connsiteX2459" fmla="*/ 4025749 w 8978749"/>
              <a:gd name="connsiteY2459" fmla="*/ 2627210 h 4806848"/>
              <a:gd name="connsiteX2460" fmla="*/ 3947961 w 8978749"/>
              <a:gd name="connsiteY2460" fmla="*/ 2568472 h 4806848"/>
              <a:gd name="connsiteX2461" fmla="*/ 4005111 w 8978749"/>
              <a:gd name="connsiteY2461" fmla="*/ 2568472 h 4806848"/>
              <a:gd name="connsiteX2462" fmla="*/ 4005111 w 8978749"/>
              <a:gd name="connsiteY2462" fmla="*/ 2627210 h 4806848"/>
              <a:gd name="connsiteX2463" fmla="*/ 3947961 w 8978749"/>
              <a:gd name="connsiteY2463" fmla="*/ 2627210 h 4806848"/>
              <a:gd name="connsiteX2464" fmla="*/ 3868586 w 8978749"/>
              <a:gd name="connsiteY2464" fmla="*/ 2568472 h 4806848"/>
              <a:gd name="connsiteX2465" fmla="*/ 3925736 w 8978749"/>
              <a:gd name="connsiteY2465" fmla="*/ 2568472 h 4806848"/>
              <a:gd name="connsiteX2466" fmla="*/ 3925736 w 8978749"/>
              <a:gd name="connsiteY2466" fmla="*/ 2627210 h 4806848"/>
              <a:gd name="connsiteX2467" fmla="*/ 3868586 w 8978749"/>
              <a:gd name="connsiteY2467" fmla="*/ 2627210 h 4806848"/>
              <a:gd name="connsiteX2468" fmla="*/ 3709836 w 8978749"/>
              <a:gd name="connsiteY2468" fmla="*/ 2568472 h 4806848"/>
              <a:gd name="connsiteX2469" fmla="*/ 3768574 w 8978749"/>
              <a:gd name="connsiteY2469" fmla="*/ 2568472 h 4806848"/>
              <a:gd name="connsiteX2470" fmla="*/ 3768574 w 8978749"/>
              <a:gd name="connsiteY2470" fmla="*/ 2627210 h 4806848"/>
              <a:gd name="connsiteX2471" fmla="*/ 3709836 w 8978749"/>
              <a:gd name="connsiteY2471" fmla="*/ 2627210 h 4806848"/>
              <a:gd name="connsiteX2472" fmla="*/ 2763686 w 8978749"/>
              <a:gd name="connsiteY2472" fmla="*/ 2568472 h 4806848"/>
              <a:gd name="connsiteX2473" fmla="*/ 2820836 w 8978749"/>
              <a:gd name="connsiteY2473" fmla="*/ 2568472 h 4806848"/>
              <a:gd name="connsiteX2474" fmla="*/ 2820836 w 8978749"/>
              <a:gd name="connsiteY2474" fmla="*/ 2627210 h 4806848"/>
              <a:gd name="connsiteX2475" fmla="*/ 2763686 w 8978749"/>
              <a:gd name="connsiteY2475" fmla="*/ 2627210 h 4806848"/>
              <a:gd name="connsiteX2476" fmla="*/ 2131949 w 8978749"/>
              <a:gd name="connsiteY2476" fmla="*/ 2568472 h 4806848"/>
              <a:gd name="connsiteX2477" fmla="*/ 2189100 w 8978749"/>
              <a:gd name="connsiteY2477" fmla="*/ 2568472 h 4806848"/>
              <a:gd name="connsiteX2478" fmla="*/ 2189100 w 8978749"/>
              <a:gd name="connsiteY2478" fmla="*/ 2627210 h 4806848"/>
              <a:gd name="connsiteX2479" fmla="*/ 2131949 w 8978749"/>
              <a:gd name="connsiteY2479" fmla="*/ 2627210 h 4806848"/>
              <a:gd name="connsiteX2480" fmla="*/ 2052571 w 8978749"/>
              <a:gd name="connsiteY2480" fmla="*/ 2568472 h 4806848"/>
              <a:gd name="connsiteX2481" fmla="*/ 2111311 w 8978749"/>
              <a:gd name="connsiteY2481" fmla="*/ 2568472 h 4806848"/>
              <a:gd name="connsiteX2482" fmla="*/ 2111311 w 8978749"/>
              <a:gd name="connsiteY2482" fmla="*/ 2627210 h 4806848"/>
              <a:gd name="connsiteX2483" fmla="*/ 2052571 w 8978749"/>
              <a:gd name="connsiteY2483" fmla="*/ 2627210 h 4806848"/>
              <a:gd name="connsiteX2484" fmla="*/ 7894486 w 8978749"/>
              <a:gd name="connsiteY2484" fmla="*/ 2490685 h 4806848"/>
              <a:gd name="connsiteX2485" fmla="*/ 7951636 w 8978749"/>
              <a:gd name="connsiteY2485" fmla="*/ 2490685 h 4806848"/>
              <a:gd name="connsiteX2486" fmla="*/ 7951636 w 8978749"/>
              <a:gd name="connsiteY2486" fmla="*/ 2549423 h 4806848"/>
              <a:gd name="connsiteX2487" fmla="*/ 7894486 w 8978749"/>
              <a:gd name="connsiteY2487" fmla="*/ 2549423 h 4806848"/>
              <a:gd name="connsiteX2488" fmla="*/ 7262661 w 8978749"/>
              <a:gd name="connsiteY2488" fmla="*/ 2490685 h 4806848"/>
              <a:gd name="connsiteX2489" fmla="*/ 7321399 w 8978749"/>
              <a:gd name="connsiteY2489" fmla="*/ 2490685 h 4806848"/>
              <a:gd name="connsiteX2490" fmla="*/ 7321399 w 8978749"/>
              <a:gd name="connsiteY2490" fmla="*/ 2549423 h 4806848"/>
              <a:gd name="connsiteX2491" fmla="*/ 7262661 w 8978749"/>
              <a:gd name="connsiteY2491" fmla="*/ 2549423 h 4806848"/>
              <a:gd name="connsiteX2492" fmla="*/ 6946749 w 8978749"/>
              <a:gd name="connsiteY2492" fmla="*/ 2490685 h 4806848"/>
              <a:gd name="connsiteX2493" fmla="*/ 7005487 w 8978749"/>
              <a:gd name="connsiteY2493" fmla="*/ 2490685 h 4806848"/>
              <a:gd name="connsiteX2494" fmla="*/ 7005487 w 8978749"/>
              <a:gd name="connsiteY2494" fmla="*/ 2549423 h 4806848"/>
              <a:gd name="connsiteX2495" fmla="*/ 6946749 w 8978749"/>
              <a:gd name="connsiteY2495" fmla="*/ 2549423 h 4806848"/>
              <a:gd name="connsiteX2496" fmla="*/ 6867374 w 8978749"/>
              <a:gd name="connsiteY2496" fmla="*/ 2490685 h 4806848"/>
              <a:gd name="connsiteX2497" fmla="*/ 6926112 w 8978749"/>
              <a:gd name="connsiteY2497" fmla="*/ 2490685 h 4806848"/>
              <a:gd name="connsiteX2498" fmla="*/ 6926112 w 8978749"/>
              <a:gd name="connsiteY2498" fmla="*/ 2549423 h 4806848"/>
              <a:gd name="connsiteX2499" fmla="*/ 6867374 w 8978749"/>
              <a:gd name="connsiteY2499" fmla="*/ 2549423 h 4806848"/>
              <a:gd name="connsiteX2500" fmla="*/ 6789586 w 8978749"/>
              <a:gd name="connsiteY2500" fmla="*/ 2490685 h 4806848"/>
              <a:gd name="connsiteX2501" fmla="*/ 6846736 w 8978749"/>
              <a:gd name="connsiteY2501" fmla="*/ 2490685 h 4806848"/>
              <a:gd name="connsiteX2502" fmla="*/ 6846736 w 8978749"/>
              <a:gd name="connsiteY2502" fmla="*/ 2549423 h 4806848"/>
              <a:gd name="connsiteX2503" fmla="*/ 6789586 w 8978749"/>
              <a:gd name="connsiteY2503" fmla="*/ 2549423 h 4806848"/>
              <a:gd name="connsiteX2504" fmla="*/ 6710211 w 8978749"/>
              <a:gd name="connsiteY2504" fmla="*/ 2490685 h 4806848"/>
              <a:gd name="connsiteX2505" fmla="*/ 6768949 w 8978749"/>
              <a:gd name="connsiteY2505" fmla="*/ 2490685 h 4806848"/>
              <a:gd name="connsiteX2506" fmla="*/ 6768949 w 8978749"/>
              <a:gd name="connsiteY2506" fmla="*/ 2549423 h 4806848"/>
              <a:gd name="connsiteX2507" fmla="*/ 6710211 w 8978749"/>
              <a:gd name="connsiteY2507" fmla="*/ 2549423 h 4806848"/>
              <a:gd name="connsiteX2508" fmla="*/ 6630836 w 8978749"/>
              <a:gd name="connsiteY2508" fmla="*/ 2490685 h 4806848"/>
              <a:gd name="connsiteX2509" fmla="*/ 6689574 w 8978749"/>
              <a:gd name="connsiteY2509" fmla="*/ 2490685 h 4806848"/>
              <a:gd name="connsiteX2510" fmla="*/ 6689574 w 8978749"/>
              <a:gd name="connsiteY2510" fmla="*/ 2549423 h 4806848"/>
              <a:gd name="connsiteX2511" fmla="*/ 6630836 w 8978749"/>
              <a:gd name="connsiteY2511" fmla="*/ 2549423 h 4806848"/>
              <a:gd name="connsiteX2512" fmla="*/ 6235549 w 8978749"/>
              <a:gd name="connsiteY2512" fmla="*/ 2490685 h 4806848"/>
              <a:gd name="connsiteX2513" fmla="*/ 6294287 w 8978749"/>
              <a:gd name="connsiteY2513" fmla="*/ 2490685 h 4806848"/>
              <a:gd name="connsiteX2514" fmla="*/ 6294287 w 8978749"/>
              <a:gd name="connsiteY2514" fmla="*/ 2549423 h 4806848"/>
              <a:gd name="connsiteX2515" fmla="*/ 6235549 w 8978749"/>
              <a:gd name="connsiteY2515" fmla="*/ 2549423 h 4806848"/>
              <a:gd name="connsiteX2516" fmla="*/ 6157761 w 8978749"/>
              <a:gd name="connsiteY2516" fmla="*/ 2490685 h 4806848"/>
              <a:gd name="connsiteX2517" fmla="*/ 6214911 w 8978749"/>
              <a:gd name="connsiteY2517" fmla="*/ 2490685 h 4806848"/>
              <a:gd name="connsiteX2518" fmla="*/ 6214911 w 8978749"/>
              <a:gd name="connsiteY2518" fmla="*/ 2549423 h 4806848"/>
              <a:gd name="connsiteX2519" fmla="*/ 6157761 w 8978749"/>
              <a:gd name="connsiteY2519" fmla="*/ 2549423 h 4806848"/>
              <a:gd name="connsiteX2520" fmla="*/ 6078386 w 8978749"/>
              <a:gd name="connsiteY2520" fmla="*/ 2490685 h 4806848"/>
              <a:gd name="connsiteX2521" fmla="*/ 6137124 w 8978749"/>
              <a:gd name="connsiteY2521" fmla="*/ 2490685 h 4806848"/>
              <a:gd name="connsiteX2522" fmla="*/ 6137124 w 8978749"/>
              <a:gd name="connsiteY2522" fmla="*/ 2549423 h 4806848"/>
              <a:gd name="connsiteX2523" fmla="*/ 6078386 w 8978749"/>
              <a:gd name="connsiteY2523" fmla="*/ 2549423 h 4806848"/>
              <a:gd name="connsiteX2524" fmla="*/ 5525936 w 8978749"/>
              <a:gd name="connsiteY2524" fmla="*/ 2490685 h 4806848"/>
              <a:gd name="connsiteX2525" fmla="*/ 5584674 w 8978749"/>
              <a:gd name="connsiteY2525" fmla="*/ 2490685 h 4806848"/>
              <a:gd name="connsiteX2526" fmla="*/ 5584674 w 8978749"/>
              <a:gd name="connsiteY2526" fmla="*/ 2549423 h 4806848"/>
              <a:gd name="connsiteX2527" fmla="*/ 5525936 w 8978749"/>
              <a:gd name="connsiteY2527" fmla="*/ 2549423 h 4806848"/>
              <a:gd name="connsiteX2528" fmla="*/ 5446561 w 8978749"/>
              <a:gd name="connsiteY2528" fmla="*/ 2490685 h 4806848"/>
              <a:gd name="connsiteX2529" fmla="*/ 5505299 w 8978749"/>
              <a:gd name="connsiteY2529" fmla="*/ 2490685 h 4806848"/>
              <a:gd name="connsiteX2530" fmla="*/ 5505299 w 8978749"/>
              <a:gd name="connsiteY2530" fmla="*/ 2549423 h 4806848"/>
              <a:gd name="connsiteX2531" fmla="*/ 5446561 w 8978749"/>
              <a:gd name="connsiteY2531" fmla="*/ 2549423 h 4806848"/>
              <a:gd name="connsiteX2532" fmla="*/ 5368774 w 8978749"/>
              <a:gd name="connsiteY2532" fmla="*/ 2490685 h 4806848"/>
              <a:gd name="connsiteX2533" fmla="*/ 5425924 w 8978749"/>
              <a:gd name="connsiteY2533" fmla="*/ 2490685 h 4806848"/>
              <a:gd name="connsiteX2534" fmla="*/ 5425924 w 8978749"/>
              <a:gd name="connsiteY2534" fmla="*/ 2549423 h 4806848"/>
              <a:gd name="connsiteX2535" fmla="*/ 5368774 w 8978749"/>
              <a:gd name="connsiteY2535" fmla="*/ 2549423 h 4806848"/>
              <a:gd name="connsiteX2536" fmla="*/ 5289399 w 8978749"/>
              <a:gd name="connsiteY2536" fmla="*/ 2490685 h 4806848"/>
              <a:gd name="connsiteX2537" fmla="*/ 5348137 w 8978749"/>
              <a:gd name="connsiteY2537" fmla="*/ 2490685 h 4806848"/>
              <a:gd name="connsiteX2538" fmla="*/ 5348137 w 8978749"/>
              <a:gd name="connsiteY2538" fmla="*/ 2549423 h 4806848"/>
              <a:gd name="connsiteX2539" fmla="*/ 5289399 w 8978749"/>
              <a:gd name="connsiteY2539" fmla="*/ 2549423 h 4806848"/>
              <a:gd name="connsiteX2540" fmla="*/ 5130649 w 8978749"/>
              <a:gd name="connsiteY2540" fmla="*/ 2490685 h 4806848"/>
              <a:gd name="connsiteX2541" fmla="*/ 5189387 w 8978749"/>
              <a:gd name="connsiteY2541" fmla="*/ 2490685 h 4806848"/>
              <a:gd name="connsiteX2542" fmla="*/ 5189387 w 8978749"/>
              <a:gd name="connsiteY2542" fmla="*/ 2549423 h 4806848"/>
              <a:gd name="connsiteX2543" fmla="*/ 5130649 w 8978749"/>
              <a:gd name="connsiteY2543" fmla="*/ 2549423 h 4806848"/>
              <a:gd name="connsiteX2544" fmla="*/ 5052861 w 8978749"/>
              <a:gd name="connsiteY2544" fmla="*/ 2490685 h 4806848"/>
              <a:gd name="connsiteX2545" fmla="*/ 5110011 w 8978749"/>
              <a:gd name="connsiteY2545" fmla="*/ 2490685 h 4806848"/>
              <a:gd name="connsiteX2546" fmla="*/ 5110011 w 8978749"/>
              <a:gd name="connsiteY2546" fmla="*/ 2549423 h 4806848"/>
              <a:gd name="connsiteX2547" fmla="*/ 5052861 w 8978749"/>
              <a:gd name="connsiteY2547" fmla="*/ 2549423 h 4806848"/>
              <a:gd name="connsiteX2548" fmla="*/ 4973486 w 8978749"/>
              <a:gd name="connsiteY2548" fmla="*/ 2490685 h 4806848"/>
              <a:gd name="connsiteX2549" fmla="*/ 5030636 w 8978749"/>
              <a:gd name="connsiteY2549" fmla="*/ 2490685 h 4806848"/>
              <a:gd name="connsiteX2550" fmla="*/ 5030636 w 8978749"/>
              <a:gd name="connsiteY2550" fmla="*/ 2549423 h 4806848"/>
              <a:gd name="connsiteX2551" fmla="*/ 4973486 w 8978749"/>
              <a:gd name="connsiteY2551" fmla="*/ 2549423 h 4806848"/>
              <a:gd name="connsiteX2552" fmla="*/ 4894111 w 8978749"/>
              <a:gd name="connsiteY2552" fmla="*/ 2490685 h 4806848"/>
              <a:gd name="connsiteX2553" fmla="*/ 4952849 w 8978749"/>
              <a:gd name="connsiteY2553" fmla="*/ 2490685 h 4806848"/>
              <a:gd name="connsiteX2554" fmla="*/ 4952849 w 8978749"/>
              <a:gd name="connsiteY2554" fmla="*/ 2549423 h 4806848"/>
              <a:gd name="connsiteX2555" fmla="*/ 4894111 w 8978749"/>
              <a:gd name="connsiteY2555" fmla="*/ 2549423 h 4806848"/>
              <a:gd name="connsiteX2556" fmla="*/ 4814736 w 8978749"/>
              <a:gd name="connsiteY2556" fmla="*/ 2490685 h 4806848"/>
              <a:gd name="connsiteX2557" fmla="*/ 4873474 w 8978749"/>
              <a:gd name="connsiteY2557" fmla="*/ 2490685 h 4806848"/>
              <a:gd name="connsiteX2558" fmla="*/ 4873474 w 8978749"/>
              <a:gd name="connsiteY2558" fmla="*/ 2549423 h 4806848"/>
              <a:gd name="connsiteX2559" fmla="*/ 4814736 w 8978749"/>
              <a:gd name="connsiteY2559" fmla="*/ 2549423 h 4806848"/>
              <a:gd name="connsiteX2560" fmla="*/ 4736949 w 8978749"/>
              <a:gd name="connsiteY2560" fmla="*/ 2490685 h 4806848"/>
              <a:gd name="connsiteX2561" fmla="*/ 4794099 w 8978749"/>
              <a:gd name="connsiteY2561" fmla="*/ 2490685 h 4806848"/>
              <a:gd name="connsiteX2562" fmla="*/ 4794099 w 8978749"/>
              <a:gd name="connsiteY2562" fmla="*/ 2549423 h 4806848"/>
              <a:gd name="connsiteX2563" fmla="*/ 4736949 w 8978749"/>
              <a:gd name="connsiteY2563" fmla="*/ 2549423 h 4806848"/>
              <a:gd name="connsiteX2564" fmla="*/ 4657574 w 8978749"/>
              <a:gd name="connsiteY2564" fmla="*/ 2490685 h 4806848"/>
              <a:gd name="connsiteX2565" fmla="*/ 4716312 w 8978749"/>
              <a:gd name="connsiteY2565" fmla="*/ 2490685 h 4806848"/>
              <a:gd name="connsiteX2566" fmla="*/ 4716312 w 8978749"/>
              <a:gd name="connsiteY2566" fmla="*/ 2549423 h 4806848"/>
              <a:gd name="connsiteX2567" fmla="*/ 4657574 w 8978749"/>
              <a:gd name="connsiteY2567" fmla="*/ 2549423 h 4806848"/>
              <a:gd name="connsiteX2568" fmla="*/ 4578199 w 8978749"/>
              <a:gd name="connsiteY2568" fmla="*/ 2490685 h 4806848"/>
              <a:gd name="connsiteX2569" fmla="*/ 4636937 w 8978749"/>
              <a:gd name="connsiteY2569" fmla="*/ 2490685 h 4806848"/>
              <a:gd name="connsiteX2570" fmla="*/ 4636937 w 8978749"/>
              <a:gd name="connsiteY2570" fmla="*/ 2549423 h 4806848"/>
              <a:gd name="connsiteX2571" fmla="*/ 4578199 w 8978749"/>
              <a:gd name="connsiteY2571" fmla="*/ 2549423 h 4806848"/>
              <a:gd name="connsiteX2572" fmla="*/ 4498824 w 8978749"/>
              <a:gd name="connsiteY2572" fmla="*/ 2490685 h 4806848"/>
              <a:gd name="connsiteX2573" fmla="*/ 4557562 w 8978749"/>
              <a:gd name="connsiteY2573" fmla="*/ 2490685 h 4806848"/>
              <a:gd name="connsiteX2574" fmla="*/ 4557562 w 8978749"/>
              <a:gd name="connsiteY2574" fmla="*/ 2549423 h 4806848"/>
              <a:gd name="connsiteX2575" fmla="*/ 4498824 w 8978749"/>
              <a:gd name="connsiteY2575" fmla="*/ 2549423 h 4806848"/>
              <a:gd name="connsiteX2576" fmla="*/ 4421036 w 8978749"/>
              <a:gd name="connsiteY2576" fmla="*/ 2490685 h 4806848"/>
              <a:gd name="connsiteX2577" fmla="*/ 4479774 w 8978749"/>
              <a:gd name="connsiteY2577" fmla="*/ 2490685 h 4806848"/>
              <a:gd name="connsiteX2578" fmla="*/ 4479774 w 8978749"/>
              <a:gd name="connsiteY2578" fmla="*/ 2549423 h 4806848"/>
              <a:gd name="connsiteX2579" fmla="*/ 4421036 w 8978749"/>
              <a:gd name="connsiteY2579" fmla="*/ 2549423 h 4806848"/>
              <a:gd name="connsiteX2580" fmla="*/ 4341661 w 8978749"/>
              <a:gd name="connsiteY2580" fmla="*/ 2490685 h 4806848"/>
              <a:gd name="connsiteX2581" fmla="*/ 4400399 w 8978749"/>
              <a:gd name="connsiteY2581" fmla="*/ 2490685 h 4806848"/>
              <a:gd name="connsiteX2582" fmla="*/ 4400399 w 8978749"/>
              <a:gd name="connsiteY2582" fmla="*/ 2549423 h 4806848"/>
              <a:gd name="connsiteX2583" fmla="*/ 4341661 w 8978749"/>
              <a:gd name="connsiteY2583" fmla="*/ 2549423 h 4806848"/>
              <a:gd name="connsiteX2584" fmla="*/ 4262286 w 8978749"/>
              <a:gd name="connsiteY2584" fmla="*/ 2490685 h 4806848"/>
              <a:gd name="connsiteX2585" fmla="*/ 4321024 w 8978749"/>
              <a:gd name="connsiteY2585" fmla="*/ 2490685 h 4806848"/>
              <a:gd name="connsiteX2586" fmla="*/ 4321024 w 8978749"/>
              <a:gd name="connsiteY2586" fmla="*/ 2549423 h 4806848"/>
              <a:gd name="connsiteX2587" fmla="*/ 4262286 w 8978749"/>
              <a:gd name="connsiteY2587" fmla="*/ 2549423 h 4806848"/>
              <a:gd name="connsiteX2588" fmla="*/ 4184499 w 8978749"/>
              <a:gd name="connsiteY2588" fmla="*/ 2490685 h 4806848"/>
              <a:gd name="connsiteX2589" fmla="*/ 4241649 w 8978749"/>
              <a:gd name="connsiteY2589" fmla="*/ 2490685 h 4806848"/>
              <a:gd name="connsiteX2590" fmla="*/ 4241649 w 8978749"/>
              <a:gd name="connsiteY2590" fmla="*/ 2549423 h 4806848"/>
              <a:gd name="connsiteX2591" fmla="*/ 4184499 w 8978749"/>
              <a:gd name="connsiteY2591" fmla="*/ 2549423 h 4806848"/>
              <a:gd name="connsiteX2592" fmla="*/ 4105124 w 8978749"/>
              <a:gd name="connsiteY2592" fmla="*/ 2490685 h 4806848"/>
              <a:gd name="connsiteX2593" fmla="*/ 4163862 w 8978749"/>
              <a:gd name="connsiteY2593" fmla="*/ 2490685 h 4806848"/>
              <a:gd name="connsiteX2594" fmla="*/ 4163862 w 8978749"/>
              <a:gd name="connsiteY2594" fmla="*/ 2549423 h 4806848"/>
              <a:gd name="connsiteX2595" fmla="*/ 4105124 w 8978749"/>
              <a:gd name="connsiteY2595" fmla="*/ 2549423 h 4806848"/>
              <a:gd name="connsiteX2596" fmla="*/ 4025749 w 8978749"/>
              <a:gd name="connsiteY2596" fmla="*/ 2490685 h 4806848"/>
              <a:gd name="connsiteX2597" fmla="*/ 4084487 w 8978749"/>
              <a:gd name="connsiteY2597" fmla="*/ 2490685 h 4806848"/>
              <a:gd name="connsiteX2598" fmla="*/ 4084487 w 8978749"/>
              <a:gd name="connsiteY2598" fmla="*/ 2549423 h 4806848"/>
              <a:gd name="connsiteX2599" fmla="*/ 4025749 w 8978749"/>
              <a:gd name="connsiteY2599" fmla="*/ 2549423 h 4806848"/>
              <a:gd name="connsiteX2600" fmla="*/ 3947961 w 8978749"/>
              <a:gd name="connsiteY2600" fmla="*/ 2490685 h 4806848"/>
              <a:gd name="connsiteX2601" fmla="*/ 4005111 w 8978749"/>
              <a:gd name="connsiteY2601" fmla="*/ 2490685 h 4806848"/>
              <a:gd name="connsiteX2602" fmla="*/ 4005111 w 8978749"/>
              <a:gd name="connsiteY2602" fmla="*/ 2549423 h 4806848"/>
              <a:gd name="connsiteX2603" fmla="*/ 3947961 w 8978749"/>
              <a:gd name="connsiteY2603" fmla="*/ 2549423 h 4806848"/>
              <a:gd name="connsiteX2604" fmla="*/ 3868586 w 8978749"/>
              <a:gd name="connsiteY2604" fmla="*/ 2490685 h 4806848"/>
              <a:gd name="connsiteX2605" fmla="*/ 3925736 w 8978749"/>
              <a:gd name="connsiteY2605" fmla="*/ 2490685 h 4806848"/>
              <a:gd name="connsiteX2606" fmla="*/ 3925736 w 8978749"/>
              <a:gd name="connsiteY2606" fmla="*/ 2549423 h 4806848"/>
              <a:gd name="connsiteX2607" fmla="*/ 3868586 w 8978749"/>
              <a:gd name="connsiteY2607" fmla="*/ 2549423 h 4806848"/>
              <a:gd name="connsiteX2608" fmla="*/ 3630461 w 8978749"/>
              <a:gd name="connsiteY2608" fmla="*/ 2490685 h 4806848"/>
              <a:gd name="connsiteX2609" fmla="*/ 3689199 w 8978749"/>
              <a:gd name="connsiteY2609" fmla="*/ 2490685 h 4806848"/>
              <a:gd name="connsiteX2610" fmla="*/ 3689199 w 8978749"/>
              <a:gd name="connsiteY2610" fmla="*/ 2549423 h 4806848"/>
              <a:gd name="connsiteX2611" fmla="*/ 3630461 w 8978749"/>
              <a:gd name="connsiteY2611" fmla="*/ 2549423 h 4806848"/>
              <a:gd name="connsiteX2612" fmla="*/ 2684311 w 8978749"/>
              <a:gd name="connsiteY2612" fmla="*/ 2490685 h 4806848"/>
              <a:gd name="connsiteX2613" fmla="*/ 2743049 w 8978749"/>
              <a:gd name="connsiteY2613" fmla="*/ 2490685 h 4806848"/>
              <a:gd name="connsiteX2614" fmla="*/ 2743049 w 8978749"/>
              <a:gd name="connsiteY2614" fmla="*/ 2549423 h 4806848"/>
              <a:gd name="connsiteX2615" fmla="*/ 2684311 w 8978749"/>
              <a:gd name="connsiteY2615" fmla="*/ 2549423 h 4806848"/>
              <a:gd name="connsiteX2616" fmla="*/ 2131954 w 8978749"/>
              <a:gd name="connsiteY2616" fmla="*/ 2490685 h 4806848"/>
              <a:gd name="connsiteX2617" fmla="*/ 2189103 w 8978749"/>
              <a:gd name="connsiteY2617" fmla="*/ 2490685 h 4806848"/>
              <a:gd name="connsiteX2618" fmla="*/ 2189103 w 8978749"/>
              <a:gd name="connsiteY2618" fmla="*/ 2549423 h 4806848"/>
              <a:gd name="connsiteX2619" fmla="*/ 2131954 w 8978749"/>
              <a:gd name="connsiteY2619" fmla="*/ 2549423 h 4806848"/>
              <a:gd name="connsiteX2620" fmla="*/ 2052575 w 8978749"/>
              <a:gd name="connsiteY2620" fmla="*/ 2490685 h 4806848"/>
              <a:gd name="connsiteX2621" fmla="*/ 2111315 w 8978749"/>
              <a:gd name="connsiteY2621" fmla="*/ 2490685 h 4806848"/>
              <a:gd name="connsiteX2622" fmla="*/ 2111315 w 8978749"/>
              <a:gd name="connsiteY2622" fmla="*/ 2549423 h 4806848"/>
              <a:gd name="connsiteX2623" fmla="*/ 2052575 w 8978749"/>
              <a:gd name="connsiteY2623" fmla="*/ 2549423 h 4806848"/>
              <a:gd name="connsiteX2624" fmla="*/ 1973196 w 8978749"/>
              <a:gd name="connsiteY2624" fmla="*/ 2490685 h 4806848"/>
              <a:gd name="connsiteX2625" fmla="*/ 2031936 w 8978749"/>
              <a:gd name="connsiteY2625" fmla="*/ 2490685 h 4806848"/>
              <a:gd name="connsiteX2626" fmla="*/ 2031936 w 8978749"/>
              <a:gd name="connsiteY2626" fmla="*/ 2549423 h 4806848"/>
              <a:gd name="connsiteX2627" fmla="*/ 1973196 w 8978749"/>
              <a:gd name="connsiteY2627" fmla="*/ 2549423 h 4806848"/>
              <a:gd name="connsiteX2628" fmla="*/ 1893819 w 8978749"/>
              <a:gd name="connsiteY2628" fmla="*/ 2490685 h 4806848"/>
              <a:gd name="connsiteX2629" fmla="*/ 1952558 w 8978749"/>
              <a:gd name="connsiteY2629" fmla="*/ 2490685 h 4806848"/>
              <a:gd name="connsiteX2630" fmla="*/ 1952558 w 8978749"/>
              <a:gd name="connsiteY2630" fmla="*/ 2549423 h 4806848"/>
              <a:gd name="connsiteX2631" fmla="*/ 1893819 w 8978749"/>
              <a:gd name="connsiteY2631" fmla="*/ 2549423 h 4806848"/>
              <a:gd name="connsiteX2632" fmla="*/ 1816050 w 8978749"/>
              <a:gd name="connsiteY2632" fmla="*/ 2490685 h 4806848"/>
              <a:gd name="connsiteX2633" fmla="*/ 1873187 w 8978749"/>
              <a:gd name="connsiteY2633" fmla="*/ 2490685 h 4806848"/>
              <a:gd name="connsiteX2634" fmla="*/ 1873187 w 8978749"/>
              <a:gd name="connsiteY2634" fmla="*/ 2549423 h 4806848"/>
              <a:gd name="connsiteX2635" fmla="*/ 1816050 w 8978749"/>
              <a:gd name="connsiteY2635" fmla="*/ 2549423 h 4806848"/>
              <a:gd name="connsiteX2636" fmla="*/ 7262661 w 8978749"/>
              <a:gd name="connsiteY2636" fmla="*/ 2412897 h 4806848"/>
              <a:gd name="connsiteX2637" fmla="*/ 7321399 w 8978749"/>
              <a:gd name="connsiteY2637" fmla="*/ 2412897 h 4806848"/>
              <a:gd name="connsiteX2638" fmla="*/ 7321399 w 8978749"/>
              <a:gd name="connsiteY2638" fmla="*/ 2471635 h 4806848"/>
              <a:gd name="connsiteX2639" fmla="*/ 7262661 w 8978749"/>
              <a:gd name="connsiteY2639" fmla="*/ 2471635 h 4806848"/>
              <a:gd name="connsiteX2640" fmla="*/ 6946749 w 8978749"/>
              <a:gd name="connsiteY2640" fmla="*/ 2412897 h 4806848"/>
              <a:gd name="connsiteX2641" fmla="*/ 7005487 w 8978749"/>
              <a:gd name="connsiteY2641" fmla="*/ 2412897 h 4806848"/>
              <a:gd name="connsiteX2642" fmla="*/ 7005487 w 8978749"/>
              <a:gd name="connsiteY2642" fmla="*/ 2471635 h 4806848"/>
              <a:gd name="connsiteX2643" fmla="*/ 6946749 w 8978749"/>
              <a:gd name="connsiteY2643" fmla="*/ 2471635 h 4806848"/>
              <a:gd name="connsiteX2644" fmla="*/ 6867374 w 8978749"/>
              <a:gd name="connsiteY2644" fmla="*/ 2412897 h 4806848"/>
              <a:gd name="connsiteX2645" fmla="*/ 6926112 w 8978749"/>
              <a:gd name="connsiteY2645" fmla="*/ 2412897 h 4806848"/>
              <a:gd name="connsiteX2646" fmla="*/ 6926112 w 8978749"/>
              <a:gd name="connsiteY2646" fmla="*/ 2471635 h 4806848"/>
              <a:gd name="connsiteX2647" fmla="*/ 6867374 w 8978749"/>
              <a:gd name="connsiteY2647" fmla="*/ 2471635 h 4806848"/>
              <a:gd name="connsiteX2648" fmla="*/ 6789586 w 8978749"/>
              <a:gd name="connsiteY2648" fmla="*/ 2412897 h 4806848"/>
              <a:gd name="connsiteX2649" fmla="*/ 6846736 w 8978749"/>
              <a:gd name="connsiteY2649" fmla="*/ 2412897 h 4806848"/>
              <a:gd name="connsiteX2650" fmla="*/ 6846736 w 8978749"/>
              <a:gd name="connsiteY2650" fmla="*/ 2471635 h 4806848"/>
              <a:gd name="connsiteX2651" fmla="*/ 6789586 w 8978749"/>
              <a:gd name="connsiteY2651" fmla="*/ 2471635 h 4806848"/>
              <a:gd name="connsiteX2652" fmla="*/ 6710211 w 8978749"/>
              <a:gd name="connsiteY2652" fmla="*/ 2412897 h 4806848"/>
              <a:gd name="connsiteX2653" fmla="*/ 6768949 w 8978749"/>
              <a:gd name="connsiteY2653" fmla="*/ 2412897 h 4806848"/>
              <a:gd name="connsiteX2654" fmla="*/ 6768949 w 8978749"/>
              <a:gd name="connsiteY2654" fmla="*/ 2471635 h 4806848"/>
              <a:gd name="connsiteX2655" fmla="*/ 6710211 w 8978749"/>
              <a:gd name="connsiteY2655" fmla="*/ 2471635 h 4806848"/>
              <a:gd name="connsiteX2656" fmla="*/ 6630836 w 8978749"/>
              <a:gd name="connsiteY2656" fmla="*/ 2412897 h 4806848"/>
              <a:gd name="connsiteX2657" fmla="*/ 6689574 w 8978749"/>
              <a:gd name="connsiteY2657" fmla="*/ 2412897 h 4806848"/>
              <a:gd name="connsiteX2658" fmla="*/ 6689574 w 8978749"/>
              <a:gd name="connsiteY2658" fmla="*/ 2471635 h 4806848"/>
              <a:gd name="connsiteX2659" fmla="*/ 6630836 w 8978749"/>
              <a:gd name="connsiteY2659" fmla="*/ 2471635 h 4806848"/>
              <a:gd name="connsiteX2660" fmla="*/ 6314924 w 8978749"/>
              <a:gd name="connsiteY2660" fmla="*/ 2412897 h 4806848"/>
              <a:gd name="connsiteX2661" fmla="*/ 6373662 w 8978749"/>
              <a:gd name="connsiteY2661" fmla="*/ 2412897 h 4806848"/>
              <a:gd name="connsiteX2662" fmla="*/ 6373662 w 8978749"/>
              <a:gd name="connsiteY2662" fmla="*/ 2471635 h 4806848"/>
              <a:gd name="connsiteX2663" fmla="*/ 6314924 w 8978749"/>
              <a:gd name="connsiteY2663" fmla="*/ 2471635 h 4806848"/>
              <a:gd name="connsiteX2664" fmla="*/ 6235549 w 8978749"/>
              <a:gd name="connsiteY2664" fmla="*/ 2412897 h 4806848"/>
              <a:gd name="connsiteX2665" fmla="*/ 6294287 w 8978749"/>
              <a:gd name="connsiteY2665" fmla="*/ 2412897 h 4806848"/>
              <a:gd name="connsiteX2666" fmla="*/ 6294287 w 8978749"/>
              <a:gd name="connsiteY2666" fmla="*/ 2471635 h 4806848"/>
              <a:gd name="connsiteX2667" fmla="*/ 6235549 w 8978749"/>
              <a:gd name="connsiteY2667" fmla="*/ 2471635 h 4806848"/>
              <a:gd name="connsiteX2668" fmla="*/ 6157761 w 8978749"/>
              <a:gd name="connsiteY2668" fmla="*/ 2412897 h 4806848"/>
              <a:gd name="connsiteX2669" fmla="*/ 6214911 w 8978749"/>
              <a:gd name="connsiteY2669" fmla="*/ 2412897 h 4806848"/>
              <a:gd name="connsiteX2670" fmla="*/ 6214911 w 8978749"/>
              <a:gd name="connsiteY2670" fmla="*/ 2471635 h 4806848"/>
              <a:gd name="connsiteX2671" fmla="*/ 6157761 w 8978749"/>
              <a:gd name="connsiteY2671" fmla="*/ 2471635 h 4806848"/>
              <a:gd name="connsiteX2672" fmla="*/ 6078386 w 8978749"/>
              <a:gd name="connsiteY2672" fmla="*/ 2412897 h 4806848"/>
              <a:gd name="connsiteX2673" fmla="*/ 6137124 w 8978749"/>
              <a:gd name="connsiteY2673" fmla="*/ 2412897 h 4806848"/>
              <a:gd name="connsiteX2674" fmla="*/ 6137124 w 8978749"/>
              <a:gd name="connsiteY2674" fmla="*/ 2471635 h 4806848"/>
              <a:gd name="connsiteX2675" fmla="*/ 6078386 w 8978749"/>
              <a:gd name="connsiteY2675" fmla="*/ 2471635 h 4806848"/>
              <a:gd name="connsiteX2676" fmla="*/ 5605311 w 8978749"/>
              <a:gd name="connsiteY2676" fmla="*/ 2412897 h 4806848"/>
              <a:gd name="connsiteX2677" fmla="*/ 5664049 w 8978749"/>
              <a:gd name="connsiteY2677" fmla="*/ 2412897 h 4806848"/>
              <a:gd name="connsiteX2678" fmla="*/ 5664049 w 8978749"/>
              <a:gd name="connsiteY2678" fmla="*/ 2471635 h 4806848"/>
              <a:gd name="connsiteX2679" fmla="*/ 5605311 w 8978749"/>
              <a:gd name="connsiteY2679" fmla="*/ 2471635 h 4806848"/>
              <a:gd name="connsiteX2680" fmla="*/ 5525936 w 8978749"/>
              <a:gd name="connsiteY2680" fmla="*/ 2412897 h 4806848"/>
              <a:gd name="connsiteX2681" fmla="*/ 5584674 w 8978749"/>
              <a:gd name="connsiteY2681" fmla="*/ 2412897 h 4806848"/>
              <a:gd name="connsiteX2682" fmla="*/ 5584674 w 8978749"/>
              <a:gd name="connsiteY2682" fmla="*/ 2471635 h 4806848"/>
              <a:gd name="connsiteX2683" fmla="*/ 5525936 w 8978749"/>
              <a:gd name="connsiteY2683" fmla="*/ 2471635 h 4806848"/>
              <a:gd name="connsiteX2684" fmla="*/ 5446561 w 8978749"/>
              <a:gd name="connsiteY2684" fmla="*/ 2412897 h 4806848"/>
              <a:gd name="connsiteX2685" fmla="*/ 5505299 w 8978749"/>
              <a:gd name="connsiteY2685" fmla="*/ 2412897 h 4806848"/>
              <a:gd name="connsiteX2686" fmla="*/ 5505299 w 8978749"/>
              <a:gd name="connsiteY2686" fmla="*/ 2471635 h 4806848"/>
              <a:gd name="connsiteX2687" fmla="*/ 5446561 w 8978749"/>
              <a:gd name="connsiteY2687" fmla="*/ 2471635 h 4806848"/>
              <a:gd name="connsiteX2688" fmla="*/ 5368774 w 8978749"/>
              <a:gd name="connsiteY2688" fmla="*/ 2412897 h 4806848"/>
              <a:gd name="connsiteX2689" fmla="*/ 5425924 w 8978749"/>
              <a:gd name="connsiteY2689" fmla="*/ 2412897 h 4806848"/>
              <a:gd name="connsiteX2690" fmla="*/ 5425924 w 8978749"/>
              <a:gd name="connsiteY2690" fmla="*/ 2471635 h 4806848"/>
              <a:gd name="connsiteX2691" fmla="*/ 5368774 w 8978749"/>
              <a:gd name="connsiteY2691" fmla="*/ 2471635 h 4806848"/>
              <a:gd name="connsiteX2692" fmla="*/ 5289399 w 8978749"/>
              <a:gd name="connsiteY2692" fmla="*/ 2412897 h 4806848"/>
              <a:gd name="connsiteX2693" fmla="*/ 5348137 w 8978749"/>
              <a:gd name="connsiteY2693" fmla="*/ 2412897 h 4806848"/>
              <a:gd name="connsiteX2694" fmla="*/ 5348137 w 8978749"/>
              <a:gd name="connsiteY2694" fmla="*/ 2471635 h 4806848"/>
              <a:gd name="connsiteX2695" fmla="*/ 5289399 w 8978749"/>
              <a:gd name="connsiteY2695" fmla="*/ 2471635 h 4806848"/>
              <a:gd name="connsiteX2696" fmla="*/ 5130649 w 8978749"/>
              <a:gd name="connsiteY2696" fmla="*/ 2412897 h 4806848"/>
              <a:gd name="connsiteX2697" fmla="*/ 5189387 w 8978749"/>
              <a:gd name="connsiteY2697" fmla="*/ 2412897 h 4806848"/>
              <a:gd name="connsiteX2698" fmla="*/ 5189387 w 8978749"/>
              <a:gd name="connsiteY2698" fmla="*/ 2471635 h 4806848"/>
              <a:gd name="connsiteX2699" fmla="*/ 5130649 w 8978749"/>
              <a:gd name="connsiteY2699" fmla="*/ 2471635 h 4806848"/>
              <a:gd name="connsiteX2700" fmla="*/ 5052861 w 8978749"/>
              <a:gd name="connsiteY2700" fmla="*/ 2412897 h 4806848"/>
              <a:gd name="connsiteX2701" fmla="*/ 5110011 w 8978749"/>
              <a:gd name="connsiteY2701" fmla="*/ 2412897 h 4806848"/>
              <a:gd name="connsiteX2702" fmla="*/ 5110011 w 8978749"/>
              <a:gd name="connsiteY2702" fmla="*/ 2471635 h 4806848"/>
              <a:gd name="connsiteX2703" fmla="*/ 5052861 w 8978749"/>
              <a:gd name="connsiteY2703" fmla="*/ 2471635 h 4806848"/>
              <a:gd name="connsiteX2704" fmla="*/ 4973486 w 8978749"/>
              <a:gd name="connsiteY2704" fmla="*/ 2412897 h 4806848"/>
              <a:gd name="connsiteX2705" fmla="*/ 5030636 w 8978749"/>
              <a:gd name="connsiteY2705" fmla="*/ 2412897 h 4806848"/>
              <a:gd name="connsiteX2706" fmla="*/ 5030636 w 8978749"/>
              <a:gd name="connsiteY2706" fmla="*/ 2471635 h 4806848"/>
              <a:gd name="connsiteX2707" fmla="*/ 4973486 w 8978749"/>
              <a:gd name="connsiteY2707" fmla="*/ 2471635 h 4806848"/>
              <a:gd name="connsiteX2708" fmla="*/ 4894111 w 8978749"/>
              <a:gd name="connsiteY2708" fmla="*/ 2412897 h 4806848"/>
              <a:gd name="connsiteX2709" fmla="*/ 4952849 w 8978749"/>
              <a:gd name="connsiteY2709" fmla="*/ 2412897 h 4806848"/>
              <a:gd name="connsiteX2710" fmla="*/ 4952849 w 8978749"/>
              <a:gd name="connsiteY2710" fmla="*/ 2471635 h 4806848"/>
              <a:gd name="connsiteX2711" fmla="*/ 4894111 w 8978749"/>
              <a:gd name="connsiteY2711" fmla="*/ 2471635 h 4806848"/>
              <a:gd name="connsiteX2712" fmla="*/ 4814736 w 8978749"/>
              <a:gd name="connsiteY2712" fmla="*/ 2412897 h 4806848"/>
              <a:gd name="connsiteX2713" fmla="*/ 4873474 w 8978749"/>
              <a:gd name="connsiteY2713" fmla="*/ 2412897 h 4806848"/>
              <a:gd name="connsiteX2714" fmla="*/ 4873474 w 8978749"/>
              <a:gd name="connsiteY2714" fmla="*/ 2471635 h 4806848"/>
              <a:gd name="connsiteX2715" fmla="*/ 4814736 w 8978749"/>
              <a:gd name="connsiteY2715" fmla="*/ 2471635 h 4806848"/>
              <a:gd name="connsiteX2716" fmla="*/ 4736949 w 8978749"/>
              <a:gd name="connsiteY2716" fmla="*/ 2412897 h 4806848"/>
              <a:gd name="connsiteX2717" fmla="*/ 4794099 w 8978749"/>
              <a:gd name="connsiteY2717" fmla="*/ 2412897 h 4806848"/>
              <a:gd name="connsiteX2718" fmla="*/ 4794099 w 8978749"/>
              <a:gd name="connsiteY2718" fmla="*/ 2471635 h 4806848"/>
              <a:gd name="connsiteX2719" fmla="*/ 4736949 w 8978749"/>
              <a:gd name="connsiteY2719" fmla="*/ 2471635 h 4806848"/>
              <a:gd name="connsiteX2720" fmla="*/ 4657574 w 8978749"/>
              <a:gd name="connsiteY2720" fmla="*/ 2412897 h 4806848"/>
              <a:gd name="connsiteX2721" fmla="*/ 4716312 w 8978749"/>
              <a:gd name="connsiteY2721" fmla="*/ 2412897 h 4806848"/>
              <a:gd name="connsiteX2722" fmla="*/ 4716312 w 8978749"/>
              <a:gd name="connsiteY2722" fmla="*/ 2471635 h 4806848"/>
              <a:gd name="connsiteX2723" fmla="*/ 4657574 w 8978749"/>
              <a:gd name="connsiteY2723" fmla="*/ 2471635 h 4806848"/>
              <a:gd name="connsiteX2724" fmla="*/ 4578199 w 8978749"/>
              <a:gd name="connsiteY2724" fmla="*/ 2412897 h 4806848"/>
              <a:gd name="connsiteX2725" fmla="*/ 4636937 w 8978749"/>
              <a:gd name="connsiteY2725" fmla="*/ 2412897 h 4806848"/>
              <a:gd name="connsiteX2726" fmla="*/ 4636937 w 8978749"/>
              <a:gd name="connsiteY2726" fmla="*/ 2471635 h 4806848"/>
              <a:gd name="connsiteX2727" fmla="*/ 4578199 w 8978749"/>
              <a:gd name="connsiteY2727" fmla="*/ 2471635 h 4806848"/>
              <a:gd name="connsiteX2728" fmla="*/ 4498824 w 8978749"/>
              <a:gd name="connsiteY2728" fmla="*/ 2412897 h 4806848"/>
              <a:gd name="connsiteX2729" fmla="*/ 4557562 w 8978749"/>
              <a:gd name="connsiteY2729" fmla="*/ 2412897 h 4806848"/>
              <a:gd name="connsiteX2730" fmla="*/ 4557562 w 8978749"/>
              <a:gd name="connsiteY2730" fmla="*/ 2471635 h 4806848"/>
              <a:gd name="connsiteX2731" fmla="*/ 4498824 w 8978749"/>
              <a:gd name="connsiteY2731" fmla="*/ 2471635 h 4806848"/>
              <a:gd name="connsiteX2732" fmla="*/ 4421036 w 8978749"/>
              <a:gd name="connsiteY2732" fmla="*/ 2412897 h 4806848"/>
              <a:gd name="connsiteX2733" fmla="*/ 4479774 w 8978749"/>
              <a:gd name="connsiteY2733" fmla="*/ 2412897 h 4806848"/>
              <a:gd name="connsiteX2734" fmla="*/ 4479774 w 8978749"/>
              <a:gd name="connsiteY2734" fmla="*/ 2471635 h 4806848"/>
              <a:gd name="connsiteX2735" fmla="*/ 4421036 w 8978749"/>
              <a:gd name="connsiteY2735" fmla="*/ 2471635 h 4806848"/>
              <a:gd name="connsiteX2736" fmla="*/ 4341661 w 8978749"/>
              <a:gd name="connsiteY2736" fmla="*/ 2412897 h 4806848"/>
              <a:gd name="connsiteX2737" fmla="*/ 4400399 w 8978749"/>
              <a:gd name="connsiteY2737" fmla="*/ 2412897 h 4806848"/>
              <a:gd name="connsiteX2738" fmla="*/ 4400399 w 8978749"/>
              <a:gd name="connsiteY2738" fmla="*/ 2471635 h 4806848"/>
              <a:gd name="connsiteX2739" fmla="*/ 4341661 w 8978749"/>
              <a:gd name="connsiteY2739" fmla="*/ 2471635 h 4806848"/>
              <a:gd name="connsiteX2740" fmla="*/ 4262286 w 8978749"/>
              <a:gd name="connsiteY2740" fmla="*/ 2412897 h 4806848"/>
              <a:gd name="connsiteX2741" fmla="*/ 4321024 w 8978749"/>
              <a:gd name="connsiteY2741" fmla="*/ 2412897 h 4806848"/>
              <a:gd name="connsiteX2742" fmla="*/ 4321024 w 8978749"/>
              <a:gd name="connsiteY2742" fmla="*/ 2471635 h 4806848"/>
              <a:gd name="connsiteX2743" fmla="*/ 4262286 w 8978749"/>
              <a:gd name="connsiteY2743" fmla="*/ 2471635 h 4806848"/>
              <a:gd name="connsiteX2744" fmla="*/ 4184499 w 8978749"/>
              <a:gd name="connsiteY2744" fmla="*/ 2412897 h 4806848"/>
              <a:gd name="connsiteX2745" fmla="*/ 4241649 w 8978749"/>
              <a:gd name="connsiteY2745" fmla="*/ 2412897 h 4806848"/>
              <a:gd name="connsiteX2746" fmla="*/ 4241649 w 8978749"/>
              <a:gd name="connsiteY2746" fmla="*/ 2471635 h 4806848"/>
              <a:gd name="connsiteX2747" fmla="*/ 4184499 w 8978749"/>
              <a:gd name="connsiteY2747" fmla="*/ 2471635 h 4806848"/>
              <a:gd name="connsiteX2748" fmla="*/ 4105124 w 8978749"/>
              <a:gd name="connsiteY2748" fmla="*/ 2412897 h 4806848"/>
              <a:gd name="connsiteX2749" fmla="*/ 4163862 w 8978749"/>
              <a:gd name="connsiteY2749" fmla="*/ 2412897 h 4806848"/>
              <a:gd name="connsiteX2750" fmla="*/ 4163862 w 8978749"/>
              <a:gd name="connsiteY2750" fmla="*/ 2471635 h 4806848"/>
              <a:gd name="connsiteX2751" fmla="*/ 4105124 w 8978749"/>
              <a:gd name="connsiteY2751" fmla="*/ 2471635 h 4806848"/>
              <a:gd name="connsiteX2752" fmla="*/ 4025749 w 8978749"/>
              <a:gd name="connsiteY2752" fmla="*/ 2412897 h 4806848"/>
              <a:gd name="connsiteX2753" fmla="*/ 4084487 w 8978749"/>
              <a:gd name="connsiteY2753" fmla="*/ 2412897 h 4806848"/>
              <a:gd name="connsiteX2754" fmla="*/ 4084487 w 8978749"/>
              <a:gd name="connsiteY2754" fmla="*/ 2471635 h 4806848"/>
              <a:gd name="connsiteX2755" fmla="*/ 4025749 w 8978749"/>
              <a:gd name="connsiteY2755" fmla="*/ 2471635 h 4806848"/>
              <a:gd name="connsiteX2756" fmla="*/ 3947961 w 8978749"/>
              <a:gd name="connsiteY2756" fmla="*/ 2412897 h 4806848"/>
              <a:gd name="connsiteX2757" fmla="*/ 4005111 w 8978749"/>
              <a:gd name="connsiteY2757" fmla="*/ 2412897 h 4806848"/>
              <a:gd name="connsiteX2758" fmla="*/ 4005111 w 8978749"/>
              <a:gd name="connsiteY2758" fmla="*/ 2471635 h 4806848"/>
              <a:gd name="connsiteX2759" fmla="*/ 3947961 w 8978749"/>
              <a:gd name="connsiteY2759" fmla="*/ 2471635 h 4806848"/>
              <a:gd name="connsiteX2760" fmla="*/ 3868586 w 8978749"/>
              <a:gd name="connsiteY2760" fmla="*/ 2412897 h 4806848"/>
              <a:gd name="connsiteX2761" fmla="*/ 3925736 w 8978749"/>
              <a:gd name="connsiteY2761" fmla="*/ 2412897 h 4806848"/>
              <a:gd name="connsiteX2762" fmla="*/ 3925736 w 8978749"/>
              <a:gd name="connsiteY2762" fmla="*/ 2471635 h 4806848"/>
              <a:gd name="connsiteX2763" fmla="*/ 3868586 w 8978749"/>
              <a:gd name="connsiteY2763" fmla="*/ 2471635 h 4806848"/>
              <a:gd name="connsiteX2764" fmla="*/ 2604936 w 8978749"/>
              <a:gd name="connsiteY2764" fmla="*/ 2412897 h 4806848"/>
              <a:gd name="connsiteX2765" fmla="*/ 2663674 w 8978749"/>
              <a:gd name="connsiteY2765" fmla="*/ 2412897 h 4806848"/>
              <a:gd name="connsiteX2766" fmla="*/ 2663674 w 8978749"/>
              <a:gd name="connsiteY2766" fmla="*/ 2471635 h 4806848"/>
              <a:gd name="connsiteX2767" fmla="*/ 2604936 w 8978749"/>
              <a:gd name="connsiteY2767" fmla="*/ 2471635 h 4806848"/>
              <a:gd name="connsiteX2768" fmla="*/ 2447867 w 8978749"/>
              <a:gd name="connsiteY2768" fmla="*/ 2412897 h 4806848"/>
              <a:gd name="connsiteX2769" fmla="*/ 2505023 w 8978749"/>
              <a:gd name="connsiteY2769" fmla="*/ 2412897 h 4806848"/>
              <a:gd name="connsiteX2770" fmla="*/ 2505023 w 8978749"/>
              <a:gd name="connsiteY2770" fmla="*/ 2471635 h 4806848"/>
              <a:gd name="connsiteX2771" fmla="*/ 2447867 w 8978749"/>
              <a:gd name="connsiteY2771" fmla="*/ 2471635 h 4806848"/>
              <a:gd name="connsiteX2772" fmla="*/ 2368497 w 8978749"/>
              <a:gd name="connsiteY2772" fmla="*/ 2412897 h 4806848"/>
              <a:gd name="connsiteX2773" fmla="*/ 2427232 w 8978749"/>
              <a:gd name="connsiteY2773" fmla="*/ 2412897 h 4806848"/>
              <a:gd name="connsiteX2774" fmla="*/ 2427232 w 8978749"/>
              <a:gd name="connsiteY2774" fmla="*/ 2471635 h 4806848"/>
              <a:gd name="connsiteX2775" fmla="*/ 2368497 w 8978749"/>
              <a:gd name="connsiteY2775" fmla="*/ 2471635 h 4806848"/>
              <a:gd name="connsiteX2776" fmla="*/ 2289122 w 8978749"/>
              <a:gd name="connsiteY2776" fmla="*/ 2412897 h 4806848"/>
              <a:gd name="connsiteX2777" fmla="*/ 2347859 w 8978749"/>
              <a:gd name="connsiteY2777" fmla="*/ 2412897 h 4806848"/>
              <a:gd name="connsiteX2778" fmla="*/ 2347859 w 8978749"/>
              <a:gd name="connsiteY2778" fmla="*/ 2471635 h 4806848"/>
              <a:gd name="connsiteX2779" fmla="*/ 2289122 w 8978749"/>
              <a:gd name="connsiteY2779" fmla="*/ 2471635 h 4806848"/>
              <a:gd name="connsiteX2780" fmla="*/ 1973199 w 8978749"/>
              <a:gd name="connsiteY2780" fmla="*/ 2412897 h 4806848"/>
              <a:gd name="connsiteX2781" fmla="*/ 2031941 w 8978749"/>
              <a:gd name="connsiteY2781" fmla="*/ 2412897 h 4806848"/>
              <a:gd name="connsiteX2782" fmla="*/ 2031941 w 8978749"/>
              <a:gd name="connsiteY2782" fmla="*/ 2471635 h 4806848"/>
              <a:gd name="connsiteX2783" fmla="*/ 1973199 w 8978749"/>
              <a:gd name="connsiteY2783" fmla="*/ 2471635 h 4806848"/>
              <a:gd name="connsiteX2784" fmla="*/ 1893822 w 8978749"/>
              <a:gd name="connsiteY2784" fmla="*/ 2412897 h 4806848"/>
              <a:gd name="connsiteX2785" fmla="*/ 1952558 w 8978749"/>
              <a:gd name="connsiteY2785" fmla="*/ 2412897 h 4806848"/>
              <a:gd name="connsiteX2786" fmla="*/ 1952558 w 8978749"/>
              <a:gd name="connsiteY2786" fmla="*/ 2471635 h 4806848"/>
              <a:gd name="connsiteX2787" fmla="*/ 1893822 w 8978749"/>
              <a:gd name="connsiteY2787" fmla="*/ 2471635 h 4806848"/>
              <a:gd name="connsiteX2788" fmla="*/ 1816053 w 8978749"/>
              <a:gd name="connsiteY2788" fmla="*/ 2412897 h 4806848"/>
              <a:gd name="connsiteX2789" fmla="*/ 1873190 w 8978749"/>
              <a:gd name="connsiteY2789" fmla="*/ 2412897 h 4806848"/>
              <a:gd name="connsiteX2790" fmla="*/ 1873190 w 8978749"/>
              <a:gd name="connsiteY2790" fmla="*/ 2471635 h 4806848"/>
              <a:gd name="connsiteX2791" fmla="*/ 1816053 w 8978749"/>
              <a:gd name="connsiteY2791" fmla="*/ 2471635 h 4806848"/>
              <a:gd name="connsiteX2792" fmla="*/ 1736676 w 8978749"/>
              <a:gd name="connsiteY2792" fmla="*/ 2412897 h 4806848"/>
              <a:gd name="connsiteX2793" fmla="*/ 1795421 w 8978749"/>
              <a:gd name="connsiteY2793" fmla="*/ 2412897 h 4806848"/>
              <a:gd name="connsiteX2794" fmla="*/ 1795421 w 8978749"/>
              <a:gd name="connsiteY2794" fmla="*/ 2471635 h 4806848"/>
              <a:gd name="connsiteX2795" fmla="*/ 1736676 w 8978749"/>
              <a:gd name="connsiteY2795" fmla="*/ 2471635 h 4806848"/>
              <a:gd name="connsiteX2796" fmla="*/ 1657297 w 8978749"/>
              <a:gd name="connsiteY2796" fmla="*/ 2412897 h 4806848"/>
              <a:gd name="connsiteX2797" fmla="*/ 1716038 w 8978749"/>
              <a:gd name="connsiteY2797" fmla="*/ 2412897 h 4806848"/>
              <a:gd name="connsiteX2798" fmla="*/ 1716038 w 8978749"/>
              <a:gd name="connsiteY2798" fmla="*/ 2471635 h 4806848"/>
              <a:gd name="connsiteX2799" fmla="*/ 1657297 w 8978749"/>
              <a:gd name="connsiteY2799" fmla="*/ 2471635 h 4806848"/>
              <a:gd name="connsiteX2800" fmla="*/ 395223 w 8978749"/>
              <a:gd name="connsiteY2800" fmla="*/ 2412897 h 4806848"/>
              <a:gd name="connsiteX2801" fmla="*/ 452369 w 8978749"/>
              <a:gd name="connsiteY2801" fmla="*/ 2412897 h 4806848"/>
              <a:gd name="connsiteX2802" fmla="*/ 452369 w 8978749"/>
              <a:gd name="connsiteY2802" fmla="*/ 2471635 h 4806848"/>
              <a:gd name="connsiteX2803" fmla="*/ 395223 w 8978749"/>
              <a:gd name="connsiteY2803" fmla="*/ 2471635 h 4806848"/>
              <a:gd name="connsiteX2804" fmla="*/ 6946749 w 8978749"/>
              <a:gd name="connsiteY2804" fmla="*/ 2335110 h 4806848"/>
              <a:gd name="connsiteX2805" fmla="*/ 7005487 w 8978749"/>
              <a:gd name="connsiteY2805" fmla="*/ 2335110 h 4806848"/>
              <a:gd name="connsiteX2806" fmla="*/ 7005487 w 8978749"/>
              <a:gd name="connsiteY2806" fmla="*/ 2393848 h 4806848"/>
              <a:gd name="connsiteX2807" fmla="*/ 6946749 w 8978749"/>
              <a:gd name="connsiteY2807" fmla="*/ 2393848 h 4806848"/>
              <a:gd name="connsiteX2808" fmla="*/ 6867374 w 8978749"/>
              <a:gd name="connsiteY2808" fmla="*/ 2335110 h 4806848"/>
              <a:gd name="connsiteX2809" fmla="*/ 6926112 w 8978749"/>
              <a:gd name="connsiteY2809" fmla="*/ 2335110 h 4806848"/>
              <a:gd name="connsiteX2810" fmla="*/ 6926112 w 8978749"/>
              <a:gd name="connsiteY2810" fmla="*/ 2393848 h 4806848"/>
              <a:gd name="connsiteX2811" fmla="*/ 6867374 w 8978749"/>
              <a:gd name="connsiteY2811" fmla="*/ 2393848 h 4806848"/>
              <a:gd name="connsiteX2812" fmla="*/ 6789586 w 8978749"/>
              <a:gd name="connsiteY2812" fmla="*/ 2335110 h 4806848"/>
              <a:gd name="connsiteX2813" fmla="*/ 6846736 w 8978749"/>
              <a:gd name="connsiteY2813" fmla="*/ 2335110 h 4806848"/>
              <a:gd name="connsiteX2814" fmla="*/ 6846736 w 8978749"/>
              <a:gd name="connsiteY2814" fmla="*/ 2393848 h 4806848"/>
              <a:gd name="connsiteX2815" fmla="*/ 6789586 w 8978749"/>
              <a:gd name="connsiteY2815" fmla="*/ 2393848 h 4806848"/>
              <a:gd name="connsiteX2816" fmla="*/ 6710211 w 8978749"/>
              <a:gd name="connsiteY2816" fmla="*/ 2335110 h 4806848"/>
              <a:gd name="connsiteX2817" fmla="*/ 6768949 w 8978749"/>
              <a:gd name="connsiteY2817" fmla="*/ 2335110 h 4806848"/>
              <a:gd name="connsiteX2818" fmla="*/ 6768949 w 8978749"/>
              <a:gd name="connsiteY2818" fmla="*/ 2393848 h 4806848"/>
              <a:gd name="connsiteX2819" fmla="*/ 6710211 w 8978749"/>
              <a:gd name="connsiteY2819" fmla="*/ 2393848 h 4806848"/>
              <a:gd name="connsiteX2820" fmla="*/ 6630836 w 8978749"/>
              <a:gd name="connsiteY2820" fmla="*/ 2335110 h 4806848"/>
              <a:gd name="connsiteX2821" fmla="*/ 6689574 w 8978749"/>
              <a:gd name="connsiteY2821" fmla="*/ 2335110 h 4806848"/>
              <a:gd name="connsiteX2822" fmla="*/ 6689574 w 8978749"/>
              <a:gd name="connsiteY2822" fmla="*/ 2393848 h 4806848"/>
              <a:gd name="connsiteX2823" fmla="*/ 6630836 w 8978749"/>
              <a:gd name="connsiteY2823" fmla="*/ 2393848 h 4806848"/>
              <a:gd name="connsiteX2824" fmla="*/ 6551461 w 8978749"/>
              <a:gd name="connsiteY2824" fmla="*/ 2335110 h 4806848"/>
              <a:gd name="connsiteX2825" fmla="*/ 6610199 w 8978749"/>
              <a:gd name="connsiteY2825" fmla="*/ 2335110 h 4806848"/>
              <a:gd name="connsiteX2826" fmla="*/ 6610199 w 8978749"/>
              <a:gd name="connsiteY2826" fmla="*/ 2393848 h 4806848"/>
              <a:gd name="connsiteX2827" fmla="*/ 6551461 w 8978749"/>
              <a:gd name="connsiteY2827" fmla="*/ 2393848 h 4806848"/>
              <a:gd name="connsiteX2828" fmla="*/ 6394299 w 8978749"/>
              <a:gd name="connsiteY2828" fmla="*/ 2335110 h 4806848"/>
              <a:gd name="connsiteX2829" fmla="*/ 6453037 w 8978749"/>
              <a:gd name="connsiteY2829" fmla="*/ 2335110 h 4806848"/>
              <a:gd name="connsiteX2830" fmla="*/ 6453037 w 8978749"/>
              <a:gd name="connsiteY2830" fmla="*/ 2393848 h 4806848"/>
              <a:gd name="connsiteX2831" fmla="*/ 6394299 w 8978749"/>
              <a:gd name="connsiteY2831" fmla="*/ 2393848 h 4806848"/>
              <a:gd name="connsiteX2832" fmla="*/ 6314924 w 8978749"/>
              <a:gd name="connsiteY2832" fmla="*/ 2335110 h 4806848"/>
              <a:gd name="connsiteX2833" fmla="*/ 6373662 w 8978749"/>
              <a:gd name="connsiteY2833" fmla="*/ 2335110 h 4806848"/>
              <a:gd name="connsiteX2834" fmla="*/ 6373662 w 8978749"/>
              <a:gd name="connsiteY2834" fmla="*/ 2393848 h 4806848"/>
              <a:gd name="connsiteX2835" fmla="*/ 6314924 w 8978749"/>
              <a:gd name="connsiteY2835" fmla="*/ 2393848 h 4806848"/>
              <a:gd name="connsiteX2836" fmla="*/ 6235549 w 8978749"/>
              <a:gd name="connsiteY2836" fmla="*/ 2335110 h 4806848"/>
              <a:gd name="connsiteX2837" fmla="*/ 6294287 w 8978749"/>
              <a:gd name="connsiteY2837" fmla="*/ 2335110 h 4806848"/>
              <a:gd name="connsiteX2838" fmla="*/ 6294287 w 8978749"/>
              <a:gd name="connsiteY2838" fmla="*/ 2393848 h 4806848"/>
              <a:gd name="connsiteX2839" fmla="*/ 6235549 w 8978749"/>
              <a:gd name="connsiteY2839" fmla="*/ 2393848 h 4806848"/>
              <a:gd name="connsiteX2840" fmla="*/ 6157761 w 8978749"/>
              <a:gd name="connsiteY2840" fmla="*/ 2335110 h 4806848"/>
              <a:gd name="connsiteX2841" fmla="*/ 6214911 w 8978749"/>
              <a:gd name="connsiteY2841" fmla="*/ 2335110 h 4806848"/>
              <a:gd name="connsiteX2842" fmla="*/ 6214911 w 8978749"/>
              <a:gd name="connsiteY2842" fmla="*/ 2393848 h 4806848"/>
              <a:gd name="connsiteX2843" fmla="*/ 6157761 w 8978749"/>
              <a:gd name="connsiteY2843" fmla="*/ 2393848 h 4806848"/>
              <a:gd name="connsiteX2844" fmla="*/ 6078386 w 8978749"/>
              <a:gd name="connsiteY2844" fmla="*/ 2335110 h 4806848"/>
              <a:gd name="connsiteX2845" fmla="*/ 6137124 w 8978749"/>
              <a:gd name="connsiteY2845" fmla="*/ 2335110 h 4806848"/>
              <a:gd name="connsiteX2846" fmla="*/ 6137124 w 8978749"/>
              <a:gd name="connsiteY2846" fmla="*/ 2393848 h 4806848"/>
              <a:gd name="connsiteX2847" fmla="*/ 6078386 w 8978749"/>
              <a:gd name="connsiteY2847" fmla="*/ 2393848 h 4806848"/>
              <a:gd name="connsiteX2848" fmla="*/ 5684686 w 8978749"/>
              <a:gd name="connsiteY2848" fmla="*/ 2335110 h 4806848"/>
              <a:gd name="connsiteX2849" fmla="*/ 5741836 w 8978749"/>
              <a:gd name="connsiteY2849" fmla="*/ 2335110 h 4806848"/>
              <a:gd name="connsiteX2850" fmla="*/ 5741836 w 8978749"/>
              <a:gd name="connsiteY2850" fmla="*/ 2393848 h 4806848"/>
              <a:gd name="connsiteX2851" fmla="*/ 5684686 w 8978749"/>
              <a:gd name="connsiteY2851" fmla="*/ 2393848 h 4806848"/>
              <a:gd name="connsiteX2852" fmla="*/ 5605311 w 8978749"/>
              <a:gd name="connsiteY2852" fmla="*/ 2335110 h 4806848"/>
              <a:gd name="connsiteX2853" fmla="*/ 5664049 w 8978749"/>
              <a:gd name="connsiteY2853" fmla="*/ 2335110 h 4806848"/>
              <a:gd name="connsiteX2854" fmla="*/ 5664049 w 8978749"/>
              <a:gd name="connsiteY2854" fmla="*/ 2393848 h 4806848"/>
              <a:gd name="connsiteX2855" fmla="*/ 5605311 w 8978749"/>
              <a:gd name="connsiteY2855" fmla="*/ 2393848 h 4806848"/>
              <a:gd name="connsiteX2856" fmla="*/ 5525936 w 8978749"/>
              <a:gd name="connsiteY2856" fmla="*/ 2335110 h 4806848"/>
              <a:gd name="connsiteX2857" fmla="*/ 5584674 w 8978749"/>
              <a:gd name="connsiteY2857" fmla="*/ 2335110 h 4806848"/>
              <a:gd name="connsiteX2858" fmla="*/ 5584674 w 8978749"/>
              <a:gd name="connsiteY2858" fmla="*/ 2393848 h 4806848"/>
              <a:gd name="connsiteX2859" fmla="*/ 5525936 w 8978749"/>
              <a:gd name="connsiteY2859" fmla="*/ 2393848 h 4806848"/>
              <a:gd name="connsiteX2860" fmla="*/ 5446561 w 8978749"/>
              <a:gd name="connsiteY2860" fmla="*/ 2335110 h 4806848"/>
              <a:gd name="connsiteX2861" fmla="*/ 5505299 w 8978749"/>
              <a:gd name="connsiteY2861" fmla="*/ 2335110 h 4806848"/>
              <a:gd name="connsiteX2862" fmla="*/ 5505299 w 8978749"/>
              <a:gd name="connsiteY2862" fmla="*/ 2393848 h 4806848"/>
              <a:gd name="connsiteX2863" fmla="*/ 5446561 w 8978749"/>
              <a:gd name="connsiteY2863" fmla="*/ 2393848 h 4806848"/>
              <a:gd name="connsiteX2864" fmla="*/ 5368774 w 8978749"/>
              <a:gd name="connsiteY2864" fmla="*/ 2335110 h 4806848"/>
              <a:gd name="connsiteX2865" fmla="*/ 5425924 w 8978749"/>
              <a:gd name="connsiteY2865" fmla="*/ 2335110 h 4806848"/>
              <a:gd name="connsiteX2866" fmla="*/ 5425924 w 8978749"/>
              <a:gd name="connsiteY2866" fmla="*/ 2393848 h 4806848"/>
              <a:gd name="connsiteX2867" fmla="*/ 5368774 w 8978749"/>
              <a:gd name="connsiteY2867" fmla="*/ 2393848 h 4806848"/>
              <a:gd name="connsiteX2868" fmla="*/ 5289399 w 8978749"/>
              <a:gd name="connsiteY2868" fmla="*/ 2335110 h 4806848"/>
              <a:gd name="connsiteX2869" fmla="*/ 5348137 w 8978749"/>
              <a:gd name="connsiteY2869" fmla="*/ 2335110 h 4806848"/>
              <a:gd name="connsiteX2870" fmla="*/ 5348137 w 8978749"/>
              <a:gd name="connsiteY2870" fmla="*/ 2393848 h 4806848"/>
              <a:gd name="connsiteX2871" fmla="*/ 5289399 w 8978749"/>
              <a:gd name="connsiteY2871" fmla="*/ 2393848 h 4806848"/>
              <a:gd name="connsiteX2872" fmla="*/ 5130649 w 8978749"/>
              <a:gd name="connsiteY2872" fmla="*/ 2335110 h 4806848"/>
              <a:gd name="connsiteX2873" fmla="*/ 5189387 w 8978749"/>
              <a:gd name="connsiteY2873" fmla="*/ 2335110 h 4806848"/>
              <a:gd name="connsiteX2874" fmla="*/ 5189387 w 8978749"/>
              <a:gd name="connsiteY2874" fmla="*/ 2393848 h 4806848"/>
              <a:gd name="connsiteX2875" fmla="*/ 5130649 w 8978749"/>
              <a:gd name="connsiteY2875" fmla="*/ 2393848 h 4806848"/>
              <a:gd name="connsiteX2876" fmla="*/ 5052861 w 8978749"/>
              <a:gd name="connsiteY2876" fmla="*/ 2335110 h 4806848"/>
              <a:gd name="connsiteX2877" fmla="*/ 5110011 w 8978749"/>
              <a:gd name="connsiteY2877" fmla="*/ 2335110 h 4806848"/>
              <a:gd name="connsiteX2878" fmla="*/ 5110011 w 8978749"/>
              <a:gd name="connsiteY2878" fmla="*/ 2393848 h 4806848"/>
              <a:gd name="connsiteX2879" fmla="*/ 5052861 w 8978749"/>
              <a:gd name="connsiteY2879" fmla="*/ 2393848 h 4806848"/>
              <a:gd name="connsiteX2880" fmla="*/ 4973486 w 8978749"/>
              <a:gd name="connsiteY2880" fmla="*/ 2335110 h 4806848"/>
              <a:gd name="connsiteX2881" fmla="*/ 5030636 w 8978749"/>
              <a:gd name="connsiteY2881" fmla="*/ 2335110 h 4806848"/>
              <a:gd name="connsiteX2882" fmla="*/ 5030636 w 8978749"/>
              <a:gd name="connsiteY2882" fmla="*/ 2393848 h 4806848"/>
              <a:gd name="connsiteX2883" fmla="*/ 4973486 w 8978749"/>
              <a:gd name="connsiteY2883" fmla="*/ 2393848 h 4806848"/>
              <a:gd name="connsiteX2884" fmla="*/ 4894111 w 8978749"/>
              <a:gd name="connsiteY2884" fmla="*/ 2335110 h 4806848"/>
              <a:gd name="connsiteX2885" fmla="*/ 4952849 w 8978749"/>
              <a:gd name="connsiteY2885" fmla="*/ 2335110 h 4806848"/>
              <a:gd name="connsiteX2886" fmla="*/ 4952849 w 8978749"/>
              <a:gd name="connsiteY2886" fmla="*/ 2393848 h 4806848"/>
              <a:gd name="connsiteX2887" fmla="*/ 4894111 w 8978749"/>
              <a:gd name="connsiteY2887" fmla="*/ 2393848 h 4806848"/>
              <a:gd name="connsiteX2888" fmla="*/ 4814736 w 8978749"/>
              <a:gd name="connsiteY2888" fmla="*/ 2335110 h 4806848"/>
              <a:gd name="connsiteX2889" fmla="*/ 4873474 w 8978749"/>
              <a:gd name="connsiteY2889" fmla="*/ 2335110 h 4806848"/>
              <a:gd name="connsiteX2890" fmla="*/ 4873474 w 8978749"/>
              <a:gd name="connsiteY2890" fmla="*/ 2393848 h 4806848"/>
              <a:gd name="connsiteX2891" fmla="*/ 4814736 w 8978749"/>
              <a:gd name="connsiteY2891" fmla="*/ 2393848 h 4806848"/>
              <a:gd name="connsiteX2892" fmla="*/ 4736949 w 8978749"/>
              <a:gd name="connsiteY2892" fmla="*/ 2335110 h 4806848"/>
              <a:gd name="connsiteX2893" fmla="*/ 4794099 w 8978749"/>
              <a:gd name="connsiteY2893" fmla="*/ 2335110 h 4806848"/>
              <a:gd name="connsiteX2894" fmla="*/ 4794099 w 8978749"/>
              <a:gd name="connsiteY2894" fmla="*/ 2393848 h 4806848"/>
              <a:gd name="connsiteX2895" fmla="*/ 4736949 w 8978749"/>
              <a:gd name="connsiteY2895" fmla="*/ 2393848 h 4806848"/>
              <a:gd name="connsiteX2896" fmla="*/ 4657574 w 8978749"/>
              <a:gd name="connsiteY2896" fmla="*/ 2335110 h 4806848"/>
              <a:gd name="connsiteX2897" fmla="*/ 4716312 w 8978749"/>
              <a:gd name="connsiteY2897" fmla="*/ 2335110 h 4806848"/>
              <a:gd name="connsiteX2898" fmla="*/ 4716312 w 8978749"/>
              <a:gd name="connsiteY2898" fmla="*/ 2393848 h 4806848"/>
              <a:gd name="connsiteX2899" fmla="*/ 4657574 w 8978749"/>
              <a:gd name="connsiteY2899" fmla="*/ 2393848 h 4806848"/>
              <a:gd name="connsiteX2900" fmla="*/ 4578199 w 8978749"/>
              <a:gd name="connsiteY2900" fmla="*/ 2335110 h 4806848"/>
              <a:gd name="connsiteX2901" fmla="*/ 4636937 w 8978749"/>
              <a:gd name="connsiteY2901" fmla="*/ 2335110 h 4806848"/>
              <a:gd name="connsiteX2902" fmla="*/ 4636937 w 8978749"/>
              <a:gd name="connsiteY2902" fmla="*/ 2393848 h 4806848"/>
              <a:gd name="connsiteX2903" fmla="*/ 4578199 w 8978749"/>
              <a:gd name="connsiteY2903" fmla="*/ 2393848 h 4806848"/>
              <a:gd name="connsiteX2904" fmla="*/ 4498824 w 8978749"/>
              <a:gd name="connsiteY2904" fmla="*/ 2335110 h 4806848"/>
              <a:gd name="connsiteX2905" fmla="*/ 4557562 w 8978749"/>
              <a:gd name="connsiteY2905" fmla="*/ 2335110 h 4806848"/>
              <a:gd name="connsiteX2906" fmla="*/ 4557562 w 8978749"/>
              <a:gd name="connsiteY2906" fmla="*/ 2393848 h 4806848"/>
              <a:gd name="connsiteX2907" fmla="*/ 4498824 w 8978749"/>
              <a:gd name="connsiteY2907" fmla="*/ 2393848 h 4806848"/>
              <a:gd name="connsiteX2908" fmla="*/ 4421036 w 8978749"/>
              <a:gd name="connsiteY2908" fmla="*/ 2335110 h 4806848"/>
              <a:gd name="connsiteX2909" fmla="*/ 4479774 w 8978749"/>
              <a:gd name="connsiteY2909" fmla="*/ 2335110 h 4806848"/>
              <a:gd name="connsiteX2910" fmla="*/ 4479774 w 8978749"/>
              <a:gd name="connsiteY2910" fmla="*/ 2393848 h 4806848"/>
              <a:gd name="connsiteX2911" fmla="*/ 4421036 w 8978749"/>
              <a:gd name="connsiteY2911" fmla="*/ 2393848 h 4806848"/>
              <a:gd name="connsiteX2912" fmla="*/ 4341661 w 8978749"/>
              <a:gd name="connsiteY2912" fmla="*/ 2335110 h 4806848"/>
              <a:gd name="connsiteX2913" fmla="*/ 4400399 w 8978749"/>
              <a:gd name="connsiteY2913" fmla="*/ 2335110 h 4806848"/>
              <a:gd name="connsiteX2914" fmla="*/ 4400399 w 8978749"/>
              <a:gd name="connsiteY2914" fmla="*/ 2393848 h 4806848"/>
              <a:gd name="connsiteX2915" fmla="*/ 4341661 w 8978749"/>
              <a:gd name="connsiteY2915" fmla="*/ 2393848 h 4806848"/>
              <a:gd name="connsiteX2916" fmla="*/ 4262286 w 8978749"/>
              <a:gd name="connsiteY2916" fmla="*/ 2335110 h 4806848"/>
              <a:gd name="connsiteX2917" fmla="*/ 4321024 w 8978749"/>
              <a:gd name="connsiteY2917" fmla="*/ 2335110 h 4806848"/>
              <a:gd name="connsiteX2918" fmla="*/ 4321024 w 8978749"/>
              <a:gd name="connsiteY2918" fmla="*/ 2393848 h 4806848"/>
              <a:gd name="connsiteX2919" fmla="*/ 4262286 w 8978749"/>
              <a:gd name="connsiteY2919" fmla="*/ 2393848 h 4806848"/>
              <a:gd name="connsiteX2920" fmla="*/ 4184499 w 8978749"/>
              <a:gd name="connsiteY2920" fmla="*/ 2335110 h 4806848"/>
              <a:gd name="connsiteX2921" fmla="*/ 4241649 w 8978749"/>
              <a:gd name="connsiteY2921" fmla="*/ 2335110 h 4806848"/>
              <a:gd name="connsiteX2922" fmla="*/ 4241649 w 8978749"/>
              <a:gd name="connsiteY2922" fmla="*/ 2393848 h 4806848"/>
              <a:gd name="connsiteX2923" fmla="*/ 4184499 w 8978749"/>
              <a:gd name="connsiteY2923" fmla="*/ 2393848 h 4806848"/>
              <a:gd name="connsiteX2924" fmla="*/ 4105124 w 8978749"/>
              <a:gd name="connsiteY2924" fmla="*/ 2335110 h 4806848"/>
              <a:gd name="connsiteX2925" fmla="*/ 4163862 w 8978749"/>
              <a:gd name="connsiteY2925" fmla="*/ 2335110 h 4806848"/>
              <a:gd name="connsiteX2926" fmla="*/ 4163862 w 8978749"/>
              <a:gd name="connsiteY2926" fmla="*/ 2393848 h 4806848"/>
              <a:gd name="connsiteX2927" fmla="*/ 4105124 w 8978749"/>
              <a:gd name="connsiteY2927" fmla="*/ 2393848 h 4806848"/>
              <a:gd name="connsiteX2928" fmla="*/ 4025749 w 8978749"/>
              <a:gd name="connsiteY2928" fmla="*/ 2335110 h 4806848"/>
              <a:gd name="connsiteX2929" fmla="*/ 4084487 w 8978749"/>
              <a:gd name="connsiteY2929" fmla="*/ 2335110 h 4806848"/>
              <a:gd name="connsiteX2930" fmla="*/ 4084487 w 8978749"/>
              <a:gd name="connsiteY2930" fmla="*/ 2393848 h 4806848"/>
              <a:gd name="connsiteX2931" fmla="*/ 4025749 w 8978749"/>
              <a:gd name="connsiteY2931" fmla="*/ 2393848 h 4806848"/>
              <a:gd name="connsiteX2932" fmla="*/ 3947961 w 8978749"/>
              <a:gd name="connsiteY2932" fmla="*/ 2335110 h 4806848"/>
              <a:gd name="connsiteX2933" fmla="*/ 4005111 w 8978749"/>
              <a:gd name="connsiteY2933" fmla="*/ 2335110 h 4806848"/>
              <a:gd name="connsiteX2934" fmla="*/ 4005111 w 8978749"/>
              <a:gd name="connsiteY2934" fmla="*/ 2393848 h 4806848"/>
              <a:gd name="connsiteX2935" fmla="*/ 3947961 w 8978749"/>
              <a:gd name="connsiteY2935" fmla="*/ 2393848 h 4806848"/>
              <a:gd name="connsiteX2936" fmla="*/ 3868586 w 8978749"/>
              <a:gd name="connsiteY2936" fmla="*/ 2335110 h 4806848"/>
              <a:gd name="connsiteX2937" fmla="*/ 3925736 w 8978749"/>
              <a:gd name="connsiteY2937" fmla="*/ 2335110 h 4806848"/>
              <a:gd name="connsiteX2938" fmla="*/ 3925736 w 8978749"/>
              <a:gd name="connsiteY2938" fmla="*/ 2393848 h 4806848"/>
              <a:gd name="connsiteX2939" fmla="*/ 3868586 w 8978749"/>
              <a:gd name="connsiteY2939" fmla="*/ 2393848 h 4806848"/>
              <a:gd name="connsiteX2940" fmla="*/ 2289125 w 8978749"/>
              <a:gd name="connsiteY2940" fmla="*/ 2335110 h 4806848"/>
              <a:gd name="connsiteX2941" fmla="*/ 2347863 w 8978749"/>
              <a:gd name="connsiteY2941" fmla="*/ 2335110 h 4806848"/>
              <a:gd name="connsiteX2942" fmla="*/ 2347863 w 8978749"/>
              <a:gd name="connsiteY2942" fmla="*/ 2393848 h 4806848"/>
              <a:gd name="connsiteX2943" fmla="*/ 2289125 w 8978749"/>
              <a:gd name="connsiteY2943" fmla="*/ 2393848 h 4806848"/>
              <a:gd name="connsiteX2944" fmla="*/ 2209746 w 8978749"/>
              <a:gd name="connsiteY2944" fmla="*/ 2335110 h 4806848"/>
              <a:gd name="connsiteX2945" fmla="*/ 2268485 w 8978749"/>
              <a:gd name="connsiteY2945" fmla="*/ 2335110 h 4806848"/>
              <a:gd name="connsiteX2946" fmla="*/ 2268485 w 8978749"/>
              <a:gd name="connsiteY2946" fmla="*/ 2393848 h 4806848"/>
              <a:gd name="connsiteX2947" fmla="*/ 2209746 w 8978749"/>
              <a:gd name="connsiteY2947" fmla="*/ 2393848 h 4806848"/>
              <a:gd name="connsiteX2948" fmla="*/ 2131960 w 8978749"/>
              <a:gd name="connsiteY2948" fmla="*/ 2335110 h 4806848"/>
              <a:gd name="connsiteX2949" fmla="*/ 2189109 w 8978749"/>
              <a:gd name="connsiteY2949" fmla="*/ 2335110 h 4806848"/>
              <a:gd name="connsiteX2950" fmla="*/ 2189109 w 8978749"/>
              <a:gd name="connsiteY2950" fmla="*/ 2393848 h 4806848"/>
              <a:gd name="connsiteX2951" fmla="*/ 2131960 w 8978749"/>
              <a:gd name="connsiteY2951" fmla="*/ 2393848 h 4806848"/>
              <a:gd name="connsiteX2952" fmla="*/ 2052581 w 8978749"/>
              <a:gd name="connsiteY2952" fmla="*/ 2335110 h 4806848"/>
              <a:gd name="connsiteX2953" fmla="*/ 2111322 w 8978749"/>
              <a:gd name="connsiteY2953" fmla="*/ 2335110 h 4806848"/>
              <a:gd name="connsiteX2954" fmla="*/ 2111322 w 8978749"/>
              <a:gd name="connsiteY2954" fmla="*/ 2393848 h 4806848"/>
              <a:gd name="connsiteX2955" fmla="*/ 2052581 w 8978749"/>
              <a:gd name="connsiteY2955" fmla="*/ 2393848 h 4806848"/>
              <a:gd name="connsiteX2956" fmla="*/ 1736681 w 8978749"/>
              <a:gd name="connsiteY2956" fmla="*/ 2335110 h 4806848"/>
              <a:gd name="connsiteX2957" fmla="*/ 1795425 w 8978749"/>
              <a:gd name="connsiteY2957" fmla="*/ 2335110 h 4806848"/>
              <a:gd name="connsiteX2958" fmla="*/ 1795425 w 8978749"/>
              <a:gd name="connsiteY2958" fmla="*/ 2393848 h 4806848"/>
              <a:gd name="connsiteX2959" fmla="*/ 1736681 w 8978749"/>
              <a:gd name="connsiteY2959" fmla="*/ 2393848 h 4806848"/>
              <a:gd name="connsiteX2960" fmla="*/ 1657301 w 8978749"/>
              <a:gd name="connsiteY2960" fmla="*/ 2335110 h 4806848"/>
              <a:gd name="connsiteX2961" fmla="*/ 1716041 w 8978749"/>
              <a:gd name="connsiteY2961" fmla="*/ 2335110 h 4806848"/>
              <a:gd name="connsiteX2962" fmla="*/ 1716041 w 8978749"/>
              <a:gd name="connsiteY2962" fmla="*/ 2393848 h 4806848"/>
              <a:gd name="connsiteX2963" fmla="*/ 1657301 w 8978749"/>
              <a:gd name="connsiteY2963" fmla="*/ 2393848 h 4806848"/>
              <a:gd name="connsiteX2964" fmla="*/ 315848 w 8978749"/>
              <a:gd name="connsiteY2964" fmla="*/ 2335110 h 4806848"/>
              <a:gd name="connsiteX2965" fmla="*/ 374589 w 8978749"/>
              <a:gd name="connsiteY2965" fmla="*/ 2335110 h 4806848"/>
              <a:gd name="connsiteX2966" fmla="*/ 374589 w 8978749"/>
              <a:gd name="connsiteY2966" fmla="*/ 2393848 h 4806848"/>
              <a:gd name="connsiteX2967" fmla="*/ 315848 w 8978749"/>
              <a:gd name="connsiteY2967" fmla="*/ 2393848 h 4806848"/>
              <a:gd name="connsiteX2968" fmla="*/ 236473 w 8978749"/>
              <a:gd name="connsiteY2968" fmla="*/ 2335110 h 4806848"/>
              <a:gd name="connsiteX2969" fmla="*/ 295212 w 8978749"/>
              <a:gd name="connsiteY2969" fmla="*/ 2335110 h 4806848"/>
              <a:gd name="connsiteX2970" fmla="*/ 295212 w 8978749"/>
              <a:gd name="connsiteY2970" fmla="*/ 2393848 h 4806848"/>
              <a:gd name="connsiteX2971" fmla="*/ 236473 w 8978749"/>
              <a:gd name="connsiteY2971" fmla="*/ 2393848 h 4806848"/>
              <a:gd name="connsiteX2972" fmla="*/ 1736683 w 8978749"/>
              <a:gd name="connsiteY2972" fmla="*/ 2257323 h 4806848"/>
              <a:gd name="connsiteX2973" fmla="*/ 1795425 w 8978749"/>
              <a:gd name="connsiteY2973" fmla="*/ 2257323 h 4806848"/>
              <a:gd name="connsiteX2974" fmla="*/ 1795425 w 8978749"/>
              <a:gd name="connsiteY2974" fmla="*/ 2316061 h 4806848"/>
              <a:gd name="connsiteX2975" fmla="*/ 1736683 w 8978749"/>
              <a:gd name="connsiteY2975" fmla="*/ 2316061 h 4806848"/>
              <a:gd name="connsiteX2976" fmla="*/ 1657303 w 8978749"/>
              <a:gd name="connsiteY2976" fmla="*/ 2257323 h 4806848"/>
              <a:gd name="connsiteX2977" fmla="*/ 1716044 w 8978749"/>
              <a:gd name="connsiteY2977" fmla="*/ 2257323 h 4806848"/>
              <a:gd name="connsiteX2978" fmla="*/ 1716044 w 8978749"/>
              <a:gd name="connsiteY2978" fmla="*/ 2316061 h 4806848"/>
              <a:gd name="connsiteX2979" fmla="*/ 1657303 w 8978749"/>
              <a:gd name="connsiteY2979" fmla="*/ 2316061 h 4806848"/>
              <a:gd name="connsiteX2980" fmla="*/ 1577920 w 8978749"/>
              <a:gd name="connsiteY2980" fmla="*/ 2257323 h 4806848"/>
              <a:gd name="connsiteX2981" fmla="*/ 1636667 w 8978749"/>
              <a:gd name="connsiteY2981" fmla="*/ 2257323 h 4806848"/>
              <a:gd name="connsiteX2982" fmla="*/ 1636667 w 8978749"/>
              <a:gd name="connsiteY2982" fmla="*/ 2316061 h 4806848"/>
              <a:gd name="connsiteX2983" fmla="*/ 1577920 w 8978749"/>
              <a:gd name="connsiteY2983" fmla="*/ 2316061 h 4806848"/>
              <a:gd name="connsiteX2984" fmla="*/ 1500131 w 8978749"/>
              <a:gd name="connsiteY2984" fmla="*/ 2257323 h 4806848"/>
              <a:gd name="connsiteX2985" fmla="*/ 1558871 w 8978749"/>
              <a:gd name="connsiteY2985" fmla="*/ 2257323 h 4806848"/>
              <a:gd name="connsiteX2986" fmla="*/ 1558871 w 8978749"/>
              <a:gd name="connsiteY2986" fmla="*/ 2316061 h 4806848"/>
              <a:gd name="connsiteX2987" fmla="*/ 1500131 w 8978749"/>
              <a:gd name="connsiteY2987" fmla="*/ 2316061 h 4806848"/>
              <a:gd name="connsiteX2988" fmla="*/ 7342036 w 8978749"/>
              <a:gd name="connsiteY2988" fmla="*/ 2257322 h 4806848"/>
              <a:gd name="connsiteX2989" fmla="*/ 7400774 w 8978749"/>
              <a:gd name="connsiteY2989" fmla="*/ 2257322 h 4806848"/>
              <a:gd name="connsiteX2990" fmla="*/ 7400774 w 8978749"/>
              <a:gd name="connsiteY2990" fmla="*/ 2316060 h 4806848"/>
              <a:gd name="connsiteX2991" fmla="*/ 7342036 w 8978749"/>
              <a:gd name="connsiteY2991" fmla="*/ 2316060 h 4806848"/>
              <a:gd name="connsiteX2992" fmla="*/ 7262661 w 8978749"/>
              <a:gd name="connsiteY2992" fmla="*/ 2257322 h 4806848"/>
              <a:gd name="connsiteX2993" fmla="*/ 7321399 w 8978749"/>
              <a:gd name="connsiteY2993" fmla="*/ 2257322 h 4806848"/>
              <a:gd name="connsiteX2994" fmla="*/ 7321399 w 8978749"/>
              <a:gd name="connsiteY2994" fmla="*/ 2316060 h 4806848"/>
              <a:gd name="connsiteX2995" fmla="*/ 7262661 w 8978749"/>
              <a:gd name="connsiteY2995" fmla="*/ 2316060 h 4806848"/>
              <a:gd name="connsiteX2996" fmla="*/ 7105499 w 8978749"/>
              <a:gd name="connsiteY2996" fmla="*/ 2257322 h 4806848"/>
              <a:gd name="connsiteX2997" fmla="*/ 7162649 w 8978749"/>
              <a:gd name="connsiteY2997" fmla="*/ 2257322 h 4806848"/>
              <a:gd name="connsiteX2998" fmla="*/ 7162649 w 8978749"/>
              <a:gd name="connsiteY2998" fmla="*/ 2316060 h 4806848"/>
              <a:gd name="connsiteX2999" fmla="*/ 7105499 w 8978749"/>
              <a:gd name="connsiteY2999" fmla="*/ 2316060 h 4806848"/>
              <a:gd name="connsiteX3000" fmla="*/ 7026124 w 8978749"/>
              <a:gd name="connsiteY3000" fmla="*/ 2257322 h 4806848"/>
              <a:gd name="connsiteX3001" fmla="*/ 7084862 w 8978749"/>
              <a:gd name="connsiteY3001" fmla="*/ 2257322 h 4806848"/>
              <a:gd name="connsiteX3002" fmla="*/ 7084862 w 8978749"/>
              <a:gd name="connsiteY3002" fmla="*/ 2316060 h 4806848"/>
              <a:gd name="connsiteX3003" fmla="*/ 7026124 w 8978749"/>
              <a:gd name="connsiteY3003" fmla="*/ 2316060 h 4806848"/>
              <a:gd name="connsiteX3004" fmla="*/ 6946749 w 8978749"/>
              <a:gd name="connsiteY3004" fmla="*/ 2257322 h 4806848"/>
              <a:gd name="connsiteX3005" fmla="*/ 7005487 w 8978749"/>
              <a:gd name="connsiteY3005" fmla="*/ 2257322 h 4806848"/>
              <a:gd name="connsiteX3006" fmla="*/ 7005487 w 8978749"/>
              <a:gd name="connsiteY3006" fmla="*/ 2316060 h 4806848"/>
              <a:gd name="connsiteX3007" fmla="*/ 6946749 w 8978749"/>
              <a:gd name="connsiteY3007" fmla="*/ 2316060 h 4806848"/>
              <a:gd name="connsiteX3008" fmla="*/ 6867374 w 8978749"/>
              <a:gd name="connsiteY3008" fmla="*/ 2257322 h 4806848"/>
              <a:gd name="connsiteX3009" fmla="*/ 6926112 w 8978749"/>
              <a:gd name="connsiteY3009" fmla="*/ 2257322 h 4806848"/>
              <a:gd name="connsiteX3010" fmla="*/ 6926112 w 8978749"/>
              <a:gd name="connsiteY3010" fmla="*/ 2316060 h 4806848"/>
              <a:gd name="connsiteX3011" fmla="*/ 6867374 w 8978749"/>
              <a:gd name="connsiteY3011" fmla="*/ 2316060 h 4806848"/>
              <a:gd name="connsiteX3012" fmla="*/ 6789586 w 8978749"/>
              <a:gd name="connsiteY3012" fmla="*/ 2257322 h 4806848"/>
              <a:gd name="connsiteX3013" fmla="*/ 6846736 w 8978749"/>
              <a:gd name="connsiteY3013" fmla="*/ 2257322 h 4806848"/>
              <a:gd name="connsiteX3014" fmla="*/ 6846736 w 8978749"/>
              <a:gd name="connsiteY3014" fmla="*/ 2316060 h 4806848"/>
              <a:gd name="connsiteX3015" fmla="*/ 6789586 w 8978749"/>
              <a:gd name="connsiteY3015" fmla="*/ 2316060 h 4806848"/>
              <a:gd name="connsiteX3016" fmla="*/ 6710211 w 8978749"/>
              <a:gd name="connsiteY3016" fmla="*/ 2257322 h 4806848"/>
              <a:gd name="connsiteX3017" fmla="*/ 6768949 w 8978749"/>
              <a:gd name="connsiteY3017" fmla="*/ 2257322 h 4806848"/>
              <a:gd name="connsiteX3018" fmla="*/ 6768949 w 8978749"/>
              <a:gd name="connsiteY3018" fmla="*/ 2316060 h 4806848"/>
              <a:gd name="connsiteX3019" fmla="*/ 6710211 w 8978749"/>
              <a:gd name="connsiteY3019" fmla="*/ 2316060 h 4806848"/>
              <a:gd name="connsiteX3020" fmla="*/ 6630836 w 8978749"/>
              <a:gd name="connsiteY3020" fmla="*/ 2257322 h 4806848"/>
              <a:gd name="connsiteX3021" fmla="*/ 6689574 w 8978749"/>
              <a:gd name="connsiteY3021" fmla="*/ 2257322 h 4806848"/>
              <a:gd name="connsiteX3022" fmla="*/ 6689574 w 8978749"/>
              <a:gd name="connsiteY3022" fmla="*/ 2316060 h 4806848"/>
              <a:gd name="connsiteX3023" fmla="*/ 6630836 w 8978749"/>
              <a:gd name="connsiteY3023" fmla="*/ 2316060 h 4806848"/>
              <a:gd name="connsiteX3024" fmla="*/ 6551461 w 8978749"/>
              <a:gd name="connsiteY3024" fmla="*/ 2257322 h 4806848"/>
              <a:gd name="connsiteX3025" fmla="*/ 6610199 w 8978749"/>
              <a:gd name="connsiteY3025" fmla="*/ 2257322 h 4806848"/>
              <a:gd name="connsiteX3026" fmla="*/ 6610199 w 8978749"/>
              <a:gd name="connsiteY3026" fmla="*/ 2316060 h 4806848"/>
              <a:gd name="connsiteX3027" fmla="*/ 6551461 w 8978749"/>
              <a:gd name="connsiteY3027" fmla="*/ 2316060 h 4806848"/>
              <a:gd name="connsiteX3028" fmla="*/ 6473674 w 8978749"/>
              <a:gd name="connsiteY3028" fmla="*/ 2257322 h 4806848"/>
              <a:gd name="connsiteX3029" fmla="*/ 6530824 w 8978749"/>
              <a:gd name="connsiteY3029" fmla="*/ 2257322 h 4806848"/>
              <a:gd name="connsiteX3030" fmla="*/ 6530824 w 8978749"/>
              <a:gd name="connsiteY3030" fmla="*/ 2316060 h 4806848"/>
              <a:gd name="connsiteX3031" fmla="*/ 6473674 w 8978749"/>
              <a:gd name="connsiteY3031" fmla="*/ 2316060 h 4806848"/>
              <a:gd name="connsiteX3032" fmla="*/ 6394299 w 8978749"/>
              <a:gd name="connsiteY3032" fmla="*/ 2257322 h 4806848"/>
              <a:gd name="connsiteX3033" fmla="*/ 6453037 w 8978749"/>
              <a:gd name="connsiteY3033" fmla="*/ 2257322 h 4806848"/>
              <a:gd name="connsiteX3034" fmla="*/ 6453037 w 8978749"/>
              <a:gd name="connsiteY3034" fmla="*/ 2316060 h 4806848"/>
              <a:gd name="connsiteX3035" fmla="*/ 6394299 w 8978749"/>
              <a:gd name="connsiteY3035" fmla="*/ 2316060 h 4806848"/>
              <a:gd name="connsiteX3036" fmla="*/ 6314924 w 8978749"/>
              <a:gd name="connsiteY3036" fmla="*/ 2257322 h 4806848"/>
              <a:gd name="connsiteX3037" fmla="*/ 6373662 w 8978749"/>
              <a:gd name="connsiteY3037" fmla="*/ 2257322 h 4806848"/>
              <a:gd name="connsiteX3038" fmla="*/ 6373662 w 8978749"/>
              <a:gd name="connsiteY3038" fmla="*/ 2316060 h 4806848"/>
              <a:gd name="connsiteX3039" fmla="*/ 6314924 w 8978749"/>
              <a:gd name="connsiteY3039" fmla="*/ 2316060 h 4806848"/>
              <a:gd name="connsiteX3040" fmla="*/ 6235549 w 8978749"/>
              <a:gd name="connsiteY3040" fmla="*/ 2257322 h 4806848"/>
              <a:gd name="connsiteX3041" fmla="*/ 6294287 w 8978749"/>
              <a:gd name="connsiteY3041" fmla="*/ 2257322 h 4806848"/>
              <a:gd name="connsiteX3042" fmla="*/ 6294287 w 8978749"/>
              <a:gd name="connsiteY3042" fmla="*/ 2316060 h 4806848"/>
              <a:gd name="connsiteX3043" fmla="*/ 6235549 w 8978749"/>
              <a:gd name="connsiteY3043" fmla="*/ 2316060 h 4806848"/>
              <a:gd name="connsiteX3044" fmla="*/ 6157761 w 8978749"/>
              <a:gd name="connsiteY3044" fmla="*/ 2257322 h 4806848"/>
              <a:gd name="connsiteX3045" fmla="*/ 6214911 w 8978749"/>
              <a:gd name="connsiteY3045" fmla="*/ 2257322 h 4806848"/>
              <a:gd name="connsiteX3046" fmla="*/ 6214911 w 8978749"/>
              <a:gd name="connsiteY3046" fmla="*/ 2316060 h 4806848"/>
              <a:gd name="connsiteX3047" fmla="*/ 6157761 w 8978749"/>
              <a:gd name="connsiteY3047" fmla="*/ 2316060 h 4806848"/>
              <a:gd name="connsiteX3048" fmla="*/ 6078386 w 8978749"/>
              <a:gd name="connsiteY3048" fmla="*/ 2257322 h 4806848"/>
              <a:gd name="connsiteX3049" fmla="*/ 6137124 w 8978749"/>
              <a:gd name="connsiteY3049" fmla="*/ 2257322 h 4806848"/>
              <a:gd name="connsiteX3050" fmla="*/ 6137124 w 8978749"/>
              <a:gd name="connsiteY3050" fmla="*/ 2316060 h 4806848"/>
              <a:gd name="connsiteX3051" fmla="*/ 6078386 w 8978749"/>
              <a:gd name="connsiteY3051" fmla="*/ 2316060 h 4806848"/>
              <a:gd name="connsiteX3052" fmla="*/ 5999011 w 8978749"/>
              <a:gd name="connsiteY3052" fmla="*/ 2257322 h 4806848"/>
              <a:gd name="connsiteX3053" fmla="*/ 6057749 w 8978749"/>
              <a:gd name="connsiteY3053" fmla="*/ 2257322 h 4806848"/>
              <a:gd name="connsiteX3054" fmla="*/ 6057749 w 8978749"/>
              <a:gd name="connsiteY3054" fmla="*/ 2316060 h 4806848"/>
              <a:gd name="connsiteX3055" fmla="*/ 5999011 w 8978749"/>
              <a:gd name="connsiteY3055" fmla="*/ 2316060 h 4806848"/>
              <a:gd name="connsiteX3056" fmla="*/ 5684686 w 8978749"/>
              <a:gd name="connsiteY3056" fmla="*/ 2257322 h 4806848"/>
              <a:gd name="connsiteX3057" fmla="*/ 5741836 w 8978749"/>
              <a:gd name="connsiteY3057" fmla="*/ 2257322 h 4806848"/>
              <a:gd name="connsiteX3058" fmla="*/ 5741836 w 8978749"/>
              <a:gd name="connsiteY3058" fmla="*/ 2316060 h 4806848"/>
              <a:gd name="connsiteX3059" fmla="*/ 5684686 w 8978749"/>
              <a:gd name="connsiteY3059" fmla="*/ 2316060 h 4806848"/>
              <a:gd name="connsiteX3060" fmla="*/ 5605311 w 8978749"/>
              <a:gd name="connsiteY3060" fmla="*/ 2257322 h 4806848"/>
              <a:gd name="connsiteX3061" fmla="*/ 5664049 w 8978749"/>
              <a:gd name="connsiteY3061" fmla="*/ 2257322 h 4806848"/>
              <a:gd name="connsiteX3062" fmla="*/ 5664049 w 8978749"/>
              <a:gd name="connsiteY3062" fmla="*/ 2316060 h 4806848"/>
              <a:gd name="connsiteX3063" fmla="*/ 5605311 w 8978749"/>
              <a:gd name="connsiteY3063" fmla="*/ 2316060 h 4806848"/>
              <a:gd name="connsiteX3064" fmla="*/ 5525936 w 8978749"/>
              <a:gd name="connsiteY3064" fmla="*/ 2257322 h 4806848"/>
              <a:gd name="connsiteX3065" fmla="*/ 5584674 w 8978749"/>
              <a:gd name="connsiteY3065" fmla="*/ 2257322 h 4806848"/>
              <a:gd name="connsiteX3066" fmla="*/ 5584674 w 8978749"/>
              <a:gd name="connsiteY3066" fmla="*/ 2316060 h 4806848"/>
              <a:gd name="connsiteX3067" fmla="*/ 5525936 w 8978749"/>
              <a:gd name="connsiteY3067" fmla="*/ 2316060 h 4806848"/>
              <a:gd name="connsiteX3068" fmla="*/ 5446561 w 8978749"/>
              <a:gd name="connsiteY3068" fmla="*/ 2257322 h 4806848"/>
              <a:gd name="connsiteX3069" fmla="*/ 5505299 w 8978749"/>
              <a:gd name="connsiteY3069" fmla="*/ 2257322 h 4806848"/>
              <a:gd name="connsiteX3070" fmla="*/ 5505299 w 8978749"/>
              <a:gd name="connsiteY3070" fmla="*/ 2316060 h 4806848"/>
              <a:gd name="connsiteX3071" fmla="*/ 5446561 w 8978749"/>
              <a:gd name="connsiteY3071" fmla="*/ 2316060 h 4806848"/>
              <a:gd name="connsiteX3072" fmla="*/ 5368774 w 8978749"/>
              <a:gd name="connsiteY3072" fmla="*/ 2257322 h 4806848"/>
              <a:gd name="connsiteX3073" fmla="*/ 5425924 w 8978749"/>
              <a:gd name="connsiteY3073" fmla="*/ 2257322 h 4806848"/>
              <a:gd name="connsiteX3074" fmla="*/ 5425924 w 8978749"/>
              <a:gd name="connsiteY3074" fmla="*/ 2316060 h 4806848"/>
              <a:gd name="connsiteX3075" fmla="*/ 5368774 w 8978749"/>
              <a:gd name="connsiteY3075" fmla="*/ 2316060 h 4806848"/>
              <a:gd name="connsiteX3076" fmla="*/ 5289399 w 8978749"/>
              <a:gd name="connsiteY3076" fmla="*/ 2257322 h 4806848"/>
              <a:gd name="connsiteX3077" fmla="*/ 5348137 w 8978749"/>
              <a:gd name="connsiteY3077" fmla="*/ 2257322 h 4806848"/>
              <a:gd name="connsiteX3078" fmla="*/ 5348137 w 8978749"/>
              <a:gd name="connsiteY3078" fmla="*/ 2316060 h 4806848"/>
              <a:gd name="connsiteX3079" fmla="*/ 5289399 w 8978749"/>
              <a:gd name="connsiteY3079" fmla="*/ 2316060 h 4806848"/>
              <a:gd name="connsiteX3080" fmla="*/ 5210024 w 8978749"/>
              <a:gd name="connsiteY3080" fmla="*/ 2257322 h 4806848"/>
              <a:gd name="connsiteX3081" fmla="*/ 5268762 w 8978749"/>
              <a:gd name="connsiteY3081" fmla="*/ 2257322 h 4806848"/>
              <a:gd name="connsiteX3082" fmla="*/ 5268762 w 8978749"/>
              <a:gd name="connsiteY3082" fmla="*/ 2316060 h 4806848"/>
              <a:gd name="connsiteX3083" fmla="*/ 5210024 w 8978749"/>
              <a:gd name="connsiteY3083" fmla="*/ 2316060 h 4806848"/>
              <a:gd name="connsiteX3084" fmla="*/ 5052861 w 8978749"/>
              <a:gd name="connsiteY3084" fmla="*/ 2257322 h 4806848"/>
              <a:gd name="connsiteX3085" fmla="*/ 5110011 w 8978749"/>
              <a:gd name="connsiteY3085" fmla="*/ 2257322 h 4806848"/>
              <a:gd name="connsiteX3086" fmla="*/ 5110011 w 8978749"/>
              <a:gd name="connsiteY3086" fmla="*/ 2316060 h 4806848"/>
              <a:gd name="connsiteX3087" fmla="*/ 5052861 w 8978749"/>
              <a:gd name="connsiteY3087" fmla="*/ 2316060 h 4806848"/>
              <a:gd name="connsiteX3088" fmla="*/ 4973486 w 8978749"/>
              <a:gd name="connsiteY3088" fmla="*/ 2257322 h 4806848"/>
              <a:gd name="connsiteX3089" fmla="*/ 5030636 w 8978749"/>
              <a:gd name="connsiteY3089" fmla="*/ 2257322 h 4806848"/>
              <a:gd name="connsiteX3090" fmla="*/ 5030636 w 8978749"/>
              <a:gd name="connsiteY3090" fmla="*/ 2316060 h 4806848"/>
              <a:gd name="connsiteX3091" fmla="*/ 4973486 w 8978749"/>
              <a:gd name="connsiteY3091" fmla="*/ 2316060 h 4806848"/>
              <a:gd name="connsiteX3092" fmla="*/ 4894111 w 8978749"/>
              <a:gd name="connsiteY3092" fmla="*/ 2257322 h 4806848"/>
              <a:gd name="connsiteX3093" fmla="*/ 4952849 w 8978749"/>
              <a:gd name="connsiteY3093" fmla="*/ 2257322 h 4806848"/>
              <a:gd name="connsiteX3094" fmla="*/ 4952849 w 8978749"/>
              <a:gd name="connsiteY3094" fmla="*/ 2316060 h 4806848"/>
              <a:gd name="connsiteX3095" fmla="*/ 4894111 w 8978749"/>
              <a:gd name="connsiteY3095" fmla="*/ 2316060 h 4806848"/>
              <a:gd name="connsiteX3096" fmla="*/ 4814736 w 8978749"/>
              <a:gd name="connsiteY3096" fmla="*/ 2257322 h 4806848"/>
              <a:gd name="connsiteX3097" fmla="*/ 4873474 w 8978749"/>
              <a:gd name="connsiteY3097" fmla="*/ 2257322 h 4806848"/>
              <a:gd name="connsiteX3098" fmla="*/ 4873474 w 8978749"/>
              <a:gd name="connsiteY3098" fmla="*/ 2316060 h 4806848"/>
              <a:gd name="connsiteX3099" fmla="*/ 4814736 w 8978749"/>
              <a:gd name="connsiteY3099" fmla="*/ 2316060 h 4806848"/>
              <a:gd name="connsiteX3100" fmla="*/ 4736949 w 8978749"/>
              <a:gd name="connsiteY3100" fmla="*/ 2257322 h 4806848"/>
              <a:gd name="connsiteX3101" fmla="*/ 4794099 w 8978749"/>
              <a:gd name="connsiteY3101" fmla="*/ 2257322 h 4806848"/>
              <a:gd name="connsiteX3102" fmla="*/ 4794099 w 8978749"/>
              <a:gd name="connsiteY3102" fmla="*/ 2316060 h 4806848"/>
              <a:gd name="connsiteX3103" fmla="*/ 4736949 w 8978749"/>
              <a:gd name="connsiteY3103" fmla="*/ 2316060 h 4806848"/>
              <a:gd name="connsiteX3104" fmla="*/ 4657574 w 8978749"/>
              <a:gd name="connsiteY3104" fmla="*/ 2257322 h 4806848"/>
              <a:gd name="connsiteX3105" fmla="*/ 4716312 w 8978749"/>
              <a:gd name="connsiteY3105" fmla="*/ 2257322 h 4806848"/>
              <a:gd name="connsiteX3106" fmla="*/ 4716312 w 8978749"/>
              <a:gd name="connsiteY3106" fmla="*/ 2316060 h 4806848"/>
              <a:gd name="connsiteX3107" fmla="*/ 4657574 w 8978749"/>
              <a:gd name="connsiteY3107" fmla="*/ 2316060 h 4806848"/>
              <a:gd name="connsiteX3108" fmla="*/ 4578199 w 8978749"/>
              <a:gd name="connsiteY3108" fmla="*/ 2257322 h 4806848"/>
              <a:gd name="connsiteX3109" fmla="*/ 4636937 w 8978749"/>
              <a:gd name="connsiteY3109" fmla="*/ 2257322 h 4806848"/>
              <a:gd name="connsiteX3110" fmla="*/ 4636937 w 8978749"/>
              <a:gd name="connsiteY3110" fmla="*/ 2316060 h 4806848"/>
              <a:gd name="connsiteX3111" fmla="*/ 4578199 w 8978749"/>
              <a:gd name="connsiteY3111" fmla="*/ 2316060 h 4806848"/>
              <a:gd name="connsiteX3112" fmla="*/ 4498824 w 8978749"/>
              <a:gd name="connsiteY3112" fmla="*/ 2257322 h 4806848"/>
              <a:gd name="connsiteX3113" fmla="*/ 4557562 w 8978749"/>
              <a:gd name="connsiteY3113" fmla="*/ 2257322 h 4806848"/>
              <a:gd name="connsiteX3114" fmla="*/ 4557562 w 8978749"/>
              <a:gd name="connsiteY3114" fmla="*/ 2316060 h 4806848"/>
              <a:gd name="connsiteX3115" fmla="*/ 4498824 w 8978749"/>
              <a:gd name="connsiteY3115" fmla="*/ 2316060 h 4806848"/>
              <a:gd name="connsiteX3116" fmla="*/ 4421036 w 8978749"/>
              <a:gd name="connsiteY3116" fmla="*/ 2257322 h 4806848"/>
              <a:gd name="connsiteX3117" fmla="*/ 4479774 w 8978749"/>
              <a:gd name="connsiteY3117" fmla="*/ 2257322 h 4806848"/>
              <a:gd name="connsiteX3118" fmla="*/ 4479774 w 8978749"/>
              <a:gd name="connsiteY3118" fmla="*/ 2316060 h 4806848"/>
              <a:gd name="connsiteX3119" fmla="*/ 4421036 w 8978749"/>
              <a:gd name="connsiteY3119" fmla="*/ 2316060 h 4806848"/>
              <a:gd name="connsiteX3120" fmla="*/ 4341661 w 8978749"/>
              <a:gd name="connsiteY3120" fmla="*/ 2257322 h 4806848"/>
              <a:gd name="connsiteX3121" fmla="*/ 4400399 w 8978749"/>
              <a:gd name="connsiteY3121" fmla="*/ 2257322 h 4806848"/>
              <a:gd name="connsiteX3122" fmla="*/ 4400399 w 8978749"/>
              <a:gd name="connsiteY3122" fmla="*/ 2316060 h 4806848"/>
              <a:gd name="connsiteX3123" fmla="*/ 4341661 w 8978749"/>
              <a:gd name="connsiteY3123" fmla="*/ 2316060 h 4806848"/>
              <a:gd name="connsiteX3124" fmla="*/ 4262286 w 8978749"/>
              <a:gd name="connsiteY3124" fmla="*/ 2257322 h 4806848"/>
              <a:gd name="connsiteX3125" fmla="*/ 4321024 w 8978749"/>
              <a:gd name="connsiteY3125" fmla="*/ 2257322 h 4806848"/>
              <a:gd name="connsiteX3126" fmla="*/ 4321024 w 8978749"/>
              <a:gd name="connsiteY3126" fmla="*/ 2316060 h 4806848"/>
              <a:gd name="connsiteX3127" fmla="*/ 4262286 w 8978749"/>
              <a:gd name="connsiteY3127" fmla="*/ 2316060 h 4806848"/>
              <a:gd name="connsiteX3128" fmla="*/ 4184499 w 8978749"/>
              <a:gd name="connsiteY3128" fmla="*/ 2257322 h 4806848"/>
              <a:gd name="connsiteX3129" fmla="*/ 4241649 w 8978749"/>
              <a:gd name="connsiteY3129" fmla="*/ 2257322 h 4806848"/>
              <a:gd name="connsiteX3130" fmla="*/ 4241649 w 8978749"/>
              <a:gd name="connsiteY3130" fmla="*/ 2316060 h 4806848"/>
              <a:gd name="connsiteX3131" fmla="*/ 4184499 w 8978749"/>
              <a:gd name="connsiteY3131" fmla="*/ 2316060 h 4806848"/>
              <a:gd name="connsiteX3132" fmla="*/ 4105124 w 8978749"/>
              <a:gd name="connsiteY3132" fmla="*/ 2257322 h 4806848"/>
              <a:gd name="connsiteX3133" fmla="*/ 4163862 w 8978749"/>
              <a:gd name="connsiteY3133" fmla="*/ 2257322 h 4806848"/>
              <a:gd name="connsiteX3134" fmla="*/ 4163862 w 8978749"/>
              <a:gd name="connsiteY3134" fmla="*/ 2316060 h 4806848"/>
              <a:gd name="connsiteX3135" fmla="*/ 4105124 w 8978749"/>
              <a:gd name="connsiteY3135" fmla="*/ 2316060 h 4806848"/>
              <a:gd name="connsiteX3136" fmla="*/ 4025749 w 8978749"/>
              <a:gd name="connsiteY3136" fmla="*/ 2257322 h 4806848"/>
              <a:gd name="connsiteX3137" fmla="*/ 4084487 w 8978749"/>
              <a:gd name="connsiteY3137" fmla="*/ 2257322 h 4806848"/>
              <a:gd name="connsiteX3138" fmla="*/ 4084487 w 8978749"/>
              <a:gd name="connsiteY3138" fmla="*/ 2316060 h 4806848"/>
              <a:gd name="connsiteX3139" fmla="*/ 4025749 w 8978749"/>
              <a:gd name="connsiteY3139" fmla="*/ 2316060 h 4806848"/>
              <a:gd name="connsiteX3140" fmla="*/ 3947961 w 8978749"/>
              <a:gd name="connsiteY3140" fmla="*/ 2257322 h 4806848"/>
              <a:gd name="connsiteX3141" fmla="*/ 4005111 w 8978749"/>
              <a:gd name="connsiteY3141" fmla="*/ 2257322 h 4806848"/>
              <a:gd name="connsiteX3142" fmla="*/ 4005111 w 8978749"/>
              <a:gd name="connsiteY3142" fmla="*/ 2316060 h 4806848"/>
              <a:gd name="connsiteX3143" fmla="*/ 3947961 w 8978749"/>
              <a:gd name="connsiteY3143" fmla="*/ 2316060 h 4806848"/>
              <a:gd name="connsiteX3144" fmla="*/ 3868586 w 8978749"/>
              <a:gd name="connsiteY3144" fmla="*/ 2257322 h 4806848"/>
              <a:gd name="connsiteX3145" fmla="*/ 3925736 w 8978749"/>
              <a:gd name="connsiteY3145" fmla="*/ 2257322 h 4806848"/>
              <a:gd name="connsiteX3146" fmla="*/ 3925736 w 8978749"/>
              <a:gd name="connsiteY3146" fmla="*/ 2316060 h 4806848"/>
              <a:gd name="connsiteX3147" fmla="*/ 3868586 w 8978749"/>
              <a:gd name="connsiteY3147" fmla="*/ 2316060 h 4806848"/>
              <a:gd name="connsiteX3148" fmla="*/ 2368502 w 8978749"/>
              <a:gd name="connsiteY3148" fmla="*/ 2257322 h 4806848"/>
              <a:gd name="connsiteX3149" fmla="*/ 2427240 w 8978749"/>
              <a:gd name="connsiteY3149" fmla="*/ 2257322 h 4806848"/>
              <a:gd name="connsiteX3150" fmla="*/ 2427240 w 8978749"/>
              <a:gd name="connsiteY3150" fmla="*/ 2316060 h 4806848"/>
              <a:gd name="connsiteX3151" fmla="*/ 2368502 w 8978749"/>
              <a:gd name="connsiteY3151" fmla="*/ 2316060 h 4806848"/>
              <a:gd name="connsiteX3152" fmla="*/ 7183286 w 8978749"/>
              <a:gd name="connsiteY3152" fmla="*/ 2179535 h 4806848"/>
              <a:gd name="connsiteX3153" fmla="*/ 7242024 w 8978749"/>
              <a:gd name="connsiteY3153" fmla="*/ 2179535 h 4806848"/>
              <a:gd name="connsiteX3154" fmla="*/ 7242024 w 8978749"/>
              <a:gd name="connsiteY3154" fmla="*/ 2238273 h 4806848"/>
              <a:gd name="connsiteX3155" fmla="*/ 7183286 w 8978749"/>
              <a:gd name="connsiteY3155" fmla="*/ 2238273 h 4806848"/>
              <a:gd name="connsiteX3156" fmla="*/ 7105499 w 8978749"/>
              <a:gd name="connsiteY3156" fmla="*/ 2179535 h 4806848"/>
              <a:gd name="connsiteX3157" fmla="*/ 7162649 w 8978749"/>
              <a:gd name="connsiteY3157" fmla="*/ 2179535 h 4806848"/>
              <a:gd name="connsiteX3158" fmla="*/ 7162649 w 8978749"/>
              <a:gd name="connsiteY3158" fmla="*/ 2238273 h 4806848"/>
              <a:gd name="connsiteX3159" fmla="*/ 7105499 w 8978749"/>
              <a:gd name="connsiteY3159" fmla="*/ 2238273 h 4806848"/>
              <a:gd name="connsiteX3160" fmla="*/ 7026124 w 8978749"/>
              <a:gd name="connsiteY3160" fmla="*/ 2179535 h 4806848"/>
              <a:gd name="connsiteX3161" fmla="*/ 7084862 w 8978749"/>
              <a:gd name="connsiteY3161" fmla="*/ 2179535 h 4806848"/>
              <a:gd name="connsiteX3162" fmla="*/ 7084862 w 8978749"/>
              <a:gd name="connsiteY3162" fmla="*/ 2238273 h 4806848"/>
              <a:gd name="connsiteX3163" fmla="*/ 7026124 w 8978749"/>
              <a:gd name="connsiteY3163" fmla="*/ 2238273 h 4806848"/>
              <a:gd name="connsiteX3164" fmla="*/ 6946749 w 8978749"/>
              <a:gd name="connsiteY3164" fmla="*/ 2179535 h 4806848"/>
              <a:gd name="connsiteX3165" fmla="*/ 7005487 w 8978749"/>
              <a:gd name="connsiteY3165" fmla="*/ 2179535 h 4806848"/>
              <a:gd name="connsiteX3166" fmla="*/ 7005487 w 8978749"/>
              <a:gd name="connsiteY3166" fmla="*/ 2238273 h 4806848"/>
              <a:gd name="connsiteX3167" fmla="*/ 6946749 w 8978749"/>
              <a:gd name="connsiteY3167" fmla="*/ 2238273 h 4806848"/>
              <a:gd name="connsiteX3168" fmla="*/ 6867374 w 8978749"/>
              <a:gd name="connsiteY3168" fmla="*/ 2179535 h 4806848"/>
              <a:gd name="connsiteX3169" fmla="*/ 6926112 w 8978749"/>
              <a:gd name="connsiteY3169" fmla="*/ 2179535 h 4806848"/>
              <a:gd name="connsiteX3170" fmla="*/ 6926112 w 8978749"/>
              <a:gd name="connsiteY3170" fmla="*/ 2238273 h 4806848"/>
              <a:gd name="connsiteX3171" fmla="*/ 6867374 w 8978749"/>
              <a:gd name="connsiteY3171" fmla="*/ 2238273 h 4806848"/>
              <a:gd name="connsiteX3172" fmla="*/ 6789586 w 8978749"/>
              <a:gd name="connsiteY3172" fmla="*/ 2179535 h 4806848"/>
              <a:gd name="connsiteX3173" fmla="*/ 6846736 w 8978749"/>
              <a:gd name="connsiteY3173" fmla="*/ 2179535 h 4806848"/>
              <a:gd name="connsiteX3174" fmla="*/ 6846736 w 8978749"/>
              <a:gd name="connsiteY3174" fmla="*/ 2238273 h 4806848"/>
              <a:gd name="connsiteX3175" fmla="*/ 6789586 w 8978749"/>
              <a:gd name="connsiteY3175" fmla="*/ 2238273 h 4806848"/>
              <a:gd name="connsiteX3176" fmla="*/ 6710211 w 8978749"/>
              <a:gd name="connsiteY3176" fmla="*/ 2179535 h 4806848"/>
              <a:gd name="connsiteX3177" fmla="*/ 6768949 w 8978749"/>
              <a:gd name="connsiteY3177" fmla="*/ 2179535 h 4806848"/>
              <a:gd name="connsiteX3178" fmla="*/ 6768949 w 8978749"/>
              <a:gd name="connsiteY3178" fmla="*/ 2238273 h 4806848"/>
              <a:gd name="connsiteX3179" fmla="*/ 6710211 w 8978749"/>
              <a:gd name="connsiteY3179" fmla="*/ 2238273 h 4806848"/>
              <a:gd name="connsiteX3180" fmla="*/ 6630836 w 8978749"/>
              <a:gd name="connsiteY3180" fmla="*/ 2179535 h 4806848"/>
              <a:gd name="connsiteX3181" fmla="*/ 6689574 w 8978749"/>
              <a:gd name="connsiteY3181" fmla="*/ 2179535 h 4806848"/>
              <a:gd name="connsiteX3182" fmla="*/ 6689574 w 8978749"/>
              <a:gd name="connsiteY3182" fmla="*/ 2238273 h 4806848"/>
              <a:gd name="connsiteX3183" fmla="*/ 6630836 w 8978749"/>
              <a:gd name="connsiteY3183" fmla="*/ 2238273 h 4806848"/>
              <a:gd name="connsiteX3184" fmla="*/ 6551461 w 8978749"/>
              <a:gd name="connsiteY3184" fmla="*/ 2179535 h 4806848"/>
              <a:gd name="connsiteX3185" fmla="*/ 6610199 w 8978749"/>
              <a:gd name="connsiteY3185" fmla="*/ 2179535 h 4806848"/>
              <a:gd name="connsiteX3186" fmla="*/ 6610199 w 8978749"/>
              <a:gd name="connsiteY3186" fmla="*/ 2238273 h 4806848"/>
              <a:gd name="connsiteX3187" fmla="*/ 6551461 w 8978749"/>
              <a:gd name="connsiteY3187" fmla="*/ 2238273 h 4806848"/>
              <a:gd name="connsiteX3188" fmla="*/ 6473674 w 8978749"/>
              <a:gd name="connsiteY3188" fmla="*/ 2179535 h 4806848"/>
              <a:gd name="connsiteX3189" fmla="*/ 6530824 w 8978749"/>
              <a:gd name="connsiteY3189" fmla="*/ 2179535 h 4806848"/>
              <a:gd name="connsiteX3190" fmla="*/ 6530824 w 8978749"/>
              <a:gd name="connsiteY3190" fmla="*/ 2238273 h 4806848"/>
              <a:gd name="connsiteX3191" fmla="*/ 6473674 w 8978749"/>
              <a:gd name="connsiteY3191" fmla="*/ 2238273 h 4806848"/>
              <a:gd name="connsiteX3192" fmla="*/ 6394299 w 8978749"/>
              <a:gd name="connsiteY3192" fmla="*/ 2179535 h 4806848"/>
              <a:gd name="connsiteX3193" fmla="*/ 6453037 w 8978749"/>
              <a:gd name="connsiteY3193" fmla="*/ 2179535 h 4806848"/>
              <a:gd name="connsiteX3194" fmla="*/ 6453037 w 8978749"/>
              <a:gd name="connsiteY3194" fmla="*/ 2238273 h 4806848"/>
              <a:gd name="connsiteX3195" fmla="*/ 6394299 w 8978749"/>
              <a:gd name="connsiteY3195" fmla="*/ 2238273 h 4806848"/>
              <a:gd name="connsiteX3196" fmla="*/ 6314924 w 8978749"/>
              <a:gd name="connsiteY3196" fmla="*/ 2179535 h 4806848"/>
              <a:gd name="connsiteX3197" fmla="*/ 6373662 w 8978749"/>
              <a:gd name="connsiteY3197" fmla="*/ 2179535 h 4806848"/>
              <a:gd name="connsiteX3198" fmla="*/ 6373662 w 8978749"/>
              <a:gd name="connsiteY3198" fmla="*/ 2238273 h 4806848"/>
              <a:gd name="connsiteX3199" fmla="*/ 6314924 w 8978749"/>
              <a:gd name="connsiteY3199" fmla="*/ 2238273 h 4806848"/>
              <a:gd name="connsiteX3200" fmla="*/ 6235549 w 8978749"/>
              <a:gd name="connsiteY3200" fmla="*/ 2179535 h 4806848"/>
              <a:gd name="connsiteX3201" fmla="*/ 6294287 w 8978749"/>
              <a:gd name="connsiteY3201" fmla="*/ 2179535 h 4806848"/>
              <a:gd name="connsiteX3202" fmla="*/ 6294287 w 8978749"/>
              <a:gd name="connsiteY3202" fmla="*/ 2238273 h 4806848"/>
              <a:gd name="connsiteX3203" fmla="*/ 6235549 w 8978749"/>
              <a:gd name="connsiteY3203" fmla="*/ 2238273 h 4806848"/>
              <a:gd name="connsiteX3204" fmla="*/ 6157761 w 8978749"/>
              <a:gd name="connsiteY3204" fmla="*/ 2179535 h 4806848"/>
              <a:gd name="connsiteX3205" fmla="*/ 6214911 w 8978749"/>
              <a:gd name="connsiteY3205" fmla="*/ 2179535 h 4806848"/>
              <a:gd name="connsiteX3206" fmla="*/ 6214911 w 8978749"/>
              <a:gd name="connsiteY3206" fmla="*/ 2238273 h 4806848"/>
              <a:gd name="connsiteX3207" fmla="*/ 6157761 w 8978749"/>
              <a:gd name="connsiteY3207" fmla="*/ 2238273 h 4806848"/>
              <a:gd name="connsiteX3208" fmla="*/ 6078386 w 8978749"/>
              <a:gd name="connsiteY3208" fmla="*/ 2179535 h 4806848"/>
              <a:gd name="connsiteX3209" fmla="*/ 6137124 w 8978749"/>
              <a:gd name="connsiteY3209" fmla="*/ 2179535 h 4806848"/>
              <a:gd name="connsiteX3210" fmla="*/ 6137124 w 8978749"/>
              <a:gd name="connsiteY3210" fmla="*/ 2238273 h 4806848"/>
              <a:gd name="connsiteX3211" fmla="*/ 6078386 w 8978749"/>
              <a:gd name="connsiteY3211" fmla="*/ 2238273 h 4806848"/>
              <a:gd name="connsiteX3212" fmla="*/ 5999011 w 8978749"/>
              <a:gd name="connsiteY3212" fmla="*/ 2179535 h 4806848"/>
              <a:gd name="connsiteX3213" fmla="*/ 6057749 w 8978749"/>
              <a:gd name="connsiteY3213" fmla="*/ 2179535 h 4806848"/>
              <a:gd name="connsiteX3214" fmla="*/ 6057749 w 8978749"/>
              <a:gd name="connsiteY3214" fmla="*/ 2238273 h 4806848"/>
              <a:gd name="connsiteX3215" fmla="*/ 5999011 w 8978749"/>
              <a:gd name="connsiteY3215" fmla="*/ 2238273 h 4806848"/>
              <a:gd name="connsiteX3216" fmla="*/ 5921224 w 8978749"/>
              <a:gd name="connsiteY3216" fmla="*/ 2179535 h 4806848"/>
              <a:gd name="connsiteX3217" fmla="*/ 5978374 w 8978749"/>
              <a:gd name="connsiteY3217" fmla="*/ 2179535 h 4806848"/>
              <a:gd name="connsiteX3218" fmla="*/ 5978374 w 8978749"/>
              <a:gd name="connsiteY3218" fmla="*/ 2238273 h 4806848"/>
              <a:gd name="connsiteX3219" fmla="*/ 5921224 w 8978749"/>
              <a:gd name="connsiteY3219" fmla="*/ 2238273 h 4806848"/>
              <a:gd name="connsiteX3220" fmla="*/ 5841849 w 8978749"/>
              <a:gd name="connsiteY3220" fmla="*/ 2179535 h 4806848"/>
              <a:gd name="connsiteX3221" fmla="*/ 5900587 w 8978749"/>
              <a:gd name="connsiteY3221" fmla="*/ 2179535 h 4806848"/>
              <a:gd name="connsiteX3222" fmla="*/ 5900587 w 8978749"/>
              <a:gd name="connsiteY3222" fmla="*/ 2238273 h 4806848"/>
              <a:gd name="connsiteX3223" fmla="*/ 5841849 w 8978749"/>
              <a:gd name="connsiteY3223" fmla="*/ 2238273 h 4806848"/>
              <a:gd name="connsiteX3224" fmla="*/ 5762474 w 8978749"/>
              <a:gd name="connsiteY3224" fmla="*/ 2179535 h 4806848"/>
              <a:gd name="connsiteX3225" fmla="*/ 5821212 w 8978749"/>
              <a:gd name="connsiteY3225" fmla="*/ 2179535 h 4806848"/>
              <a:gd name="connsiteX3226" fmla="*/ 5821212 w 8978749"/>
              <a:gd name="connsiteY3226" fmla="*/ 2238273 h 4806848"/>
              <a:gd name="connsiteX3227" fmla="*/ 5762474 w 8978749"/>
              <a:gd name="connsiteY3227" fmla="*/ 2238273 h 4806848"/>
              <a:gd name="connsiteX3228" fmla="*/ 5684686 w 8978749"/>
              <a:gd name="connsiteY3228" fmla="*/ 2179535 h 4806848"/>
              <a:gd name="connsiteX3229" fmla="*/ 5741836 w 8978749"/>
              <a:gd name="connsiteY3229" fmla="*/ 2179535 h 4806848"/>
              <a:gd name="connsiteX3230" fmla="*/ 5741836 w 8978749"/>
              <a:gd name="connsiteY3230" fmla="*/ 2238273 h 4806848"/>
              <a:gd name="connsiteX3231" fmla="*/ 5684686 w 8978749"/>
              <a:gd name="connsiteY3231" fmla="*/ 2238273 h 4806848"/>
              <a:gd name="connsiteX3232" fmla="*/ 5605311 w 8978749"/>
              <a:gd name="connsiteY3232" fmla="*/ 2179535 h 4806848"/>
              <a:gd name="connsiteX3233" fmla="*/ 5664049 w 8978749"/>
              <a:gd name="connsiteY3233" fmla="*/ 2179535 h 4806848"/>
              <a:gd name="connsiteX3234" fmla="*/ 5664049 w 8978749"/>
              <a:gd name="connsiteY3234" fmla="*/ 2238273 h 4806848"/>
              <a:gd name="connsiteX3235" fmla="*/ 5605311 w 8978749"/>
              <a:gd name="connsiteY3235" fmla="*/ 2238273 h 4806848"/>
              <a:gd name="connsiteX3236" fmla="*/ 5446561 w 8978749"/>
              <a:gd name="connsiteY3236" fmla="*/ 2179535 h 4806848"/>
              <a:gd name="connsiteX3237" fmla="*/ 5505299 w 8978749"/>
              <a:gd name="connsiteY3237" fmla="*/ 2179535 h 4806848"/>
              <a:gd name="connsiteX3238" fmla="*/ 5505299 w 8978749"/>
              <a:gd name="connsiteY3238" fmla="*/ 2238273 h 4806848"/>
              <a:gd name="connsiteX3239" fmla="*/ 5446561 w 8978749"/>
              <a:gd name="connsiteY3239" fmla="*/ 2238273 h 4806848"/>
              <a:gd name="connsiteX3240" fmla="*/ 5368774 w 8978749"/>
              <a:gd name="connsiteY3240" fmla="*/ 2179535 h 4806848"/>
              <a:gd name="connsiteX3241" fmla="*/ 5425924 w 8978749"/>
              <a:gd name="connsiteY3241" fmla="*/ 2179535 h 4806848"/>
              <a:gd name="connsiteX3242" fmla="*/ 5425924 w 8978749"/>
              <a:gd name="connsiteY3242" fmla="*/ 2238273 h 4806848"/>
              <a:gd name="connsiteX3243" fmla="*/ 5368774 w 8978749"/>
              <a:gd name="connsiteY3243" fmla="*/ 2238273 h 4806848"/>
              <a:gd name="connsiteX3244" fmla="*/ 5289399 w 8978749"/>
              <a:gd name="connsiteY3244" fmla="*/ 2179535 h 4806848"/>
              <a:gd name="connsiteX3245" fmla="*/ 5348137 w 8978749"/>
              <a:gd name="connsiteY3245" fmla="*/ 2179535 h 4806848"/>
              <a:gd name="connsiteX3246" fmla="*/ 5348137 w 8978749"/>
              <a:gd name="connsiteY3246" fmla="*/ 2238273 h 4806848"/>
              <a:gd name="connsiteX3247" fmla="*/ 5289399 w 8978749"/>
              <a:gd name="connsiteY3247" fmla="*/ 2238273 h 4806848"/>
              <a:gd name="connsiteX3248" fmla="*/ 5210024 w 8978749"/>
              <a:gd name="connsiteY3248" fmla="*/ 2179535 h 4806848"/>
              <a:gd name="connsiteX3249" fmla="*/ 5268762 w 8978749"/>
              <a:gd name="connsiteY3249" fmla="*/ 2179535 h 4806848"/>
              <a:gd name="connsiteX3250" fmla="*/ 5268762 w 8978749"/>
              <a:gd name="connsiteY3250" fmla="*/ 2238273 h 4806848"/>
              <a:gd name="connsiteX3251" fmla="*/ 5210024 w 8978749"/>
              <a:gd name="connsiteY3251" fmla="*/ 2238273 h 4806848"/>
              <a:gd name="connsiteX3252" fmla="*/ 5052861 w 8978749"/>
              <a:gd name="connsiteY3252" fmla="*/ 2179535 h 4806848"/>
              <a:gd name="connsiteX3253" fmla="*/ 5110011 w 8978749"/>
              <a:gd name="connsiteY3253" fmla="*/ 2179535 h 4806848"/>
              <a:gd name="connsiteX3254" fmla="*/ 5110011 w 8978749"/>
              <a:gd name="connsiteY3254" fmla="*/ 2238273 h 4806848"/>
              <a:gd name="connsiteX3255" fmla="*/ 5052861 w 8978749"/>
              <a:gd name="connsiteY3255" fmla="*/ 2238273 h 4806848"/>
              <a:gd name="connsiteX3256" fmla="*/ 4973486 w 8978749"/>
              <a:gd name="connsiteY3256" fmla="*/ 2179535 h 4806848"/>
              <a:gd name="connsiteX3257" fmla="*/ 5030636 w 8978749"/>
              <a:gd name="connsiteY3257" fmla="*/ 2179535 h 4806848"/>
              <a:gd name="connsiteX3258" fmla="*/ 5030636 w 8978749"/>
              <a:gd name="connsiteY3258" fmla="*/ 2238273 h 4806848"/>
              <a:gd name="connsiteX3259" fmla="*/ 4973486 w 8978749"/>
              <a:gd name="connsiteY3259" fmla="*/ 2238273 h 4806848"/>
              <a:gd name="connsiteX3260" fmla="*/ 4894111 w 8978749"/>
              <a:gd name="connsiteY3260" fmla="*/ 2179535 h 4806848"/>
              <a:gd name="connsiteX3261" fmla="*/ 4952849 w 8978749"/>
              <a:gd name="connsiteY3261" fmla="*/ 2179535 h 4806848"/>
              <a:gd name="connsiteX3262" fmla="*/ 4952849 w 8978749"/>
              <a:gd name="connsiteY3262" fmla="*/ 2238273 h 4806848"/>
              <a:gd name="connsiteX3263" fmla="*/ 4894111 w 8978749"/>
              <a:gd name="connsiteY3263" fmla="*/ 2238273 h 4806848"/>
              <a:gd name="connsiteX3264" fmla="*/ 4814736 w 8978749"/>
              <a:gd name="connsiteY3264" fmla="*/ 2179535 h 4806848"/>
              <a:gd name="connsiteX3265" fmla="*/ 4873474 w 8978749"/>
              <a:gd name="connsiteY3265" fmla="*/ 2179535 h 4806848"/>
              <a:gd name="connsiteX3266" fmla="*/ 4873474 w 8978749"/>
              <a:gd name="connsiteY3266" fmla="*/ 2238273 h 4806848"/>
              <a:gd name="connsiteX3267" fmla="*/ 4814736 w 8978749"/>
              <a:gd name="connsiteY3267" fmla="*/ 2238273 h 4806848"/>
              <a:gd name="connsiteX3268" fmla="*/ 4736948 w 8978749"/>
              <a:gd name="connsiteY3268" fmla="*/ 2179535 h 4806848"/>
              <a:gd name="connsiteX3269" fmla="*/ 4794098 w 8978749"/>
              <a:gd name="connsiteY3269" fmla="*/ 2179535 h 4806848"/>
              <a:gd name="connsiteX3270" fmla="*/ 4794098 w 8978749"/>
              <a:gd name="connsiteY3270" fmla="*/ 2238273 h 4806848"/>
              <a:gd name="connsiteX3271" fmla="*/ 4736948 w 8978749"/>
              <a:gd name="connsiteY3271" fmla="*/ 2238273 h 4806848"/>
              <a:gd name="connsiteX3272" fmla="*/ 4657573 w 8978749"/>
              <a:gd name="connsiteY3272" fmla="*/ 2179535 h 4806848"/>
              <a:gd name="connsiteX3273" fmla="*/ 4716311 w 8978749"/>
              <a:gd name="connsiteY3273" fmla="*/ 2179535 h 4806848"/>
              <a:gd name="connsiteX3274" fmla="*/ 4716311 w 8978749"/>
              <a:gd name="connsiteY3274" fmla="*/ 2238273 h 4806848"/>
              <a:gd name="connsiteX3275" fmla="*/ 4657573 w 8978749"/>
              <a:gd name="connsiteY3275" fmla="*/ 2238273 h 4806848"/>
              <a:gd name="connsiteX3276" fmla="*/ 4578198 w 8978749"/>
              <a:gd name="connsiteY3276" fmla="*/ 2179535 h 4806848"/>
              <a:gd name="connsiteX3277" fmla="*/ 4636936 w 8978749"/>
              <a:gd name="connsiteY3277" fmla="*/ 2179535 h 4806848"/>
              <a:gd name="connsiteX3278" fmla="*/ 4636936 w 8978749"/>
              <a:gd name="connsiteY3278" fmla="*/ 2238273 h 4806848"/>
              <a:gd name="connsiteX3279" fmla="*/ 4578198 w 8978749"/>
              <a:gd name="connsiteY3279" fmla="*/ 2238273 h 4806848"/>
              <a:gd name="connsiteX3280" fmla="*/ 4498823 w 8978749"/>
              <a:gd name="connsiteY3280" fmla="*/ 2179535 h 4806848"/>
              <a:gd name="connsiteX3281" fmla="*/ 4557561 w 8978749"/>
              <a:gd name="connsiteY3281" fmla="*/ 2179535 h 4806848"/>
              <a:gd name="connsiteX3282" fmla="*/ 4557561 w 8978749"/>
              <a:gd name="connsiteY3282" fmla="*/ 2238273 h 4806848"/>
              <a:gd name="connsiteX3283" fmla="*/ 4498823 w 8978749"/>
              <a:gd name="connsiteY3283" fmla="*/ 2238273 h 4806848"/>
              <a:gd name="connsiteX3284" fmla="*/ 4421036 w 8978749"/>
              <a:gd name="connsiteY3284" fmla="*/ 2179535 h 4806848"/>
              <a:gd name="connsiteX3285" fmla="*/ 4479774 w 8978749"/>
              <a:gd name="connsiteY3285" fmla="*/ 2179535 h 4806848"/>
              <a:gd name="connsiteX3286" fmla="*/ 4479774 w 8978749"/>
              <a:gd name="connsiteY3286" fmla="*/ 2238273 h 4806848"/>
              <a:gd name="connsiteX3287" fmla="*/ 4421036 w 8978749"/>
              <a:gd name="connsiteY3287" fmla="*/ 2238273 h 4806848"/>
              <a:gd name="connsiteX3288" fmla="*/ 4341661 w 8978749"/>
              <a:gd name="connsiteY3288" fmla="*/ 2179535 h 4806848"/>
              <a:gd name="connsiteX3289" fmla="*/ 4400399 w 8978749"/>
              <a:gd name="connsiteY3289" fmla="*/ 2179535 h 4806848"/>
              <a:gd name="connsiteX3290" fmla="*/ 4400399 w 8978749"/>
              <a:gd name="connsiteY3290" fmla="*/ 2238273 h 4806848"/>
              <a:gd name="connsiteX3291" fmla="*/ 4341661 w 8978749"/>
              <a:gd name="connsiteY3291" fmla="*/ 2238273 h 4806848"/>
              <a:gd name="connsiteX3292" fmla="*/ 4262286 w 8978749"/>
              <a:gd name="connsiteY3292" fmla="*/ 2179535 h 4806848"/>
              <a:gd name="connsiteX3293" fmla="*/ 4321024 w 8978749"/>
              <a:gd name="connsiteY3293" fmla="*/ 2179535 h 4806848"/>
              <a:gd name="connsiteX3294" fmla="*/ 4321024 w 8978749"/>
              <a:gd name="connsiteY3294" fmla="*/ 2238273 h 4806848"/>
              <a:gd name="connsiteX3295" fmla="*/ 4262286 w 8978749"/>
              <a:gd name="connsiteY3295" fmla="*/ 2238273 h 4806848"/>
              <a:gd name="connsiteX3296" fmla="*/ 4184498 w 8978749"/>
              <a:gd name="connsiteY3296" fmla="*/ 2179535 h 4806848"/>
              <a:gd name="connsiteX3297" fmla="*/ 4241648 w 8978749"/>
              <a:gd name="connsiteY3297" fmla="*/ 2179535 h 4806848"/>
              <a:gd name="connsiteX3298" fmla="*/ 4241648 w 8978749"/>
              <a:gd name="connsiteY3298" fmla="*/ 2238273 h 4806848"/>
              <a:gd name="connsiteX3299" fmla="*/ 4184498 w 8978749"/>
              <a:gd name="connsiteY3299" fmla="*/ 2238273 h 4806848"/>
              <a:gd name="connsiteX3300" fmla="*/ 4105123 w 8978749"/>
              <a:gd name="connsiteY3300" fmla="*/ 2179535 h 4806848"/>
              <a:gd name="connsiteX3301" fmla="*/ 4163861 w 8978749"/>
              <a:gd name="connsiteY3301" fmla="*/ 2179535 h 4806848"/>
              <a:gd name="connsiteX3302" fmla="*/ 4163861 w 8978749"/>
              <a:gd name="connsiteY3302" fmla="*/ 2238273 h 4806848"/>
              <a:gd name="connsiteX3303" fmla="*/ 4105123 w 8978749"/>
              <a:gd name="connsiteY3303" fmla="*/ 2238273 h 4806848"/>
              <a:gd name="connsiteX3304" fmla="*/ 4025748 w 8978749"/>
              <a:gd name="connsiteY3304" fmla="*/ 2179535 h 4806848"/>
              <a:gd name="connsiteX3305" fmla="*/ 4084486 w 8978749"/>
              <a:gd name="connsiteY3305" fmla="*/ 2179535 h 4806848"/>
              <a:gd name="connsiteX3306" fmla="*/ 4084486 w 8978749"/>
              <a:gd name="connsiteY3306" fmla="*/ 2238273 h 4806848"/>
              <a:gd name="connsiteX3307" fmla="*/ 4025748 w 8978749"/>
              <a:gd name="connsiteY3307" fmla="*/ 2238273 h 4806848"/>
              <a:gd name="connsiteX3308" fmla="*/ 3947961 w 8978749"/>
              <a:gd name="connsiteY3308" fmla="*/ 2179535 h 4806848"/>
              <a:gd name="connsiteX3309" fmla="*/ 4005111 w 8978749"/>
              <a:gd name="connsiteY3309" fmla="*/ 2179535 h 4806848"/>
              <a:gd name="connsiteX3310" fmla="*/ 4005111 w 8978749"/>
              <a:gd name="connsiteY3310" fmla="*/ 2238273 h 4806848"/>
              <a:gd name="connsiteX3311" fmla="*/ 3947961 w 8978749"/>
              <a:gd name="connsiteY3311" fmla="*/ 2238273 h 4806848"/>
              <a:gd name="connsiteX3312" fmla="*/ 2289129 w 8978749"/>
              <a:gd name="connsiteY3312" fmla="*/ 2179535 h 4806848"/>
              <a:gd name="connsiteX3313" fmla="*/ 2347868 w 8978749"/>
              <a:gd name="connsiteY3313" fmla="*/ 2179535 h 4806848"/>
              <a:gd name="connsiteX3314" fmla="*/ 2347868 w 8978749"/>
              <a:gd name="connsiteY3314" fmla="*/ 2238273 h 4806848"/>
              <a:gd name="connsiteX3315" fmla="*/ 2289129 w 8978749"/>
              <a:gd name="connsiteY3315" fmla="*/ 2238273 h 4806848"/>
              <a:gd name="connsiteX3316" fmla="*/ 2209751 w 8978749"/>
              <a:gd name="connsiteY3316" fmla="*/ 2179535 h 4806848"/>
              <a:gd name="connsiteX3317" fmla="*/ 2268492 w 8978749"/>
              <a:gd name="connsiteY3317" fmla="*/ 2179535 h 4806848"/>
              <a:gd name="connsiteX3318" fmla="*/ 2268492 w 8978749"/>
              <a:gd name="connsiteY3318" fmla="*/ 2238273 h 4806848"/>
              <a:gd name="connsiteX3319" fmla="*/ 2209751 w 8978749"/>
              <a:gd name="connsiteY3319" fmla="*/ 2238273 h 4806848"/>
              <a:gd name="connsiteX3320" fmla="*/ 1736685 w 8978749"/>
              <a:gd name="connsiteY3320" fmla="*/ 2179535 h 4806848"/>
              <a:gd name="connsiteX3321" fmla="*/ 1795430 w 8978749"/>
              <a:gd name="connsiteY3321" fmla="*/ 2179535 h 4806848"/>
              <a:gd name="connsiteX3322" fmla="*/ 1795430 w 8978749"/>
              <a:gd name="connsiteY3322" fmla="*/ 2238273 h 4806848"/>
              <a:gd name="connsiteX3323" fmla="*/ 1736685 w 8978749"/>
              <a:gd name="connsiteY3323" fmla="*/ 2238273 h 4806848"/>
              <a:gd name="connsiteX3324" fmla="*/ 1657305 w 8978749"/>
              <a:gd name="connsiteY3324" fmla="*/ 2179535 h 4806848"/>
              <a:gd name="connsiteX3325" fmla="*/ 1716046 w 8978749"/>
              <a:gd name="connsiteY3325" fmla="*/ 2179535 h 4806848"/>
              <a:gd name="connsiteX3326" fmla="*/ 1716046 w 8978749"/>
              <a:gd name="connsiteY3326" fmla="*/ 2238273 h 4806848"/>
              <a:gd name="connsiteX3327" fmla="*/ 1657305 w 8978749"/>
              <a:gd name="connsiteY3327" fmla="*/ 2238273 h 4806848"/>
              <a:gd name="connsiteX3328" fmla="*/ 1577924 w 8978749"/>
              <a:gd name="connsiteY3328" fmla="*/ 2179535 h 4806848"/>
              <a:gd name="connsiteX3329" fmla="*/ 1636669 w 8978749"/>
              <a:gd name="connsiteY3329" fmla="*/ 2179535 h 4806848"/>
              <a:gd name="connsiteX3330" fmla="*/ 1636669 w 8978749"/>
              <a:gd name="connsiteY3330" fmla="*/ 2238273 h 4806848"/>
              <a:gd name="connsiteX3331" fmla="*/ 1577924 w 8978749"/>
              <a:gd name="connsiteY3331" fmla="*/ 2238273 h 4806848"/>
              <a:gd name="connsiteX3332" fmla="*/ 1420755 w 8978749"/>
              <a:gd name="connsiteY3332" fmla="*/ 2179535 h 4806848"/>
              <a:gd name="connsiteX3333" fmla="*/ 1479493 w 8978749"/>
              <a:gd name="connsiteY3333" fmla="*/ 2179535 h 4806848"/>
              <a:gd name="connsiteX3334" fmla="*/ 1479493 w 8978749"/>
              <a:gd name="connsiteY3334" fmla="*/ 2238273 h 4806848"/>
              <a:gd name="connsiteX3335" fmla="*/ 1420755 w 8978749"/>
              <a:gd name="connsiteY3335" fmla="*/ 2238273 h 4806848"/>
              <a:gd name="connsiteX3336" fmla="*/ 4894111 w 8978749"/>
              <a:gd name="connsiteY3336" fmla="*/ 2101748 h 4806848"/>
              <a:gd name="connsiteX3337" fmla="*/ 4952849 w 8978749"/>
              <a:gd name="connsiteY3337" fmla="*/ 2101748 h 4806848"/>
              <a:gd name="connsiteX3338" fmla="*/ 4952849 w 8978749"/>
              <a:gd name="connsiteY3338" fmla="*/ 2160486 h 4806848"/>
              <a:gd name="connsiteX3339" fmla="*/ 4894111 w 8978749"/>
              <a:gd name="connsiteY3339" fmla="*/ 2160486 h 4806848"/>
              <a:gd name="connsiteX3340" fmla="*/ 4814736 w 8978749"/>
              <a:gd name="connsiteY3340" fmla="*/ 2101748 h 4806848"/>
              <a:gd name="connsiteX3341" fmla="*/ 4873474 w 8978749"/>
              <a:gd name="connsiteY3341" fmla="*/ 2101748 h 4806848"/>
              <a:gd name="connsiteX3342" fmla="*/ 4873474 w 8978749"/>
              <a:gd name="connsiteY3342" fmla="*/ 2160486 h 4806848"/>
              <a:gd name="connsiteX3343" fmla="*/ 4814736 w 8978749"/>
              <a:gd name="connsiteY3343" fmla="*/ 2160486 h 4806848"/>
              <a:gd name="connsiteX3344" fmla="*/ 4736948 w 8978749"/>
              <a:gd name="connsiteY3344" fmla="*/ 2101748 h 4806848"/>
              <a:gd name="connsiteX3345" fmla="*/ 4794098 w 8978749"/>
              <a:gd name="connsiteY3345" fmla="*/ 2101748 h 4806848"/>
              <a:gd name="connsiteX3346" fmla="*/ 4794098 w 8978749"/>
              <a:gd name="connsiteY3346" fmla="*/ 2160486 h 4806848"/>
              <a:gd name="connsiteX3347" fmla="*/ 4736948 w 8978749"/>
              <a:gd name="connsiteY3347" fmla="*/ 2160486 h 4806848"/>
              <a:gd name="connsiteX3348" fmla="*/ 4657573 w 8978749"/>
              <a:gd name="connsiteY3348" fmla="*/ 2101748 h 4806848"/>
              <a:gd name="connsiteX3349" fmla="*/ 4716311 w 8978749"/>
              <a:gd name="connsiteY3349" fmla="*/ 2101748 h 4806848"/>
              <a:gd name="connsiteX3350" fmla="*/ 4716311 w 8978749"/>
              <a:gd name="connsiteY3350" fmla="*/ 2160486 h 4806848"/>
              <a:gd name="connsiteX3351" fmla="*/ 4657573 w 8978749"/>
              <a:gd name="connsiteY3351" fmla="*/ 2160486 h 4806848"/>
              <a:gd name="connsiteX3352" fmla="*/ 4578198 w 8978749"/>
              <a:gd name="connsiteY3352" fmla="*/ 2101748 h 4806848"/>
              <a:gd name="connsiteX3353" fmla="*/ 4636936 w 8978749"/>
              <a:gd name="connsiteY3353" fmla="*/ 2101748 h 4806848"/>
              <a:gd name="connsiteX3354" fmla="*/ 4636936 w 8978749"/>
              <a:gd name="connsiteY3354" fmla="*/ 2160486 h 4806848"/>
              <a:gd name="connsiteX3355" fmla="*/ 4578198 w 8978749"/>
              <a:gd name="connsiteY3355" fmla="*/ 2160486 h 4806848"/>
              <a:gd name="connsiteX3356" fmla="*/ 4498823 w 8978749"/>
              <a:gd name="connsiteY3356" fmla="*/ 2101748 h 4806848"/>
              <a:gd name="connsiteX3357" fmla="*/ 4557561 w 8978749"/>
              <a:gd name="connsiteY3357" fmla="*/ 2101748 h 4806848"/>
              <a:gd name="connsiteX3358" fmla="*/ 4557561 w 8978749"/>
              <a:gd name="connsiteY3358" fmla="*/ 2160486 h 4806848"/>
              <a:gd name="connsiteX3359" fmla="*/ 4498823 w 8978749"/>
              <a:gd name="connsiteY3359" fmla="*/ 2160486 h 4806848"/>
              <a:gd name="connsiteX3360" fmla="*/ 4421036 w 8978749"/>
              <a:gd name="connsiteY3360" fmla="*/ 2101748 h 4806848"/>
              <a:gd name="connsiteX3361" fmla="*/ 4479774 w 8978749"/>
              <a:gd name="connsiteY3361" fmla="*/ 2101748 h 4806848"/>
              <a:gd name="connsiteX3362" fmla="*/ 4479774 w 8978749"/>
              <a:gd name="connsiteY3362" fmla="*/ 2160486 h 4806848"/>
              <a:gd name="connsiteX3363" fmla="*/ 4421036 w 8978749"/>
              <a:gd name="connsiteY3363" fmla="*/ 2160486 h 4806848"/>
              <a:gd name="connsiteX3364" fmla="*/ 4341661 w 8978749"/>
              <a:gd name="connsiteY3364" fmla="*/ 2101748 h 4806848"/>
              <a:gd name="connsiteX3365" fmla="*/ 4400399 w 8978749"/>
              <a:gd name="connsiteY3365" fmla="*/ 2101748 h 4806848"/>
              <a:gd name="connsiteX3366" fmla="*/ 4400399 w 8978749"/>
              <a:gd name="connsiteY3366" fmla="*/ 2160486 h 4806848"/>
              <a:gd name="connsiteX3367" fmla="*/ 4341661 w 8978749"/>
              <a:gd name="connsiteY3367" fmla="*/ 2160486 h 4806848"/>
              <a:gd name="connsiteX3368" fmla="*/ 4262286 w 8978749"/>
              <a:gd name="connsiteY3368" fmla="*/ 2101748 h 4806848"/>
              <a:gd name="connsiteX3369" fmla="*/ 4321024 w 8978749"/>
              <a:gd name="connsiteY3369" fmla="*/ 2101748 h 4806848"/>
              <a:gd name="connsiteX3370" fmla="*/ 4321024 w 8978749"/>
              <a:gd name="connsiteY3370" fmla="*/ 2160486 h 4806848"/>
              <a:gd name="connsiteX3371" fmla="*/ 4262286 w 8978749"/>
              <a:gd name="connsiteY3371" fmla="*/ 2160486 h 4806848"/>
              <a:gd name="connsiteX3372" fmla="*/ 4184498 w 8978749"/>
              <a:gd name="connsiteY3372" fmla="*/ 2101748 h 4806848"/>
              <a:gd name="connsiteX3373" fmla="*/ 4241648 w 8978749"/>
              <a:gd name="connsiteY3373" fmla="*/ 2101748 h 4806848"/>
              <a:gd name="connsiteX3374" fmla="*/ 4241648 w 8978749"/>
              <a:gd name="connsiteY3374" fmla="*/ 2160486 h 4806848"/>
              <a:gd name="connsiteX3375" fmla="*/ 4184498 w 8978749"/>
              <a:gd name="connsiteY3375" fmla="*/ 2160486 h 4806848"/>
              <a:gd name="connsiteX3376" fmla="*/ 4105123 w 8978749"/>
              <a:gd name="connsiteY3376" fmla="*/ 2101748 h 4806848"/>
              <a:gd name="connsiteX3377" fmla="*/ 4163861 w 8978749"/>
              <a:gd name="connsiteY3377" fmla="*/ 2101748 h 4806848"/>
              <a:gd name="connsiteX3378" fmla="*/ 4163861 w 8978749"/>
              <a:gd name="connsiteY3378" fmla="*/ 2160486 h 4806848"/>
              <a:gd name="connsiteX3379" fmla="*/ 4105123 w 8978749"/>
              <a:gd name="connsiteY3379" fmla="*/ 2160486 h 4806848"/>
              <a:gd name="connsiteX3380" fmla="*/ 4025748 w 8978749"/>
              <a:gd name="connsiteY3380" fmla="*/ 2101748 h 4806848"/>
              <a:gd name="connsiteX3381" fmla="*/ 4084486 w 8978749"/>
              <a:gd name="connsiteY3381" fmla="*/ 2101748 h 4806848"/>
              <a:gd name="connsiteX3382" fmla="*/ 4084486 w 8978749"/>
              <a:gd name="connsiteY3382" fmla="*/ 2160486 h 4806848"/>
              <a:gd name="connsiteX3383" fmla="*/ 4025748 w 8978749"/>
              <a:gd name="connsiteY3383" fmla="*/ 2160486 h 4806848"/>
              <a:gd name="connsiteX3384" fmla="*/ 3868586 w 8978749"/>
              <a:gd name="connsiteY3384" fmla="*/ 2101748 h 4806848"/>
              <a:gd name="connsiteX3385" fmla="*/ 3925736 w 8978749"/>
              <a:gd name="connsiteY3385" fmla="*/ 2101748 h 4806848"/>
              <a:gd name="connsiteX3386" fmla="*/ 3925736 w 8978749"/>
              <a:gd name="connsiteY3386" fmla="*/ 2160486 h 4806848"/>
              <a:gd name="connsiteX3387" fmla="*/ 3868586 w 8978749"/>
              <a:gd name="connsiteY3387" fmla="*/ 2160486 h 4806848"/>
              <a:gd name="connsiteX3388" fmla="*/ 2209755 w 8978749"/>
              <a:gd name="connsiteY3388" fmla="*/ 2101748 h 4806848"/>
              <a:gd name="connsiteX3389" fmla="*/ 2268495 w 8978749"/>
              <a:gd name="connsiteY3389" fmla="*/ 2101748 h 4806848"/>
              <a:gd name="connsiteX3390" fmla="*/ 2268495 w 8978749"/>
              <a:gd name="connsiteY3390" fmla="*/ 2160486 h 4806848"/>
              <a:gd name="connsiteX3391" fmla="*/ 2209755 w 8978749"/>
              <a:gd name="connsiteY3391" fmla="*/ 2160486 h 4806848"/>
              <a:gd name="connsiteX3392" fmla="*/ 2131969 w 8978749"/>
              <a:gd name="connsiteY3392" fmla="*/ 2101748 h 4806848"/>
              <a:gd name="connsiteX3393" fmla="*/ 2189120 w 8978749"/>
              <a:gd name="connsiteY3393" fmla="*/ 2101748 h 4806848"/>
              <a:gd name="connsiteX3394" fmla="*/ 2189120 w 8978749"/>
              <a:gd name="connsiteY3394" fmla="*/ 2160486 h 4806848"/>
              <a:gd name="connsiteX3395" fmla="*/ 2131969 w 8978749"/>
              <a:gd name="connsiteY3395" fmla="*/ 2160486 h 4806848"/>
              <a:gd name="connsiteX3396" fmla="*/ 1973209 w 8978749"/>
              <a:gd name="connsiteY3396" fmla="*/ 2101748 h 4806848"/>
              <a:gd name="connsiteX3397" fmla="*/ 2031951 w 8978749"/>
              <a:gd name="connsiteY3397" fmla="*/ 2101748 h 4806848"/>
              <a:gd name="connsiteX3398" fmla="*/ 2031951 w 8978749"/>
              <a:gd name="connsiteY3398" fmla="*/ 2160486 h 4806848"/>
              <a:gd name="connsiteX3399" fmla="*/ 1973209 w 8978749"/>
              <a:gd name="connsiteY3399" fmla="*/ 2160486 h 4806848"/>
              <a:gd name="connsiteX3400" fmla="*/ 1893834 w 8978749"/>
              <a:gd name="connsiteY3400" fmla="*/ 2101748 h 4806848"/>
              <a:gd name="connsiteX3401" fmla="*/ 1952570 w 8978749"/>
              <a:gd name="connsiteY3401" fmla="*/ 2101748 h 4806848"/>
              <a:gd name="connsiteX3402" fmla="*/ 1952570 w 8978749"/>
              <a:gd name="connsiteY3402" fmla="*/ 2160486 h 4806848"/>
              <a:gd name="connsiteX3403" fmla="*/ 1893834 w 8978749"/>
              <a:gd name="connsiteY3403" fmla="*/ 2160486 h 4806848"/>
              <a:gd name="connsiteX3404" fmla="*/ 1816066 w 8978749"/>
              <a:gd name="connsiteY3404" fmla="*/ 2101748 h 4806848"/>
              <a:gd name="connsiteX3405" fmla="*/ 1873202 w 8978749"/>
              <a:gd name="connsiteY3405" fmla="*/ 2101748 h 4806848"/>
              <a:gd name="connsiteX3406" fmla="*/ 1873202 w 8978749"/>
              <a:gd name="connsiteY3406" fmla="*/ 2160486 h 4806848"/>
              <a:gd name="connsiteX3407" fmla="*/ 1816066 w 8978749"/>
              <a:gd name="connsiteY3407" fmla="*/ 2160486 h 4806848"/>
              <a:gd name="connsiteX3408" fmla="*/ 1736690 w 8978749"/>
              <a:gd name="connsiteY3408" fmla="*/ 2101748 h 4806848"/>
              <a:gd name="connsiteX3409" fmla="*/ 1795435 w 8978749"/>
              <a:gd name="connsiteY3409" fmla="*/ 2101748 h 4806848"/>
              <a:gd name="connsiteX3410" fmla="*/ 1795435 w 8978749"/>
              <a:gd name="connsiteY3410" fmla="*/ 2160486 h 4806848"/>
              <a:gd name="connsiteX3411" fmla="*/ 1736690 w 8978749"/>
              <a:gd name="connsiteY3411" fmla="*/ 2160486 h 4806848"/>
              <a:gd name="connsiteX3412" fmla="*/ 1657310 w 8978749"/>
              <a:gd name="connsiteY3412" fmla="*/ 2101748 h 4806848"/>
              <a:gd name="connsiteX3413" fmla="*/ 1716051 w 8978749"/>
              <a:gd name="connsiteY3413" fmla="*/ 2101748 h 4806848"/>
              <a:gd name="connsiteX3414" fmla="*/ 1716051 w 8978749"/>
              <a:gd name="connsiteY3414" fmla="*/ 2160486 h 4806848"/>
              <a:gd name="connsiteX3415" fmla="*/ 1657310 w 8978749"/>
              <a:gd name="connsiteY3415" fmla="*/ 2160486 h 4806848"/>
              <a:gd name="connsiteX3416" fmla="*/ 1577929 w 8978749"/>
              <a:gd name="connsiteY3416" fmla="*/ 2101748 h 4806848"/>
              <a:gd name="connsiteX3417" fmla="*/ 1636673 w 8978749"/>
              <a:gd name="connsiteY3417" fmla="*/ 2101748 h 4806848"/>
              <a:gd name="connsiteX3418" fmla="*/ 1636673 w 8978749"/>
              <a:gd name="connsiteY3418" fmla="*/ 2160486 h 4806848"/>
              <a:gd name="connsiteX3419" fmla="*/ 1577929 w 8978749"/>
              <a:gd name="connsiteY3419" fmla="*/ 2160486 h 4806848"/>
              <a:gd name="connsiteX3420" fmla="*/ 1500135 w 8978749"/>
              <a:gd name="connsiteY3420" fmla="*/ 2101748 h 4806848"/>
              <a:gd name="connsiteX3421" fmla="*/ 1558880 w 8978749"/>
              <a:gd name="connsiteY3421" fmla="*/ 2101748 h 4806848"/>
              <a:gd name="connsiteX3422" fmla="*/ 1558880 w 8978749"/>
              <a:gd name="connsiteY3422" fmla="*/ 2160486 h 4806848"/>
              <a:gd name="connsiteX3423" fmla="*/ 1500135 w 8978749"/>
              <a:gd name="connsiteY3423" fmla="*/ 2160486 h 4806848"/>
              <a:gd name="connsiteX3424" fmla="*/ 7499199 w 8978749"/>
              <a:gd name="connsiteY3424" fmla="*/ 2101747 h 4806848"/>
              <a:gd name="connsiteX3425" fmla="*/ 7557937 w 8978749"/>
              <a:gd name="connsiteY3425" fmla="*/ 2101747 h 4806848"/>
              <a:gd name="connsiteX3426" fmla="*/ 7557937 w 8978749"/>
              <a:gd name="connsiteY3426" fmla="*/ 2160485 h 4806848"/>
              <a:gd name="connsiteX3427" fmla="*/ 7499199 w 8978749"/>
              <a:gd name="connsiteY3427" fmla="*/ 2160485 h 4806848"/>
              <a:gd name="connsiteX3428" fmla="*/ 7262661 w 8978749"/>
              <a:gd name="connsiteY3428" fmla="*/ 2101747 h 4806848"/>
              <a:gd name="connsiteX3429" fmla="*/ 7321399 w 8978749"/>
              <a:gd name="connsiteY3429" fmla="*/ 2101747 h 4806848"/>
              <a:gd name="connsiteX3430" fmla="*/ 7321399 w 8978749"/>
              <a:gd name="connsiteY3430" fmla="*/ 2160485 h 4806848"/>
              <a:gd name="connsiteX3431" fmla="*/ 7262661 w 8978749"/>
              <a:gd name="connsiteY3431" fmla="*/ 2160485 h 4806848"/>
              <a:gd name="connsiteX3432" fmla="*/ 7183286 w 8978749"/>
              <a:gd name="connsiteY3432" fmla="*/ 2101747 h 4806848"/>
              <a:gd name="connsiteX3433" fmla="*/ 7242024 w 8978749"/>
              <a:gd name="connsiteY3433" fmla="*/ 2101747 h 4806848"/>
              <a:gd name="connsiteX3434" fmla="*/ 7242024 w 8978749"/>
              <a:gd name="connsiteY3434" fmla="*/ 2160485 h 4806848"/>
              <a:gd name="connsiteX3435" fmla="*/ 7183286 w 8978749"/>
              <a:gd name="connsiteY3435" fmla="*/ 2160485 h 4806848"/>
              <a:gd name="connsiteX3436" fmla="*/ 7105499 w 8978749"/>
              <a:gd name="connsiteY3436" fmla="*/ 2101747 h 4806848"/>
              <a:gd name="connsiteX3437" fmla="*/ 7162649 w 8978749"/>
              <a:gd name="connsiteY3437" fmla="*/ 2101747 h 4806848"/>
              <a:gd name="connsiteX3438" fmla="*/ 7162649 w 8978749"/>
              <a:gd name="connsiteY3438" fmla="*/ 2160485 h 4806848"/>
              <a:gd name="connsiteX3439" fmla="*/ 7105499 w 8978749"/>
              <a:gd name="connsiteY3439" fmla="*/ 2160485 h 4806848"/>
              <a:gd name="connsiteX3440" fmla="*/ 7026124 w 8978749"/>
              <a:gd name="connsiteY3440" fmla="*/ 2101747 h 4806848"/>
              <a:gd name="connsiteX3441" fmla="*/ 7084862 w 8978749"/>
              <a:gd name="connsiteY3441" fmla="*/ 2101747 h 4806848"/>
              <a:gd name="connsiteX3442" fmla="*/ 7084862 w 8978749"/>
              <a:gd name="connsiteY3442" fmla="*/ 2160485 h 4806848"/>
              <a:gd name="connsiteX3443" fmla="*/ 7026124 w 8978749"/>
              <a:gd name="connsiteY3443" fmla="*/ 2160485 h 4806848"/>
              <a:gd name="connsiteX3444" fmla="*/ 6946749 w 8978749"/>
              <a:gd name="connsiteY3444" fmla="*/ 2101747 h 4806848"/>
              <a:gd name="connsiteX3445" fmla="*/ 7005487 w 8978749"/>
              <a:gd name="connsiteY3445" fmla="*/ 2101747 h 4806848"/>
              <a:gd name="connsiteX3446" fmla="*/ 7005487 w 8978749"/>
              <a:gd name="connsiteY3446" fmla="*/ 2160485 h 4806848"/>
              <a:gd name="connsiteX3447" fmla="*/ 6946749 w 8978749"/>
              <a:gd name="connsiteY3447" fmla="*/ 2160485 h 4806848"/>
              <a:gd name="connsiteX3448" fmla="*/ 6867374 w 8978749"/>
              <a:gd name="connsiteY3448" fmla="*/ 2101747 h 4806848"/>
              <a:gd name="connsiteX3449" fmla="*/ 6926112 w 8978749"/>
              <a:gd name="connsiteY3449" fmla="*/ 2101747 h 4806848"/>
              <a:gd name="connsiteX3450" fmla="*/ 6926112 w 8978749"/>
              <a:gd name="connsiteY3450" fmla="*/ 2160485 h 4806848"/>
              <a:gd name="connsiteX3451" fmla="*/ 6867374 w 8978749"/>
              <a:gd name="connsiteY3451" fmla="*/ 2160485 h 4806848"/>
              <a:gd name="connsiteX3452" fmla="*/ 6789586 w 8978749"/>
              <a:gd name="connsiteY3452" fmla="*/ 2101747 h 4806848"/>
              <a:gd name="connsiteX3453" fmla="*/ 6846736 w 8978749"/>
              <a:gd name="connsiteY3453" fmla="*/ 2101747 h 4806848"/>
              <a:gd name="connsiteX3454" fmla="*/ 6846736 w 8978749"/>
              <a:gd name="connsiteY3454" fmla="*/ 2160485 h 4806848"/>
              <a:gd name="connsiteX3455" fmla="*/ 6789586 w 8978749"/>
              <a:gd name="connsiteY3455" fmla="*/ 2160485 h 4806848"/>
              <a:gd name="connsiteX3456" fmla="*/ 6710211 w 8978749"/>
              <a:gd name="connsiteY3456" fmla="*/ 2101747 h 4806848"/>
              <a:gd name="connsiteX3457" fmla="*/ 6768949 w 8978749"/>
              <a:gd name="connsiteY3457" fmla="*/ 2101747 h 4806848"/>
              <a:gd name="connsiteX3458" fmla="*/ 6768949 w 8978749"/>
              <a:gd name="connsiteY3458" fmla="*/ 2160485 h 4806848"/>
              <a:gd name="connsiteX3459" fmla="*/ 6710211 w 8978749"/>
              <a:gd name="connsiteY3459" fmla="*/ 2160485 h 4806848"/>
              <a:gd name="connsiteX3460" fmla="*/ 6630836 w 8978749"/>
              <a:gd name="connsiteY3460" fmla="*/ 2101747 h 4806848"/>
              <a:gd name="connsiteX3461" fmla="*/ 6689574 w 8978749"/>
              <a:gd name="connsiteY3461" fmla="*/ 2101747 h 4806848"/>
              <a:gd name="connsiteX3462" fmla="*/ 6689574 w 8978749"/>
              <a:gd name="connsiteY3462" fmla="*/ 2160485 h 4806848"/>
              <a:gd name="connsiteX3463" fmla="*/ 6630836 w 8978749"/>
              <a:gd name="connsiteY3463" fmla="*/ 2160485 h 4806848"/>
              <a:gd name="connsiteX3464" fmla="*/ 6551461 w 8978749"/>
              <a:gd name="connsiteY3464" fmla="*/ 2101747 h 4806848"/>
              <a:gd name="connsiteX3465" fmla="*/ 6610199 w 8978749"/>
              <a:gd name="connsiteY3465" fmla="*/ 2101747 h 4806848"/>
              <a:gd name="connsiteX3466" fmla="*/ 6610199 w 8978749"/>
              <a:gd name="connsiteY3466" fmla="*/ 2160485 h 4806848"/>
              <a:gd name="connsiteX3467" fmla="*/ 6551461 w 8978749"/>
              <a:gd name="connsiteY3467" fmla="*/ 2160485 h 4806848"/>
              <a:gd name="connsiteX3468" fmla="*/ 6473674 w 8978749"/>
              <a:gd name="connsiteY3468" fmla="*/ 2101747 h 4806848"/>
              <a:gd name="connsiteX3469" fmla="*/ 6530824 w 8978749"/>
              <a:gd name="connsiteY3469" fmla="*/ 2101747 h 4806848"/>
              <a:gd name="connsiteX3470" fmla="*/ 6530824 w 8978749"/>
              <a:gd name="connsiteY3470" fmla="*/ 2160485 h 4806848"/>
              <a:gd name="connsiteX3471" fmla="*/ 6473674 w 8978749"/>
              <a:gd name="connsiteY3471" fmla="*/ 2160485 h 4806848"/>
              <a:gd name="connsiteX3472" fmla="*/ 6394299 w 8978749"/>
              <a:gd name="connsiteY3472" fmla="*/ 2101747 h 4806848"/>
              <a:gd name="connsiteX3473" fmla="*/ 6453037 w 8978749"/>
              <a:gd name="connsiteY3473" fmla="*/ 2101747 h 4806848"/>
              <a:gd name="connsiteX3474" fmla="*/ 6453037 w 8978749"/>
              <a:gd name="connsiteY3474" fmla="*/ 2160485 h 4806848"/>
              <a:gd name="connsiteX3475" fmla="*/ 6394299 w 8978749"/>
              <a:gd name="connsiteY3475" fmla="*/ 2160485 h 4806848"/>
              <a:gd name="connsiteX3476" fmla="*/ 6314924 w 8978749"/>
              <a:gd name="connsiteY3476" fmla="*/ 2101747 h 4806848"/>
              <a:gd name="connsiteX3477" fmla="*/ 6373662 w 8978749"/>
              <a:gd name="connsiteY3477" fmla="*/ 2101747 h 4806848"/>
              <a:gd name="connsiteX3478" fmla="*/ 6373662 w 8978749"/>
              <a:gd name="connsiteY3478" fmla="*/ 2160485 h 4806848"/>
              <a:gd name="connsiteX3479" fmla="*/ 6314924 w 8978749"/>
              <a:gd name="connsiteY3479" fmla="*/ 2160485 h 4806848"/>
              <a:gd name="connsiteX3480" fmla="*/ 6235549 w 8978749"/>
              <a:gd name="connsiteY3480" fmla="*/ 2101747 h 4806848"/>
              <a:gd name="connsiteX3481" fmla="*/ 6294287 w 8978749"/>
              <a:gd name="connsiteY3481" fmla="*/ 2101747 h 4806848"/>
              <a:gd name="connsiteX3482" fmla="*/ 6294287 w 8978749"/>
              <a:gd name="connsiteY3482" fmla="*/ 2160485 h 4806848"/>
              <a:gd name="connsiteX3483" fmla="*/ 6235549 w 8978749"/>
              <a:gd name="connsiteY3483" fmla="*/ 2160485 h 4806848"/>
              <a:gd name="connsiteX3484" fmla="*/ 6157761 w 8978749"/>
              <a:gd name="connsiteY3484" fmla="*/ 2101747 h 4806848"/>
              <a:gd name="connsiteX3485" fmla="*/ 6214911 w 8978749"/>
              <a:gd name="connsiteY3485" fmla="*/ 2101747 h 4806848"/>
              <a:gd name="connsiteX3486" fmla="*/ 6214911 w 8978749"/>
              <a:gd name="connsiteY3486" fmla="*/ 2160485 h 4806848"/>
              <a:gd name="connsiteX3487" fmla="*/ 6157761 w 8978749"/>
              <a:gd name="connsiteY3487" fmla="*/ 2160485 h 4806848"/>
              <a:gd name="connsiteX3488" fmla="*/ 6078386 w 8978749"/>
              <a:gd name="connsiteY3488" fmla="*/ 2101747 h 4806848"/>
              <a:gd name="connsiteX3489" fmla="*/ 6137124 w 8978749"/>
              <a:gd name="connsiteY3489" fmla="*/ 2101747 h 4806848"/>
              <a:gd name="connsiteX3490" fmla="*/ 6137124 w 8978749"/>
              <a:gd name="connsiteY3490" fmla="*/ 2160485 h 4806848"/>
              <a:gd name="connsiteX3491" fmla="*/ 6078386 w 8978749"/>
              <a:gd name="connsiteY3491" fmla="*/ 2160485 h 4806848"/>
              <a:gd name="connsiteX3492" fmla="*/ 5999011 w 8978749"/>
              <a:gd name="connsiteY3492" fmla="*/ 2101747 h 4806848"/>
              <a:gd name="connsiteX3493" fmla="*/ 6057749 w 8978749"/>
              <a:gd name="connsiteY3493" fmla="*/ 2101747 h 4806848"/>
              <a:gd name="connsiteX3494" fmla="*/ 6057749 w 8978749"/>
              <a:gd name="connsiteY3494" fmla="*/ 2160485 h 4806848"/>
              <a:gd name="connsiteX3495" fmla="*/ 5999011 w 8978749"/>
              <a:gd name="connsiteY3495" fmla="*/ 2160485 h 4806848"/>
              <a:gd name="connsiteX3496" fmla="*/ 5921224 w 8978749"/>
              <a:gd name="connsiteY3496" fmla="*/ 2101747 h 4806848"/>
              <a:gd name="connsiteX3497" fmla="*/ 5978374 w 8978749"/>
              <a:gd name="connsiteY3497" fmla="*/ 2101747 h 4806848"/>
              <a:gd name="connsiteX3498" fmla="*/ 5978374 w 8978749"/>
              <a:gd name="connsiteY3498" fmla="*/ 2160485 h 4806848"/>
              <a:gd name="connsiteX3499" fmla="*/ 5921224 w 8978749"/>
              <a:gd name="connsiteY3499" fmla="*/ 2160485 h 4806848"/>
              <a:gd name="connsiteX3500" fmla="*/ 5841849 w 8978749"/>
              <a:gd name="connsiteY3500" fmla="*/ 2101747 h 4806848"/>
              <a:gd name="connsiteX3501" fmla="*/ 5900587 w 8978749"/>
              <a:gd name="connsiteY3501" fmla="*/ 2101747 h 4806848"/>
              <a:gd name="connsiteX3502" fmla="*/ 5900587 w 8978749"/>
              <a:gd name="connsiteY3502" fmla="*/ 2160485 h 4806848"/>
              <a:gd name="connsiteX3503" fmla="*/ 5841849 w 8978749"/>
              <a:gd name="connsiteY3503" fmla="*/ 2160485 h 4806848"/>
              <a:gd name="connsiteX3504" fmla="*/ 5762474 w 8978749"/>
              <a:gd name="connsiteY3504" fmla="*/ 2101747 h 4806848"/>
              <a:gd name="connsiteX3505" fmla="*/ 5821212 w 8978749"/>
              <a:gd name="connsiteY3505" fmla="*/ 2101747 h 4806848"/>
              <a:gd name="connsiteX3506" fmla="*/ 5821212 w 8978749"/>
              <a:gd name="connsiteY3506" fmla="*/ 2160485 h 4806848"/>
              <a:gd name="connsiteX3507" fmla="*/ 5762474 w 8978749"/>
              <a:gd name="connsiteY3507" fmla="*/ 2160485 h 4806848"/>
              <a:gd name="connsiteX3508" fmla="*/ 5684686 w 8978749"/>
              <a:gd name="connsiteY3508" fmla="*/ 2101747 h 4806848"/>
              <a:gd name="connsiteX3509" fmla="*/ 5741836 w 8978749"/>
              <a:gd name="connsiteY3509" fmla="*/ 2101747 h 4806848"/>
              <a:gd name="connsiteX3510" fmla="*/ 5741836 w 8978749"/>
              <a:gd name="connsiteY3510" fmla="*/ 2160485 h 4806848"/>
              <a:gd name="connsiteX3511" fmla="*/ 5684686 w 8978749"/>
              <a:gd name="connsiteY3511" fmla="*/ 2160485 h 4806848"/>
              <a:gd name="connsiteX3512" fmla="*/ 5605311 w 8978749"/>
              <a:gd name="connsiteY3512" fmla="*/ 2101747 h 4806848"/>
              <a:gd name="connsiteX3513" fmla="*/ 5664049 w 8978749"/>
              <a:gd name="connsiteY3513" fmla="*/ 2101747 h 4806848"/>
              <a:gd name="connsiteX3514" fmla="*/ 5664049 w 8978749"/>
              <a:gd name="connsiteY3514" fmla="*/ 2160485 h 4806848"/>
              <a:gd name="connsiteX3515" fmla="*/ 5605311 w 8978749"/>
              <a:gd name="connsiteY3515" fmla="*/ 2160485 h 4806848"/>
              <a:gd name="connsiteX3516" fmla="*/ 5525936 w 8978749"/>
              <a:gd name="connsiteY3516" fmla="*/ 2101747 h 4806848"/>
              <a:gd name="connsiteX3517" fmla="*/ 5584674 w 8978749"/>
              <a:gd name="connsiteY3517" fmla="*/ 2101747 h 4806848"/>
              <a:gd name="connsiteX3518" fmla="*/ 5584674 w 8978749"/>
              <a:gd name="connsiteY3518" fmla="*/ 2160485 h 4806848"/>
              <a:gd name="connsiteX3519" fmla="*/ 5525936 w 8978749"/>
              <a:gd name="connsiteY3519" fmla="*/ 2160485 h 4806848"/>
              <a:gd name="connsiteX3520" fmla="*/ 5368774 w 8978749"/>
              <a:gd name="connsiteY3520" fmla="*/ 2101747 h 4806848"/>
              <a:gd name="connsiteX3521" fmla="*/ 5425924 w 8978749"/>
              <a:gd name="connsiteY3521" fmla="*/ 2101747 h 4806848"/>
              <a:gd name="connsiteX3522" fmla="*/ 5425924 w 8978749"/>
              <a:gd name="connsiteY3522" fmla="*/ 2160485 h 4806848"/>
              <a:gd name="connsiteX3523" fmla="*/ 5368774 w 8978749"/>
              <a:gd name="connsiteY3523" fmla="*/ 2160485 h 4806848"/>
              <a:gd name="connsiteX3524" fmla="*/ 5289399 w 8978749"/>
              <a:gd name="connsiteY3524" fmla="*/ 2101747 h 4806848"/>
              <a:gd name="connsiteX3525" fmla="*/ 5348137 w 8978749"/>
              <a:gd name="connsiteY3525" fmla="*/ 2101747 h 4806848"/>
              <a:gd name="connsiteX3526" fmla="*/ 5348137 w 8978749"/>
              <a:gd name="connsiteY3526" fmla="*/ 2160485 h 4806848"/>
              <a:gd name="connsiteX3527" fmla="*/ 5289399 w 8978749"/>
              <a:gd name="connsiteY3527" fmla="*/ 2160485 h 4806848"/>
              <a:gd name="connsiteX3528" fmla="*/ 5210024 w 8978749"/>
              <a:gd name="connsiteY3528" fmla="*/ 2101747 h 4806848"/>
              <a:gd name="connsiteX3529" fmla="*/ 5268762 w 8978749"/>
              <a:gd name="connsiteY3529" fmla="*/ 2101747 h 4806848"/>
              <a:gd name="connsiteX3530" fmla="*/ 5268762 w 8978749"/>
              <a:gd name="connsiteY3530" fmla="*/ 2160485 h 4806848"/>
              <a:gd name="connsiteX3531" fmla="*/ 5210024 w 8978749"/>
              <a:gd name="connsiteY3531" fmla="*/ 2160485 h 4806848"/>
              <a:gd name="connsiteX3532" fmla="*/ 5130649 w 8978749"/>
              <a:gd name="connsiteY3532" fmla="*/ 2101747 h 4806848"/>
              <a:gd name="connsiteX3533" fmla="*/ 5189387 w 8978749"/>
              <a:gd name="connsiteY3533" fmla="*/ 2101747 h 4806848"/>
              <a:gd name="connsiteX3534" fmla="*/ 5189387 w 8978749"/>
              <a:gd name="connsiteY3534" fmla="*/ 2160485 h 4806848"/>
              <a:gd name="connsiteX3535" fmla="*/ 5130649 w 8978749"/>
              <a:gd name="connsiteY3535" fmla="*/ 2160485 h 4806848"/>
              <a:gd name="connsiteX3536" fmla="*/ 5052861 w 8978749"/>
              <a:gd name="connsiteY3536" fmla="*/ 2101747 h 4806848"/>
              <a:gd name="connsiteX3537" fmla="*/ 5110011 w 8978749"/>
              <a:gd name="connsiteY3537" fmla="*/ 2101747 h 4806848"/>
              <a:gd name="connsiteX3538" fmla="*/ 5110011 w 8978749"/>
              <a:gd name="connsiteY3538" fmla="*/ 2160485 h 4806848"/>
              <a:gd name="connsiteX3539" fmla="*/ 5052861 w 8978749"/>
              <a:gd name="connsiteY3539" fmla="*/ 2160485 h 4806848"/>
              <a:gd name="connsiteX3540" fmla="*/ 4973486 w 8978749"/>
              <a:gd name="connsiteY3540" fmla="*/ 2101747 h 4806848"/>
              <a:gd name="connsiteX3541" fmla="*/ 5030636 w 8978749"/>
              <a:gd name="connsiteY3541" fmla="*/ 2101747 h 4806848"/>
              <a:gd name="connsiteX3542" fmla="*/ 5030636 w 8978749"/>
              <a:gd name="connsiteY3542" fmla="*/ 2160485 h 4806848"/>
              <a:gd name="connsiteX3543" fmla="*/ 4973486 w 8978749"/>
              <a:gd name="connsiteY3543" fmla="*/ 2160485 h 4806848"/>
              <a:gd name="connsiteX3544" fmla="*/ 7499199 w 8978749"/>
              <a:gd name="connsiteY3544" fmla="*/ 2023960 h 4806848"/>
              <a:gd name="connsiteX3545" fmla="*/ 7557937 w 8978749"/>
              <a:gd name="connsiteY3545" fmla="*/ 2023960 h 4806848"/>
              <a:gd name="connsiteX3546" fmla="*/ 7557937 w 8978749"/>
              <a:gd name="connsiteY3546" fmla="*/ 2082698 h 4806848"/>
              <a:gd name="connsiteX3547" fmla="*/ 7499199 w 8978749"/>
              <a:gd name="connsiteY3547" fmla="*/ 2082698 h 4806848"/>
              <a:gd name="connsiteX3548" fmla="*/ 7262661 w 8978749"/>
              <a:gd name="connsiteY3548" fmla="*/ 2023960 h 4806848"/>
              <a:gd name="connsiteX3549" fmla="*/ 7321399 w 8978749"/>
              <a:gd name="connsiteY3549" fmla="*/ 2023960 h 4806848"/>
              <a:gd name="connsiteX3550" fmla="*/ 7321399 w 8978749"/>
              <a:gd name="connsiteY3550" fmla="*/ 2082698 h 4806848"/>
              <a:gd name="connsiteX3551" fmla="*/ 7262661 w 8978749"/>
              <a:gd name="connsiteY3551" fmla="*/ 2082698 h 4806848"/>
              <a:gd name="connsiteX3552" fmla="*/ 7183286 w 8978749"/>
              <a:gd name="connsiteY3552" fmla="*/ 2023960 h 4806848"/>
              <a:gd name="connsiteX3553" fmla="*/ 7242024 w 8978749"/>
              <a:gd name="connsiteY3553" fmla="*/ 2023960 h 4806848"/>
              <a:gd name="connsiteX3554" fmla="*/ 7242024 w 8978749"/>
              <a:gd name="connsiteY3554" fmla="*/ 2082698 h 4806848"/>
              <a:gd name="connsiteX3555" fmla="*/ 7183286 w 8978749"/>
              <a:gd name="connsiteY3555" fmla="*/ 2082698 h 4806848"/>
              <a:gd name="connsiteX3556" fmla="*/ 7105499 w 8978749"/>
              <a:gd name="connsiteY3556" fmla="*/ 2023960 h 4806848"/>
              <a:gd name="connsiteX3557" fmla="*/ 7162649 w 8978749"/>
              <a:gd name="connsiteY3557" fmla="*/ 2023960 h 4806848"/>
              <a:gd name="connsiteX3558" fmla="*/ 7162649 w 8978749"/>
              <a:gd name="connsiteY3558" fmla="*/ 2082698 h 4806848"/>
              <a:gd name="connsiteX3559" fmla="*/ 7105499 w 8978749"/>
              <a:gd name="connsiteY3559" fmla="*/ 2082698 h 4806848"/>
              <a:gd name="connsiteX3560" fmla="*/ 7026124 w 8978749"/>
              <a:gd name="connsiteY3560" fmla="*/ 2023960 h 4806848"/>
              <a:gd name="connsiteX3561" fmla="*/ 7084862 w 8978749"/>
              <a:gd name="connsiteY3561" fmla="*/ 2023960 h 4806848"/>
              <a:gd name="connsiteX3562" fmla="*/ 7084862 w 8978749"/>
              <a:gd name="connsiteY3562" fmla="*/ 2082698 h 4806848"/>
              <a:gd name="connsiteX3563" fmla="*/ 7026124 w 8978749"/>
              <a:gd name="connsiteY3563" fmla="*/ 2082698 h 4806848"/>
              <a:gd name="connsiteX3564" fmla="*/ 6946749 w 8978749"/>
              <a:gd name="connsiteY3564" fmla="*/ 2023960 h 4806848"/>
              <a:gd name="connsiteX3565" fmla="*/ 7005487 w 8978749"/>
              <a:gd name="connsiteY3565" fmla="*/ 2023960 h 4806848"/>
              <a:gd name="connsiteX3566" fmla="*/ 7005487 w 8978749"/>
              <a:gd name="connsiteY3566" fmla="*/ 2082698 h 4806848"/>
              <a:gd name="connsiteX3567" fmla="*/ 6946749 w 8978749"/>
              <a:gd name="connsiteY3567" fmla="*/ 2082698 h 4806848"/>
              <a:gd name="connsiteX3568" fmla="*/ 6867374 w 8978749"/>
              <a:gd name="connsiteY3568" fmla="*/ 2023960 h 4806848"/>
              <a:gd name="connsiteX3569" fmla="*/ 6926112 w 8978749"/>
              <a:gd name="connsiteY3569" fmla="*/ 2023960 h 4806848"/>
              <a:gd name="connsiteX3570" fmla="*/ 6926112 w 8978749"/>
              <a:gd name="connsiteY3570" fmla="*/ 2082698 h 4806848"/>
              <a:gd name="connsiteX3571" fmla="*/ 6867374 w 8978749"/>
              <a:gd name="connsiteY3571" fmla="*/ 2082698 h 4806848"/>
              <a:gd name="connsiteX3572" fmla="*/ 6789586 w 8978749"/>
              <a:gd name="connsiteY3572" fmla="*/ 2023960 h 4806848"/>
              <a:gd name="connsiteX3573" fmla="*/ 6846736 w 8978749"/>
              <a:gd name="connsiteY3573" fmla="*/ 2023960 h 4806848"/>
              <a:gd name="connsiteX3574" fmla="*/ 6846736 w 8978749"/>
              <a:gd name="connsiteY3574" fmla="*/ 2082698 h 4806848"/>
              <a:gd name="connsiteX3575" fmla="*/ 6789586 w 8978749"/>
              <a:gd name="connsiteY3575" fmla="*/ 2082698 h 4806848"/>
              <a:gd name="connsiteX3576" fmla="*/ 6710211 w 8978749"/>
              <a:gd name="connsiteY3576" fmla="*/ 2023960 h 4806848"/>
              <a:gd name="connsiteX3577" fmla="*/ 6768949 w 8978749"/>
              <a:gd name="connsiteY3577" fmla="*/ 2023960 h 4806848"/>
              <a:gd name="connsiteX3578" fmla="*/ 6768949 w 8978749"/>
              <a:gd name="connsiteY3578" fmla="*/ 2082698 h 4806848"/>
              <a:gd name="connsiteX3579" fmla="*/ 6710211 w 8978749"/>
              <a:gd name="connsiteY3579" fmla="*/ 2082698 h 4806848"/>
              <a:gd name="connsiteX3580" fmla="*/ 6630836 w 8978749"/>
              <a:gd name="connsiteY3580" fmla="*/ 2023960 h 4806848"/>
              <a:gd name="connsiteX3581" fmla="*/ 6689574 w 8978749"/>
              <a:gd name="connsiteY3581" fmla="*/ 2023960 h 4806848"/>
              <a:gd name="connsiteX3582" fmla="*/ 6689574 w 8978749"/>
              <a:gd name="connsiteY3582" fmla="*/ 2082698 h 4806848"/>
              <a:gd name="connsiteX3583" fmla="*/ 6630836 w 8978749"/>
              <a:gd name="connsiteY3583" fmla="*/ 2082698 h 4806848"/>
              <a:gd name="connsiteX3584" fmla="*/ 6551461 w 8978749"/>
              <a:gd name="connsiteY3584" fmla="*/ 2023960 h 4806848"/>
              <a:gd name="connsiteX3585" fmla="*/ 6610199 w 8978749"/>
              <a:gd name="connsiteY3585" fmla="*/ 2023960 h 4806848"/>
              <a:gd name="connsiteX3586" fmla="*/ 6610199 w 8978749"/>
              <a:gd name="connsiteY3586" fmla="*/ 2082698 h 4806848"/>
              <a:gd name="connsiteX3587" fmla="*/ 6551461 w 8978749"/>
              <a:gd name="connsiteY3587" fmla="*/ 2082698 h 4806848"/>
              <a:gd name="connsiteX3588" fmla="*/ 6473674 w 8978749"/>
              <a:gd name="connsiteY3588" fmla="*/ 2023960 h 4806848"/>
              <a:gd name="connsiteX3589" fmla="*/ 6530824 w 8978749"/>
              <a:gd name="connsiteY3589" fmla="*/ 2023960 h 4806848"/>
              <a:gd name="connsiteX3590" fmla="*/ 6530824 w 8978749"/>
              <a:gd name="connsiteY3590" fmla="*/ 2082698 h 4806848"/>
              <a:gd name="connsiteX3591" fmla="*/ 6473674 w 8978749"/>
              <a:gd name="connsiteY3591" fmla="*/ 2082698 h 4806848"/>
              <a:gd name="connsiteX3592" fmla="*/ 6394299 w 8978749"/>
              <a:gd name="connsiteY3592" fmla="*/ 2023960 h 4806848"/>
              <a:gd name="connsiteX3593" fmla="*/ 6453037 w 8978749"/>
              <a:gd name="connsiteY3593" fmla="*/ 2023960 h 4806848"/>
              <a:gd name="connsiteX3594" fmla="*/ 6453037 w 8978749"/>
              <a:gd name="connsiteY3594" fmla="*/ 2082698 h 4806848"/>
              <a:gd name="connsiteX3595" fmla="*/ 6394299 w 8978749"/>
              <a:gd name="connsiteY3595" fmla="*/ 2082698 h 4806848"/>
              <a:gd name="connsiteX3596" fmla="*/ 6314924 w 8978749"/>
              <a:gd name="connsiteY3596" fmla="*/ 2023960 h 4806848"/>
              <a:gd name="connsiteX3597" fmla="*/ 6373662 w 8978749"/>
              <a:gd name="connsiteY3597" fmla="*/ 2023960 h 4806848"/>
              <a:gd name="connsiteX3598" fmla="*/ 6373662 w 8978749"/>
              <a:gd name="connsiteY3598" fmla="*/ 2082698 h 4806848"/>
              <a:gd name="connsiteX3599" fmla="*/ 6314924 w 8978749"/>
              <a:gd name="connsiteY3599" fmla="*/ 2082698 h 4806848"/>
              <a:gd name="connsiteX3600" fmla="*/ 6235549 w 8978749"/>
              <a:gd name="connsiteY3600" fmla="*/ 2023960 h 4806848"/>
              <a:gd name="connsiteX3601" fmla="*/ 6294287 w 8978749"/>
              <a:gd name="connsiteY3601" fmla="*/ 2023960 h 4806848"/>
              <a:gd name="connsiteX3602" fmla="*/ 6294287 w 8978749"/>
              <a:gd name="connsiteY3602" fmla="*/ 2082698 h 4806848"/>
              <a:gd name="connsiteX3603" fmla="*/ 6235549 w 8978749"/>
              <a:gd name="connsiteY3603" fmla="*/ 2082698 h 4806848"/>
              <a:gd name="connsiteX3604" fmla="*/ 6157761 w 8978749"/>
              <a:gd name="connsiteY3604" fmla="*/ 2023960 h 4806848"/>
              <a:gd name="connsiteX3605" fmla="*/ 6214911 w 8978749"/>
              <a:gd name="connsiteY3605" fmla="*/ 2023960 h 4806848"/>
              <a:gd name="connsiteX3606" fmla="*/ 6214911 w 8978749"/>
              <a:gd name="connsiteY3606" fmla="*/ 2082698 h 4806848"/>
              <a:gd name="connsiteX3607" fmla="*/ 6157761 w 8978749"/>
              <a:gd name="connsiteY3607" fmla="*/ 2082698 h 4806848"/>
              <a:gd name="connsiteX3608" fmla="*/ 6078386 w 8978749"/>
              <a:gd name="connsiteY3608" fmla="*/ 2023960 h 4806848"/>
              <a:gd name="connsiteX3609" fmla="*/ 6137124 w 8978749"/>
              <a:gd name="connsiteY3609" fmla="*/ 2023960 h 4806848"/>
              <a:gd name="connsiteX3610" fmla="*/ 6137124 w 8978749"/>
              <a:gd name="connsiteY3610" fmla="*/ 2082698 h 4806848"/>
              <a:gd name="connsiteX3611" fmla="*/ 6078386 w 8978749"/>
              <a:gd name="connsiteY3611" fmla="*/ 2082698 h 4806848"/>
              <a:gd name="connsiteX3612" fmla="*/ 5999011 w 8978749"/>
              <a:gd name="connsiteY3612" fmla="*/ 2023960 h 4806848"/>
              <a:gd name="connsiteX3613" fmla="*/ 6057749 w 8978749"/>
              <a:gd name="connsiteY3613" fmla="*/ 2023960 h 4806848"/>
              <a:gd name="connsiteX3614" fmla="*/ 6057749 w 8978749"/>
              <a:gd name="connsiteY3614" fmla="*/ 2082698 h 4806848"/>
              <a:gd name="connsiteX3615" fmla="*/ 5999011 w 8978749"/>
              <a:gd name="connsiteY3615" fmla="*/ 2082698 h 4806848"/>
              <a:gd name="connsiteX3616" fmla="*/ 5921224 w 8978749"/>
              <a:gd name="connsiteY3616" fmla="*/ 2023960 h 4806848"/>
              <a:gd name="connsiteX3617" fmla="*/ 5978374 w 8978749"/>
              <a:gd name="connsiteY3617" fmla="*/ 2023960 h 4806848"/>
              <a:gd name="connsiteX3618" fmla="*/ 5978374 w 8978749"/>
              <a:gd name="connsiteY3618" fmla="*/ 2082698 h 4806848"/>
              <a:gd name="connsiteX3619" fmla="*/ 5921224 w 8978749"/>
              <a:gd name="connsiteY3619" fmla="*/ 2082698 h 4806848"/>
              <a:gd name="connsiteX3620" fmla="*/ 5841849 w 8978749"/>
              <a:gd name="connsiteY3620" fmla="*/ 2023960 h 4806848"/>
              <a:gd name="connsiteX3621" fmla="*/ 5900587 w 8978749"/>
              <a:gd name="connsiteY3621" fmla="*/ 2023960 h 4806848"/>
              <a:gd name="connsiteX3622" fmla="*/ 5900587 w 8978749"/>
              <a:gd name="connsiteY3622" fmla="*/ 2082698 h 4806848"/>
              <a:gd name="connsiteX3623" fmla="*/ 5841849 w 8978749"/>
              <a:gd name="connsiteY3623" fmla="*/ 2082698 h 4806848"/>
              <a:gd name="connsiteX3624" fmla="*/ 5762474 w 8978749"/>
              <a:gd name="connsiteY3624" fmla="*/ 2023960 h 4806848"/>
              <a:gd name="connsiteX3625" fmla="*/ 5821212 w 8978749"/>
              <a:gd name="connsiteY3625" fmla="*/ 2023960 h 4806848"/>
              <a:gd name="connsiteX3626" fmla="*/ 5821212 w 8978749"/>
              <a:gd name="connsiteY3626" fmla="*/ 2082698 h 4806848"/>
              <a:gd name="connsiteX3627" fmla="*/ 5762474 w 8978749"/>
              <a:gd name="connsiteY3627" fmla="*/ 2082698 h 4806848"/>
              <a:gd name="connsiteX3628" fmla="*/ 5684686 w 8978749"/>
              <a:gd name="connsiteY3628" fmla="*/ 2023960 h 4806848"/>
              <a:gd name="connsiteX3629" fmla="*/ 5741836 w 8978749"/>
              <a:gd name="connsiteY3629" fmla="*/ 2023960 h 4806848"/>
              <a:gd name="connsiteX3630" fmla="*/ 5741836 w 8978749"/>
              <a:gd name="connsiteY3630" fmla="*/ 2082698 h 4806848"/>
              <a:gd name="connsiteX3631" fmla="*/ 5684686 w 8978749"/>
              <a:gd name="connsiteY3631" fmla="*/ 2082698 h 4806848"/>
              <a:gd name="connsiteX3632" fmla="*/ 5605311 w 8978749"/>
              <a:gd name="connsiteY3632" fmla="*/ 2023960 h 4806848"/>
              <a:gd name="connsiteX3633" fmla="*/ 5664049 w 8978749"/>
              <a:gd name="connsiteY3633" fmla="*/ 2023960 h 4806848"/>
              <a:gd name="connsiteX3634" fmla="*/ 5664049 w 8978749"/>
              <a:gd name="connsiteY3634" fmla="*/ 2082698 h 4806848"/>
              <a:gd name="connsiteX3635" fmla="*/ 5605311 w 8978749"/>
              <a:gd name="connsiteY3635" fmla="*/ 2082698 h 4806848"/>
              <a:gd name="connsiteX3636" fmla="*/ 5525936 w 8978749"/>
              <a:gd name="connsiteY3636" fmla="*/ 2023960 h 4806848"/>
              <a:gd name="connsiteX3637" fmla="*/ 5584674 w 8978749"/>
              <a:gd name="connsiteY3637" fmla="*/ 2023960 h 4806848"/>
              <a:gd name="connsiteX3638" fmla="*/ 5584674 w 8978749"/>
              <a:gd name="connsiteY3638" fmla="*/ 2082698 h 4806848"/>
              <a:gd name="connsiteX3639" fmla="*/ 5525936 w 8978749"/>
              <a:gd name="connsiteY3639" fmla="*/ 2082698 h 4806848"/>
              <a:gd name="connsiteX3640" fmla="*/ 5446561 w 8978749"/>
              <a:gd name="connsiteY3640" fmla="*/ 2023960 h 4806848"/>
              <a:gd name="connsiteX3641" fmla="*/ 5505299 w 8978749"/>
              <a:gd name="connsiteY3641" fmla="*/ 2023960 h 4806848"/>
              <a:gd name="connsiteX3642" fmla="*/ 5505299 w 8978749"/>
              <a:gd name="connsiteY3642" fmla="*/ 2082698 h 4806848"/>
              <a:gd name="connsiteX3643" fmla="*/ 5446561 w 8978749"/>
              <a:gd name="connsiteY3643" fmla="*/ 2082698 h 4806848"/>
              <a:gd name="connsiteX3644" fmla="*/ 5368774 w 8978749"/>
              <a:gd name="connsiteY3644" fmla="*/ 2023960 h 4806848"/>
              <a:gd name="connsiteX3645" fmla="*/ 5425924 w 8978749"/>
              <a:gd name="connsiteY3645" fmla="*/ 2023960 h 4806848"/>
              <a:gd name="connsiteX3646" fmla="*/ 5425924 w 8978749"/>
              <a:gd name="connsiteY3646" fmla="*/ 2082698 h 4806848"/>
              <a:gd name="connsiteX3647" fmla="*/ 5368774 w 8978749"/>
              <a:gd name="connsiteY3647" fmla="*/ 2082698 h 4806848"/>
              <a:gd name="connsiteX3648" fmla="*/ 5289399 w 8978749"/>
              <a:gd name="connsiteY3648" fmla="*/ 2023960 h 4806848"/>
              <a:gd name="connsiteX3649" fmla="*/ 5348137 w 8978749"/>
              <a:gd name="connsiteY3649" fmla="*/ 2023960 h 4806848"/>
              <a:gd name="connsiteX3650" fmla="*/ 5348137 w 8978749"/>
              <a:gd name="connsiteY3650" fmla="*/ 2082698 h 4806848"/>
              <a:gd name="connsiteX3651" fmla="*/ 5289399 w 8978749"/>
              <a:gd name="connsiteY3651" fmla="*/ 2082698 h 4806848"/>
              <a:gd name="connsiteX3652" fmla="*/ 5210024 w 8978749"/>
              <a:gd name="connsiteY3652" fmla="*/ 2023960 h 4806848"/>
              <a:gd name="connsiteX3653" fmla="*/ 5268762 w 8978749"/>
              <a:gd name="connsiteY3653" fmla="*/ 2023960 h 4806848"/>
              <a:gd name="connsiteX3654" fmla="*/ 5268762 w 8978749"/>
              <a:gd name="connsiteY3654" fmla="*/ 2082698 h 4806848"/>
              <a:gd name="connsiteX3655" fmla="*/ 5210024 w 8978749"/>
              <a:gd name="connsiteY3655" fmla="*/ 2082698 h 4806848"/>
              <a:gd name="connsiteX3656" fmla="*/ 5130649 w 8978749"/>
              <a:gd name="connsiteY3656" fmla="*/ 2023960 h 4806848"/>
              <a:gd name="connsiteX3657" fmla="*/ 5189387 w 8978749"/>
              <a:gd name="connsiteY3657" fmla="*/ 2023960 h 4806848"/>
              <a:gd name="connsiteX3658" fmla="*/ 5189387 w 8978749"/>
              <a:gd name="connsiteY3658" fmla="*/ 2082698 h 4806848"/>
              <a:gd name="connsiteX3659" fmla="*/ 5130649 w 8978749"/>
              <a:gd name="connsiteY3659" fmla="*/ 2082698 h 4806848"/>
              <a:gd name="connsiteX3660" fmla="*/ 4814736 w 8978749"/>
              <a:gd name="connsiteY3660" fmla="*/ 2023960 h 4806848"/>
              <a:gd name="connsiteX3661" fmla="*/ 4873474 w 8978749"/>
              <a:gd name="connsiteY3661" fmla="*/ 2023960 h 4806848"/>
              <a:gd name="connsiteX3662" fmla="*/ 4873474 w 8978749"/>
              <a:gd name="connsiteY3662" fmla="*/ 2082698 h 4806848"/>
              <a:gd name="connsiteX3663" fmla="*/ 4814736 w 8978749"/>
              <a:gd name="connsiteY3663" fmla="*/ 2082698 h 4806848"/>
              <a:gd name="connsiteX3664" fmla="*/ 4578198 w 8978749"/>
              <a:gd name="connsiteY3664" fmla="*/ 2023960 h 4806848"/>
              <a:gd name="connsiteX3665" fmla="*/ 4636936 w 8978749"/>
              <a:gd name="connsiteY3665" fmla="*/ 2023960 h 4806848"/>
              <a:gd name="connsiteX3666" fmla="*/ 4636936 w 8978749"/>
              <a:gd name="connsiteY3666" fmla="*/ 2082698 h 4806848"/>
              <a:gd name="connsiteX3667" fmla="*/ 4578198 w 8978749"/>
              <a:gd name="connsiteY3667" fmla="*/ 2082698 h 4806848"/>
              <a:gd name="connsiteX3668" fmla="*/ 4498823 w 8978749"/>
              <a:gd name="connsiteY3668" fmla="*/ 2023960 h 4806848"/>
              <a:gd name="connsiteX3669" fmla="*/ 4557561 w 8978749"/>
              <a:gd name="connsiteY3669" fmla="*/ 2023960 h 4806848"/>
              <a:gd name="connsiteX3670" fmla="*/ 4557561 w 8978749"/>
              <a:gd name="connsiteY3670" fmla="*/ 2082698 h 4806848"/>
              <a:gd name="connsiteX3671" fmla="*/ 4498823 w 8978749"/>
              <a:gd name="connsiteY3671" fmla="*/ 2082698 h 4806848"/>
              <a:gd name="connsiteX3672" fmla="*/ 4421036 w 8978749"/>
              <a:gd name="connsiteY3672" fmla="*/ 2023960 h 4806848"/>
              <a:gd name="connsiteX3673" fmla="*/ 4479774 w 8978749"/>
              <a:gd name="connsiteY3673" fmla="*/ 2023960 h 4806848"/>
              <a:gd name="connsiteX3674" fmla="*/ 4479774 w 8978749"/>
              <a:gd name="connsiteY3674" fmla="*/ 2082698 h 4806848"/>
              <a:gd name="connsiteX3675" fmla="*/ 4421036 w 8978749"/>
              <a:gd name="connsiteY3675" fmla="*/ 2082698 h 4806848"/>
              <a:gd name="connsiteX3676" fmla="*/ 4341661 w 8978749"/>
              <a:gd name="connsiteY3676" fmla="*/ 2023960 h 4806848"/>
              <a:gd name="connsiteX3677" fmla="*/ 4400399 w 8978749"/>
              <a:gd name="connsiteY3677" fmla="*/ 2023960 h 4806848"/>
              <a:gd name="connsiteX3678" fmla="*/ 4400399 w 8978749"/>
              <a:gd name="connsiteY3678" fmla="*/ 2082698 h 4806848"/>
              <a:gd name="connsiteX3679" fmla="*/ 4341661 w 8978749"/>
              <a:gd name="connsiteY3679" fmla="*/ 2082698 h 4806848"/>
              <a:gd name="connsiteX3680" fmla="*/ 4262286 w 8978749"/>
              <a:gd name="connsiteY3680" fmla="*/ 2023960 h 4806848"/>
              <a:gd name="connsiteX3681" fmla="*/ 4321024 w 8978749"/>
              <a:gd name="connsiteY3681" fmla="*/ 2023960 h 4806848"/>
              <a:gd name="connsiteX3682" fmla="*/ 4321024 w 8978749"/>
              <a:gd name="connsiteY3682" fmla="*/ 2082698 h 4806848"/>
              <a:gd name="connsiteX3683" fmla="*/ 4262286 w 8978749"/>
              <a:gd name="connsiteY3683" fmla="*/ 2082698 h 4806848"/>
              <a:gd name="connsiteX3684" fmla="*/ 4184498 w 8978749"/>
              <a:gd name="connsiteY3684" fmla="*/ 2023960 h 4806848"/>
              <a:gd name="connsiteX3685" fmla="*/ 4241648 w 8978749"/>
              <a:gd name="connsiteY3685" fmla="*/ 2023960 h 4806848"/>
              <a:gd name="connsiteX3686" fmla="*/ 4241648 w 8978749"/>
              <a:gd name="connsiteY3686" fmla="*/ 2082698 h 4806848"/>
              <a:gd name="connsiteX3687" fmla="*/ 4184498 w 8978749"/>
              <a:gd name="connsiteY3687" fmla="*/ 2082698 h 4806848"/>
              <a:gd name="connsiteX3688" fmla="*/ 4105123 w 8978749"/>
              <a:gd name="connsiteY3688" fmla="*/ 2023960 h 4806848"/>
              <a:gd name="connsiteX3689" fmla="*/ 4163861 w 8978749"/>
              <a:gd name="connsiteY3689" fmla="*/ 2023960 h 4806848"/>
              <a:gd name="connsiteX3690" fmla="*/ 4163861 w 8978749"/>
              <a:gd name="connsiteY3690" fmla="*/ 2082698 h 4806848"/>
              <a:gd name="connsiteX3691" fmla="*/ 4105123 w 8978749"/>
              <a:gd name="connsiteY3691" fmla="*/ 2082698 h 4806848"/>
              <a:gd name="connsiteX3692" fmla="*/ 4025748 w 8978749"/>
              <a:gd name="connsiteY3692" fmla="*/ 2023960 h 4806848"/>
              <a:gd name="connsiteX3693" fmla="*/ 4084486 w 8978749"/>
              <a:gd name="connsiteY3693" fmla="*/ 2023960 h 4806848"/>
              <a:gd name="connsiteX3694" fmla="*/ 4084486 w 8978749"/>
              <a:gd name="connsiteY3694" fmla="*/ 2082698 h 4806848"/>
              <a:gd name="connsiteX3695" fmla="*/ 4025748 w 8978749"/>
              <a:gd name="connsiteY3695" fmla="*/ 2082698 h 4806848"/>
              <a:gd name="connsiteX3696" fmla="*/ 2209757 w 8978749"/>
              <a:gd name="connsiteY3696" fmla="*/ 2023960 h 4806848"/>
              <a:gd name="connsiteX3697" fmla="*/ 2268496 w 8978749"/>
              <a:gd name="connsiteY3697" fmla="*/ 2023960 h 4806848"/>
              <a:gd name="connsiteX3698" fmla="*/ 2268496 w 8978749"/>
              <a:gd name="connsiteY3698" fmla="*/ 2082698 h 4806848"/>
              <a:gd name="connsiteX3699" fmla="*/ 2209757 w 8978749"/>
              <a:gd name="connsiteY3699" fmla="*/ 2082698 h 4806848"/>
              <a:gd name="connsiteX3700" fmla="*/ 2131971 w 8978749"/>
              <a:gd name="connsiteY3700" fmla="*/ 2023960 h 4806848"/>
              <a:gd name="connsiteX3701" fmla="*/ 2189122 w 8978749"/>
              <a:gd name="connsiteY3701" fmla="*/ 2023960 h 4806848"/>
              <a:gd name="connsiteX3702" fmla="*/ 2189122 w 8978749"/>
              <a:gd name="connsiteY3702" fmla="*/ 2082698 h 4806848"/>
              <a:gd name="connsiteX3703" fmla="*/ 2131971 w 8978749"/>
              <a:gd name="connsiteY3703" fmla="*/ 2082698 h 4806848"/>
              <a:gd name="connsiteX3704" fmla="*/ 2052592 w 8978749"/>
              <a:gd name="connsiteY3704" fmla="*/ 2023960 h 4806848"/>
              <a:gd name="connsiteX3705" fmla="*/ 2111333 w 8978749"/>
              <a:gd name="connsiteY3705" fmla="*/ 2023960 h 4806848"/>
              <a:gd name="connsiteX3706" fmla="*/ 2111333 w 8978749"/>
              <a:gd name="connsiteY3706" fmla="*/ 2082698 h 4806848"/>
              <a:gd name="connsiteX3707" fmla="*/ 2052592 w 8978749"/>
              <a:gd name="connsiteY3707" fmla="*/ 2082698 h 4806848"/>
              <a:gd name="connsiteX3708" fmla="*/ 1973212 w 8978749"/>
              <a:gd name="connsiteY3708" fmla="*/ 2023960 h 4806848"/>
              <a:gd name="connsiteX3709" fmla="*/ 2031956 w 8978749"/>
              <a:gd name="connsiteY3709" fmla="*/ 2023960 h 4806848"/>
              <a:gd name="connsiteX3710" fmla="*/ 2031956 w 8978749"/>
              <a:gd name="connsiteY3710" fmla="*/ 2082698 h 4806848"/>
              <a:gd name="connsiteX3711" fmla="*/ 1973212 w 8978749"/>
              <a:gd name="connsiteY3711" fmla="*/ 2082698 h 4806848"/>
              <a:gd name="connsiteX3712" fmla="*/ 1893836 w 8978749"/>
              <a:gd name="connsiteY3712" fmla="*/ 2023960 h 4806848"/>
              <a:gd name="connsiteX3713" fmla="*/ 1952571 w 8978749"/>
              <a:gd name="connsiteY3713" fmla="*/ 2023960 h 4806848"/>
              <a:gd name="connsiteX3714" fmla="*/ 1952571 w 8978749"/>
              <a:gd name="connsiteY3714" fmla="*/ 2082698 h 4806848"/>
              <a:gd name="connsiteX3715" fmla="*/ 1893836 w 8978749"/>
              <a:gd name="connsiteY3715" fmla="*/ 2082698 h 4806848"/>
              <a:gd name="connsiteX3716" fmla="*/ 1816068 w 8978749"/>
              <a:gd name="connsiteY3716" fmla="*/ 2023960 h 4806848"/>
              <a:gd name="connsiteX3717" fmla="*/ 1873205 w 8978749"/>
              <a:gd name="connsiteY3717" fmla="*/ 2023960 h 4806848"/>
              <a:gd name="connsiteX3718" fmla="*/ 1873205 w 8978749"/>
              <a:gd name="connsiteY3718" fmla="*/ 2082698 h 4806848"/>
              <a:gd name="connsiteX3719" fmla="*/ 1816068 w 8978749"/>
              <a:gd name="connsiteY3719" fmla="*/ 2082698 h 4806848"/>
              <a:gd name="connsiteX3720" fmla="*/ 1736692 w 8978749"/>
              <a:gd name="connsiteY3720" fmla="*/ 2023960 h 4806848"/>
              <a:gd name="connsiteX3721" fmla="*/ 1795435 w 8978749"/>
              <a:gd name="connsiteY3721" fmla="*/ 2023960 h 4806848"/>
              <a:gd name="connsiteX3722" fmla="*/ 1795435 w 8978749"/>
              <a:gd name="connsiteY3722" fmla="*/ 2082698 h 4806848"/>
              <a:gd name="connsiteX3723" fmla="*/ 1736692 w 8978749"/>
              <a:gd name="connsiteY3723" fmla="*/ 2082698 h 4806848"/>
              <a:gd name="connsiteX3724" fmla="*/ 1657312 w 8978749"/>
              <a:gd name="connsiteY3724" fmla="*/ 2023960 h 4806848"/>
              <a:gd name="connsiteX3725" fmla="*/ 1716053 w 8978749"/>
              <a:gd name="connsiteY3725" fmla="*/ 2023960 h 4806848"/>
              <a:gd name="connsiteX3726" fmla="*/ 1716053 w 8978749"/>
              <a:gd name="connsiteY3726" fmla="*/ 2082698 h 4806848"/>
              <a:gd name="connsiteX3727" fmla="*/ 1657312 w 8978749"/>
              <a:gd name="connsiteY3727" fmla="*/ 2082698 h 4806848"/>
              <a:gd name="connsiteX3728" fmla="*/ 1577929 w 8978749"/>
              <a:gd name="connsiteY3728" fmla="*/ 2023960 h 4806848"/>
              <a:gd name="connsiteX3729" fmla="*/ 1636677 w 8978749"/>
              <a:gd name="connsiteY3729" fmla="*/ 2023960 h 4806848"/>
              <a:gd name="connsiteX3730" fmla="*/ 1636677 w 8978749"/>
              <a:gd name="connsiteY3730" fmla="*/ 2082698 h 4806848"/>
              <a:gd name="connsiteX3731" fmla="*/ 1577929 w 8978749"/>
              <a:gd name="connsiteY3731" fmla="*/ 2082698 h 4806848"/>
              <a:gd name="connsiteX3732" fmla="*/ 1500138 w 8978749"/>
              <a:gd name="connsiteY3732" fmla="*/ 2023960 h 4806848"/>
              <a:gd name="connsiteX3733" fmla="*/ 1558880 w 8978749"/>
              <a:gd name="connsiteY3733" fmla="*/ 2023960 h 4806848"/>
              <a:gd name="connsiteX3734" fmla="*/ 1558880 w 8978749"/>
              <a:gd name="connsiteY3734" fmla="*/ 2082698 h 4806848"/>
              <a:gd name="connsiteX3735" fmla="*/ 1500138 w 8978749"/>
              <a:gd name="connsiteY3735" fmla="*/ 2082698 h 4806848"/>
              <a:gd name="connsiteX3736" fmla="*/ 1420761 w 8978749"/>
              <a:gd name="connsiteY3736" fmla="*/ 2023960 h 4806848"/>
              <a:gd name="connsiteX3737" fmla="*/ 1479499 w 8978749"/>
              <a:gd name="connsiteY3737" fmla="*/ 2023960 h 4806848"/>
              <a:gd name="connsiteX3738" fmla="*/ 1479499 w 8978749"/>
              <a:gd name="connsiteY3738" fmla="*/ 2082698 h 4806848"/>
              <a:gd name="connsiteX3739" fmla="*/ 1420761 w 8978749"/>
              <a:gd name="connsiteY3739" fmla="*/ 2082698 h 4806848"/>
              <a:gd name="connsiteX3740" fmla="*/ 1341416 w 8978749"/>
              <a:gd name="connsiteY3740" fmla="*/ 2023960 h 4806848"/>
              <a:gd name="connsiteX3741" fmla="*/ 1400136 w 8978749"/>
              <a:gd name="connsiteY3741" fmla="*/ 2023960 h 4806848"/>
              <a:gd name="connsiteX3742" fmla="*/ 1400136 w 8978749"/>
              <a:gd name="connsiteY3742" fmla="*/ 2082698 h 4806848"/>
              <a:gd name="connsiteX3743" fmla="*/ 1341416 w 8978749"/>
              <a:gd name="connsiteY3743" fmla="*/ 2082698 h 4806848"/>
              <a:gd name="connsiteX3744" fmla="*/ 4498823 w 8978749"/>
              <a:gd name="connsiteY3744" fmla="*/ 1946173 h 4806848"/>
              <a:gd name="connsiteX3745" fmla="*/ 4557561 w 8978749"/>
              <a:gd name="connsiteY3745" fmla="*/ 1946173 h 4806848"/>
              <a:gd name="connsiteX3746" fmla="*/ 4557561 w 8978749"/>
              <a:gd name="connsiteY3746" fmla="*/ 2003323 h 4806848"/>
              <a:gd name="connsiteX3747" fmla="*/ 4498823 w 8978749"/>
              <a:gd name="connsiteY3747" fmla="*/ 2003323 h 4806848"/>
              <a:gd name="connsiteX3748" fmla="*/ 4421036 w 8978749"/>
              <a:gd name="connsiteY3748" fmla="*/ 1946173 h 4806848"/>
              <a:gd name="connsiteX3749" fmla="*/ 4479774 w 8978749"/>
              <a:gd name="connsiteY3749" fmla="*/ 1946173 h 4806848"/>
              <a:gd name="connsiteX3750" fmla="*/ 4479774 w 8978749"/>
              <a:gd name="connsiteY3750" fmla="*/ 2003323 h 4806848"/>
              <a:gd name="connsiteX3751" fmla="*/ 4421036 w 8978749"/>
              <a:gd name="connsiteY3751" fmla="*/ 2003323 h 4806848"/>
              <a:gd name="connsiteX3752" fmla="*/ 4341661 w 8978749"/>
              <a:gd name="connsiteY3752" fmla="*/ 1946173 h 4806848"/>
              <a:gd name="connsiteX3753" fmla="*/ 4400399 w 8978749"/>
              <a:gd name="connsiteY3753" fmla="*/ 1946173 h 4806848"/>
              <a:gd name="connsiteX3754" fmla="*/ 4400399 w 8978749"/>
              <a:gd name="connsiteY3754" fmla="*/ 2003323 h 4806848"/>
              <a:gd name="connsiteX3755" fmla="*/ 4341661 w 8978749"/>
              <a:gd name="connsiteY3755" fmla="*/ 2003323 h 4806848"/>
              <a:gd name="connsiteX3756" fmla="*/ 4262286 w 8978749"/>
              <a:gd name="connsiteY3756" fmla="*/ 1946173 h 4806848"/>
              <a:gd name="connsiteX3757" fmla="*/ 4321024 w 8978749"/>
              <a:gd name="connsiteY3757" fmla="*/ 1946173 h 4806848"/>
              <a:gd name="connsiteX3758" fmla="*/ 4321024 w 8978749"/>
              <a:gd name="connsiteY3758" fmla="*/ 2003323 h 4806848"/>
              <a:gd name="connsiteX3759" fmla="*/ 4262286 w 8978749"/>
              <a:gd name="connsiteY3759" fmla="*/ 2003323 h 4806848"/>
              <a:gd name="connsiteX3760" fmla="*/ 4184498 w 8978749"/>
              <a:gd name="connsiteY3760" fmla="*/ 1946173 h 4806848"/>
              <a:gd name="connsiteX3761" fmla="*/ 4241648 w 8978749"/>
              <a:gd name="connsiteY3761" fmla="*/ 1946173 h 4806848"/>
              <a:gd name="connsiteX3762" fmla="*/ 4241648 w 8978749"/>
              <a:gd name="connsiteY3762" fmla="*/ 2003323 h 4806848"/>
              <a:gd name="connsiteX3763" fmla="*/ 4184498 w 8978749"/>
              <a:gd name="connsiteY3763" fmla="*/ 2003323 h 4806848"/>
              <a:gd name="connsiteX3764" fmla="*/ 4105123 w 8978749"/>
              <a:gd name="connsiteY3764" fmla="*/ 1946173 h 4806848"/>
              <a:gd name="connsiteX3765" fmla="*/ 4163861 w 8978749"/>
              <a:gd name="connsiteY3765" fmla="*/ 1946173 h 4806848"/>
              <a:gd name="connsiteX3766" fmla="*/ 4163861 w 8978749"/>
              <a:gd name="connsiteY3766" fmla="*/ 2003323 h 4806848"/>
              <a:gd name="connsiteX3767" fmla="*/ 4105123 w 8978749"/>
              <a:gd name="connsiteY3767" fmla="*/ 2003323 h 4806848"/>
              <a:gd name="connsiteX3768" fmla="*/ 2209762 w 8978749"/>
              <a:gd name="connsiteY3768" fmla="*/ 1946173 h 4806848"/>
              <a:gd name="connsiteX3769" fmla="*/ 2268500 w 8978749"/>
              <a:gd name="connsiteY3769" fmla="*/ 1946173 h 4806848"/>
              <a:gd name="connsiteX3770" fmla="*/ 2268500 w 8978749"/>
              <a:gd name="connsiteY3770" fmla="*/ 2003323 h 4806848"/>
              <a:gd name="connsiteX3771" fmla="*/ 2209762 w 8978749"/>
              <a:gd name="connsiteY3771" fmla="*/ 2003323 h 4806848"/>
              <a:gd name="connsiteX3772" fmla="*/ 2131973 w 8978749"/>
              <a:gd name="connsiteY3772" fmla="*/ 1946173 h 4806848"/>
              <a:gd name="connsiteX3773" fmla="*/ 2189126 w 8978749"/>
              <a:gd name="connsiteY3773" fmla="*/ 1946173 h 4806848"/>
              <a:gd name="connsiteX3774" fmla="*/ 2189126 w 8978749"/>
              <a:gd name="connsiteY3774" fmla="*/ 2003323 h 4806848"/>
              <a:gd name="connsiteX3775" fmla="*/ 2131973 w 8978749"/>
              <a:gd name="connsiteY3775" fmla="*/ 2003323 h 4806848"/>
              <a:gd name="connsiteX3776" fmla="*/ 2052594 w 8978749"/>
              <a:gd name="connsiteY3776" fmla="*/ 1946173 h 4806848"/>
              <a:gd name="connsiteX3777" fmla="*/ 2111338 w 8978749"/>
              <a:gd name="connsiteY3777" fmla="*/ 1946173 h 4806848"/>
              <a:gd name="connsiteX3778" fmla="*/ 2111338 w 8978749"/>
              <a:gd name="connsiteY3778" fmla="*/ 2003323 h 4806848"/>
              <a:gd name="connsiteX3779" fmla="*/ 2052594 w 8978749"/>
              <a:gd name="connsiteY3779" fmla="*/ 2003323 h 4806848"/>
              <a:gd name="connsiteX3780" fmla="*/ 1973215 w 8978749"/>
              <a:gd name="connsiteY3780" fmla="*/ 1946173 h 4806848"/>
              <a:gd name="connsiteX3781" fmla="*/ 2031961 w 8978749"/>
              <a:gd name="connsiteY3781" fmla="*/ 1946173 h 4806848"/>
              <a:gd name="connsiteX3782" fmla="*/ 2031961 w 8978749"/>
              <a:gd name="connsiteY3782" fmla="*/ 2003323 h 4806848"/>
              <a:gd name="connsiteX3783" fmla="*/ 1973215 w 8978749"/>
              <a:gd name="connsiteY3783" fmla="*/ 2003323 h 4806848"/>
              <a:gd name="connsiteX3784" fmla="*/ 1893839 w 8978749"/>
              <a:gd name="connsiteY3784" fmla="*/ 1946173 h 4806848"/>
              <a:gd name="connsiteX3785" fmla="*/ 1952577 w 8978749"/>
              <a:gd name="connsiteY3785" fmla="*/ 1946173 h 4806848"/>
              <a:gd name="connsiteX3786" fmla="*/ 1952577 w 8978749"/>
              <a:gd name="connsiteY3786" fmla="*/ 2003323 h 4806848"/>
              <a:gd name="connsiteX3787" fmla="*/ 1893839 w 8978749"/>
              <a:gd name="connsiteY3787" fmla="*/ 2003323 h 4806848"/>
              <a:gd name="connsiteX3788" fmla="*/ 1816069 w 8978749"/>
              <a:gd name="connsiteY3788" fmla="*/ 1946173 h 4806848"/>
              <a:gd name="connsiteX3789" fmla="*/ 1873208 w 8978749"/>
              <a:gd name="connsiteY3789" fmla="*/ 1946173 h 4806848"/>
              <a:gd name="connsiteX3790" fmla="*/ 1873208 w 8978749"/>
              <a:gd name="connsiteY3790" fmla="*/ 2003323 h 4806848"/>
              <a:gd name="connsiteX3791" fmla="*/ 1816069 w 8978749"/>
              <a:gd name="connsiteY3791" fmla="*/ 2003323 h 4806848"/>
              <a:gd name="connsiteX3792" fmla="*/ 1736695 w 8978749"/>
              <a:gd name="connsiteY3792" fmla="*/ 1946173 h 4806848"/>
              <a:gd name="connsiteX3793" fmla="*/ 1795440 w 8978749"/>
              <a:gd name="connsiteY3793" fmla="*/ 1946173 h 4806848"/>
              <a:gd name="connsiteX3794" fmla="*/ 1795440 w 8978749"/>
              <a:gd name="connsiteY3794" fmla="*/ 2003323 h 4806848"/>
              <a:gd name="connsiteX3795" fmla="*/ 1736695 w 8978749"/>
              <a:gd name="connsiteY3795" fmla="*/ 2003323 h 4806848"/>
              <a:gd name="connsiteX3796" fmla="*/ 1657316 w 8978749"/>
              <a:gd name="connsiteY3796" fmla="*/ 1946173 h 4806848"/>
              <a:gd name="connsiteX3797" fmla="*/ 1716056 w 8978749"/>
              <a:gd name="connsiteY3797" fmla="*/ 1946173 h 4806848"/>
              <a:gd name="connsiteX3798" fmla="*/ 1716056 w 8978749"/>
              <a:gd name="connsiteY3798" fmla="*/ 2003323 h 4806848"/>
              <a:gd name="connsiteX3799" fmla="*/ 1657316 w 8978749"/>
              <a:gd name="connsiteY3799" fmla="*/ 2003323 h 4806848"/>
              <a:gd name="connsiteX3800" fmla="*/ 1577933 w 8978749"/>
              <a:gd name="connsiteY3800" fmla="*/ 1946173 h 4806848"/>
              <a:gd name="connsiteX3801" fmla="*/ 1636679 w 8978749"/>
              <a:gd name="connsiteY3801" fmla="*/ 1946173 h 4806848"/>
              <a:gd name="connsiteX3802" fmla="*/ 1636679 w 8978749"/>
              <a:gd name="connsiteY3802" fmla="*/ 2003323 h 4806848"/>
              <a:gd name="connsiteX3803" fmla="*/ 1577933 w 8978749"/>
              <a:gd name="connsiteY3803" fmla="*/ 2003323 h 4806848"/>
              <a:gd name="connsiteX3804" fmla="*/ 1500141 w 8978749"/>
              <a:gd name="connsiteY3804" fmla="*/ 1946173 h 4806848"/>
              <a:gd name="connsiteX3805" fmla="*/ 1558885 w 8978749"/>
              <a:gd name="connsiteY3805" fmla="*/ 1946173 h 4806848"/>
              <a:gd name="connsiteX3806" fmla="*/ 1558885 w 8978749"/>
              <a:gd name="connsiteY3806" fmla="*/ 2003323 h 4806848"/>
              <a:gd name="connsiteX3807" fmla="*/ 1500141 w 8978749"/>
              <a:gd name="connsiteY3807" fmla="*/ 2003323 h 4806848"/>
              <a:gd name="connsiteX3808" fmla="*/ 1420765 w 8978749"/>
              <a:gd name="connsiteY3808" fmla="*/ 1946173 h 4806848"/>
              <a:gd name="connsiteX3809" fmla="*/ 1479502 w 8978749"/>
              <a:gd name="connsiteY3809" fmla="*/ 1946173 h 4806848"/>
              <a:gd name="connsiteX3810" fmla="*/ 1479502 w 8978749"/>
              <a:gd name="connsiteY3810" fmla="*/ 2003323 h 4806848"/>
              <a:gd name="connsiteX3811" fmla="*/ 1420765 w 8978749"/>
              <a:gd name="connsiteY3811" fmla="*/ 2003323 h 4806848"/>
              <a:gd name="connsiteX3812" fmla="*/ 1341416 w 8978749"/>
              <a:gd name="connsiteY3812" fmla="*/ 1946173 h 4806848"/>
              <a:gd name="connsiteX3813" fmla="*/ 1400138 w 8978749"/>
              <a:gd name="connsiteY3813" fmla="*/ 1946173 h 4806848"/>
              <a:gd name="connsiteX3814" fmla="*/ 1400138 w 8978749"/>
              <a:gd name="connsiteY3814" fmla="*/ 2003323 h 4806848"/>
              <a:gd name="connsiteX3815" fmla="*/ 1341416 w 8978749"/>
              <a:gd name="connsiteY3815" fmla="*/ 2003323 h 4806848"/>
              <a:gd name="connsiteX3816" fmla="*/ 1263610 w 8978749"/>
              <a:gd name="connsiteY3816" fmla="*/ 1946173 h 4806848"/>
              <a:gd name="connsiteX3817" fmla="*/ 1320768 w 8978749"/>
              <a:gd name="connsiteY3817" fmla="*/ 1946173 h 4806848"/>
              <a:gd name="connsiteX3818" fmla="*/ 1320768 w 8978749"/>
              <a:gd name="connsiteY3818" fmla="*/ 2003323 h 4806848"/>
              <a:gd name="connsiteX3819" fmla="*/ 1263610 w 8978749"/>
              <a:gd name="connsiteY3819" fmla="*/ 2003323 h 4806848"/>
              <a:gd name="connsiteX3820" fmla="*/ 7657949 w 8978749"/>
              <a:gd name="connsiteY3820" fmla="*/ 1946172 h 4806848"/>
              <a:gd name="connsiteX3821" fmla="*/ 7715099 w 8978749"/>
              <a:gd name="connsiteY3821" fmla="*/ 1946172 h 4806848"/>
              <a:gd name="connsiteX3822" fmla="*/ 7715099 w 8978749"/>
              <a:gd name="connsiteY3822" fmla="*/ 2003322 h 4806848"/>
              <a:gd name="connsiteX3823" fmla="*/ 7657949 w 8978749"/>
              <a:gd name="connsiteY3823" fmla="*/ 2003322 h 4806848"/>
              <a:gd name="connsiteX3824" fmla="*/ 7578574 w 8978749"/>
              <a:gd name="connsiteY3824" fmla="*/ 1946172 h 4806848"/>
              <a:gd name="connsiteX3825" fmla="*/ 7637312 w 8978749"/>
              <a:gd name="connsiteY3825" fmla="*/ 1946172 h 4806848"/>
              <a:gd name="connsiteX3826" fmla="*/ 7637312 w 8978749"/>
              <a:gd name="connsiteY3826" fmla="*/ 2003322 h 4806848"/>
              <a:gd name="connsiteX3827" fmla="*/ 7578574 w 8978749"/>
              <a:gd name="connsiteY3827" fmla="*/ 2003322 h 4806848"/>
              <a:gd name="connsiteX3828" fmla="*/ 7499199 w 8978749"/>
              <a:gd name="connsiteY3828" fmla="*/ 1946172 h 4806848"/>
              <a:gd name="connsiteX3829" fmla="*/ 7557937 w 8978749"/>
              <a:gd name="connsiteY3829" fmla="*/ 1946172 h 4806848"/>
              <a:gd name="connsiteX3830" fmla="*/ 7557937 w 8978749"/>
              <a:gd name="connsiteY3830" fmla="*/ 2003322 h 4806848"/>
              <a:gd name="connsiteX3831" fmla="*/ 7499199 w 8978749"/>
              <a:gd name="connsiteY3831" fmla="*/ 2003322 h 4806848"/>
              <a:gd name="connsiteX3832" fmla="*/ 7419824 w 8978749"/>
              <a:gd name="connsiteY3832" fmla="*/ 1946172 h 4806848"/>
              <a:gd name="connsiteX3833" fmla="*/ 7478562 w 8978749"/>
              <a:gd name="connsiteY3833" fmla="*/ 1946172 h 4806848"/>
              <a:gd name="connsiteX3834" fmla="*/ 7478562 w 8978749"/>
              <a:gd name="connsiteY3834" fmla="*/ 2003322 h 4806848"/>
              <a:gd name="connsiteX3835" fmla="*/ 7419824 w 8978749"/>
              <a:gd name="connsiteY3835" fmla="*/ 2003322 h 4806848"/>
              <a:gd name="connsiteX3836" fmla="*/ 7183286 w 8978749"/>
              <a:gd name="connsiteY3836" fmla="*/ 1946172 h 4806848"/>
              <a:gd name="connsiteX3837" fmla="*/ 7242024 w 8978749"/>
              <a:gd name="connsiteY3837" fmla="*/ 1946172 h 4806848"/>
              <a:gd name="connsiteX3838" fmla="*/ 7242024 w 8978749"/>
              <a:gd name="connsiteY3838" fmla="*/ 2003322 h 4806848"/>
              <a:gd name="connsiteX3839" fmla="*/ 7183286 w 8978749"/>
              <a:gd name="connsiteY3839" fmla="*/ 2003322 h 4806848"/>
              <a:gd name="connsiteX3840" fmla="*/ 7105499 w 8978749"/>
              <a:gd name="connsiteY3840" fmla="*/ 1946172 h 4806848"/>
              <a:gd name="connsiteX3841" fmla="*/ 7162649 w 8978749"/>
              <a:gd name="connsiteY3841" fmla="*/ 1946172 h 4806848"/>
              <a:gd name="connsiteX3842" fmla="*/ 7162649 w 8978749"/>
              <a:gd name="connsiteY3842" fmla="*/ 2003322 h 4806848"/>
              <a:gd name="connsiteX3843" fmla="*/ 7105499 w 8978749"/>
              <a:gd name="connsiteY3843" fmla="*/ 2003322 h 4806848"/>
              <a:gd name="connsiteX3844" fmla="*/ 7026124 w 8978749"/>
              <a:gd name="connsiteY3844" fmla="*/ 1946172 h 4806848"/>
              <a:gd name="connsiteX3845" fmla="*/ 7084862 w 8978749"/>
              <a:gd name="connsiteY3845" fmla="*/ 1946172 h 4806848"/>
              <a:gd name="connsiteX3846" fmla="*/ 7084862 w 8978749"/>
              <a:gd name="connsiteY3846" fmla="*/ 2003322 h 4806848"/>
              <a:gd name="connsiteX3847" fmla="*/ 7026124 w 8978749"/>
              <a:gd name="connsiteY3847" fmla="*/ 2003322 h 4806848"/>
              <a:gd name="connsiteX3848" fmla="*/ 6946749 w 8978749"/>
              <a:gd name="connsiteY3848" fmla="*/ 1946172 h 4806848"/>
              <a:gd name="connsiteX3849" fmla="*/ 7005487 w 8978749"/>
              <a:gd name="connsiteY3849" fmla="*/ 1946172 h 4806848"/>
              <a:gd name="connsiteX3850" fmla="*/ 7005487 w 8978749"/>
              <a:gd name="connsiteY3850" fmla="*/ 2003322 h 4806848"/>
              <a:gd name="connsiteX3851" fmla="*/ 6946749 w 8978749"/>
              <a:gd name="connsiteY3851" fmla="*/ 2003322 h 4806848"/>
              <a:gd name="connsiteX3852" fmla="*/ 6867374 w 8978749"/>
              <a:gd name="connsiteY3852" fmla="*/ 1946172 h 4806848"/>
              <a:gd name="connsiteX3853" fmla="*/ 6926112 w 8978749"/>
              <a:gd name="connsiteY3853" fmla="*/ 1946172 h 4806848"/>
              <a:gd name="connsiteX3854" fmla="*/ 6926112 w 8978749"/>
              <a:gd name="connsiteY3854" fmla="*/ 2003322 h 4806848"/>
              <a:gd name="connsiteX3855" fmla="*/ 6867374 w 8978749"/>
              <a:gd name="connsiteY3855" fmla="*/ 2003322 h 4806848"/>
              <a:gd name="connsiteX3856" fmla="*/ 6789586 w 8978749"/>
              <a:gd name="connsiteY3856" fmla="*/ 1946172 h 4806848"/>
              <a:gd name="connsiteX3857" fmla="*/ 6846736 w 8978749"/>
              <a:gd name="connsiteY3857" fmla="*/ 1946172 h 4806848"/>
              <a:gd name="connsiteX3858" fmla="*/ 6846736 w 8978749"/>
              <a:gd name="connsiteY3858" fmla="*/ 2003322 h 4806848"/>
              <a:gd name="connsiteX3859" fmla="*/ 6789586 w 8978749"/>
              <a:gd name="connsiteY3859" fmla="*/ 2003322 h 4806848"/>
              <a:gd name="connsiteX3860" fmla="*/ 6710211 w 8978749"/>
              <a:gd name="connsiteY3860" fmla="*/ 1946172 h 4806848"/>
              <a:gd name="connsiteX3861" fmla="*/ 6768949 w 8978749"/>
              <a:gd name="connsiteY3861" fmla="*/ 1946172 h 4806848"/>
              <a:gd name="connsiteX3862" fmla="*/ 6768949 w 8978749"/>
              <a:gd name="connsiteY3862" fmla="*/ 2003322 h 4806848"/>
              <a:gd name="connsiteX3863" fmla="*/ 6710211 w 8978749"/>
              <a:gd name="connsiteY3863" fmla="*/ 2003322 h 4806848"/>
              <a:gd name="connsiteX3864" fmla="*/ 6630836 w 8978749"/>
              <a:gd name="connsiteY3864" fmla="*/ 1946172 h 4806848"/>
              <a:gd name="connsiteX3865" fmla="*/ 6689574 w 8978749"/>
              <a:gd name="connsiteY3865" fmla="*/ 1946172 h 4806848"/>
              <a:gd name="connsiteX3866" fmla="*/ 6689574 w 8978749"/>
              <a:gd name="connsiteY3866" fmla="*/ 2003322 h 4806848"/>
              <a:gd name="connsiteX3867" fmla="*/ 6630836 w 8978749"/>
              <a:gd name="connsiteY3867" fmla="*/ 2003322 h 4806848"/>
              <a:gd name="connsiteX3868" fmla="*/ 6551461 w 8978749"/>
              <a:gd name="connsiteY3868" fmla="*/ 1946172 h 4806848"/>
              <a:gd name="connsiteX3869" fmla="*/ 6610199 w 8978749"/>
              <a:gd name="connsiteY3869" fmla="*/ 1946172 h 4806848"/>
              <a:gd name="connsiteX3870" fmla="*/ 6610199 w 8978749"/>
              <a:gd name="connsiteY3870" fmla="*/ 2003322 h 4806848"/>
              <a:gd name="connsiteX3871" fmla="*/ 6551461 w 8978749"/>
              <a:gd name="connsiteY3871" fmla="*/ 2003322 h 4806848"/>
              <a:gd name="connsiteX3872" fmla="*/ 6473674 w 8978749"/>
              <a:gd name="connsiteY3872" fmla="*/ 1946172 h 4806848"/>
              <a:gd name="connsiteX3873" fmla="*/ 6530824 w 8978749"/>
              <a:gd name="connsiteY3873" fmla="*/ 1946172 h 4806848"/>
              <a:gd name="connsiteX3874" fmla="*/ 6530824 w 8978749"/>
              <a:gd name="connsiteY3874" fmla="*/ 2003322 h 4806848"/>
              <a:gd name="connsiteX3875" fmla="*/ 6473674 w 8978749"/>
              <a:gd name="connsiteY3875" fmla="*/ 2003322 h 4806848"/>
              <a:gd name="connsiteX3876" fmla="*/ 6394299 w 8978749"/>
              <a:gd name="connsiteY3876" fmla="*/ 1946172 h 4806848"/>
              <a:gd name="connsiteX3877" fmla="*/ 6453037 w 8978749"/>
              <a:gd name="connsiteY3877" fmla="*/ 1946172 h 4806848"/>
              <a:gd name="connsiteX3878" fmla="*/ 6453037 w 8978749"/>
              <a:gd name="connsiteY3878" fmla="*/ 2003322 h 4806848"/>
              <a:gd name="connsiteX3879" fmla="*/ 6394299 w 8978749"/>
              <a:gd name="connsiteY3879" fmla="*/ 2003322 h 4806848"/>
              <a:gd name="connsiteX3880" fmla="*/ 6314924 w 8978749"/>
              <a:gd name="connsiteY3880" fmla="*/ 1946172 h 4806848"/>
              <a:gd name="connsiteX3881" fmla="*/ 6373662 w 8978749"/>
              <a:gd name="connsiteY3881" fmla="*/ 1946172 h 4806848"/>
              <a:gd name="connsiteX3882" fmla="*/ 6373662 w 8978749"/>
              <a:gd name="connsiteY3882" fmla="*/ 2003322 h 4806848"/>
              <a:gd name="connsiteX3883" fmla="*/ 6314924 w 8978749"/>
              <a:gd name="connsiteY3883" fmla="*/ 2003322 h 4806848"/>
              <a:gd name="connsiteX3884" fmla="*/ 6235549 w 8978749"/>
              <a:gd name="connsiteY3884" fmla="*/ 1946172 h 4806848"/>
              <a:gd name="connsiteX3885" fmla="*/ 6294287 w 8978749"/>
              <a:gd name="connsiteY3885" fmla="*/ 1946172 h 4806848"/>
              <a:gd name="connsiteX3886" fmla="*/ 6294287 w 8978749"/>
              <a:gd name="connsiteY3886" fmla="*/ 2003322 h 4806848"/>
              <a:gd name="connsiteX3887" fmla="*/ 6235549 w 8978749"/>
              <a:gd name="connsiteY3887" fmla="*/ 2003322 h 4806848"/>
              <a:gd name="connsiteX3888" fmla="*/ 6157761 w 8978749"/>
              <a:gd name="connsiteY3888" fmla="*/ 1946172 h 4806848"/>
              <a:gd name="connsiteX3889" fmla="*/ 6214911 w 8978749"/>
              <a:gd name="connsiteY3889" fmla="*/ 1946172 h 4806848"/>
              <a:gd name="connsiteX3890" fmla="*/ 6214911 w 8978749"/>
              <a:gd name="connsiteY3890" fmla="*/ 2003322 h 4806848"/>
              <a:gd name="connsiteX3891" fmla="*/ 6157761 w 8978749"/>
              <a:gd name="connsiteY3891" fmla="*/ 2003322 h 4806848"/>
              <a:gd name="connsiteX3892" fmla="*/ 6078386 w 8978749"/>
              <a:gd name="connsiteY3892" fmla="*/ 1946172 h 4806848"/>
              <a:gd name="connsiteX3893" fmla="*/ 6137124 w 8978749"/>
              <a:gd name="connsiteY3893" fmla="*/ 1946172 h 4806848"/>
              <a:gd name="connsiteX3894" fmla="*/ 6137124 w 8978749"/>
              <a:gd name="connsiteY3894" fmla="*/ 2003322 h 4806848"/>
              <a:gd name="connsiteX3895" fmla="*/ 6078386 w 8978749"/>
              <a:gd name="connsiteY3895" fmla="*/ 2003322 h 4806848"/>
              <a:gd name="connsiteX3896" fmla="*/ 5999011 w 8978749"/>
              <a:gd name="connsiteY3896" fmla="*/ 1946172 h 4806848"/>
              <a:gd name="connsiteX3897" fmla="*/ 6057749 w 8978749"/>
              <a:gd name="connsiteY3897" fmla="*/ 1946172 h 4806848"/>
              <a:gd name="connsiteX3898" fmla="*/ 6057749 w 8978749"/>
              <a:gd name="connsiteY3898" fmla="*/ 2003322 h 4806848"/>
              <a:gd name="connsiteX3899" fmla="*/ 5999011 w 8978749"/>
              <a:gd name="connsiteY3899" fmla="*/ 2003322 h 4806848"/>
              <a:gd name="connsiteX3900" fmla="*/ 5921224 w 8978749"/>
              <a:gd name="connsiteY3900" fmla="*/ 1946172 h 4806848"/>
              <a:gd name="connsiteX3901" fmla="*/ 5978374 w 8978749"/>
              <a:gd name="connsiteY3901" fmla="*/ 1946172 h 4806848"/>
              <a:gd name="connsiteX3902" fmla="*/ 5978374 w 8978749"/>
              <a:gd name="connsiteY3902" fmla="*/ 2003322 h 4806848"/>
              <a:gd name="connsiteX3903" fmla="*/ 5921224 w 8978749"/>
              <a:gd name="connsiteY3903" fmla="*/ 2003322 h 4806848"/>
              <a:gd name="connsiteX3904" fmla="*/ 5841849 w 8978749"/>
              <a:gd name="connsiteY3904" fmla="*/ 1946172 h 4806848"/>
              <a:gd name="connsiteX3905" fmla="*/ 5900587 w 8978749"/>
              <a:gd name="connsiteY3905" fmla="*/ 1946172 h 4806848"/>
              <a:gd name="connsiteX3906" fmla="*/ 5900587 w 8978749"/>
              <a:gd name="connsiteY3906" fmla="*/ 2003322 h 4806848"/>
              <a:gd name="connsiteX3907" fmla="*/ 5841849 w 8978749"/>
              <a:gd name="connsiteY3907" fmla="*/ 2003322 h 4806848"/>
              <a:gd name="connsiteX3908" fmla="*/ 5762474 w 8978749"/>
              <a:gd name="connsiteY3908" fmla="*/ 1946172 h 4806848"/>
              <a:gd name="connsiteX3909" fmla="*/ 5821212 w 8978749"/>
              <a:gd name="connsiteY3909" fmla="*/ 1946172 h 4806848"/>
              <a:gd name="connsiteX3910" fmla="*/ 5821212 w 8978749"/>
              <a:gd name="connsiteY3910" fmla="*/ 2003322 h 4806848"/>
              <a:gd name="connsiteX3911" fmla="*/ 5762474 w 8978749"/>
              <a:gd name="connsiteY3911" fmla="*/ 2003322 h 4806848"/>
              <a:gd name="connsiteX3912" fmla="*/ 5684686 w 8978749"/>
              <a:gd name="connsiteY3912" fmla="*/ 1946172 h 4806848"/>
              <a:gd name="connsiteX3913" fmla="*/ 5741836 w 8978749"/>
              <a:gd name="connsiteY3913" fmla="*/ 1946172 h 4806848"/>
              <a:gd name="connsiteX3914" fmla="*/ 5741836 w 8978749"/>
              <a:gd name="connsiteY3914" fmla="*/ 2003322 h 4806848"/>
              <a:gd name="connsiteX3915" fmla="*/ 5684686 w 8978749"/>
              <a:gd name="connsiteY3915" fmla="*/ 2003322 h 4806848"/>
              <a:gd name="connsiteX3916" fmla="*/ 5605311 w 8978749"/>
              <a:gd name="connsiteY3916" fmla="*/ 1946172 h 4806848"/>
              <a:gd name="connsiteX3917" fmla="*/ 5664049 w 8978749"/>
              <a:gd name="connsiteY3917" fmla="*/ 1946172 h 4806848"/>
              <a:gd name="connsiteX3918" fmla="*/ 5664049 w 8978749"/>
              <a:gd name="connsiteY3918" fmla="*/ 2003322 h 4806848"/>
              <a:gd name="connsiteX3919" fmla="*/ 5605311 w 8978749"/>
              <a:gd name="connsiteY3919" fmla="*/ 2003322 h 4806848"/>
              <a:gd name="connsiteX3920" fmla="*/ 5525936 w 8978749"/>
              <a:gd name="connsiteY3920" fmla="*/ 1946172 h 4806848"/>
              <a:gd name="connsiteX3921" fmla="*/ 5584674 w 8978749"/>
              <a:gd name="connsiteY3921" fmla="*/ 1946172 h 4806848"/>
              <a:gd name="connsiteX3922" fmla="*/ 5584674 w 8978749"/>
              <a:gd name="connsiteY3922" fmla="*/ 2003322 h 4806848"/>
              <a:gd name="connsiteX3923" fmla="*/ 5525936 w 8978749"/>
              <a:gd name="connsiteY3923" fmla="*/ 2003322 h 4806848"/>
              <a:gd name="connsiteX3924" fmla="*/ 5446561 w 8978749"/>
              <a:gd name="connsiteY3924" fmla="*/ 1946172 h 4806848"/>
              <a:gd name="connsiteX3925" fmla="*/ 5505299 w 8978749"/>
              <a:gd name="connsiteY3925" fmla="*/ 1946172 h 4806848"/>
              <a:gd name="connsiteX3926" fmla="*/ 5505299 w 8978749"/>
              <a:gd name="connsiteY3926" fmla="*/ 2003322 h 4806848"/>
              <a:gd name="connsiteX3927" fmla="*/ 5446561 w 8978749"/>
              <a:gd name="connsiteY3927" fmla="*/ 2003322 h 4806848"/>
              <a:gd name="connsiteX3928" fmla="*/ 5368774 w 8978749"/>
              <a:gd name="connsiteY3928" fmla="*/ 1946172 h 4806848"/>
              <a:gd name="connsiteX3929" fmla="*/ 5425924 w 8978749"/>
              <a:gd name="connsiteY3929" fmla="*/ 1946172 h 4806848"/>
              <a:gd name="connsiteX3930" fmla="*/ 5425924 w 8978749"/>
              <a:gd name="connsiteY3930" fmla="*/ 2003322 h 4806848"/>
              <a:gd name="connsiteX3931" fmla="*/ 5368774 w 8978749"/>
              <a:gd name="connsiteY3931" fmla="*/ 2003322 h 4806848"/>
              <a:gd name="connsiteX3932" fmla="*/ 5289399 w 8978749"/>
              <a:gd name="connsiteY3932" fmla="*/ 1946172 h 4806848"/>
              <a:gd name="connsiteX3933" fmla="*/ 5348137 w 8978749"/>
              <a:gd name="connsiteY3933" fmla="*/ 1946172 h 4806848"/>
              <a:gd name="connsiteX3934" fmla="*/ 5348137 w 8978749"/>
              <a:gd name="connsiteY3934" fmla="*/ 2003322 h 4806848"/>
              <a:gd name="connsiteX3935" fmla="*/ 5289399 w 8978749"/>
              <a:gd name="connsiteY3935" fmla="*/ 2003322 h 4806848"/>
              <a:gd name="connsiteX3936" fmla="*/ 5210024 w 8978749"/>
              <a:gd name="connsiteY3936" fmla="*/ 1946172 h 4806848"/>
              <a:gd name="connsiteX3937" fmla="*/ 5268762 w 8978749"/>
              <a:gd name="connsiteY3937" fmla="*/ 1946172 h 4806848"/>
              <a:gd name="connsiteX3938" fmla="*/ 5268762 w 8978749"/>
              <a:gd name="connsiteY3938" fmla="*/ 2003322 h 4806848"/>
              <a:gd name="connsiteX3939" fmla="*/ 5210024 w 8978749"/>
              <a:gd name="connsiteY3939" fmla="*/ 2003322 h 4806848"/>
              <a:gd name="connsiteX3940" fmla="*/ 5130649 w 8978749"/>
              <a:gd name="connsiteY3940" fmla="*/ 1946172 h 4806848"/>
              <a:gd name="connsiteX3941" fmla="*/ 5189387 w 8978749"/>
              <a:gd name="connsiteY3941" fmla="*/ 1946172 h 4806848"/>
              <a:gd name="connsiteX3942" fmla="*/ 5189387 w 8978749"/>
              <a:gd name="connsiteY3942" fmla="*/ 2003322 h 4806848"/>
              <a:gd name="connsiteX3943" fmla="*/ 5130649 w 8978749"/>
              <a:gd name="connsiteY3943" fmla="*/ 2003322 h 4806848"/>
              <a:gd name="connsiteX3944" fmla="*/ 7735736 w 8978749"/>
              <a:gd name="connsiteY3944" fmla="*/ 1868385 h 4806848"/>
              <a:gd name="connsiteX3945" fmla="*/ 7794474 w 8978749"/>
              <a:gd name="connsiteY3945" fmla="*/ 1868385 h 4806848"/>
              <a:gd name="connsiteX3946" fmla="*/ 7794474 w 8978749"/>
              <a:gd name="connsiteY3946" fmla="*/ 1927123 h 4806848"/>
              <a:gd name="connsiteX3947" fmla="*/ 7735736 w 8978749"/>
              <a:gd name="connsiteY3947" fmla="*/ 1927123 h 4806848"/>
              <a:gd name="connsiteX3948" fmla="*/ 7657949 w 8978749"/>
              <a:gd name="connsiteY3948" fmla="*/ 1868385 h 4806848"/>
              <a:gd name="connsiteX3949" fmla="*/ 7715099 w 8978749"/>
              <a:gd name="connsiteY3949" fmla="*/ 1868385 h 4806848"/>
              <a:gd name="connsiteX3950" fmla="*/ 7715099 w 8978749"/>
              <a:gd name="connsiteY3950" fmla="*/ 1927123 h 4806848"/>
              <a:gd name="connsiteX3951" fmla="*/ 7657949 w 8978749"/>
              <a:gd name="connsiteY3951" fmla="*/ 1927123 h 4806848"/>
              <a:gd name="connsiteX3952" fmla="*/ 7578574 w 8978749"/>
              <a:gd name="connsiteY3952" fmla="*/ 1868385 h 4806848"/>
              <a:gd name="connsiteX3953" fmla="*/ 7637312 w 8978749"/>
              <a:gd name="connsiteY3953" fmla="*/ 1868385 h 4806848"/>
              <a:gd name="connsiteX3954" fmla="*/ 7637312 w 8978749"/>
              <a:gd name="connsiteY3954" fmla="*/ 1927123 h 4806848"/>
              <a:gd name="connsiteX3955" fmla="*/ 7578574 w 8978749"/>
              <a:gd name="connsiteY3955" fmla="*/ 1927123 h 4806848"/>
              <a:gd name="connsiteX3956" fmla="*/ 7419824 w 8978749"/>
              <a:gd name="connsiteY3956" fmla="*/ 1868385 h 4806848"/>
              <a:gd name="connsiteX3957" fmla="*/ 7478562 w 8978749"/>
              <a:gd name="connsiteY3957" fmla="*/ 1868385 h 4806848"/>
              <a:gd name="connsiteX3958" fmla="*/ 7478562 w 8978749"/>
              <a:gd name="connsiteY3958" fmla="*/ 1927123 h 4806848"/>
              <a:gd name="connsiteX3959" fmla="*/ 7419824 w 8978749"/>
              <a:gd name="connsiteY3959" fmla="*/ 1927123 h 4806848"/>
              <a:gd name="connsiteX3960" fmla="*/ 7262661 w 8978749"/>
              <a:gd name="connsiteY3960" fmla="*/ 1868385 h 4806848"/>
              <a:gd name="connsiteX3961" fmla="*/ 7321399 w 8978749"/>
              <a:gd name="connsiteY3961" fmla="*/ 1868385 h 4806848"/>
              <a:gd name="connsiteX3962" fmla="*/ 7321399 w 8978749"/>
              <a:gd name="connsiteY3962" fmla="*/ 1927123 h 4806848"/>
              <a:gd name="connsiteX3963" fmla="*/ 7262661 w 8978749"/>
              <a:gd name="connsiteY3963" fmla="*/ 1927123 h 4806848"/>
              <a:gd name="connsiteX3964" fmla="*/ 7183286 w 8978749"/>
              <a:gd name="connsiteY3964" fmla="*/ 1868385 h 4806848"/>
              <a:gd name="connsiteX3965" fmla="*/ 7242024 w 8978749"/>
              <a:gd name="connsiteY3965" fmla="*/ 1868385 h 4806848"/>
              <a:gd name="connsiteX3966" fmla="*/ 7242024 w 8978749"/>
              <a:gd name="connsiteY3966" fmla="*/ 1927123 h 4806848"/>
              <a:gd name="connsiteX3967" fmla="*/ 7183286 w 8978749"/>
              <a:gd name="connsiteY3967" fmla="*/ 1927123 h 4806848"/>
              <a:gd name="connsiteX3968" fmla="*/ 7105499 w 8978749"/>
              <a:gd name="connsiteY3968" fmla="*/ 1868385 h 4806848"/>
              <a:gd name="connsiteX3969" fmla="*/ 7162649 w 8978749"/>
              <a:gd name="connsiteY3969" fmla="*/ 1868385 h 4806848"/>
              <a:gd name="connsiteX3970" fmla="*/ 7162649 w 8978749"/>
              <a:gd name="connsiteY3970" fmla="*/ 1927123 h 4806848"/>
              <a:gd name="connsiteX3971" fmla="*/ 7105499 w 8978749"/>
              <a:gd name="connsiteY3971" fmla="*/ 1927123 h 4806848"/>
              <a:gd name="connsiteX3972" fmla="*/ 7026124 w 8978749"/>
              <a:gd name="connsiteY3972" fmla="*/ 1868385 h 4806848"/>
              <a:gd name="connsiteX3973" fmla="*/ 7084862 w 8978749"/>
              <a:gd name="connsiteY3973" fmla="*/ 1868385 h 4806848"/>
              <a:gd name="connsiteX3974" fmla="*/ 7084862 w 8978749"/>
              <a:gd name="connsiteY3974" fmla="*/ 1927123 h 4806848"/>
              <a:gd name="connsiteX3975" fmla="*/ 7026124 w 8978749"/>
              <a:gd name="connsiteY3975" fmla="*/ 1927123 h 4806848"/>
              <a:gd name="connsiteX3976" fmla="*/ 6946749 w 8978749"/>
              <a:gd name="connsiteY3976" fmla="*/ 1868385 h 4806848"/>
              <a:gd name="connsiteX3977" fmla="*/ 7005487 w 8978749"/>
              <a:gd name="connsiteY3977" fmla="*/ 1868385 h 4806848"/>
              <a:gd name="connsiteX3978" fmla="*/ 7005487 w 8978749"/>
              <a:gd name="connsiteY3978" fmla="*/ 1927123 h 4806848"/>
              <a:gd name="connsiteX3979" fmla="*/ 6946749 w 8978749"/>
              <a:gd name="connsiteY3979" fmla="*/ 1927123 h 4806848"/>
              <a:gd name="connsiteX3980" fmla="*/ 6867374 w 8978749"/>
              <a:gd name="connsiteY3980" fmla="*/ 1868385 h 4806848"/>
              <a:gd name="connsiteX3981" fmla="*/ 6926112 w 8978749"/>
              <a:gd name="connsiteY3981" fmla="*/ 1868385 h 4806848"/>
              <a:gd name="connsiteX3982" fmla="*/ 6926112 w 8978749"/>
              <a:gd name="connsiteY3982" fmla="*/ 1927123 h 4806848"/>
              <a:gd name="connsiteX3983" fmla="*/ 6867374 w 8978749"/>
              <a:gd name="connsiteY3983" fmla="*/ 1927123 h 4806848"/>
              <a:gd name="connsiteX3984" fmla="*/ 6789586 w 8978749"/>
              <a:gd name="connsiteY3984" fmla="*/ 1868385 h 4806848"/>
              <a:gd name="connsiteX3985" fmla="*/ 6846736 w 8978749"/>
              <a:gd name="connsiteY3985" fmla="*/ 1868385 h 4806848"/>
              <a:gd name="connsiteX3986" fmla="*/ 6846736 w 8978749"/>
              <a:gd name="connsiteY3986" fmla="*/ 1927123 h 4806848"/>
              <a:gd name="connsiteX3987" fmla="*/ 6789586 w 8978749"/>
              <a:gd name="connsiteY3987" fmla="*/ 1927123 h 4806848"/>
              <a:gd name="connsiteX3988" fmla="*/ 6710211 w 8978749"/>
              <a:gd name="connsiteY3988" fmla="*/ 1868385 h 4806848"/>
              <a:gd name="connsiteX3989" fmla="*/ 6768949 w 8978749"/>
              <a:gd name="connsiteY3989" fmla="*/ 1868385 h 4806848"/>
              <a:gd name="connsiteX3990" fmla="*/ 6768949 w 8978749"/>
              <a:gd name="connsiteY3990" fmla="*/ 1927123 h 4806848"/>
              <a:gd name="connsiteX3991" fmla="*/ 6710211 w 8978749"/>
              <a:gd name="connsiteY3991" fmla="*/ 1927123 h 4806848"/>
              <a:gd name="connsiteX3992" fmla="*/ 6630836 w 8978749"/>
              <a:gd name="connsiteY3992" fmla="*/ 1868385 h 4806848"/>
              <a:gd name="connsiteX3993" fmla="*/ 6689574 w 8978749"/>
              <a:gd name="connsiteY3993" fmla="*/ 1868385 h 4806848"/>
              <a:gd name="connsiteX3994" fmla="*/ 6689574 w 8978749"/>
              <a:gd name="connsiteY3994" fmla="*/ 1927123 h 4806848"/>
              <a:gd name="connsiteX3995" fmla="*/ 6630836 w 8978749"/>
              <a:gd name="connsiteY3995" fmla="*/ 1927123 h 4806848"/>
              <a:gd name="connsiteX3996" fmla="*/ 6551461 w 8978749"/>
              <a:gd name="connsiteY3996" fmla="*/ 1868385 h 4806848"/>
              <a:gd name="connsiteX3997" fmla="*/ 6610199 w 8978749"/>
              <a:gd name="connsiteY3997" fmla="*/ 1868385 h 4806848"/>
              <a:gd name="connsiteX3998" fmla="*/ 6610199 w 8978749"/>
              <a:gd name="connsiteY3998" fmla="*/ 1927123 h 4806848"/>
              <a:gd name="connsiteX3999" fmla="*/ 6551461 w 8978749"/>
              <a:gd name="connsiteY3999" fmla="*/ 1927123 h 4806848"/>
              <a:gd name="connsiteX4000" fmla="*/ 6473674 w 8978749"/>
              <a:gd name="connsiteY4000" fmla="*/ 1868385 h 4806848"/>
              <a:gd name="connsiteX4001" fmla="*/ 6530824 w 8978749"/>
              <a:gd name="connsiteY4001" fmla="*/ 1868385 h 4806848"/>
              <a:gd name="connsiteX4002" fmla="*/ 6530824 w 8978749"/>
              <a:gd name="connsiteY4002" fmla="*/ 1927123 h 4806848"/>
              <a:gd name="connsiteX4003" fmla="*/ 6473674 w 8978749"/>
              <a:gd name="connsiteY4003" fmla="*/ 1927123 h 4806848"/>
              <a:gd name="connsiteX4004" fmla="*/ 6394299 w 8978749"/>
              <a:gd name="connsiteY4004" fmla="*/ 1868385 h 4806848"/>
              <a:gd name="connsiteX4005" fmla="*/ 6453037 w 8978749"/>
              <a:gd name="connsiteY4005" fmla="*/ 1868385 h 4806848"/>
              <a:gd name="connsiteX4006" fmla="*/ 6453037 w 8978749"/>
              <a:gd name="connsiteY4006" fmla="*/ 1927123 h 4806848"/>
              <a:gd name="connsiteX4007" fmla="*/ 6394299 w 8978749"/>
              <a:gd name="connsiteY4007" fmla="*/ 1927123 h 4806848"/>
              <a:gd name="connsiteX4008" fmla="*/ 6314924 w 8978749"/>
              <a:gd name="connsiteY4008" fmla="*/ 1868385 h 4806848"/>
              <a:gd name="connsiteX4009" fmla="*/ 6373662 w 8978749"/>
              <a:gd name="connsiteY4009" fmla="*/ 1868385 h 4806848"/>
              <a:gd name="connsiteX4010" fmla="*/ 6373662 w 8978749"/>
              <a:gd name="connsiteY4010" fmla="*/ 1927123 h 4806848"/>
              <a:gd name="connsiteX4011" fmla="*/ 6314924 w 8978749"/>
              <a:gd name="connsiteY4011" fmla="*/ 1927123 h 4806848"/>
              <a:gd name="connsiteX4012" fmla="*/ 6235549 w 8978749"/>
              <a:gd name="connsiteY4012" fmla="*/ 1868385 h 4806848"/>
              <a:gd name="connsiteX4013" fmla="*/ 6294287 w 8978749"/>
              <a:gd name="connsiteY4013" fmla="*/ 1868385 h 4806848"/>
              <a:gd name="connsiteX4014" fmla="*/ 6294287 w 8978749"/>
              <a:gd name="connsiteY4014" fmla="*/ 1927123 h 4806848"/>
              <a:gd name="connsiteX4015" fmla="*/ 6235549 w 8978749"/>
              <a:gd name="connsiteY4015" fmla="*/ 1927123 h 4806848"/>
              <a:gd name="connsiteX4016" fmla="*/ 6157761 w 8978749"/>
              <a:gd name="connsiteY4016" fmla="*/ 1868385 h 4806848"/>
              <a:gd name="connsiteX4017" fmla="*/ 6214911 w 8978749"/>
              <a:gd name="connsiteY4017" fmla="*/ 1868385 h 4806848"/>
              <a:gd name="connsiteX4018" fmla="*/ 6214911 w 8978749"/>
              <a:gd name="connsiteY4018" fmla="*/ 1927123 h 4806848"/>
              <a:gd name="connsiteX4019" fmla="*/ 6157761 w 8978749"/>
              <a:gd name="connsiteY4019" fmla="*/ 1927123 h 4806848"/>
              <a:gd name="connsiteX4020" fmla="*/ 6078386 w 8978749"/>
              <a:gd name="connsiteY4020" fmla="*/ 1868385 h 4806848"/>
              <a:gd name="connsiteX4021" fmla="*/ 6137124 w 8978749"/>
              <a:gd name="connsiteY4021" fmla="*/ 1868385 h 4806848"/>
              <a:gd name="connsiteX4022" fmla="*/ 6137124 w 8978749"/>
              <a:gd name="connsiteY4022" fmla="*/ 1927123 h 4806848"/>
              <a:gd name="connsiteX4023" fmla="*/ 6078386 w 8978749"/>
              <a:gd name="connsiteY4023" fmla="*/ 1927123 h 4806848"/>
              <a:gd name="connsiteX4024" fmla="*/ 5999011 w 8978749"/>
              <a:gd name="connsiteY4024" fmla="*/ 1868385 h 4806848"/>
              <a:gd name="connsiteX4025" fmla="*/ 6057749 w 8978749"/>
              <a:gd name="connsiteY4025" fmla="*/ 1868385 h 4806848"/>
              <a:gd name="connsiteX4026" fmla="*/ 6057749 w 8978749"/>
              <a:gd name="connsiteY4026" fmla="*/ 1927123 h 4806848"/>
              <a:gd name="connsiteX4027" fmla="*/ 5999011 w 8978749"/>
              <a:gd name="connsiteY4027" fmla="*/ 1927123 h 4806848"/>
              <a:gd name="connsiteX4028" fmla="*/ 5921224 w 8978749"/>
              <a:gd name="connsiteY4028" fmla="*/ 1868385 h 4806848"/>
              <a:gd name="connsiteX4029" fmla="*/ 5978374 w 8978749"/>
              <a:gd name="connsiteY4029" fmla="*/ 1868385 h 4806848"/>
              <a:gd name="connsiteX4030" fmla="*/ 5978374 w 8978749"/>
              <a:gd name="connsiteY4030" fmla="*/ 1927123 h 4806848"/>
              <a:gd name="connsiteX4031" fmla="*/ 5921224 w 8978749"/>
              <a:gd name="connsiteY4031" fmla="*/ 1927123 h 4806848"/>
              <a:gd name="connsiteX4032" fmla="*/ 5841849 w 8978749"/>
              <a:gd name="connsiteY4032" fmla="*/ 1868385 h 4806848"/>
              <a:gd name="connsiteX4033" fmla="*/ 5900587 w 8978749"/>
              <a:gd name="connsiteY4033" fmla="*/ 1868385 h 4806848"/>
              <a:gd name="connsiteX4034" fmla="*/ 5900587 w 8978749"/>
              <a:gd name="connsiteY4034" fmla="*/ 1927123 h 4806848"/>
              <a:gd name="connsiteX4035" fmla="*/ 5841849 w 8978749"/>
              <a:gd name="connsiteY4035" fmla="*/ 1927123 h 4806848"/>
              <a:gd name="connsiteX4036" fmla="*/ 5762474 w 8978749"/>
              <a:gd name="connsiteY4036" fmla="*/ 1868385 h 4806848"/>
              <a:gd name="connsiteX4037" fmla="*/ 5821212 w 8978749"/>
              <a:gd name="connsiteY4037" fmla="*/ 1868385 h 4806848"/>
              <a:gd name="connsiteX4038" fmla="*/ 5821212 w 8978749"/>
              <a:gd name="connsiteY4038" fmla="*/ 1927123 h 4806848"/>
              <a:gd name="connsiteX4039" fmla="*/ 5762474 w 8978749"/>
              <a:gd name="connsiteY4039" fmla="*/ 1927123 h 4806848"/>
              <a:gd name="connsiteX4040" fmla="*/ 5684686 w 8978749"/>
              <a:gd name="connsiteY4040" fmla="*/ 1868385 h 4806848"/>
              <a:gd name="connsiteX4041" fmla="*/ 5741836 w 8978749"/>
              <a:gd name="connsiteY4041" fmla="*/ 1868385 h 4806848"/>
              <a:gd name="connsiteX4042" fmla="*/ 5741836 w 8978749"/>
              <a:gd name="connsiteY4042" fmla="*/ 1927123 h 4806848"/>
              <a:gd name="connsiteX4043" fmla="*/ 5684686 w 8978749"/>
              <a:gd name="connsiteY4043" fmla="*/ 1927123 h 4806848"/>
              <a:gd name="connsiteX4044" fmla="*/ 5605311 w 8978749"/>
              <a:gd name="connsiteY4044" fmla="*/ 1868385 h 4806848"/>
              <a:gd name="connsiteX4045" fmla="*/ 5664049 w 8978749"/>
              <a:gd name="connsiteY4045" fmla="*/ 1868385 h 4806848"/>
              <a:gd name="connsiteX4046" fmla="*/ 5664049 w 8978749"/>
              <a:gd name="connsiteY4046" fmla="*/ 1927123 h 4806848"/>
              <a:gd name="connsiteX4047" fmla="*/ 5605311 w 8978749"/>
              <a:gd name="connsiteY4047" fmla="*/ 1927123 h 4806848"/>
              <a:gd name="connsiteX4048" fmla="*/ 5525936 w 8978749"/>
              <a:gd name="connsiteY4048" fmla="*/ 1868385 h 4806848"/>
              <a:gd name="connsiteX4049" fmla="*/ 5584674 w 8978749"/>
              <a:gd name="connsiteY4049" fmla="*/ 1868385 h 4806848"/>
              <a:gd name="connsiteX4050" fmla="*/ 5584674 w 8978749"/>
              <a:gd name="connsiteY4050" fmla="*/ 1927123 h 4806848"/>
              <a:gd name="connsiteX4051" fmla="*/ 5525936 w 8978749"/>
              <a:gd name="connsiteY4051" fmla="*/ 1927123 h 4806848"/>
              <a:gd name="connsiteX4052" fmla="*/ 5446561 w 8978749"/>
              <a:gd name="connsiteY4052" fmla="*/ 1868385 h 4806848"/>
              <a:gd name="connsiteX4053" fmla="*/ 5505299 w 8978749"/>
              <a:gd name="connsiteY4053" fmla="*/ 1868385 h 4806848"/>
              <a:gd name="connsiteX4054" fmla="*/ 5505299 w 8978749"/>
              <a:gd name="connsiteY4054" fmla="*/ 1927123 h 4806848"/>
              <a:gd name="connsiteX4055" fmla="*/ 5446561 w 8978749"/>
              <a:gd name="connsiteY4055" fmla="*/ 1927123 h 4806848"/>
              <a:gd name="connsiteX4056" fmla="*/ 5368774 w 8978749"/>
              <a:gd name="connsiteY4056" fmla="*/ 1868385 h 4806848"/>
              <a:gd name="connsiteX4057" fmla="*/ 5425924 w 8978749"/>
              <a:gd name="connsiteY4057" fmla="*/ 1868385 h 4806848"/>
              <a:gd name="connsiteX4058" fmla="*/ 5425924 w 8978749"/>
              <a:gd name="connsiteY4058" fmla="*/ 1927123 h 4806848"/>
              <a:gd name="connsiteX4059" fmla="*/ 5368774 w 8978749"/>
              <a:gd name="connsiteY4059" fmla="*/ 1927123 h 4806848"/>
              <a:gd name="connsiteX4060" fmla="*/ 5289399 w 8978749"/>
              <a:gd name="connsiteY4060" fmla="*/ 1868385 h 4806848"/>
              <a:gd name="connsiteX4061" fmla="*/ 5348137 w 8978749"/>
              <a:gd name="connsiteY4061" fmla="*/ 1868385 h 4806848"/>
              <a:gd name="connsiteX4062" fmla="*/ 5348137 w 8978749"/>
              <a:gd name="connsiteY4062" fmla="*/ 1927123 h 4806848"/>
              <a:gd name="connsiteX4063" fmla="*/ 5289399 w 8978749"/>
              <a:gd name="connsiteY4063" fmla="*/ 1927123 h 4806848"/>
              <a:gd name="connsiteX4064" fmla="*/ 5210024 w 8978749"/>
              <a:gd name="connsiteY4064" fmla="*/ 1868385 h 4806848"/>
              <a:gd name="connsiteX4065" fmla="*/ 5268762 w 8978749"/>
              <a:gd name="connsiteY4065" fmla="*/ 1868385 h 4806848"/>
              <a:gd name="connsiteX4066" fmla="*/ 5268762 w 8978749"/>
              <a:gd name="connsiteY4066" fmla="*/ 1927123 h 4806848"/>
              <a:gd name="connsiteX4067" fmla="*/ 5210024 w 8978749"/>
              <a:gd name="connsiteY4067" fmla="*/ 1927123 h 4806848"/>
              <a:gd name="connsiteX4068" fmla="*/ 5130649 w 8978749"/>
              <a:gd name="connsiteY4068" fmla="*/ 1868385 h 4806848"/>
              <a:gd name="connsiteX4069" fmla="*/ 5189387 w 8978749"/>
              <a:gd name="connsiteY4069" fmla="*/ 1868385 h 4806848"/>
              <a:gd name="connsiteX4070" fmla="*/ 5189387 w 8978749"/>
              <a:gd name="connsiteY4070" fmla="*/ 1927123 h 4806848"/>
              <a:gd name="connsiteX4071" fmla="*/ 5130649 w 8978749"/>
              <a:gd name="connsiteY4071" fmla="*/ 1927123 h 4806848"/>
              <a:gd name="connsiteX4072" fmla="*/ 5052861 w 8978749"/>
              <a:gd name="connsiteY4072" fmla="*/ 1868385 h 4806848"/>
              <a:gd name="connsiteX4073" fmla="*/ 5110011 w 8978749"/>
              <a:gd name="connsiteY4073" fmla="*/ 1868385 h 4806848"/>
              <a:gd name="connsiteX4074" fmla="*/ 5110011 w 8978749"/>
              <a:gd name="connsiteY4074" fmla="*/ 1927123 h 4806848"/>
              <a:gd name="connsiteX4075" fmla="*/ 5052861 w 8978749"/>
              <a:gd name="connsiteY4075" fmla="*/ 1927123 h 4806848"/>
              <a:gd name="connsiteX4076" fmla="*/ 4973486 w 8978749"/>
              <a:gd name="connsiteY4076" fmla="*/ 1868385 h 4806848"/>
              <a:gd name="connsiteX4077" fmla="*/ 5030636 w 8978749"/>
              <a:gd name="connsiteY4077" fmla="*/ 1868385 h 4806848"/>
              <a:gd name="connsiteX4078" fmla="*/ 5030636 w 8978749"/>
              <a:gd name="connsiteY4078" fmla="*/ 1927123 h 4806848"/>
              <a:gd name="connsiteX4079" fmla="*/ 4973486 w 8978749"/>
              <a:gd name="connsiteY4079" fmla="*/ 1927123 h 4806848"/>
              <a:gd name="connsiteX4080" fmla="*/ 4814736 w 8978749"/>
              <a:gd name="connsiteY4080" fmla="*/ 1868385 h 4806848"/>
              <a:gd name="connsiteX4081" fmla="*/ 4873474 w 8978749"/>
              <a:gd name="connsiteY4081" fmla="*/ 1868385 h 4806848"/>
              <a:gd name="connsiteX4082" fmla="*/ 4873474 w 8978749"/>
              <a:gd name="connsiteY4082" fmla="*/ 1927123 h 4806848"/>
              <a:gd name="connsiteX4083" fmla="*/ 4814736 w 8978749"/>
              <a:gd name="connsiteY4083" fmla="*/ 1927123 h 4806848"/>
              <a:gd name="connsiteX4084" fmla="*/ 4578198 w 8978749"/>
              <a:gd name="connsiteY4084" fmla="*/ 1868385 h 4806848"/>
              <a:gd name="connsiteX4085" fmla="*/ 4636936 w 8978749"/>
              <a:gd name="connsiteY4085" fmla="*/ 1868385 h 4806848"/>
              <a:gd name="connsiteX4086" fmla="*/ 4636936 w 8978749"/>
              <a:gd name="connsiteY4086" fmla="*/ 1927123 h 4806848"/>
              <a:gd name="connsiteX4087" fmla="*/ 4578198 w 8978749"/>
              <a:gd name="connsiteY4087" fmla="*/ 1927123 h 4806848"/>
              <a:gd name="connsiteX4088" fmla="*/ 4421036 w 8978749"/>
              <a:gd name="connsiteY4088" fmla="*/ 1868385 h 4806848"/>
              <a:gd name="connsiteX4089" fmla="*/ 4479774 w 8978749"/>
              <a:gd name="connsiteY4089" fmla="*/ 1868385 h 4806848"/>
              <a:gd name="connsiteX4090" fmla="*/ 4479774 w 8978749"/>
              <a:gd name="connsiteY4090" fmla="*/ 1927123 h 4806848"/>
              <a:gd name="connsiteX4091" fmla="*/ 4421036 w 8978749"/>
              <a:gd name="connsiteY4091" fmla="*/ 1927123 h 4806848"/>
              <a:gd name="connsiteX4092" fmla="*/ 4341661 w 8978749"/>
              <a:gd name="connsiteY4092" fmla="*/ 1868385 h 4806848"/>
              <a:gd name="connsiteX4093" fmla="*/ 4400399 w 8978749"/>
              <a:gd name="connsiteY4093" fmla="*/ 1868385 h 4806848"/>
              <a:gd name="connsiteX4094" fmla="*/ 4400399 w 8978749"/>
              <a:gd name="connsiteY4094" fmla="*/ 1927123 h 4806848"/>
              <a:gd name="connsiteX4095" fmla="*/ 4341661 w 8978749"/>
              <a:gd name="connsiteY4095" fmla="*/ 1927123 h 4806848"/>
              <a:gd name="connsiteX4096" fmla="*/ 4262286 w 8978749"/>
              <a:gd name="connsiteY4096" fmla="*/ 1868385 h 4806848"/>
              <a:gd name="connsiteX4097" fmla="*/ 4321024 w 8978749"/>
              <a:gd name="connsiteY4097" fmla="*/ 1868385 h 4806848"/>
              <a:gd name="connsiteX4098" fmla="*/ 4321024 w 8978749"/>
              <a:gd name="connsiteY4098" fmla="*/ 1927123 h 4806848"/>
              <a:gd name="connsiteX4099" fmla="*/ 4262286 w 8978749"/>
              <a:gd name="connsiteY4099" fmla="*/ 1927123 h 4806848"/>
              <a:gd name="connsiteX4100" fmla="*/ 4105123 w 8978749"/>
              <a:gd name="connsiteY4100" fmla="*/ 1868385 h 4806848"/>
              <a:gd name="connsiteX4101" fmla="*/ 4163861 w 8978749"/>
              <a:gd name="connsiteY4101" fmla="*/ 1868385 h 4806848"/>
              <a:gd name="connsiteX4102" fmla="*/ 4163861 w 8978749"/>
              <a:gd name="connsiteY4102" fmla="*/ 1927123 h 4806848"/>
              <a:gd name="connsiteX4103" fmla="*/ 4105123 w 8978749"/>
              <a:gd name="connsiteY4103" fmla="*/ 1927123 h 4806848"/>
              <a:gd name="connsiteX4104" fmla="*/ 2289139 w 8978749"/>
              <a:gd name="connsiteY4104" fmla="*/ 1868385 h 4806848"/>
              <a:gd name="connsiteX4105" fmla="*/ 2347881 w 8978749"/>
              <a:gd name="connsiteY4105" fmla="*/ 1868385 h 4806848"/>
              <a:gd name="connsiteX4106" fmla="*/ 2347881 w 8978749"/>
              <a:gd name="connsiteY4106" fmla="*/ 1927123 h 4806848"/>
              <a:gd name="connsiteX4107" fmla="*/ 2289139 w 8978749"/>
              <a:gd name="connsiteY4107" fmla="*/ 1927123 h 4806848"/>
              <a:gd name="connsiteX4108" fmla="*/ 2209764 w 8978749"/>
              <a:gd name="connsiteY4108" fmla="*/ 1868385 h 4806848"/>
              <a:gd name="connsiteX4109" fmla="*/ 2268504 w 8978749"/>
              <a:gd name="connsiteY4109" fmla="*/ 1868385 h 4806848"/>
              <a:gd name="connsiteX4110" fmla="*/ 2268504 w 8978749"/>
              <a:gd name="connsiteY4110" fmla="*/ 1927123 h 4806848"/>
              <a:gd name="connsiteX4111" fmla="*/ 2209764 w 8978749"/>
              <a:gd name="connsiteY4111" fmla="*/ 1927123 h 4806848"/>
              <a:gd name="connsiteX4112" fmla="*/ 2131978 w 8978749"/>
              <a:gd name="connsiteY4112" fmla="*/ 1868385 h 4806848"/>
              <a:gd name="connsiteX4113" fmla="*/ 2189128 w 8978749"/>
              <a:gd name="connsiteY4113" fmla="*/ 1868385 h 4806848"/>
              <a:gd name="connsiteX4114" fmla="*/ 2189128 w 8978749"/>
              <a:gd name="connsiteY4114" fmla="*/ 1927123 h 4806848"/>
              <a:gd name="connsiteX4115" fmla="*/ 2131978 w 8978749"/>
              <a:gd name="connsiteY4115" fmla="*/ 1927123 h 4806848"/>
              <a:gd name="connsiteX4116" fmla="*/ 2052597 w 8978749"/>
              <a:gd name="connsiteY4116" fmla="*/ 1868385 h 4806848"/>
              <a:gd name="connsiteX4117" fmla="*/ 2111340 w 8978749"/>
              <a:gd name="connsiteY4117" fmla="*/ 1868385 h 4806848"/>
              <a:gd name="connsiteX4118" fmla="*/ 2111340 w 8978749"/>
              <a:gd name="connsiteY4118" fmla="*/ 1927123 h 4806848"/>
              <a:gd name="connsiteX4119" fmla="*/ 2052597 w 8978749"/>
              <a:gd name="connsiteY4119" fmla="*/ 1927123 h 4806848"/>
              <a:gd name="connsiteX4120" fmla="*/ 1973219 w 8978749"/>
              <a:gd name="connsiteY4120" fmla="*/ 1868385 h 4806848"/>
              <a:gd name="connsiteX4121" fmla="*/ 2031961 w 8978749"/>
              <a:gd name="connsiteY4121" fmla="*/ 1868385 h 4806848"/>
              <a:gd name="connsiteX4122" fmla="*/ 2031961 w 8978749"/>
              <a:gd name="connsiteY4122" fmla="*/ 1927123 h 4806848"/>
              <a:gd name="connsiteX4123" fmla="*/ 1973219 w 8978749"/>
              <a:gd name="connsiteY4123" fmla="*/ 1927123 h 4806848"/>
              <a:gd name="connsiteX4124" fmla="*/ 1893842 w 8978749"/>
              <a:gd name="connsiteY4124" fmla="*/ 1868385 h 4806848"/>
              <a:gd name="connsiteX4125" fmla="*/ 1952581 w 8978749"/>
              <a:gd name="connsiteY4125" fmla="*/ 1868385 h 4806848"/>
              <a:gd name="connsiteX4126" fmla="*/ 1952581 w 8978749"/>
              <a:gd name="connsiteY4126" fmla="*/ 1927123 h 4806848"/>
              <a:gd name="connsiteX4127" fmla="*/ 1893842 w 8978749"/>
              <a:gd name="connsiteY4127" fmla="*/ 1927123 h 4806848"/>
              <a:gd name="connsiteX4128" fmla="*/ 1816076 w 8978749"/>
              <a:gd name="connsiteY4128" fmla="*/ 1868385 h 4806848"/>
              <a:gd name="connsiteX4129" fmla="*/ 1873210 w 8978749"/>
              <a:gd name="connsiteY4129" fmla="*/ 1868385 h 4806848"/>
              <a:gd name="connsiteX4130" fmla="*/ 1873210 w 8978749"/>
              <a:gd name="connsiteY4130" fmla="*/ 1927123 h 4806848"/>
              <a:gd name="connsiteX4131" fmla="*/ 1816076 w 8978749"/>
              <a:gd name="connsiteY4131" fmla="*/ 1927123 h 4806848"/>
              <a:gd name="connsiteX4132" fmla="*/ 1736700 w 8978749"/>
              <a:gd name="connsiteY4132" fmla="*/ 1868385 h 4806848"/>
              <a:gd name="connsiteX4133" fmla="*/ 1795444 w 8978749"/>
              <a:gd name="connsiteY4133" fmla="*/ 1868385 h 4806848"/>
              <a:gd name="connsiteX4134" fmla="*/ 1795444 w 8978749"/>
              <a:gd name="connsiteY4134" fmla="*/ 1927123 h 4806848"/>
              <a:gd name="connsiteX4135" fmla="*/ 1736700 w 8978749"/>
              <a:gd name="connsiteY4135" fmla="*/ 1927123 h 4806848"/>
              <a:gd name="connsiteX4136" fmla="*/ 1657317 w 8978749"/>
              <a:gd name="connsiteY4136" fmla="*/ 1868385 h 4806848"/>
              <a:gd name="connsiteX4137" fmla="*/ 1716060 w 8978749"/>
              <a:gd name="connsiteY4137" fmla="*/ 1868385 h 4806848"/>
              <a:gd name="connsiteX4138" fmla="*/ 1716060 w 8978749"/>
              <a:gd name="connsiteY4138" fmla="*/ 1927123 h 4806848"/>
              <a:gd name="connsiteX4139" fmla="*/ 1657317 w 8978749"/>
              <a:gd name="connsiteY4139" fmla="*/ 1927123 h 4806848"/>
              <a:gd name="connsiteX4140" fmla="*/ 1577933 w 8978749"/>
              <a:gd name="connsiteY4140" fmla="*/ 1868385 h 4806848"/>
              <a:gd name="connsiteX4141" fmla="*/ 1636683 w 8978749"/>
              <a:gd name="connsiteY4141" fmla="*/ 1868385 h 4806848"/>
              <a:gd name="connsiteX4142" fmla="*/ 1636683 w 8978749"/>
              <a:gd name="connsiteY4142" fmla="*/ 1927123 h 4806848"/>
              <a:gd name="connsiteX4143" fmla="*/ 1577933 w 8978749"/>
              <a:gd name="connsiteY4143" fmla="*/ 1927123 h 4806848"/>
              <a:gd name="connsiteX4144" fmla="*/ 1500145 w 8978749"/>
              <a:gd name="connsiteY4144" fmla="*/ 1868385 h 4806848"/>
              <a:gd name="connsiteX4145" fmla="*/ 1558889 w 8978749"/>
              <a:gd name="connsiteY4145" fmla="*/ 1868385 h 4806848"/>
              <a:gd name="connsiteX4146" fmla="*/ 1558889 w 8978749"/>
              <a:gd name="connsiteY4146" fmla="*/ 1927123 h 4806848"/>
              <a:gd name="connsiteX4147" fmla="*/ 1500145 w 8978749"/>
              <a:gd name="connsiteY4147" fmla="*/ 1927123 h 4806848"/>
              <a:gd name="connsiteX4148" fmla="*/ 1420767 w 8978749"/>
              <a:gd name="connsiteY4148" fmla="*/ 1868385 h 4806848"/>
              <a:gd name="connsiteX4149" fmla="*/ 1479504 w 8978749"/>
              <a:gd name="connsiteY4149" fmla="*/ 1868385 h 4806848"/>
              <a:gd name="connsiteX4150" fmla="*/ 1479504 w 8978749"/>
              <a:gd name="connsiteY4150" fmla="*/ 1927123 h 4806848"/>
              <a:gd name="connsiteX4151" fmla="*/ 1420767 w 8978749"/>
              <a:gd name="connsiteY4151" fmla="*/ 1927123 h 4806848"/>
              <a:gd name="connsiteX4152" fmla="*/ 1341416 w 8978749"/>
              <a:gd name="connsiteY4152" fmla="*/ 1868385 h 4806848"/>
              <a:gd name="connsiteX4153" fmla="*/ 1400143 w 8978749"/>
              <a:gd name="connsiteY4153" fmla="*/ 1868385 h 4806848"/>
              <a:gd name="connsiteX4154" fmla="*/ 1400143 w 8978749"/>
              <a:gd name="connsiteY4154" fmla="*/ 1927123 h 4806848"/>
              <a:gd name="connsiteX4155" fmla="*/ 1341416 w 8978749"/>
              <a:gd name="connsiteY4155" fmla="*/ 1927123 h 4806848"/>
              <a:gd name="connsiteX4156" fmla="*/ 1263610 w 8978749"/>
              <a:gd name="connsiteY4156" fmla="*/ 1868385 h 4806848"/>
              <a:gd name="connsiteX4157" fmla="*/ 1320774 w 8978749"/>
              <a:gd name="connsiteY4157" fmla="*/ 1868385 h 4806848"/>
              <a:gd name="connsiteX4158" fmla="*/ 1320774 w 8978749"/>
              <a:gd name="connsiteY4158" fmla="*/ 1927123 h 4806848"/>
              <a:gd name="connsiteX4159" fmla="*/ 1263610 w 8978749"/>
              <a:gd name="connsiteY4159" fmla="*/ 1927123 h 4806848"/>
              <a:gd name="connsiteX4160" fmla="*/ 4814736 w 8978749"/>
              <a:gd name="connsiteY4160" fmla="*/ 1790598 h 4806848"/>
              <a:gd name="connsiteX4161" fmla="*/ 4873474 w 8978749"/>
              <a:gd name="connsiteY4161" fmla="*/ 1790598 h 4806848"/>
              <a:gd name="connsiteX4162" fmla="*/ 4873474 w 8978749"/>
              <a:gd name="connsiteY4162" fmla="*/ 1849336 h 4806848"/>
              <a:gd name="connsiteX4163" fmla="*/ 4814736 w 8978749"/>
              <a:gd name="connsiteY4163" fmla="*/ 1849336 h 4806848"/>
              <a:gd name="connsiteX4164" fmla="*/ 4341661 w 8978749"/>
              <a:gd name="connsiteY4164" fmla="*/ 1790598 h 4806848"/>
              <a:gd name="connsiteX4165" fmla="*/ 4400399 w 8978749"/>
              <a:gd name="connsiteY4165" fmla="*/ 1790598 h 4806848"/>
              <a:gd name="connsiteX4166" fmla="*/ 4400399 w 8978749"/>
              <a:gd name="connsiteY4166" fmla="*/ 1849336 h 4806848"/>
              <a:gd name="connsiteX4167" fmla="*/ 4341661 w 8978749"/>
              <a:gd name="connsiteY4167" fmla="*/ 1849336 h 4806848"/>
              <a:gd name="connsiteX4168" fmla="*/ 4184498 w 8978749"/>
              <a:gd name="connsiteY4168" fmla="*/ 1790598 h 4806848"/>
              <a:gd name="connsiteX4169" fmla="*/ 4241648 w 8978749"/>
              <a:gd name="connsiteY4169" fmla="*/ 1790598 h 4806848"/>
              <a:gd name="connsiteX4170" fmla="*/ 4241648 w 8978749"/>
              <a:gd name="connsiteY4170" fmla="*/ 1849336 h 4806848"/>
              <a:gd name="connsiteX4171" fmla="*/ 4184498 w 8978749"/>
              <a:gd name="connsiteY4171" fmla="*/ 1849336 h 4806848"/>
              <a:gd name="connsiteX4172" fmla="*/ 4105123 w 8978749"/>
              <a:gd name="connsiteY4172" fmla="*/ 1790598 h 4806848"/>
              <a:gd name="connsiteX4173" fmla="*/ 4163861 w 8978749"/>
              <a:gd name="connsiteY4173" fmla="*/ 1790598 h 4806848"/>
              <a:gd name="connsiteX4174" fmla="*/ 4163861 w 8978749"/>
              <a:gd name="connsiteY4174" fmla="*/ 1849336 h 4806848"/>
              <a:gd name="connsiteX4175" fmla="*/ 4105123 w 8978749"/>
              <a:gd name="connsiteY4175" fmla="*/ 1849336 h 4806848"/>
              <a:gd name="connsiteX4176" fmla="*/ 4025748 w 8978749"/>
              <a:gd name="connsiteY4176" fmla="*/ 1790598 h 4806848"/>
              <a:gd name="connsiteX4177" fmla="*/ 4084486 w 8978749"/>
              <a:gd name="connsiteY4177" fmla="*/ 1790598 h 4806848"/>
              <a:gd name="connsiteX4178" fmla="*/ 4084486 w 8978749"/>
              <a:gd name="connsiteY4178" fmla="*/ 1849336 h 4806848"/>
              <a:gd name="connsiteX4179" fmla="*/ 4025748 w 8978749"/>
              <a:gd name="connsiteY4179" fmla="*/ 1849336 h 4806848"/>
              <a:gd name="connsiteX4180" fmla="*/ 2289143 w 8978749"/>
              <a:gd name="connsiteY4180" fmla="*/ 1790598 h 4806848"/>
              <a:gd name="connsiteX4181" fmla="*/ 2347883 w 8978749"/>
              <a:gd name="connsiteY4181" fmla="*/ 1790598 h 4806848"/>
              <a:gd name="connsiteX4182" fmla="*/ 2347883 w 8978749"/>
              <a:gd name="connsiteY4182" fmla="*/ 1849336 h 4806848"/>
              <a:gd name="connsiteX4183" fmla="*/ 2289143 w 8978749"/>
              <a:gd name="connsiteY4183" fmla="*/ 1849336 h 4806848"/>
              <a:gd name="connsiteX4184" fmla="*/ 2209768 w 8978749"/>
              <a:gd name="connsiteY4184" fmla="*/ 1790598 h 4806848"/>
              <a:gd name="connsiteX4185" fmla="*/ 2268507 w 8978749"/>
              <a:gd name="connsiteY4185" fmla="*/ 1790598 h 4806848"/>
              <a:gd name="connsiteX4186" fmla="*/ 2268507 w 8978749"/>
              <a:gd name="connsiteY4186" fmla="*/ 1849336 h 4806848"/>
              <a:gd name="connsiteX4187" fmla="*/ 2209768 w 8978749"/>
              <a:gd name="connsiteY4187" fmla="*/ 1849336 h 4806848"/>
              <a:gd name="connsiteX4188" fmla="*/ 2131979 w 8978749"/>
              <a:gd name="connsiteY4188" fmla="*/ 1790598 h 4806848"/>
              <a:gd name="connsiteX4189" fmla="*/ 2189132 w 8978749"/>
              <a:gd name="connsiteY4189" fmla="*/ 1790598 h 4806848"/>
              <a:gd name="connsiteX4190" fmla="*/ 2189132 w 8978749"/>
              <a:gd name="connsiteY4190" fmla="*/ 1849336 h 4806848"/>
              <a:gd name="connsiteX4191" fmla="*/ 2131979 w 8978749"/>
              <a:gd name="connsiteY4191" fmla="*/ 1849336 h 4806848"/>
              <a:gd name="connsiteX4192" fmla="*/ 2052600 w 8978749"/>
              <a:gd name="connsiteY4192" fmla="*/ 1790598 h 4806848"/>
              <a:gd name="connsiteX4193" fmla="*/ 2111343 w 8978749"/>
              <a:gd name="connsiteY4193" fmla="*/ 1790598 h 4806848"/>
              <a:gd name="connsiteX4194" fmla="*/ 2111343 w 8978749"/>
              <a:gd name="connsiteY4194" fmla="*/ 1849336 h 4806848"/>
              <a:gd name="connsiteX4195" fmla="*/ 2052600 w 8978749"/>
              <a:gd name="connsiteY4195" fmla="*/ 1849336 h 4806848"/>
              <a:gd name="connsiteX4196" fmla="*/ 1973223 w 8978749"/>
              <a:gd name="connsiteY4196" fmla="*/ 1790598 h 4806848"/>
              <a:gd name="connsiteX4197" fmla="*/ 2031966 w 8978749"/>
              <a:gd name="connsiteY4197" fmla="*/ 1790598 h 4806848"/>
              <a:gd name="connsiteX4198" fmla="*/ 2031966 w 8978749"/>
              <a:gd name="connsiteY4198" fmla="*/ 1849336 h 4806848"/>
              <a:gd name="connsiteX4199" fmla="*/ 1973223 w 8978749"/>
              <a:gd name="connsiteY4199" fmla="*/ 1849336 h 4806848"/>
              <a:gd name="connsiteX4200" fmla="*/ 1893845 w 8978749"/>
              <a:gd name="connsiteY4200" fmla="*/ 1790598 h 4806848"/>
              <a:gd name="connsiteX4201" fmla="*/ 1952581 w 8978749"/>
              <a:gd name="connsiteY4201" fmla="*/ 1790598 h 4806848"/>
              <a:gd name="connsiteX4202" fmla="*/ 1952581 w 8978749"/>
              <a:gd name="connsiteY4202" fmla="*/ 1849336 h 4806848"/>
              <a:gd name="connsiteX4203" fmla="*/ 1893845 w 8978749"/>
              <a:gd name="connsiteY4203" fmla="*/ 1849336 h 4806848"/>
              <a:gd name="connsiteX4204" fmla="*/ 1816077 w 8978749"/>
              <a:gd name="connsiteY4204" fmla="*/ 1790598 h 4806848"/>
              <a:gd name="connsiteX4205" fmla="*/ 1873213 w 8978749"/>
              <a:gd name="connsiteY4205" fmla="*/ 1790598 h 4806848"/>
              <a:gd name="connsiteX4206" fmla="*/ 1873213 w 8978749"/>
              <a:gd name="connsiteY4206" fmla="*/ 1849336 h 4806848"/>
              <a:gd name="connsiteX4207" fmla="*/ 1816077 w 8978749"/>
              <a:gd name="connsiteY4207" fmla="*/ 1849336 h 4806848"/>
              <a:gd name="connsiteX4208" fmla="*/ 1736703 w 8978749"/>
              <a:gd name="connsiteY4208" fmla="*/ 1790598 h 4806848"/>
              <a:gd name="connsiteX4209" fmla="*/ 1795445 w 8978749"/>
              <a:gd name="connsiteY4209" fmla="*/ 1790598 h 4806848"/>
              <a:gd name="connsiteX4210" fmla="*/ 1795445 w 8978749"/>
              <a:gd name="connsiteY4210" fmla="*/ 1849336 h 4806848"/>
              <a:gd name="connsiteX4211" fmla="*/ 1736703 w 8978749"/>
              <a:gd name="connsiteY4211" fmla="*/ 1849336 h 4806848"/>
              <a:gd name="connsiteX4212" fmla="*/ 1657322 w 8978749"/>
              <a:gd name="connsiteY4212" fmla="*/ 1790598 h 4806848"/>
              <a:gd name="connsiteX4213" fmla="*/ 1716063 w 8978749"/>
              <a:gd name="connsiteY4213" fmla="*/ 1790598 h 4806848"/>
              <a:gd name="connsiteX4214" fmla="*/ 1716063 w 8978749"/>
              <a:gd name="connsiteY4214" fmla="*/ 1849336 h 4806848"/>
              <a:gd name="connsiteX4215" fmla="*/ 1657322 w 8978749"/>
              <a:gd name="connsiteY4215" fmla="*/ 1849336 h 4806848"/>
              <a:gd name="connsiteX4216" fmla="*/ 1577938 w 8978749"/>
              <a:gd name="connsiteY4216" fmla="*/ 1790598 h 4806848"/>
              <a:gd name="connsiteX4217" fmla="*/ 1636685 w 8978749"/>
              <a:gd name="connsiteY4217" fmla="*/ 1790598 h 4806848"/>
              <a:gd name="connsiteX4218" fmla="*/ 1636685 w 8978749"/>
              <a:gd name="connsiteY4218" fmla="*/ 1849336 h 4806848"/>
              <a:gd name="connsiteX4219" fmla="*/ 1577938 w 8978749"/>
              <a:gd name="connsiteY4219" fmla="*/ 1849336 h 4806848"/>
              <a:gd name="connsiteX4220" fmla="*/ 1500148 w 8978749"/>
              <a:gd name="connsiteY4220" fmla="*/ 1790598 h 4806848"/>
              <a:gd name="connsiteX4221" fmla="*/ 1558889 w 8978749"/>
              <a:gd name="connsiteY4221" fmla="*/ 1790598 h 4806848"/>
              <a:gd name="connsiteX4222" fmla="*/ 1558889 w 8978749"/>
              <a:gd name="connsiteY4222" fmla="*/ 1849336 h 4806848"/>
              <a:gd name="connsiteX4223" fmla="*/ 1500148 w 8978749"/>
              <a:gd name="connsiteY4223" fmla="*/ 1849336 h 4806848"/>
              <a:gd name="connsiteX4224" fmla="*/ 1420770 w 8978749"/>
              <a:gd name="connsiteY4224" fmla="*/ 1790598 h 4806848"/>
              <a:gd name="connsiteX4225" fmla="*/ 1479507 w 8978749"/>
              <a:gd name="connsiteY4225" fmla="*/ 1790598 h 4806848"/>
              <a:gd name="connsiteX4226" fmla="*/ 1479507 w 8978749"/>
              <a:gd name="connsiteY4226" fmla="*/ 1849336 h 4806848"/>
              <a:gd name="connsiteX4227" fmla="*/ 1420770 w 8978749"/>
              <a:gd name="connsiteY4227" fmla="*/ 1849336 h 4806848"/>
              <a:gd name="connsiteX4228" fmla="*/ 1341419 w 8978749"/>
              <a:gd name="connsiteY4228" fmla="*/ 1790598 h 4806848"/>
              <a:gd name="connsiteX4229" fmla="*/ 1400145 w 8978749"/>
              <a:gd name="connsiteY4229" fmla="*/ 1790598 h 4806848"/>
              <a:gd name="connsiteX4230" fmla="*/ 1400145 w 8978749"/>
              <a:gd name="connsiteY4230" fmla="*/ 1849336 h 4806848"/>
              <a:gd name="connsiteX4231" fmla="*/ 1341419 w 8978749"/>
              <a:gd name="connsiteY4231" fmla="*/ 1849336 h 4806848"/>
              <a:gd name="connsiteX4232" fmla="*/ 1263613 w 8978749"/>
              <a:gd name="connsiteY4232" fmla="*/ 1790598 h 4806848"/>
              <a:gd name="connsiteX4233" fmla="*/ 1320774 w 8978749"/>
              <a:gd name="connsiteY4233" fmla="*/ 1790598 h 4806848"/>
              <a:gd name="connsiteX4234" fmla="*/ 1320774 w 8978749"/>
              <a:gd name="connsiteY4234" fmla="*/ 1849336 h 4806848"/>
              <a:gd name="connsiteX4235" fmla="*/ 1263613 w 8978749"/>
              <a:gd name="connsiteY4235" fmla="*/ 1849336 h 4806848"/>
              <a:gd name="connsiteX4236" fmla="*/ 1184242 w 8978749"/>
              <a:gd name="connsiteY4236" fmla="*/ 1790598 h 4806848"/>
              <a:gd name="connsiteX4237" fmla="*/ 1242975 w 8978749"/>
              <a:gd name="connsiteY4237" fmla="*/ 1790598 h 4806848"/>
              <a:gd name="connsiteX4238" fmla="*/ 1242975 w 8978749"/>
              <a:gd name="connsiteY4238" fmla="*/ 1849336 h 4806848"/>
              <a:gd name="connsiteX4239" fmla="*/ 1184242 w 8978749"/>
              <a:gd name="connsiteY4239" fmla="*/ 1849336 h 4806848"/>
              <a:gd name="connsiteX4240" fmla="*/ 7735736 w 8978749"/>
              <a:gd name="connsiteY4240" fmla="*/ 1790597 h 4806848"/>
              <a:gd name="connsiteX4241" fmla="*/ 7794474 w 8978749"/>
              <a:gd name="connsiteY4241" fmla="*/ 1790597 h 4806848"/>
              <a:gd name="connsiteX4242" fmla="*/ 7794474 w 8978749"/>
              <a:gd name="connsiteY4242" fmla="*/ 1849335 h 4806848"/>
              <a:gd name="connsiteX4243" fmla="*/ 7735736 w 8978749"/>
              <a:gd name="connsiteY4243" fmla="*/ 1849335 h 4806848"/>
              <a:gd name="connsiteX4244" fmla="*/ 7657949 w 8978749"/>
              <a:gd name="connsiteY4244" fmla="*/ 1790597 h 4806848"/>
              <a:gd name="connsiteX4245" fmla="*/ 7715099 w 8978749"/>
              <a:gd name="connsiteY4245" fmla="*/ 1790597 h 4806848"/>
              <a:gd name="connsiteX4246" fmla="*/ 7715099 w 8978749"/>
              <a:gd name="connsiteY4246" fmla="*/ 1849335 h 4806848"/>
              <a:gd name="connsiteX4247" fmla="*/ 7657949 w 8978749"/>
              <a:gd name="connsiteY4247" fmla="*/ 1849335 h 4806848"/>
              <a:gd name="connsiteX4248" fmla="*/ 7419824 w 8978749"/>
              <a:gd name="connsiteY4248" fmla="*/ 1790597 h 4806848"/>
              <a:gd name="connsiteX4249" fmla="*/ 7478562 w 8978749"/>
              <a:gd name="connsiteY4249" fmla="*/ 1790597 h 4806848"/>
              <a:gd name="connsiteX4250" fmla="*/ 7478562 w 8978749"/>
              <a:gd name="connsiteY4250" fmla="*/ 1849335 h 4806848"/>
              <a:gd name="connsiteX4251" fmla="*/ 7419824 w 8978749"/>
              <a:gd name="connsiteY4251" fmla="*/ 1849335 h 4806848"/>
              <a:gd name="connsiteX4252" fmla="*/ 7342036 w 8978749"/>
              <a:gd name="connsiteY4252" fmla="*/ 1790597 h 4806848"/>
              <a:gd name="connsiteX4253" fmla="*/ 7400774 w 8978749"/>
              <a:gd name="connsiteY4253" fmla="*/ 1790597 h 4806848"/>
              <a:gd name="connsiteX4254" fmla="*/ 7400774 w 8978749"/>
              <a:gd name="connsiteY4254" fmla="*/ 1849335 h 4806848"/>
              <a:gd name="connsiteX4255" fmla="*/ 7342036 w 8978749"/>
              <a:gd name="connsiteY4255" fmla="*/ 1849335 h 4806848"/>
              <a:gd name="connsiteX4256" fmla="*/ 7183286 w 8978749"/>
              <a:gd name="connsiteY4256" fmla="*/ 1790597 h 4806848"/>
              <a:gd name="connsiteX4257" fmla="*/ 7242024 w 8978749"/>
              <a:gd name="connsiteY4257" fmla="*/ 1790597 h 4806848"/>
              <a:gd name="connsiteX4258" fmla="*/ 7242024 w 8978749"/>
              <a:gd name="connsiteY4258" fmla="*/ 1849335 h 4806848"/>
              <a:gd name="connsiteX4259" fmla="*/ 7183286 w 8978749"/>
              <a:gd name="connsiteY4259" fmla="*/ 1849335 h 4806848"/>
              <a:gd name="connsiteX4260" fmla="*/ 7105499 w 8978749"/>
              <a:gd name="connsiteY4260" fmla="*/ 1790597 h 4806848"/>
              <a:gd name="connsiteX4261" fmla="*/ 7162649 w 8978749"/>
              <a:gd name="connsiteY4261" fmla="*/ 1790597 h 4806848"/>
              <a:gd name="connsiteX4262" fmla="*/ 7162649 w 8978749"/>
              <a:gd name="connsiteY4262" fmla="*/ 1849335 h 4806848"/>
              <a:gd name="connsiteX4263" fmla="*/ 7105499 w 8978749"/>
              <a:gd name="connsiteY4263" fmla="*/ 1849335 h 4806848"/>
              <a:gd name="connsiteX4264" fmla="*/ 7026124 w 8978749"/>
              <a:gd name="connsiteY4264" fmla="*/ 1790597 h 4806848"/>
              <a:gd name="connsiteX4265" fmla="*/ 7084862 w 8978749"/>
              <a:gd name="connsiteY4265" fmla="*/ 1790597 h 4806848"/>
              <a:gd name="connsiteX4266" fmla="*/ 7084862 w 8978749"/>
              <a:gd name="connsiteY4266" fmla="*/ 1849335 h 4806848"/>
              <a:gd name="connsiteX4267" fmla="*/ 7026124 w 8978749"/>
              <a:gd name="connsiteY4267" fmla="*/ 1849335 h 4806848"/>
              <a:gd name="connsiteX4268" fmla="*/ 6946749 w 8978749"/>
              <a:gd name="connsiteY4268" fmla="*/ 1790597 h 4806848"/>
              <a:gd name="connsiteX4269" fmla="*/ 7005487 w 8978749"/>
              <a:gd name="connsiteY4269" fmla="*/ 1790597 h 4806848"/>
              <a:gd name="connsiteX4270" fmla="*/ 7005487 w 8978749"/>
              <a:gd name="connsiteY4270" fmla="*/ 1849335 h 4806848"/>
              <a:gd name="connsiteX4271" fmla="*/ 6946749 w 8978749"/>
              <a:gd name="connsiteY4271" fmla="*/ 1849335 h 4806848"/>
              <a:gd name="connsiteX4272" fmla="*/ 6867374 w 8978749"/>
              <a:gd name="connsiteY4272" fmla="*/ 1790597 h 4806848"/>
              <a:gd name="connsiteX4273" fmla="*/ 6926112 w 8978749"/>
              <a:gd name="connsiteY4273" fmla="*/ 1790597 h 4806848"/>
              <a:gd name="connsiteX4274" fmla="*/ 6926112 w 8978749"/>
              <a:gd name="connsiteY4274" fmla="*/ 1849335 h 4806848"/>
              <a:gd name="connsiteX4275" fmla="*/ 6867374 w 8978749"/>
              <a:gd name="connsiteY4275" fmla="*/ 1849335 h 4806848"/>
              <a:gd name="connsiteX4276" fmla="*/ 6789586 w 8978749"/>
              <a:gd name="connsiteY4276" fmla="*/ 1790597 h 4806848"/>
              <a:gd name="connsiteX4277" fmla="*/ 6846736 w 8978749"/>
              <a:gd name="connsiteY4277" fmla="*/ 1790597 h 4806848"/>
              <a:gd name="connsiteX4278" fmla="*/ 6846736 w 8978749"/>
              <a:gd name="connsiteY4278" fmla="*/ 1849335 h 4806848"/>
              <a:gd name="connsiteX4279" fmla="*/ 6789586 w 8978749"/>
              <a:gd name="connsiteY4279" fmla="*/ 1849335 h 4806848"/>
              <a:gd name="connsiteX4280" fmla="*/ 6710211 w 8978749"/>
              <a:gd name="connsiteY4280" fmla="*/ 1790597 h 4806848"/>
              <a:gd name="connsiteX4281" fmla="*/ 6768949 w 8978749"/>
              <a:gd name="connsiteY4281" fmla="*/ 1790597 h 4806848"/>
              <a:gd name="connsiteX4282" fmla="*/ 6768949 w 8978749"/>
              <a:gd name="connsiteY4282" fmla="*/ 1849335 h 4806848"/>
              <a:gd name="connsiteX4283" fmla="*/ 6710211 w 8978749"/>
              <a:gd name="connsiteY4283" fmla="*/ 1849335 h 4806848"/>
              <a:gd name="connsiteX4284" fmla="*/ 6630836 w 8978749"/>
              <a:gd name="connsiteY4284" fmla="*/ 1790597 h 4806848"/>
              <a:gd name="connsiteX4285" fmla="*/ 6689574 w 8978749"/>
              <a:gd name="connsiteY4285" fmla="*/ 1790597 h 4806848"/>
              <a:gd name="connsiteX4286" fmla="*/ 6689574 w 8978749"/>
              <a:gd name="connsiteY4286" fmla="*/ 1849335 h 4806848"/>
              <a:gd name="connsiteX4287" fmla="*/ 6630836 w 8978749"/>
              <a:gd name="connsiteY4287" fmla="*/ 1849335 h 4806848"/>
              <a:gd name="connsiteX4288" fmla="*/ 6551461 w 8978749"/>
              <a:gd name="connsiteY4288" fmla="*/ 1790597 h 4806848"/>
              <a:gd name="connsiteX4289" fmla="*/ 6610199 w 8978749"/>
              <a:gd name="connsiteY4289" fmla="*/ 1790597 h 4806848"/>
              <a:gd name="connsiteX4290" fmla="*/ 6610199 w 8978749"/>
              <a:gd name="connsiteY4290" fmla="*/ 1849335 h 4806848"/>
              <a:gd name="connsiteX4291" fmla="*/ 6551461 w 8978749"/>
              <a:gd name="connsiteY4291" fmla="*/ 1849335 h 4806848"/>
              <a:gd name="connsiteX4292" fmla="*/ 6473674 w 8978749"/>
              <a:gd name="connsiteY4292" fmla="*/ 1790597 h 4806848"/>
              <a:gd name="connsiteX4293" fmla="*/ 6530824 w 8978749"/>
              <a:gd name="connsiteY4293" fmla="*/ 1790597 h 4806848"/>
              <a:gd name="connsiteX4294" fmla="*/ 6530824 w 8978749"/>
              <a:gd name="connsiteY4294" fmla="*/ 1849335 h 4806848"/>
              <a:gd name="connsiteX4295" fmla="*/ 6473674 w 8978749"/>
              <a:gd name="connsiteY4295" fmla="*/ 1849335 h 4806848"/>
              <a:gd name="connsiteX4296" fmla="*/ 6394299 w 8978749"/>
              <a:gd name="connsiteY4296" fmla="*/ 1790597 h 4806848"/>
              <a:gd name="connsiteX4297" fmla="*/ 6453037 w 8978749"/>
              <a:gd name="connsiteY4297" fmla="*/ 1790597 h 4806848"/>
              <a:gd name="connsiteX4298" fmla="*/ 6453037 w 8978749"/>
              <a:gd name="connsiteY4298" fmla="*/ 1849335 h 4806848"/>
              <a:gd name="connsiteX4299" fmla="*/ 6394299 w 8978749"/>
              <a:gd name="connsiteY4299" fmla="*/ 1849335 h 4806848"/>
              <a:gd name="connsiteX4300" fmla="*/ 6314924 w 8978749"/>
              <a:gd name="connsiteY4300" fmla="*/ 1790597 h 4806848"/>
              <a:gd name="connsiteX4301" fmla="*/ 6373662 w 8978749"/>
              <a:gd name="connsiteY4301" fmla="*/ 1790597 h 4806848"/>
              <a:gd name="connsiteX4302" fmla="*/ 6373662 w 8978749"/>
              <a:gd name="connsiteY4302" fmla="*/ 1849335 h 4806848"/>
              <a:gd name="connsiteX4303" fmla="*/ 6314924 w 8978749"/>
              <a:gd name="connsiteY4303" fmla="*/ 1849335 h 4806848"/>
              <a:gd name="connsiteX4304" fmla="*/ 6235549 w 8978749"/>
              <a:gd name="connsiteY4304" fmla="*/ 1790597 h 4806848"/>
              <a:gd name="connsiteX4305" fmla="*/ 6294287 w 8978749"/>
              <a:gd name="connsiteY4305" fmla="*/ 1790597 h 4806848"/>
              <a:gd name="connsiteX4306" fmla="*/ 6294287 w 8978749"/>
              <a:gd name="connsiteY4306" fmla="*/ 1849335 h 4806848"/>
              <a:gd name="connsiteX4307" fmla="*/ 6235549 w 8978749"/>
              <a:gd name="connsiteY4307" fmla="*/ 1849335 h 4806848"/>
              <a:gd name="connsiteX4308" fmla="*/ 6157761 w 8978749"/>
              <a:gd name="connsiteY4308" fmla="*/ 1790597 h 4806848"/>
              <a:gd name="connsiteX4309" fmla="*/ 6214911 w 8978749"/>
              <a:gd name="connsiteY4309" fmla="*/ 1790597 h 4806848"/>
              <a:gd name="connsiteX4310" fmla="*/ 6214911 w 8978749"/>
              <a:gd name="connsiteY4310" fmla="*/ 1849335 h 4806848"/>
              <a:gd name="connsiteX4311" fmla="*/ 6157761 w 8978749"/>
              <a:gd name="connsiteY4311" fmla="*/ 1849335 h 4806848"/>
              <a:gd name="connsiteX4312" fmla="*/ 6078386 w 8978749"/>
              <a:gd name="connsiteY4312" fmla="*/ 1790597 h 4806848"/>
              <a:gd name="connsiteX4313" fmla="*/ 6137124 w 8978749"/>
              <a:gd name="connsiteY4313" fmla="*/ 1790597 h 4806848"/>
              <a:gd name="connsiteX4314" fmla="*/ 6137124 w 8978749"/>
              <a:gd name="connsiteY4314" fmla="*/ 1849335 h 4806848"/>
              <a:gd name="connsiteX4315" fmla="*/ 6078386 w 8978749"/>
              <a:gd name="connsiteY4315" fmla="*/ 1849335 h 4806848"/>
              <a:gd name="connsiteX4316" fmla="*/ 5999011 w 8978749"/>
              <a:gd name="connsiteY4316" fmla="*/ 1790597 h 4806848"/>
              <a:gd name="connsiteX4317" fmla="*/ 6057749 w 8978749"/>
              <a:gd name="connsiteY4317" fmla="*/ 1790597 h 4806848"/>
              <a:gd name="connsiteX4318" fmla="*/ 6057749 w 8978749"/>
              <a:gd name="connsiteY4318" fmla="*/ 1849335 h 4806848"/>
              <a:gd name="connsiteX4319" fmla="*/ 5999011 w 8978749"/>
              <a:gd name="connsiteY4319" fmla="*/ 1849335 h 4806848"/>
              <a:gd name="connsiteX4320" fmla="*/ 5921224 w 8978749"/>
              <a:gd name="connsiteY4320" fmla="*/ 1790597 h 4806848"/>
              <a:gd name="connsiteX4321" fmla="*/ 5978374 w 8978749"/>
              <a:gd name="connsiteY4321" fmla="*/ 1790597 h 4806848"/>
              <a:gd name="connsiteX4322" fmla="*/ 5978374 w 8978749"/>
              <a:gd name="connsiteY4322" fmla="*/ 1849335 h 4806848"/>
              <a:gd name="connsiteX4323" fmla="*/ 5921224 w 8978749"/>
              <a:gd name="connsiteY4323" fmla="*/ 1849335 h 4806848"/>
              <a:gd name="connsiteX4324" fmla="*/ 5841849 w 8978749"/>
              <a:gd name="connsiteY4324" fmla="*/ 1790597 h 4806848"/>
              <a:gd name="connsiteX4325" fmla="*/ 5900587 w 8978749"/>
              <a:gd name="connsiteY4325" fmla="*/ 1790597 h 4806848"/>
              <a:gd name="connsiteX4326" fmla="*/ 5900587 w 8978749"/>
              <a:gd name="connsiteY4326" fmla="*/ 1849335 h 4806848"/>
              <a:gd name="connsiteX4327" fmla="*/ 5841849 w 8978749"/>
              <a:gd name="connsiteY4327" fmla="*/ 1849335 h 4806848"/>
              <a:gd name="connsiteX4328" fmla="*/ 5762474 w 8978749"/>
              <a:gd name="connsiteY4328" fmla="*/ 1790597 h 4806848"/>
              <a:gd name="connsiteX4329" fmla="*/ 5821212 w 8978749"/>
              <a:gd name="connsiteY4329" fmla="*/ 1790597 h 4806848"/>
              <a:gd name="connsiteX4330" fmla="*/ 5821212 w 8978749"/>
              <a:gd name="connsiteY4330" fmla="*/ 1849335 h 4806848"/>
              <a:gd name="connsiteX4331" fmla="*/ 5762474 w 8978749"/>
              <a:gd name="connsiteY4331" fmla="*/ 1849335 h 4806848"/>
              <a:gd name="connsiteX4332" fmla="*/ 5684686 w 8978749"/>
              <a:gd name="connsiteY4332" fmla="*/ 1790597 h 4806848"/>
              <a:gd name="connsiteX4333" fmla="*/ 5741836 w 8978749"/>
              <a:gd name="connsiteY4333" fmla="*/ 1790597 h 4806848"/>
              <a:gd name="connsiteX4334" fmla="*/ 5741836 w 8978749"/>
              <a:gd name="connsiteY4334" fmla="*/ 1849335 h 4806848"/>
              <a:gd name="connsiteX4335" fmla="*/ 5684686 w 8978749"/>
              <a:gd name="connsiteY4335" fmla="*/ 1849335 h 4806848"/>
              <a:gd name="connsiteX4336" fmla="*/ 5605311 w 8978749"/>
              <a:gd name="connsiteY4336" fmla="*/ 1790597 h 4806848"/>
              <a:gd name="connsiteX4337" fmla="*/ 5664049 w 8978749"/>
              <a:gd name="connsiteY4337" fmla="*/ 1790597 h 4806848"/>
              <a:gd name="connsiteX4338" fmla="*/ 5664049 w 8978749"/>
              <a:gd name="connsiteY4338" fmla="*/ 1849335 h 4806848"/>
              <a:gd name="connsiteX4339" fmla="*/ 5605311 w 8978749"/>
              <a:gd name="connsiteY4339" fmla="*/ 1849335 h 4806848"/>
              <a:gd name="connsiteX4340" fmla="*/ 5446561 w 8978749"/>
              <a:gd name="connsiteY4340" fmla="*/ 1790597 h 4806848"/>
              <a:gd name="connsiteX4341" fmla="*/ 5505299 w 8978749"/>
              <a:gd name="connsiteY4341" fmla="*/ 1790597 h 4806848"/>
              <a:gd name="connsiteX4342" fmla="*/ 5505299 w 8978749"/>
              <a:gd name="connsiteY4342" fmla="*/ 1849335 h 4806848"/>
              <a:gd name="connsiteX4343" fmla="*/ 5446561 w 8978749"/>
              <a:gd name="connsiteY4343" fmla="*/ 1849335 h 4806848"/>
              <a:gd name="connsiteX4344" fmla="*/ 5368774 w 8978749"/>
              <a:gd name="connsiteY4344" fmla="*/ 1790597 h 4806848"/>
              <a:gd name="connsiteX4345" fmla="*/ 5425924 w 8978749"/>
              <a:gd name="connsiteY4345" fmla="*/ 1790597 h 4806848"/>
              <a:gd name="connsiteX4346" fmla="*/ 5425924 w 8978749"/>
              <a:gd name="connsiteY4346" fmla="*/ 1849335 h 4806848"/>
              <a:gd name="connsiteX4347" fmla="*/ 5368774 w 8978749"/>
              <a:gd name="connsiteY4347" fmla="*/ 1849335 h 4806848"/>
              <a:gd name="connsiteX4348" fmla="*/ 5289399 w 8978749"/>
              <a:gd name="connsiteY4348" fmla="*/ 1790597 h 4806848"/>
              <a:gd name="connsiteX4349" fmla="*/ 5348137 w 8978749"/>
              <a:gd name="connsiteY4349" fmla="*/ 1790597 h 4806848"/>
              <a:gd name="connsiteX4350" fmla="*/ 5348137 w 8978749"/>
              <a:gd name="connsiteY4350" fmla="*/ 1849335 h 4806848"/>
              <a:gd name="connsiteX4351" fmla="*/ 5289399 w 8978749"/>
              <a:gd name="connsiteY4351" fmla="*/ 1849335 h 4806848"/>
              <a:gd name="connsiteX4352" fmla="*/ 5210024 w 8978749"/>
              <a:gd name="connsiteY4352" fmla="*/ 1790597 h 4806848"/>
              <a:gd name="connsiteX4353" fmla="*/ 5268762 w 8978749"/>
              <a:gd name="connsiteY4353" fmla="*/ 1790597 h 4806848"/>
              <a:gd name="connsiteX4354" fmla="*/ 5268762 w 8978749"/>
              <a:gd name="connsiteY4354" fmla="*/ 1849335 h 4806848"/>
              <a:gd name="connsiteX4355" fmla="*/ 5210024 w 8978749"/>
              <a:gd name="connsiteY4355" fmla="*/ 1849335 h 4806848"/>
              <a:gd name="connsiteX4356" fmla="*/ 5130649 w 8978749"/>
              <a:gd name="connsiteY4356" fmla="*/ 1790597 h 4806848"/>
              <a:gd name="connsiteX4357" fmla="*/ 5189387 w 8978749"/>
              <a:gd name="connsiteY4357" fmla="*/ 1790597 h 4806848"/>
              <a:gd name="connsiteX4358" fmla="*/ 5189387 w 8978749"/>
              <a:gd name="connsiteY4358" fmla="*/ 1849335 h 4806848"/>
              <a:gd name="connsiteX4359" fmla="*/ 5130649 w 8978749"/>
              <a:gd name="connsiteY4359" fmla="*/ 1849335 h 4806848"/>
              <a:gd name="connsiteX4360" fmla="*/ 5052861 w 8978749"/>
              <a:gd name="connsiteY4360" fmla="*/ 1790597 h 4806848"/>
              <a:gd name="connsiteX4361" fmla="*/ 5110011 w 8978749"/>
              <a:gd name="connsiteY4361" fmla="*/ 1790597 h 4806848"/>
              <a:gd name="connsiteX4362" fmla="*/ 5110011 w 8978749"/>
              <a:gd name="connsiteY4362" fmla="*/ 1849335 h 4806848"/>
              <a:gd name="connsiteX4363" fmla="*/ 5052861 w 8978749"/>
              <a:gd name="connsiteY4363" fmla="*/ 1849335 h 4806848"/>
              <a:gd name="connsiteX4364" fmla="*/ 4973486 w 8978749"/>
              <a:gd name="connsiteY4364" fmla="*/ 1790597 h 4806848"/>
              <a:gd name="connsiteX4365" fmla="*/ 5030636 w 8978749"/>
              <a:gd name="connsiteY4365" fmla="*/ 1790597 h 4806848"/>
              <a:gd name="connsiteX4366" fmla="*/ 5030636 w 8978749"/>
              <a:gd name="connsiteY4366" fmla="*/ 1849335 h 4806848"/>
              <a:gd name="connsiteX4367" fmla="*/ 4973486 w 8978749"/>
              <a:gd name="connsiteY4367" fmla="*/ 1849335 h 4806848"/>
              <a:gd name="connsiteX4368" fmla="*/ 7735736 w 8978749"/>
              <a:gd name="connsiteY4368" fmla="*/ 1712810 h 4806848"/>
              <a:gd name="connsiteX4369" fmla="*/ 7794474 w 8978749"/>
              <a:gd name="connsiteY4369" fmla="*/ 1712810 h 4806848"/>
              <a:gd name="connsiteX4370" fmla="*/ 7794474 w 8978749"/>
              <a:gd name="connsiteY4370" fmla="*/ 1771548 h 4806848"/>
              <a:gd name="connsiteX4371" fmla="*/ 7735736 w 8978749"/>
              <a:gd name="connsiteY4371" fmla="*/ 1771548 h 4806848"/>
              <a:gd name="connsiteX4372" fmla="*/ 7419824 w 8978749"/>
              <a:gd name="connsiteY4372" fmla="*/ 1712810 h 4806848"/>
              <a:gd name="connsiteX4373" fmla="*/ 7478562 w 8978749"/>
              <a:gd name="connsiteY4373" fmla="*/ 1712810 h 4806848"/>
              <a:gd name="connsiteX4374" fmla="*/ 7478562 w 8978749"/>
              <a:gd name="connsiteY4374" fmla="*/ 1771548 h 4806848"/>
              <a:gd name="connsiteX4375" fmla="*/ 7419824 w 8978749"/>
              <a:gd name="connsiteY4375" fmla="*/ 1771548 h 4806848"/>
              <a:gd name="connsiteX4376" fmla="*/ 7342036 w 8978749"/>
              <a:gd name="connsiteY4376" fmla="*/ 1712810 h 4806848"/>
              <a:gd name="connsiteX4377" fmla="*/ 7400774 w 8978749"/>
              <a:gd name="connsiteY4377" fmla="*/ 1712810 h 4806848"/>
              <a:gd name="connsiteX4378" fmla="*/ 7400774 w 8978749"/>
              <a:gd name="connsiteY4378" fmla="*/ 1771548 h 4806848"/>
              <a:gd name="connsiteX4379" fmla="*/ 7342036 w 8978749"/>
              <a:gd name="connsiteY4379" fmla="*/ 1771548 h 4806848"/>
              <a:gd name="connsiteX4380" fmla="*/ 7262661 w 8978749"/>
              <a:gd name="connsiteY4380" fmla="*/ 1712810 h 4806848"/>
              <a:gd name="connsiteX4381" fmla="*/ 7321399 w 8978749"/>
              <a:gd name="connsiteY4381" fmla="*/ 1712810 h 4806848"/>
              <a:gd name="connsiteX4382" fmla="*/ 7321399 w 8978749"/>
              <a:gd name="connsiteY4382" fmla="*/ 1771548 h 4806848"/>
              <a:gd name="connsiteX4383" fmla="*/ 7262661 w 8978749"/>
              <a:gd name="connsiteY4383" fmla="*/ 1771548 h 4806848"/>
              <a:gd name="connsiteX4384" fmla="*/ 7183286 w 8978749"/>
              <a:gd name="connsiteY4384" fmla="*/ 1712810 h 4806848"/>
              <a:gd name="connsiteX4385" fmla="*/ 7242024 w 8978749"/>
              <a:gd name="connsiteY4385" fmla="*/ 1712810 h 4806848"/>
              <a:gd name="connsiteX4386" fmla="*/ 7242024 w 8978749"/>
              <a:gd name="connsiteY4386" fmla="*/ 1771548 h 4806848"/>
              <a:gd name="connsiteX4387" fmla="*/ 7183286 w 8978749"/>
              <a:gd name="connsiteY4387" fmla="*/ 1771548 h 4806848"/>
              <a:gd name="connsiteX4388" fmla="*/ 7105499 w 8978749"/>
              <a:gd name="connsiteY4388" fmla="*/ 1712810 h 4806848"/>
              <a:gd name="connsiteX4389" fmla="*/ 7162649 w 8978749"/>
              <a:gd name="connsiteY4389" fmla="*/ 1712810 h 4806848"/>
              <a:gd name="connsiteX4390" fmla="*/ 7162649 w 8978749"/>
              <a:gd name="connsiteY4390" fmla="*/ 1771548 h 4806848"/>
              <a:gd name="connsiteX4391" fmla="*/ 7105499 w 8978749"/>
              <a:gd name="connsiteY4391" fmla="*/ 1771548 h 4806848"/>
              <a:gd name="connsiteX4392" fmla="*/ 7026124 w 8978749"/>
              <a:gd name="connsiteY4392" fmla="*/ 1712810 h 4806848"/>
              <a:gd name="connsiteX4393" fmla="*/ 7084862 w 8978749"/>
              <a:gd name="connsiteY4393" fmla="*/ 1712810 h 4806848"/>
              <a:gd name="connsiteX4394" fmla="*/ 7084862 w 8978749"/>
              <a:gd name="connsiteY4394" fmla="*/ 1771548 h 4806848"/>
              <a:gd name="connsiteX4395" fmla="*/ 7026124 w 8978749"/>
              <a:gd name="connsiteY4395" fmla="*/ 1771548 h 4806848"/>
              <a:gd name="connsiteX4396" fmla="*/ 6946749 w 8978749"/>
              <a:gd name="connsiteY4396" fmla="*/ 1712810 h 4806848"/>
              <a:gd name="connsiteX4397" fmla="*/ 7005487 w 8978749"/>
              <a:gd name="connsiteY4397" fmla="*/ 1712810 h 4806848"/>
              <a:gd name="connsiteX4398" fmla="*/ 7005487 w 8978749"/>
              <a:gd name="connsiteY4398" fmla="*/ 1771548 h 4806848"/>
              <a:gd name="connsiteX4399" fmla="*/ 6946749 w 8978749"/>
              <a:gd name="connsiteY4399" fmla="*/ 1771548 h 4806848"/>
              <a:gd name="connsiteX4400" fmla="*/ 6867374 w 8978749"/>
              <a:gd name="connsiteY4400" fmla="*/ 1712810 h 4806848"/>
              <a:gd name="connsiteX4401" fmla="*/ 6926112 w 8978749"/>
              <a:gd name="connsiteY4401" fmla="*/ 1712810 h 4806848"/>
              <a:gd name="connsiteX4402" fmla="*/ 6926112 w 8978749"/>
              <a:gd name="connsiteY4402" fmla="*/ 1771548 h 4806848"/>
              <a:gd name="connsiteX4403" fmla="*/ 6867374 w 8978749"/>
              <a:gd name="connsiteY4403" fmla="*/ 1771548 h 4806848"/>
              <a:gd name="connsiteX4404" fmla="*/ 6789586 w 8978749"/>
              <a:gd name="connsiteY4404" fmla="*/ 1712810 h 4806848"/>
              <a:gd name="connsiteX4405" fmla="*/ 6846736 w 8978749"/>
              <a:gd name="connsiteY4405" fmla="*/ 1712810 h 4806848"/>
              <a:gd name="connsiteX4406" fmla="*/ 6846736 w 8978749"/>
              <a:gd name="connsiteY4406" fmla="*/ 1771548 h 4806848"/>
              <a:gd name="connsiteX4407" fmla="*/ 6789586 w 8978749"/>
              <a:gd name="connsiteY4407" fmla="*/ 1771548 h 4806848"/>
              <a:gd name="connsiteX4408" fmla="*/ 6710211 w 8978749"/>
              <a:gd name="connsiteY4408" fmla="*/ 1712810 h 4806848"/>
              <a:gd name="connsiteX4409" fmla="*/ 6768949 w 8978749"/>
              <a:gd name="connsiteY4409" fmla="*/ 1712810 h 4806848"/>
              <a:gd name="connsiteX4410" fmla="*/ 6768949 w 8978749"/>
              <a:gd name="connsiteY4410" fmla="*/ 1771548 h 4806848"/>
              <a:gd name="connsiteX4411" fmla="*/ 6710211 w 8978749"/>
              <a:gd name="connsiteY4411" fmla="*/ 1771548 h 4806848"/>
              <a:gd name="connsiteX4412" fmla="*/ 6630836 w 8978749"/>
              <a:gd name="connsiteY4412" fmla="*/ 1712810 h 4806848"/>
              <a:gd name="connsiteX4413" fmla="*/ 6689574 w 8978749"/>
              <a:gd name="connsiteY4413" fmla="*/ 1712810 h 4806848"/>
              <a:gd name="connsiteX4414" fmla="*/ 6689574 w 8978749"/>
              <a:gd name="connsiteY4414" fmla="*/ 1771548 h 4806848"/>
              <a:gd name="connsiteX4415" fmla="*/ 6630836 w 8978749"/>
              <a:gd name="connsiteY4415" fmla="*/ 1771548 h 4806848"/>
              <a:gd name="connsiteX4416" fmla="*/ 6551461 w 8978749"/>
              <a:gd name="connsiteY4416" fmla="*/ 1712810 h 4806848"/>
              <a:gd name="connsiteX4417" fmla="*/ 6610199 w 8978749"/>
              <a:gd name="connsiteY4417" fmla="*/ 1712810 h 4806848"/>
              <a:gd name="connsiteX4418" fmla="*/ 6610199 w 8978749"/>
              <a:gd name="connsiteY4418" fmla="*/ 1771548 h 4806848"/>
              <a:gd name="connsiteX4419" fmla="*/ 6551461 w 8978749"/>
              <a:gd name="connsiteY4419" fmla="*/ 1771548 h 4806848"/>
              <a:gd name="connsiteX4420" fmla="*/ 6473674 w 8978749"/>
              <a:gd name="connsiteY4420" fmla="*/ 1712810 h 4806848"/>
              <a:gd name="connsiteX4421" fmla="*/ 6530824 w 8978749"/>
              <a:gd name="connsiteY4421" fmla="*/ 1712810 h 4806848"/>
              <a:gd name="connsiteX4422" fmla="*/ 6530824 w 8978749"/>
              <a:gd name="connsiteY4422" fmla="*/ 1771548 h 4806848"/>
              <a:gd name="connsiteX4423" fmla="*/ 6473674 w 8978749"/>
              <a:gd name="connsiteY4423" fmla="*/ 1771548 h 4806848"/>
              <a:gd name="connsiteX4424" fmla="*/ 6394299 w 8978749"/>
              <a:gd name="connsiteY4424" fmla="*/ 1712810 h 4806848"/>
              <a:gd name="connsiteX4425" fmla="*/ 6453037 w 8978749"/>
              <a:gd name="connsiteY4425" fmla="*/ 1712810 h 4806848"/>
              <a:gd name="connsiteX4426" fmla="*/ 6453037 w 8978749"/>
              <a:gd name="connsiteY4426" fmla="*/ 1771548 h 4806848"/>
              <a:gd name="connsiteX4427" fmla="*/ 6394299 w 8978749"/>
              <a:gd name="connsiteY4427" fmla="*/ 1771548 h 4806848"/>
              <a:gd name="connsiteX4428" fmla="*/ 6314924 w 8978749"/>
              <a:gd name="connsiteY4428" fmla="*/ 1712810 h 4806848"/>
              <a:gd name="connsiteX4429" fmla="*/ 6373662 w 8978749"/>
              <a:gd name="connsiteY4429" fmla="*/ 1712810 h 4806848"/>
              <a:gd name="connsiteX4430" fmla="*/ 6373662 w 8978749"/>
              <a:gd name="connsiteY4430" fmla="*/ 1771548 h 4806848"/>
              <a:gd name="connsiteX4431" fmla="*/ 6314924 w 8978749"/>
              <a:gd name="connsiteY4431" fmla="*/ 1771548 h 4806848"/>
              <a:gd name="connsiteX4432" fmla="*/ 6235549 w 8978749"/>
              <a:gd name="connsiteY4432" fmla="*/ 1712810 h 4806848"/>
              <a:gd name="connsiteX4433" fmla="*/ 6294287 w 8978749"/>
              <a:gd name="connsiteY4433" fmla="*/ 1712810 h 4806848"/>
              <a:gd name="connsiteX4434" fmla="*/ 6294287 w 8978749"/>
              <a:gd name="connsiteY4434" fmla="*/ 1771548 h 4806848"/>
              <a:gd name="connsiteX4435" fmla="*/ 6235549 w 8978749"/>
              <a:gd name="connsiteY4435" fmla="*/ 1771548 h 4806848"/>
              <a:gd name="connsiteX4436" fmla="*/ 6157761 w 8978749"/>
              <a:gd name="connsiteY4436" fmla="*/ 1712810 h 4806848"/>
              <a:gd name="connsiteX4437" fmla="*/ 6214911 w 8978749"/>
              <a:gd name="connsiteY4437" fmla="*/ 1712810 h 4806848"/>
              <a:gd name="connsiteX4438" fmla="*/ 6214911 w 8978749"/>
              <a:gd name="connsiteY4438" fmla="*/ 1771548 h 4806848"/>
              <a:gd name="connsiteX4439" fmla="*/ 6157761 w 8978749"/>
              <a:gd name="connsiteY4439" fmla="*/ 1771548 h 4806848"/>
              <a:gd name="connsiteX4440" fmla="*/ 6078386 w 8978749"/>
              <a:gd name="connsiteY4440" fmla="*/ 1712810 h 4806848"/>
              <a:gd name="connsiteX4441" fmla="*/ 6137124 w 8978749"/>
              <a:gd name="connsiteY4441" fmla="*/ 1712810 h 4806848"/>
              <a:gd name="connsiteX4442" fmla="*/ 6137124 w 8978749"/>
              <a:gd name="connsiteY4442" fmla="*/ 1771548 h 4806848"/>
              <a:gd name="connsiteX4443" fmla="*/ 6078386 w 8978749"/>
              <a:gd name="connsiteY4443" fmla="*/ 1771548 h 4806848"/>
              <a:gd name="connsiteX4444" fmla="*/ 5999011 w 8978749"/>
              <a:gd name="connsiteY4444" fmla="*/ 1712810 h 4806848"/>
              <a:gd name="connsiteX4445" fmla="*/ 6057749 w 8978749"/>
              <a:gd name="connsiteY4445" fmla="*/ 1712810 h 4806848"/>
              <a:gd name="connsiteX4446" fmla="*/ 6057749 w 8978749"/>
              <a:gd name="connsiteY4446" fmla="*/ 1771548 h 4806848"/>
              <a:gd name="connsiteX4447" fmla="*/ 5999011 w 8978749"/>
              <a:gd name="connsiteY4447" fmla="*/ 1771548 h 4806848"/>
              <a:gd name="connsiteX4448" fmla="*/ 5921224 w 8978749"/>
              <a:gd name="connsiteY4448" fmla="*/ 1712810 h 4806848"/>
              <a:gd name="connsiteX4449" fmla="*/ 5978374 w 8978749"/>
              <a:gd name="connsiteY4449" fmla="*/ 1712810 h 4806848"/>
              <a:gd name="connsiteX4450" fmla="*/ 5978374 w 8978749"/>
              <a:gd name="connsiteY4450" fmla="*/ 1771548 h 4806848"/>
              <a:gd name="connsiteX4451" fmla="*/ 5921224 w 8978749"/>
              <a:gd name="connsiteY4451" fmla="*/ 1771548 h 4806848"/>
              <a:gd name="connsiteX4452" fmla="*/ 5841849 w 8978749"/>
              <a:gd name="connsiteY4452" fmla="*/ 1712810 h 4806848"/>
              <a:gd name="connsiteX4453" fmla="*/ 5900587 w 8978749"/>
              <a:gd name="connsiteY4453" fmla="*/ 1712810 h 4806848"/>
              <a:gd name="connsiteX4454" fmla="*/ 5900587 w 8978749"/>
              <a:gd name="connsiteY4454" fmla="*/ 1771548 h 4806848"/>
              <a:gd name="connsiteX4455" fmla="*/ 5841849 w 8978749"/>
              <a:gd name="connsiteY4455" fmla="*/ 1771548 h 4806848"/>
              <a:gd name="connsiteX4456" fmla="*/ 5762474 w 8978749"/>
              <a:gd name="connsiteY4456" fmla="*/ 1712810 h 4806848"/>
              <a:gd name="connsiteX4457" fmla="*/ 5821212 w 8978749"/>
              <a:gd name="connsiteY4457" fmla="*/ 1712810 h 4806848"/>
              <a:gd name="connsiteX4458" fmla="*/ 5821212 w 8978749"/>
              <a:gd name="connsiteY4458" fmla="*/ 1771548 h 4806848"/>
              <a:gd name="connsiteX4459" fmla="*/ 5762474 w 8978749"/>
              <a:gd name="connsiteY4459" fmla="*/ 1771548 h 4806848"/>
              <a:gd name="connsiteX4460" fmla="*/ 5684686 w 8978749"/>
              <a:gd name="connsiteY4460" fmla="*/ 1712810 h 4806848"/>
              <a:gd name="connsiteX4461" fmla="*/ 5741836 w 8978749"/>
              <a:gd name="connsiteY4461" fmla="*/ 1712810 h 4806848"/>
              <a:gd name="connsiteX4462" fmla="*/ 5741836 w 8978749"/>
              <a:gd name="connsiteY4462" fmla="*/ 1771548 h 4806848"/>
              <a:gd name="connsiteX4463" fmla="*/ 5684686 w 8978749"/>
              <a:gd name="connsiteY4463" fmla="*/ 1771548 h 4806848"/>
              <a:gd name="connsiteX4464" fmla="*/ 5446561 w 8978749"/>
              <a:gd name="connsiteY4464" fmla="*/ 1712810 h 4806848"/>
              <a:gd name="connsiteX4465" fmla="*/ 5505299 w 8978749"/>
              <a:gd name="connsiteY4465" fmla="*/ 1712810 h 4806848"/>
              <a:gd name="connsiteX4466" fmla="*/ 5505299 w 8978749"/>
              <a:gd name="connsiteY4466" fmla="*/ 1771548 h 4806848"/>
              <a:gd name="connsiteX4467" fmla="*/ 5446561 w 8978749"/>
              <a:gd name="connsiteY4467" fmla="*/ 1771548 h 4806848"/>
              <a:gd name="connsiteX4468" fmla="*/ 5368774 w 8978749"/>
              <a:gd name="connsiteY4468" fmla="*/ 1712810 h 4806848"/>
              <a:gd name="connsiteX4469" fmla="*/ 5425924 w 8978749"/>
              <a:gd name="connsiteY4469" fmla="*/ 1712810 h 4806848"/>
              <a:gd name="connsiteX4470" fmla="*/ 5425924 w 8978749"/>
              <a:gd name="connsiteY4470" fmla="*/ 1771548 h 4806848"/>
              <a:gd name="connsiteX4471" fmla="*/ 5368774 w 8978749"/>
              <a:gd name="connsiteY4471" fmla="*/ 1771548 h 4806848"/>
              <a:gd name="connsiteX4472" fmla="*/ 5289399 w 8978749"/>
              <a:gd name="connsiteY4472" fmla="*/ 1712810 h 4806848"/>
              <a:gd name="connsiteX4473" fmla="*/ 5348137 w 8978749"/>
              <a:gd name="connsiteY4473" fmla="*/ 1712810 h 4806848"/>
              <a:gd name="connsiteX4474" fmla="*/ 5348137 w 8978749"/>
              <a:gd name="connsiteY4474" fmla="*/ 1771548 h 4806848"/>
              <a:gd name="connsiteX4475" fmla="*/ 5289399 w 8978749"/>
              <a:gd name="connsiteY4475" fmla="*/ 1771548 h 4806848"/>
              <a:gd name="connsiteX4476" fmla="*/ 5210024 w 8978749"/>
              <a:gd name="connsiteY4476" fmla="*/ 1712810 h 4806848"/>
              <a:gd name="connsiteX4477" fmla="*/ 5268762 w 8978749"/>
              <a:gd name="connsiteY4477" fmla="*/ 1712810 h 4806848"/>
              <a:gd name="connsiteX4478" fmla="*/ 5268762 w 8978749"/>
              <a:gd name="connsiteY4478" fmla="*/ 1771548 h 4806848"/>
              <a:gd name="connsiteX4479" fmla="*/ 5210024 w 8978749"/>
              <a:gd name="connsiteY4479" fmla="*/ 1771548 h 4806848"/>
              <a:gd name="connsiteX4480" fmla="*/ 5130649 w 8978749"/>
              <a:gd name="connsiteY4480" fmla="*/ 1712810 h 4806848"/>
              <a:gd name="connsiteX4481" fmla="*/ 5189387 w 8978749"/>
              <a:gd name="connsiteY4481" fmla="*/ 1712810 h 4806848"/>
              <a:gd name="connsiteX4482" fmla="*/ 5189387 w 8978749"/>
              <a:gd name="connsiteY4482" fmla="*/ 1771548 h 4806848"/>
              <a:gd name="connsiteX4483" fmla="*/ 5130649 w 8978749"/>
              <a:gd name="connsiteY4483" fmla="*/ 1771548 h 4806848"/>
              <a:gd name="connsiteX4484" fmla="*/ 5052861 w 8978749"/>
              <a:gd name="connsiteY4484" fmla="*/ 1712810 h 4806848"/>
              <a:gd name="connsiteX4485" fmla="*/ 5110011 w 8978749"/>
              <a:gd name="connsiteY4485" fmla="*/ 1712810 h 4806848"/>
              <a:gd name="connsiteX4486" fmla="*/ 5110011 w 8978749"/>
              <a:gd name="connsiteY4486" fmla="*/ 1771548 h 4806848"/>
              <a:gd name="connsiteX4487" fmla="*/ 5052861 w 8978749"/>
              <a:gd name="connsiteY4487" fmla="*/ 1771548 h 4806848"/>
              <a:gd name="connsiteX4488" fmla="*/ 4894111 w 8978749"/>
              <a:gd name="connsiteY4488" fmla="*/ 1712810 h 4806848"/>
              <a:gd name="connsiteX4489" fmla="*/ 4952849 w 8978749"/>
              <a:gd name="connsiteY4489" fmla="*/ 1712810 h 4806848"/>
              <a:gd name="connsiteX4490" fmla="*/ 4952849 w 8978749"/>
              <a:gd name="connsiteY4490" fmla="*/ 1771548 h 4806848"/>
              <a:gd name="connsiteX4491" fmla="*/ 4894111 w 8978749"/>
              <a:gd name="connsiteY4491" fmla="*/ 1771548 h 4806848"/>
              <a:gd name="connsiteX4492" fmla="*/ 4814736 w 8978749"/>
              <a:gd name="connsiteY4492" fmla="*/ 1712810 h 4806848"/>
              <a:gd name="connsiteX4493" fmla="*/ 4873474 w 8978749"/>
              <a:gd name="connsiteY4493" fmla="*/ 1712810 h 4806848"/>
              <a:gd name="connsiteX4494" fmla="*/ 4873474 w 8978749"/>
              <a:gd name="connsiteY4494" fmla="*/ 1771548 h 4806848"/>
              <a:gd name="connsiteX4495" fmla="*/ 4814736 w 8978749"/>
              <a:gd name="connsiteY4495" fmla="*/ 1771548 h 4806848"/>
              <a:gd name="connsiteX4496" fmla="*/ 4736948 w 8978749"/>
              <a:gd name="connsiteY4496" fmla="*/ 1712810 h 4806848"/>
              <a:gd name="connsiteX4497" fmla="*/ 4794098 w 8978749"/>
              <a:gd name="connsiteY4497" fmla="*/ 1712810 h 4806848"/>
              <a:gd name="connsiteX4498" fmla="*/ 4794098 w 8978749"/>
              <a:gd name="connsiteY4498" fmla="*/ 1771548 h 4806848"/>
              <a:gd name="connsiteX4499" fmla="*/ 4736948 w 8978749"/>
              <a:gd name="connsiteY4499" fmla="*/ 1771548 h 4806848"/>
              <a:gd name="connsiteX4500" fmla="*/ 4578198 w 8978749"/>
              <a:gd name="connsiteY4500" fmla="*/ 1712810 h 4806848"/>
              <a:gd name="connsiteX4501" fmla="*/ 4636936 w 8978749"/>
              <a:gd name="connsiteY4501" fmla="*/ 1712810 h 4806848"/>
              <a:gd name="connsiteX4502" fmla="*/ 4636936 w 8978749"/>
              <a:gd name="connsiteY4502" fmla="*/ 1771548 h 4806848"/>
              <a:gd name="connsiteX4503" fmla="*/ 4578198 w 8978749"/>
              <a:gd name="connsiteY4503" fmla="*/ 1771548 h 4806848"/>
              <a:gd name="connsiteX4504" fmla="*/ 4498823 w 8978749"/>
              <a:gd name="connsiteY4504" fmla="*/ 1712810 h 4806848"/>
              <a:gd name="connsiteX4505" fmla="*/ 4557561 w 8978749"/>
              <a:gd name="connsiteY4505" fmla="*/ 1712810 h 4806848"/>
              <a:gd name="connsiteX4506" fmla="*/ 4557561 w 8978749"/>
              <a:gd name="connsiteY4506" fmla="*/ 1771548 h 4806848"/>
              <a:gd name="connsiteX4507" fmla="*/ 4498823 w 8978749"/>
              <a:gd name="connsiteY4507" fmla="*/ 1771548 h 4806848"/>
              <a:gd name="connsiteX4508" fmla="*/ 4262286 w 8978749"/>
              <a:gd name="connsiteY4508" fmla="*/ 1712810 h 4806848"/>
              <a:gd name="connsiteX4509" fmla="*/ 4321024 w 8978749"/>
              <a:gd name="connsiteY4509" fmla="*/ 1712810 h 4806848"/>
              <a:gd name="connsiteX4510" fmla="*/ 4321024 w 8978749"/>
              <a:gd name="connsiteY4510" fmla="*/ 1771548 h 4806848"/>
              <a:gd name="connsiteX4511" fmla="*/ 4262286 w 8978749"/>
              <a:gd name="connsiteY4511" fmla="*/ 1771548 h 4806848"/>
              <a:gd name="connsiteX4512" fmla="*/ 4184498 w 8978749"/>
              <a:gd name="connsiteY4512" fmla="*/ 1712810 h 4806848"/>
              <a:gd name="connsiteX4513" fmla="*/ 4241648 w 8978749"/>
              <a:gd name="connsiteY4513" fmla="*/ 1712810 h 4806848"/>
              <a:gd name="connsiteX4514" fmla="*/ 4241648 w 8978749"/>
              <a:gd name="connsiteY4514" fmla="*/ 1771548 h 4806848"/>
              <a:gd name="connsiteX4515" fmla="*/ 4184498 w 8978749"/>
              <a:gd name="connsiteY4515" fmla="*/ 1771548 h 4806848"/>
              <a:gd name="connsiteX4516" fmla="*/ 4105123 w 8978749"/>
              <a:gd name="connsiteY4516" fmla="*/ 1712810 h 4806848"/>
              <a:gd name="connsiteX4517" fmla="*/ 4163861 w 8978749"/>
              <a:gd name="connsiteY4517" fmla="*/ 1712810 h 4806848"/>
              <a:gd name="connsiteX4518" fmla="*/ 4163861 w 8978749"/>
              <a:gd name="connsiteY4518" fmla="*/ 1771548 h 4806848"/>
              <a:gd name="connsiteX4519" fmla="*/ 4105123 w 8978749"/>
              <a:gd name="connsiteY4519" fmla="*/ 1771548 h 4806848"/>
              <a:gd name="connsiteX4520" fmla="*/ 4025748 w 8978749"/>
              <a:gd name="connsiteY4520" fmla="*/ 1712810 h 4806848"/>
              <a:gd name="connsiteX4521" fmla="*/ 4084486 w 8978749"/>
              <a:gd name="connsiteY4521" fmla="*/ 1712810 h 4806848"/>
              <a:gd name="connsiteX4522" fmla="*/ 4084486 w 8978749"/>
              <a:gd name="connsiteY4522" fmla="*/ 1771548 h 4806848"/>
              <a:gd name="connsiteX4523" fmla="*/ 4025748 w 8978749"/>
              <a:gd name="connsiteY4523" fmla="*/ 1771548 h 4806848"/>
              <a:gd name="connsiteX4524" fmla="*/ 2447893 w 8978749"/>
              <a:gd name="connsiteY4524" fmla="*/ 1712810 h 4806848"/>
              <a:gd name="connsiteX4525" fmla="*/ 2505051 w 8978749"/>
              <a:gd name="connsiteY4525" fmla="*/ 1712810 h 4806848"/>
              <a:gd name="connsiteX4526" fmla="*/ 2505051 w 8978749"/>
              <a:gd name="connsiteY4526" fmla="*/ 1771548 h 4806848"/>
              <a:gd name="connsiteX4527" fmla="*/ 2447893 w 8978749"/>
              <a:gd name="connsiteY4527" fmla="*/ 1771548 h 4806848"/>
              <a:gd name="connsiteX4528" fmla="*/ 2368525 w 8978749"/>
              <a:gd name="connsiteY4528" fmla="*/ 1712810 h 4806848"/>
              <a:gd name="connsiteX4529" fmla="*/ 2427260 w 8978749"/>
              <a:gd name="connsiteY4529" fmla="*/ 1712810 h 4806848"/>
              <a:gd name="connsiteX4530" fmla="*/ 2427260 w 8978749"/>
              <a:gd name="connsiteY4530" fmla="*/ 1771548 h 4806848"/>
              <a:gd name="connsiteX4531" fmla="*/ 2368525 w 8978749"/>
              <a:gd name="connsiteY4531" fmla="*/ 1771548 h 4806848"/>
              <a:gd name="connsiteX4532" fmla="*/ 2289146 w 8978749"/>
              <a:gd name="connsiteY4532" fmla="*/ 1712810 h 4806848"/>
              <a:gd name="connsiteX4533" fmla="*/ 2347888 w 8978749"/>
              <a:gd name="connsiteY4533" fmla="*/ 1712810 h 4806848"/>
              <a:gd name="connsiteX4534" fmla="*/ 2347888 w 8978749"/>
              <a:gd name="connsiteY4534" fmla="*/ 1771548 h 4806848"/>
              <a:gd name="connsiteX4535" fmla="*/ 2289146 w 8978749"/>
              <a:gd name="connsiteY4535" fmla="*/ 1771548 h 4806848"/>
              <a:gd name="connsiteX4536" fmla="*/ 2209770 w 8978749"/>
              <a:gd name="connsiteY4536" fmla="*/ 1712810 h 4806848"/>
              <a:gd name="connsiteX4537" fmla="*/ 2268511 w 8978749"/>
              <a:gd name="connsiteY4537" fmla="*/ 1712810 h 4806848"/>
              <a:gd name="connsiteX4538" fmla="*/ 2268511 w 8978749"/>
              <a:gd name="connsiteY4538" fmla="*/ 1771548 h 4806848"/>
              <a:gd name="connsiteX4539" fmla="*/ 2209770 w 8978749"/>
              <a:gd name="connsiteY4539" fmla="*/ 1771548 h 4806848"/>
              <a:gd name="connsiteX4540" fmla="*/ 2131984 w 8978749"/>
              <a:gd name="connsiteY4540" fmla="*/ 1712810 h 4806848"/>
              <a:gd name="connsiteX4541" fmla="*/ 2189137 w 8978749"/>
              <a:gd name="connsiteY4541" fmla="*/ 1712810 h 4806848"/>
              <a:gd name="connsiteX4542" fmla="*/ 2189137 w 8978749"/>
              <a:gd name="connsiteY4542" fmla="*/ 1771548 h 4806848"/>
              <a:gd name="connsiteX4543" fmla="*/ 2131984 w 8978749"/>
              <a:gd name="connsiteY4543" fmla="*/ 1771548 h 4806848"/>
              <a:gd name="connsiteX4544" fmla="*/ 2052605 w 8978749"/>
              <a:gd name="connsiteY4544" fmla="*/ 1712810 h 4806848"/>
              <a:gd name="connsiteX4545" fmla="*/ 2111346 w 8978749"/>
              <a:gd name="connsiteY4545" fmla="*/ 1712810 h 4806848"/>
              <a:gd name="connsiteX4546" fmla="*/ 2111346 w 8978749"/>
              <a:gd name="connsiteY4546" fmla="*/ 1771548 h 4806848"/>
              <a:gd name="connsiteX4547" fmla="*/ 2052605 w 8978749"/>
              <a:gd name="connsiteY4547" fmla="*/ 1771548 h 4806848"/>
              <a:gd name="connsiteX4548" fmla="*/ 1973225 w 8978749"/>
              <a:gd name="connsiteY4548" fmla="*/ 1712810 h 4806848"/>
              <a:gd name="connsiteX4549" fmla="*/ 2031970 w 8978749"/>
              <a:gd name="connsiteY4549" fmla="*/ 1712810 h 4806848"/>
              <a:gd name="connsiteX4550" fmla="*/ 2031970 w 8978749"/>
              <a:gd name="connsiteY4550" fmla="*/ 1771548 h 4806848"/>
              <a:gd name="connsiteX4551" fmla="*/ 1973225 w 8978749"/>
              <a:gd name="connsiteY4551" fmla="*/ 1771548 h 4806848"/>
              <a:gd name="connsiteX4552" fmla="*/ 1893848 w 8978749"/>
              <a:gd name="connsiteY4552" fmla="*/ 1712810 h 4806848"/>
              <a:gd name="connsiteX4553" fmla="*/ 1952583 w 8978749"/>
              <a:gd name="connsiteY4553" fmla="*/ 1712810 h 4806848"/>
              <a:gd name="connsiteX4554" fmla="*/ 1952583 w 8978749"/>
              <a:gd name="connsiteY4554" fmla="*/ 1771548 h 4806848"/>
              <a:gd name="connsiteX4555" fmla="*/ 1893848 w 8978749"/>
              <a:gd name="connsiteY4555" fmla="*/ 1771548 h 4806848"/>
              <a:gd name="connsiteX4556" fmla="*/ 1816083 w 8978749"/>
              <a:gd name="connsiteY4556" fmla="*/ 1712810 h 4806848"/>
              <a:gd name="connsiteX4557" fmla="*/ 1873218 w 8978749"/>
              <a:gd name="connsiteY4557" fmla="*/ 1712810 h 4806848"/>
              <a:gd name="connsiteX4558" fmla="*/ 1873218 w 8978749"/>
              <a:gd name="connsiteY4558" fmla="*/ 1771548 h 4806848"/>
              <a:gd name="connsiteX4559" fmla="*/ 1816083 w 8978749"/>
              <a:gd name="connsiteY4559" fmla="*/ 1771548 h 4806848"/>
              <a:gd name="connsiteX4560" fmla="*/ 1736708 w 8978749"/>
              <a:gd name="connsiteY4560" fmla="*/ 1712810 h 4806848"/>
              <a:gd name="connsiteX4561" fmla="*/ 1795451 w 8978749"/>
              <a:gd name="connsiteY4561" fmla="*/ 1712810 h 4806848"/>
              <a:gd name="connsiteX4562" fmla="*/ 1795451 w 8978749"/>
              <a:gd name="connsiteY4562" fmla="*/ 1771548 h 4806848"/>
              <a:gd name="connsiteX4563" fmla="*/ 1736708 w 8978749"/>
              <a:gd name="connsiteY4563" fmla="*/ 1771548 h 4806848"/>
              <a:gd name="connsiteX4564" fmla="*/ 1657326 w 8978749"/>
              <a:gd name="connsiteY4564" fmla="*/ 1712810 h 4806848"/>
              <a:gd name="connsiteX4565" fmla="*/ 1716069 w 8978749"/>
              <a:gd name="connsiteY4565" fmla="*/ 1712810 h 4806848"/>
              <a:gd name="connsiteX4566" fmla="*/ 1716069 w 8978749"/>
              <a:gd name="connsiteY4566" fmla="*/ 1771548 h 4806848"/>
              <a:gd name="connsiteX4567" fmla="*/ 1657326 w 8978749"/>
              <a:gd name="connsiteY4567" fmla="*/ 1771548 h 4806848"/>
              <a:gd name="connsiteX4568" fmla="*/ 1577939 w 8978749"/>
              <a:gd name="connsiteY4568" fmla="*/ 1712810 h 4806848"/>
              <a:gd name="connsiteX4569" fmla="*/ 1636691 w 8978749"/>
              <a:gd name="connsiteY4569" fmla="*/ 1712810 h 4806848"/>
              <a:gd name="connsiteX4570" fmla="*/ 1636691 w 8978749"/>
              <a:gd name="connsiteY4570" fmla="*/ 1771548 h 4806848"/>
              <a:gd name="connsiteX4571" fmla="*/ 1577939 w 8978749"/>
              <a:gd name="connsiteY4571" fmla="*/ 1771548 h 4806848"/>
              <a:gd name="connsiteX4572" fmla="*/ 1500153 w 8978749"/>
              <a:gd name="connsiteY4572" fmla="*/ 1712810 h 4806848"/>
              <a:gd name="connsiteX4573" fmla="*/ 1558894 w 8978749"/>
              <a:gd name="connsiteY4573" fmla="*/ 1712810 h 4806848"/>
              <a:gd name="connsiteX4574" fmla="*/ 1558894 w 8978749"/>
              <a:gd name="connsiteY4574" fmla="*/ 1771548 h 4806848"/>
              <a:gd name="connsiteX4575" fmla="*/ 1500153 w 8978749"/>
              <a:gd name="connsiteY4575" fmla="*/ 1771548 h 4806848"/>
              <a:gd name="connsiteX4576" fmla="*/ 1420774 w 8978749"/>
              <a:gd name="connsiteY4576" fmla="*/ 1712810 h 4806848"/>
              <a:gd name="connsiteX4577" fmla="*/ 1479511 w 8978749"/>
              <a:gd name="connsiteY4577" fmla="*/ 1712810 h 4806848"/>
              <a:gd name="connsiteX4578" fmla="*/ 1479511 w 8978749"/>
              <a:gd name="connsiteY4578" fmla="*/ 1771548 h 4806848"/>
              <a:gd name="connsiteX4579" fmla="*/ 1420774 w 8978749"/>
              <a:gd name="connsiteY4579" fmla="*/ 1771548 h 4806848"/>
              <a:gd name="connsiteX4580" fmla="*/ 1341419 w 8978749"/>
              <a:gd name="connsiteY4580" fmla="*/ 1712810 h 4806848"/>
              <a:gd name="connsiteX4581" fmla="*/ 1400147 w 8978749"/>
              <a:gd name="connsiteY4581" fmla="*/ 1712810 h 4806848"/>
              <a:gd name="connsiteX4582" fmla="*/ 1400147 w 8978749"/>
              <a:gd name="connsiteY4582" fmla="*/ 1771548 h 4806848"/>
              <a:gd name="connsiteX4583" fmla="*/ 1341419 w 8978749"/>
              <a:gd name="connsiteY4583" fmla="*/ 1771548 h 4806848"/>
              <a:gd name="connsiteX4584" fmla="*/ 1263620 w 8978749"/>
              <a:gd name="connsiteY4584" fmla="*/ 1712810 h 4806848"/>
              <a:gd name="connsiteX4585" fmla="*/ 1320779 w 8978749"/>
              <a:gd name="connsiteY4585" fmla="*/ 1712810 h 4806848"/>
              <a:gd name="connsiteX4586" fmla="*/ 1320779 w 8978749"/>
              <a:gd name="connsiteY4586" fmla="*/ 1771548 h 4806848"/>
              <a:gd name="connsiteX4587" fmla="*/ 1263620 w 8978749"/>
              <a:gd name="connsiteY4587" fmla="*/ 1771548 h 4806848"/>
              <a:gd name="connsiteX4588" fmla="*/ 1184249 w 8978749"/>
              <a:gd name="connsiteY4588" fmla="*/ 1712810 h 4806848"/>
              <a:gd name="connsiteX4589" fmla="*/ 1242977 w 8978749"/>
              <a:gd name="connsiteY4589" fmla="*/ 1712810 h 4806848"/>
              <a:gd name="connsiteX4590" fmla="*/ 1242977 w 8978749"/>
              <a:gd name="connsiteY4590" fmla="*/ 1771548 h 4806848"/>
              <a:gd name="connsiteX4591" fmla="*/ 1184249 w 8978749"/>
              <a:gd name="connsiteY4591" fmla="*/ 1771548 h 4806848"/>
              <a:gd name="connsiteX4592" fmla="*/ 6314924 w 8978749"/>
              <a:gd name="connsiteY4592" fmla="*/ 1635023 h 4806848"/>
              <a:gd name="connsiteX4593" fmla="*/ 6373662 w 8978749"/>
              <a:gd name="connsiteY4593" fmla="*/ 1635023 h 4806848"/>
              <a:gd name="connsiteX4594" fmla="*/ 6373662 w 8978749"/>
              <a:gd name="connsiteY4594" fmla="*/ 1692173 h 4806848"/>
              <a:gd name="connsiteX4595" fmla="*/ 6314924 w 8978749"/>
              <a:gd name="connsiteY4595" fmla="*/ 1692173 h 4806848"/>
              <a:gd name="connsiteX4596" fmla="*/ 6235549 w 8978749"/>
              <a:gd name="connsiteY4596" fmla="*/ 1635023 h 4806848"/>
              <a:gd name="connsiteX4597" fmla="*/ 6294287 w 8978749"/>
              <a:gd name="connsiteY4597" fmla="*/ 1635023 h 4806848"/>
              <a:gd name="connsiteX4598" fmla="*/ 6294287 w 8978749"/>
              <a:gd name="connsiteY4598" fmla="*/ 1692173 h 4806848"/>
              <a:gd name="connsiteX4599" fmla="*/ 6235549 w 8978749"/>
              <a:gd name="connsiteY4599" fmla="*/ 1692173 h 4806848"/>
              <a:gd name="connsiteX4600" fmla="*/ 6157761 w 8978749"/>
              <a:gd name="connsiteY4600" fmla="*/ 1635023 h 4806848"/>
              <a:gd name="connsiteX4601" fmla="*/ 6214911 w 8978749"/>
              <a:gd name="connsiteY4601" fmla="*/ 1635023 h 4806848"/>
              <a:gd name="connsiteX4602" fmla="*/ 6214911 w 8978749"/>
              <a:gd name="connsiteY4602" fmla="*/ 1692173 h 4806848"/>
              <a:gd name="connsiteX4603" fmla="*/ 6157761 w 8978749"/>
              <a:gd name="connsiteY4603" fmla="*/ 1692173 h 4806848"/>
              <a:gd name="connsiteX4604" fmla="*/ 6078386 w 8978749"/>
              <a:gd name="connsiteY4604" fmla="*/ 1635023 h 4806848"/>
              <a:gd name="connsiteX4605" fmla="*/ 6137124 w 8978749"/>
              <a:gd name="connsiteY4605" fmla="*/ 1635023 h 4806848"/>
              <a:gd name="connsiteX4606" fmla="*/ 6137124 w 8978749"/>
              <a:gd name="connsiteY4606" fmla="*/ 1692173 h 4806848"/>
              <a:gd name="connsiteX4607" fmla="*/ 6078386 w 8978749"/>
              <a:gd name="connsiteY4607" fmla="*/ 1692173 h 4806848"/>
              <a:gd name="connsiteX4608" fmla="*/ 5999011 w 8978749"/>
              <a:gd name="connsiteY4608" fmla="*/ 1635023 h 4806848"/>
              <a:gd name="connsiteX4609" fmla="*/ 6057749 w 8978749"/>
              <a:gd name="connsiteY4609" fmla="*/ 1635023 h 4806848"/>
              <a:gd name="connsiteX4610" fmla="*/ 6057749 w 8978749"/>
              <a:gd name="connsiteY4610" fmla="*/ 1692173 h 4806848"/>
              <a:gd name="connsiteX4611" fmla="*/ 5999011 w 8978749"/>
              <a:gd name="connsiteY4611" fmla="*/ 1692173 h 4806848"/>
              <a:gd name="connsiteX4612" fmla="*/ 5921224 w 8978749"/>
              <a:gd name="connsiteY4612" fmla="*/ 1635023 h 4806848"/>
              <a:gd name="connsiteX4613" fmla="*/ 5978374 w 8978749"/>
              <a:gd name="connsiteY4613" fmla="*/ 1635023 h 4806848"/>
              <a:gd name="connsiteX4614" fmla="*/ 5978374 w 8978749"/>
              <a:gd name="connsiteY4614" fmla="*/ 1692173 h 4806848"/>
              <a:gd name="connsiteX4615" fmla="*/ 5921224 w 8978749"/>
              <a:gd name="connsiteY4615" fmla="*/ 1692173 h 4806848"/>
              <a:gd name="connsiteX4616" fmla="*/ 5841849 w 8978749"/>
              <a:gd name="connsiteY4616" fmla="*/ 1635023 h 4806848"/>
              <a:gd name="connsiteX4617" fmla="*/ 5900587 w 8978749"/>
              <a:gd name="connsiteY4617" fmla="*/ 1635023 h 4806848"/>
              <a:gd name="connsiteX4618" fmla="*/ 5900587 w 8978749"/>
              <a:gd name="connsiteY4618" fmla="*/ 1692173 h 4806848"/>
              <a:gd name="connsiteX4619" fmla="*/ 5841849 w 8978749"/>
              <a:gd name="connsiteY4619" fmla="*/ 1692173 h 4806848"/>
              <a:gd name="connsiteX4620" fmla="*/ 5684686 w 8978749"/>
              <a:gd name="connsiteY4620" fmla="*/ 1635023 h 4806848"/>
              <a:gd name="connsiteX4621" fmla="*/ 5741836 w 8978749"/>
              <a:gd name="connsiteY4621" fmla="*/ 1635023 h 4806848"/>
              <a:gd name="connsiteX4622" fmla="*/ 5741836 w 8978749"/>
              <a:gd name="connsiteY4622" fmla="*/ 1692173 h 4806848"/>
              <a:gd name="connsiteX4623" fmla="*/ 5684686 w 8978749"/>
              <a:gd name="connsiteY4623" fmla="*/ 1692173 h 4806848"/>
              <a:gd name="connsiteX4624" fmla="*/ 5605311 w 8978749"/>
              <a:gd name="connsiteY4624" fmla="*/ 1635023 h 4806848"/>
              <a:gd name="connsiteX4625" fmla="*/ 5664049 w 8978749"/>
              <a:gd name="connsiteY4625" fmla="*/ 1635023 h 4806848"/>
              <a:gd name="connsiteX4626" fmla="*/ 5664049 w 8978749"/>
              <a:gd name="connsiteY4626" fmla="*/ 1692173 h 4806848"/>
              <a:gd name="connsiteX4627" fmla="*/ 5605311 w 8978749"/>
              <a:gd name="connsiteY4627" fmla="*/ 1692173 h 4806848"/>
              <a:gd name="connsiteX4628" fmla="*/ 5525936 w 8978749"/>
              <a:gd name="connsiteY4628" fmla="*/ 1635023 h 4806848"/>
              <a:gd name="connsiteX4629" fmla="*/ 5584674 w 8978749"/>
              <a:gd name="connsiteY4629" fmla="*/ 1635023 h 4806848"/>
              <a:gd name="connsiteX4630" fmla="*/ 5584674 w 8978749"/>
              <a:gd name="connsiteY4630" fmla="*/ 1692173 h 4806848"/>
              <a:gd name="connsiteX4631" fmla="*/ 5525936 w 8978749"/>
              <a:gd name="connsiteY4631" fmla="*/ 1692173 h 4806848"/>
              <a:gd name="connsiteX4632" fmla="*/ 5368774 w 8978749"/>
              <a:gd name="connsiteY4632" fmla="*/ 1635023 h 4806848"/>
              <a:gd name="connsiteX4633" fmla="*/ 5425924 w 8978749"/>
              <a:gd name="connsiteY4633" fmla="*/ 1635023 h 4806848"/>
              <a:gd name="connsiteX4634" fmla="*/ 5425924 w 8978749"/>
              <a:gd name="connsiteY4634" fmla="*/ 1692173 h 4806848"/>
              <a:gd name="connsiteX4635" fmla="*/ 5368774 w 8978749"/>
              <a:gd name="connsiteY4635" fmla="*/ 1692173 h 4806848"/>
              <a:gd name="connsiteX4636" fmla="*/ 5289399 w 8978749"/>
              <a:gd name="connsiteY4636" fmla="*/ 1635023 h 4806848"/>
              <a:gd name="connsiteX4637" fmla="*/ 5348137 w 8978749"/>
              <a:gd name="connsiteY4637" fmla="*/ 1635023 h 4806848"/>
              <a:gd name="connsiteX4638" fmla="*/ 5348137 w 8978749"/>
              <a:gd name="connsiteY4638" fmla="*/ 1692173 h 4806848"/>
              <a:gd name="connsiteX4639" fmla="*/ 5289399 w 8978749"/>
              <a:gd name="connsiteY4639" fmla="*/ 1692173 h 4806848"/>
              <a:gd name="connsiteX4640" fmla="*/ 4894111 w 8978749"/>
              <a:gd name="connsiteY4640" fmla="*/ 1635023 h 4806848"/>
              <a:gd name="connsiteX4641" fmla="*/ 4952849 w 8978749"/>
              <a:gd name="connsiteY4641" fmla="*/ 1635023 h 4806848"/>
              <a:gd name="connsiteX4642" fmla="*/ 4952849 w 8978749"/>
              <a:gd name="connsiteY4642" fmla="*/ 1692173 h 4806848"/>
              <a:gd name="connsiteX4643" fmla="*/ 4894111 w 8978749"/>
              <a:gd name="connsiteY4643" fmla="*/ 1692173 h 4806848"/>
              <a:gd name="connsiteX4644" fmla="*/ 4814736 w 8978749"/>
              <a:gd name="connsiteY4644" fmla="*/ 1635023 h 4806848"/>
              <a:gd name="connsiteX4645" fmla="*/ 4873474 w 8978749"/>
              <a:gd name="connsiteY4645" fmla="*/ 1635023 h 4806848"/>
              <a:gd name="connsiteX4646" fmla="*/ 4873474 w 8978749"/>
              <a:gd name="connsiteY4646" fmla="*/ 1692173 h 4806848"/>
              <a:gd name="connsiteX4647" fmla="*/ 4814736 w 8978749"/>
              <a:gd name="connsiteY4647" fmla="*/ 1692173 h 4806848"/>
              <a:gd name="connsiteX4648" fmla="*/ 4736948 w 8978749"/>
              <a:gd name="connsiteY4648" fmla="*/ 1635023 h 4806848"/>
              <a:gd name="connsiteX4649" fmla="*/ 4794098 w 8978749"/>
              <a:gd name="connsiteY4649" fmla="*/ 1635023 h 4806848"/>
              <a:gd name="connsiteX4650" fmla="*/ 4794098 w 8978749"/>
              <a:gd name="connsiteY4650" fmla="*/ 1692173 h 4806848"/>
              <a:gd name="connsiteX4651" fmla="*/ 4736948 w 8978749"/>
              <a:gd name="connsiteY4651" fmla="*/ 1692173 h 4806848"/>
              <a:gd name="connsiteX4652" fmla="*/ 4657573 w 8978749"/>
              <a:gd name="connsiteY4652" fmla="*/ 1635023 h 4806848"/>
              <a:gd name="connsiteX4653" fmla="*/ 4716311 w 8978749"/>
              <a:gd name="connsiteY4653" fmla="*/ 1635023 h 4806848"/>
              <a:gd name="connsiteX4654" fmla="*/ 4716311 w 8978749"/>
              <a:gd name="connsiteY4654" fmla="*/ 1692173 h 4806848"/>
              <a:gd name="connsiteX4655" fmla="*/ 4657573 w 8978749"/>
              <a:gd name="connsiteY4655" fmla="*/ 1692173 h 4806848"/>
              <a:gd name="connsiteX4656" fmla="*/ 4498823 w 8978749"/>
              <a:gd name="connsiteY4656" fmla="*/ 1635023 h 4806848"/>
              <a:gd name="connsiteX4657" fmla="*/ 4557561 w 8978749"/>
              <a:gd name="connsiteY4657" fmla="*/ 1635023 h 4806848"/>
              <a:gd name="connsiteX4658" fmla="*/ 4557561 w 8978749"/>
              <a:gd name="connsiteY4658" fmla="*/ 1692173 h 4806848"/>
              <a:gd name="connsiteX4659" fmla="*/ 4498823 w 8978749"/>
              <a:gd name="connsiteY4659" fmla="*/ 1692173 h 4806848"/>
              <a:gd name="connsiteX4660" fmla="*/ 4421036 w 8978749"/>
              <a:gd name="connsiteY4660" fmla="*/ 1635023 h 4806848"/>
              <a:gd name="connsiteX4661" fmla="*/ 4479774 w 8978749"/>
              <a:gd name="connsiteY4661" fmla="*/ 1635023 h 4806848"/>
              <a:gd name="connsiteX4662" fmla="*/ 4479774 w 8978749"/>
              <a:gd name="connsiteY4662" fmla="*/ 1692173 h 4806848"/>
              <a:gd name="connsiteX4663" fmla="*/ 4421036 w 8978749"/>
              <a:gd name="connsiteY4663" fmla="*/ 1692173 h 4806848"/>
              <a:gd name="connsiteX4664" fmla="*/ 4341661 w 8978749"/>
              <a:gd name="connsiteY4664" fmla="*/ 1635023 h 4806848"/>
              <a:gd name="connsiteX4665" fmla="*/ 4400399 w 8978749"/>
              <a:gd name="connsiteY4665" fmla="*/ 1635023 h 4806848"/>
              <a:gd name="connsiteX4666" fmla="*/ 4400399 w 8978749"/>
              <a:gd name="connsiteY4666" fmla="*/ 1692173 h 4806848"/>
              <a:gd name="connsiteX4667" fmla="*/ 4341661 w 8978749"/>
              <a:gd name="connsiteY4667" fmla="*/ 1692173 h 4806848"/>
              <a:gd name="connsiteX4668" fmla="*/ 4262286 w 8978749"/>
              <a:gd name="connsiteY4668" fmla="*/ 1635023 h 4806848"/>
              <a:gd name="connsiteX4669" fmla="*/ 4321024 w 8978749"/>
              <a:gd name="connsiteY4669" fmla="*/ 1635023 h 4806848"/>
              <a:gd name="connsiteX4670" fmla="*/ 4321024 w 8978749"/>
              <a:gd name="connsiteY4670" fmla="*/ 1692173 h 4806848"/>
              <a:gd name="connsiteX4671" fmla="*/ 4262286 w 8978749"/>
              <a:gd name="connsiteY4671" fmla="*/ 1692173 h 4806848"/>
              <a:gd name="connsiteX4672" fmla="*/ 4184498 w 8978749"/>
              <a:gd name="connsiteY4672" fmla="*/ 1635023 h 4806848"/>
              <a:gd name="connsiteX4673" fmla="*/ 4241648 w 8978749"/>
              <a:gd name="connsiteY4673" fmla="*/ 1635023 h 4806848"/>
              <a:gd name="connsiteX4674" fmla="*/ 4241648 w 8978749"/>
              <a:gd name="connsiteY4674" fmla="*/ 1692173 h 4806848"/>
              <a:gd name="connsiteX4675" fmla="*/ 4184498 w 8978749"/>
              <a:gd name="connsiteY4675" fmla="*/ 1692173 h 4806848"/>
              <a:gd name="connsiteX4676" fmla="*/ 4105123 w 8978749"/>
              <a:gd name="connsiteY4676" fmla="*/ 1635023 h 4806848"/>
              <a:gd name="connsiteX4677" fmla="*/ 4163861 w 8978749"/>
              <a:gd name="connsiteY4677" fmla="*/ 1635023 h 4806848"/>
              <a:gd name="connsiteX4678" fmla="*/ 4163861 w 8978749"/>
              <a:gd name="connsiteY4678" fmla="*/ 1692173 h 4806848"/>
              <a:gd name="connsiteX4679" fmla="*/ 4105123 w 8978749"/>
              <a:gd name="connsiteY4679" fmla="*/ 1692173 h 4806848"/>
              <a:gd name="connsiteX4680" fmla="*/ 4025748 w 8978749"/>
              <a:gd name="connsiteY4680" fmla="*/ 1635023 h 4806848"/>
              <a:gd name="connsiteX4681" fmla="*/ 4084486 w 8978749"/>
              <a:gd name="connsiteY4681" fmla="*/ 1635023 h 4806848"/>
              <a:gd name="connsiteX4682" fmla="*/ 4084486 w 8978749"/>
              <a:gd name="connsiteY4682" fmla="*/ 1692173 h 4806848"/>
              <a:gd name="connsiteX4683" fmla="*/ 4025748 w 8978749"/>
              <a:gd name="connsiteY4683" fmla="*/ 1692173 h 4806848"/>
              <a:gd name="connsiteX4684" fmla="*/ 2447898 w 8978749"/>
              <a:gd name="connsiteY4684" fmla="*/ 1635023 h 4806848"/>
              <a:gd name="connsiteX4685" fmla="*/ 2505057 w 8978749"/>
              <a:gd name="connsiteY4685" fmla="*/ 1635023 h 4806848"/>
              <a:gd name="connsiteX4686" fmla="*/ 2505057 w 8978749"/>
              <a:gd name="connsiteY4686" fmla="*/ 1692173 h 4806848"/>
              <a:gd name="connsiteX4687" fmla="*/ 2447898 w 8978749"/>
              <a:gd name="connsiteY4687" fmla="*/ 1692173 h 4806848"/>
              <a:gd name="connsiteX4688" fmla="*/ 2368531 w 8978749"/>
              <a:gd name="connsiteY4688" fmla="*/ 1635023 h 4806848"/>
              <a:gd name="connsiteX4689" fmla="*/ 2427264 w 8978749"/>
              <a:gd name="connsiteY4689" fmla="*/ 1635023 h 4806848"/>
              <a:gd name="connsiteX4690" fmla="*/ 2427264 w 8978749"/>
              <a:gd name="connsiteY4690" fmla="*/ 1692173 h 4806848"/>
              <a:gd name="connsiteX4691" fmla="*/ 2368531 w 8978749"/>
              <a:gd name="connsiteY4691" fmla="*/ 1692173 h 4806848"/>
              <a:gd name="connsiteX4692" fmla="*/ 2289151 w 8978749"/>
              <a:gd name="connsiteY4692" fmla="*/ 1635023 h 4806848"/>
              <a:gd name="connsiteX4693" fmla="*/ 2347892 w 8978749"/>
              <a:gd name="connsiteY4693" fmla="*/ 1635023 h 4806848"/>
              <a:gd name="connsiteX4694" fmla="*/ 2347892 w 8978749"/>
              <a:gd name="connsiteY4694" fmla="*/ 1692173 h 4806848"/>
              <a:gd name="connsiteX4695" fmla="*/ 2289151 w 8978749"/>
              <a:gd name="connsiteY4695" fmla="*/ 1692173 h 4806848"/>
              <a:gd name="connsiteX4696" fmla="*/ 2209773 w 8978749"/>
              <a:gd name="connsiteY4696" fmla="*/ 1635023 h 4806848"/>
              <a:gd name="connsiteX4697" fmla="*/ 2268513 w 8978749"/>
              <a:gd name="connsiteY4697" fmla="*/ 1635023 h 4806848"/>
              <a:gd name="connsiteX4698" fmla="*/ 2268513 w 8978749"/>
              <a:gd name="connsiteY4698" fmla="*/ 1692173 h 4806848"/>
              <a:gd name="connsiteX4699" fmla="*/ 2209773 w 8978749"/>
              <a:gd name="connsiteY4699" fmla="*/ 1692173 h 4806848"/>
              <a:gd name="connsiteX4700" fmla="*/ 2131987 w 8978749"/>
              <a:gd name="connsiteY4700" fmla="*/ 1635023 h 4806848"/>
              <a:gd name="connsiteX4701" fmla="*/ 2189140 w 8978749"/>
              <a:gd name="connsiteY4701" fmla="*/ 1635023 h 4806848"/>
              <a:gd name="connsiteX4702" fmla="*/ 2189140 w 8978749"/>
              <a:gd name="connsiteY4702" fmla="*/ 1692173 h 4806848"/>
              <a:gd name="connsiteX4703" fmla="*/ 2131987 w 8978749"/>
              <a:gd name="connsiteY4703" fmla="*/ 1692173 h 4806848"/>
              <a:gd name="connsiteX4704" fmla="*/ 1973229 w 8978749"/>
              <a:gd name="connsiteY4704" fmla="*/ 1635023 h 4806848"/>
              <a:gd name="connsiteX4705" fmla="*/ 2031975 w 8978749"/>
              <a:gd name="connsiteY4705" fmla="*/ 1635023 h 4806848"/>
              <a:gd name="connsiteX4706" fmla="*/ 2031975 w 8978749"/>
              <a:gd name="connsiteY4706" fmla="*/ 1692173 h 4806848"/>
              <a:gd name="connsiteX4707" fmla="*/ 1973229 w 8978749"/>
              <a:gd name="connsiteY4707" fmla="*/ 1692173 h 4806848"/>
              <a:gd name="connsiteX4708" fmla="*/ 1893852 w 8978749"/>
              <a:gd name="connsiteY4708" fmla="*/ 1635023 h 4806848"/>
              <a:gd name="connsiteX4709" fmla="*/ 1952588 w 8978749"/>
              <a:gd name="connsiteY4709" fmla="*/ 1635023 h 4806848"/>
              <a:gd name="connsiteX4710" fmla="*/ 1952588 w 8978749"/>
              <a:gd name="connsiteY4710" fmla="*/ 1692173 h 4806848"/>
              <a:gd name="connsiteX4711" fmla="*/ 1893852 w 8978749"/>
              <a:gd name="connsiteY4711" fmla="*/ 1692173 h 4806848"/>
              <a:gd name="connsiteX4712" fmla="*/ 1816085 w 8978749"/>
              <a:gd name="connsiteY4712" fmla="*/ 1635023 h 4806848"/>
              <a:gd name="connsiteX4713" fmla="*/ 1873221 w 8978749"/>
              <a:gd name="connsiteY4713" fmla="*/ 1635023 h 4806848"/>
              <a:gd name="connsiteX4714" fmla="*/ 1873221 w 8978749"/>
              <a:gd name="connsiteY4714" fmla="*/ 1692173 h 4806848"/>
              <a:gd name="connsiteX4715" fmla="*/ 1816085 w 8978749"/>
              <a:gd name="connsiteY4715" fmla="*/ 1692173 h 4806848"/>
              <a:gd name="connsiteX4716" fmla="*/ 1736712 w 8978749"/>
              <a:gd name="connsiteY4716" fmla="*/ 1635023 h 4806848"/>
              <a:gd name="connsiteX4717" fmla="*/ 1795459 w 8978749"/>
              <a:gd name="connsiteY4717" fmla="*/ 1635023 h 4806848"/>
              <a:gd name="connsiteX4718" fmla="*/ 1795459 w 8978749"/>
              <a:gd name="connsiteY4718" fmla="*/ 1692173 h 4806848"/>
              <a:gd name="connsiteX4719" fmla="*/ 1736712 w 8978749"/>
              <a:gd name="connsiteY4719" fmla="*/ 1692173 h 4806848"/>
              <a:gd name="connsiteX4720" fmla="*/ 1657331 w 8978749"/>
              <a:gd name="connsiteY4720" fmla="*/ 1635023 h 4806848"/>
              <a:gd name="connsiteX4721" fmla="*/ 1716071 w 8978749"/>
              <a:gd name="connsiteY4721" fmla="*/ 1635023 h 4806848"/>
              <a:gd name="connsiteX4722" fmla="*/ 1716071 w 8978749"/>
              <a:gd name="connsiteY4722" fmla="*/ 1692173 h 4806848"/>
              <a:gd name="connsiteX4723" fmla="*/ 1657331 w 8978749"/>
              <a:gd name="connsiteY4723" fmla="*/ 1692173 h 4806848"/>
              <a:gd name="connsiteX4724" fmla="*/ 1577943 w 8978749"/>
              <a:gd name="connsiteY4724" fmla="*/ 1635023 h 4806848"/>
              <a:gd name="connsiteX4725" fmla="*/ 1636695 w 8978749"/>
              <a:gd name="connsiteY4725" fmla="*/ 1635023 h 4806848"/>
              <a:gd name="connsiteX4726" fmla="*/ 1636695 w 8978749"/>
              <a:gd name="connsiteY4726" fmla="*/ 1692173 h 4806848"/>
              <a:gd name="connsiteX4727" fmla="*/ 1577943 w 8978749"/>
              <a:gd name="connsiteY4727" fmla="*/ 1692173 h 4806848"/>
              <a:gd name="connsiteX4728" fmla="*/ 1500154 w 8978749"/>
              <a:gd name="connsiteY4728" fmla="*/ 1635023 h 4806848"/>
              <a:gd name="connsiteX4729" fmla="*/ 1558898 w 8978749"/>
              <a:gd name="connsiteY4729" fmla="*/ 1635023 h 4806848"/>
              <a:gd name="connsiteX4730" fmla="*/ 1558898 w 8978749"/>
              <a:gd name="connsiteY4730" fmla="*/ 1692173 h 4806848"/>
              <a:gd name="connsiteX4731" fmla="*/ 1500154 w 8978749"/>
              <a:gd name="connsiteY4731" fmla="*/ 1692173 h 4806848"/>
              <a:gd name="connsiteX4732" fmla="*/ 1420778 w 8978749"/>
              <a:gd name="connsiteY4732" fmla="*/ 1635023 h 4806848"/>
              <a:gd name="connsiteX4733" fmla="*/ 1479516 w 8978749"/>
              <a:gd name="connsiteY4733" fmla="*/ 1635023 h 4806848"/>
              <a:gd name="connsiteX4734" fmla="*/ 1479516 w 8978749"/>
              <a:gd name="connsiteY4734" fmla="*/ 1692173 h 4806848"/>
              <a:gd name="connsiteX4735" fmla="*/ 1420778 w 8978749"/>
              <a:gd name="connsiteY4735" fmla="*/ 1692173 h 4806848"/>
              <a:gd name="connsiteX4736" fmla="*/ 1341429 w 8978749"/>
              <a:gd name="connsiteY4736" fmla="*/ 1635023 h 4806848"/>
              <a:gd name="connsiteX4737" fmla="*/ 1400153 w 8978749"/>
              <a:gd name="connsiteY4737" fmla="*/ 1635023 h 4806848"/>
              <a:gd name="connsiteX4738" fmla="*/ 1400153 w 8978749"/>
              <a:gd name="connsiteY4738" fmla="*/ 1692173 h 4806848"/>
              <a:gd name="connsiteX4739" fmla="*/ 1341429 w 8978749"/>
              <a:gd name="connsiteY4739" fmla="*/ 1692173 h 4806848"/>
              <a:gd name="connsiteX4740" fmla="*/ 1263620 w 8978749"/>
              <a:gd name="connsiteY4740" fmla="*/ 1635023 h 4806848"/>
              <a:gd name="connsiteX4741" fmla="*/ 1320784 w 8978749"/>
              <a:gd name="connsiteY4741" fmla="*/ 1635023 h 4806848"/>
              <a:gd name="connsiteX4742" fmla="*/ 1320784 w 8978749"/>
              <a:gd name="connsiteY4742" fmla="*/ 1692173 h 4806848"/>
              <a:gd name="connsiteX4743" fmla="*/ 1263620 w 8978749"/>
              <a:gd name="connsiteY4743" fmla="*/ 1692173 h 4806848"/>
              <a:gd name="connsiteX4744" fmla="*/ 1184251 w 8978749"/>
              <a:gd name="connsiteY4744" fmla="*/ 1635023 h 4806848"/>
              <a:gd name="connsiteX4745" fmla="*/ 1242983 w 8978749"/>
              <a:gd name="connsiteY4745" fmla="*/ 1635023 h 4806848"/>
              <a:gd name="connsiteX4746" fmla="*/ 1242983 w 8978749"/>
              <a:gd name="connsiteY4746" fmla="*/ 1692173 h 4806848"/>
              <a:gd name="connsiteX4747" fmla="*/ 1184251 w 8978749"/>
              <a:gd name="connsiteY4747" fmla="*/ 1692173 h 4806848"/>
              <a:gd name="connsiteX4748" fmla="*/ 7894486 w 8978749"/>
              <a:gd name="connsiteY4748" fmla="*/ 1635022 h 4806848"/>
              <a:gd name="connsiteX4749" fmla="*/ 7951636 w 8978749"/>
              <a:gd name="connsiteY4749" fmla="*/ 1635022 h 4806848"/>
              <a:gd name="connsiteX4750" fmla="*/ 7951636 w 8978749"/>
              <a:gd name="connsiteY4750" fmla="*/ 1692172 h 4806848"/>
              <a:gd name="connsiteX4751" fmla="*/ 7894486 w 8978749"/>
              <a:gd name="connsiteY4751" fmla="*/ 1692172 h 4806848"/>
              <a:gd name="connsiteX4752" fmla="*/ 7815111 w 8978749"/>
              <a:gd name="connsiteY4752" fmla="*/ 1635022 h 4806848"/>
              <a:gd name="connsiteX4753" fmla="*/ 7873849 w 8978749"/>
              <a:gd name="connsiteY4753" fmla="*/ 1635022 h 4806848"/>
              <a:gd name="connsiteX4754" fmla="*/ 7873849 w 8978749"/>
              <a:gd name="connsiteY4754" fmla="*/ 1692172 h 4806848"/>
              <a:gd name="connsiteX4755" fmla="*/ 7815111 w 8978749"/>
              <a:gd name="connsiteY4755" fmla="*/ 1692172 h 4806848"/>
              <a:gd name="connsiteX4756" fmla="*/ 7735736 w 8978749"/>
              <a:gd name="connsiteY4756" fmla="*/ 1635022 h 4806848"/>
              <a:gd name="connsiteX4757" fmla="*/ 7794474 w 8978749"/>
              <a:gd name="connsiteY4757" fmla="*/ 1635022 h 4806848"/>
              <a:gd name="connsiteX4758" fmla="*/ 7794474 w 8978749"/>
              <a:gd name="connsiteY4758" fmla="*/ 1692172 h 4806848"/>
              <a:gd name="connsiteX4759" fmla="*/ 7735736 w 8978749"/>
              <a:gd name="connsiteY4759" fmla="*/ 1692172 h 4806848"/>
              <a:gd name="connsiteX4760" fmla="*/ 7578574 w 8978749"/>
              <a:gd name="connsiteY4760" fmla="*/ 1635022 h 4806848"/>
              <a:gd name="connsiteX4761" fmla="*/ 7637312 w 8978749"/>
              <a:gd name="connsiteY4761" fmla="*/ 1635022 h 4806848"/>
              <a:gd name="connsiteX4762" fmla="*/ 7637312 w 8978749"/>
              <a:gd name="connsiteY4762" fmla="*/ 1692172 h 4806848"/>
              <a:gd name="connsiteX4763" fmla="*/ 7578574 w 8978749"/>
              <a:gd name="connsiteY4763" fmla="*/ 1692172 h 4806848"/>
              <a:gd name="connsiteX4764" fmla="*/ 7499199 w 8978749"/>
              <a:gd name="connsiteY4764" fmla="*/ 1635022 h 4806848"/>
              <a:gd name="connsiteX4765" fmla="*/ 7557937 w 8978749"/>
              <a:gd name="connsiteY4765" fmla="*/ 1635022 h 4806848"/>
              <a:gd name="connsiteX4766" fmla="*/ 7557937 w 8978749"/>
              <a:gd name="connsiteY4766" fmla="*/ 1692172 h 4806848"/>
              <a:gd name="connsiteX4767" fmla="*/ 7499199 w 8978749"/>
              <a:gd name="connsiteY4767" fmla="*/ 1692172 h 4806848"/>
              <a:gd name="connsiteX4768" fmla="*/ 7419824 w 8978749"/>
              <a:gd name="connsiteY4768" fmla="*/ 1635022 h 4806848"/>
              <a:gd name="connsiteX4769" fmla="*/ 7478562 w 8978749"/>
              <a:gd name="connsiteY4769" fmla="*/ 1635022 h 4806848"/>
              <a:gd name="connsiteX4770" fmla="*/ 7478562 w 8978749"/>
              <a:gd name="connsiteY4770" fmla="*/ 1692172 h 4806848"/>
              <a:gd name="connsiteX4771" fmla="*/ 7419824 w 8978749"/>
              <a:gd name="connsiteY4771" fmla="*/ 1692172 h 4806848"/>
              <a:gd name="connsiteX4772" fmla="*/ 7342036 w 8978749"/>
              <a:gd name="connsiteY4772" fmla="*/ 1635022 h 4806848"/>
              <a:gd name="connsiteX4773" fmla="*/ 7400774 w 8978749"/>
              <a:gd name="connsiteY4773" fmla="*/ 1635022 h 4806848"/>
              <a:gd name="connsiteX4774" fmla="*/ 7400774 w 8978749"/>
              <a:gd name="connsiteY4774" fmla="*/ 1692172 h 4806848"/>
              <a:gd name="connsiteX4775" fmla="*/ 7342036 w 8978749"/>
              <a:gd name="connsiteY4775" fmla="*/ 1692172 h 4806848"/>
              <a:gd name="connsiteX4776" fmla="*/ 7262661 w 8978749"/>
              <a:gd name="connsiteY4776" fmla="*/ 1635022 h 4806848"/>
              <a:gd name="connsiteX4777" fmla="*/ 7321399 w 8978749"/>
              <a:gd name="connsiteY4777" fmla="*/ 1635022 h 4806848"/>
              <a:gd name="connsiteX4778" fmla="*/ 7321399 w 8978749"/>
              <a:gd name="connsiteY4778" fmla="*/ 1692172 h 4806848"/>
              <a:gd name="connsiteX4779" fmla="*/ 7262661 w 8978749"/>
              <a:gd name="connsiteY4779" fmla="*/ 1692172 h 4806848"/>
              <a:gd name="connsiteX4780" fmla="*/ 7183286 w 8978749"/>
              <a:gd name="connsiteY4780" fmla="*/ 1635022 h 4806848"/>
              <a:gd name="connsiteX4781" fmla="*/ 7242024 w 8978749"/>
              <a:gd name="connsiteY4781" fmla="*/ 1635022 h 4806848"/>
              <a:gd name="connsiteX4782" fmla="*/ 7242024 w 8978749"/>
              <a:gd name="connsiteY4782" fmla="*/ 1692172 h 4806848"/>
              <a:gd name="connsiteX4783" fmla="*/ 7183286 w 8978749"/>
              <a:gd name="connsiteY4783" fmla="*/ 1692172 h 4806848"/>
              <a:gd name="connsiteX4784" fmla="*/ 7105499 w 8978749"/>
              <a:gd name="connsiteY4784" fmla="*/ 1635022 h 4806848"/>
              <a:gd name="connsiteX4785" fmla="*/ 7162649 w 8978749"/>
              <a:gd name="connsiteY4785" fmla="*/ 1635022 h 4806848"/>
              <a:gd name="connsiteX4786" fmla="*/ 7162649 w 8978749"/>
              <a:gd name="connsiteY4786" fmla="*/ 1692172 h 4806848"/>
              <a:gd name="connsiteX4787" fmla="*/ 7105499 w 8978749"/>
              <a:gd name="connsiteY4787" fmla="*/ 1692172 h 4806848"/>
              <a:gd name="connsiteX4788" fmla="*/ 7026124 w 8978749"/>
              <a:gd name="connsiteY4788" fmla="*/ 1635022 h 4806848"/>
              <a:gd name="connsiteX4789" fmla="*/ 7084862 w 8978749"/>
              <a:gd name="connsiteY4789" fmla="*/ 1635022 h 4806848"/>
              <a:gd name="connsiteX4790" fmla="*/ 7084862 w 8978749"/>
              <a:gd name="connsiteY4790" fmla="*/ 1692172 h 4806848"/>
              <a:gd name="connsiteX4791" fmla="*/ 7026124 w 8978749"/>
              <a:gd name="connsiteY4791" fmla="*/ 1692172 h 4806848"/>
              <a:gd name="connsiteX4792" fmla="*/ 6946749 w 8978749"/>
              <a:gd name="connsiteY4792" fmla="*/ 1635022 h 4806848"/>
              <a:gd name="connsiteX4793" fmla="*/ 7005487 w 8978749"/>
              <a:gd name="connsiteY4793" fmla="*/ 1635022 h 4806848"/>
              <a:gd name="connsiteX4794" fmla="*/ 7005487 w 8978749"/>
              <a:gd name="connsiteY4794" fmla="*/ 1692172 h 4806848"/>
              <a:gd name="connsiteX4795" fmla="*/ 6946749 w 8978749"/>
              <a:gd name="connsiteY4795" fmla="*/ 1692172 h 4806848"/>
              <a:gd name="connsiteX4796" fmla="*/ 6867374 w 8978749"/>
              <a:gd name="connsiteY4796" fmla="*/ 1635022 h 4806848"/>
              <a:gd name="connsiteX4797" fmla="*/ 6926112 w 8978749"/>
              <a:gd name="connsiteY4797" fmla="*/ 1635022 h 4806848"/>
              <a:gd name="connsiteX4798" fmla="*/ 6926112 w 8978749"/>
              <a:gd name="connsiteY4798" fmla="*/ 1692172 h 4806848"/>
              <a:gd name="connsiteX4799" fmla="*/ 6867374 w 8978749"/>
              <a:gd name="connsiteY4799" fmla="*/ 1692172 h 4806848"/>
              <a:gd name="connsiteX4800" fmla="*/ 6789586 w 8978749"/>
              <a:gd name="connsiteY4800" fmla="*/ 1635022 h 4806848"/>
              <a:gd name="connsiteX4801" fmla="*/ 6846736 w 8978749"/>
              <a:gd name="connsiteY4801" fmla="*/ 1635022 h 4806848"/>
              <a:gd name="connsiteX4802" fmla="*/ 6846736 w 8978749"/>
              <a:gd name="connsiteY4802" fmla="*/ 1692172 h 4806848"/>
              <a:gd name="connsiteX4803" fmla="*/ 6789586 w 8978749"/>
              <a:gd name="connsiteY4803" fmla="*/ 1692172 h 4806848"/>
              <a:gd name="connsiteX4804" fmla="*/ 6710211 w 8978749"/>
              <a:gd name="connsiteY4804" fmla="*/ 1635022 h 4806848"/>
              <a:gd name="connsiteX4805" fmla="*/ 6768949 w 8978749"/>
              <a:gd name="connsiteY4805" fmla="*/ 1635022 h 4806848"/>
              <a:gd name="connsiteX4806" fmla="*/ 6768949 w 8978749"/>
              <a:gd name="connsiteY4806" fmla="*/ 1692172 h 4806848"/>
              <a:gd name="connsiteX4807" fmla="*/ 6710211 w 8978749"/>
              <a:gd name="connsiteY4807" fmla="*/ 1692172 h 4806848"/>
              <a:gd name="connsiteX4808" fmla="*/ 6630836 w 8978749"/>
              <a:gd name="connsiteY4808" fmla="*/ 1635022 h 4806848"/>
              <a:gd name="connsiteX4809" fmla="*/ 6689574 w 8978749"/>
              <a:gd name="connsiteY4809" fmla="*/ 1635022 h 4806848"/>
              <a:gd name="connsiteX4810" fmla="*/ 6689574 w 8978749"/>
              <a:gd name="connsiteY4810" fmla="*/ 1692172 h 4806848"/>
              <a:gd name="connsiteX4811" fmla="*/ 6630836 w 8978749"/>
              <a:gd name="connsiteY4811" fmla="*/ 1692172 h 4806848"/>
              <a:gd name="connsiteX4812" fmla="*/ 6551461 w 8978749"/>
              <a:gd name="connsiteY4812" fmla="*/ 1635022 h 4806848"/>
              <a:gd name="connsiteX4813" fmla="*/ 6610199 w 8978749"/>
              <a:gd name="connsiteY4813" fmla="*/ 1635022 h 4806848"/>
              <a:gd name="connsiteX4814" fmla="*/ 6610199 w 8978749"/>
              <a:gd name="connsiteY4814" fmla="*/ 1692172 h 4806848"/>
              <a:gd name="connsiteX4815" fmla="*/ 6551461 w 8978749"/>
              <a:gd name="connsiteY4815" fmla="*/ 1692172 h 4806848"/>
              <a:gd name="connsiteX4816" fmla="*/ 6473674 w 8978749"/>
              <a:gd name="connsiteY4816" fmla="*/ 1635022 h 4806848"/>
              <a:gd name="connsiteX4817" fmla="*/ 6530824 w 8978749"/>
              <a:gd name="connsiteY4817" fmla="*/ 1635022 h 4806848"/>
              <a:gd name="connsiteX4818" fmla="*/ 6530824 w 8978749"/>
              <a:gd name="connsiteY4818" fmla="*/ 1692172 h 4806848"/>
              <a:gd name="connsiteX4819" fmla="*/ 6473674 w 8978749"/>
              <a:gd name="connsiteY4819" fmla="*/ 1692172 h 4806848"/>
              <a:gd name="connsiteX4820" fmla="*/ 6394299 w 8978749"/>
              <a:gd name="connsiteY4820" fmla="*/ 1635022 h 4806848"/>
              <a:gd name="connsiteX4821" fmla="*/ 6453037 w 8978749"/>
              <a:gd name="connsiteY4821" fmla="*/ 1635022 h 4806848"/>
              <a:gd name="connsiteX4822" fmla="*/ 6453037 w 8978749"/>
              <a:gd name="connsiteY4822" fmla="*/ 1692172 h 4806848"/>
              <a:gd name="connsiteX4823" fmla="*/ 6394299 w 8978749"/>
              <a:gd name="connsiteY4823" fmla="*/ 1692172 h 4806848"/>
              <a:gd name="connsiteX4824" fmla="*/ 7973861 w 8978749"/>
              <a:gd name="connsiteY4824" fmla="*/ 1557235 h 4806848"/>
              <a:gd name="connsiteX4825" fmla="*/ 8031011 w 8978749"/>
              <a:gd name="connsiteY4825" fmla="*/ 1557235 h 4806848"/>
              <a:gd name="connsiteX4826" fmla="*/ 8031011 w 8978749"/>
              <a:gd name="connsiteY4826" fmla="*/ 1614385 h 4806848"/>
              <a:gd name="connsiteX4827" fmla="*/ 7973861 w 8978749"/>
              <a:gd name="connsiteY4827" fmla="*/ 1614385 h 4806848"/>
              <a:gd name="connsiteX4828" fmla="*/ 7815111 w 8978749"/>
              <a:gd name="connsiteY4828" fmla="*/ 1557235 h 4806848"/>
              <a:gd name="connsiteX4829" fmla="*/ 7873849 w 8978749"/>
              <a:gd name="connsiteY4829" fmla="*/ 1557235 h 4806848"/>
              <a:gd name="connsiteX4830" fmla="*/ 7873849 w 8978749"/>
              <a:gd name="connsiteY4830" fmla="*/ 1614385 h 4806848"/>
              <a:gd name="connsiteX4831" fmla="*/ 7815111 w 8978749"/>
              <a:gd name="connsiteY4831" fmla="*/ 1614385 h 4806848"/>
              <a:gd name="connsiteX4832" fmla="*/ 7657949 w 8978749"/>
              <a:gd name="connsiteY4832" fmla="*/ 1557235 h 4806848"/>
              <a:gd name="connsiteX4833" fmla="*/ 7715099 w 8978749"/>
              <a:gd name="connsiteY4833" fmla="*/ 1557235 h 4806848"/>
              <a:gd name="connsiteX4834" fmla="*/ 7715099 w 8978749"/>
              <a:gd name="connsiteY4834" fmla="*/ 1614385 h 4806848"/>
              <a:gd name="connsiteX4835" fmla="*/ 7657949 w 8978749"/>
              <a:gd name="connsiteY4835" fmla="*/ 1614385 h 4806848"/>
              <a:gd name="connsiteX4836" fmla="*/ 7578574 w 8978749"/>
              <a:gd name="connsiteY4836" fmla="*/ 1557235 h 4806848"/>
              <a:gd name="connsiteX4837" fmla="*/ 7637312 w 8978749"/>
              <a:gd name="connsiteY4837" fmla="*/ 1557235 h 4806848"/>
              <a:gd name="connsiteX4838" fmla="*/ 7637312 w 8978749"/>
              <a:gd name="connsiteY4838" fmla="*/ 1614385 h 4806848"/>
              <a:gd name="connsiteX4839" fmla="*/ 7578574 w 8978749"/>
              <a:gd name="connsiteY4839" fmla="*/ 1614385 h 4806848"/>
              <a:gd name="connsiteX4840" fmla="*/ 7499199 w 8978749"/>
              <a:gd name="connsiteY4840" fmla="*/ 1557235 h 4806848"/>
              <a:gd name="connsiteX4841" fmla="*/ 7557937 w 8978749"/>
              <a:gd name="connsiteY4841" fmla="*/ 1557235 h 4806848"/>
              <a:gd name="connsiteX4842" fmla="*/ 7557937 w 8978749"/>
              <a:gd name="connsiteY4842" fmla="*/ 1614385 h 4806848"/>
              <a:gd name="connsiteX4843" fmla="*/ 7499199 w 8978749"/>
              <a:gd name="connsiteY4843" fmla="*/ 1614385 h 4806848"/>
              <a:gd name="connsiteX4844" fmla="*/ 7419824 w 8978749"/>
              <a:gd name="connsiteY4844" fmla="*/ 1557235 h 4806848"/>
              <a:gd name="connsiteX4845" fmla="*/ 7478562 w 8978749"/>
              <a:gd name="connsiteY4845" fmla="*/ 1557235 h 4806848"/>
              <a:gd name="connsiteX4846" fmla="*/ 7478562 w 8978749"/>
              <a:gd name="connsiteY4846" fmla="*/ 1614385 h 4806848"/>
              <a:gd name="connsiteX4847" fmla="*/ 7419824 w 8978749"/>
              <a:gd name="connsiteY4847" fmla="*/ 1614385 h 4806848"/>
              <a:gd name="connsiteX4848" fmla="*/ 7342036 w 8978749"/>
              <a:gd name="connsiteY4848" fmla="*/ 1557235 h 4806848"/>
              <a:gd name="connsiteX4849" fmla="*/ 7400774 w 8978749"/>
              <a:gd name="connsiteY4849" fmla="*/ 1557235 h 4806848"/>
              <a:gd name="connsiteX4850" fmla="*/ 7400774 w 8978749"/>
              <a:gd name="connsiteY4850" fmla="*/ 1614385 h 4806848"/>
              <a:gd name="connsiteX4851" fmla="*/ 7342036 w 8978749"/>
              <a:gd name="connsiteY4851" fmla="*/ 1614385 h 4806848"/>
              <a:gd name="connsiteX4852" fmla="*/ 7262661 w 8978749"/>
              <a:gd name="connsiteY4852" fmla="*/ 1557235 h 4806848"/>
              <a:gd name="connsiteX4853" fmla="*/ 7321399 w 8978749"/>
              <a:gd name="connsiteY4853" fmla="*/ 1557235 h 4806848"/>
              <a:gd name="connsiteX4854" fmla="*/ 7321399 w 8978749"/>
              <a:gd name="connsiteY4854" fmla="*/ 1614385 h 4806848"/>
              <a:gd name="connsiteX4855" fmla="*/ 7262661 w 8978749"/>
              <a:gd name="connsiteY4855" fmla="*/ 1614385 h 4806848"/>
              <a:gd name="connsiteX4856" fmla="*/ 7183286 w 8978749"/>
              <a:gd name="connsiteY4856" fmla="*/ 1557235 h 4806848"/>
              <a:gd name="connsiteX4857" fmla="*/ 7242024 w 8978749"/>
              <a:gd name="connsiteY4857" fmla="*/ 1557235 h 4806848"/>
              <a:gd name="connsiteX4858" fmla="*/ 7242024 w 8978749"/>
              <a:gd name="connsiteY4858" fmla="*/ 1614385 h 4806848"/>
              <a:gd name="connsiteX4859" fmla="*/ 7183286 w 8978749"/>
              <a:gd name="connsiteY4859" fmla="*/ 1614385 h 4806848"/>
              <a:gd name="connsiteX4860" fmla="*/ 7105499 w 8978749"/>
              <a:gd name="connsiteY4860" fmla="*/ 1557235 h 4806848"/>
              <a:gd name="connsiteX4861" fmla="*/ 7162649 w 8978749"/>
              <a:gd name="connsiteY4861" fmla="*/ 1557235 h 4806848"/>
              <a:gd name="connsiteX4862" fmla="*/ 7162649 w 8978749"/>
              <a:gd name="connsiteY4862" fmla="*/ 1614385 h 4806848"/>
              <a:gd name="connsiteX4863" fmla="*/ 7105499 w 8978749"/>
              <a:gd name="connsiteY4863" fmla="*/ 1614385 h 4806848"/>
              <a:gd name="connsiteX4864" fmla="*/ 7026124 w 8978749"/>
              <a:gd name="connsiteY4864" fmla="*/ 1557235 h 4806848"/>
              <a:gd name="connsiteX4865" fmla="*/ 7084862 w 8978749"/>
              <a:gd name="connsiteY4865" fmla="*/ 1557235 h 4806848"/>
              <a:gd name="connsiteX4866" fmla="*/ 7084862 w 8978749"/>
              <a:gd name="connsiteY4866" fmla="*/ 1614385 h 4806848"/>
              <a:gd name="connsiteX4867" fmla="*/ 7026124 w 8978749"/>
              <a:gd name="connsiteY4867" fmla="*/ 1614385 h 4806848"/>
              <a:gd name="connsiteX4868" fmla="*/ 6946749 w 8978749"/>
              <a:gd name="connsiteY4868" fmla="*/ 1557235 h 4806848"/>
              <a:gd name="connsiteX4869" fmla="*/ 7005487 w 8978749"/>
              <a:gd name="connsiteY4869" fmla="*/ 1557235 h 4806848"/>
              <a:gd name="connsiteX4870" fmla="*/ 7005487 w 8978749"/>
              <a:gd name="connsiteY4870" fmla="*/ 1614385 h 4806848"/>
              <a:gd name="connsiteX4871" fmla="*/ 6946749 w 8978749"/>
              <a:gd name="connsiteY4871" fmla="*/ 1614385 h 4806848"/>
              <a:gd name="connsiteX4872" fmla="*/ 6867374 w 8978749"/>
              <a:gd name="connsiteY4872" fmla="*/ 1557235 h 4806848"/>
              <a:gd name="connsiteX4873" fmla="*/ 6926112 w 8978749"/>
              <a:gd name="connsiteY4873" fmla="*/ 1557235 h 4806848"/>
              <a:gd name="connsiteX4874" fmla="*/ 6926112 w 8978749"/>
              <a:gd name="connsiteY4874" fmla="*/ 1614385 h 4806848"/>
              <a:gd name="connsiteX4875" fmla="*/ 6867374 w 8978749"/>
              <a:gd name="connsiteY4875" fmla="*/ 1614385 h 4806848"/>
              <a:gd name="connsiteX4876" fmla="*/ 6789586 w 8978749"/>
              <a:gd name="connsiteY4876" fmla="*/ 1557235 h 4806848"/>
              <a:gd name="connsiteX4877" fmla="*/ 6846736 w 8978749"/>
              <a:gd name="connsiteY4877" fmla="*/ 1557235 h 4806848"/>
              <a:gd name="connsiteX4878" fmla="*/ 6846736 w 8978749"/>
              <a:gd name="connsiteY4878" fmla="*/ 1614385 h 4806848"/>
              <a:gd name="connsiteX4879" fmla="*/ 6789586 w 8978749"/>
              <a:gd name="connsiteY4879" fmla="*/ 1614385 h 4806848"/>
              <a:gd name="connsiteX4880" fmla="*/ 6710211 w 8978749"/>
              <a:gd name="connsiteY4880" fmla="*/ 1557235 h 4806848"/>
              <a:gd name="connsiteX4881" fmla="*/ 6768949 w 8978749"/>
              <a:gd name="connsiteY4881" fmla="*/ 1557235 h 4806848"/>
              <a:gd name="connsiteX4882" fmla="*/ 6768949 w 8978749"/>
              <a:gd name="connsiteY4882" fmla="*/ 1614385 h 4806848"/>
              <a:gd name="connsiteX4883" fmla="*/ 6710211 w 8978749"/>
              <a:gd name="connsiteY4883" fmla="*/ 1614385 h 4806848"/>
              <a:gd name="connsiteX4884" fmla="*/ 6630836 w 8978749"/>
              <a:gd name="connsiteY4884" fmla="*/ 1557235 h 4806848"/>
              <a:gd name="connsiteX4885" fmla="*/ 6689574 w 8978749"/>
              <a:gd name="connsiteY4885" fmla="*/ 1557235 h 4806848"/>
              <a:gd name="connsiteX4886" fmla="*/ 6689574 w 8978749"/>
              <a:gd name="connsiteY4886" fmla="*/ 1614385 h 4806848"/>
              <a:gd name="connsiteX4887" fmla="*/ 6630836 w 8978749"/>
              <a:gd name="connsiteY4887" fmla="*/ 1614385 h 4806848"/>
              <a:gd name="connsiteX4888" fmla="*/ 6551461 w 8978749"/>
              <a:gd name="connsiteY4888" fmla="*/ 1557235 h 4806848"/>
              <a:gd name="connsiteX4889" fmla="*/ 6610199 w 8978749"/>
              <a:gd name="connsiteY4889" fmla="*/ 1557235 h 4806848"/>
              <a:gd name="connsiteX4890" fmla="*/ 6610199 w 8978749"/>
              <a:gd name="connsiteY4890" fmla="*/ 1614385 h 4806848"/>
              <a:gd name="connsiteX4891" fmla="*/ 6551461 w 8978749"/>
              <a:gd name="connsiteY4891" fmla="*/ 1614385 h 4806848"/>
              <a:gd name="connsiteX4892" fmla="*/ 6473674 w 8978749"/>
              <a:gd name="connsiteY4892" fmla="*/ 1557235 h 4806848"/>
              <a:gd name="connsiteX4893" fmla="*/ 6530824 w 8978749"/>
              <a:gd name="connsiteY4893" fmla="*/ 1557235 h 4806848"/>
              <a:gd name="connsiteX4894" fmla="*/ 6530824 w 8978749"/>
              <a:gd name="connsiteY4894" fmla="*/ 1614385 h 4806848"/>
              <a:gd name="connsiteX4895" fmla="*/ 6473674 w 8978749"/>
              <a:gd name="connsiteY4895" fmla="*/ 1614385 h 4806848"/>
              <a:gd name="connsiteX4896" fmla="*/ 6394299 w 8978749"/>
              <a:gd name="connsiteY4896" fmla="*/ 1557235 h 4806848"/>
              <a:gd name="connsiteX4897" fmla="*/ 6453037 w 8978749"/>
              <a:gd name="connsiteY4897" fmla="*/ 1557235 h 4806848"/>
              <a:gd name="connsiteX4898" fmla="*/ 6453037 w 8978749"/>
              <a:gd name="connsiteY4898" fmla="*/ 1614385 h 4806848"/>
              <a:gd name="connsiteX4899" fmla="*/ 6394299 w 8978749"/>
              <a:gd name="connsiteY4899" fmla="*/ 1614385 h 4806848"/>
              <a:gd name="connsiteX4900" fmla="*/ 6314924 w 8978749"/>
              <a:gd name="connsiteY4900" fmla="*/ 1557235 h 4806848"/>
              <a:gd name="connsiteX4901" fmla="*/ 6373662 w 8978749"/>
              <a:gd name="connsiteY4901" fmla="*/ 1557235 h 4806848"/>
              <a:gd name="connsiteX4902" fmla="*/ 6373662 w 8978749"/>
              <a:gd name="connsiteY4902" fmla="*/ 1614385 h 4806848"/>
              <a:gd name="connsiteX4903" fmla="*/ 6314924 w 8978749"/>
              <a:gd name="connsiteY4903" fmla="*/ 1614385 h 4806848"/>
              <a:gd name="connsiteX4904" fmla="*/ 6235549 w 8978749"/>
              <a:gd name="connsiteY4904" fmla="*/ 1557235 h 4806848"/>
              <a:gd name="connsiteX4905" fmla="*/ 6294287 w 8978749"/>
              <a:gd name="connsiteY4905" fmla="*/ 1557235 h 4806848"/>
              <a:gd name="connsiteX4906" fmla="*/ 6294287 w 8978749"/>
              <a:gd name="connsiteY4906" fmla="*/ 1614385 h 4806848"/>
              <a:gd name="connsiteX4907" fmla="*/ 6235549 w 8978749"/>
              <a:gd name="connsiteY4907" fmla="*/ 1614385 h 4806848"/>
              <a:gd name="connsiteX4908" fmla="*/ 6157761 w 8978749"/>
              <a:gd name="connsiteY4908" fmla="*/ 1557235 h 4806848"/>
              <a:gd name="connsiteX4909" fmla="*/ 6214911 w 8978749"/>
              <a:gd name="connsiteY4909" fmla="*/ 1557235 h 4806848"/>
              <a:gd name="connsiteX4910" fmla="*/ 6214911 w 8978749"/>
              <a:gd name="connsiteY4910" fmla="*/ 1614385 h 4806848"/>
              <a:gd name="connsiteX4911" fmla="*/ 6157761 w 8978749"/>
              <a:gd name="connsiteY4911" fmla="*/ 1614385 h 4806848"/>
              <a:gd name="connsiteX4912" fmla="*/ 6078386 w 8978749"/>
              <a:gd name="connsiteY4912" fmla="*/ 1557235 h 4806848"/>
              <a:gd name="connsiteX4913" fmla="*/ 6137124 w 8978749"/>
              <a:gd name="connsiteY4913" fmla="*/ 1557235 h 4806848"/>
              <a:gd name="connsiteX4914" fmla="*/ 6137124 w 8978749"/>
              <a:gd name="connsiteY4914" fmla="*/ 1614385 h 4806848"/>
              <a:gd name="connsiteX4915" fmla="*/ 6078386 w 8978749"/>
              <a:gd name="connsiteY4915" fmla="*/ 1614385 h 4806848"/>
              <a:gd name="connsiteX4916" fmla="*/ 5999011 w 8978749"/>
              <a:gd name="connsiteY4916" fmla="*/ 1557235 h 4806848"/>
              <a:gd name="connsiteX4917" fmla="*/ 6057749 w 8978749"/>
              <a:gd name="connsiteY4917" fmla="*/ 1557235 h 4806848"/>
              <a:gd name="connsiteX4918" fmla="*/ 6057749 w 8978749"/>
              <a:gd name="connsiteY4918" fmla="*/ 1614385 h 4806848"/>
              <a:gd name="connsiteX4919" fmla="*/ 5999011 w 8978749"/>
              <a:gd name="connsiteY4919" fmla="*/ 1614385 h 4806848"/>
              <a:gd name="connsiteX4920" fmla="*/ 5921224 w 8978749"/>
              <a:gd name="connsiteY4920" fmla="*/ 1557235 h 4806848"/>
              <a:gd name="connsiteX4921" fmla="*/ 5978374 w 8978749"/>
              <a:gd name="connsiteY4921" fmla="*/ 1557235 h 4806848"/>
              <a:gd name="connsiteX4922" fmla="*/ 5978374 w 8978749"/>
              <a:gd name="connsiteY4922" fmla="*/ 1614385 h 4806848"/>
              <a:gd name="connsiteX4923" fmla="*/ 5921224 w 8978749"/>
              <a:gd name="connsiteY4923" fmla="*/ 1614385 h 4806848"/>
              <a:gd name="connsiteX4924" fmla="*/ 5841849 w 8978749"/>
              <a:gd name="connsiteY4924" fmla="*/ 1557235 h 4806848"/>
              <a:gd name="connsiteX4925" fmla="*/ 5900587 w 8978749"/>
              <a:gd name="connsiteY4925" fmla="*/ 1557235 h 4806848"/>
              <a:gd name="connsiteX4926" fmla="*/ 5900587 w 8978749"/>
              <a:gd name="connsiteY4926" fmla="*/ 1614385 h 4806848"/>
              <a:gd name="connsiteX4927" fmla="*/ 5841849 w 8978749"/>
              <a:gd name="connsiteY4927" fmla="*/ 1614385 h 4806848"/>
              <a:gd name="connsiteX4928" fmla="*/ 5762474 w 8978749"/>
              <a:gd name="connsiteY4928" fmla="*/ 1557235 h 4806848"/>
              <a:gd name="connsiteX4929" fmla="*/ 5821212 w 8978749"/>
              <a:gd name="connsiteY4929" fmla="*/ 1557235 h 4806848"/>
              <a:gd name="connsiteX4930" fmla="*/ 5821212 w 8978749"/>
              <a:gd name="connsiteY4930" fmla="*/ 1614385 h 4806848"/>
              <a:gd name="connsiteX4931" fmla="*/ 5762474 w 8978749"/>
              <a:gd name="connsiteY4931" fmla="*/ 1614385 h 4806848"/>
              <a:gd name="connsiteX4932" fmla="*/ 5684686 w 8978749"/>
              <a:gd name="connsiteY4932" fmla="*/ 1557235 h 4806848"/>
              <a:gd name="connsiteX4933" fmla="*/ 5741836 w 8978749"/>
              <a:gd name="connsiteY4933" fmla="*/ 1557235 h 4806848"/>
              <a:gd name="connsiteX4934" fmla="*/ 5741836 w 8978749"/>
              <a:gd name="connsiteY4934" fmla="*/ 1614385 h 4806848"/>
              <a:gd name="connsiteX4935" fmla="*/ 5684686 w 8978749"/>
              <a:gd name="connsiteY4935" fmla="*/ 1614385 h 4806848"/>
              <a:gd name="connsiteX4936" fmla="*/ 5605311 w 8978749"/>
              <a:gd name="connsiteY4936" fmla="*/ 1557235 h 4806848"/>
              <a:gd name="connsiteX4937" fmla="*/ 5664049 w 8978749"/>
              <a:gd name="connsiteY4937" fmla="*/ 1557235 h 4806848"/>
              <a:gd name="connsiteX4938" fmla="*/ 5664049 w 8978749"/>
              <a:gd name="connsiteY4938" fmla="*/ 1614385 h 4806848"/>
              <a:gd name="connsiteX4939" fmla="*/ 5605311 w 8978749"/>
              <a:gd name="connsiteY4939" fmla="*/ 1614385 h 4806848"/>
              <a:gd name="connsiteX4940" fmla="*/ 5368774 w 8978749"/>
              <a:gd name="connsiteY4940" fmla="*/ 1557235 h 4806848"/>
              <a:gd name="connsiteX4941" fmla="*/ 5425924 w 8978749"/>
              <a:gd name="connsiteY4941" fmla="*/ 1557235 h 4806848"/>
              <a:gd name="connsiteX4942" fmla="*/ 5425924 w 8978749"/>
              <a:gd name="connsiteY4942" fmla="*/ 1614385 h 4806848"/>
              <a:gd name="connsiteX4943" fmla="*/ 5368774 w 8978749"/>
              <a:gd name="connsiteY4943" fmla="*/ 1614385 h 4806848"/>
              <a:gd name="connsiteX4944" fmla="*/ 5289399 w 8978749"/>
              <a:gd name="connsiteY4944" fmla="*/ 1557235 h 4806848"/>
              <a:gd name="connsiteX4945" fmla="*/ 5348137 w 8978749"/>
              <a:gd name="connsiteY4945" fmla="*/ 1557235 h 4806848"/>
              <a:gd name="connsiteX4946" fmla="*/ 5348137 w 8978749"/>
              <a:gd name="connsiteY4946" fmla="*/ 1614385 h 4806848"/>
              <a:gd name="connsiteX4947" fmla="*/ 5289399 w 8978749"/>
              <a:gd name="connsiteY4947" fmla="*/ 1614385 h 4806848"/>
              <a:gd name="connsiteX4948" fmla="*/ 5210024 w 8978749"/>
              <a:gd name="connsiteY4948" fmla="*/ 1557235 h 4806848"/>
              <a:gd name="connsiteX4949" fmla="*/ 5268762 w 8978749"/>
              <a:gd name="connsiteY4949" fmla="*/ 1557235 h 4806848"/>
              <a:gd name="connsiteX4950" fmla="*/ 5268762 w 8978749"/>
              <a:gd name="connsiteY4950" fmla="*/ 1614385 h 4806848"/>
              <a:gd name="connsiteX4951" fmla="*/ 5210024 w 8978749"/>
              <a:gd name="connsiteY4951" fmla="*/ 1614385 h 4806848"/>
              <a:gd name="connsiteX4952" fmla="*/ 5130649 w 8978749"/>
              <a:gd name="connsiteY4952" fmla="*/ 1557235 h 4806848"/>
              <a:gd name="connsiteX4953" fmla="*/ 5189387 w 8978749"/>
              <a:gd name="connsiteY4953" fmla="*/ 1557235 h 4806848"/>
              <a:gd name="connsiteX4954" fmla="*/ 5189387 w 8978749"/>
              <a:gd name="connsiteY4954" fmla="*/ 1614385 h 4806848"/>
              <a:gd name="connsiteX4955" fmla="*/ 5130649 w 8978749"/>
              <a:gd name="connsiteY4955" fmla="*/ 1614385 h 4806848"/>
              <a:gd name="connsiteX4956" fmla="*/ 4973486 w 8978749"/>
              <a:gd name="connsiteY4956" fmla="*/ 1557235 h 4806848"/>
              <a:gd name="connsiteX4957" fmla="*/ 5030636 w 8978749"/>
              <a:gd name="connsiteY4957" fmla="*/ 1557235 h 4806848"/>
              <a:gd name="connsiteX4958" fmla="*/ 5030636 w 8978749"/>
              <a:gd name="connsiteY4958" fmla="*/ 1614385 h 4806848"/>
              <a:gd name="connsiteX4959" fmla="*/ 4973486 w 8978749"/>
              <a:gd name="connsiteY4959" fmla="*/ 1614385 h 4806848"/>
              <a:gd name="connsiteX4960" fmla="*/ 4894111 w 8978749"/>
              <a:gd name="connsiteY4960" fmla="*/ 1557235 h 4806848"/>
              <a:gd name="connsiteX4961" fmla="*/ 4952849 w 8978749"/>
              <a:gd name="connsiteY4961" fmla="*/ 1557235 h 4806848"/>
              <a:gd name="connsiteX4962" fmla="*/ 4952849 w 8978749"/>
              <a:gd name="connsiteY4962" fmla="*/ 1614385 h 4806848"/>
              <a:gd name="connsiteX4963" fmla="*/ 4894111 w 8978749"/>
              <a:gd name="connsiteY4963" fmla="*/ 1614385 h 4806848"/>
              <a:gd name="connsiteX4964" fmla="*/ 4814736 w 8978749"/>
              <a:gd name="connsiteY4964" fmla="*/ 1557235 h 4806848"/>
              <a:gd name="connsiteX4965" fmla="*/ 4873474 w 8978749"/>
              <a:gd name="connsiteY4965" fmla="*/ 1557235 h 4806848"/>
              <a:gd name="connsiteX4966" fmla="*/ 4873474 w 8978749"/>
              <a:gd name="connsiteY4966" fmla="*/ 1614385 h 4806848"/>
              <a:gd name="connsiteX4967" fmla="*/ 4814736 w 8978749"/>
              <a:gd name="connsiteY4967" fmla="*/ 1614385 h 4806848"/>
              <a:gd name="connsiteX4968" fmla="*/ 4736948 w 8978749"/>
              <a:gd name="connsiteY4968" fmla="*/ 1557235 h 4806848"/>
              <a:gd name="connsiteX4969" fmla="*/ 4794098 w 8978749"/>
              <a:gd name="connsiteY4969" fmla="*/ 1557235 h 4806848"/>
              <a:gd name="connsiteX4970" fmla="*/ 4794098 w 8978749"/>
              <a:gd name="connsiteY4970" fmla="*/ 1614385 h 4806848"/>
              <a:gd name="connsiteX4971" fmla="*/ 4736948 w 8978749"/>
              <a:gd name="connsiteY4971" fmla="*/ 1614385 h 4806848"/>
              <a:gd name="connsiteX4972" fmla="*/ 4657573 w 8978749"/>
              <a:gd name="connsiteY4972" fmla="*/ 1557235 h 4806848"/>
              <a:gd name="connsiteX4973" fmla="*/ 4716311 w 8978749"/>
              <a:gd name="connsiteY4973" fmla="*/ 1557235 h 4806848"/>
              <a:gd name="connsiteX4974" fmla="*/ 4716311 w 8978749"/>
              <a:gd name="connsiteY4974" fmla="*/ 1614385 h 4806848"/>
              <a:gd name="connsiteX4975" fmla="*/ 4657573 w 8978749"/>
              <a:gd name="connsiteY4975" fmla="*/ 1614385 h 4806848"/>
              <a:gd name="connsiteX4976" fmla="*/ 4578198 w 8978749"/>
              <a:gd name="connsiteY4976" fmla="*/ 1557235 h 4806848"/>
              <a:gd name="connsiteX4977" fmla="*/ 4636936 w 8978749"/>
              <a:gd name="connsiteY4977" fmla="*/ 1557235 h 4806848"/>
              <a:gd name="connsiteX4978" fmla="*/ 4636936 w 8978749"/>
              <a:gd name="connsiteY4978" fmla="*/ 1614385 h 4806848"/>
              <a:gd name="connsiteX4979" fmla="*/ 4578198 w 8978749"/>
              <a:gd name="connsiteY4979" fmla="*/ 1614385 h 4806848"/>
              <a:gd name="connsiteX4980" fmla="*/ 4498823 w 8978749"/>
              <a:gd name="connsiteY4980" fmla="*/ 1557235 h 4806848"/>
              <a:gd name="connsiteX4981" fmla="*/ 4557561 w 8978749"/>
              <a:gd name="connsiteY4981" fmla="*/ 1557235 h 4806848"/>
              <a:gd name="connsiteX4982" fmla="*/ 4557561 w 8978749"/>
              <a:gd name="connsiteY4982" fmla="*/ 1614385 h 4806848"/>
              <a:gd name="connsiteX4983" fmla="*/ 4498823 w 8978749"/>
              <a:gd name="connsiteY4983" fmla="*/ 1614385 h 4806848"/>
              <a:gd name="connsiteX4984" fmla="*/ 4421036 w 8978749"/>
              <a:gd name="connsiteY4984" fmla="*/ 1557235 h 4806848"/>
              <a:gd name="connsiteX4985" fmla="*/ 4479774 w 8978749"/>
              <a:gd name="connsiteY4985" fmla="*/ 1557235 h 4806848"/>
              <a:gd name="connsiteX4986" fmla="*/ 4479774 w 8978749"/>
              <a:gd name="connsiteY4986" fmla="*/ 1614385 h 4806848"/>
              <a:gd name="connsiteX4987" fmla="*/ 4421036 w 8978749"/>
              <a:gd name="connsiteY4987" fmla="*/ 1614385 h 4806848"/>
              <a:gd name="connsiteX4988" fmla="*/ 4341661 w 8978749"/>
              <a:gd name="connsiteY4988" fmla="*/ 1557235 h 4806848"/>
              <a:gd name="connsiteX4989" fmla="*/ 4400399 w 8978749"/>
              <a:gd name="connsiteY4989" fmla="*/ 1557235 h 4806848"/>
              <a:gd name="connsiteX4990" fmla="*/ 4400399 w 8978749"/>
              <a:gd name="connsiteY4990" fmla="*/ 1614385 h 4806848"/>
              <a:gd name="connsiteX4991" fmla="*/ 4341661 w 8978749"/>
              <a:gd name="connsiteY4991" fmla="*/ 1614385 h 4806848"/>
              <a:gd name="connsiteX4992" fmla="*/ 4262286 w 8978749"/>
              <a:gd name="connsiteY4992" fmla="*/ 1557235 h 4806848"/>
              <a:gd name="connsiteX4993" fmla="*/ 4321024 w 8978749"/>
              <a:gd name="connsiteY4993" fmla="*/ 1557235 h 4806848"/>
              <a:gd name="connsiteX4994" fmla="*/ 4321024 w 8978749"/>
              <a:gd name="connsiteY4994" fmla="*/ 1614385 h 4806848"/>
              <a:gd name="connsiteX4995" fmla="*/ 4262286 w 8978749"/>
              <a:gd name="connsiteY4995" fmla="*/ 1614385 h 4806848"/>
              <a:gd name="connsiteX4996" fmla="*/ 2763686 w 8978749"/>
              <a:gd name="connsiteY4996" fmla="*/ 1557235 h 4806848"/>
              <a:gd name="connsiteX4997" fmla="*/ 2820836 w 8978749"/>
              <a:gd name="connsiteY4997" fmla="*/ 1557235 h 4806848"/>
              <a:gd name="connsiteX4998" fmla="*/ 2820836 w 8978749"/>
              <a:gd name="connsiteY4998" fmla="*/ 1614385 h 4806848"/>
              <a:gd name="connsiteX4999" fmla="*/ 2763686 w 8978749"/>
              <a:gd name="connsiteY4999" fmla="*/ 1614385 h 4806848"/>
              <a:gd name="connsiteX5000" fmla="*/ 2684311 w 8978749"/>
              <a:gd name="connsiteY5000" fmla="*/ 1557235 h 4806848"/>
              <a:gd name="connsiteX5001" fmla="*/ 2743049 w 8978749"/>
              <a:gd name="connsiteY5001" fmla="*/ 1557235 h 4806848"/>
              <a:gd name="connsiteX5002" fmla="*/ 2743049 w 8978749"/>
              <a:gd name="connsiteY5002" fmla="*/ 1614385 h 4806848"/>
              <a:gd name="connsiteX5003" fmla="*/ 2684311 w 8978749"/>
              <a:gd name="connsiteY5003" fmla="*/ 1614385 h 4806848"/>
              <a:gd name="connsiteX5004" fmla="*/ 2604936 w 8978749"/>
              <a:gd name="connsiteY5004" fmla="*/ 1557235 h 4806848"/>
              <a:gd name="connsiteX5005" fmla="*/ 2663674 w 8978749"/>
              <a:gd name="connsiteY5005" fmla="*/ 1557235 h 4806848"/>
              <a:gd name="connsiteX5006" fmla="*/ 2663674 w 8978749"/>
              <a:gd name="connsiteY5006" fmla="*/ 1614385 h 4806848"/>
              <a:gd name="connsiteX5007" fmla="*/ 2604936 w 8978749"/>
              <a:gd name="connsiteY5007" fmla="*/ 1614385 h 4806848"/>
              <a:gd name="connsiteX5008" fmla="*/ 2525695 w 8978749"/>
              <a:gd name="connsiteY5008" fmla="*/ 1557235 h 4806848"/>
              <a:gd name="connsiteX5009" fmla="*/ 2584432 w 8978749"/>
              <a:gd name="connsiteY5009" fmla="*/ 1557235 h 4806848"/>
              <a:gd name="connsiteX5010" fmla="*/ 2584432 w 8978749"/>
              <a:gd name="connsiteY5010" fmla="*/ 1614385 h 4806848"/>
              <a:gd name="connsiteX5011" fmla="*/ 2525695 w 8978749"/>
              <a:gd name="connsiteY5011" fmla="*/ 1614385 h 4806848"/>
              <a:gd name="connsiteX5012" fmla="*/ 2447903 w 8978749"/>
              <a:gd name="connsiteY5012" fmla="*/ 1557235 h 4806848"/>
              <a:gd name="connsiteX5013" fmla="*/ 2505061 w 8978749"/>
              <a:gd name="connsiteY5013" fmla="*/ 1557235 h 4806848"/>
              <a:gd name="connsiteX5014" fmla="*/ 2505061 w 8978749"/>
              <a:gd name="connsiteY5014" fmla="*/ 1614385 h 4806848"/>
              <a:gd name="connsiteX5015" fmla="*/ 2447903 w 8978749"/>
              <a:gd name="connsiteY5015" fmla="*/ 1614385 h 4806848"/>
              <a:gd name="connsiteX5016" fmla="*/ 2368534 w 8978749"/>
              <a:gd name="connsiteY5016" fmla="*/ 1557235 h 4806848"/>
              <a:gd name="connsiteX5017" fmla="*/ 2427269 w 8978749"/>
              <a:gd name="connsiteY5017" fmla="*/ 1557235 h 4806848"/>
              <a:gd name="connsiteX5018" fmla="*/ 2427269 w 8978749"/>
              <a:gd name="connsiteY5018" fmla="*/ 1614385 h 4806848"/>
              <a:gd name="connsiteX5019" fmla="*/ 2368534 w 8978749"/>
              <a:gd name="connsiteY5019" fmla="*/ 1614385 h 4806848"/>
              <a:gd name="connsiteX5020" fmla="*/ 2289157 w 8978749"/>
              <a:gd name="connsiteY5020" fmla="*/ 1557235 h 4806848"/>
              <a:gd name="connsiteX5021" fmla="*/ 2347898 w 8978749"/>
              <a:gd name="connsiteY5021" fmla="*/ 1557235 h 4806848"/>
              <a:gd name="connsiteX5022" fmla="*/ 2347898 w 8978749"/>
              <a:gd name="connsiteY5022" fmla="*/ 1614385 h 4806848"/>
              <a:gd name="connsiteX5023" fmla="*/ 2289157 w 8978749"/>
              <a:gd name="connsiteY5023" fmla="*/ 1614385 h 4806848"/>
              <a:gd name="connsiteX5024" fmla="*/ 2209780 w 8978749"/>
              <a:gd name="connsiteY5024" fmla="*/ 1557235 h 4806848"/>
              <a:gd name="connsiteX5025" fmla="*/ 2268521 w 8978749"/>
              <a:gd name="connsiteY5025" fmla="*/ 1557235 h 4806848"/>
              <a:gd name="connsiteX5026" fmla="*/ 2268521 w 8978749"/>
              <a:gd name="connsiteY5026" fmla="*/ 1614385 h 4806848"/>
              <a:gd name="connsiteX5027" fmla="*/ 2209780 w 8978749"/>
              <a:gd name="connsiteY5027" fmla="*/ 1614385 h 4806848"/>
              <a:gd name="connsiteX5028" fmla="*/ 2052613 w 8978749"/>
              <a:gd name="connsiteY5028" fmla="*/ 1557235 h 4806848"/>
              <a:gd name="connsiteX5029" fmla="*/ 2111356 w 8978749"/>
              <a:gd name="connsiteY5029" fmla="*/ 1557235 h 4806848"/>
              <a:gd name="connsiteX5030" fmla="*/ 2111356 w 8978749"/>
              <a:gd name="connsiteY5030" fmla="*/ 1614385 h 4806848"/>
              <a:gd name="connsiteX5031" fmla="*/ 2052613 w 8978749"/>
              <a:gd name="connsiteY5031" fmla="*/ 1614385 h 4806848"/>
              <a:gd name="connsiteX5032" fmla="*/ 1973233 w 8978749"/>
              <a:gd name="connsiteY5032" fmla="*/ 1557235 h 4806848"/>
              <a:gd name="connsiteX5033" fmla="*/ 2031980 w 8978749"/>
              <a:gd name="connsiteY5033" fmla="*/ 1557235 h 4806848"/>
              <a:gd name="connsiteX5034" fmla="*/ 2031980 w 8978749"/>
              <a:gd name="connsiteY5034" fmla="*/ 1614385 h 4806848"/>
              <a:gd name="connsiteX5035" fmla="*/ 1973233 w 8978749"/>
              <a:gd name="connsiteY5035" fmla="*/ 1614385 h 4806848"/>
              <a:gd name="connsiteX5036" fmla="*/ 1893857 w 8978749"/>
              <a:gd name="connsiteY5036" fmla="*/ 1557235 h 4806848"/>
              <a:gd name="connsiteX5037" fmla="*/ 1952594 w 8978749"/>
              <a:gd name="connsiteY5037" fmla="*/ 1557235 h 4806848"/>
              <a:gd name="connsiteX5038" fmla="*/ 1952594 w 8978749"/>
              <a:gd name="connsiteY5038" fmla="*/ 1614385 h 4806848"/>
              <a:gd name="connsiteX5039" fmla="*/ 1893857 w 8978749"/>
              <a:gd name="connsiteY5039" fmla="*/ 1614385 h 4806848"/>
              <a:gd name="connsiteX5040" fmla="*/ 1816090 w 8978749"/>
              <a:gd name="connsiteY5040" fmla="*/ 1557235 h 4806848"/>
              <a:gd name="connsiteX5041" fmla="*/ 1873226 w 8978749"/>
              <a:gd name="connsiteY5041" fmla="*/ 1557235 h 4806848"/>
              <a:gd name="connsiteX5042" fmla="*/ 1873226 w 8978749"/>
              <a:gd name="connsiteY5042" fmla="*/ 1614385 h 4806848"/>
              <a:gd name="connsiteX5043" fmla="*/ 1816090 w 8978749"/>
              <a:gd name="connsiteY5043" fmla="*/ 1614385 h 4806848"/>
              <a:gd name="connsiteX5044" fmla="*/ 1736716 w 8978749"/>
              <a:gd name="connsiteY5044" fmla="*/ 1557235 h 4806848"/>
              <a:gd name="connsiteX5045" fmla="*/ 1795459 w 8978749"/>
              <a:gd name="connsiteY5045" fmla="*/ 1557235 h 4806848"/>
              <a:gd name="connsiteX5046" fmla="*/ 1795459 w 8978749"/>
              <a:gd name="connsiteY5046" fmla="*/ 1614385 h 4806848"/>
              <a:gd name="connsiteX5047" fmla="*/ 1736716 w 8978749"/>
              <a:gd name="connsiteY5047" fmla="*/ 1614385 h 4806848"/>
              <a:gd name="connsiteX5048" fmla="*/ 1657336 w 8978749"/>
              <a:gd name="connsiteY5048" fmla="*/ 1557235 h 4806848"/>
              <a:gd name="connsiteX5049" fmla="*/ 1716077 w 8978749"/>
              <a:gd name="connsiteY5049" fmla="*/ 1557235 h 4806848"/>
              <a:gd name="connsiteX5050" fmla="*/ 1716077 w 8978749"/>
              <a:gd name="connsiteY5050" fmla="*/ 1614385 h 4806848"/>
              <a:gd name="connsiteX5051" fmla="*/ 1657336 w 8978749"/>
              <a:gd name="connsiteY5051" fmla="*/ 1614385 h 4806848"/>
              <a:gd name="connsiteX5052" fmla="*/ 1577947 w 8978749"/>
              <a:gd name="connsiteY5052" fmla="*/ 1557235 h 4806848"/>
              <a:gd name="connsiteX5053" fmla="*/ 1636700 w 8978749"/>
              <a:gd name="connsiteY5053" fmla="*/ 1557235 h 4806848"/>
              <a:gd name="connsiteX5054" fmla="*/ 1636700 w 8978749"/>
              <a:gd name="connsiteY5054" fmla="*/ 1614385 h 4806848"/>
              <a:gd name="connsiteX5055" fmla="*/ 1577947 w 8978749"/>
              <a:gd name="connsiteY5055" fmla="*/ 1614385 h 4806848"/>
              <a:gd name="connsiteX5056" fmla="*/ 1500160 w 8978749"/>
              <a:gd name="connsiteY5056" fmla="*/ 1557235 h 4806848"/>
              <a:gd name="connsiteX5057" fmla="*/ 1558903 w 8978749"/>
              <a:gd name="connsiteY5057" fmla="*/ 1557235 h 4806848"/>
              <a:gd name="connsiteX5058" fmla="*/ 1558903 w 8978749"/>
              <a:gd name="connsiteY5058" fmla="*/ 1614385 h 4806848"/>
              <a:gd name="connsiteX5059" fmla="*/ 1500160 w 8978749"/>
              <a:gd name="connsiteY5059" fmla="*/ 1614385 h 4806848"/>
              <a:gd name="connsiteX5060" fmla="*/ 1420782 w 8978749"/>
              <a:gd name="connsiteY5060" fmla="*/ 1557235 h 4806848"/>
              <a:gd name="connsiteX5061" fmla="*/ 1479519 w 8978749"/>
              <a:gd name="connsiteY5061" fmla="*/ 1557235 h 4806848"/>
              <a:gd name="connsiteX5062" fmla="*/ 1479519 w 8978749"/>
              <a:gd name="connsiteY5062" fmla="*/ 1614385 h 4806848"/>
              <a:gd name="connsiteX5063" fmla="*/ 1420782 w 8978749"/>
              <a:gd name="connsiteY5063" fmla="*/ 1614385 h 4806848"/>
              <a:gd name="connsiteX5064" fmla="*/ 1341438 w 8978749"/>
              <a:gd name="connsiteY5064" fmla="*/ 1557235 h 4806848"/>
              <a:gd name="connsiteX5065" fmla="*/ 1400157 w 8978749"/>
              <a:gd name="connsiteY5065" fmla="*/ 1557235 h 4806848"/>
              <a:gd name="connsiteX5066" fmla="*/ 1400157 w 8978749"/>
              <a:gd name="connsiteY5066" fmla="*/ 1614385 h 4806848"/>
              <a:gd name="connsiteX5067" fmla="*/ 1341438 w 8978749"/>
              <a:gd name="connsiteY5067" fmla="*/ 1614385 h 4806848"/>
              <a:gd name="connsiteX5068" fmla="*/ 1263625 w 8978749"/>
              <a:gd name="connsiteY5068" fmla="*/ 1557235 h 4806848"/>
              <a:gd name="connsiteX5069" fmla="*/ 1320789 w 8978749"/>
              <a:gd name="connsiteY5069" fmla="*/ 1557235 h 4806848"/>
              <a:gd name="connsiteX5070" fmla="*/ 1320789 w 8978749"/>
              <a:gd name="connsiteY5070" fmla="*/ 1614385 h 4806848"/>
              <a:gd name="connsiteX5071" fmla="*/ 1263625 w 8978749"/>
              <a:gd name="connsiteY5071" fmla="*/ 1614385 h 4806848"/>
              <a:gd name="connsiteX5072" fmla="*/ 1184258 w 8978749"/>
              <a:gd name="connsiteY5072" fmla="*/ 1557235 h 4806848"/>
              <a:gd name="connsiteX5073" fmla="*/ 1242986 w 8978749"/>
              <a:gd name="connsiteY5073" fmla="*/ 1557235 h 4806848"/>
              <a:gd name="connsiteX5074" fmla="*/ 1242986 w 8978749"/>
              <a:gd name="connsiteY5074" fmla="*/ 1614385 h 4806848"/>
              <a:gd name="connsiteX5075" fmla="*/ 1184258 w 8978749"/>
              <a:gd name="connsiteY5075" fmla="*/ 1614385 h 4806848"/>
              <a:gd name="connsiteX5076" fmla="*/ 8051649 w 8978749"/>
              <a:gd name="connsiteY5076" fmla="*/ 1479448 h 4806848"/>
              <a:gd name="connsiteX5077" fmla="*/ 8110387 w 8978749"/>
              <a:gd name="connsiteY5077" fmla="*/ 1479448 h 4806848"/>
              <a:gd name="connsiteX5078" fmla="*/ 8110387 w 8978749"/>
              <a:gd name="connsiteY5078" fmla="*/ 1536598 h 4806848"/>
              <a:gd name="connsiteX5079" fmla="*/ 8051649 w 8978749"/>
              <a:gd name="connsiteY5079" fmla="*/ 1536598 h 4806848"/>
              <a:gd name="connsiteX5080" fmla="*/ 7815111 w 8978749"/>
              <a:gd name="connsiteY5080" fmla="*/ 1479448 h 4806848"/>
              <a:gd name="connsiteX5081" fmla="*/ 7873849 w 8978749"/>
              <a:gd name="connsiteY5081" fmla="*/ 1479448 h 4806848"/>
              <a:gd name="connsiteX5082" fmla="*/ 7873849 w 8978749"/>
              <a:gd name="connsiteY5082" fmla="*/ 1536598 h 4806848"/>
              <a:gd name="connsiteX5083" fmla="*/ 7815111 w 8978749"/>
              <a:gd name="connsiteY5083" fmla="*/ 1536598 h 4806848"/>
              <a:gd name="connsiteX5084" fmla="*/ 7657949 w 8978749"/>
              <a:gd name="connsiteY5084" fmla="*/ 1479448 h 4806848"/>
              <a:gd name="connsiteX5085" fmla="*/ 7715099 w 8978749"/>
              <a:gd name="connsiteY5085" fmla="*/ 1479448 h 4806848"/>
              <a:gd name="connsiteX5086" fmla="*/ 7715099 w 8978749"/>
              <a:gd name="connsiteY5086" fmla="*/ 1536598 h 4806848"/>
              <a:gd name="connsiteX5087" fmla="*/ 7657949 w 8978749"/>
              <a:gd name="connsiteY5087" fmla="*/ 1536598 h 4806848"/>
              <a:gd name="connsiteX5088" fmla="*/ 7578574 w 8978749"/>
              <a:gd name="connsiteY5088" fmla="*/ 1479448 h 4806848"/>
              <a:gd name="connsiteX5089" fmla="*/ 7637312 w 8978749"/>
              <a:gd name="connsiteY5089" fmla="*/ 1479448 h 4806848"/>
              <a:gd name="connsiteX5090" fmla="*/ 7637312 w 8978749"/>
              <a:gd name="connsiteY5090" fmla="*/ 1536598 h 4806848"/>
              <a:gd name="connsiteX5091" fmla="*/ 7578574 w 8978749"/>
              <a:gd name="connsiteY5091" fmla="*/ 1536598 h 4806848"/>
              <a:gd name="connsiteX5092" fmla="*/ 7499199 w 8978749"/>
              <a:gd name="connsiteY5092" fmla="*/ 1479448 h 4806848"/>
              <a:gd name="connsiteX5093" fmla="*/ 7557937 w 8978749"/>
              <a:gd name="connsiteY5093" fmla="*/ 1479448 h 4806848"/>
              <a:gd name="connsiteX5094" fmla="*/ 7557937 w 8978749"/>
              <a:gd name="connsiteY5094" fmla="*/ 1536598 h 4806848"/>
              <a:gd name="connsiteX5095" fmla="*/ 7499199 w 8978749"/>
              <a:gd name="connsiteY5095" fmla="*/ 1536598 h 4806848"/>
              <a:gd name="connsiteX5096" fmla="*/ 7419824 w 8978749"/>
              <a:gd name="connsiteY5096" fmla="*/ 1479448 h 4806848"/>
              <a:gd name="connsiteX5097" fmla="*/ 7478562 w 8978749"/>
              <a:gd name="connsiteY5097" fmla="*/ 1479448 h 4806848"/>
              <a:gd name="connsiteX5098" fmla="*/ 7478562 w 8978749"/>
              <a:gd name="connsiteY5098" fmla="*/ 1536598 h 4806848"/>
              <a:gd name="connsiteX5099" fmla="*/ 7419824 w 8978749"/>
              <a:gd name="connsiteY5099" fmla="*/ 1536598 h 4806848"/>
              <a:gd name="connsiteX5100" fmla="*/ 7342036 w 8978749"/>
              <a:gd name="connsiteY5100" fmla="*/ 1479448 h 4806848"/>
              <a:gd name="connsiteX5101" fmla="*/ 7400774 w 8978749"/>
              <a:gd name="connsiteY5101" fmla="*/ 1479448 h 4806848"/>
              <a:gd name="connsiteX5102" fmla="*/ 7400774 w 8978749"/>
              <a:gd name="connsiteY5102" fmla="*/ 1536598 h 4806848"/>
              <a:gd name="connsiteX5103" fmla="*/ 7342036 w 8978749"/>
              <a:gd name="connsiteY5103" fmla="*/ 1536598 h 4806848"/>
              <a:gd name="connsiteX5104" fmla="*/ 7262661 w 8978749"/>
              <a:gd name="connsiteY5104" fmla="*/ 1479448 h 4806848"/>
              <a:gd name="connsiteX5105" fmla="*/ 7321399 w 8978749"/>
              <a:gd name="connsiteY5105" fmla="*/ 1479448 h 4806848"/>
              <a:gd name="connsiteX5106" fmla="*/ 7321399 w 8978749"/>
              <a:gd name="connsiteY5106" fmla="*/ 1536598 h 4806848"/>
              <a:gd name="connsiteX5107" fmla="*/ 7262661 w 8978749"/>
              <a:gd name="connsiteY5107" fmla="*/ 1536598 h 4806848"/>
              <a:gd name="connsiteX5108" fmla="*/ 7183286 w 8978749"/>
              <a:gd name="connsiteY5108" fmla="*/ 1479448 h 4806848"/>
              <a:gd name="connsiteX5109" fmla="*/ 7242024 w 8978749"/>
              <a:gd name="connsiteY5109" fmla="*/ 1479448 h 4806848"/>
              <a:gd name="connsiteX5110" fmla="*/ 7242024 w 8978749"/>
              <a:gd name="connsiteY5110" fmla="*/ 1536598 h 4806848"/>
              <a:gd name="connsiteX5111" fmla="*/ 7183286 w 8978749"/>
              <a:gd name="connsiteY5111" fmla="*/ 1536598 h 4806848"/>
              <a:gd name="connsiteX5112" fmla="*/ 7105499 w 8978749"/>
              <a:gd name="connsiteY5112" fmla="*/ 1479448 h 4806848"/>
              <a:gd name="connsiteX5113" fmla="*/ 7162649 w 8978749"/>
              <a:gd name="connsiteY5113" fmla="*/ 1479448 h 4806848"/>
              <a:gd name="connsiteX5114" fmla="*/ 7162649 w 8978749"/>
              <a:gd name="connsiteY5114" fmla="*/ 1536598 h 4806848"/>
              <a:gd name="connsiteX5115" fmla="*/ 7105499 w 8978749"/>
              <a:gd name="connsiteY5115" fmla="*/ 1536598 h 4806848"/>
              <a:gd name="connsiteX5116" fmla="*/ 7026124 w 8978749"/>
              <a:gd name="connsiteY5116" fmla="*/ 1479448 h 4806848"/>
              <a:gd name="connsiteX5117" fmla="*/ 7084862 w 8978749"/>
              <a:gd name="connsiteY5117" fmla="*/ 1479448 h 4806848"/>
              <a:gd name="connsiteX5118" fmla="*/ 7084862 w 8978749"/>
              <a:gd name="connsiteY5118" fmla="*/ 1536598 h 4806848"/>
              <a:gd name="connsiteX5119" fmla="*/ 7026124 w 8978749"/>
              <a:gd name="connsiteY5119" fmla="*/ 1536598 h 4806848"/>
              <a:gd name="connsiteX5120" fmla="*/ 6946749 w 8978749"/>
              <a:gd name="connsiteY5120" fmla="*/ 1479448 h 4806848"/>
              <a:gd name="connsiteX5121" fmla="*/ 7005487 w 8978749"/>
              <a:gd name="connsiteY5121" fmla="*/ 1479448 h 4806848"/>
              <a:gd name="connsiteX5122" fmla="*/ 7005487 w 8978749"/>
              <a:gd name="connsiteY5122" fmla="*/ 1536598 h 4806848"/>
              <a:gd name="connsiteX5123" fmla="*/ 6946749 w 8978749"/>
              <a:gd name="connsiteY5123" fmla="*/ 1536598 h 4806848"/>
              <a:gd name="connsiteX5124" fmla="*/ 6867374 w 8978749"/>
              <a:gd name="connsiteY5124" fmla="*/ 1479448 h 4806848"/>
              <a:gd name="connsiteX5125" fmla="*/ 6926112 w 8978749"/>
              <a:gd name="connsiteY5125" fmla="*/ 1479448 h 4806848"/>
              <a:gd name="connsiteX5126" fmla="*/ 6926112 w 8978749"/>
              <a:gd name="connsiteY5126" fmla="*/ 1536598 h 4806848"/>
              <a:gd name="connsiteX5127" fmla="*/ 6867374 w 8978749"/>
              <a:gd name="connsiteY5127" fmla="*/ 1536598 h 4806848"/>
              <a:gd name="connsiteX5128" fmla="*/ 6789586 w 8978749"/>
              <a:gd name="connsiteY5128" fmla="*/ 1479448 h 4806848"/>
              <a:gd name="connsiteX5129" fmla="*/ 6846736 w 8978749"/>
              <a:gd name="connsiteY5129" fmla="*/ 1479448 h 4806848"/>
              <a:gd name="connsiteX5130" fmla="*/ 6846736 w 8978749"/>
              <a:gd name="connsiteY5130" fmla="*/ 1536598 h 4806848"/>
              <a:gd name="connsiteX5131" fmla="*/ 6789586 w 8978749"/>
              <a:gd name="connsiteY5131" fmla="*/ 1536598 h 4806848"/>
              <a:gd name="connsiteX5132" fmla="*/ 6710211 w 8978749"/>
              <a:gd name="connsiteY5132" fmla="*/ 1479448 h 4806848"/>
              <a:gd name="connsiteX5133" fmla="*/ 6768949 w 8978749"/>
              <a:gd name="connsiteY5133" fmla="*/ 1479448 h 4806848"/>
              <a:gd name="connsiteX5134" fmla="*/ 6768949 w 8978749"/>
              <a:gd name="connsiteY5134" fmla="*/ 1536598 h 4806848"/>
              <a:gd name="connsiteX5135" fmla="*/ 6710211 w 8978749"/>
              <a:gd name="connsiteY5135" fmla="*/ 1536598 h 4806848"/>
              <a:gd name="connsiteX5136" fmla="*/ 6630836 w 8978749"/>
              <a:gd name="connsiteY5136" fmla="*/ 1479448 h 4806848"/>
              <a:gd name="connsiteX5137" fmla="*/ 6689574 w 8978749"/>
              <a:gd name="connsiteY5137" fmla="*/ 1479448 h 4806848"/>
              <a:gd name="connsiteX5138" fmla="*/ 6689574 w 8978749"/>
              <a:gd name="connsiteY5138" fmla="*/ 1536598 h 4806848"/>
              <a:gd name="connsiteX5139" fmla="*/ 6630836 w 8978749"/>
              <a:gd name="connsiteY5139" fmla="*/ 1536598 h 4806848"/>
              <a:gd name="connsiteX5140" fmla="*/ 6551461 w 8978749"/>
              <a:gd name="connsiteY5140" fmla="*/ 1479448 h 4806848"/>
              <a:gd name="connsiteX5141" fmla="*/ 6610199 w 8978749"/>
              <a:gd name="connsiteY5141" fmla="*/ 1479448 h 4806848"/>
              <a:gd name="connsiteX5142" fmla="*/ 6610199 w 8978749"/>
              <a:gd name="connsiteY5142" fmla="*/ 1536598 h 4806848"/>
              <a:gd name="connsiteX5143" fmla="*/ 6551461 w 8978749"/>
              <a:gd name="connsiteY5143" fmla="*/ 1536598 h 4806848"/>
              <a:gd name="connsiteX5144" fmla="*/ 6473674 w 8978749"/>
              <a:gd name="connsiteY5144" fmla="*/ 1479448 h 4806848"/>
              <a:gd name="connsiteX5145" fmla="*/ 6530824 w 8978749"/>
              <a:gd name="connsiteY5145" fmla="*/ 1479448 h 4806848"/>
              <a:gd name="connsiteX5146" fmla="*/ 6530824 w 8978749"/>
              <a:gd name="connsiteY5146" fmla="*/ 1536598 h 4806848"/>
              <a:gd name="connsiteX5147" fmla="*/ 6473674 w 8978749"/>
              <a:gd name="connsiteY5147" fmla="*/ 1536598 h 4806848"/>
              <a:gd name="connsiteX5148" fmla="*/ 6394299 w 8978749"/>
              <a:gd name="connsiteY5148" fmla="*/ 1479448 h 4806848"/>
              <a:gd name="connsiteX5149" fmla="*/ 6453037 w 8978749"/>
              <a:gd name="connsiteY5149" fmla="*/ 1479448 h 4806848"/>
              <a:gd name="connsiteX5150" fmla="*/ 6453037 w 8978749"/>
              <a:gd name="connsiteY5150" fmla="*/ 1536598 h 4806848"/>
              <a:gd name="connsiteX5151" fmla="*/ 6394299 w 8978749"/>
              <a:gd name="connsiteY5151" fmla="*/ 1536598 h 4806848"/>
              <a:gd name="connsiteX5152" fmla="*/ 6314924 w 8978749"/>
              <a:gd name="connsiteY5152" fmla="*/ 1479448 h 4806848"/>
              <a:gd name="connsiteX5153" fmla="*/ 6373662 w 8978749"/>
              <a:gd name="connsiteY5153" fmla="*/ 1479448 h 4806848"/>
              <a:gd name="connsiteX5154" fmla="*/ 6373662 w 8978749"/>
              <a:gd name="connsiteY5154" fmla="*/ 1536598 h 4806848"/>
              <a:gd name="connsiteX5155" fmla="*/ 6314924 w 8978749"/>
              <a:gd name="connsiteY5155" fmla="*/ 1536598 h 4806848"/>
              <a:gd name="connsiteX5156" fmla="*/ 6235549 w 8978749"/>
              <a:gd name="connsiteY5156" fmla="*/ 1479448 h 4806848"/>
              <a:gd name="connsiteX5157" fmla="*/ 6294287 w 8978749"/>
              <a:gd name="connsiteY5157" fmla="*/ 1479448 h 4806848"/>
              <a:gd name="connsiteX5158" fmla="*/ 6294287 w 8978749"/>
              <a:gd name="connsiteY5158" fmla="*/ 1536598 h 4806848"/>
              <a:gd name="connsiteX5159" fmla="*/ 6235549 w 8978749"/>
              <a:gd name="connsiteY5159" fmla="*/ 1536598 h 4806848"/>
              <a:gd name="connsiteX5160" fmla="*/ 6157761 w 8978749"/>
              <a:gd name="connsiteY5160" fmla="*/ 1479448 h 4806848"/>
              <a:gd name="connsiteX5161" fmla="*/ 6214911 w 8978749"/>
              <a:gd name="connsiteY5161" fmla="*/ 1479448 h 4806848"/>
              <a:gd name="connsiteX5162" fmla="*/ 6214911 w 8978749"/>
              <a:gd name="connsiteY5162" fmla="*/ 1536598 h 4806848"/>
              <a:gd name="connsiteX5163" fmla="*/ 6157761 w 8978749"/>
              <a:gd name="connsiteY5163" fmla="*/ 1536598 h 4806848"/>
              <a:gd name="connsiteX5164" fmla="*/ 6078386 w 8978749"/>
              <a:gd name="connsiteY5164" fmla="*/ 1479448 h 4806848"/>
              <a:gd name="connsiteX5165" fmla="*/ 6137124 w 8978749"/>
              <a:gd name="connsiteY5165" fmla="*/ 1479448 h 4806848"/>
              <a:gd name="connsiteX5166" fmla="*/ 6137124 w 8978749"/>
              <a:gd name="connsiteY5166" fmla="*/ 1536598 h 4806848"/>
              <a:gd name="connsiteX5167" fmla="*/ 6078386 w 8978749"/>
              <a:gd name="connsiteY5167" fmla="*/ 1536598 h 4806848"/>
              <a:gd name="connsiteX5168" fmla="*/ 5999011 w 8978749"/>
              <a:gd name="connsiteY5168" fmla="*/ 1479448 h 4806848"/>
              <a:gd name="connsiteX5169" fmla="*/ 6057749 w 8978749"/>
              <a:gd name="connsiteY5169" fmla="*/ 1479448 h 4806848"/>
              <a:gd name="connsiteX5170" fmla="*/ 6057749 w 8978749"/>
              <a:gd name="connsiteY5170" fmla="*/ 1536598 h 4806848"/>
              <a:gd name="connsiteX5171" fmla="*/ 5999011 w 8978749"/>
              <a:gd name="connsiteY5171" fmla="*/ 1536598 h 4806848"/>
              <a:gd name="connsiteX5172" fmla="*/ 5921224 w 8978749"/>
              <a:gd name="connsiteY5172" fmla="*/ 1479448 h 4806848"/>
              <a:gd name="connsiteX5173" fmla="*/ 5978374 w 8978749"/>
              <a:gd name="connsiteY5173" fmla="*/ 1479448 h 4806848"/>
              <a:gd name="connsiteX5174" fmla="*/ 5978374 w 8978749"/>
              <a:gd name="connsiteY5174" fmla="*/ 1536598 h 4806848"/>
              <a:gd name="connsiteX5175" fmla="*/ 5921224 w 8978749"/>
              <a:gd name="connsiteY5175" fmla="*/ 1536598 h 4806848"/>
              <a:gd name="connsiteX5176" fmla="*/ 5841849 w 8978749"/>
              <a:gd name="connsiteY5176" fmla="*/ 1479448 h 4806848"/>
              <a:gd name="connsiteX5177" fmla="*/ 5900587 w 8978749"/>
              <a:gd name="connsiteY5177" fmla="*/ 1479448 h 4806848"/>
              <a:gd name="connsiteX5178" fmla="*/ 5900587 w 8978749"/>
              <a:gd name="connsiteY5178" fmla="*/ 1536598 h 4806848"/>
              <a:gd name="connsiteX5179" fmla="*/ 5841849 w 8978749"/>
              <a:gd name="connsiteY5179" fmla="*/ 1536598 h 4806848"/>
              <a:gd name="connsiteX5180" fmla="*/ 5762474 w 8978749"/>
              <a:gd name="connsiteY5180" fmla="*/ 1479448 h 4806848"/>
              <a:gd name="connsiteX5181" fmla="*/ 5821212 w 8978749"/>
              <a:gd name="connsiteY5181" fmla="*/ 1479448 h 4806848"/>
              <a:gd name="connsiteX5182" fmla="*/ 5821212 w 8978749"/>
              <a:gd name="connsiteY5182" fmla="*/ 1536598 h 4806848"/>
              <a:gd name="connsiteX5183" fmla="*/ 5762474 w 8978749"/>
              <a:gd name="connsiteY5183" fmla="*/ 1536598 h 4806848"/>
              <a:gd name="connsiteX5184" fmla="*/ 5684686 w 8978749"/>
              <a:gd name="connsiteY5184" fmla="*/ 1479448 h 4806848"/>
              <a:gd name="connsiteX5185" fmla="*/ 5741836 w 8978749"/>
              <a:gd name="connsiteY5185" fmla="*/ 1479448 h 4806848"/>
              <a:gd name="connsiteX5186" fmla="*/ 5741836 w 8978749"/>
              <a:gd name="connsiteY5186" fmla="*/ 1536598 h 4806848"/>
              <a:gd name="connsiteX5187" fmla="*/ 5684686 w 8978749"/>
              <a:gd name="connsiteY5187" fmla="*/ 1536598 h 4806848"/>
              <a:gd name="connsiteX5188" fmla="*/ 5605311 w 8978749"/>
              <a:gd name="connsiteY5188" fmla="*/ 1479448 h 4806848"/>
              <a:gd name="connsiteX5189" fmla="*/ 5664049 w 8978749"/>
              <a:gd name="connsiteY5189" fmla="*/ 1479448 h 4806848"/>
              <a:gd name="connsiteX5190" fmla="*/ 5664049 w 8978749"/>
              <a:gd name="connsiteY5190" fmla="*/ 1536598 h 4806848"/>
              <a:gd name="connsiteX5191" fmla="*/ 5605311 w 8978749"/>
              <a:gd name="connsiteY5191" fmla="*/ 1536598 h 4806848"/>
              <a:gd name="connsiteX5192" fmla="*/ 5525936 w 8978749"/>
              <a:gd name="connsiteY5192" fmla="*/ 1479448 h 4806848"/>
              <a:gd name="connsiteX5193" fmla="*/ 5584674 w 8978749"/>
              <a:gd name="connsiteY5193" fmla="*/ 1479448 h 4806848"/>
              <a:gd name="connsiteX5194" fmla="*/ 5584674 w 8978749"/>
              <a:gd name="connsiteY5194" fmla="*/ 1536598 h 4806848"/>
              <a:gd name="connsiteX5195" fmla="*/ 5525936 w 8978749"/>
              <a:gd name="connsiteY5195" fmla="*/ 1536598 h 4806848"/>
              <a:gd name="connsiteX5196" fmla="*/ 5446561 w 8978749"/>
              <a:gd name="connsiteY5196" fmla="*/ 1479448 h 4806848"/>
              <a:gd name="connsiteX5197" fmla="*/ 5505299 w 8978749"/>
              <a:gd name="connsiteY5197" fmla="*/ 1479448 h 4806848"/>
              <a:gd name="connsiteX5198" fmla="*/ 5505299 w 8978749"/>
              <a:gd name="connsiteY5198" fmla="*/ 1536598 h 4806848"/>
              <a:gd name="connsiteX5199" fmla="*/ 5446561 w 8978749"/>
              <a:gd name="connsiteY5199" fmla="*/ 1536598 h 4806848"/>
              <a:gd name="connsiteX5200" fmla="*/ 5368774 w 8978749"/>
              <a:gd name="connsiteY5200" fmla="*/ 1479448 h 4806848"/>
              <a:gd name="connsiteX5201" fmla="*/ 5425924 w 8978749"/>
              <a:gd name="connsiteY5201" fmla="*/ 1479448 h 4806848"/>
              <a:gd name="connsiteX5202" fmla="*/ 5425924 w 8978749"/>
              <a:gd name="connsiteY5202" fmla="*/ 1536598 h 4806848"/>
              <a:gd name="connsiteX5203" fmla="*/ 5368774 w 8978749"/>
              <a:gd name="connsiteY5203" fmla="*/ 1536598 h 4806848"/>
              <a:gd name="connsiteX5204" fmla="*/ 5289399 w 8978749"/>
              <a:gd name="connsiteY5204" fmla="*/ 1479448 h 4806848"/>
              <a:gd name="connsiteX5205" fmla="*/ 5348137 w 8978749"/>
              <a:gd name="connsiteY5205" fmla="*/ 1479448 h 4806848"/>
              <a:gd name="connsiteX5206" fmla="*/ 5348137 w 8978749"/>
              <a:gd name="connsiteY5206" fmla="*/ 1536598 h 4806848"/>
              <a:gd name="connsiteX5207" fmla="*/ 5289399 w 8978749"/>
              <a:gd name="connsiteY5207" fmla="*/ 1536598 h 4806848"/>
              <a:gd name="connsiteX5208" fmla="*/ 5210024 w 8978749"/>
              <a:gd name="connsiteY5208" fmla="*/ 1479448 h 4806848"/>
              <a:gd name="connsiteX5209" fmla="*/ 5268762 w 8978749"/>
              <a:gd name="connsiteY5209" fmla="*/ 1479448 h 4806848"/>
              <a:gd name="connsiteX5210" fmla="*/ 5268762 w 8978749"/>
              <a:gd name="connsiteY5210" fmla="*/ 1536598 h 4806848"/>
              <a:gd name="connsiteX5211" fmla="*/ 5210024 w 8978749"/>
              <a:gd name="connsiteY5211" fmla="*/ 1536598 h 4806848"/>
              <a:gd name="connsiteX5212" fmla="*/ 5130649 w 8978749"/>
              <a:gd name="connsiteY5212" fmla="*/ 1479448 h 4806848"/>
              <a:gd name="connsiteX5213" fmla="*/ 5189387 w 8978749"/>
              <a:gd name="connsiteY5213" fmla="*/ 1479448 h 4806848"/>
              <a:gd name="connsiteX5214" fmla="*/ 5189387 w 8978749"/>
              <a:gd name="connsiteY5214" fmla="*/ 1536598 h 4806848"/>
              <a:gd name="connsiteX5215" fmla="*/ 5130649 w 8978749"/>
              <a:gd name="connsiteY5215" fmla="*/ 1536598 h 4806848"/>
              <a:gd name="connsiteX5216" fmla="*/ 5052861 w 8978749"/>
              <a:gd name="connsiteY5216" fmla="*/ 1479448 h 4806848"/>
              <a:gd name="connsiteX5217" fmla="*/ 5110011 w 8978749"/>
              <a:gd name="connsiteY5217" fmla="*/ 1479448 h 4806848"/>
              <a:gd name="connsiteX5218" fmla="*/ 5110011 w 8978749"/>
              <a:gd name="connsiteY5218" fmla="*/ 1536598 h 4806848"/>
              <a:gd name="connsiteX5219" fmla="*/ 5052861 w 8978749"/>
              <a:gd name="connsiteY5219" fmla="*/ 1536598 h 4806848"/>
              <a:gd name="connsiteX5220" fmla="*/ 4973486 w 8978749"/>
              <a:gd name="connsiteY5220" fmla="*/ 1479448 h 4806848"/>
              <a:gd name="connsiteX5221" fmla="*/ 5030636 w 8978749"/>
              <a:gd name="connsiteY5221" fmla="*/ 1479448 h 4806848"/>
              <a:gd name="connsiteX5222" fmla="*/ 5030636 w 8978749"/>
              <a:gd name="connsiteY5222" fmla="*/ 1536598 h 4806848"/>
              <a:gd name="connsiteX5223" fmla="*/ 4973486 w 8978749"/>
              <a:gd name="connsiteY5223" fmla="*/ 1536598 h 4806848"/>
              <a:gd name="connsiteX5224" fmla="*/ 4894111 w 8978749"/>
              <a:gd name="connsiteY5224" fmla="*/ 1479447 h 4806848"/>
              <a:gd name="connsiteX5225" fmla="*/ 4952849 w 8978749"/>
              <a:gd name="connsiteY5225" fmla="*/ 1479447 h 4806848"/>
              <a:gd name="connsiteX5226" fmla="*/ 4952849 w 8978749"/>
              <a:gd name="connsiteY5226" fmla="*/ 1536597 h 4806848"/>
              <a:gd name="connsiteX5227" fmla="*/ 4894111 w 8978749"/>
              <a:gd name="connsiteY5227" fmla="*/ 1536597 h 4806848"/>
              <a:gd name="connsiteX5228" fmla="*/ 4814736 w 8978749"/>
              <a:gd name="connsiteY5228" fmla="*/ 1479447 h 4806848"/>
              <a:gd name="connsiteX5229" fmla="*/ 4873474 w 8978749"/>
              <a:gd name="connsiteY5229" fmla="*/ 1479447 h 4806848"/>
              <a:gd name="connsiteX5230" fmla="*/ 4873474 w 8978749"/>
              <a:gd name="connsiteY5230" fmla="*/ 1536597 h 4806848"/>
              <a:gd name="connsiteX5231" fmla="*/ 4814736 w 8978749"/>
              <a:gd name="connsiteY5231" fmla="*/ 1536597 h 4806848"/>
              <a:gd name="connsiteX5232" fmla="*/ 4736948 w 8978749"/>
              <a:gd name="connsiteY5232" fmla="*/ 1479447 h 4806848"/>
              <a:gd name="connsiteX5233" fmla="*/ 4794098 w 8978749"/>
              <a:gd name="connsiteY5233" fmla="*/ 1479447 h 4806848"/>
              <a:gd name="connsiteX5234" fmla="*/ 4794098 w 8978749"/>
              <a:gd name="connsiteY5234" fmla="*/ 1536597 h 4806848"/>
              <a:gd name="connsiteX5235" fmla="*/ 4736948 w 8978749"/>
              <a:gd name="connsiteY5235" fmla="*/ 1536597 h 4806848"/>
              <a:gd name="connsiteX5236" fmla="*/ 4657573 w 8978749"/>
              <a:gd name="connsiteY5236" fmla="*/ 1479447 h 4806848"/>
              <a:gd name="connsiteX5237" fmla="*/ 4716311 w 8978749"/>
              <a:gd name="connsiteY5237" fmla="*/ 1479447 h 4806848"/>
              <a:gd name="connsiteX5238" fmla="*/ 4716311 w 8978749"/>
              <a:gd name="connsiteY5238" fmla="*/ 1536597 h 4806848"/>
              <a:gd name="connsiteX5239" fmla="*/ 4657573 w 8978749"/>
              <a:gd name="connsiteY5239" fmla="*/ 1536597 h 4806848"/>
              <a:gd name="connsiteX5240" fmla="*/ 4578198 w 8978749"/>
              <a:gd name="connsiteY5240" fmla="*/ 1479447 h 4806848"/>
              <a:gd name="connsiteX5241" fmla="*/ 4636936 w 8978749"/>
              <a:gd name="connsiteY5241" fmla="*/ 1479447 h 4806848"/>
              <a:gd name="connsiteX5242" fmla="*/ 4636936 w 8978749"/>
              <a:gd name="connsiteY5242" fmla="*/ 1536597 h 4806848"/>
              <a:gd name="connsiteX5243" fmla="*/ 4578198 w 8978749"/>
              <a:gd name="connsiteY5243" fmla="*/ 1536597 h 4806848"/>
              <a:gd name="connsiteX5244" fmla="*/ 4498823 w 8978749"/>
              <a:gd name="connsiteY5244" fmla="*/ 1479447 h 4806848"/>
              <a:gd name="connsiteX5245" fmla="*/ 4557561 w 8978749"/>
              <a:gd name="connsiteY5245" fmla="*/ 1479447 h 4806848"/>
              <a:gd name="connsiteX5246" fmla="*/ 4557561 w 8978749"/>
              <a:gd name="connsiteY5246" fmla="*/ 1536597 h 4806848"/>
              <a:gd name="connsiteX5247" fmla="*/ 4498823 w 8978749"/>
              <a:gd name="connsiteY5247" fmla="*/ 1536597 h 4806848"/>
              <a:gd name="connsiteX5248" fmla="*/ 4421036 w 8978749"/>
              <a:gd name="connsiteY5248" fmla="*/ 1479447 h 4806848"/>
              <a:gd name="connsiteX5249" fmla="*/ 4479774 w 8978749"/>
              <a:gd name="connsiteY5249" fmla="*/ 1479447 h 4806848"/>
              <a:gd name="connsiteX5250" fmla="*/ 4479774 w 8978749"/>
              <a:gd name="connsiteY5250" fmla="*/ 1536597 h 4806848"/>
              <a:gd name="connsiteX5251" fmla="*/ 4421036 w 8978749"/>
              <a:gd name="connsiteY5251" fmla="*/ 1536597 h 4806848"/>
              <a:gd name="connsiteX5252" fmla="*/ 4341661 w 8978749"/>
              <a:gd name="connsiteY5252" fmla="*/ 1479447 h 4806848"/>
              <a:gd name="connsiteX5253" fmla="*/ 4400399 w 8978749"/>
              <a:gd name="connsiteY5253" fmla="*/ 1479447 h 4806848"/>
              <a:gd name="connsiteX5254" fmla="*/ 4400399 w 8978749"/>
              <a:gd name="connsiteY5254" fmla="*/ 1536597 h 4806848"/>
              <a:gd name="connsiteX5255" fmla="*/ 4341661 w 8978749"/>
              <a:gd name="connsiteY5255" fmla="*/ 1536597 h 4806848"/>
              <a:gd name="connsiteX5256" fmla="*/ 4262286 w 8978749"/>
              <a:gd name="connsiteY5256" fmla="*/ 1479447 h 4806848"/>
              <a:gd name="connsiteX5257" fmla="*/ 4321024 w 8978749"/>
              <a:gd name="connsiteY5257" fmla="*/ 1479447 h 4806848"/>
              <a:gd name="connsiteX5258" fmla="*/ 4321024 w 8978749"/>
              <a:gd name="connsiteY5258" fmla="*/ 1536597 h 4806848"/>
              <a:gd name="connsiteX5259" fmla="*/ 4262286 w 8978749"/>
              <a:gd name="connsiteY5259" fmla="*/ 1536597 h 4806848"/>
              <a:gd name="connsiteX5260" fmla="*/ 4184498 w 8978749"/>
              <a:gd name="connsiteY5260" fmla="*/ 1479447 h 4806848"/>
              <a:gd name="connsiteX5261" fmla="*/ 4241648 w 8978749"/>
              <a:gd name="connsiteY5261" fmla="*/ 1479447 h 4806848"/>
              <a:gd name="connsiteX5262" fmla="*/ 4241648 w 8978749"/>
              <a:gd name="connsiteY5262" fmla="*/ 1536597 h 4806848"/>
              <a:gd name="connsiteX5263" fmla="*/ 4184498 w 8978749"/>
              <a:gd name="connsiteY5263" fmla="*/ 1536597 h 4806848"/>
              <a:gd name="connsiteX5264" fmla="*/ 2920848 w 8978749"/>
              <a:gd name="connsiteY5264" fmla="*/ 1479447 h 4806848"/>
              <a:gd name="connsiteX5265" fmla="*/ 2979586 w 8978749"/>
              <a:gd name="connsiteY5265" fmla="*/ 1479447 h 4806848"/>
              <a:gd name="connsiteX5266" fmla="*/ 2979586 w 8978749"/>
              <a:gd name="connsiteY5266" fmla="*/ 1536597 h 4806848"/>
              <a:gd name="connsiteX5267" fmla="*/ 2920848 w 8978749"/>
              <a:gd name="connsiteY5267" fmla="*/ 1536597 h 4806848"/>
              <a:gd name="connsiteX5268" fmla="*/ 2841473 w 8978749"/>
              <a:gd name="connsiteY5268" fmla="*/ 1479447 h 4806848"/>
              <a:gd name="connsiteX5269" fmla="*/ 2900211 w 8978749"/>
              <a:gd name="connsiteY5269" fmla="*/ 1479447 h 4806848"/>
              <a:gd name="connsiteX5270" fmla="*/ 2900211 w 8978749"/>
              <a:gd name="connsiteY5270" fmla="*/ 1536597 h 4806848"/>
              <a:gd name="connsiteX5271" fmla="*/ 2841473 w 8978749"/>
              <a:gd name="connsiteY5271" fmla="*/ 1536597 h 4806848"/>
              <a:gd name="connsiteX5272" fmla="*/ 2763686 w 8978749"/>
              <a:gd name="connsiteY5272" fmla="*/ 1479447 h 4806848"/>
              <a:gd name="connsiteX5273" fmla="*/ 2820836 w 8978749"/>
              <a:gd name="connsiteY5273" fmla="*/ 1479447 h 4806848"/>
              <a:gd name="connsiteX5274" fmla="*/ 2820836 w 8978749"/>
              <a:gd name="connsiteY5274" fmla="*/ 1536597 h 4806848"/>
              <a:gd name="connsiteX5275" fmla="*/ 2763686 w 8978749"/>
              <a:gd name="connsiteY5275" fmla="*/ 1536597 h 4806848"/>
              <a:gd name="connsiteX5276" fmla="*/ 2684311 w 8978749"/>
              <a:gd name="connsiteY5276" fmla="*/ 1479447 h 4806848"/>
              <a:gd name="connsiteX5277" fmla="*/ 2743049 w 8978749"/>
              <a:gd name="connsiteY5277" fmla="*/ 1479447 h 4806848"/>
              <a:gd name="connsiteX5278" fmla="*/ 2743049 w 8978749"/>
              <a:gd name="connsiteY5278" fmla="*/ 1536597 h 4806848"/>
              <a:gd name="connsiteX5279" fmla="*/ 2684311 w 8978749"/>
              <a:gd name="connsiteY5279" fmla="*/ 1536597 h 4806848"/>
              <a:gd name="connsiteX5280" fmla="*/ 2604936 w 8978749"/>
              <a:gd name="connsiteY5280" fmla="*/ 1479447 h 4806848"/>
              <a:gd name="connsiteX5281" fmla="*/ 2663674 w 8978749"/>
              <a:gd name="connsiteY5281" fmla="*/ 1479447 h 4806848"/>
              <a:gd name="connsiteX5282" fmla="*/ 2663674 w 8978749"/>
              <a:gd name="connsiteY5282" fmla="*/ 1536597 h 4806848"/>
              <a:gd name="connsiteX5283" fmla="*/ 2604936 w 8978749"/>
              <a:gd name="connsiteY5283" fmla="*/ 1536597 h 4806848"/>
              <a:gd name="connsiteX5284" fmla="*/ 2525701 w 8978749"/>
              <a:gd name="connsiteY5284" fmla="*/ 1479447 h 4806848"/>
              <a:gd name="connsiteX5285" fmla="*/ 2584437 w 8978749"/>
              <a:gd name="connsiteY5285" fmla="*/ 1479447 h 4806848"/>
              <a:gd name="connsiteX5286" fmla="*/ 2584437 w 8978749"/>
              <a:gd name="connsiteY5286" fmla="*/ 1536597 h 4806848"/>
              <a:gd name="connsiteX5287" fmla="*/ 2525701 w 8978749"/>
              <a:gd name="connsiteY5287" fmla="*/ 1536597 h 4806848"/>
              <a:gd name="connsiteX5288" fmla="*/ 2447907 w 8978749"/>
              <a:gd name="connsiteY5288" fmla="*/ 1479447 h 4806848"/>
              <a:gd name="connsiteX5289" fmla="*/ 2505066 w 8978749"/>
              <a:gd name="connsiteY5289" fmla="*/ 1479447 h 4806848"/>
              <a:gd name="connsiteX5290" fmla="*/ 2505066 w 8978749"/>
              <a:gd name="connsiteY5290" fmla="*/ 1536597 h 4806848"/>
              <a:gd name="connsiteX5291" fmla="*/ 2447907 w 8978749"/>
              <a:gd name="connsiteY5291" fmla="*/ 1536597 h 4806848"/>
              <a:gd name="connsiteX5292" fmla="*/ 2368540 w 8978749"/>
              <a:gd name="connsiteY5292" fmla="*/ 1479447 h 4806848"/>
              <a:gd name="connsiteX5293" fmla="*/ 2427273 w 8978749"/>
              <a:gd name="connsiteY5293" fmla="*/ 1479447 h 4806848"/>
              <a:gd name="connsiteX5294" fmla="*/ 2427273 w 8978749"/>
              <a:gd name="connsiteY5294" fmla="*/ 1536597 h 4806848"/>
              <a:gd name="connsiteX5295" fmla="*/ 2368540 w 8978749"/>
              <a:gd name="connsiteY5295" fmla="*/ 1536597 h 4806848"/>
              <a:gd name="connsiteX5296" fmla="*/ 2289165 w 8978749"/>
              <a:gd name="connsiteY5296" fmla="*/ 1479447 h 4806848"/>
              <a:gd name="connsiteX5297" fmla="*/ 2347903 w 8978749"/>
              <a:gd name="connsiteY5297" fmla="*/ 1479447 h 4806848"/>
              <a:gd name="connsiteX5298" fmla="*/ 2347903 w 8978749"/>
              <a:gd name="connsiteY5298" fmla="*/ 1536597 h 4806848"/>
              <a:gd name="connsiteX5299" fmla="*/ 2289165 w 8978749"/>
              <a:gd name="connsiteY5299" fmla="*/ 1536597 h 4806848"/>
              <a:gd name="connsiteX5300" fmla="*/ 2209783 w 8978749"/>
              <a:gd name="connsiteY5300" fmla="*/ 1479447 h 4806848"/>
              <a:gd name="connsiteX5301" fmla="*/ 2268524 w 8978749"/>
              <a:gd name="connsiteY5301" fmla="*/ 1479447 h 4806848"/>
              <a:gd name="connsiteX5302" fmla="*/ 2268524 w 8978749"/>
              <a:gd name="connsiteY5302" fmla="*/ 1536597 h 4806848"/>
              <a:gd name="connsiteX5303" fmla="*/ 2209783 w 8978749"/>
              <a:gd name="connsiteY5303" fmla="*/ 1536597 h 4806848"/>
              <a:gd name="connsiteX5304" fmla="*/ 2131998 w 8978749"/>
              <a:gd name="connsiteY5304" fmla="*/ 1479447 h 4806848"/>
              <a:gd name="connsiteX5305" fmla="*/ 2189151 w 8978749"/>
              <a:gd name="connsiteY5305" fmla="*/ 1479447 h 4806848"/>
              <a:gd name="connsiteX5306" fmla="*/ 2189151 w 8978749"/>
              <a:gd name="connsiteY5306" fmla="*/ 1536597 h 4806848"/>
              <a:gd name="connsiteX5307" fmla="*/ 2131998 w 8978749"/>
              <a:gd name="connsiteY5307" fmla="*/ 1536597 h 4806848"/>
              <a:gd name="connsiteX5308" fmla="*/ 1973239 w 8978749"/>
              <a:gd name="connsiteY5308" fmla="*/ 1479447 h 4806848"/>
              <a:gd name="connsiteX5309" fmla="*/ 2031985 w 8978749"/>
              <a:gd name="connsiteY5309" fmla="*/ 1479447 h 4806848"/>
              <a:gd name="connsiteX5310" fmla="*/ 2031985 w 8978749"/>
              <a:gd name="connsiteY5310" fmla="*/ 1536597 h 4806848"/>
              <a:gd name="connsiteX5311" fmla="*/ 1973239 w 8978749"/>
              <a:gd name="connsiteY5311" fmla="*/ 1536597 h 4806848"/>
              <a:gd name="connsiteX5312" fmla="*/ 1893861 w 8978749"/>
              <a:gd name="connsiteY5312" fmla="*/ 1479447 h 4806848"/>
              <a:gd name="connsiteX5313" fmla="*/ 1952594 w 8978749"/>
              <a:gd name="connsiteY5313" fmla="*/ 1479447 h 4806848"/>
              <a:gd name="connsiteX5314" fmla="*/ 1952594 w 8978749"/>
              <a:gd name="connsiteY5314" fmla="*/ 1536597 h 4806848"/>
              <a:gd name="connsiteX5315" fmla="*/ 1893861 w 8978749"/>
              <a:gd name="connsiteY5315" fmla="*/ 1536597 h 4806848"/>
              <a:gd name="connsiteX5316" fmla="*/ 1816095 w 8978749"/>
              <a:gd name="connsiteY5316" fmla="*/ 1479447 h 4806848"/>
              <a:gd name="connsiteX5317" fmla="*/ 1873231 w 8978749"/>
              <a:gd name="connsiteY5317" fmla="*/ 1479447 h 4806848"/>
              <a:gd name="connsiteX5318" fmla="*/ 1873231 w 8978749"/>
              <a:gd name="connsiteY5318" fmla="*/ 1536597 h 4806848"/>
              <a:gd name="connsiteX5319" fmla="*/ 1816095 w 8978749"/>
              <a:gd name="connsiteY5319" fmla="*/ 1536597 h 4806848"/>
              <a:gd name="connsiteX5320" fmla="*/ 1736723 w 8978749"/>
              <a:gd name="connsiteY5320" fmla="*/ 1479447 h 4806848"/>
              <a:gd name="connsiteX5321" fmla="*/ 1795467 w 8978749"/>
              <a:gd name="connsiteY5321" fmla="*/ 1479447 h 4806848"/>
              <a:gd name="connsiteX5322" fmla="*/ 1795467 w 8978749"/>
              <a:gd name="connsiteY5322" fmla="*/ 1536597 h 4806848"/>
              <a:gd name="connsiteX5323" fmla="*/ 1736723 w 8978749"/>
              <a:gd name="connsiteY5323" fmla="*/ 1536597 h 4806848"/>
              <a:gd name="connsiteX5324" fmla="*/ 1657340 w 8978749"/>
              <a:gd name="connsiteY5324" fmla="*/ 1479447 h 4806848"/>
              <a:gd name="connsiteX5325" fmla="*/ 1716080 w 8978749"/>
              <a:gd name="connsiteY5325" fmla="*/ 1479447 h 4806848"/>
              <a:gd name="connsiteX5326" fmla="*/ 1716080 w 8978749"/>
              <a:gd name="connsiteY5326" fmla="*/ 1536597 h 4806848"/>
              <a:gd name="connsiteX5327" fmla="*/ 1657340 w 8978749"/>
              <a:gd name="connsiteY5327" fmla="*/ 1536597 h 4806848"/>
              <a:gd name="connsiteX5328" fmla="*/ 1577953 w 8978749"/>
              <a:gd name="connsiteY5328" fmla="*/ 1479447 h 4806848"/>
              <a:gd name="connsiteX5329" fmla="*/ 1636706 w 8978749"/>
              <a:gd name="connsiteY5329" fmla="*/ 1479447 h 4806848"/>
              <a:gd name="connsiteX5330" fmla="*/ 1636706 w 8978749"/>
              <a:gd name="connsiteY5330" fmla="*/ 1536597 h 4806848"/>
              <a:gd name="connsiteX5331" fmla="*/ 1577953 w 8978749"/>
              <a:gd name="connsiteY5331" fmla="*/ 1536597 h 4806848"/>
              <a:gd name="connsiteX5332" fmla="*/ 1500165 w 8978749"/>
              <a:gd name="connsiteY5332" fmla="*/ 1479447 h 4806848"/>
              <a:gd name="connsiteX5333" fmla="*/ 1558906 w 8978749"/>
              <a:gd name="connsiteY5333" fmla="*/ 1479447 h 4806848"/>
              <a:gd name="connsiteX5334" fmla="*/ 1558906 w 8978749"/>
              <a:gd name="connsiteY5334" fmla="*/ 1536597 h 4806848"/>
              <a:gd name="connsiteX5335" fmla="*/ 1500165 w 8978749"/>
              <a:gd name="connsiteY5335" fmla="*/ 1536597 h 4806848"/>
              <a:gd name="connsiteX5336" fmla="*/ 1420786 w 8978749"/>
              <a:gd name="connsiteY5336" fmla="*/ 1479447 h 4806848"/>
              <a:gd name="connsiteX5337" fmla="*/ 1479523 w 8978749"/>
              <a:gd name="connsiteY5337" fmla="*/ 1479447 h 4806848"/>
              <a:gd name="connsiteX5338" fmla="*/ 1479523 w 8978749"/>
              <a:gd name="connsiteY5338" fmla="*/ 1536597 h 4806848"/>
              <a:gd name="connsiteX5339" fmla="*/ 1420786 w 8978749"/>
              <a:gd name="connsiteY5339" fmla="*/ 1536597 h 4806848"/>
              <a:gd name="connsiteX5340" fmla="*/ 1341444 w 8978749"/>
              <a:gd name="connsiteY5340" fmla="*/ 1479447 h 4806848"/>
              <a:gd name="connsiteX5341" fmla="*/ 1400162 w 8978749"/>
              <a:gd name="connsiteY5341" fmla="*/ 1479447 h 4806848"/>
              <a:gd name="connsiteX5342" fmla="*/ 1400162 w 8978749"/>
              <a:gd name="connsiteY5342" fmla="*/ 1536597 h 4806848"/>
              <a:gd name="connsiteX5343" fmla="*/ 1341444 w 8978749"/>
              <a:gd name="connsiteY5343" fmla="*/ 1536597 h 4806848"/>
              <a:gd name="connsiteX5344" fmla="*/ 1263630 w 8978749"/>
              <a:gd name="connsiteY5344" fmla="*/ 1479447 h 4806848"/>
              <a:gd name="connsiteX5345" fmla="*/ 1320794 w 8978749"/>
              <a:gd name="connsiteY5345" fmla="*/ 1479447 h 4806848"/>
              <a:gd name="connsiteX5346" fmla="*/ 1320794 w 8978749"/>
              <a:gd name="connsiteY5346" fmla="*/ 1536597 h 4806848"/>
              <a:gd name="connsiteX5347" fmla="*/ 1263630 w 8978749"/>
              <a:gd name="connsiteY5347" fmla="*/ 1536597 h 4806848"/>
              <a:gd name="connsiteX5348" fmla="*/ 8131024 w 8978749"/>
              <a:gd name="connsiteY5348" fmla="*/ 1401660 h 4806848"/>
              <a:gd name="connsiteX5349" fmla="*/ 8189762 w 8978749"/>
              <a:gd name="connsiteY5349" fmla="*/ 1401660 h 4806848"/>
              <a:gd name="connsiteX5350" fmla="*/ 8189762 w 8978749"/>
              <a:gd name="connsiteY5350" fmla="*/ 1458810 h 4806848"/>
              <a:gd name="connsiteX5351" fmla="*/ 8131024 w 8978749"/>
              <a:gd name="connsiteY5351" fmla="*/ 1458810 h 4806848"/>
              <a:gd name="connsiteX5352" fmla="*/ 7815111 w 8978749"/>
              <a:gd name="connsiteY5352" fmla="*/ 1401660 h 4806848"/>
              <a:gd name="connsiteX5353" fmla="*/ 7873849 w 8978749"/>
              <a:gd name="connsiteY5353" fmla="*/ 1401660 h 4806848"/>
              <a:gd name="connsiteX5354" fmla="*/ 7873849 w 8978749"/>
              <a:gd name="connsiteY5354" fmla="*/ 1458810 h 4806848"/>
              <a:gd name="connsiteX5355" fmla="*/ 7815111 w 8978749"/>
              <a:gd name="connsiteY5355" fmla="*/ 1458810 h 4806848"/>
              <a:gd name="connsiteX5356" fmla="*/ 7735736 w 8978749"/>
              <a:gd name="connsiteY5356" fmla="*/ 1401660 h 4806848"/>
              <a:gd name="connsiteX5357" fmla="*/ 7794474 w 8978749"/>
              <a:gd name="connsiteY5357" fmla="*/ 1401660 h 4806848"/>
              <a:gd name="connsiteX5358" fmla="*/ 7794474 w 8978749"/>
              <a:gd name="connsiteY5358" fmla="*/ 1458810 h 4806848"/>
              <a:gd name="connsiteX5359" fmla="*/ 7735736 w 8978749"/>
              <a:gd name="connsiteY5359" fmla="*/ 1458810 h 4806848"/>
              <a:gd name="connsiteX5360" fmla="*/ 7657949 w 8978749"/>
              <a:gd name="connsiteY5360" fmla="*/ 1401660 h 4806848"/>
              <a:gd name="connsiteX5361" fmla="*/ 7715099 w 8978749"/>
              <a:gd name="connsiteY5361" fmla="*/ 1401660 h 4806848"/>
              <a:gd name="connsiteX5362" fmla="*/ 7715099 w 8978749"/>
              <a:gd name="connsiteY5362" fmla="*/ 1458810 h 4806848"/>
              <a:gd name="connsiteX5363" fmla="*/ 7657949 w 8978749"/>
              <a:gd name="connsiteY5363" fmla="*/ 1458810 h 4806848"/>
              <a:gd name="connsiteX5364" fmla="*/ 7578574 w 8978749"/>
              <a:gd name="connsiteY5364" fmla="*/ 1401660 h 4806848"/>
              <a:gd name="connsiteX5365" fmla="*/ 7637312 w 8978749"/>
              <a:gd name="connsiteY5365" fmla="*/ 1401660 h 4806848"/>
              <a:gd name="connsiteX5366" fmla="*/ 7637312 w 8978749"/>
              <a:gd name="connsiteY5366" fmla="*/ 1458810 h 4806848"/>
              <a:gd name="connsiteX5367" fmla="*/ 7578574 w 8978749"/>
              <a:gd name="connsiteY5367" fmla="*/ 1458810 h 4806848"/>
              <a:gd name="connsiteX5368" fmla="*/ 7499199 w 8978749"/>
              <a:gd name="connsiteY5368" fmla="*/ 1401660 h 4806848"/>
              <a:gd name="connsiteX5369" fmla="*/ 7557937 w 8978749"/>
              <a:gd name="connsiteY5369" fmla="*/ 1401660 h 4806848"/>
              <a:gd name="connsiteX5370" fmla="*/ 7557937 w 8978749"/>
              <a:gd name="connsiteY5370" fmla="*/ 1458810 h 4806848"/>
              <a:gd name="connsiteX5371" fmla="*/ 7499199 w 8978749"/>
              <a:gd name="connsiteY5371" fmla="*/ 1458810 h 4806848"/>
              <a:gd name="connsiteX5372" fmla="*/ 7419824 w 8978749"/>
              <a:gd name="connsiteY5372" fmla="*/ 1401660 h 4806848"/>
              <a:gd name="connsiteX5373" fmla="*/ 7478562 w 8978749"/>
              <a:gd name="connsiteY5373" fmla="*/ 1401660 h 4806848"/>
              <a:gd name="connsiteX5374" fmla="*/ 7478562 w 8978749"/>
              <a:gd name="connsiteY5374" fmla="*/ 1458810 h 4806848"/>
              <a:gd name="connsiteX5375" fmla="*/ 7419824 w 8978749"/>
              <a:gd name="connsiteY5375" fmla="*/ 1458810 h 4806848"/>
              <a:gd name="connsiteX5376" fmla="*/ 7342036 w 8978749"/>
              <a:gd name="connsiteY5376" fmla="*/ 1401660 h 4806848"/>
              <a:gd name="connsiteX5377" fmla="*/ 7400774 w 8978749"/>
              <a:gd name="connsiteY5377" fmla="*/ 1401660 h 4806848"/>
              <a:gd name="connsiteX5378" fmla="*/ 7400774 w 8978749"/>
              <a:gd name="connsiteY5378" fmla="*/ 1458810 h 4806848"/>
              <a:gd name="connsiteX5379" fmla="*/ 7342036 w 8978749"/>
              <a:gd name="connsiteY5379" fmla="*/ 1458810 h 4806848"/>
              <a:gd name="connsiteX5380" fmla="*/ 7262661 w 8978749"/>
              <a:gd name="connsiteY5380" fmla="*/ 1401660 h 4806848"/>
              <a:gd name="connsiteX5381" fmla="*/ 7321399 w 8978749"/>
              <a:gd name="connsiteY5381" fmla="*/ 1401660 h 4806848"/>
              <a:gd name="connsiteX5382" fmla="*/ 7321399 w 8978749"/>
              <a:gd name="connsiteY5382" fmla="*/ 1458810 h 4806848"/>
              <a:gd name="connsiteX5383" fmla="*/ 7262661 w 8978749"/>
              <a:gd name="connsiteY5383" fmla="*/ 1458810 h 4806848"/>
              <a:gd name="connsiteX5384" fmla="*/ 7183286 w 8978749"/>
              <a:gd name="connsiteY5384" fmla="*/ 1401660 h 4806848"/>
              <a:gd name="connsiteX5385" fmla="*/ 7242024 w 8978749"/>
              <a:gd name="connsiteY5385" fmla="*/ 1401660 h 4806848"/>
              <a:gd name="connsiteX5386" fmla="*/ 7242024 w 8978749"/>
              <a:gd name="connsiteY5386" fmla="*/ 1458810 h 4806848"/>
              <a:gd name="connsiteX5387" fmla="*/ 7183286 w 8978749"/>
              <a:gd name="connsiteY5387" fmla="*/ 1458810 h 4806848"/>
              <a:gd name="connsiteX5388" fmla="*/ 7105499 w 8978749"/>
              <a:gd name="connsiteY5388" fmla="*/ 1401660 h 4806848"/>
              <a:gd name="connsiteX5389" fmla="*/ 7162649 w 8978749"/>
              <a:gd name="connsiteY5389" fmla="*/ 1401660 h 4806848"/>
              <a:gd name="connsiteX5390" fmla="*/ 7162649 w 8978749"/>
              <a:gd name="connsiteY5390" fmla="*/ 1458810 h 4806848"/>
              <a:gd name="connsiteX5391" fmla="*/ 7105499 w 8978749"/>
              <a:gd name="connsiteY5391" fmla="*/ 1458810 h 4806848"/>
              <a:gd name="connsiteX5392" fmla="*/ 7026124 w 8978749"/>
              <a:gd name="connsiteY5392" fmla="*/ 1401660 h 4806848"/>
              <a:gd name="connsiteX5393" fmla="*/ 7084862 w 8978749"/>
              <a:gd name="connsiteY5393" fmla="*/ 1401660 h 4806848"/>
              <a:gd name="connsiteX5394" fmla="*/ 7084862 w 8978749"/>
              <a:gd name="connsiteY5394" fmla="*/ 1458810 h 4806848"/>
              <a:gd name="connsiteX5395" fmla="*/ 7026124 w 8978749"/>
              <a:gd name="connsiteY5395" fmla="*/ 1458810 h 4806848"/>
              <a:gd name="connsiteX5396" fmla="*/ 6946749 w 8978749"/>
              <a:gd name="connsiteY5396" fmla="*/ 1401660 h 4806848"/>
              <a:gd name="connsiteX5397" fmla="*/ 7005487 w 8978749"/>
              <a:gd name="connsiteY5397" fmla="*/ 1401660 h 4806848"/>
              <a:gd name="connsiteX5398" fmla="*/ 7005487 w 8978749"/>
              <a:gd name="connsiteY5398" fmla="*/ 1458810 h 4806848"/>
              <a:gd name="connsiteX5399" fmla="*/ 6946749 w 8978749"/>
              <a:gd name="connsiteY5399" fmla="*/ 1458810 h 4806848"/>
              <a:gd name="connsiteX5400" fmla="*/ 6867374 w 8978749"/>
              <a:gd name="connsiteY5400" fmla="*/ 1401660 h 4806848"/>
              <a:gd name="connsiteX5401" fmla="*/ 6926112 w 8978749"/>
              <a:gd name="connsiteY5401" fmla="*/ 1401660 h 4806848"/>
              <a:gd name="connsiteX5402" fmla="*/ 6926112 w 8978749"/>
              <a:gd name="connsiteY5402" fmla="*/ 1458810 h 4806848"/>
              <a:gd name="connsiteX5403" fmla="*/ 6867374 w 8978749"/>
              <a:gd name="connsiteY5403" fmla="*/ 1458810 h 4806848"/>
              <a:gd name="connsiteX5404" fmla="*/ 6789586 w 8978749"/>
              <a:gd name="connsiteY5404" fmla="*/ 1401660 h 4806848"/>
              <a:gd name="connsiteX5405" fmla="*/ 6846736 w 8978749"/>
              <a:gd name="connsiteY5405" fmla="*/ 1401660 h 4806848"/>
              <a:gd name="connsiteX5406" fmla="*/ 6846736 w 8978749"/>
              <a:gd name="connsiteY5406" fmla="*/ 1458810 h 4806848"/>
              <a:gd name="connsiteX5407" fmla="*/ 6789586 w 8978749"/>
              <a:gd name="connsiteY5407" fmla="*/ 1458810 h 4806848"/>
              <a:gd name="connsiteX5408" fmla="*/ 6710211 w 8978749"/>
              <a:gd name="connsiteY5408" fmla="*/ 1401660 h 4806848"/>
              <a:gd name="connsiteX5409" fmla="*/ 6768949 w 8978749"/>
              <a:gd name="connsiteY5409" fmla="*/ 1401660 h 4806848"/>
              <a:gd name="connsiteX5410" fmla="*/ 6768949 w 8978749"/>
              <a:gd name="connsiteY5410" fmla="*/ 1458810 h 4806848"/>
              <a:gd name="connsiteX5411" fmla="*/ 6710211 w 8978749"/>
              <a:gd name="connsiteY5411" fmla="*/ 1458810 h 4806848"/>
              <a:gd name="connsiteX5412" fmla="*/ 6630836 w 8978749"/>
              <a:gd name="connsiteY5412" fmla="*/ 1401660 h 4806848"/>
              <a:gd name="connsiteX5413" fmla="*/ 6689574 w 8978749"/>
              <a:gd name="connsiteY5413" fmla="*/ 1401660 h 4806848"/>
              <a:gd name="connsiteX5414" fmla="*/ 6689574 w 8978749"/>
              <a:gd name="connsiteY5414" fmla="*/ 1458810 h 4806848"/>
              <a:gd name="connsiteX5415" fmla="*/ 6630836 w 8978749"/>
              <a:gd name="connsiteY5415" fmla="*/ 1458810 h 4806848"/>
              <a:gd name="connsiteX5416" fmla="*/ 6551461 w 8978749"/>
              <a:gd name="connsiteY5416" fmla="*/ 1401660 h 4806848"/>
              <a:gd name="connsiteX5417" fmla="*/ 6610199 w 8978749"/>
              <a:gd name="connsiteY5417" fmla="*/ 1401660 h 4806848"/>
              <a:gd name="connsiteX5418" fmla="*/ 6610199 w 8978749"/>
              <a:gd name="connsiteY5418" fmla="*/ 1458810 h 4806848"/>
              <a:gd name="connsiteX5419" fmla="*/ 6551461 w 8978749"/>
              <a:gd name="connsiteY5419" fmla="*/ 1458810 h 4806848"/>
              <a:gd name="connsiteX5420" fmla="*/ 6473674 w 8978749"/>
              <a:gd name="connsiteY5420" fmla="*/ 1401660 h 4806848"/>
              <a:gd name="connsiteX5421" fmla="*/ 6530824 w 8978749"/>
              <a:gd name="connsiteY5421" fmla="*/ 1401660 h 4806848"/>
              <a:gd name="connsiteX5422" fmla="*/ 6530824 w 8978749"/>
              <a:gd name="connsiteY5422" fmla="*/ 1458810 h 4806848"/>
              <a:gd name="connsiteX5423" fmla="*/ 6473674 w 8978749"/>
              <a:gd name="connsiteY5423" fmla="*/ 1458810 h 4806848"/>
              <a:gd name="connsiteX5424" fmla="*/ 6394299 w 8978749"/>
              <a:gd name="connsiteY5424" fmla="*/ 1401660 h 4806848"/>
              <a:gd name="connsiteX5425" fmla="*/ 6453037 w 8978749"/>
              <a:gd name="connsiteY5425" fmla="*/ 1401660 h 4806848"/>
              <a:gd name="connsiteX5426" fmla="*/ 6453037 w 8978749"/>
              <a:gd name="connsiteY5426" fmla="*/ 1458810 h 4806848"/>
              <a:gd name="connsiteX5427" fmla="*/ 6394299 w 8978749"/>
              <a:gd name="connsiteY5427" fmla="*/ 1458810 h 4806848"/>
              <a:gd name="connsiteX5428" fmla="*/ 6314924 w 8978749"/>
              <a:gd name="connsiteY5428" fmla="*/ 1401660 h 4806848"/>
              <a:gd name="connsiteX5429" fmla="*/ 6373662 w 8978749"/>
              <a:gd name="connsiteY5429" fmla="*/ 1401660 h 4806848"/>
              <a:gd name="connsiteX5430" fmla="*/ 6373662 w 8978749"/>
              <a:gd name="connsiteY5430" fmla="*/ 1458810 h 4806848"/>
              <a:gd name="connsiteX5431" fmla="*/ 6314924 w 8978749"/>
              <a:gd name="connsiteY5431" fmla="*/ 1458810 h 4806848"/>
              <a:gd name="connsiteX5432" fmla="*/ 6235549 w 8978749"/>
              <a:gd name="connsiteY5432" fmla="*/ 1401660 h 4806848"/>
              <a:gd name="connsiteX5433" fmla="*/ 6294287 w 8978749"/>
              <a:gd name="connsiteY5433" fmla="*/ 1401660 h 4806848"/>
              <a:gd name="connsiteX5434" fmla="*/ 6294287 w 8978749"/>
              <a:gd name="connsiteY5434" fmla="*/ 1458810 h 4806848"/>
              <a:gd name="connsiteX5435" fmla="*/ 6235549 w 8978749"/>
              <a:gd name="connsiteY5435" fmla="*/ 1458810 h 4806848"/>
              <a:gd name="connsiteX5436" fmla="*/ 6157761 w 8978749"/>
              <a:gd name="connsiteY5436" fmla="*/ 1401660 h 4806848"/>
              <a:gd name="connsiteX5437" fmla="*/ 6214911 w 8978749"/>
              <a:gd name="connsiteY5437" fmla="*/ 1401660 h 4806848"/>
              <a:gd name="connsiteX5438" fmla="*/ 6214911 w 8978749"/>
              <a:gd name="connsiteY5438" fmla="*/ 1458810 h 4806848"/>
              <a:gd name="connsiteX5439" fmla="*/ 6157761 w 8978749"/>
              <a:gd name="connsiteY5439" fmla="*/ 1458810 h 4806848"/>
              <a:gd name="connsiteX5440" fmla="*/ 6078386 w 8978749"/>
              <a:gd name="connsiteY5440" fmla="*/ 1401660 h 4806848"/>
              <a:gd name="connsiteX5441" fmla="*/ 6137124 w 8978749"/>
              <a:gd name="connsiteY5441" fmla="*/ 1401660 h 4806848"/>
              <a:gd name="connsiteX5442" fmla="*/ 6137124 w 8978749"/>
              <a:gd name="connsiteY5442" fmla="*/ 1458810 h 4806848"/>
              <a:gd name="connsiteX5443" fmla="*/ 6078386 w 8978749"/>
              <a:gd name="connsiteY5443" fmla="*/ 1458810 h 4806848"/>
              <a:gd name="connsiteX5444" fmla="*/ 5999011 w 8978749"/>
              <a:gd name="connsiteY5444" fmla="*/ 1401660 h 4806848"/>
              <a:gd name="connsiteX5445" fmla="*/ 6057749 w 8978749"/>
              <a:gd name="connsiteY5445" fmla="*/ 1401660 h 4806848"/>
              <a:gd name="connsiteX5446" fmla="*/ 6057749 w 8978749"/>
              <a:gd name="connsiteY5446" fmla="*/ 1458810 h 4806848"/>
              <a:gd name="connsiteX5447" fmla="*/ 5999011 w 8978749"/>
              <a:gd name="connsiteY5447" fmla="*/ 1458810 h 4806848"/>
              <a:gd name="connsiteX5448" fmla="*/ 5921224 w 8978749"/>
              <a:gd name="connsiteY5448" fmla="*/ 1401660 h 4806848"/>
              <a:gd name="connsiteX5449" fmla="*/ 5978374 w 8978749"/>
              <a:gd name="connsiteY5449" fmla="*/ 1401660 h 4806848"/>
              <a:gd name="connsiteX5450" fmla="*/ 5978374 w 8978749"/>
              <a:gd name="connsiteY5450" fmla="*/ 1458810 h 4806848"/>
              <a:gd name="connsiteX5451" fmla="*/ 5921224 w 8978749"/>
              <a:gd name="connsiteY5451" fmla="*/ 1458810 h 4806848"/>
              <a:gd name="connsiteX5452" fmla="*/ 5841849 w 8978749"/>
              <a:gd name="connsiteY5452" fmla="*/ 1401660 h 4806848"/>
              <a:gd name="connsiteX5453" fmla="*/ 5900587 w 8978749"/>
              <a:gd name="connsiteY5453" fmla="*/ 1401660 h 4806848"/>
              <a:gd name="connsiteX5454" fmla="*/ 5900587 w 8978749"/>
              <a:gd name="connsiteY5454" fmla="*/ 1458810 h 4806848"/>
              <a:gd name="connsiteX5455" fmla="*/ 5841849 w 8978749"/>
              <a:gd name="connsiteY5455" fmla="*/ 1458810 h 4806848"/>
              <a:gd name="connsiteX5456" fmla="*/ 5762474 w 8978749"/>
              <a:gd name="connsiteY5456" fmla="*/ 1401660 h 4806848"/>
              <a:gd name="connsiteX5457" fmla="*/ 5821212 w 8978749"/>
              <a:gd name="connsiteY5457" fmla="*/ 1401660 h 4806848"/>
              <a:gd name="connsiteX5458" fmla="*/ 5821212 w 8978749"/>
              <a:gd name="connsiteY5458" fmla="*/ 1458810 h 4806848"/>
              <a:gd name="connsiteX5459" fmla="*/ 5762474 w 8978749"/>
              <a:gd name="connsiteY5459" fmla="*/ 1458810 h 4806848"/>
              <a:gd name="connsiteX5460" fmla="*/ 5684686 w 8978749"/>
              <a:gd name="connsiteY5460" fmla="*/ 1401660 h 4806848"/>
              <a:gd name="connsiteX5461" fmla="*/ 5741836 w 8978749"/>
              <a:gd name="connsiteY5461" fmla="*/ 1401660 h 4806848"/>
              <a:gd name="connsiteX5462" fmla="*/ 5741836 w 8978749"/>
              <a:gd name="connsiteY5462" fmla="*/ 1458810 h 4806848"/>
              <a:gd name="connsiteX5463" fmla="*/ 5684686 w 8978749"/>
              <a:gd name="connsiteY5463" fmla="*/ 1458810 h 4806848"/>
              <a:gd name="connsiteX5464" fmla="*/ 5605311 w 8978749"/>
              <a:gd name="connsiteY5464" fmla="*/ 1401660 h 4806848"/>
              <a:gd name="connsiteX5465" fmla="*/ 5664049 w 8978749"/>
              <a:gd name="connsiteY5465" fmla="*/ 1401660 h 4806848"/>
              <a:gd name="connsiteX5466" fmla="*/ 5664049 w 8978749"/>
              <a:gd name="connsiteY5466" fmla="*/ 1458810 h 4806848"/>
              <a:gd name="connsiteX5467" fmla="*/ 5605311 w 8978749"/>
              <a:gd name="connsiteY5467" fmla="*/ 1458810 h 4806848"/>
              <a:gd name="connsiteX5468" fmla="*/ 5525936 w 8978749"/>
              <a:gd name="connsiteY5468" fmla="*/ 1401660 h 4806848"/>
              <a:gd name="connsiteX5469" fmla="*/ 5584674 w 8978749"/>
              <a:gd name="connsiteY5469" fmla="*/ 1401660 h 4806848"/>
              <a:gd name="connsiteX5470" fmla="*/ 5584674 w 8978749"/>
              <a:gd name="connsiteY5470" fmla="*/ 1458810 h 4806848"/>
              <a:gd name="connsiteX5471" fmla="*/ 5525936 w 8978749"/>
              <a:gd name="connsiteY5471" fmla="*/ 1458810 h 4806848"/>
              <a:gd name="connsiteX5472" fmla="*/ 5446561 w 8978749"/>
              <a:gd name="connsiteY5472" fmla="*/ 1401660 h 4806848"/>
              <a:gd name="connsiteX5473" fmla="*/ 5505299 w 8978749"/>
              <a:gd name="connsiteY5473" fmla="*/ 1401660 h 4806848"/>
              <a:gd name="connsiteX5474" fmla="*/ 5505299 w 8978749"/>
              <a:gd name="connsiteY5474" fmla="*/ 1458810 h 4806848"/>
              <a:gd name="connsiteX5475" fmla="*/ 5446561 w 8978749"/>
              <a:gd name="connsiteY5475" fmla="*/ 1458810 h 4806848"/>
              <a:gd name="connsiteX5476" fmla="*/ 5368774 w 8978749"/>
              <a:gd name="connsiteY5476" fmla="*/ 1401660 h 4806848"/>
              <a:gd name="connsiteX5477" fmla="*/ 5425924 w 8978749"/>
              <a:gd name="connsiteY5477" fmla="*/ 1401660 h 4806848"/>
              <a:gd name="connsiteX5478" fmla="*/ 5425924 w 8978749"/>
              <a:gd name="connsiteY5478" fmla="*/ 1458810 h 4806848"/>
              <a:gd name="connsiteX5479" fmla="*/ 5368774 w 8978749"/>
              <a:gd name="connsiteY5479" fmla="*/ 1458810 h 4806848"/>
              <a:gd name="connsiteX5480" fmla="*/ 5289399 w 8978749"/>
              <a:gd name="connsiteY5480" fmla="*/ 1401660 h 4806848"/>
              <a:gd name="connsiteX5481" fmla="*/ 5348137 w 8978749"/>
              <a:gd name="connsiteY5481" fmla="*/ 1401660 h 4806848"/>
              <a:gd name="connsiteX5482" fmla="*/ 5348137 w 8978749"/>
              <a:gd name="connsiteY5482" fmla="*/ 1458810 h 4806848"/>
              <a:gd name="connsiteX5483" fmla="*/ 5289399 w 8978749"/>
              <a:gd name="connsiteY5483" fmla="*/ 1458810 h 4806848"/>
              <a:gd name="connsiteX5484" fmla="*/ 5210024 w 8978749"/>
              <a:gd name="connsiteY5484" fmla="*/ 1401660 h 4806848"/>
              <a:gd name="connsiteX5485" fmla="*/ 5268762 w 8978749"/>
              <a:gd name="connsiteY5485" fmla="*/ 1401660 h 4806848"/>
              <a:gd name="connsiteX5486" fmla="*/ 5268762 w 8978749"/>
              <a:gd name="connsiteY5486" fmla="*/ 1458810 h 4806848"/>
              <a:gd name="connsiteX5487" fmla="*/ 5210024 w 8978749"/>
              <a:gd name="connsiteY5487" fmla="*/ 1458810 h 4806848"/>
              <a:gd name="connsiteX5488" fmla="*/ 5130649 w 8978749"/>
              <a:gd name="connsiteY5488" fmla="*/ 1401660 h 4806848"/>
              <a:gd name="connsiteX5489" fmla="*/ 5189387 w 8978749"/>
              <a:gd name="connsiteY5489" fmla="*/ 1401660 h 4806848"/>
              <a:gd name="connsiteX5490" fmla="*/ 5189387 w 8978749"/>
              <a:gd name="connsiteY5490" fmla="*/ 1458810 h 4806848"/>
              <a:gd name="connsiteX5491" fmla="*/ 5130649 w 8978749"/>
              <a:gd name="connsiteY5491" fmla="*/ 1458810 h 4806848"/>
              <a:gd name="connsiteX5492" fmla="*/ 5052861 w 8978749"/>
              <a:gd name="connsiteY5492" fmla="*/ 1401660 h 4806848"/>
              <a:gd name="connsiteX5493" fmla="*/ 5110011 w 8978749"/>
              <a:gd name="connsiteY5493" fmla="*/ 1401660 h 4806848"/>
              <a:gd name="connsiteX5494" fmla="*/ 5110011 w 8978749"/>
              <a:gd name="connsiteY5494" fmla="*/ 1458810 h 4806848"/>
              <a:gd name="connsiteX5495" fmla="*/ 5052861 w 8978749"/>
              <a:gd name="connsiteY5495" fmla="*/ 1458810 h 4806848"/>
              <a:gd name="connsiteX5496" fmla="*/ 4973486 w 8978749"/>
              <a:gd name="connsiteY5496" fmla="*/ 1401660 h 4806848"/>
              <a:gd name="connsiteX5497" fmla="*/ 5030636 w 8978749"/>
              <a:gd name="connsiteY5497" fmla="*/ 1401660 h 4806848"/>
              <a:gd name="connsiteX5498" fmla="*/ 5030636 w 8978749"/>
              <a:gd name="connsiteY5498" fmla="*/ 1458810 h 4806848"/>
              <a:gd name="connsiteX5499" fmla="*/ 4973486 w 8978749"/>
              <a:gd name="connsiteY5499" fmla="*/ 1458810 h 4806848"/>
              <a:gd name="connsiteX5500" fmla="*/ 4894111 w 8978749"/>
              <a:gd name="connsiteY5500" fmla="*/ 1401660 h 4806848"/>
              <a:gd name="connsiteX5501" fmla="*/ 4952849 w 8978749"/>
              <a:gd name="connsiteY5501" fmla="*/ 1401660 h 4806848"/>
              <a:gd name="connsiteX5502" fmla="*/ 4952849 w 8978749"/>
              <a:gd name="connsiteY5502" fmla="*/ 1458810 h 4806848"/>
              <a:gd name="connsiteX5503" fmla="*/ 4894111 w 8978749"/>
              <a:gd name="connsiteY5503" fmla="*/ 1458810 h 4806848"/>
              <a:gd name="connsiteX5504" fmla="*/ 4814736 w 8978749"/>
              <a:gd name="connsiteY5504" fmla="*/ 1401660 h 4806848"/>
              <a:gd name="connsiteX5505" fmla="*/ 4873474 w 8978749"/>
              <a:gd name="connsiteY5505" fmla="*/ 1401660 h 4806848"/>
              <a:gd name="connsiteX5506" fmla="*/ 4873474 w 8978749"/>
              <a:gd name="connsiteY5506" fmla="*/ 1458810 h 4806848"/>
              <a:gd name="connsiteX5507" fmla="*/ 4814736 w 8978749"/>
              <a:gd name="connsiteY5507" fmla="*/ 1458810 h 4806848"/>
              <a:gd name="connsiteX5508" fmla="*/ 4736948 w 8978749"/>
              <a:gd name="connsiteY5508" fmla="*/ 1401660 h 4806848"/>
              <a:gd name="connsiteX5509" fmla="*/ 4794098 w 8978749"/>
              <a:gd name="connsiteY5509" fmla="*/ 1401660 h 4806848"/>
              <a:gd name="connsiteX5510" fmla="*/ 4794098 w 8978749"/>
              <a:gd name="connsiteY5510" fmla="*/ 1458810 h 4806848"/>
              <a:gd name="connsiteX5511" fmla="*/ 4736948 w 8978749"/>
              <a:gd name="connsiteY5511" fmla="*/ 1458810 h 4806848"/>
              <a:gd name="connsiteX5512" fmla="*/ 4657573 w 8978749"/>
              <a:gd name="connsiteY5512" fmla="*/ 1401660 h 4806848"/>
              <a:gd name="connsiteX5513" fmla="*/ 4716311 w 8978749"/>
              <a:gd name="connsiteY5513" fmla="*/ 1401660 h 4806848"/>
              <a:gd name="connsiteX5514" fmla="*/ 4716311 w 8978749"/>
              <a:gd name="connsiteY5514" fmla="*/ 1458810 h 4806848"/>
              <a:gd name="connsiteX5515" fmla="*/ 4657573 w 8978749"/>
              <a:gd name="connsiteY5515" fmla="*/ 1458810 h 4806848"/>
              <a:gd name="connsiteX5516" fmla="*/ 4578198 w 8978749"/>
              <a:gd name="connsiteY5516" fmla="*/ 1401660 h 4806848"/>
              <a:gd name="connsiteX5517" fmla="*/ 4636936 w 8978749"/>
              <a:gd name="connsiteY5517" fmla="*/ 1401660 h 4806848"/>
              <a:gd name="connsiteX5518" fmla="*/ 4636936 w 8978749"/>
              <a:gd name="connsiteY5518" fmla="*/ 1458810 h 4806848"/>
              <a:gd name="connsiteX5519" fmla="*/ 4578198 w 8978749"/>
              <a:gd name="connsiteY5519" fmla="*/ 1458810 h 4806848"/>
              <a:gd name="connsiteX5520" fmla="*/ 4498823 w 8978749"/>
              <a:gd name="connsiteY5520" fmla="*/ 1401660 h 4806848"/>
              <a:gd name="connsiteX5521" fmla="*/ 4557561 w 8978749"/>
              <a:gd name="connsiteY5521" fmla="*/ 1401660 h 4806848"/>
              <a:gd name="connsiteX5522" fmla="*/ 4557561 w 8978749"/>
              <a:gd name="connsiteY5522" fmla="*/ 1458810 h 4806848"/>
              <a:gd name="connsiteX5523" fmla="*/ 4498823 w 8978749"/>
              <a:gd name="connsiteY5523" fmla="*/ 1458810 h 4806848"/>
              <a:gd name="connsiteX5524" fmla="*/ 4421036 w 8978749"/>
              <a:gd name="connsiteY5524" fmla="*/ 1401660 h 4806848"/>
              <a:gd name="connsiteX5525" fmla="*/ 4479774 w 8978749"/>
              <a:gd name="connsiteY5525" fmla="*/ 1401660 h 4806848"/>
              <a:gd name="connsiteX5526" fmla="*/ 4479774 w 8978749"/>
              <a:gd name="connsiteY5526" fmla="*/ 1458810 h 4806848"/>
              <a:gd name="connsiteX5527" fmla="*/ 4421036 w 8978749"/>
              <a:gd name="connsiteY5527" fmla="*/ 1458810 h 4806848"/>
              <a:gd name="connsiteX5528" fmla="*/ 4341661 w 8978749"/>
              <a:gd name="connsiteY5528" fmla="*/ 1401660 h 4806848"/>
              <a:gd name="connsiteX5529" fmla="*/ 4400399 w 8978749"/>
              <a:gd name="connsiteY5529" fmla="*/ 1401660 h 4806848"/>
              <a:gd name="connsiteX5530" fmla="*/ 4400399 w 8978749"/>
              <a:gd name="connsiteY5530" fmla="*/ 1458810 h 4806848"/>
              <a:gd name="connsiteX5531" fmla="*/ 4341661 w 8978749"/>
              <a:gd name="connsiteY5531" fmla="*/ 1458810 h 4806848"/>
              <a:gd name="connsiteX5532" fmla="*/ 4262286 w 8978749"/>
              <a:gd name="connsiteY5532" fmla="*/ 1401660 h 4806848"/>
              <a:gd name="connsiteX5533" fmla="*/ 4321024 w 8978749"/>
              <a:gd name="connsiteY5533" fmla="*/ 1401660 h 4806848"/>
              <a:gd name="connsiteX5534" fmla="*/ 4321024 w 8978749"/>
              <a:gd name="connsiteY5534" fmla="*/ 1458810 h 4806848"/>
              <a:gd name="connsiteX5535" fmla="*/ 4262286 w 8978749"/>
              <a:gd name="connsiteY5535" fmla="*/ 1458810 h 4806848"/>
              <a:gd name="connsiteX5536" fmla="*/ 4184498 w 8978749"/>
              <a:gd name="connsiteY5536" fmla="*/ 1401660 h 4806848"/>
              <a:gd name="connsiteX5537" fmla="*/ 4241648 w 8978749"/>
              <a:gd name="connsiteY5537" fmla="*/ 1401660 h 4806848"/>
              <a:gd name="connsiteX5538" fmla="*/ 4241648 w 8978749"/>
              <a:gd name="connsiteY5538" fmla="*/ 1458810 h 4806848"/>
              <a:gd name="connsiteX5539" fmla="*/ 4184498 w 8978749"/>
              <a:gd name="connsiteY5539" fmla="*/ 1458810 h 4806848"/>
              <a:gd name="connsiteX5540" fmla="*/ 2763686 w 8978749"/>
              <a:gd name="connsiteY5540" fmla="*/ 1401660 h 4806848"/>
              <a:gd name="connsiteX5541" fmla="*/ 2820836 w 8978749"/>
              <a:gd name="connsiteY5541" fmla="*/ 1401660 h 4806848"/>
              <a:gd name="connsiteX5542" fmla="*/ 2820836 w 8978749"/>
              <a:gd name="connsiteY5542" fmla="*/ 1458810 h 4806848"/>
              <a:gd name="connsiteX5543" fmla="*/ 2763686 w 8978749"/>
              <a:gd name="connsiteY5543" fmla="*/ 1458810 h 4806848"/>
              <a:gd name="connsiteX5544" fmla="*/ 2684311 w 8978749"/>
              <a:gd name="connsiteY5544" fmla="*/ 1401660 h 4806848"/>
              <a:gd name="connsiteX5545" fmla="*/ 2743049 w 8978749"/>
              <a:gd name="connsiteY5545" fmla="*/ 1401660 h 4806848"/>
              <a:gd name="connsiteX5546" fmla="*/ 2743049 w 8978749"/>
              <a:gd name="connsiteY5546" fmla="*/ 1458810 h 4806848"/>
              <a:gd name="connsiteX5547" fmla="*/ 2684311 w 8978749"/>
              <a:gd name="connsiteY5547" fmla="*/ 1458810 h 4806848"/>
              <a:gd name="connsiteX5548" fmla="*/ 2604936 w 8978749"/>
              <a:gd name="connsiteY5548" fmla="*/ 1401660 h 4806848"/>
              <a:gd name="connsiteX5549" fmla="*/ 2663674 w 8978749"/>
              <a:gd name="connsiteY5549" fmla="*/ 1401660 h 4806848"/>
              <a:gd name="connsiteX5550" fmla="*/ 2663674 w 8978749"/>
              <a:gd name="connsiteY5550" fmla="*/ 1458810 h 4806848"/>
              <a:gd name="connsiteX5551" fmla="*/ 2604936 w 8978749"/>
              <a:gd name="connsiteY5551" fmla="*/ 1458810 h 4806848"/>
              <a:gd name="connsiteX5552" fmla="*/ 2525706 w 8978749"/>
              <a:gd name="connsiteY5552" fmla="*/ 1401660 h 4806848"/>
              <a:gd name="connsiteX5553" fmla="*/ 2584442 w 8978749"/>
              <a:gd name="connsiteY5553" fmla="*/ 1401660 h 4806848"/>
              <a:gd name="connsiteX5554" fmla="*/ 2584442 w 8978749"/>
              <a:gd name="connsiteY5554" fmla="*/ 1458810 h 4806848"/>
              <a:gd name="connsiteX5555" fmla="*/ 2525706 w 8978749"/>
              <a:gd name="connsiteY5555" fmla="*/ 1458810 h 4806848"/>
              <a:gd name="connsiteX5556" fmla="*/ 2447912 w 8978749"/>
              <a:gd name="connsiteY5556" fmla="*/ 1401660 h 4806848"/>
              <a:gd name="connsiteX5557" fmla="*/ 2505071 w 8978749"/>
              <a:gd name="connsiteY5557" fmla="*/ 1401660 h 4806848"/>
              <a:gd name="connsiteX5558" fmla="*/ 2505071 w 8978749"/>
              <a:gd name="connsiteY5558" fmla="*/ 1458810 h 4806848"/>
              <a:gd name="connsiteX5559" fmla="*/ 2447912 w 8978749"/>
              <a:gd name="connsiteY5559" fmla="*/ 1458810 h 4806848"/>
              <a:gd name="connsiteX5560" fmla="*/ 2368544 w 8978749"/>
              <a:gd name="connsiteY5560" fmla="*/ 1401660 h 4806848"/>
              <a:gd name="connsiteX5561" fmla="*/ 2427279 w 8978749"/>
              <a:gd name="connsiteY5561" fmla="*/ 1401660 h 4806848"/>
              <a:gd name="connsiteX5562" fmla="*/ 2427279 w 8978749"/>
              <a:gd name="connsiteY5562" fmla="*/ 1458810 h 4806848"/>
              <a:gd name="connsiteX5563" fmla="*/ 2368544 w 8978749"/>
              <a:gd name="connsiteY5563" fmla="*/ 1458810 h 4806848"/>
              <a:gd name="connsiteX5564" fmla="*/ 2289165 w 8978749"/>
              <a:gd name="connsiteY5564" fmla="*/ 1401660 h 4806848"/>
              <a:gd name="connsiteX5565" fmla="*/ 2347909 w 8978749"/>
              <a:gd name="connsiteY5565" fmla="*/ 1401660 h 4806848"/>
              <a:gd name="connsiteX5566" fmla="*/ 2347909 w 8978749"/>
              <a:gd name="connsiteY5566" fmla="*/ 1458810 h 4806848"/>
              <a:gd name="connsiteX5567" fmla="*/ 2289165 w 8978749"/>
              <a:gd name="connsiteY5567" fmla="*/ 1458810 h 4806848"/>
              <a:gd name="connsiteX5568" fmla="*/ 2209788 w 8978749"/>
              <a:gd name="connsiteY5568" fmla="*/ 1401660 h 4806848"/>
              <a:gd name="connsiteX5569" fmla="*/ 2268531 w 8978749"/>
              <a:gd name="connsiteY5569" fmla="*/ 1401660 h 4806848"/>
              <a:gd name="connsiteX5570" fmla="*/ 2268531 w 8978749"/>
              <a:gd name="connsiteY5570" fmla="*/ 1458810 h 4806848"/>
              <a:gd name="connsiteX5571" fmla="*/ 2209788 w 8978749"/>
              <a:gd name="connsiteY5571" fmla="*/ 1458810 h 4806848"/>
              <a:gd name="connsiteX5572" fmla="*/ 2132002 w 8978749"/>
              <a:gd name="connsiteY5572" fmla="*/ 1401660 h 4806848"/>
              <a:gd name="connsiteX5573" fmla="*/ 2189155 w 8978749"/>
              <a:gd name="connsiteY5573" fmla="*/ 1401660 h 4806848"/>
              <a:gd name="connsiteX5574" fmla="*/ 2189155 w 8978749"/>
              <a:gd name="connsiteY5574" fmla="*/ 1458810 h 4806848"/>
              <a:gd name="connsiteX5575" fmla="*/ 2132002 w 8978749"/>
              <a:gd name="connsiteY5575" fmla="*/ 1458810 h 4806848"/>
              <a:gd name="connsiteX5576" fmla="*/ 2052622 w 8978749"/>
              <a:gd name="connsiteY5576" fmla="*/ 1401660 h 4806848"/>
              <a:gd name="connsiteX5577" fmla="*/ 2111365 w 8978749"/>
              <a:gd name="connsiteY5577" fmla="*/ 1401660 h 4806848"/>
              <a:gd name="connsiteX5578" fmla="*/ 2111365 w 8978749"/>
              <a:gd name="connsiteY5578" fmla="*/ 1458810 h 4806848"/>
              <a:gd name="connsiteX5579" fmla="*/ 2052622 w 8978749"/>
              <a:gd name="connsiteY5579" fmla="*/ 1458810 h 4806848"/>
              <a:gd name="connsiteX5580" fmla="*/ 1973242 w 8978749"/>
              <a:gd name="connsiteY5580" fmla="*/ 1401660 h 4806848"/>
              <a:gd name="connsiteX5581" fmla="*/ 2031990 w 8978749"/>
              <a:gd name="connsiteY5581" fmla="*/ 1401660 h 4806848"/>
              <a:gd name="connsiteX5582" fmla="*/ 2031990 w 8978749"/>
              <a:gd name="connsiteY5582" fmla="*/ 1458810 h 4806848"/>
              <a:gd name="connsiteX5583" fmla="*/ 1973242 w 8978749"/>
              <a:gd name="connsiteY5583" fmla="*/ 1458810 h 4806848"/>
              <a:gd name="connsiteX5584" fmla="*/ 1893866 w 8978749"/>
              <a:gd name="connsiteY5584" fmla="*/ 1401660 h 4806848"/>
              <a:gd name="connsiteX5585" fmla="*/ 1952601 w 8978749"/>
              <a:gd name="connsiteY5585" fmla="*/ 1401660 h 4806848"/>
              <a:gd name="connsiteX5586" fmla="*/ 1952601 w 8978749"/>
              <a:gd name="connsiteY5586" fmla="*/ 1458810 h 4806848"/>
              <a:gd name="connsiteX5587" fmla="*/ 1893866 w 8978749"/>
              <a:gd name="connsiteY5587" fmla="*/ 1458810 h 4806848"/>
              <a:gd name="connsiteX5588" fmla="*/ 1816102 w 8978749"/>
              <a:gd name="connsiteY5588" fmla="*/ 1401660 h 4806848"/>
              <a:gd name="connsiteX5589" fmla="*/ 1873235 w 8978749"/>
              <a:gd name="connsiteY5589" fmla="*/ 1401660 h 4806848"/>
              <a:gd name="connsiteX5590" fmla="*/ 1873235 w 8978749"/>
              <a:gd name="connsiteY5590" fmla="*/ 1458810 h 4806848"/>
              <a:gd name="connsiteX5591" fmla="*/ 1816102 w 8978749"/>
              <a:gd name="connsiteY5591" fmla="*/ 1458810 h 4806848"/>
              <a:gd name="connsiteX5592" fmla="*/ 1736727 w 8978749"/>
              <a:gd name="connsiteY5592" fmla="*/ 1401660 h 4806848"/>
              <a:gd name="connsiteX5593" fmla="*/ 1795469 w 8978749"/>
              <a:gd name="connsiteY5593" fmla="*/ 1401660 h 4806848"/>
              <a:gd name="connsiteX5594" fmla="*/ 1795469 w 8978749"/>
              <a:gd name="connsiteY5594" fmla="*/ 1458810 h 4806848"/>
              <a:gd name="connsiteX5595" fmla="*/ 1736727 w 8978749"/>
              <a:gd name="connsiteY5595" fmla="*/ 1458810 h 4806848"/>
              <a:gd name="connsiteX5596" fmla="*/ 1657345 w 8978749"/>
              <a:gd name="connsiteY5596" fmla="*/ 1401660 h 4806848"/>
              <a:gd name="connsiteX5597" fmla="*/ 1716086 w 8978749"/>
              <a:gd name="connsiteY5597" fmla="*/ 1401660 h 4806848"/>
              <a:gd name="connsiteX5598" fmla="*/ 1716086 w 8978749"/>
              <a:gd name="connsiteY5598" fmla="*/ 1458810 h 4806848"/>
              <a:gd name="connsiteX5599" fmla="*/ 1657345 w 8978749"/>
              <a:gd name="connsiteY5599" fmla="*/ 1458810 h 4806848"/>
              <a:gd name="connsiteX5600" fmla="*/ 1577956 w 8978749"/>
              <a:gd name="connsiteY5600" fmla="*/ 1401660 h 4806848"/>
              <a:gd name="connsiteX5601" fmla="*/ 1636710 w 8978749"/>
              <a:gd name="connsiteY5601" fmla="*/ 1401660 h 4806848"/>
              <a:gd name="connsiteX5602" fmla="*/ 1636710 w 8978749"/>
              <a:gd name="connsiteY5602" fmla="*/ 1458810 h 4806848"/>
              <a:gd name="connsiteX5603" fmla="*/ 1577956 w 8978749"/>
              <a:gd name="connsiteY5603" fmla="*/ 1458810 h 4806848"/>
              <a:gd name="connsiteX5604" fmla="*/ 1500168 w 8978749"/>
              <a:gd name="connsiteY5604" fmla="*/ 1401660 h 4806848"/>
              <a:gd name="connsiteX5605" fmla="*/ 1558911 w 8978749"/>
              <a:gd name="connsiteY5605" fmla="*/ 1401660 h 4806848"/>
              <a:gd name="connsiteX5606" fmla="*/ 1558911 w 8978749"/>
              <a:gd name="connsiteY5606" fmla="*/ 1458810 h 4806848"/>
              <a:gd name="connsiteX5607" fmla="*/ 1500168 w 8978749"/>
              <a:gd name="connsiteY5607" fmla="*/ 1458810 h 4806848"/>
              <a:gd name="connsiteX5608" fmla="*/ 1420791 w 8978749"/>
              <a:gd name="connsiteY5608" fmla="*/ 1401660 h 4806848"/>
              <a:gd name="connsiteX5609" fmla="*/ 1479529 w 8978749"/>
              <a:gd name="connsiteY5609" fmla="*/ 1401660 h 4806848"/>
              <a:gd name="connsiteX5610" fmla="*/ 1479529 w 8978749"/>
              <a:gd name="connsiteY5610" fmla="*/ 1458810 h 4806848"/>
              <a:gd name="connsiteX5611" fmla="*/ 1420791 w 8978749"/>
              <a:gd name="connsiteY5611" fmla="*/ 1458810 h 4806848"/>
              <a:gd name="connsiteX5612" fmla="*/ 1341444 w 8978749"/>
              <a:gd name="connsiteY5612" fmla="*/ 1401660 h 4806848"/>
              <a:gd name="connsiteX5613" fmla="*/ 1400166 w 8978749"/>
              <a:gd name="connsiteY5613" fmla="*/ 1401660 h 4806848"/>
              <a:gd name="connsiteX5614" fmla="*/ 1400166 w 8978749"/>
              <a:gd name="connsiteY5614" fmla="*/ 1458810 h 4806848"/>
              <a:gd name="connsiteX5615" fmla="*/ 1341444 w 8978749"/>
              <a:gd name="connsiteY5615" fmla="*/ 1458810 h 4806848"/>
              <a:gd name="connsiteX5616" fmla="*/ 1263635 w 8978749"/>
              <a:gd name="connsiteY5616" fmla="*/ 1401660 h 4806848"/>
              <a:gd name="connsiteX5617" fmla="*/ 1320799 w 8978749"/>
              <a:gd name="connsiteY5617" fmla="*/ 1401660 h 4806848"/>
              <a:gd name="connsiteX5618" fmla="*/ 1320799 w 8978749"/>
              <a:gd name="connsiteY5618" fmla="*/ 1458810 h 4806848"/>
              <a:gd name="connsiteX5619" fmla="*/ 1263635 w 8978749"/>
              <a:gd name="connsiteY5619" fmla="*/ 1458810 h 4806848"/>
              <a:gd name="connsiteX5620" fmla="*/ 1184266 w 8978749"/>
              <a:gd name="connsiteY5620" fmla="*/ 1401660 h 4806848"/>
              <a:gd name="connsiteX5621" fmla="*/ 1242995 w 8978749"/>
              <a:gd name="connsiteY5621" fmla="*/ 1401660 h 4806848"/>
              <a:gd name="connsiteX5622" fmla="*/ 1242995 w 8978749"/>
              <a:gd name="connsiteY5622" fmla="*/ 1458810 h 4806848"/>
              <a:gd name="connsiteX5623" fmla="*/ 1184266 w 8978749"/>
              <a:gd name="connsiteY5623" fmla="*/ 1458810 h 4806848"/>
              <a:gd name="connsiteX5624" fmla="*/ 1104893 w 8978749"/>
              <a:gd name="connsiteY5624" fmla="*/ 1401660 h 4806848"/>
              <a:gd name="connsiteX5625" fmla="*/ 1163627 w 8978749"/>
              <a:gd name="connsiteY5625" fmla="*/ 1401660 h 4806848"/>
              <a:gd name="connsiteX5626" fmla="*/ 1163627 w 8978749"/>
              <a:gd name="connsiteY5626" fmla="*/ 1458810 h 4806848"/>
              <a:gd name="connsiteX5627" fmla="*/ 1104893 w 8978749"/>
              <a:gd name="connsiteY5627" fmla="*/ 1458810 h 4806848"/>
              <a:gd name="connsiteX5628" fmla="*/ 8131024 w 8978749"/>
              <a:gd name="connsiteY5628" fmla="*/ 1323873 h 4806848"/>
              <a:gd name="connsiteX5629" fmla="*/ 8189762 w 8978749"/>
              <a:gd name="connsiteY5629" fmla="*/ 1323873 h 4806848"/>
              <a:gd name="connsiteX5630" fmla="*/ 8189762 w 8978749"/>
              <a:gd name="connsiteY5630" fmla="*/ 1381023 h 4806848"/>
              <a:gd name="connsiteX5631" fmla="*/ 8131024 w 8978749"/>
              <a:gd name="connsiteY5631" fmla="*/ 1381023 h 4806848"/>
              <a:gd name="connsiteX5632" fmla="*/ 7815111 w 8978749"/>
              <a:gd name="connsiteY5632" fmla="*/ 1323873 h 4806848"/>
              <a:gd name="connsiteX5633" fmla="*/ 7873849 w 8978749"/>
              <a:gd name="connsiteY5633" fmla="*/ 1323873 h 4806848"/>
              <a:gd name="connsiteX5634" fmla="*/ 7873849 w 8978749"/>
              <a:gd name="connsiteY5634" fmla="*/ 1381023 h 4806848"/>
              <a:gd name="connsiteX5635" fmla="*/ 7815111 w 8978749"/>
              <a:gd name="connsiteY5635" fmla="*/ 1381023 h 4806848"/>
              <a:gd name="connsiteX5636" fmla="*/ 7735736 w 8978749"/>
              <a:gd name="connsiteY5636" fmla="*/ 1323873 h 4806848"/>
              <a:gd name="connsiteX5637" fmla="*/ 7794474 w 8978749"/>
              <a:gd name="connsiteY5637" fmla="*/ 1323873 h 4806848"/>
              <a:gd name="connsiteX5638" fmla="*/ 7794474 w 8978749"/>
              <a:gd name="connsiteY5638" fmla="*/ 1381023 h 4806848"/>
              <a:gd name="connsiteX5639" fmla="*/ 7735736 w 8978749"/>
              <a:gd name="connsiteY5639" fmla="*/ 1381023 h 4806848"/>
              <a:gd name="connsiteX5640" fmla="*/ 7657949 w 8978749"/>
              <a:gd name="connsiteY5640" fmla="*/ 1323873 h 4806848"/>
              <a:gd name="connsiteX5641" fmla="*/ 7715099 w 8978749"/>
              <a:gd name="connsiteY5641" fmla="*/ 1323873 h 4806848"/>
              <a:gd name="connsiteX5642" fmla="*/ 7715099 w 8978749"/>
              <a:gd name="connsiteY5642" fmla="*/ 1381023 h 4806848"/>
              <a:gd name="connsiteX5643" fmla="*/ 7657949 w 8978749"/>
              <a:gd name="connsiteY5643" fmla="*/ 1381023 h 4806848"/>
              <a:gd name="connsiteX5644" fmla="*/ 7578574 w 8978749"/>
              <a:gd name="connsiteY5644" fmla="*/ 1323873 h 4806848"/>
              <a:gd name="connsiteX5645" fmla="*/ 7637312 w 8978749"/>
              <a:gd name="connsiteY5645" fmla="*/ 1323873 h 4806848"/>
              <a:gd name="connsiteX5646" fmla="*/ 7637312 w 8978749"/>
              <a:gd name="connsiteY5646" fmla="*/ 1381023 h 4806848"/>
              <a:gd name="connsiteX5647" fmla="*/ 7578574 w 8978749"/>
              <a:gd name="connsiteY5647" fmla="*/ 1381023 h 4806848"/>
              <a:gd name="connsiteX5648" fmla="*/ 7499199 w 8978749"/>
              <a:gd name="connsiteY5648" fmla="*/ 1323873 h 4806848"/>
              <a:gd name="connsiteX5649" fmla="*/ 7557937 w 8978749"/>
              <a:gd name="connsiteY5649" fmla="*/ 1323873 h 4806848"/>
              <a:gd name="connsiteX5650" fmla="*/ 7557937 w 8978749"/>
              <a:gd name="connsiteY5650" fmla="*/ 1381023 h 4806848"/>
              <a:gd name="connsiteX5651" fmla="*/ 7499199 w 8978749"/>
              <a:gd name="connsiteY5651" fmla="*/ 1381023 h 4806848"/>
              <a:gd name="connsiteX5652" fmla="*/ 7419824 w 8978749"/>
              <a:gd name="connsiteY5652" fmla="*/ 1323873 h 4806848"/>
              <a:gd name="connsiteX5653" fmla="*/ 7478562 w 8978749"/>
              <a:gd name="connsiteY5653" fmla="*/ 1323873 h 4806848"/>
              <a:gd name="connsiteX5654" fmla="*/ 7478562 w 8978749"/>
              <a:gd name="connsiteY5654" fmla="*/ 1381023 h 4806848"/>
              <a:gd name="connsiteX5655" fmla="*/ 7419824 w 8978749"/>
              <a:gd name="connsiteY5655" fmla="*/ 1381023 h 4806848"/>
              <a:gd name="connsiteX5656" fmla="*/ 7342036 w 8978749"/>
              <a:gd name="connsiteY5656" fmla="*/ 1323873 h 4806848"/>
              <a:gd name="connsiteX5657" fmla="*/ 7400774 w 8978749"/>
              <a:gd name="connsiteY5657" fmla="*/ 1323873 h 4806848"/>
              <a:gd name="connsiteX5658" fmla="*/ 7400774 w 8978749"/>
              <a:gd name="connsiteY5658" fmla="*/ 1381023 h 4806848"/>
              <a:gd name="connsiteX5659" fmla="*/ 7342036 w 8978749"/>
              <a:gd name="connsiteY5659" fmla="*/ 1381023 h 4806848"/>
              <a:gd name="connsiteX5660" fmla="*/ 7262661 w 8978749"/>
              <a:gd name="connsiteY5660" fmla="*/ 1323873 h 4806848"/>
              <a:gd name="connsiteX5661" fmla="*/ 7321399 w 8978749"/>
              <a:gd name="connsiteY5661" fmla="*/ 1323873 h 4806848"/>
              <a:gd name="connsiteX5662" fmla="*/ 7321399 w 8978749"/>
              <a:gd name="connsiteY5662" fmla="*/ 1381023 h 4806848"/>
              <a:gd name="connsiteX5663" fmla="*/ 7262661 w 8978749"/>
              <a:gd name="connsiteY5663" fmla="*/ 1381023 h 4806848"/>
              <a:gd name="connsiteX5664" fmla="*/ 7183286 w 8978749"/>
              <a:gd name="connsiteY5664" fmla="*/ 1323873 h 4806848"/>
              <a:gd name="connsiteX5665" fmla="*/ 7242024 w 8978749"/>
              <a:gd name="connsiteY5665" fmla="*/ 1323873 h 4806848"/>
              <a:gd name="connsiteX5666" fmla="*/ 7242024 w 8978749"/>
              <a:gd name="connsiteY5666" fmla="*/ 1381023 h 4806848"/>
              <a:gd name="connsiteX5667" fmla="*/ 7183286 w 8978749"/>
              <a:gd name="connsiteY5667" fmla="*/ 1381023 h 4806848"/>
              <a:gd name="connsiteX5668" fmla="*/ 7105499 w 8978749"/>
              <a:gd name="connsiteY5668" fmla="*/ 1323873 h 4806848"/>
              <a:gd name="connsiteX5669" fmla="*/ 7162649 w 8978749"/>
              <a:gd name="connsiteY5669" fmla="*/ 1323873 h 4806848"/>
              <a:gd name="connsiteX5670" fmla="*/ 7162649 w 8978749"/>
              <a:gd name="connsiteY5670" fmla="*/ 1381023 h 4806848"/>
              <a:gd name="connsiteX5671" fmla="*/ 7105499 w 8978749"/>
              <a:gd name="connsiteY5671" fmla="*/ 1381023 h 4806848"/>
              <a:gd name="connsiteX5672" fmla="*/ 7026124 w 8978749"/>
              <a:gd name="connsiteY5672" fmla="*/ 1323873 h 4806848"/>
              <a:gd name="connsiteX5673" fmla="*/ 7084862 w 8978749"/>
              <a:gd name="connsiteY5673" fmla="*/ 1323873 h 4806848"/>
              <a:gd name="connsiteX5674" fmla="*/ 7084862 w 8978749"/>
              <a:gd name="connsiteY5674" fmla="*/ 1381023 h 4806848"/>
              <a:gd name="connsiteX5675" fmla="*/ 7026124 w 8978749"/>
              <a:gd name="connsiteY5675" fmla="*/ 1381023 h 4806848"/>
              <a:gd name="connsiteX5676" fmla="*/ 6946749 w 8978749"/>
              <a:gd name="connsiteY5676" fmla="*/ 1323873 h 4806848"/>
              <a:gd name="connsiteX5677" fmla="*/ 7005487 w 8978749"/>
              <a:gd name="connsiteY5677" fmla="*/ 1323873 h 4806848"/>
              <a:gd name="connsiteX5678" fmla="*/ 7005487 w 8978749"/>
              <a:gd name="connsiteY5678" fmla="*/ 1381023 h 4806848"/>
              <a:gd name="connsiteX5679" fmla="*/ 6946749 w 8978749"/>
              <a:gd name="connsiteY5679" fmla="*/ 1381023 h 4806848"/>
              <a:gd name="connsiteX5680" fmla="*/ 6867374 w 8978749"/>
              <a:gd name="connsiteY5680" fmla="*/ 1323873 h 4806848"/>
              <a:gd name="connsiteX5681" fmla="*/ 6926112 w 8978749"/>
              <a:gd name="connsiteY5681" fmla="*/ 1323873 h 4806848"/>
              <a:gd name="connsiteX5682" fmla="*/ 6926112 w 8978749"/>
              <a:gd name="connsiteY5682" fmla="*/ 1381023 h 4806848"/>
              <a:gd name="connsiteX5683" fmla="*/ 6867374 w 8978749"/>
              <a:gd name="connsiteY5683" fmla="*/ 1381023 h 4806848"/>
              <a:gd name="connsiteX5684" fmla="*/ 6789586 w 8978749"/>
              <a:gd name="connsiteY5684" fmla="*/ 1323873 h 4806848"/>
              <a:gd name="connsiteX5685" fmla="*/ 6846736 w 8978749"/>
              <a:gd name="connsiteY5685" fmla="*/ 1323873 h 4806848"/>
              <a:gd name="connsiteX5686" fmla="*/ 6846736 w 8978749"/>
              <a:gd name="connsiteY5686" fmla="*/ 1381023 h 4806848"/>
              <a:gd name="connsiteX5687" fmla="*/ 6789586 w 8978749"/>
              <a:gd name="connsiteY5687" fmla="*/ 1381023 h 4806848"/>
              <a:gd name="connsiteX5688" fmla="*/ 6710211 w 8978749"/>
              <a:gd name="connsiteY5688" fmla="*/ 1323873 h 4806848"/>
              <a:gd name="connsiteX5689" fmla="*/ 6768949 w 8978749"/>
              <a:gd name="connsiteY5689" fmla="*/ 1323873 h 4806848"/>
              <a:gd name="connsiteX5690" fmla="*/ 6768949 w 8978749"/>
              <a:gd name="connsiteY5690" fmla="*/ 1381023 h 4806848"/>
              <a:gd name="connsiteX5691" fmla="*/ 6710211 w 8978749"/>
              <a:gd name="connsiteY5691" fmla="*/ 1381023 h 4806848"/>
              <a:gd name="connsiteX5692" fmla="*/ 6630836 w 8978749"/>
              <a:gd name="connsiteY5692" fmla="*/ 1323873 h 4806848"/>
              <a:gd name="connsiteX5693" fmla="*/ 6689574 w 8978749"/>
              <a:gd name="connsiteY5693" fmla="*/ 1323873 h 4806848"/>
              <a:gd name="connsiteX5694" fmla="*/ 6689574 w 8978749"/>
              <a:gd name="connsiteY5694" fmla="*/ 1381023 h 4806848"/>
              <a:gd name="connsiteX5695" fmla="*/ 6630836 w 8978749"/>
              <a:gd name="connsiteY5695" fmla="*/ 1381023 h 4806848"/>
              <a:gd name="connsiteX5696" fmla="*/ 6551461 w 8978749"/>
              <a:gd name="connsiteY5696" fmla="*/ 1323873 h 4806848"/>
              <a:gd name="connsiteX5697" fmla="*/ 6610199 w 8978749"/>
              <a:gd name="connsiteY5697" fmla="*/ 1323873 h 4806848"/>
              <a:gd name="connsiteX5698" fmla="*/ 6610199 w 8978749"/>
              <a:gd name="connsiteY5698" fmla="*/ 1381023 h 4806848"/>
              <a:gd name="connsiteX5699" fmla="*/ 6551461 w 8978749"/>
              <a:gd name="connsiteY5699" fmla="*/ 1381023 h 4806848"/>
              <a:gd name="connsiteX5700" fmla="*/ 6473674 w 8978749"/>
              <a:gd name="connsiteY5700" fmla="*/ 1323873 h 4806848"/>
              <a:gd name="connsiteX5701" fmla="*/ 6530824 w 8978749"/>
              <a:gd name="connsiteY5701" fmla="*/ 1323873 h 4806848"/>
              <a:gd name="connsiteX5702" fmla="*/ 6530824 w 8978749"/>
              <a:gd name="connsiteY5702" fmla="*/ 1381023 h 4806848"/>
              <a:gd name="connsiteX5703" fmla="*/ 6473674 w 8978749"/>
              <a:gd name="connsiteY5703" fmla="*/ 1381023 h 4806848"/>
              <a:gd name="connsiteX5704" fmla="*/ 6394299 w 8978749"/>
              <a:gd name="connsiteY5704" fmla="*/ 1323873 h 4806848"/>
              <a:gd name="connsiteX5705" fmla="*/ 6453037 w 8978749"/>
              <a:gd name="connsiteY5705" fmla="*/ 1323873 h 4806848"/>
              <a:gd name="connsiteX5706" fmla="*/ 6453037 w 8978749"/>
              <a:gd name="connsiteY5706" fmla="*/ 1381023 h 4806848"/>
              <a:gd name="connsiteX5707" fmla="*/ 6394299 w 8978749"/>
              <a:gd name="connsiteY5707" fmla="*/ 1381023 h 4806848"/>
              <a:gd name="connsiteX5708" fmla="*/ 6314924 w 8978749"/>
              <a:gd name="connsiteY5708" fmla="*/ 1323873 h 4806848"/>
              <a:gd name="connsiteX5709" fmla="*/ 6373662 w 8978749"/>
              <a:gd name="connsiteY5709" fmla="*/ 1323873 h 4806848"/>
              <a:gd name="connsiteX5710" fmla="*/ 6373662 w 8978749"/>
              <a:gd name="connsiteY5710" fmla="*/ 1381023 h 4806848"/>
              <a:gd name="connsiteX5711" fmla="*/ 6314924 w 8978749"/>
              <a:gd name="connsiteY5711" fmla="*/ 1381023 h 4806848"/>
              <a:gd name="connsiteX5712" fmla="*/ 6235549 w 8978749"/>
              <a:gd name="connsiteY5712" fmla="*/ 1323873 h 4806848"/>
              <a:gd name="connsiteX5713" fmla="*/ 6294287 w 8978749"/>
              <a:gd name="connsiteY5713" fmla="*/ 1323873 h 4806848"/>
              <a:gd name="connsiteX5714" fmla="*/ 6294287 w 8978749"/>
              <a:gd name="connsiteY5714" fmla="*/ 1381023 h 4806848"/>
              <a:gd name="connsiteX5715" fmla="*/ 6235549 w 8978749"/>
              <a:gd name="connsiteY5715" fmla="*/ 1381023 h 4806848"/>
              <a:gd name="connsiteX5716" fmla="*/ 6157761 w 8978749"/>
              <a:gd name="connsiteY5716" fmla="*/ 1323873 h 4806848"/>
              <a:gd name="connsiteX5717" fmla="*/ 6214911 w 8978749"/>
              <a:gd name="connsiteY5717" fmla="*/ 1323873 h 4806848"/>
              <a:gd name="connsiteX5718" fmla="*/ 6214911 w 8978749"/>
              <a:gd name="connsiteY5718" fmla="*/ 1381023 h 4806848"/>
              <a:gd name="connsiteX5719" fmla="*/ 6157761 w 8978749"/>
              <a:gd name="connsiteY5719" fmla="*/ 1381023 h 4806848"/>
              <a:gd name="connsiteX5720" fmla="*/ 6078386 w 8978749"/>
              <a:gd name="connsiteY5720" fmla="*/ 1323873 h 4806848"/>
              <a:gd name="connsiteX5721" fmla="*/ 6137124 w 8978749"/>
              <a:gd name="connsiteY5721" fmla="*/ 1323873 h 4806848"/>
              <a:gd name="connsiteX5722" fmla="*/ 6137124 w 8978749"/>
              <a:gd name="connsiteY5722" fmla="*/ 1381023 h 4806848"/>
              <a:gd name="connsiteX5723" fmla="*/ 6078386 w 8978749"/>
              <a:gd name="connsiteY5723" fmla="*/ 1381023 h 4806848"/>
              <a:gd name="connsiteX5724" fmla="*/ 5999011 w 8978749"/>
              <a:gd name="connsiteY5724" fmla="*/ 1323873 h 4806848"/>
              <a:gd name="connsiteX5725" fmla="*/ 6057749 w 8978749"/>
              <a:gd name="connsiteY5725" fmla="*/ 1323873 h 4806848"/>
              <a:gd name="connsiteX5726" fmla="*/ 6057749 w 8978749"/>
              <a:gd name="connsiteY5726" fmla="*/ 1381023 h 4806848"/>
              <a:gd name="connsiteX5727" fmla="*/ 5999011 w 8978749"/>
              <a:gd name="connsiteY5727" fmla="*/ 1381023 h 4806848"/>
              <a:gd name="connsiteX5728" fmla="*/ 5921224 w 8978749"/>
              <a:gd name="connsiteY5728" fmla="*/ 1323873 h 4806848"/>
              <a:gd name="connsiteX5729" fmla="*/ 5978374 w 8978749"/>
              <a:gd name="connsiteY5729" fmla="*/ 1323873 h 4806848"/>
              <a:gd name="connsiteX5730" fmla="*/ 5978374 w 8978749"/>
              <a:gd name="connsiteY5730" fmla="*/ 1381023 h 4806848"/>
              <a:gd name="connsiteX5731" fmla="*/ 5921224 w 8978749"/>
              <a:gd name="connsiteY5731" fmla="*/ 1381023 h 4806848"/>
              <a:gd name="connsiteX5732" fmla="*/ 5841849 w 8978749"/>
              <a:gd name="connsiteY5732" fmla="*/ 1323873 h 4806848"/>
              <a:gd name="connsiteX5733" fmla="*/ 5900587 w 8978749"/>
              <a:gd name="connsiteY5733" fmla="*/ 1323873 h 4806848"/>
              <a:gd name="connsiteX5734" fmla="*/ 5900587 w 8978749"/>
              <a:gd name="connsiteY5734" fmla="*/ 1381023 h 4806848"/>
              <a:gd name="connsiteX5735" fmla="*/ 5841849 w 8978749"/>
              <a:gd name="connsiteY5735" fmla="*/ 1381023 h 4806848"/>
              <a:gd name="connsiteX5736" fmla="*/ 5762474 w 8978749"/>
              <a:gd name="connsiteY5736" fmla="*/ 1323873 h 4806848"/>
              <a:gd name="connsiteX5737" fmla="*/ 5821212 w 8978749"/>
              <a:gd name="connsiteY5737" fmla="*/ 1323873 h 4806848"/>
              <a:gd name="connsiteX5738" fmla="*/ 5821212 w 8978749"/>
              <a:gd name="connsiteY5738" fmla="*/ 1381023 h 4806848"/>
              <a:gd name="connsiteX5739" fmla="*/ 5762474 w 8978749"/>
              <a:gd name="connsiteY5739" fmla="*/ 1381023 h 4806848"/>
              <a:gd name="connsiteX5740" fmla="*/ 5684686 w 8978749"/>
              <a:gd name="connsiteY5740" fmla="*/ 1323873 h 4806848"/>
              <a:gd name="connsiteX5741" fmla="*/ 5741836 w 8978749"/>
              <a:gd name="connsiteY5741" fmla="*/ 1323873 h 4806848"/>
              <a:gd name="connsiteX5742" fmla="*/ 5741836 w 8978749"/>
              <a:gd name="connsiteY5742" fmla="*/ 1381023 h 4806848"/>
              <a:gd name="connsiteX5743" fmla="*/ 5684686 w 8978749"/>
              <a:gd name="connsiteY5743" fmla="*/ 1381023 h 4806848"/>
              <a:gd name="connsiteX5744" fmla="*/ 5605311 w 8978749"/>
              <a:gd name="connsiteY5744" fmla="*/ 1323873 h 4806848"/>
              <a:gd name="connsiteX5745" fmla="*/ 5664049 w 8978749"/>
              <a:gd name="connsiteY5745" fmla="*/ 1323873 h 4806848"/>
              <a:gd name="connsiteX5746" fmla="*/ 5664049 w 8978749"/>
              <a:gd name="connsiteY5746" fmla="*/ 1381023 h 4806848"/>
              <a:gd name="connsiteX5747" fmla="*/ 5605311 w 8978749"/>
              <a:gd name="connsiteY5747" fmla="*/ 1381023 h 4806848"/>
              <a:gd name="connsiteX5748" fmla="*/ 5525936 w 8978749"/>
              <a:gd name="connsiteY5748" fmla="*/ 1323873 h 4806848"/>
              <a:gd name="connsiteX5749" fmla="*/ 5584674 w 8978749"/>
              <a:gd name="connsiteY5749" fmla="*/ 1323873 h 4806848"/>
              <a:gd name="connsiteX5750" fmla="*/ 5584674 w 8978749"/>
              <a:gd name="connsiteY5750" fmla="*/ 1381023 h 4806848"/>
              <a:gd name="connsiteX5751" fmla="*/ 5525936 w 8978749"/>
              <a:gd name="connsiteY5751" fmla="*/ 1381023 h 4806848"/>
              <a:gd name="connsiteX5752" fmla="*/ 5446561 w 8978749"/>
              <a:gd name="connsiteY5752" fmla="*/ 1323873 h 4806848"/>
              <a:gd name="connsiteX5753" fmla="*/ 5505299 w 8978749"/>
              <a:gd name="connsiteY5753" fmla="*/ 1323873 h 4806848"/>
              <a:gd name="connsiteX5754" fmla="*/ 5505299 w 8978749"/>
              <a:gd name="connsiteY5754" fmla="*/ 1381023 h 4806848"/>
              <a:gd name="connsiteX5755" fmla="*/ 5446561 w 8978749"/>
              <a:gd name="connsiteY5755" fmla="*/ 1381023 h 4806848"/>
              <a:gd name="connsiteX5756" fmla="*/ 5368774 w 8978749"/>
              <a:gd name="connsiteY5756" fmla="*/ 1323873 h 4806848"/>
              <a:gd name="connsiteX5757" fmla="*/ 5425924 w 8978749"/>
              <a:gd name="connsiteY5757" fmla="*/ 1323873 h 4806848"/>
              <a:gd name="connsiteX5758" fmla="*/ 5425924 w 8978749"/>
              <a:gd name="connsiteY5758" fmla="*/ 1381023 h 4806848"/>
              <a:gd name="connsiteX5759" fmla="*/ 5368774 w 8978749"/>
              <a:gd name="connsiteY5759" fmla="*/ 1381023 h 4806848"/>
              <a:gd name="connsiteX5760" fmla="*/ 5289399 w 8978749"/>
              <a:gd name="connsiteY5760" fmla="*/ 1323873 h 4806848"/>
              <a:gd name="connsiteX5761" fmla="*/ 5348137 w 8978749"/>
              <a:gd name="connsiteY5761" fmla="*/ 1323873 h 4806848"/>
              <a:gd name="connsiteX5762" fmla="*/ 5348137 w 8978749"/>
              <a:gd name="connsiteY5762" fmla="*/ 1381023 h 4806848"/>
              <a:gd name="connsiteX5763" fmla="*/ 5289399 w 8978749"/>
              <a:gd name="connsiteY5763" fmla="*/ 1381023 h 4806848"/>
              <a:gd name="connsiteX5764" fmla="*/ 5210024 w 8978749"/>
              <a:gd name="connsiteY5764" fmla="*/ 1323873 h 4806848"/>
              <a:gd name="connsiteX5765" fmla="*/ 5268762 w 8978749"/>
              <a:gd name="connsiteY5765" fmla="*/ 1323873 h 4806848"/>
              <a:gd name="connsiteX5766" fmla="*/ 5268762 w 8978749"/>
              <a:gd name="connsiteY5766" fmla="*/ 1381023 h 4806848"/>
              <a:gd name="connsiteX5767" fmla="*/ 5210024 w 8978749"/>
              <a:gd name="connsiteY5767" fmla="*/ 1381023 h 4806848"/>
              <a:gd name="connsiteX5768" fmla="*/ 5130649 w 8978749"/>
              <a:gd name="connsiteY5768" fmla="*/ 1323873 h 4806848"/>
              <a:gd name="connsiteX5769" fmla="*/ 5189387 w 8978749"/>
              <a:gd name="connsiteY5769" fmla="*/ 1323873 h 4806848"/>
              <a:gd name="connsiteX5770" fmla="*/ 5189387 w 8978749"/>
              <a:gd name="connsiteY5770" fmla="*/ 1381023 h 4806848"/>
              <a:gd name="connsiteX5771" fmla="*/ 5130649 w 8978749"/>
              <a:gd name="connsiteY5771" fmla="*/ 1381023 h 4806848"/>
              <a:gd name="connsiteX5772" fmla="*/ 5052861 w 8978749"/>
              <a:gd name="connsiteY5772" fmla="*/ 1323873 h 4806848"/>
              <a:gd name="connsiteX5773" fmla="*/ 5110011 w 8978749"/>
              <a:gd name="connsiteY5773" fmla="*/ 1323873 h 4806848"/>
              <a:gd name="connsiteX5774" fmla="*/ 5110011 w 8978749"/>
              <a:gd name="connsiteY5774" fmla="*/ 1381023 h 4806848"/>
              <a:gd name="connsiteX5775" fmla="*/ 5052861 w 8978749"/>
              <a:gd name="connsiteY5775" fmla="*/ 1381023 h 4806848"/>
              <a:gd name="connsiteX5776" fmla="*/ 4973486 w 8978749"/>
              <a:gd name="connsiteY5776" fmla="*/ 1323873 h 4806848"/>
              <a:gd name="connsiteX5777" fmla="*/ 5030636 w 8978749"/>
              <a:gd name="connsiteY5777" fmla="*/ 1323873 h 4806848"/>
              <a:gd name="connsiteX5778" fmla="*/ 5030636 w 8978749"/>
              <a:gd name="connsiteY5778" fmla="*/ 1381023 h 4806848"/>
              <a:gd name="connsiteX5779" fmla="*/ 4973486 w 8978749"/>
              <a:gd name="connsiteY5779" fmla="*/ 1381023 h 4806848"/>
              <a:gd name="connsiteX5780" fmla="*/ 4894111 w 8978749"/>
              <a:gd name="connsiteY5780" fmla="*/ 1323872 h 4806848"/>
              <a:gd name="connsiteX5781" fmla="*/ 4952849 w 8978749"/>
              <a:gd name="connsiteY5781" fmla="*/ 1323872 h 4806848"/>
              <a:gd name="connsiteX5782" fmla="*/ 4952849 w 8978749"/>
              <a:gd name="connsiteY5782" fmla="*/ 1381022 h 4806848"/>
              <a:gd name="connsiteX5783" fmla="*/ 4894111 w 8978749"/>
              <a:gd name="connsiteY5783" fmla="*/ 1381022 h 4806848"/>
              <a:gd name="connsiteX5784" fmla="*/ 4814736 w 8978749"/>
              <a:gd name="connsiteY5784" fmla="*/ 1323872 h 4806848"/>
              <a:gd name="connsiteX5785" fmla="*/ 4873474 w 8978749"/>
              <a:gd name="connsiteY5785" fmla="*/ 1323872 h 4806848"/>
              <a:gd name="connsiteX5786" fmla="*/ 4873474 w 8978749"/>
              <a:gd name="connsiteY5786" fmla="*/ 1381022 h 4806848"/>
              <a:gd name="connsiteX5787" fmla="*/ 4814736 w 8978749"/>
              <a:gd name="connsiteY5787" fmla="*/ 1381022 h 4806848"/>
              <a:gd name="connsiteX5788" fmla="*/ 4736948 w 8978749"/>
              <a:gd name="connsiteY5788" fmla="*/ 1323872 h 4806848"/>
              <a:gd name="connsiteX5789" fmla="*/ 4794098 w 8978749"/>
              <a:gd name="connsiteY5789" fmla="*/ 1323872 h 4806848"/>
              <a:gd name="connsiteX5790" fmla="*/ 4794098 w 8978749"/>
              <a:gd name="connsiteY5790" fmla="*/ 1381022 h 4806848"/>
              <a:gd name="connsiteX5791" fmla="*/ 4736948 w 8978749"/>
              <a:gd name="connsiteY5791" fmla="*/ 1381022 h 4806848"/>
              <a:gd name="connsiteX5792" fmla="*/ 4657573 w 8978749"/>
              <a:gd name="connsiteY5792" fmla="*/ 1323872 h 4806848"/>
              <a:gd name="connsiteX5793" fmla="*/ 4716311 w 8978749"/>
              <a:gd name="connsiteY5793" fmla="*/ 1323872 h 4806848"/>
              <a:gd name="connsiteX5794" fmla="*/ 4716311 w 8978749"/>
              <a:gd name="connsiteY5794" fmla="*/ 1381022 h 4806848"/>
              <a:gd name="connsiteX5795" fmla="*/ 4657573 w 8978749"/>
              <a:gd name="connsiteY5795" fmla="*/ 1381022 h 4806848"/>
              <a:gd name="connsiteX5796" fmla="*/ 4578198 w 8978749"/>
              <a:gd name="connsiteY5796" fmla="*/ 1323872 h 4806848"/>
              <a:gd name="connsiteX5797" fmla="*/ 4636936 w 8978749"/>
              <a:gd name="connsiteY5797" fmla="*/ 1323872 h 4806848"/>
              <a:gd name="connsiteX5798" fmla="*/ 4636936 w 8978749"/>
              <a:gd name="connsiteY5798" fmla="*/ 1381022 h 4806848"/>
              <a:gd name="connsiteX5799" fmla="*/ 4578198 w 8978749"/>
              <a:gd name="connsiteY5799" fmla="*/ 1381022 h 4806848"/>
              <a:gd name="connsiteX5800" fmla="*/ 4498823 w 8978749"/>
              <a:gd name="connsiteY5800" fmla="*/ 1323872 h 4806848"/>
              <a:gd name="connsiteX5801" fmla="*/ 4557561 w 8978749"/>
              <a:gd name="connsiteY5801" fmla="*/ 1323872 h 4806848"/>
              <a:gd name="connsiteX5802" fmla="*/ 4557561 w 8978749"/>
              <a:gd name="connsiteY5802" fmla="*/ 1381022 h 4806848"/>
              <a:gd name="connsiteX5803" fmla="*/ 4498823 w 8978749"/>
              <a:gd name="connsiteY5803" fmla="*/ 1381022 h 4806848"/>
              <a:gd name="connsiteX5804" fmla="*/ 4421036 w 8978749"/>
              <a:gd name="connsiteY5804" fmla="*/ 1323872 h 4806848"/>
              <a:gd name="connsiteX5805" fmla="*/ 4479774 w 8978749"/>
              <a:gd name="connsiteY5805" fmla="*/ 1323872 h 4806848"/>
              <a:gd name="connsiteX5806" fmla="*/ 4479774 w 8978749"/>
              <a:gd name="connsiteY5806" fmla="*/ 1381022 h 4806848"/>
              <a:gd name="connsiteX5807" fmla="*/ 4421036 w 8978749"/>
              <a:gd name="connsiteY5807" fmla="*/ 1381022 h 4806848"/>
              <a:gd name="connsiteX5808" fmla="*/ 4184498 w 8978749"/>
              <a:gd name="connsiteY5808" fmla="*/ 1323872 h 4806848"/>
              <a:gd name="connsiteX5809" fmla="*/ 4241648 w 8978749"/>
              <a:gd name="connsiteY5809" fmla="*/ 1323872 h 4806848"/>
              <a:gd name="connsiteX5810" fmla="*/ 4241648 w 8978749"/>
              <a:gd name="connsiteY5810" fmla="*/ 1381022 h 4806848"/>
              <a:gd name="connsiteX5811" fmla="*/ 4184498 w 8978749"/>
              <a:gd name="connsiteY5811" fmla="*/ 1381022 h 4806848"/>
              <a:gd name="connsiteX5812" fmla="*/ 4105123 w 8978749"/>
              <a:gd name="connsiteY5812" fmla="*/ 1323872 h 4806848"/>
              <a:gd name="connsiteX5813" fmla="*/ 4163861 w 8978749"/>
              <a:gd name="connsiteY5813" fmla="*/ 1323872 h 4806848"/>
              <a:gd name="connsiteX5814" fmla="*/ 4163861 w 8978749"/>
              <a:gd name="connsiteY5814" fmla="*/ 1381022 h 4806848"/>
              <a:gd name="connsiteX5815" fmla="*/ 4105123 w 8978749"/>
              <a:gd name="connsiteY5815" fmla="*/ 1381022 h 4806848"/>
              <a:gd name="connsiteX5816" fmla="*/ 4025748 w 8978749"/>
              <a:gd name="connsiteY5816" fmla="*/ 1323872 h 4806848"/>
              <a:gd name="connsiteX5817" fmla="*/ 4084486 w 8978749"/>
              <a:gd name="connsiteY5817" fmla="*/ 1323872 h 4806848"/>
              <a:gd name="connsiteX5818" fmla="*/ 4084486 w 8978749"/>
              <a:gd name="connsiteY5818" fmla="*/ 1381022 h 4806848"/>
              <a:gd name="connsiteX5819" fmla="*/ 4025748 w 8978749"/>
              <a:gd name="connsiteY5819" fmla="*/ 1381022 h 4806848"/>
              <a:gd name="connsiteX5820" fmla="*/ 2841473 w 8978749"/>
              <a:gd name="connsiteY5820" fmla="*/ 1323872 h 4806848"/>
              <a:gd name="connsiteX5821" fmla="*/ 2900211 w 8978749"/>
              <a:gd name="connsiteY5821" fmla="*/ 1323872 h 4806848"/>
              <a:gd name="connsiteX5822" fmla="*/ 2900211 w 8978749"/>
              <a:gd name="connsiteY5822" fmla="*/ 1381022 h 4806848"/>
              <a:gd name="connsiteX5823" fmla="*/ 2841473 w 8978749"/>
              <a:gd name="connsiteY5823" fmla="*/ 1381022 h 4806848"/>
              <a:gd name="connsiteX5824" fmla="*/ 2763686 w 8978749"/>
              <a:gd name="connsiteY5824" fmla="*/ 1323872 h 4806848"/>
              <a:gd name="connsiteX5825" fmla="*/ 2820836 w 8978749"/>
              <a:gd name="connsiteY5825" fmla="*/ 1323872 h 4806848"/>
              <a:gd name="connsiteX5826" fmla="*/ 2820836 w 8978749"/>
              <a:gd name="connsiteY5826" fmla="*/ 1381022 h 4806848"/>
              <a:gd name="connsiteX5827" fmla="*/ 2763686 w 8978749"/>
              <a:gd name="connsiteY5827" fmla="*/ 1381022 h 4806848"/>
              <a:gd name="connsiteX5828" fmla="*/ 2684311 w 8978749"/>
              <a:gd name="connsiteY5828" fmla="*/ 1323872 h 4806848"/>
              <a:gd name="connsiteX5829" fmla="*/ 2743049 w 8978749"/>
              <a:gd name="connsiteY5829" fmla="*/ 1323872 h 4806848"/>
              <a:gd name="connsiteX5830" fmla="*/ 2743049 w 8978749"/>
              <a:gd name="connsiteY5830" fmla="*/ 1381022 h 4806848"/>
              <a:gd name="connsiteX5831" fmla="*/ 2684311 w 8978749"/>
              <a:gd name="connsiteY5831" fmla="*/ 1381022 h 4806848"/>
              <a:gd name="connsiteX5832" fmla="*/ 2604936 w 8978749"/>
              <a:gd name="connsiteY5832" fmla="*/ 1323872 h 4806848"/>
              <a:gd name="connsiteX5833" fmla="*/ 2663674 w 8978749"/>
              <a:gd name="connsiteY5833" fmla="*/ 1323872 h 4806848"/>
              <a:gd name="connsiteX5834" fmla="*/ 2663674 w 8978749"/>
              <a:gd name="connsiteY5834" fmla="*/ 1381022 h 4806848"/>
              <a:gd name="connsiteX5835" fmla="*/ 2604936 w 8978749"/>
              <a:gd name="connsiteY5835" fmla="*/ 1381022 h 4806848"/>
              <a:gd name="connsiteX5836" fmla="*/ 2525711 w 8978749"/>
              <a:gd name="connsiteY5836" fmla="*/ 1323872 h 4806848"/>
              <a:gd name="connsiteX5837" fmla="*/ 2584447 w 8978749"/>
              <a:gd name="connsiteY5837" fmla="*/ 1323872 h 4806848"/>
              <a:gd name="connsiteX5838" fmla="*/ 2584447 w 8978749"/>
              <a:gd name="connsiteY5838" fmla="*/ 1381022 h 4806848"/>
              <a:gd name="connsiteX5839" fmla="*/ 2525711 w 8978749"/>
              <a:gd name="connsiteY5839" fmla="*/ 1381022 h 4806848"/>
              <a:gd name="connsiteX5840" fmla="*/ 2447917 w 8978749"/>
              <a:gd name="connsiteY5840" fmla="*/ 1323872 h 4806848"/>
              <a:gd name="connsiteX5841" fmla="*/ 2505076 w 8978749"/>
              <a:gd name="connsiteY5841" fmla="*/ 1323872 h 4806848"/>
              <a:gd name="connsiteX5842" fmla="*/ 2505076 w 8978749"/>
              <a:gd name="connsiteY5842" fmla="*/ 1381022 h 4806848"/>
              <a:gd name="connsiteX5843" fmla="*/ 2447917 w 8978749"/>
              <a:gd name="connsiteY5843" fmla="*/ 1381022 h 4806848"/>
              <a:gd name="connsiteX5844" fmla="*/ 2368550 w 8978749"/>
              <a:gd name="connsiteY5844" fmla="*/ 1323872 h 4806848"/>
              <a:gd name="connsiteX5845" fmla="*/ 2427282 w 8978749"/>
              <a:gd name="connsiteY5845" fmla="*/ 1323872 h 4806848"/>
              <a:gd name="connsiteX5846" fmla="*/ 2427282 w 8978749"/>
              <a:gd name="connsiteY5846" fmla="*/ 1381022 h 4806848"/>
              <a:gd name="connsiteX5847" fmla="*/ 2368550 w 8978749"/>
              <a:gd name="connsiteY5847" fmla="*/ 1381022 h 4806848"/>
              <a:gd name="connsiteX5848" fmla="*/ 2289173 w 8978749"/>
              <a:gd name="connsiteY5848" fmla="*/ 1323872 h 4806848"/>
              <a:gd name="connsiteX5849" fmla="*/ 2347913 w 8978749"/>
              <a:gd name="connsiteY5849" fmla="*/ 1323872 h 4806848"/>
              <a:gd name="connsiteX5850" fmla="*/ 2347913 w 8978749"/>
              <a:gd name="connsiteY5850" fmla="*/ 1381022 h 4806848"/>
              <a:gd name="connsiteX5851" fmla="*/ 2289173 w 8978749"/>
              <a:gd name="connsiteY5851" fmla="*/ 1381022 h 4806848"/>
              <a:gd name="connsiteX5852" fmla="*/ 2132004 w 8978749"/>
              <a:gd name="connsiteY5852" fmla="*/ 1323872 h 4806848"/>
              <a:gd name="connsiteX5853" fmla="*/ 2189160 w 8978749"/>
              <a:gd name="connsiteY5853" fmla="*/ 1323872 h 4806848"/>
              <a:gd name="connsiteX5854" fmla="*/ 2189160 w 8978749"/>
              <a:gd name="connsiteY5854" fmla="*/ 1381022 h 4806848"/>
              <a:gd name="connsiteX5855" fmla="*/ 2132004 w 8978749"/>
              <a:gd name="connsiteY5855" fmla="*/ 1381022 h 4806848"/>
              <a:gd name="connsiteX5856" fmla="*/ 2052628 w 8978749"/>
              <a:gd name="connsiteY5856" fmla="*/ 1323872 h 4806848"/>
              <a:gd name="connsiteX5857" fmla="*/ 2111370 w 8978749"/>
              <a:gd name="connsiteY5857" fmla="*/ 1323872 h 4806848"/>
              <a:gd name="connsiteX5858" fmla="*/ 2111370 w 8978749"/>
              <a:gd name="connsiteY5858" fmla="*/ 1381022 h 4806848"/>
              <a:gd name="connsiteX5859" fmla="*/ 2052628 w 8978749"/>
              <a:gd name="connsiteY5859" fmla="*/ 1381022 h 4806848"/>
              <a:gd name="connsiteX5860" fmla="*/ 1973249 w 8978749"/>
              <a:gd name="connsiteY5860" fmla="*/ 1323872 h 4806848"/>
              <a:gd name="connsiteX5861" fmla="*/ 2031995 w 8978749"/>
              <a:gd name="connsiteY5861" fmla="*/ 1323872 h 4806848"/>
              <a:gd name="connsiteX5862" fmla="*/ 2031995 w 8978749"/>
              <a:gd name="connsiteY5862" fmla="*/ 1381022 h 4806848"/>
              <a:gd name="connsiteX5863" fmla="*/ 1973249 w 8978749"/>
              <a:gd name="connsiteY5863" fmla="*/ 1381022 h 4806848"/>
              <a:gd name="connsiteX5864" fmla="*/ 1893871 w 8978749"/>
              <a:gd name="connsiteY5864" fmla="*/ 1323872 h 4806848"/>
              <a:gd name="connsiteX5865" fmla="*/ 1952607 w 8978749"/>
              <a:gd name="connsiteY5865" fmla="*/ 1323872 h 4806848"/>
              <a:gd name="connsiteX5866" fmla="*/ 1952607 w 8978749"/>
              <a:gd name="connsiteY5866" fmla="*/ 1381022 h 4806848"/>
              <a:gd name="connsiteX5867" fmla="*/ 1893871 w 8978749"/>
              <a:gd name="connsiteY5867" fmla="*/ 1381022 h 4806848"/>
              <a:gd name="connsiteX5868" fmla="*/ 1816107 w 8978749"/>
              <a:gd name="connsiteY5868" fmla="*/ 1323872 h 4806848"/>
              <a:gd name="connsiteX5869" fmla="*/ 1873240 w 8978749"/>
              <a:gd name="connsiteY5869" fmla="*/ 1323872 h 4806848"/>
              <a:gd name="connsiteX5870" fmla="*/ 1873240 w 8978749"/>
              <a:gd name="connsiteY5870" fmla="*/ 1381022 h 4806848"/>
              <a:gd name="connsiteX5871" fmla="*/ 1816107 w 8978749"/>
              <a:gd name="connsiteY5871" fmla="*/ 1381022 h 4806848"/>
              <a:gd name="connsiteX5872" fmla="*/ 1736732 w 8978749"/>
              <a:gd name="connsiteY5872" fmla="*/ 1323872 h 4806848"/>
              <a:gd name="connsiteX5873" fmla="*/ 1795478 w 8978749"/>
              <a:gd name="connsiteY5873" fmla="*/ 1323872 h 4806848"/>
              <a:gd name="connsiteX5874" fmla="*/ 1795478 w 8978749"/>
              <a:gd name="connsiteY5874" fmla="*/ 1381022 h 4806848"/>
              <a:gd name="connsiteX5875" fmla="*/ 1736732 w 8978749"/>
              <a:gd name="connsiteY5875" fmla="*/ 1381022 h 4806848"/>
              <a:gd name="connsiteX5876" fmla="*/ 1657352 w 8978749"/>
              <a:gd name="connsiteY5876" fmla="*/ 1323872 h 4806848"/>
              <a:gd name="connsiteX5877" fmla="*/ 1716093 w 8978749"/>
              <a:gd name="connsiteY5877" fmla="*/ 1323872 h 4806848"/>
              <a:gd name="connsiteX5878" fmla="*/ 1716093 w 8978749"/>
              <a:gd name="connsiteY5878" fmla="*/ 1381022 h 4806848"/>
              <a:gd name="connsiteX5879" fmla="*/ 1657352 w 8978749"/>
              <a:gd name="connsiteY5879" fmla="*/ 1381022 h 4806848"/>
              <a:gd name="connsiteX5880" fmla="*/ 1577963 w 8978749"/>
              <a:gd name="connsiteY5880" fmla="*/ 1323872 h 4806848"/>
              <a:gd name="connsiteX5881" fmla="*/ 1636714 w 8978749"/>
              <a:gd name="connsiteY5881" fmla="*/ 1323872 h 4806848"/>
              <a:gd name="connsiteX5882" fmla="*/ 1636714 w 8978749"/>
              <a:gd name="connsiteY5882" fmla="*/ 1381022 h 4806848"/>
              <a:gd name="connsiteX5883" fmla="*/ 1577963 w 8978749"/>
              <a:gd name="connsiteY5883" fmla="*/ 1381022 h 4806848"/>
              <a:gd name="connsiteX5884" fmla="*/ 1500174 w 8978749"/>
              <a:gd name="connsiteY5884" fmla="*/ 1323872 h 4806848"/>
              <a:gd name="connsiteX5885" fmla="*/ 1558915 w 8978749"/>
              <a:gd name="connsiteY5885" fmla="*/ 1323872 h 4806848"/>
              <a:gd name="connsiteX5886" fmla="*/ 1558915 w 8978749"/>
              <a:gd name="connsiteY5886" fmla="*/ 1381022 h 4806848"/>
              <a:gd name="connsiteX5887" fmla="*/ 1500174 w 8978749"/>
              <a:gd name="connsiteY5887" fmla="*/ 1381022 h 4806848"/>
              <a:gd name="connsiteX5888" fmla="*/ 1420796 w 8978749"/>
              <a:gd name="connsiteY5888" fmla="*/ 1323872 h 4806848"/>
              <a:gd name="connsiteX5889" fmla="*/ 1479533 w 8978749"/>
              <a:gd name="connsiteY5889" fmla="*/ 1323872 h 4806848"/>
              <a:gd name="connsiteX5890" fmla="*/ 1479533 w 8978749"/>
              <a:gd name="connsiteY5890" fmla="*/ 1381022 h 4806848"/>
              <a:gd name="connsiteX5891" fmla="*/ 1420796 w 8978749"/>
              <a:gd name="connsiteY5891" fmla="*/ 1381022 h 4806848"/>
              <a:gd name="connsiteX5892" fmla="*/ 1341450 w 8978749"/>
              <a:gd name="connsiteY5892" fmla="*/ 1323872 h 4806848"/>
              <a:gd name="connsiteX5893" fmla="*/ 1400173 w 8978749"/>
              <a:gd name="connsiteY5893" fmla="*/ 1323872 h 4806848"/>
              <a:gd name="connsiteX5894" fmla="*/ 1400173 w 8978749"/>
              <a:gd name="connsiteY5894" fmla="*/ 1381022 h 4806848"/>
              <a:gd name="connsiteX5895" fmla="*/ 1341450 w 8978749"/>
              <a:gd name="connsiteY5895" fmla="*/ 1381022 h 4806848"/>
              <a:gd name="connsiteX5896" fmla="*/ 1263640 w 8978749"/>
              <a:gd name="connsiteY5896" fmla="*/ 1323872 h 4806848"/>
              <a:gd name="connsiteX5897" fmla="*/ 1320804 w 8978749"/>
              <a:gd name="connsiteY5897" fmla="*/ 1323872 h 4806848"/>
              <a:gd name="connsiteX5898" fmla="*/ 1320804 w 8978749"/>
              <a:gd name="connsiteY5898" fmla="*/ 1381022 h 4806848"/>
              <a:gd name="connsiteX5899" fmla="*/ 1263640 w 8978749"/>
              <a:gd name="connsiteY5899" fmla="*/ 1381022 h 4806848"/>
              <a:gd name="connsiteX5900" fmla="*/ 1184271 w 8978749"/>
              <a:gd name="connsiteY5900" fmla="*/ 1323872 h 4806848"/>
              <a:gd name="connsiteX5901" fmla="*/ 1243000 w 8978749"/>
              <a:gd name="connsiteY5901" fmla="*/ 1323872 h 4806848"/>
              <a:gd name="connsiteX5902" fmla="*/ 1243000 w 8978749"/>
              <a:gd name="connsiteY5902" fmla="*/ 1381022 h 4806848"/>
              <a:gd name="connsiteX5903" fmla="*/ 1184271 w 8978749"/>
              <a:gd name="connsiteY5903" fmla="*/ 1381022 h 4806848"/>
              <a:gd name="connsiteX5904" fmla="*/ 1104898 w 8978749"/>
              <a:gd name="connsiteY5904" fmla="*/ 1323872 h 4806848"/>
              <a:gd name="connsiteX5905" fmla="*/ 1163631 w 8978749"/>
              <a:gd name="connsiteY5905" fmla="*/ 1323872 h 4806848"/>
              <a:gd name="connsiteX5906" fmla="*/ 1163631 w 8978749"/>
              <a:gd name="connsiteY5906" fmla="*/ 1381022 h 4806848"/>
              <a:gd name="connsiteX5907" fmla="*/ 1104898 w 8978749"/>
              <a:gd name="connsiteY5907" fmla="*/ 1381022 h 4806848"/>
              <a:gd name="connsiteX5908" fmla="*/ 947723 w 8978749"/>
              <a:gd name="connsiteY5908" fmla="*/ 1323872 h 4806848"/>
              <a:gd name="connsiteX5909" fmla="*/ 1004872 w 8978749"/>
              <a:gd name="connsiteY5909" fmla="*/ 1323872 h 4806848"/>
              <a:gd name="connsiteX5910" fmla="*/ 1004872 w 8978749"/>
              <a:gd name="connsiteY5910" fmla="*/ 1381022 h 4806848"/>
              <a:gd name="connsiteX5911" fmla="*/ 947723 w 8978749"/>
              <a:gd name="connsiteY5911" fmla="*/ 1381022 h 4806848"/>
              <a:gd name="connsiteX5912" fmla="*/ 79357 w 8978749"/>
              <a:gd name="connsiteY5912" fmla="*/ 1323872 h 4806848"/>
              <a:gd name="connsiteX5913" fmla="*/ 136502 w 8978749"/>
              <a:gd name="connsiteY5913" fmla="*/ 1323872 h 4806848"/>
              <a:gd name="connsiteX5914" fmla="*/ 136502 w 8978749"/>
              <a:gd name="connsiteY5914" fmla="*/ 1381022 h 4806848"/>
              <a:gd name="connsiteX5915" fmla="*/ 79357 w 8978749"/>
              <a:gd name="connsiteY5915" fmla="*/ 1381022 h 4806848"/>
              <a:gd name="connsiteX5916" fmla="*/ 8446936 w 8978749"/>
              <a:gd name="connsiteY5916" fmla="*/ 1246085 h 4806848"/>
              <a:gd name="connsiteX5917" fmla="*/ 8505674 w 8978749"/>
              <a:gd name="connsiteY5917" fmla="*/ 1246085 h 4806848"/>
              <a:gd name="connsiteX5918" fmla="*/ 8505674 w 8978749"/>
              <a:gd name="connsiteY5918" fmla="*/ 1303235 h 4806848"/>
              <a:gd name="connsiteX5919" fmla="*/ 8446936 w 8978749"/>
              <a:gd name="connsiteY5919" fmla="*/ 1303235 h 4806848"/>
              <a:gd name="connsiteX5920" fmla="*/ 8367561 w 8978749"/>
              <a:gd name="connsiteY5920" fmla="*/ 1246085 h 4806848"/>
              <a:gd name="connsiteX5921" fmla="*/ 8426299 w 8978749"/>
              <a:gd name="connsiteY5921" fmla="*/ 1246085 h 4806848"/>
              <a:gd name="connsiteX5922" fmla="*/ 8426299 w 8978749"/>
              <a:gd name="connsiteY5922" fmla="*/ 1303235 h 4806848"/>
              <a:gd name="connsiteX5923" fmla="*/ 8367561 w 8978749"/>
              <a:gd name="connsiteY5923" fmla="*/ 1303235 h 4806848"/>
              <a:gd name="connsiteX5924" fmla="*/ 8210399 w 8978749"/>
              <a:gd name="connsiteY5924" fmla="*/ 1246085 h 4806848"/>
              <a:gd name="connsiteX5925" fmla="*/ 8267549 w 8978749"/>
              <a:gd name="connsiteY5925" fmla="*/ 1246085 h 4806848"/>
              <a:gd name="connsiteX5926" fmla="*/ 8267549 w 8978749"/>
              <a:gd name="connsiteY5926" fmla="*/ 1303235 h 4806848"/>
              <a:gd name="connsiteX5927" fmla="*/ 8210399 w 8978749"/>
              <a:gd name="connsiteY5927" fmla="*/ 1303235 h 4806848"/>
              <a:gd name="connsiteX5928" fmla="*/ 8131024 w 8978749"/>
              <a:gd name="connsiteY5928" fmla="*/ 1246085 h 4806848"/>
              <a:gd name="connsiteX5929" fmla="*/ 8189762 w 8978749"/>
              <a:gd name="connsiteY5929" fmla="*/ 1246085 h 4806848"/>
              <a:gd name="connsiteX5930" fmla="*/ 8189762 w 8978749"/>
              <a:gd name="connsiteY5930" fmla="*/ 1303235 h 4806848"/>
              <a:gd name="connsiteX5931" fmla="*/ 8131024 w 8978749"/>
              <a:gd name="connsiteY5931" fmla="*/ 1303235 h 4806848"/>
              <a:gd name="connsiteX5932" fmla="*/ 7578574 w 8978749"/>
              <a:gd name="connsiteY5932" fmla="*/ 1246085 h 4806848"/>
              <a:gd name="connsiteX5933" fmla="*/ 7637312 w 8978749"/>
              <a:gd name="connsiteY5933" fmla="*/ 1246085 h 4806848"/>
              <a:gd name="connsiteX5934" fmla="*/ 7637312 w 8978749"/>
              <a:gd name="connsiteY5934" fmla="*/ 1303235 h 4806848"/>
              <a:gd name="connsiteX5935" fmla="*/ 7578574 w 8978749"/>
              <a:gd name="connsiteY5935" fmla="*/ 1303235 h 4806848"/>
              <a:gd name="connsiteX5936" fmla="*/ 7499199 w 8978749"/>
              <a:gd name="connsiteY5936" fmla="*/ 1246085 h 4806848"/>
              <a:gd name="connsiteX5937" fmla="*/ 7557937 w 8978749"/>
              <a:gd name="connsiteY5937" fmla="*/ 1246085 h 4806848"/>
              <a:gd name="connsiteX5938" fmla="*/ 7557937 w 8978749"/>
              <a:gd name="connsiteY5938" fmla="*/ 1303235 h 4806848"/>
              <a:gd name="connsiteX5939" fmla="*/ 7499199 w 8978749"/>
              <a:gd name="connsiteY5939" fmla="*/ 1303235 h 4806848"/>
              <a:gd name="connsiteX5940" fmla="*/ 7419824 w 8978749"/>
              <a:gd name="connsiteY5940" fmla="*/ 1246085 h 4806848"/>
              <a:gd name="connsiteX5941" fmla="*/ 7478562 w 8978749"/>
              <a:gd name="connsiteY5941" fmla="*/ 1246085 h 4806848"/>
              <a:gd name="connsiteX5942" fmla="*/ 7478562 w 8978749"/>
              <a:gd name="connsiteY5942" fmla="*/ 1303235 h 4806848"/>
              <a:gd name="connsiteX5943" fmla="*/ 7419824 w 8978749"/>
              <a:gd name="connsiteY5943" fmla="*/ 1303235 h 4806848"/>
              <a:gd name="connsiteX5944" fmla="*/ 7342036 w 8978749"/>
              <a:gd name="connsiteY5944" fmla="*/ 1246085 h 4806848"/>
              <a:gd name="connsiteX5945" fmla="*/ 7400774 w 8978749"/>
              <a:gd name="connsiteY5945" fmla="*/ 1246085 h 4806848"/>
              <a:gd name="connsiteX5946" fmla="*/ 7400774 w 8978749"/>
              <a:gd name="connsiteY5946" fmla="*/ 1303235 h 4806848"/>
              <a:gd name="connsiteX5947" fmla="*/ 7342036 w 8978749"/>
              <a:gd name="connsiteY5947" fmla="*/ 1303235 h 4806848"/>
              <a:gd name="connsiteX5948" fmla="*/ 7262661 w 8978749"/>
              <a:gd name="connsiteY5948" fmla="*/ 1246085 h 4806848"/>
              <a:gd name="connsiteX5949" fmla="*/ 7321399 w 8978749"/>
              <a:gd name="connsiteY5949" fmla="*/ 1246085 h 4806848"/>
              <a:gd name="connsiteX5950" fmla="*/ 7321399 w 8978749"/>
              <a:gd name="connsiteY5950" fmla="*/ 1303235 h 4806848"/>
              <a:gd name="connsiteX5951" fmla="*/ 7262661 w 8978749"/>
              <a:gd name="connsiteY5951" fmla="*/ 1303235 h 4806848"/>
              <a:gd name="connsiteX5952" fmla="*/ 7183286 w 8978749"/>
              <a:gd name="connsiteY5952" fmla="*/ 1246085 h 4806848"/>
              <a:gd name="connsiteX5953" fmla="*/ 7242024 w 8978749"/>
              <a:gd name="connsiteY5953" fmla="*/ 1246085 h 4806848"/>
              <a:gd name="connsiteX5954" fmla="*/ 7242024 w 8978749"/>
              <a:gd name="connsiteY5954" fmla="*/ 1303235 h 4806848"/>
              <a:gd name="connsiteX5955" fmla="*/ 7183286 w 8978749"/>
              <a:gd name="connsiteY5955" fmla="*/ 1303235 h 4806848"/>
              <a:gd name="connsiteX5956" fmla="*/ 7105499 w 8978749"/>
              <a:gd name="connsiteY5956" fmla="*/ 1246085 h 4806848"/>
              <a:gd name="connsiteX5957" fmla="*/ 7162649 w 8978749"/>
              <a:gd name="connsiteY5957" fmla="*/ 1246085 h 4806848"/>
              <a:gd name="connsiteX5958" fmla="*/ 7162649 w 8978749"/>
              <a:gd name="connsiteY5958" fmla="*/ 1303235 h 4806848"/>
              <a:gd name="connsiteX5959" fmla="*/ 7105499 w 8978749"/>
              <a:gd name="connsiteY5959" fmla="*/ 1303235 h 4806848"/>
              <a:gd name="connsiteX5960" fmla="*/ 7026124 w 8978749"/>
              <a:gd name="connsiteY5960" fmla="*/ 1246085 h 4806848"/>
              <a:gd name="connsiteX5961" fmla="*/ 7084862 w 8978749"/>
              <a:gd name="connsiteY5961" fmla="*/ 1246085 h 4806848"/>
              <a:gd name="connsiteX5962" fmla="*/ 7084862 w 8978749"/>
              <a:gd name="connsiteY5962" fmla="*/ 1303235 h 4806848"/>
              <a:gd name="connsiteX5963" fmla="*/ 7026124 w 8978749"/>
              <a:gd name="connsiteY5963" fmla="*/ 1303235 h 4806848"/>
              <a:gd name="connsiteX5964" fmla="*/ 6946749 w 8978749"/>
              <a:gd name="connsiteY5964" fmla="*/ 1246085 h 4806848"/>
              <a:gd name="connsiteX5965" fmla="*/ 7005487 w 8978749"/>
              <a:gd name="connsiteY5965" fmla="*/ 1246085 h 4806848"/>
              <a:gd name="connsiteX5966" fmla="*/ 7005487 w 8978749"/>
              <a:gd name="connsiteY5966" fmla="*/ 1303235 h 4806848"/>
              <a:gd name="connsiteX5967" fmla="*/ 6946749 w 8978749"/>
              <a:gd name="connsiteY5967" fmla="*/ 1303235 h 4806848"/>
              <a:gd name="connsiteX5968" fmla="*/ 6867374 w 8978749"/>
              <a:gd name="connsiteY5968" fmla="*/ 1246085 h 4806848"/>
              <a:gd name="connsiteX5969" fmla="*/ 6926112 w 8978749"/>
              <a:gd name="connsiteY5969" fmla="*/ 1246085 h 4806848"/>
              <a:gd name="connsiteX5970" fmla="*/ 6926112 w 8978749"/>
              <a:gd name="connsiteY5970" fmla="*/ 1303235 h 4806848"/>
              <a:gd name="connsiteX5971" fmla="*/ 6867374 w 8978749"/>
              <a:gd name="connsiteY5971" fmla="*/ 1303235 h 4806848"/>
              <a:gd name="connsiteX5972" fmla="*/ 6789586 w 8978749"/>
              <a:gd name="connsiteY5972" fmla="*/ 1246085 h 4806848"/>
              <a:gd name="connsiteX5973" fmla="*/ 6846736 w 8978749"/>
              <a:gd name="connsiteY5973" fmla="*/ 1246085 h 4806848"/>
              <a:gd name="connsiteX5974" fmla="*/ 6846736 w 8978749"/>
              <a:gd name="connsiteY5974" fmla="*/ 1303235 h 4806848"/>
              <a:gd name="connsiteX5975" fmla="*/ 6789586 w 8978749"/>
              <a:gd name="connsiteY5975" fmla="*/ 1303235 h 4806848"/>
              <a:gd name="connsiteX5976" fmla="*/ 6710211 w 8978749"/>
              <a:gd name="connsiteY5976" fmla="*/ 1246085 h 4806848"/>
              <a:gd name="connsiteX5977" fmla="*/ 6768949 w 8978749"/>
              <a:gd name="connsiteY5977" fmla="*/ 1246085 h 4806848"/>
              <a:gd name="connsiteX5978" fmla="*/ 6768949 w 8978749"/>
              <a:gd name="connsiteY5978" fmla="*/ 1303235 h 4806848"/>
              <a:gd name="connsiteX5979" fmla="*/ 6710211 w 8978749"/>
              <a:gd name="connsiteY5979" fmla="*/ 1303235 h 4806848"/>
              <a:gd name="connsiteX5980" fmla="*/ 6630836 w 8978749"/>
              <a:gd name="connsiteY5980" fmla="*/ 1246085 h 4806848"/>
              <a:gd name="connsiteX5981" fmla="*/ 6689574 w 8978749"/>
              <a:gd name="connsiteY5981" fmla="*/ 1246085 h 4806848"/>
              <a:gd name="connsiteX5982" fmla="*/ 6689574 w 8978749"/>
              <a:gd name="connsiteY5982" fmla="*/ 1303235 h 4806848"/>
              <a:gd name="connsiteX5983" fmla="*/ 6630836 w 8978749"/>
              <a:gd name="connsiteY5983" fmla="*/ 1303235 h 4806848"/>
              <a:gd name="connsiteX5984" fmla="*/ 6551461 w 8978749"/>
              <a:gd name="connsiteY5984" fmla="*/ 1246085 h 4806848"/>
              <a:gd name="connsiteX5985" fmla="*/ 6610199 w 8978749"/>
              <a:gd name="connsiteY5985" fmla="*/ 1246085 h 4806848"/>
              <a:gd name="connsiteX5986" fmla="*/ 6610199 w 8978749"/>
              <a:gd name="connsiteY5986" fmla="*/ 1303235 h 4806848"/>
              <a:gd name="connsiteX5987" fmla="*/ 6551461 w 8978749"/>
              <a:gd name="connsiteY5987" fmla="*/ 1303235 h 4806848"/>
              <a:gd name="connsiteX5988" fmla="*/ 6473674 w 8978749"/>
              <a:gd name="connsiteY5988" fmla="*/ 1246085 h 4806848"/>
              <a:gd name="connsiteX5989" fmla="*/ 6530824 w 8978749"/>
              <a:gd name="connsiteY5989" fmla="*/ 1246085 h 4806848"/>
              <a:gd name="connsiteX5990" fmla="*/ 6530824 w 8978749"/>
              <a:gd name="connsiteY5990" fmla="*/ 1303235 h 4806848"/>
              <a:gd name="connsiteX5991" fmla="*/ 6473674 w 8978749"/>
              <a:gd name="connsiteY5991" fmla="*/ 1303235 h 4806848"/>
              <a:gd name="connsiteX5992" fmla="*/ 6394299 w 8978749"/>
              <a:gd name="connsiteY5992" fmla="*/ 1246085 h 4806848"/>
              <a:gd name="connsiteX5993" fmla="*/ 6453037 w 8978749"/>
              <a:gd name="connsiteY5993" fmla="*/ 1246085 h 4806848"/>
              <a:gd name="connsiteX5994" fmla="*/ 6453037 w 8978749"/>
              <a:gd name="connsiteY5994" fmla="*/ 1303235 h 4806848"/>
              <a:gd name="connsiteX5995" fmla="*/ 6394299 w 8978749"/>
              <a:gd name="connsiteY5995" fmla="*/ 1303235 h 4806848"/>
              <a:gd name="connsiteX5996" fmla="*/ 6314924 w 8978749"/>
              <a:gd name="connsiteY5996" fmla="*/ 1246085 h 4806848"/>
              <a:gd name="connsiteX5997" fmla="*/ 6373662 w 8978749"/>
              <a:gd name="connsiteY5997" fmla="*/ 1246085 h 4806848"/>
              <a:gd name="connsiteX5998" fmla="*/ 6373662 w 8978749"/>
              <a:gd name="connsiteY5998" fmla="*/ 1303235 h 4806848"/>
              <a:gd name="connsiteX5999" fmla="*/ 6314924 w 8978749"/>
              <a:gd name="connsiteY5999" fmla="*/ 1303235 h 4806848"/>
              <a:gd name="connsiteX6000" fmla="*/ 6235549 w 8978749"/>
              <a:gd name="connsiteY6000" fmla="*/ 1246085 h 4806848"/>
              <a:gd name="connsiteX6001" fmla="*/ 6294287 w 8978749"/>
              <a:gd name="connsiteY6001" fmla="*/ 1246085 h 4806848"/>
              <a:gd name="connsiteX6002" fmla="*/ 6294287 w 8978749"/>
              <a:gd name="connsiteY6002" fmla="*/ 1303235 h 4806848"/>
              <a:gd name="connsiteX6003" fmla="*/ 6235549 w 8978749"/>
              <a:gd name="connsiteY6003" fmla="*/ 1303235 h 4806848"/>
              <a:gd name="connsiteX6004" fmla="*/ 6157761 w 8978749"/>
              <a:gd name="connsiteY6004" fmla="*/ 1246085 h 4806848"/>
              <a:gd name="connsiteX6005" fmla="*/ 6214911 w 8978749"/>
              <a:gd name="connsiteY6005" fmla="*/ 1246085 h 4806848"/>
              <a:gd name="connsiteX6006" fmla="*/ 6214911 w 8978749"/>
              <a:gd name="connsiteY6006" fmla="*/ 1303235 h 4806848"/>
              <a:gd name="connsiteX6007" fmla="*/ 6157761 w 8978749"/>
              <a:gd name="connsiteY6007" fmla="*/ 1303235 h 4806848"/>
              <a:gd name="connsiteX6008" fmla="*/ 6078386 w 8978749"/>
              <a:gd name="connsiteY6008" fmla="*/ 1246085 h 4806848"/>
              <a:gd name="connsiteX6009" fmla="*/ 6137124 w 8978749"/>
              <a:gd name="connsiteY6009" fmla="*/ 1246085 h 4806848"/>
              <a:gd name="connsiteX6010" fmla="*/ 6137124 w 8978749"/>
              <a:gd name="connsiteY6010" fmla="*/ 1303235 h 4806848"/>
              <a:gd name="connsiteX6011" fmla="*/ 6078386 w 8978749"/>
              <a:gd name="connsiteY6011" fmla="*/ 1303235 h 4806848"/>
              <a:gd name="connsiteX6012" fmla="*/ 5999011 w 8978749"/>
              <a:gd name="connsiteY6012" fmla="*/ 1246085 h 4806848"/>
              <a:gd name="connsiteX6013" fmla="*/ 6057749 w 8978749"/>
              <a:gd name="connsiteY6013" fmla="*/ 1246085 h 4806848"/>
              <a:gd name="connsiteX6014" fmla="*/ 6057749 w 8978749"/>
              <a:gd name="connsiteY6014" fmla="*/ 1303235 h 4806848"/>
              <a:gd name="connsiteX6015" fmla="*/ 5999011 w 8978749"/>
              <a:gd name="connsiteY6015" fmla="*/ 1303235 h 4806848"/>
              <a:gd name="connsiteX6016" fmla="*/ 5921224 w 8978749"/>
              <a:gd name="connsiteY6016" fmla="*/ 1246085 h 4806848"/>
              <a:gd name="connsiteX6017" fmla="*/ 5978374 w 8978749"/>
              <a:gd name="connsiteY6017" fmla="*/ 1246085 h 4806848"/>
              <a:gd name="connsiteX6018" fmla="*/ 5978374 w 8978749"/>
              <a:gd name="connsiteY6018" fmla="*/ 1303235 h 4806848"/>
              <a:gd name="connsiteX6019" fmla="*/ 5921224 w 8978749"/>
              <a:gd name="connsiteY6019" fmla="*/ 1303235 h 4806848"/>
              <a:gd name="connsiteX6020" fmla="*/ 5841849 w 8978749"/>
              <a:gd name="connsiteY6020" fmla="*/ 1246085 h 4806848"/>
              <a:gd name="connsiteX6021" fmla="*/ 5900587 w 8978749"/>
              <a:gd name="connsiteY6021" fmla="*/ 1246085 h 4806848"/>
              <a:gd name="connsiteX6022" fmla="*/ 5900587 w 8978749"/>
              <a:gd name="connsiteY6022" fmla="*/ 1303235 h 4806848"/>
              <a:gd name="connsiteX6023" fmla="*/ 5841849 w 8978749"/>
              <a:gd name="connsiteY6023" fmla="*/ 1303235 h 4806848"/>
              <a:gd name="connsiteX6024" fmla="*/ 5762474 w 8978749"/>
              <a:gd name="connsiteY6024" fmla="*/ 1246085 h 4806848"/>
              <a:gd name="connsiteX6025" fmla="*/ 5821212 w 8978749"/>
              <a:gd name="connsiteY6025" fmla="*/ 1246085 h 4806848"/>
              <a:gd name="connsiteX6026" fmla="*/ 5821212 w 8978749"/>
              <a:gd name="connsiteY6026" fmla="*/ 1303235 h 4806848"/>
              <a:gd name="connsiteX6027" fmla="*/ 5762474 w 8978749"/>
              <a:gd name="connsiteY6027" fmla="*/ 1303235 h 4806848"/>
              <a:gd name="connsiteX6028" fmla="*/ 5684686 w 8978749"/>
              <a:gd name="connsiteY6028" fmla="*/ 1246085 h 4806848"/>
              <a:gd name="connsiteX6029" fmla="*/ 5741836 w 8978749"/>
              <a:gd name="connsiteY6029" fmla="*/ 1246085 h 4806848"/>
              <a:gd name="connsiteX6030" fmla="*/ 5741836 w 8978749"/>
              <a:gd name="connsiteY6030" fmla="*/ 1303235 h 4806848"/>
              <a:gd name="connsiteX6031" fmla="*/ 5684686 w 8978749"/>
              <a:gd name="connsiteY6031" fmla="*/ 1303235 h 4806848"/>
              <a:gd name="connsiteX6032" fmla="*/ 5605311 w 8978749"/>
              <a:gd name="connsiteY6032" fmla="*/ 1246085 h 4806848"/>
              <a:gd name="connsiteX6033" fmla="*/ 5664049 w 8978749"/>
              <a:gd name="connsiteY6033" fmla="*/ 1246085 h 4806848"/>
              <a:gd name="connsiteX6034" fmla="*/ 5664049 w 8978749"/>
              <a:gd name="connsiteY6034" fmla="*/ 1303235 h 4806848"/>
              <a:gd name="connsiteX6035" fmla="*/ 5605311 w 8978749"/>
              <a:gd name="connsiteY6035" fmla="*/ 1303235 h 4806848"/>
              <a:gd name="connsiteX6036" fmla="*/ 5525936 w 8978749"/>
              <a:gd name="connsiteY6036" fmla="*/ 1246085 h 4806848"/>
              <a:gd name="connsiteX6037" fmla="*/ 5584674 w 8978749"/>
              <a:gd name="connsiteY6037" fmla="*/ 1246085 h 4806848"/>
              <a:gd name="connsiteX6038" fmla="*/ 5584674 w 8978749"/>
              <a:gd name="connsiteY6038" fmla="*/ 1303235 h 4806848"/>
              <a:gd name="connsiteX6039" fmla="*/ 5525936 w 8978749"/>
              <a:gd name="connsiteY6039" fmla="*/ 1303235 h 4806848"/>
              <a:gd name="connsiteX6040" fmla="*/ 5446561 w 8978749"/>
              <a:gd name="connsiteY6040" fmla="*/ 1246085 h 4806848"/>
              <a:gd name="connsiteX6041" fmla="*/ 5505299 w 8978749"/>
              <a:gd name="connsiteY6041" fmla="*/ 1246085 h 4806848"/>
              <a:gd name="connsiteX6042" fmla="*/ 5505299 w 8978749"/>
              <a:gd name="connsiteY6042" fmla="*/ 1303235 h 4806848"/>
              <a:gd name="connsiteX6043" fmla="*/ 5446561 w 8978749"/>
              <a:gd name="connsiteY6043" fmla="*/ 1303235 h 4806848"/>
              <a:gd name="connsiteX6044" fmla="*/ 5368774 w 8978749"/>
              <a:gd name="connsiteY6044" fmla="*/ 1246085 h 4806848"/>
              <a:gd name="connsiteX6045" fmla="*/ 5425924 w 8978749"/>
              <a:gd name="connsiteY6045" fmla="*/ 1246085 h 4806848"/>
              <a:gd name="connsiteX6046" fmla="*/ 5425924 w 8978749"/>
              <a:gd name="connsiteY6046" fmla="*/ 1303235 h 4806848"/>
              <a:gd name="connsiteX6047" fmla="*/ 5368774 w 8978749"/>
              <a:gd name="connsiteY6047" fmla="*/ 1303235 h 4806848"/>
              <a:gd name="connsiteX6048" fmla="*/ 5289399 w 8978749"/>
              <a:gd name="connsiteY6048" fmla="*/ 1246085 h 4806848"/>
              <a:gd name="connsiteX6049" fmla="*/ 5348137 w 8978749"/>
              <a:gd name="connsiteY6049" fmla="*/ 1246085 h 4806848"/>
              <a:gd name="connsiteX6050" fmla="*/ 5348137 w 8978749"/>
              <a:gd name="connsiteY6050" fmla="*/ 1303235 h 4806848"/>
              <a:gd name="connsiteX6051" fmla="*/ 5289399 w 8978749"/>
              <a:gd name="connsiteY6051" fmla="*/ 1303235 h 4806848"/>
              <a:gd name="connsiteX6052" fmla="*/ 5210024 w 8978749"/>
              <a:gd name="connsiteY6052" fmla="*/ 1246085 h 4806848"/>
              <a:gd name="connsiteX6053" fmla="*/ 5268762 w 8978749"/>
              <a:gd name="connsiteY6053" fmla="*/ 1246085 h 4806848"/>
              <a:gd name="connsiteX6054" fmla="*/ 5268762 w 8978749"/>
              <a:gd name="connsiteY6054" fmla="*/ 1303235 h 4806848"/>
              <a:gd name="connsiteX6055" fmla="*/ 5210024 w 8978749"/>
              <a:gd name="connsiteY6055" fmla="*/ 1303235 h 4806848"/>
              <a:gd name="connsiteX6056" fmla="*/ 5130649 w 8978749"/>
              <a:gd name="connsiteY6056" fmla="*/ 1246085 h 4806848"/>
              <a:gd name="connsiteX6057" fmla="*/ 5189387 w 8978749"/>
              <a:gd name="connsiteY6057" fmla="*/ 1246085 h 4806848"/>
              <a:gd name="connsiteX6058" fmla="*/ 5189387 w 8978749"/>
              <a:gd name="connsiteY6058" fmla="*/ 1303235 h 4806848"/>
              <a:gd name="connsiteX6059" fmla="*/ 5130649 w 8978749"/>
              <a:gd name="connsiteY6059" fmla="*/ 1303235 h 4806848"/>
              <a:gd name="connsiteX6060" fmla="*/ 5052861 w 8978749"/>
              <a:gd name="connsiteY6060" fmla="*/ 1246085 h 4806848"/>
              <a:gd name="connsiteX6061" fmla="*/ 5110011 w 8978749"/>
              <a:gd name="connsiteY6061" fmla="*/ 1246085 h 4806848"/>
              <a:gd name="connsiteX6062" fmla="*/ 5110011 w 8978749"/>
              <a:gd name="connsiteY6062" fmla="*/ 1303235 h 4806848"/>
              <a:gd name="connsiteX6063" fmla="*/ 5052861 w 8978749"/>
              <a:gd name="connsiteY6063" fmla="*/ 1303235 h 4806848"/>
              <a:gd name="connsiteX6064" fmla="*/ 4973486 w 8978749"/>
              <a:gd name="connsiteY6064" fmla="*/ 1246085 h 4806848"/>
              <a:gd name="connsiteX6065" fmla="*/ 5030636 w 8978749"/>
              <a:gd name="connsiteY6065" fmla="*/ 1246085 h 4806848"/>
              <a:gd name="connsiteX6066" fmla="*/ 5030636 w 8978749"/>
              <a:gd name="connsiteY6066" fmla="*/ 1303235 h 4806848"/>
              <a:gd name="connsiteX6067" fmla="*/ 4973486 w 8978749"/>
              <a:gd name="connsiteY6067" fmla="*/ 1303235 h 4806848"/>
              <a:gd name="connsiteX6068" fmla="*/ 4894111 w 8978749"/>
              <a:gd name="connsiteY6068" fmla="*/ 1246085 h 4806848"/>
              <a:gd name="connsiteX6069" fmla="*/ 4952849 w 8978749"/>
              <a:gd name="connsiteY6069" fmla="*/ 1246085 h 4806848"/>
              <a:gd name="connsiteX6070" fmla="*/ 4952849 w 8978749"/>
              <a:gd name="connsiteY6070" fmla="*/ 1303235 h 4806848"/>
              <a:gd name="connsiteX6071" fmla="*/ 4894111 w 8978749"/>
              <a:gd name="connsiteY6071" fmla="*/ 1303235 h 4806848"/>
              <a:gd name="connsiteX6072" fmla="*/ 4814736 w 8978749"/>
              <a:gd name="connsiteY6072" fmla="*/ 1246085 h 4806848"/>
              <a:gd name="connsiteX6073" fmla="*/ 4873474 w 8978749"/>
              <a:gd name="connsiteY6073" fmla="*/ 1246085 h 4806848"/>
              <a:gd name="connsiteX6074" fmla="*/ 4873474 w 8978749"/>
              <a:gd name="connsiteY6074" fmla="*/ 1303235 h 4806848"/>
              <a:gd name="connsiteX6075" fmla="*/ 4814736 w 8978749"/>
              <a:gd name="connsiteY6075" fmla="*/ 1303235 h 4806848"/>
              <a:gd name="connsiteX6076" fmla="*/ 4736948 w 8978749"/>
              <a:gd name="connsiteY6076" fmla="*/ 1246085 h 4806848"/>
              <a:gd name="connsiteX6077" fmla="*/ 4794098 w 8978749"/>
              <a:gd name="connsiteY6077" fmla="*/ 1246085 h 4806848"/>
              <a:gd name="connsiteX6078" fmla="*/ 4794098 w 8978749"/>
              <a:gd name="connsiteY6078" fmla="*/ 1303235 h 4806848"/>
              <a:gd name="connsiteX6079" fmla="*/ 4736948 w 8978749"/>
              <a:gd name="connsiteY6079" fmla="*/ 1303235 h 4806848"/>
              <a:gd name="connsiteX6080" fmla="*/ 4184498 w 8978749"/>
              <a:gd name="connsiteY6080" fmla="*/ 1246085 h 4806848"/>
              <a:gd name="connsiteX6081" fmla="*/ 4241648 w 8978749"/>
              <a:gd name="connsiteY6081" fmla="*/ 1246085 h 4806848"/>
              <a:gd name="connsiteX6082" fmla="*/ 4241648 w 8978749"/>
              <a:gd name="connsiteY6082" fmla="*/ 1303235 h 4806848"/>
              <a:gd name="connsiteX6083" fmla="*/ 4184498 w 8978749"/>
              <a:gd name="connsiteY6083" fmla="*/ 1303235 h 4806848"/>
              <a:gd name="connsiteX6084" fmla="*/ 4105123 w 8978749"/>
              <a:gd name="connsiteY6084" fmla="*/ 1246085 h 4806848"/>
              <a:gd name="connsiteX6085" fmla="*/ 4163861 w 8978749"/>
              <a:gd name="connsiteY6085" fmla="*/ 1246085 h 4806848"/>
              <a:gd name="connsiteX6086" fmla="*/ 4163861 w 8978749"/>
              <a:gd name="connsiteY6086" fmla="*/ 1303235 h 4806848"/>
              <a:gd name="connsiteX6087" fmla="*/ 4105123 w 8978749"/>
              <a:gd name="connsiteY6087" fmla="*/ 1303235 h 4806848"/>
              <a:gd name="connsiteX6088" fmla="*/ 4025748 w 8978749"/>
              <a:gd name="connsiteY6088" fmla="*/ 1246085 h 4806848"/>
              <a:gd name="connsiteX6089" fmla="*/ 4084486 w 8978749"/>
              <a:gd name="connsiteY6089" fmla="*/ 1246085 h 4806848"/>
              <a:gd name="connsiteX6090" fmla="*/ 4084486 w 8978749"/>
              <a:gd name="connsiteY6090" fmla="*/ 1303235 h 4806848"/>
              <a:gd name="connsiteX6091" fmla="*/ 4025748 w 8978749"/>
              <a:gd name="connsiteY6091" fmla="*/ 1303235 h 4806848"/>
              <a:gd name="connsiteX6092" fmla="*/ 2684311 w 8978749"/>
              <a:gd name="connsiteY6092" fmla="*/ 1246085 h 4806848"/>
              <a:gd name="connsiteX6093" fmla="*/ 2743049 w 8978749"/>
              <a:gd name="connsiteY6093" fmla="*/ 1246085 h 4806848"/>
              <a:gd name="connsiteX6094" fmla="*/ 2743049 w 8978749"/>
              <a:gd name="connsiteY6094" fmla="*/ 1303235 h 4806848"/>
              <a:gd name="connsiteX6095" fmla="*/ 2684311 w 8978749"/>
              <a:gd name="connsiteY6095" fmla="*/ 1303235 h 4806848"/>
              <a:gd name="connsiteX6096" fmla="*/ 2604936 w 8978749"/>
              <a:gd name="connsiteY6096" fmla="*/ 1246085 h 4806848"/>
              <a:gd name="connsiteX6097" fmla="*/ 2663674 w 8978749"/>
              <a:gd name="connsiteY6097" fmla="*/ 1246085 h 4806848"/>
              <a:gd name="connsiteX6098" fmla="*/ 2663674 w 8978749"/>
              <a:gd name="connsiteY6098" fmla="*/ 1303235 h 4806848"/>
              <a:gd name="connsiteX6099" fmla="*/ 2604936 w 8978749"/>
              <a:gd name="connsiteY6099" fmla="*/ 1303235 h 4806848"/>
              <a:gd name="connsiteX6100" fmla="*/ 2525715 w 8978749"/>
              <a:gd name="connsiteY6100" fmla="*/ 1246085 h 4806848"/>
              <a:gd name="connsiteX6101" fmla="*/ 2584451 w 8978749"/>
              <a:gd name="connsiteY6101" fmla="*/ 1246085 h 4806848"/>
              <a:gd name="connsiteX6102" fmla="*/ 2584451 w 8978749"/>
              <a:gd name="connsiteY6102" fmla="*/ 1303235 h 4806848"/>
              <a:gd name="connsiteX6103" fmla="*/ 2525715 w 8978749"/>
              <a:gd name="connsiteY6103" fmla="*/ 1303235 h 4806848"/>
              <a:gd name="connsiteX6104" fmla="*/ 2447922 w 8978749"/>
              <a:gd name="connsiteY6104" fmla="*/ 1246085 h 4806848"/>
              <a:gd name="connsiteX6105" fmla="*/ 2505083 w 8978749"/>
              <a:gd name="connsiteY6105" fmla="*/ 1246085 h 4806848"/>
              <a:gd name="connsiteX6106" fmla="*/ 2505083 w 8978749"/>
              <a:gd name="connsiteY6106" fmla="*/ 1303235 h 4806848"/>
              <a:gd name="connsiteX6107" fmla="*/ 2447922 w 8978749"/>
              <a:gd name="connsiteY6107" fmla="*/ 1303235 h 4806848"/>
              <a:gd name="connsiteX6108" fmla="*/ 2368556 w 8978749"/>
              <a:gd name="connsiteY6108" fmla="*/ 1246085 h 4806848"/>
              <a:gd name="connsiteX6109" fmla="*/ 2427286 w 8978749"/>
              <a:gd name="connsiteY6109" fmla="*/ 1246085 h 4806848"/>
              <a:gd name="connsiteX6110" fmla="*/ 2427286 w 8978749"/>
              <a:gd name="connsiteY6110" fmla="*/ 1303235 h 4806848"/>
              <a:gd name="connsiteX6111" fmla="*/ 2368556 w 8978749"/>
              <a:gd name="connsiteY6111" fmla="*/ 1303235 h 4806848"/>
              <a:gd name="connsiteX6112" fmla="*/ 2289178 w 8978749"/>
              <a:gd name="connsiteY6112" fmla="*/ 1246085 h 4806848"/>
              <a:gd name="connsiteX6113" fmla="*/ 2347918 w 8978749"/>
              <a:gd name="connsiteY6113" fmla="*/ 1246085 h 4806848"/>
              <a:gd name="connsiteX6114" fmla="*/ 2347918 w 8978749"/>
              <a:gd name="connsiteY6114" fmla="*/ 1303235 h 4806848"/>
              <a:gd name="connsiteX6115" fmla="*/ 2289178 w 8978749"/>
              <a:gd name="connsiteY6115" fmla="*/ 1303235 h 4806848"/>
              <a:gd name="connsiteX6116" fmla="*/ 2052634 w 8978749"/>
              <a:gd name="connsiteY6116" fmla="*/ 1246085 h 4806848"/>
              <a:gd name="connsiteX6117" fmla="*/ 2111375 w 8978749"/>
              <a:gd name="connsiteY6117" fmla="*/ 1246085 h 4806848"/>
              <a:gd name="connsiteX6118" fmla="*/ 2111375 w 8978749"/>
              <a:gd name="connsiteY6118" fmla="*/ 1303235 h 4806848"/>
              <a:gd name="connsiteX6119" fmla="*/ 2052634 w 8978749"/>
              <a:gd name="connsiteY6119" fmla="*/ 1303235 h 4806848"/>
              <a:gd name="connsiteX6120" fmla="*/ 1973253 w 8978749"/>
              <a:gd name="connsiteY6120" fmla="*/ 1246085 h 4806848"/>
              <a:gd name="connsiteX6121" fmla="*/ 2031995 w 8978749"/>
              <a:gd name="connsiteY6121" fmla="*/ 1246085 h 4806848"/>
              <a:gd name="connsiteX6122" fmla="*/ 2031995 w 8978749"/>
              <a:gd name="connsiteY6122" fmla="*/ 1303235 h 4806848"/>
              <a:gd name="connsiteX6123" fmla="*/ 1973253 w 8978749"/>
              <a:gd name="connsiteY6123" fmla="*/ 1303235 h 4806848"/>
              <a:gd name="connsiteX6124" fmla="*/ 1893874 w 8978749"/>
              <a:gd name="connsiteY6124" fmla="*/ 1246085 h 4806848"/>
              <a:gd name="connsiteX6125" fmla="*/ 1952611 w 8978749"/>
              <a:gd name="connsiteY6125" fmla="*/ 1246085 h 4806848"/>
              <a:gd name="connsiteX6126" fmla="*/ 1952611 w 8978749"/>
              <a:gd name="connsiteY6126" fmla="*/ 1303235 h 4806848"/>
              <a:gd name="connsiteX6127" fmla="*/ 1893874 w 8978749"/>
              <a:gd name="connsiteY6127" fmla="*/ 1303235 h 4806848"/>
              <a:gd name="connsiteX6128" fmla="*/ 1816112 w 8978749"/>
              <a:gd name="connsiteY6128" fmla="*/ 1246085 h 4806848"/>
              <a:gd name="connsiteX6129" fmla="*/ 1873245 w 8978749"/>
              <a:gd name="connsiteY6129" fmla="*/ 1246085 h 4806848"/>
              <a:gd name="connsiteX6130" fmla="*/ 1873245 w 8978749"/>
              <a:gd name="connsiteY6130" fmla="*/ 1303235 h 4806848"/>
              <a:gd name="connsiteX6131" fmla="*/ 1816112 w 8978749"/>
              <a:gd name="connsiteY6131" fmla="*/ 1303235 h 4806848"/>
              <a:gd name="connsiteX6132" fmla="*/ 1736736 w 8978749"/>
              <a:gd name="connsiteY6132" fmla="*/ 1246085 h 4806848"/>
              <a:gd name="connsiteX6133" fmla="*/ 1795483 w 8978749"/>
              <a:gd name="connsiteY6133" fmla="*/ 1246085 h 4806848"/>
              <a:gd name="connsiteX6134" fmla="*/ 1795483 w 8978749"/>
              <a:gd name="connsiteY6134" fmla="*/ 1303235 h 4806848"/>
              <a:gd name="connsiteX6135" fmla="*/ 1736736 w 8978749"/>
              <a:gd name="connsiteY6135" fmla="*/ 1303235 h 4806848"/>
              <a:gd name="connsiteX6136" fmla="*/ 1657354 w 8978749"/>
              <a:gd name="connsiteY6136" fmla="*/ 1246085 h 4806848"/>
              <a:gd name="connsiteX6137" fmla="*/ 1716098 w 8978749"/>
              <a:gd name="connsiteY6137" fmla="*/ 1246085 h 4806848"/>
              <a:gd name="connsiteX6138" fmla="*/ 1716098 w 8978749"/>
              <a:gd name="connsiteY6138" fmla="*/ 1303235 h 4806848"/>
              <a:gd name="connsiteX6139" fmla="*/ 1657354 w 8978749"/>
              <a:gd name="connsiteY6139" fmla="*/ 1303235 h 4806848"/>
              <a:gd name="connsiteX6140" fmla="*/ 1577967 w 8978749"/>
              <a:gd name="connsiteY6140" fmla="*/ 1246085 h 4806848"/>
              <a:gd name="connsiteX6141" fmla="*/ 1636720 w 8978749"/>
              <a:gd name="connsiteY6141" fmla="*/ 1246085 h 4806848"/>
              <a:gd name="connsiteX6142" fmla="*/ 1636720 w 8978749"/>
              <a:gd name="connsiteY6142" fmla="*/ 1303235 h 4806848"/>
              <a:gd name="connsiteX6143" fmla="*/ 1577967 w 8978749"/>
              <a:gd name="connsiteY6143" fmla="*/ 1303235 h 4806848"/>
              <a:gd name="connsiteX6144" fmla="*/ 1500178 w 8978749"/>
              <a:gd name="connsiteY6144" fmla="*/ 1246085 h 4806848"/>
              <a:gd name="connsiteX6145" fmla="*/ 1558924 w 8978749"/>
              <a:gd name="connsiteY6145" fmla="*/ 1246085 h 4806848"/>
              <a:gd name="connsiteX6146" fmla="*/ 1558924 w 8978749"/>
              <a:gd name="connsiteY6146" fmla="*/ 1303235 h 4806848"/>
              <a:gd name="connsiteX6147" fmla="*/ 1500178 w 8978749"/>
              <a:gd name="connsiteY6147" fmla="*/ 1303235 h 4806848"/>
              <a:gd name="connsiteX6148" fmla="*/ 1420799 w 8978749"/>
              <a:gd name="connsiteY6148" fmla="*/ 1246085 h 4806848"/>
              <a:gd name="connsiteX6149" fmla="*/ 1479536 w 8978749"/>
              <a:gd name="connsiteY6149" fmla="*/ 1246085 h 4806848"/>
              <a:gd name="connsiteX6150" fmla="*/ 1479536 w 8978749"/>
              <a:gd name="connsiteY6150" fmla="*/ 1303235 h 4806848"/>
              <a:gd name="connsiteX6151" fmla="*/ 1420799 w 8978749"/>
              <a:gd name="connsiteY6151" fmla="*/ 1303235 h 4806848"/>
              <a:gd name="connsiteX6152" fmla="*/ 1341460 w 8978749"/>
              <a:gd name="connsiteY6152" fmla="*/ 1246085 h 4806848"/>
              <a:gd name="connsiteX6153" fmla="*/ 1400178 w 8978749"/>
              <a:gd name="connsiteY6153" fmla="*/ 1246085 h 4806848"/>
              <a:gd name="connsiteX6154" fmla="*/ 1400178 w 8978749"/>
              <a:gd name="connsiteY6154" fmla="*/ 1303235 h 4806848"/>
              <a:gd name="connsiteX6155" fmla="*/ 1341460 w 8978749"/>
              <a:gd name="connsiteY6155" fmla="*/ 1303235 h 4806848"/>
              <a:gd name="connsiteX6156" fmla="*/ 1263642 w 8978749"/>
              <a:gd name="connsiteY6156" fmla="*/ 1246085 h 4806848"/>
              <a:gd name="connsiteX6157" fmla="*/ 1320809 w 8978749"/>
              <a:gd name="connsiteY6157" fmla="*/ 1246085 h 4806848"/>
              <a:gd name="connsiteX6158" fmla="*/ 1320809 w 8978749"/>
              <a:gd name="connsiteY6158" fmla="*/ 1303235 h 4806848"/>
              <a:gd name="connsiteX6159" fmla="*/ 1263642 w 8978749"/>
              <a:gd name="connsiteY6159" fmla="*/ 1303235 h 4806848"/>
              <a:gd name="connsiteX6160" fmla="*/ 1184274 w 8978749"/>
              <a:gd name="connsiteY6160" fmla="*/ 1246085 h 4806848"/>
              <a:gd name="connsiteX6161" fmla="*/ 1243006 w 8978749"/>
              <a:gd name="connsiteY6161" fmla="*/ 1246085 h 4806848"/>
              <a:gd name="connsiteX6162" fmla="*/ 1243006 w 8978749"/>
              <a:gd name="connsiteY6162" fmla="*/ 1303235 h 4806848"/>
              <a:gd name="connsiteX6163" fmla="*/ 1184274 w 8978749"/>
              <a:gd name="connsiteY6163" fmla="*/ 1303235 h 4806848"/>
              <a:gd name="connsiteX6164" fmla="*/ 1104902 w 8978749"/>
              <a:gd name="connsiteY6164" fmla="*/ 1246085 h 4806848"/>
              <a:gd name="connsiteX6165" fmla="*/ 1163638 w 8978749"/>
              <a:gd name="connsiteY6165" fmla="*/ 1246085 h 4806848"/>
              <a:gd name="connsiteX6166" fmla="*/ 1163638 w 8978749"/>
              <a:gd name="connsiteY6166" fmla="*/ 1303235 h 4806848"/>
              <a:gd name="connsiteX6167" fmla="*/ 1104902 w 8978749"/>
              <a:gd name="connsiteY6167" fmla="*/ 1303235 h 4806848"/>
              <a:gd name="connsiteX6168" fmla="*/ 1027107 w 8978749"/>
              <a:gd name="connsiteY6168" fmla="*/ 1246085 h 4806848"/>
              <a:gd name="connsiteX6169" fmla="*/ 1084268 w 8978749"/>
              <a:gd name="connsiteY6169" fmla="*/ 1246085 h 4806848"/>
              <a:gd name="connsiteX6170" fmla="*/ 1084268 w 8978749"/>
              <a:gd name="connsiteY6170" fmla="*/ 1303235 h 4806848"/>
              <a:gd name="connsiteX6171" fmla="*/ 1027107 w 8978749"/>
              <a:gd name="connsiteY6171" fmla="*/ 1303235 h 4806848"/>
              <a:gd name="connsiteX6172" fmla="*/ 947728 w 8978749"/>
              <a:gd name="connsiteY6172" fmla="*/ 1246085 h 4806848"/>
              <a:gd name="connsiteX6173" fmla="*/ 1004876 w 8978749"/>
              <a:gd name="connsiteY6173" fmla="*/ 1246085 h 4806848"/>
              <a:gd name="connsiteX6174" fmla="*/ 1004876 w 8978749"/>
              <a:gd name="connsiteY6174" fmla="*/ 1303235 h 4806848"/>
              <a:gd name="connsiteX6175" fmla="*/ 947728 w 8978749"/>
              <a:gd name="connsiteY6175" fmla="*/ 1303235 h 4806848"/>
              <a:gd name="connsiteX6176" fmla="*/ 236522 w 8978749"/>
              <a:gd name="connsiteY6176" fmla="*/ 1246085 h 4806848"/>
              <a:gd name="connsiteX6177" fmla="*/ 295260 w 8978749"/>
              <a:gd name="connsiteY6177" fmla="*/ 1246085 h 4806848"/>
              <a:gd name="connsiteX6178" fmla="*/ 295260 w 8978749"/>
              <a:gd name="connsiteY6178" fmla="*/ 1303235 h 4806848"/>
              <a:gd name="connsiteX6179" fmla="*/ 236522 w 8978749"/>
              <a:gd name="connsiteY6179" fmla="*/ 1303235 h 4806848"/>
              <a:gd name="connsiteX6180" fmla="*/ 8210399 w 8978749"/>
              <a:gd name="connsiteY6180" fmla="*/ 1166710 h 4806848"/>
              <a:gd name="connsiteX6181" fmla="*/ 8267549 w 8978749"/>
              <a:gd name="connsiteY6181" fmla="*/ 1166710 h 4806848"/>
              <a:gd name="connsiteX6182" fmla="*/ 8267549 w 8978749"/>
              <a:gd name="connsiteY6182" fmla="*/ 1225448 h 4806848"/>
              <a:gd name="connsiteX6183" fmla="*/ 8210399 w 8978749"/>
              <a:gd name="connsiteY6183" fmla="*/ 1225448 h 4806848"/>
              <a:gd name="connsiteX6184" fmla="*/ 8131024 w 8978749"/>
              <a:gd name="connsiteY6184" fmla="*/ 1166710 h 4806848"/>
              <a:gd name="connsiteX6185" fmla="*/ 8189762 w 8978749"/>
              <a:gd name="connsiteY6185" fmla="*/ 1166710 h 4806848"/>
              <a:gd name="connsiteX6186" fmla="*/ 8189762 w 8978749"/>
              <a:gd name="connsiteY6186" fmla="*/ 1225448 h 4806848"/>
              <a:gd name="connsiteX6187" fmla="*/ 8131024 w 8978749"/>
              <a:gd name="connsiteY6187" fmla="*/ 1225448 h 4806848"/>
              <a:gd name="connsiteX6188" fmla="*/ 7657949 w 8978749"/>
              <a:gd name="connsiteY6188" fmla="*/ 1166710 h 4806848"/>
              <a:gd name="connsiteX6189" fmla="*/ 7715099 w 8978749"/>
              <a:gd name="connsiteY6189" fmla="*/ 1166710 h 4806848"/>
              <a:gd name="connsiteX6190" fmla="*/ 7715099 w 8978749"/>
              <a:gd name="connsiteY6190" fmla="*/ 1225448 h 4806848"/>
              <a:gd name="connsiteX6191" fmla="*/ 7657949 w 8978749"/>
              <a:gd name="connsiteY6191" fmla="*/ 1225448 h 4806848"/>
              <a:gd name="connsiteX6192" fmla="*/ 7578574 w 8978749"/>
              <a:gd name="connsiteY6192" fmla="*/ 1166710 h 4806848"/>
              <a:gd name="connsiteX6193" fmla="*/ 7637312 w 8978749"/>
              <a:gd name="connsiteY6193" fmla="*/ 1166710 h 4806848"/>
              <a:gd name="connsiteX6194" fmla="*/ 7637312 w 8978749"/>
              <a:gd name="connsiteY6194" fmla="*/ 1225448 h 4806848"/>
              <a:gd name="connsiteX6195" fmla="*/ 7578574 w 8978749"/>
              <a:gd name="connsiteY6195" fmla="*/ 1225448 h 4806848"/>
              <a:gd name="connsiteX6196" fmla="*/ 7499199 w 8978749"/>
              <a:gd name="connsiteY6196" fmla="*/ 1166710 h 4806848"/>
              <a:gd name="connsiteX6197" fmla="*/ 7557937 w 8978749"/>
              <a:gd name="connsiteY6197" fmla="*/ 1166710 h 4806848"/>
              <a:gd name="connsiteX6198" fmla="*/ 7557937 w 8978749"/>
              <a:gd name="connsiteY6198" fmla="*/ 1225448 h 4806848"/>
              <a:gd name="connsiteX6199" fmla="*/ 7499199 w 8978749"/>
              <a:gd name="connsiteY6199" fmla="*/ 1225448 h 4806848"/>
              <a:gd name="connsiteX6200" fmla="*/ 7419824 w 8978749"/>
              <a:gd name="connsiteY6200" fmla="*/ 1166710 h 4806848"/>
              <a:gd name="connsiteX6201" fmla="*/ 7478562 w 8978749"/>
              <a:gd name="connsiteY6201" fmla="*/ 1166710 h 4806848"/>
              <a:gd name="connsiteX6202" fmla="*/ 7478562 w 8978749"/>
              <a:gd name="connsiteY6202" fmla="*/ 1225448 h 4806848"/>
              <a:gd name="connsiteX6203" fmla="*/ 7419824 w 8978749"/>
              <a:gd name="connsiteY6203" fmla="*/ 1225448 h 4806848"/>
              <a:gd name="connsiteX6204" fmla="*/ 7342036 w 8978749"/>
              <a:gd name="connsiteY6204" fmla="*/ 1166710 h 4806848"/>
              <a:gd name="connsiteX6205" fmla="*/ 7400774 w 8978749"/>
              <a:gd name="connsiteY6205" fmla="*/ 1166710 h 4806848"/>
              <a:gd name="connsiteX6206" fmla="*/ 7400774 w 8978749"/>
              <a:gd name="connsiteY6206" fmla="*/ 1225448 h 4806848"/>
              <a:gd name="connsiteX6207" fmla="*/ 7342036 w 8978749"/>
              <a:gd name="connsiteY6207" fmla="*/ 1225448 h 4806848"/>
              <a:gd name="connsiteX6208" fmla="*/ 7262661 w 8978749"/>
              <a:gd name="connsiteY6208" fmla="*/ 1166710 h 4806848"/>
              <a:gd name="connsiteX6209" fmla="*/ 7321399 w 8978749"/>
              <a:gd name="connsiteY6209" fmla="*/ 1166710 h 4806848"/>
              <a:gd name="connsiteX6210" fmla="*/ 7321399 w 8978749"/>
              <a:gd name="connsiteY6210" fmla="*/ 1225448 h 4806848"/>
              <a:gd name="connsiteX6211" fmla="*/ 7262661 w 8978749"/>
              <a:gd name="connsiteY6211" fmla="*/ 1225448 h 4806848"/>
              <a:gd name="connsiteX6212" fmla="*/ 7183286 w 8978749"/>
              <a:gd name="connsiteY6212" fmla="*/ 1166710 h 4806848"/>
              <a:gd name="connsiteX6213" fmla="*/ 7242024 w 8978749"/>
              <a:gd name="connsiteY6213" fmla="*/ 1166710 h 4806848"/>
              <a:gd name="connsiteX6214" fmla="*/ 7242024 w 8978749"/>
              <a:gd name="connsiteY6214" fmla="*/ 1225448 h 4806848"/>
              <a:gd name="connsiteX6215" fmla="*/ 7183286 w 8978749"/>
              <a:gd name="connsiteY6215" fmla="*/ 1225448 h 4806848"/>
              <a:gd name="connsiteX6216" fmla="*/ 7105499 w 8978749"/>
              <a:gd name="connsiteY6216" fmla="*/ 1166710 h 4806848"/>
              <a:gd name="connsiteX6217" fmla="*/ 7162649 w 8978749"/>
              <a:gd name="connsiteY6217" fmla="*/ 1166710 h 4806848"/>
              <a:gd name="connsiteX6218" fmla="*/ 7162649 w 8978749"/>
              <a:gd name="connsiteY6218" fmla="*/ 1225448 h 4806848"/>
              <a:gd name="connsiteX6219" fmla="*/ 7105499 w 8978749"/>
              <a:gd name="connsiteY6219" fmla="*/ 1225448 h 4806848"/>
              <a:gd name="connsiteX6220" fmla="*/ 7026124 w 8978749"/>
              <a:gd name="connsiteY6220" fmla="*/ 1166710 h 4806848"/>
              <a:gd name="connsiteX6221" fmla="*/ 7084862 w 8978749"/>
              <a:gd name="connsiteY6221" fmla="*/ 1166710 h 4806848"/>
              <a:gd name="connsiteX6222" fmla="*/ 7084862 w 8978749"/>
              <a:gd name="connsiteY6222" fmla="*/ 1225448 h 4806848"/>
              <a:gd name="connsiteX6223" fmla="*/ 7026124 w 8978749"/>
              <a:gd name="connsiteY6223" fmla="*/ 1225448 h 4806848"/>
              <a:gd name="connsiteX6224" fmla="*/ 6946749 w 8978749"/>
              <a:gd name="connsiteY6224" fmla="*/ 1166710 h 4806848"/>
              <a:gd name="connsiteX6225" fmla="*/ 7005487 w 8978749"/>
              <a:gd name="connsiteY6225" fmla="*/ 1166710 h 4806848"/>
              <a:gd name="connsiteX6226" fmla="*/ 7005487 w 8978749"/>
              <a:gd name="connsiteY6226" fmla="*/ 1225448 h 4806848"/>
              <a:gd name="connsiteX6227" fmla="*/ 6946749 w 8978749"/>
              <a:gd name="connsiteY6227" fmla="*/ 1225448 h 4806848"/>
              <a:gd name="connsiteX6228" fmla="*/ 6867374 w 8978749"/>
              <a:gd name="connsiteY6228" fmla="*/ 1166710 h 4806848"/>
              <a:gd name="connsiteX6229" fmla="*/ 6926112 w 8978749"/>
              <a:gd name="connsiteY6229" fmla="*/ 1166710 h 4806848"/>
              <a:gd name="connsiteX6230" fmla="*/ 6926112 w 8978749"/>
              <a:gd name="connsiteY6230" fmla="*/ 1225448 h 4806848"/>
              <a:gd name="connsiteX6231" fmla="*/ 6867374 w 8978749"/>
              <a:gd name="connsiteY6231" fmla="*/ 1225448 h 4806848"/>
              <a:gd name="connsiteX6232" fmla="*/ 6789586 w 8978749"/>
              <a:gd name="connsiteY6232" fmla="*/ 1166710 h 4806848"/>
              <a:gd name="connsiteX6233" fmla="*/ 6846736 w 8978749"/>
              <a:gd name="connsiteY6233" fmla="*/ 1166710 h 4806848"/>
              <a:gd name="connsiteX6234" fmla="*/ 6846736 w 8978749"/>
              <a:gd name="connsiteY6234" fmla="*/ 1225448 h 4806848"/>
              <a:gd name="connsiteX6235" fmla="*/ 6789586 w 8978749"/>
              <a:gd name="connsiteY6235" fmla="*/ 1225448 h 4806848"/>
              <a:gd name="connsiteX6236" fmla="*/ 6710211 w 8978749"/>
              <a:gd name="connsiteY6236" fmla="*/ 1166710 h 4806848"/>
              <a:gd name="connsiteX6237" fmla="*/ 6768949 w 8978749"/>
              <a:gd name="connsiteY6237" fmla="*/ 1166710 h 4806848"/>
              <a:gd name="connsiteX6238" fmla="*/ 6768949 w 8978749"/>
              <a:gd name="connsiteY6238" fmla="*/ 1225448 h 4806848"/>
              <a:gd name="connsiteX6239" fmla="*/ 6710211 w 8978749"/>
              <a:gd name="connsiteY6239" fmla="*/ 1225448 h 4806848"/>
              <a:gd name="connsiteX6240" fmla="*/ 6630836 w 8978749"/>
              <a:gd name="connsiteY6240" fmla="*/ 1166710 h 4806848"/>
              <a:gd name="connsiteX6241" fmla="*/ 6689574 w 8978749"/>
              <a:gd name="connsiteY6241" fmla="*/ 1166710 h 4806848"/>
              <a:gd name="connsiteX6242" fmla="*/ 6689574 w 8978749"/>
              <a:gd name="connsiteY6242" fmla="*/ 1225448 h 4806848"/>
              <a:gd name="connsiteX6243" fmla="*/ 6630836 w 8978749"/>
              <a:gd name="connsiteY6243" fmla="*/ 1225448 h 4806848"/>
              <a:gd name="connsiteX6244" fmla="*/ 6551461 w 8978749"/>
              <a:gd name="connsiteY6244" fmla="*/ 1166710 h 4806848"/>
              <a:gd name="connsiteX6245" fmla="*/ 6610199 w 8978749"/>
              <a:gd name="connsiteY6245" fmla="*/ 1166710 h 4806848"/>
              <a:gd name="connsiteX6246" fmla="*/ 6610199 w 8978749"/>
              <a:gd name="connsiteY6246" fmla="*/ 1225448 h 4806848"/>
              <a:gd name="connsiteX6247" fmla="*/ 6551461 w 8978749"/>
              <a:gd name="connsiteY6247" fmla="*/ 1225448 h 4806848"/>
              <a:gd name="connsiteX6248" fmla="*/ 6473674 w 8978749"/>
              <a:gd name="connsiteY6248" fmla="*/ 1166710 h 4806848"/>
              <a:gd name="connsiteX6249" fmla="*/ 6530824 w 8978749"/>
              <a:gd name="connsiteY6249" fmla="*/ 1166710 h 4806848"/>
              <a:gd name="connsiteX6250" fmla="*/ 6530824 w 8978749"/>
              <a:gd name="connsiteY6250" fmla="*/ 1225448 h 4806848"/>
              <a:gd name="connsiteX6251" fmla="*/ 6473674 w 8978749"/>
              <a:gd name="connsiteY6251" fmla="*/ 1225448 h 4806848"/>
              <a:gd name="connsiteX6252" fmla="*/ 6394299 w 8978749"/>
              <a:gd name="connsiteY6252" fmla="*/ 1166710 h 4806848"/>
              <a:gd name="connsiteX6253" fmla="*/ 6453037 w 8978749"/>
              <a:gd name="connsiteY6253" fmla="*/ 1166710 h 4806848"/>
              <a:gd name="connsiteX6254" fmla="*/ 6453037 w 8978749"/>
              <a:gd name="connsiteY6254" fmla="*/ 1225448 h 4806848"/>
              <a:gd name="connsiteX6255" fmla="*/ 6394299 w 8978749"/>
              <a:gd name="connsiteY6255" fmla="*/ 1225448 h 4806848"/>
              <a:gd name="connsiteX6256" fmla="*/ 6314924 w 8978749"/>
              <a:gd name="connsiteY6256" fmla="*/ 1166710 h 4806848"/>
              <a:gd name="connsiteX6257" fmla="*/ 6373662 w 8978749"/>
              <a:gd name="connsiteY6257" fmla="*/ 1166710 h 4806848"/>
              <a:gd name="connsiteX6258" fmla="*/ 6373662 w 8978749"/>
              <a:gd name="connsiteY6258" fmla="*/ 1225448 h 4806848"/>
              <a:gd name="connsiteX6259" fmla="*/ 6314924 w 8978749"/>
              <a:gd name="connsiteY6259" fmla="*/ 1225448 h 4806848"/>
              <a:gd name="connsiteX6260" fmla="*/ 6235549 w 8978749"/>
              <a:gd name="connsiteY6260" fmla="*/ 1166710 h 4806848"/>
              <a:gd name="connsiteX6261" fmla="*/ 6294287 w 8978749"/>
              <a:gd name="connsiteY6261" fmla="*/ 1166710 h 4806848"/>
              <a:gd name="connsiteX6262" fmla="*/ 6294287 w 8978749"/>
              <a:gd name="connsiteY6262" fmla="*/ 1225448 h 4806848"/>
              <a:gd name="connsiteX6263" fmla="*/ 6235549 w 8978749"/>
              <a:gd name="connsiteY6263" fmla="*/ 1225448 h 4806848"/>
              <a:gd name="connsiteX6264" fmla="*/ 6157761 w 8978749"/>
              <a:gd name="connsiteY6264" fmla="*/ 1166710 h 4806848"/>
              <a:gd name="connsiteX6265" fmla="*/ 6214911 w 8978749"/>
              <a:gd name="connsiteY6265" fmla="*/ 1166710 h 4806848"/>
              <a:gd name="connsiteX6266" fmla="*/ 6214911 w 8978749"/>
              <a:gd name="connsiteY6266" fmla="*/ 1225448 h 4806848"/>
              <a:gd name="connsiteX6267" fmla="*/ 6157761 w 8978749"/>
              <a:gd name="connsiteY6267" fmla="*/ 1225448 h 4806848"/>
              <a:gd name="connsiteX6268" fmla="*/ 6078386 w 8978749"/>
              <a:gd name="connsiteY6268" fmla="*/ 1166710 h 4806848"/>
              <a:gd name="connsiteX6269" fmla="*/ 6137124 w 8978749"/>
              <a:gd name="connsiteY6269" fmla="*/ 1166710 h 4806848"/>
              <a:gd name="connsiteX6270" fmla="*/ 6137124 w 8978749"/>
              <a:gd name="connsiteY6270" fmla="*/ 1225448 h 4806848"/>
              <a:gd name="connsiteX6271" fmla="*/ 6078386 w 8978749"/>
              <a:gd name="connsiteY6271" fmla="*/ 1225448 h 4806848"/>
              <a:gd name="connsiteX6272" fmla="*/ 5999011 w 8978749"/>
              <a:gd name="connsiteY6272" fmla="*/ 1166710 h 4806848"/>
              <a:gd name="connsiteX6273" fmla="*/ 6057749 w 8978749"/>
              <a:gd name="connsiteY6273" fmla="*/ 1166710 h 4806848"/>
              <a:gd name="connsiteX6274" fmla="*/ 6057749 w 8978749"/>
              <a:gd name="connsiteY6274" fmla="*/ 1225448 h 4806848"/>
              <a:gd name="connsiteX6275" fmla="*/ 5999011 w 8978749"/>
              <a:gd name="connsiteY6275" fmla="*/ 1225448 h 4806848"/>
              <a:gd name="connsiteX6276" fmla="*/ 5921224 w 8978749"/>
              <a:gd name="connsiteY6276" fmla="*/ 1166710 h 4806848"/>
              <a:gd name="connsiteX6277" fmla="*/ 5978374 w 8978749"/>
              <a:gd name="connsiteY6277" fmla="*/ 1166710 h 4806848"/>
              <a:gd name="connsiteX6278" fmla="*/ 5978374 w 8978749"/>
              <a:gd name="connsiteY6278" fmla="*/ 1225448 h 4806848"/>
              <a:gd name="connsiteX6279" fmla="*/ 5921224 w 8978749"/>
              <a:gd name="connsiteY6279" fmla="*/ 1225448 h 4806848"/>
              <a:gd name="connsiteX6280" fmla="*/ 5841849 w 8978749"/>
              <a:gd name="connsiteY6280" fmla="*/ 1166710 h 4806848"/>
              <a:gd name="connsiteX6281" fmla="*/ 5900587 w 8978749"/>
              <a:gd name="connsiteY6281" fmla="*/ 1166710 h 4806848"/>
              <a:gd name="connsiteX6282" fmla="*/ 5900587 w 8978749"/>
              <a:gd name="connsiteY6282" fmla="*/ 1225448 h 4806848"/>
              <a:gd name="connsiteX6283" fmla="*/ 5841849 w 8978749"/>
              <a:gd name="connsiteY6283" fmla="*/ 1225448 h 4806848"/>
              <a:gd name="connsiteX6284" fmla="*/ 5762474 w 8978749"/>
              <a:gd name="connsiteY6284" fmla="*/ 1166710 h 4806848"/>
              <a:gd name="connsiteX6285" fmla="*/ 5821212 w 8978749"/>
              <a:gd name="connsiteY6285" fmla="*/ 1166710 h 4806848"/>
              <a:gd name="connsiteX6286" fmla="*/ 5821212 w 8978749"/>
              <a:gd name="connsiteY6286" fmla="*/ 1225448 h 4806848"/>
              <a:gd name="connsiteX6287" fmla="*/ 5762474 w 8978749"/>
              <a:gd name="connsiteY6287" fmla="*/ 1225448 h 4806848"/>
              <a:gd name="connsiteX6288" fmla="*/ 5684686 w 8978749"/>
              <a:gd name="connsiteY6288" fmla="*/ 1166710 h 4806848"/>
              <a:gd name="connsiteX6289" fmla="*/ 5741836 w 8978749"/>
              <a:gd name="connsiteY6289" fmla="*/ 1166710 h 4806848"/>
              <a:gd name="connsiteX6290" fmla="*/ 5741836 w 8978749"/>
              <a:gd name="connsiteY6290" fmla="*/ 1225448 h 4806848"/>
              <a:gd name="connsiteX6291" fmla="*/ 5684686 w 8978749"/>
              <a:gd name="connsiteY6291" fmla="*/ 1225448 h 4806848"/>
              <a:gd name="connsiteX6292" fmla="*/ 5605311 w 8978749"/>
              <a:gd name="connsiteY6292" fmla="*/ 1166710 h 4806848"/>
              <a:gd name="connsiteX6293" fmla="*/ 5664049 w 8978749"/>
              <a:gd name="connsiteY6293" fmla="*/ 1166710 h 4806848"/>
              <a:gd name="connsiteX6294" fmla="*/ 5664049 w 8978749"/>
              <a:gd name="connsiteY6294" fmla="*/ 1225448 h 4806848"/>
              <a:gd name="connsiteX6295" fmla="*/ 5605311 w 8978749"/>
              <a:gd name="connsiteY6295" fmla="*/ 1225448 h 4806848"/>
              <a:gd name="connsiteX6296" fmla="*/ 5525936 w 8978749"/>
              <a:gd name="connsiteY6296" fmla="*/ 1166710 h 4806848"/>
              <a:gd name="connsiteX6297" fmla="*/ 5584674 w 8978749"/>
              <a:gd name="connsiteY6297" fmla="*/ 1166710 h 4806848"/>
              <a:gd name="connsiteX6298" fmla="*/ 5584674 w 8978749"/>
              <a:gd name="connsiteY6298" fmla="*/ 1225448 h 4806848"/>
              <a:gd name="connsiteX6299" fmla="*/ 5525936 w 8978749"/>
              <a:gd name="connsiteY6299" fmla="*/ 1225448 h 4806848"/>
              <a:gd name="connsiteX6300" fmla="*/ 5446561 w 8978749"/>
              <a:gd name="connsiteY6300" fmla="*/ 1166710 h 4806848"/>
              <a:gd name="connsiteX6301" fmla="*/ 5505299 w 8978749"/>
              <a:gd name="connsiteY6301" fmla="*/ 1166710 h 4806848"/>
              <a:gd name="connsiteX6302" fmla="*/ 5505299 w 8978749"/>
              <a:gd name="connsiteY6302" fmla="*/ 1225448 h 4806848"/>
              <a:gd name="connsiteX6303" fmla="*/ 5446561 w 8978749"/>
              <a:gd name="connsiteY6303" fmla="*/ 1225448 h 4806848"/>
              <a:gd name="connsiteX6304" fmla="*/ 5368774 w 8978749"/>
              <a:gd name="connsiteY6304" fmla="*/ 1166710 h 4806848"/>
              <a:gd name="connsiteX6305" fmla="*/ 5425924 w 8978749"/>
              <a:gd name="connsiteY6305" fmla="*/ 1166710 h 4806848"/>
              <a:gd name="connsiteX6306" fmla="*/ 5425924 w 8978749"/>
              <a:gd name="connsiteY6306" fmla="*/ 1225448 h 4806848"/>
              <a:gd name="connsiteX6307" fmla="*/ 5368774 w 8978749"/>
              <a:gd name="connsiteY6307" fmla="*/ 1225448 h 4806848"/>
              <a:gd name="connsiteX6308" fmla="*/ 5289399 w 8978749"/>
              <a:gd name="connsiteY6308" fmla="*/ 1166710 h 4806848"/>
              <a:gd name="connsiteX6309" fmla="*/ 5348137 w 8978749"/>
              <a:gd name="connsiteY6309" fmla="*/ 1166710 h 4806848"/>
              <a:gd name="connsiteX6310" fmla="*/ 5348137 w 8978749"/>
              <a:gd name="connsiteY6310" fmla="*/ 1225448 h 4806848"/>
              <a:gd name="connsiteX6311" fmla="*/ 5289399 w 8978749"/>
              <a:gd name="connsiteY6311" fmla="*/ 1225448 h 4806848"/>
              <a:gd name="connsiteX6312" fmla="*/ 5210024 w 8978749"/>
              <a:gd name="connsiteY6312" fmla="*/ 1166710 h 4806848"/>
              <a:gd name="connsiteX6313" fmla="*/ 5268762 w 8978749"/>
              <a:gd name="connsiteY6313" fmla="*/ 1166710 h 4806848"/>
              <a:gd name="connsiteX6314" fmla="*/ 5268762 w 8978749"/>
              <a:gd name="connsiteY6314" fmla="*/ 1225448 h 4806848"/>
              <a:gd name="connsiteX6315" fmla="*/ 5210024 w 8978749"/>
              <a:gd name="connsiteY6315" fmla="*/ 1225448 h 4806848"/>
              <a:gd name="connsiteX6316" fmla="*/ 5130649 w 8978749"/>
              <a:gd name="connsiteY6316" fmla="*/ 1166710 h 4806848"/>
              <a:gd name="connsiteX6317" fmla="*/ 5189387 w 8978749"/>
              <a:gd name="connsiteY6317" fmla="*/ 1166710 h 4806848"/>
              <a:gd name="connsiteX6318" fmla="*/ 5189387 w 8978749"/>
              <a:gd name="connsiteY6318" fmla="*/ 1225448 h 4806848"/>
              <a:gd name="connsiteX6319" fmla="*/ 5130649 w 8978749"/>
              <a:gd name="connsiteY6319" fmla="*/ 1225448 h 4806848"/>
              <a:gd name="connsiteX6320" fmla="*/ 5052861 w 8978749"/>
              <a:gd name="connsiteY6320" fmla="*/ 1166710 h 4806848"/>
              <a:gd name="connsiteX6321" fmla="*/ 5110011 w 8978749"/>
              <a:gd name="connsiteY6321" fmla="*/ 1166710 h 4806848"/>
              <a:gd name="connsiteX6322" fmla="*/ 5110011 w 8978749"/>
              <a:gd name="connsiteY6322" fmla="*/ 1225448 h 4806848"/>
              <a:gd name="connsiteX6323" fmla="*/ 5052861 w 8978749"/>
              <a:gd name="connsiteY6323" fmla="*/ 1225448 h 4806848"/>
              <a:gd name="connsiteX6324" fmla="*/ 4973486 w 8978749"/>
              <a:gd name="connsiteY6324" fmla="*/ 1166710 h 4806848"/>
              <a:gd name="connsiteX6325" fmla="*/ 5030636 w 8978749"/>
              <a:gd name="connsiteY6325" fmla="*/ 1166710 h 4806848"/>
              <a:gd name="connsiteX6326" fmla="*/ 5030636 w 8978749"/>
              <a:gd name="connsiteY6326" fmla="*/ 1225448 h 4806848"/>
              <a:gd name="connsiteX6327" fmla="*/ 4973486 w 8978749"/>
              <a:gd name="connsiteY6327" fmla="*/ 1225448 h 4806848"/>
              <a:gd name="connsiteX6328" fmla="*/ 4894111 w 8978749"/>
              <a:gd name="connsiteY6328" fmla="*/ 1166710 h 4806848"/>
              <a:gd name="connsiteX6329" fmla="*/ 4952849 w 8978749"/>
              <a:gd name="connsiteY6329" fmla="*/ 1166710 h 4806848"/>
              <a:gd name="connsiteX6330" fmla="*/ 4952849 w 8978749"/>
              <a:gd name="connsiteY6330" fmla="*/ 1225448 h 4806848"/>
              <a:gd name="connsiteX6331" fmla="*/ 4894111 w 8978749"/>
              <a:gd name="connsiteY6331" fmla="*/ 1225448 h 4806848"/>
              <a:gd name="connsiteX6332" fmla="*/ 4814736 w 8978749"/>
              <a:gd name="connsiteY6332" fmla="*/ 1166710 h 4806848"/>
              <a:gd name="connsiteX6333" fmla="*/ 4873474 w 8978749"/>
              <a:gd name="connsiteY6333" fmla="*/ 1166710 h 4806848"/>
              <a:gd name="connsiteX6334" fmla="*/ 4873474 w 8978749"/>
              <a:gd name="connsiteY6334" fmla="*/ 1225448 h 4806848"/>
              <a:gd name="connsiteX6335" fmla="*/ 4814736 w 8978749"/>
              <a:gd name="connsiteY6335" fmla="*/ 1225448 h 4806848"/>
              <a:gd name="connsiteX6336" fmla="*/ 4736948 w 8978749"/>
              <a:gd name="connsiteY6336" fmla="*/ 1166710 h 4806848"/>
              <a:gd name="connsiteX6337" fmla="*/ 4794098 w 8978749"/>
              <a:gd name="connsiteY6337" fmla="*/ 1166710 h 4806848"/>
              <a:gd name="connsiteX6338" fmla="*/ 4794098 w 8978749"/>
              <a:gd name="connsiteY6338" fmla="*/ 1225448 h 4806848"/>
              <a:gd name="connsiteX6339" fmla="*/ 4736948 w 8978749"/>
              <a:gd name="connsiteY6339" fmla="*/ 1225448 h 4806848"/>
              <a:gd name="connsiteX6340" fmla="*/ 4657573 w 8978749"/>
              <a:gd name="connsiteY6340" fmla="*/ 1166710 h 4806848"/>
              <a:gd name="connsiteX6341" fmla="*/ 4716311 w 8978749"/>
              <a:gd name="connsiteY6341" fmla="*/ 1166710 h 4806848"/>
              <a:gd name="connsiteX6342" fmla="*/ 4716311 w 8978749"/>
              <a:gd name="connsiteY6342" fmla="*/ 1225448 h 4806848"/>
              <a:gd name="connsiteX6343" fmla="*/ 4657573 w 8978749"/>
              <a:gd name="connsiteY6343" fmla="*/ 1225448 h 4806848"/>
              <a:gd name="connsiteX6344" fmla="*/ 4578198 w 8978749"/>
              <a:gd name="connsiteY6344" fmla="*/ 1166710 h 4806848"/>
              <a:gd name="connsiteX6345" fmla="*/ 4636936 w 8978749"/>
              <a:gd name="connsiteY6345" fmla="*/ 1166710 h 4806848"/>
              <a:gd name="connsiteX6346" fmla="*/ 4636936 w 8978749"/>
              <a:gd name="connsiteY6346" fmla="*/ 1225448 h 4806848"/>
              <a:gd name="connsiteX6347" fmla="*/ 4578198 w 8978749"/>
              <a:gd name="connsiteY6347" fmla="*/ 1225448 h 4806848"/>
              <a:gd name="connsiteX6348" fmla="*/ 4184498 w 8978749"/>
              <a:gd name="connsiteY6348" fmla="*/ 1166710 h 4806848"/>
              <a:gd name="connsiteX6349" fmla="*/ 4241648 w 8978749"/>
              <a:gd name="connsiteY6349" fmla="*/ 1166710 h 4806848"/>
              <a:gd name="connsiteX6350" fmla="*/ 4241648 w 8978749"/>
              <a:gd name="connsiteY6350" fmla="*/ 1225448 h 4806848"/>
              <a:gd name="connsiteX6351" fmla="*/ 4184498 w 8978749"/>
              <a:gd name="connsiteY6351" fmla="*/ 1225448 h 4806848"/>
              <a:gd name="connsiteX6352" fmla="*/ 2684311 w 8978749"/>
              <a:gd name="connsiteY6352" fmla="*/ 1166710 h 4806848"/>
              <a:gd name="connsiteX6353" fmla="*/ 2743049 w 8978749"/>
              <a:gd name="connsiteY6353" fmla="*/ 1166710 h 4806848"/>
              <a:gd name="connsiteX6354" fmla="*/ 2743049 w 8978749"/>
              <a:gd name="connsiteY6354" fmla="*/ 1225448 h 4806848"/>
              <a:gd name="connsiteX6355" fmla="*/ 2684311 w 8978749"/>
              <a:gd name="connsiteY6355" fmla="*/ 1225448 h 4806848"/>
              <a:gd name="connsiteX6356" fmla="*/ 2604936 w 8978749"/>
              <a:gd name="connsiteY6356" fmla="*/ 1166710 h 4806848"/>
              <a:gd name="connsiteX6357" fmla="*/ 2663674 w 8978749"/>
              <a:gd name="connsiteY6357" fmla="*/ 1166710 h 4806848"/>
              <a:gd name="connsiteX6358" fmla="*/ 2663674 w 8978749"/>
              <a:gd name="connsiteY6358" fmla="*/ 1225448 h 4806848"/>
              <a:gd name="connsiteX6359" fmla="*/ 2604936 w 8978749"/>
              <a:gd name="connsiteY6359" fmla="*/ 1225448 h 4806848"/>
              <a:gd name="connsiteX6360" fmla="*/ 2525721 w 8978749"/>
              <a:gd name="connsiteY6360" fmla="*/ 1166710 h 4806848"/>
              <a:gd name="connsiteX6361" fmla="*/ 2584456 w 8978749"/>
              <a:gd name="connsiteY6361" fmla="*/ 1166710 h 4806848"/>
              <a:gd name="connsiteX6362" fmla="*/ 2584456 w 8978749"/>
              <a:gd name="connsiteY6362" fmla="*/ 1225448 h 4806848"/>
              <a:gd name="connsiteX6363" fmla="*/ 2525721 w 8978749"/>
              <a:gd name="connsiteY6363" fmla="*/ 1225448 h 4806848"/>
              <a:gd name="connsiteX6364" fmla="*/ 2447925 w 8978749"/>
              <a:gd name="connsiteY6364" fmla="*/ 1166710 h 4806848"/>
              <a:gd name="connsiteX6365" fmla="*/ 2505086 w 8978749"/>
              <a:gd name="connsiteY6365" fmla="*/ 1166710 h 4806848"/>
              <a:gd name="connsiteX6366" fmla="*/ 2505086 w 8978749"/>
              <a:gd name="connsiteY6366" fmla="*/ 1225448 h 4806848"/>
              <a:gd name="connsiteX6367" fmla="*/ 2447925 w 8978749"/>
              <a:gd name="connsiteY6367" fmla="*/ 1225448 h 4806848"/>
              <a:gd name="connsiteX6368" fmla="*/ 2368559 w 8978749"/>
              <a:gd name="connsiteY6368" fmla="*/ 1166710 h 4806848"/>
              <a:gd name="connsiteX6369" fmla="*/ 2427293 w 8978749"/>
              <a:gd name="connsiteY6369" fmla="*/ 1166710 h 4806848"/>
              <a:gd name="connsiteX6370" fmla="*/ 2427293 w 8978749"/>
              <a:gd name="connsiteY6370" fmla="*/ 1225448 h 4806848"/>
              <a:gd name="connsiteX6371" fmla="*/ 2368559 w 8978749"/>
              <a:gd name="connsiteY6371" fmla="*/ 1225448 h 4806848"/>
              <a:gd name="connsiteX6372" fmla="*/ 1973255 w 8978749"/>
              <a:gd name="connsiteY6372" fmla="*/ 1166710 h 4806848"/>
              <a:gd name="connsiteX6373" fmla="*/ 2031999 w 8978749"/>
              <a:gd name="connsiteY6373" fmla="*/ 1166710 h 4806848"/>
              <a:gd name="connsiteX6374" fmla="*/ 2031999 w 8978749"/>
              <a:gd name="connsiteY6374" fmla="*/ 1225448 h 4806848"/>
              <a:gd name="connsiteX6375" fmla="*/ 1973255 w 8978749"/>
              <a:gd name="connsiteY6375" fmla="*/ 1225448 h 4806848"/>
              <a:gd name="connsiteX6376" fmla="*/ 1893878 w 8978749"/>
              <a:gd name="connsiteY6376" fmla="*/ 1166710 h 4806848"/>
              <a:gd name="connsiteX6377" fmla="*/ 1952617 w 8978749"/>
              <a:gd name="connsiteY6377" fmla="*/ 1166710 h 4806848"/>
              <a:gd name="connsiteX6378" fmla="*/ 1952617 w 8978749"/>
              <a:gd name="connsiteY6378" fmla="*/ 1225448 h 4806848"/>
              <a:gd name="connsiteX6379" fmla="*/ 1893878 w 8978749"/>
              <a:gd name="connsiteY6379" fmla="*/ 1225448 h 4806848"/>
              <a:gd name="connsiteX6380" fmla="*/ 1816117 w 8978749"/>
              <a:gd name="connsiteY6380" fmla="*/ 1166710 h 4806848"/>
              <a:gd name="connsiteX6381" fmla="*/ 1873248 w 8978749"/>
              <a:gd name="connsiteY6381" fmla="*/ 1166710 h 4806848"/>
              <a:gd name="connsiteX6382" fmla="*/ 1873248 w 8978749"/>
              <a:gd name="connsiteY6382" fmla="*/ 1225448 h 4806848"/>
              <a:gd name="connsiteX6383" fmla="*/ 1816117 w 8978749"/>
              <a:gd name="connsiteY6383" fmla="*/ 1225448 h 4806848"/>
              <a:gd name="connsiteX6384" fmla="*/ 1736741 w 8978749"/>
              <a:gd name="connsiteY6384" fmla="*/ 1166710 h 4806848"/>
              <a:gd name="connsiteX6385" fmla="*/ 1795488 w 8978749"/>
              <a:gd name="connsiteY6385" fmla="*/ 1166710 h 4806848"/>
              <a:gd name="connsiteX6386" fmla="*/ 1795488 w 8978749"/>
              <a:gd name="connsiteY6386" fmla="*/ 1225448 h 4806848"/>
              <a:gd name="connsiteX6387" fmla="*/ 1736741 w 8978749"/>
              <a:gd name="connsiteY6387" fmla="*/ 1225448 h 4806848"/>
              <a:gd name="connsiteX6388" fmla="*/ 1657358 w 8978749"/>
              <a:gd name="connsiteY6388" fmla="*/ 1166710 h 4806848"/>
              <a:gd name="connsiteX6389" fmla="*/ 1716103 w 8978749"/>
              <a:gd name="connsiteY6389" fmla="*/ 1166710 h 4806848"/>
              <a:gd name="connsiteX6390" fmla="*/ 1716103 w 8978749"/>
              <a:gd name="connsiteY6390" fmla="*/ 1225448 h 4806848"/>
              <a:gd name="connsiteX6391" fmla="*/ 1657358 w 8978749"/>
              <a:gd name="connsiteY6391" fmla="*/ 1225448 h 4806848"/>
              <a:gd name="connsiteX6392" fmla="*/ 1577973 w 8978749"/>
              <a:gd name="connsiteY6392" fmla="*/ 1166710 h 4806848"/>
              <a:gd name="connsiteX6393" fmla="*/ 1636724 w 8978749"/>
              <a:gd name="connsiteY6393" fmla="*/ 1166710 h 4806848"/>
              <a:gd name="connsiteX6394" fmla="*/ 1636724 w 8978749"/>
              <a:gd name="connsiteY6394" fmla="*/ 1225448 h 4806848"/>
              <a:gd name="connsiteX6395" fmla="*/ 1577973 w 8978749"/>
              <a:gd name="connsiteY6395" fmla="*/ 1225448 h 4806848"/>
              <a:gd name="connsiteX6396" fmla="*/ 1500181 w 8978749"/>
              <a:gd name="connsiteY6396" fmla="*/ 1166710 h 4806848"/>
              <a:gd name="connsiteX6397" fmla="*/ 1558924 w 8978749"/>
              <a:gd name="connsiteY6397" fmla="*/ 1166710 h 4806848"/>
              <a:gd name="connsiteX6398" fmla="*/ 1558924 w 8978749"/>
              <a:gd name="connsiteY6398" fmla="*/ 1225448 h 4806848"/>
              <a:gd name="connsiteX6399" fmla="*/ 1500181 w 8978749"/>
              <a:gd name="connsiteY6399" fmla="*/ 1225448 h 4806848"/>
              <a:gd name="connsiteX6400" fmla="*/ 1420803 w 8978749"/>
              <a:gd name="connsiteY6400" fmla="*/ 1166710 h 4806848"/>
              <a:gd name="connsiteX6401" fmla="*/ 1479542 w 8978749"/>
              <a:gd name="connsiteY6401" fmla="*/ 1166710 h 4806848"/>
              <a:gd name="connsiteX6402" fmla="*/ 1479542 w 8978749"/>
              <a:gd name="connsiteY6402" fmla="*/ 1225448 h 4806848"/>
              <a:gd name="connsiteX6403" fmla="*/ 1420803 w 8978749"/>
              <a:gd name="connsiteY6403" fmla="*/ 1225448 h 4806848"/>
              <a:gd name="connsiteX6404" fmla="*/ 1341462 w 8978749"/>
              <a:gd name="connsiteY6404" fmla="*/ 1166710 h 4806848"/>
              <a:gd name="connsiteX6405" fmla="*/ 1400182 w 8978749"/>
              <a:gd name="connsiteY6405" fmla="*/ 1166710 h 4806848"/>
              <a:gd name="connsiteX6406" fmla="*/ 1400182 w 8978749"/>
              <a:gd name="connsiteY6406" fmla="*/ 1225448 h 4806848"/>
              <a:gd name="connsiteX6407" fmla="*/ 1341462 w 8978749"/>
              <a:gd name="connsiteY6407" fmla="*/ 1225448 h 4806848"/>
              <a:gd name="connsiteX6408" fmla="*/ 1263649 w 8978749"/>
              <a:gd name="connsiteY6408" fmla="*/ 1166710 h 4806848"/>
              <a:gd name="connsiteX6409" fmla="*/ 1320812 w 8978749"/>
              <a:gd name="connsiteY6409" fmla="*/ 1166710 h 4806848"/>
              <a:gd name="connsiteX6410" fmla="*/ 1320812 w 8978749"/>
              <a:gd name="connsiteY6410" fmla="*/ 1225448 h 4806848"/>
              <a:gd name="connsiteX6411" fmla="*/ 1263649 w 8978749"/>
              <a:gd name="connsiteY6411" fmla="*/ 1225448 h 4806848"/>
              <a:gd name="connsiteX6412" fmla="*/ 1184282 w 8978749"/>
              <a:gd name="connsiteY6412" fmla="*/ 1166710 h 4806848"/>
              <a:gd name="connsiteX6413" fmla="*/ 1243008 w 8978749"/>
              <a:gd name="connsiteY6413" fmla="*/ 1166710 h 4806848"/>
              <a:gd name="connsiteX6414" fmla="*/ 1243008 w 8978749"/>
              <a:gd name="connsiteY6414" fmla="*/ 1225448 h 4806848"/>
              <a:gd name="connsiteX6415" fmla="*/ 1184282 w 8978749"/>
              <a:gd name="connsiteY6415" fmla="*/ 1225448 h 4806848"/>
              <a:gd name="connsiteX6416" fmla="*/ 1104907 w 8978749"/>
              <a:gd name="connsiteY6416" fmla="*/ 1166710 h 4806848"/>
              <a:gd name="connsiteX6417" fmla="*/ 1163642 w 8978749"/>
              <a:gd name="connsiteY6417" fmla="*/ 1166710 h 4806848"/>
              <a:gd name="connsiteX6418" fmla="*/ 1163642 w 8978749"/>
              <a:gd name="connsiteY6418" fmla="*/ 1225448 h 4806848"/>
              <a:gd name="connsiteX6419" fmla="*/ 1104907 w 8978749"/>
              <a:gd name="connsiteY6419" fmla="*/ 1225448 h 4806848"/>
              <a:gd name="connsiteX6420" fmla="*/ 1027110 w 8978749"/>
              <a:gd name="connsiteY6420" fmla="*/ 1166710 h 4806848"/>
              <a:gd name="connsiteX6421" fmla="*/ 1084271 w 8978749"/>
              <a:gd name="connsiteY6421" fmla="*/ 1166710 h 4806848"/>
              <a:gd name="connsiteX6422" fmla="*/ 1084271 w 8978749"/>
              <a:gd name="connsiteY6422" fmla="*/ 1225448 h 4806848"/>
              <a:gd name="connsiteX6423" fmla="*/ 1027110 w 8978749"/>
              <a:gd name="connsiteY6423" fmla="*/ 1225448 h 4806848"/>
              <a:gd name="connsiteX6424" fmla="*/ 947731 w 8978749"/>
              <a:gd name="connsiteY6424" fmla="*/ 1166710 h 4806848"/>
              <a:gd name="connsiteX6425" fmla="*/ 1004880 w 8978749"/>
              <a:gd name="connsiteY6425" fmla="*/ 1166710 h 4806848"/>
              <a:gd name="connsiteX6426" fmla="*/ 1004880 w 8978749"/>
              <a:gd name="connsiteY6426" fmla="*/ 1225448 h 4806848"/>
              <a:gd name="connsiteX6427" fmla="*/ 947731 w 8978749"/>
              <a:gd name="connsiteY6427" fmla="*/ 1225448 h 4806848"/>
              <a:gd name="connsiteX6428" fmla="*/ 395281 w 8978749"/>
              <a:gd name="connsiteY6428" fmla="*/ 1166710 h 4806848"/>
              <a:gd name="connsiteX6429" fmla="*/ 452422 w 8978749"/>
              <a:gd name="connsiteY6429" fmla="*/ 1166710 h 4806848"/>
              <a:gd name="connsiteX6430" fmla="*/ 452422 w 8978749"/>
              <a:gd name="connsiteY6430" fmla="*/ 1225448 h 4806848"/>
              <a:gd name="connsiteX6431" fmla="*/ 395281 w 8978749"/>
              <a:gd name="connsiteY6431" fmla="*/ 1225448 h 4806848"/>
              <a:gd name="connsiteX6432" fmla="*/ 315900 w 8978749"/>
              <a:gd name="connsiteY6432" fmla="*/ 1166710 h 4806848"/>
              <a:gd name="connsiteX6433" fmla="*/ 374643 w 8978749"/>
              <a:gd name="connsiteY6433" fmla="*/ 1166710 h 4806848"/>
              <a:gd name="connsiteX6434" fmla="*/ 374643 w 8978749"/>
              <a:gd name="connsiteY6434" fmla="*/ 1225448 h 4806848"/>
              <a:gd name="connsiteX6435" fmla="*/ 315900 w 8978749"/>
              <a:gd name="connsiteY6435" fmla="*/ 1225448 h 4806848"/>
              <a:gd name="connsiteX6436" fmla="*/ 8289774 w 8978749"/>
              <a:gd name="connsiteY6436" fmla="*/ 1090510 h 4806848"/>
              <a:gd name="connsiteX6437" fmla="*/ 8346924 w 8978749"/>
              <a:gd name="connsiteY6437" fmla="*/ 1090510 h 4806848"/>
              <a:gd name="connsiteX6438" fmla="*/ 8346924 w 8978749"/>
              <a:gd name="connsiteY6438" fmla="*/ 1147660 h 4806848"/>
              <a:gd name="connsiteX6439" fmla="*/ 8289774 w 8978749"/>
              <a:gd name="connsiteY6439" fmla="*/ 1147660 h 4806848"/>
              <a:gd name="connsiteX6440" fmla="*/ 8210399 w 8978749"/>
              <a:gd name="connsiteY6440" fmla="*/ 1090510 h 4806848"/>
              <a:gd name="connsiteX6441" fmla="*/ 8267549 w 8978749"/>
              <a:gd name="connsiteY6441" fmla="*/ 1090510 h 4806848"/>
              <a:gd name="connsiteX6442" fmla="*/ 8267549 w 8978749"/>
              <a:gd name="connsiteY6442" fmla="*/ 1147660 h 4806848"/>
              <a:gd name="connsiteX6443" fmla="*/ 8210399 w 8978749"/>
              <a:gd name="connsiteY6443" fmla="*/ 1147660 h 4806848"/>
              <a:gd name="connsiteX6444" fmla="*/ 7735736 w 8978749"/>
              <a:gd name="connsiteY6444" fmla="*/ 1090510 h 4806848"/>
              <a:gd name="connsiteX6445" fmla="*/ 7794474 w 8978749"/>
              <a:gd name="connsiteY6445" fmla="*/ 1090510 h 4806848"/>
              <a:gd name="connsiteX6446" fmla="*/ 7794474 w 8978749"/>
              <a:gd name="connsiteY6446" fmla="*/ 1147660 h 4806848"/>
              <a:gd name="connsiteX6447" fmla="*/ 7735736 w 8978749"/>
              <a:gd name="connsiteY6447" fmla="*/ 1147660 h 4806848"/>
              <a:gd name="connsiteX6448" fmla="*/ 7657949 w 8978749"/>
              <a:gd name="connsiteY6448" fmla="*/ 1090510 h 4806848"/>
              <a:gd name="connsiteX6449" fmla="*/ 7715099 w 8978749"/>
              <a:gd name="connsiteY6449" fmla="*/ 1090510 h 4806848"/>
              <a:gd name="connsiteX6450" fmla="*/ 7715099 w 8978749"/>
              <a:gd name="connsiteY6450" fmla="*/ 1147660 h 4806848"/>
              <a:gd name="connsiteX6451" fmla="*/ 7657949 w 8978749"/>
              <a:gd name="connsiteY6451" fmla="*/ 1147660 h 4806848"/>
              <a:gd name="connsiteX6452" fmla="*/ 7578574 w 8978749"/>
              <a:gd name="connsiteY6452" fmla="*/ 1090510 h 4806848"/>
              <a:gd name="connsiteX6453" fmla="*/ 7637312 w 8978749"/>
              <a:gd name="connsiteY6453" fmla="*/ 1090510 h 4806848"/>
              <a:gd name="connsiteX6454" fmla="*/ 7637312 w 8978749"/>
              <a:gd name="connsiteY6454" fmla="*/ 1147660 h 4806848"/>
              <a:gd name="connsiteX6455" fmla="*/ 7578574 w 8978749"/>
              <a:gd name="connsiteY6455" fmla="*/ 1147660 h 4806848"/>
              <a:gd name="connsiteX6456" fmla="*/ 7499199 w 8978749"/>
              <a:gd name="connsiteY6456" fmla="*/ 1090510 h 4806848"/>
              <a:gd name="connsiteX6457" fmla="*/ 7557937 w 8978749"/>
              <a:gd name="connsiteY6457" fmla="*/ 1090510 h 4806848"/>
              <a:gd name="connsiteX6458" fmla="*/ 7557937 w 8978749"/>
              <a:gd name="connsiteY6458" fmla="*/ 1147660 h 4806848"/>
              <a:gd name="connsiteX6459" fmla="*/ 7499199 w 8978749"/>
              <a:gd name="connsiteY6459" fmla="*/ 1147660 h 4806848"/>
              <a:gd name="connsiteX6460" fmla="*/ 7419824 w 8978749"/>
              <a:gd name="connsiteY6460" fmla="*/ 1090510 h 4806848"/>
              <a:gd name="connsiteX6461" fmla="*/ 7478562 w 8978749"/>
              <a:gd name="connsiteY6461" fmla="*/ 1090510 h 4806848"/>
              <a:gd name="connsiteX6462" fmla="*/ 7478562 w 8978749"/>
              <a:gd name="connsiteY6462" fmla="*/ 1147660 h 4806848"/>
              <a:gd name="connsiteX6463" fmla="*/ 7419824 w 8978749"/>
              <a:gd name="connsiteY6463" fmla="*/ 1147660 h 4806848"/>
              <a:gd name="connsiteX6464" fmla="*/ 7342036 w 8978749"/>
              <a:gd name="connsiteY6464" fmla="*/ 1090510 h 4806848"/>
              <a:gd name="connsiteX6465" fmla="*/ 7400774 w 8978749"/>
              <a:gd name="connsiteY6465" fmla="*/ 1090510 h 4806848"/>
              <a:gd name="connsiteX6466" fmla="*/ 7400774 w 8978749"/>
              <a:gd name="connsiteY6466" fmla="*/ 1147660 h 4806848"/>
              <a:gd name="connsiteX6467" fmla="*/ 7342036 w 8978749"/>
              <a:gd name="connsiteY6467" fmla="*/ 1147660 h 4806848"/>
              <a:gd name="connsiteX6468" fmla="*/ 7262661 w 8978749"/>
              <a:gd name="connsiteY6468" fmla="*/ 1090510 h 4806848"/>
              <a:gd name="connsiteX6469" fmla="*/ 7321399 w 8978749"/>
              <a:gd name="connsiteY6469" fmla="*/ 1090510 h 4806848"/>
              <a:gd name="connsiteX6470" fmla="*/ 7321399 w 8978749"/>
              <a:gd name="connsiteY6470" fmla="*/ 1147660 h 4806848"/>
              <a:gd name="connsiteX6471" fmla="*/ 7262661 w 8978749"/>
              <a:gd name="connsiteY6471" fmla="*/ 1147660 h 4806848"/>
              <a:gd name="connsiteX6472" fmla="*/ 7183286 w 8978749"/>
              <a:gd name="connsiteY6472" fmla="*/ 1090510 h 4806848"/>
              <a:gd name="connsiteX6473" fmla="*/ 7242024 w 8978749"/>
              <a:gd name="connsiteY6473" fmla="*/ 1090510 h 4806848"/>
              <a:gd name="connsiteX6474" fmla="*/ 7242024 w 8978749"/>
              <a:gd name="connsiteY6474" fmla="*/ 1147660 h 4806848"/>
              <a:gd name="connsiteX6475" fmla="*/ 7183286 w 8978749"/>
              <a:gd name="connsiteY6475" fmla="*/ 1147660 h 4806848"/>
              <a:gd name="connsiteX6476" fmla="*/ 7105499 w 8978749"/>
              <a:gd name="connsiteY6476" fmla="*/ 1090510 h 4806848"/>
              <a:gd name="connsiteX6477" fmla="*/ 7162649 w 8978749"/>
              <a:gd name="connsiteY6477" fmla="*/ 1090510 h 4806848"/>
              <a:gd name="connsiteX6478" fmla="*/ 7162649 w 8978749"/>
              <a:gd name="connsiteY6478" fmla="*/ 1147660 h 4806848"/>
              <a:gd name="connsiteX6479" fmla="*/ 7105499 w 8978749"/>
              <a:gd name="connsiteY6479" fmla="*/ 1147660 h 4806848"/>
              <a:gd name="connsiteX6480" fmla="*/ 7026124 w 8978749"/>
              <a:gd name="connsiteY6480" fmla="*/ 1090510 h 4806848"/>
              <a:gd name="connsiteX6481" fmla="*/ 7084862 w 8978749"/>
              <a:gd name="connsiteY6481" fmla="*/ 1090510 h 4806848"/>
              <a:gd name="connsiteX6482" fmla="*/ 7084862 w 8978749"/>
              <a:gd name="connsiteY6482" fmla="*/ 1147660 h 4806848"/>
              <a:gd name="connsiteX6483" fmla="*/ 7026124 w 8978749"/>
              <a:gd name="connsiteY6483" fmla="*/ 1147660 h 4806848"/>
              <a:gd name="connsiteX6484" fmla="*/ 6946749 w 8978749"/>
              <a:gd name="connsiteY6484" fmla="*/ 1090510 h 4806848"/>
              <a:gd name="connsiteX6485" fmla="*/ 7005487 w 8978749"/>
              <a:gd name="connsiteY6485" fmla="*/ 1090510 h 4806848"/>
              <a:gd name="connsiteX6486" fmla="*/ 7005487 w 8978749"/>
              <a:gd name="connsiteY6486" fmla="*/ 1147660 h 4806848"/>
              <a:gd name="connsiteX6487" fmla="*/ 6946749 w 8978749"/>
              <a:gd name="connsiteY6487" fmla="*/ 1147660 h 4806848"/>
              <a:gd name="connsiteX6488" fmla="*/ 6867374 w 8978749"/>
              <a:gd name="connsiteY6488" fmla="*/ 1090510 h 4806848"/>
              <a:gd name="connsiteX6489" fmla="*/ 6926112 w 8978749"/>
              <a:gd name="connsiteY6489" fmla="*/ 1090510 h 4806848"/>
              <a:gd name="connsiteX6490" fmla="*/ 6926112 w 8978749"/>
              <a:gd name="connsiteY6490" fmla="*/ 1147660 h 4806848"/>
              <a:gd name="connsiteX6491" fmla="*/ 6867374 w 8978749"/>
              <a:gd name="connsiteY6491" fmla="*/ 1147660 h 4806848"/>
              <a:gd name="connsiteX6492" fmla="*/ 6789586 w 8978749"/>
              <a:gd name="connsiteY6492" fmla="*/ 1090510 h 4806848"/>
              <a:gd name="connsiteX6493" fmla="*/ 6846736 w 8978749"/>
              <a:gd name="connsiteY6493" fmla="*/ 1090510 h 4806848"/>
              <a:gd name="connsiteX6494" fmla="*/ 6846736 w 8978749"/>
              <a:gd name="connsiteY6494" fmla="*/ 1147660 h 4806848"/>
              <a:gd name="connsiteX6495" fmla="*/ 6789586 w 8978749"/>
              <a:gd name="connsiteY6495" fmla="*/ 1147660 h 4806848"/>
              <a:gd name="connsiteX6496" fmla="*/ 6710211 w 8978749"/>
              <a:gd name="connsiteY6496" fmla="*/ 1090510 h 4806848"/>
              <a:gd name="connsiteX6497" fmla="*/ 6768949 w 8978749"/>
              <a:gd name="connsiteY6497" fmla="*/ 1090510 h 4806848"/>
              <a:gd name="connsiteX6498" fmla="*/ 6768949 w 8978749"/>
              <a:gd name="connsiteY6498" fmla="*/ 1147660 h 4806848"/>
              <a:gd name="connsiteX6499" fmla="*/ 6710211 w 8978749"/>
              <a:gd name="connsiteY6499" fmla="*/ 1147660 h 4806848"/>
              <a:gd name="connsiteX6500" fmla="*/ 6630836 w 8978749"/>
              <a:gd name="connsiteY6500" fmla="*/ 1090510 h 4806848"/>
              <a:gd name="connsiteX6501" fmla="*/ 6689574 w 8978749"/>
              <a:gd name="connsiteY6501" fmla="*/ 1090510 h 4806848"/>
              <a:gd name="connsiteX6502" fmla="*/ 6689574 w 8978749"/>
              <a:gd name="connsiteY6502" fmla="*/ 1147660 h 4806848"/>
              <a:gd name="connsiteX6503" fmla="*/ 6630836 w 8978749"/>
              <a:gd name="connsiteY6503" fmla="*/ 1147660 h 4806848"/>
              <a:gd name="connsiteX6504" fmla="*/ 6551461 w 8978749"/>
              <a:gd name="connsiteY6504" fmla="*/ 1090510 h 4806848"/>
              <a:gd name="connsiteX6505" fmla="*/ 6610199 w 8978749"/>
              <a:gd name="connsiteY6505" fmla="*/ 1090510 h 4806848"/>
              <a:gd name="connsiteX6506" fmla="*/ 6610199 w 8978749"/>
              <a:gd name="connsiteY6506" fmla="*/ 1147660 h 4806848"/>
              <a:gd name="connsiteX6507" fmla="*/ 6551461 w 8978749"/>
              <a:gd name="connsiteY6507" fmla="*/ 1147660 h 4806848"/>
              <a:gd name="connsiteX6508" fmla="*/ 6473674 w 8978749"/>
              <a:gd name="connsiteY6508" fmla="*/ 1090510 h 4806848"/>
              <a:gd name="connsiteX6509" fmla="*/ 6530824 w 8978749"/>
              <a:gd name="connsiteY6509" fmla="*/ 1090510 h 4806848"/>
              <a:gd name="connsiteX6510" fmla="*/ 6530824 w 8978749"/>
              <a:gd name="connsiteY6510" fmla="*/ 1147660 h 4806848"/>
              <a:gd name="connsiteX6511" fmla="*/ 6473674 w 8978749"/>
              <a:gd name="connsiteY6511" fmla="*/ 1147660 h 4806848"/>
              <a:gd name="connsiteX6512" fmla="*/ 6394299 w 8978749"/>
              <a:gd name="connsiteY6512" fmla="*/ 1090510 h 4806848"/>
              <a:gd name="connsiteX6513" fmla="*/ 6453037 w 8978749"/>
              <a:gd name="connsiteY6513" fmla="*/ 1090510 h 4806848"/>
              <a:gd name="connsiteX6514" fmla="*/ 6453037 w 8978749"/>
              <a:gd name="connsiteY6514" fmla="*/ 1147660 h 4806848"/>
              <a:gd name="connsiteX6515" fmla="*/ 6394299 w 8978749"/>
              <a:gd name="connsiteY6515" fmla="*/ 1147660 h 4806848"/>
              <a:gd name="connsiteX6516" fmla="*/ 6314924 w 8978749"/>
              <a:gd name="connsiteY6516" fmla="*/ 1090510 h 4806848"/>
              <a:gd name="connsiteX6517" fmla="*/ 6373662 w 8978749"/>
              <a:gd name="connsiteY6517" fmla="*/ 1090510 h 4806848"/>
              <a:gd name="connsiteX6518" fmla="*/ 6373662 w 8978749"/>
              <a:gd name="connsiteY6518" fmla="*/ 1147660 h 4806848"/>
              <a:gd name="connsiteX6519" fmla="*/ 6314924 w 8978749"/>
              <a:gd name="connsiteY6519" fmla="*/ 1147660 h 4806848"/>
              <a:gd name="connsiteX6520" fmla="*/ 6235549 w 8978749"/>
              <a:gd name="connsiteY6520" fmla="*/ 1090510 h 4806848"/>
              <a:gd name="connsiteX6521" fmla="*/ 6294287 w 8978749"/>
              <a:gd name="connsiteY6521" fmla="*/ 1090510 h 4806848"/>
              <a:gd name="connsiteX6522" fmla="*/ 6294287 w 8978749"/>
              <a:gd name="connsiteY6522" fmla="*/ 1147660 h 4806848"/>
              <a:gd name="connsiteX6523" fmla="*/ 6235549 w 8978749"/>
              <a:gd name="connsiteY6523" fmla="*/ 1147660 h 4806848"/>
              <a:gd name="connsiteX6524" fmla="*/ 6157761 w 8978749"/>
              <a:gd name="connsiteY6524" fmla="*/ 1090510 h 4806848"/>
              <a:gd name="connsiteX6525" fmla="*/ 6214911 w 8978749"/>
              <a:gd name="connsiteY6525" fmla="*/ 1090510 h 4806848"/>
              <a:gd name="connsiteX6526" fmla="*/ 6214911 w 8978749"/>
              <a:gd name="connsiteY6526" fmla="*/ 1147660 h 4806848"/>
              <a:gd name="connsiteX6527" fmla="*/ 6157761 w 8978749"/>
              <a:gd name="connsiteY6527" fmla="*/ 1147660 h 4806848"/>
              <a:gd name="connsiteX6528" fmla="*/ 6078386 w 8978749"/>
              <a:gd name="connsiteY6528" fmla="*/ 1090510 h 4806848"/>
              <a:gd name="connsiteX6529" fmla="*/ 6137124 w 8978749"/>
              <a:gd name="connsiteY6529" fmla="*/ 1090510 h 4806848"/>
              <a:gd name="connsiteX6530" fmla="*/ 6137124 w 8978749"/>
              <a:gd name="connsiteY6530" fmla="*/ 1147660 h 4806848"/>
              <a:gd name="connsiteX6531" fmla="*/ 6078386 w 8978749"/>
              <a:gd name="connsiteY6531" fmla="*/ 1147660 h 4806848"/>
              <a:gd name="connsiteX6532" fmla="*/ 5999011 w 8978749"/>
              <a:gd name="connsiteY6532" fmla="*/ 1090510 h 4806848"/>
              <a:gd name="connsiteX6533" fmla="*/ 6057749 w 8978749"/>
              <a:gd name="connsiteY6533" fmla="*/ 1090510 h 4806848"/>
              <a:gd name="connsiteX6534" fmla="*/ 6057749 w 8978749"/>
              <a:gd name="connsiteY6534" fmla="*/ 1147660 h 4806848"/>
              <a:gd name="connsiteX6535" fmla="*/ 5999011 w 8978749"/>
              <a:gd name="connsiteY6535" fmla="*/ 1147660 h 4806848"/>
              <a:gd name="connsiteX6536" fmla="*/ 5921224 w 8978749"/>
              <a:gd name="connsiteY6536" fmla="*/ 1090510 h 4806848"/>
              <a:gd name="connsiteX6537" fmla="*/ 5978374 w 8978749"/>
              <a:gd name="connsiteY6537" fmla="*/ 1090510 h 4806848"/>
              <a:gd name="connsiteX6538" fmla="*/ 5978374 w 8978749"/>
              <a:gd name="connsiteY6538" fmla="*/ 1147660 h 4806848"/>
              <a:gd name="connsiteX6539" fmla="*/ 5921224 w 8978749"/>
              <a:gd name="connsiteY6539" fmla="*/ 1147660 h 4806848"/>
              <a:gd name="connsiteX6540" fmla="*/ 5841849 w 8978749"/>
              <a:gd name="connsiteY6540" fmla="*/ 1090510 h 4806848"/>
              <a:gd name="connsiteX6541" fmla="*/ 5900587 w 8978749"/>
              <a:gd name="connsiteY6541" fmla="*/ 1090510 h 4806848"/>
              <a:gd name="connsiteX6542" fmla="*/ 5900587 w 8978749"/>
              <a:gd name="connsiteY6542" fmla="*/ 1147660 h 4806848"/>
              <a:gd name="connsiteX6543" fmla="*/ 5841849 w 8978749"/>
              <a:gd name="connsiteY6543" fmla="*/ 1147660 h 4806848"/>
              <a:gd name="connsiteX6544" fmla="*/ 5762474 w 8978749"/>
              <a:gd name="connsiteY6544" fmla="*/ 1090510 h 4806848"/>
              <a:gd name="connsiteX6545" fmla="*/ 5821212 w 8978749"/>
              <a:gd name="connsiteY6545" fmla="*/ 1090510 h 4806848"/>
              <a:gd name="connsiteX6546" fmla="*/ 5821212 w 8978749"/>
              <a:gd name="connsiteY6546" fmla="*/ 1147660 h 4806848"/>
              <a:gd name="connsiteX6547" fmla="*/ 5762474 w 8978749"/>
              <a:gd name="connsiteY6547" fmla="*/ 1147660 h 4806848"/>
              <a:gd name="connsiteX6548" fmla="*/ 5684686 w 8978749"/>
              <a:gd name="connsiteY6548" fmla="*/ 1090510 h 4806848"/>
              <a:gd name="connsiteX6549" fmla="*/ 5741836 w 8978749"/>
              <a:gd name="connsiteY6549" fmla="*/ 1090510 h 4806848"/>
              <a:gd name="connsiteX6550" fmla="*/ 5741836 w 8978749"/>
              <a:gd name="connsiteY6550" fmla="*/ 1147660 h 4806848"/>
              <a:gd name="connsiteX6551" fmla="*/ 5684686 w 8978749"/>
              <a:gd name="connsiteY6551" fmla="*/ 1147660 h 4806848"/>
              <a:gd name="connsiteX6552" fmla="*/ 5605311 w 8978749"/>
              <a:gd name="connsiteY6552" fmla="*/ 1090510 h 4806848"/>
              <a:gd name="connsiteX6553" fmla="*/ 5664049 w 8978749"/>
              <a:gd name="connsiteY6553" fmla="*/ 1090510 h 4806848"/>
              <a:gd name="connsiteX6554" fmla="*/ 5664049 w 8978749"/>
              <a:gd name="connsiteY6554" fmla="*/ 1147660 h 4806848"/>
              <a:gd name="connsiteX6555" fmla="*/ 5605311 w 8978749"/>
              <a:gd name="connsiteY6555" fmla="*/ 1147660 h 4806848"/>
              <a:gd name="connsiteX6556" fmla="*/ 5525936 w 8978749"/>
              <a:gd name="connsiteY6556" fmla="*/ 1090510 h 4806848"/>
              <a:gd name="connsiteX6557" fmla="*/ 5584674 w 8978749"/>
              <a:gd name="connsiteY6557" fmla="*/ 1090510 h 4806848"/>
              <a:gd name="connsiteX6558" fmla="*/ 5584674 w 8978749"/>
              <a:gd name="connsiteY6558" fmla="*/ 1147660 h 4806848"/>
              <a:gd name="connsiteX6559" fmla="*/ 5525936 w 8978749"/>
              <a:gd name="connsiteY6559" fmla="*/ 1147660 h 4806848"/>
              <a:gd name="connsiteX6560" fmla="*/ 5446561 w 8978749"/>
              <a:gd name="connsiteY6560" fmla="*/ 1090510 h 4806848"/>
              <a:gd name="connsiteX6561" fmla="*/ 5505299 w 8978749"/>
              <a:gd name="connsiteY6561" fmla="*/ 1090510 h 4806848"/>
              <a:gd name="connsiteX6562" fmla="*/ 5505299 w 8978749"/>
              <a:gd name="connsiteY6562" fmla="*/ 1147660 h 4806848"/>
              <a:gd name="connsiteX6563" fmla="*/ 5446561 w 8978749"/>
              <a:gd name="connsiteY6563" fmla="*/ 1147660 h 4806848"/>
              <a:gd name="connsiteX6564" fmla="*/ 5368774 w 8978749"/>
              <a:gd name="connsiteY6564" fmla="*/ 1090510 h 4806848"/>
              <a:gd name="connsiteX6565" fmla="*/ 5425924 w 8978749"/>
              <a:gd name="connsiteY6565" fmla="*/ 1090510 h 4806848"/>
              <a:gd name="connsiteX6566" fmla="*/ 5425924 w 8978749"/>
              <a:gd name="connsiteY6566" fmla="*/ 1147660 h 4806848"/>
              <a:gd name="connsiteX6567" fmla="*/ 5368774 w 8978749"/>
              <a:gd name="connsiteY6567" fmla="*/ 1147660 h 4806848"/>
              <a:gd name="connsiteX6568" fmla="*/ 5289399 w 8978749"/>
              <a:gd name="connsiteY6568" fmla="*/ 1090510 h 4806848"/>
              <a:gd name="connsiteX6569" fmla="*/ 5348137 w 8978749"/>
              <a:gd name="connsiteY6569" fmla="*/ 1090510 h 4806848"/>
              <a:gd name="connsiteX6570" fmla="*/ 5348137 w 8978749"/>
              <a:gd name="connsiteY6570" fmla="*/ 1147660 h 4806848"/>
              <a:gd name="connsiteX6571" fmla="*/ 5289399 w 8978749"/>
              <a:gd name="connsiteY6571" fmla="*/ 1147660 h 4806848"/>
              <a:gd name="connsiteX6572" fmla="*/ 5210024 w 8978749"/>
              <a:gd name="connsiteY6572" fmla="*/ 1090510 h 4806848"/>
              <a:gd name="connsiteX6573" fmla="*/ 5268762 w 8978749"/>
              <a:gd name="connsiteY6573" fmla="*/ 1090510 h 4806848"/>
              <a:gd name="connsiteX6574" fmla="*/ 5268762 w 8978749"/>
              <a:gd name="connsiteY6574" fmla="*/ 1147660 h 4806848"/>
              <a:gd name="connsiteX6575" fmla="*/ 5210024 w 8978749"/>
              <a:gd name="connsiteY6575" fmla="*/ 1147660 h 4806848"/>
              <a:gd name="connsiteX6576" fmla="*/ 5130649 w 8978749"/>
              <a:gd name="connsiteY6576" fmla="*/ 1090510 h 4806848"/>
              <a:gd name="connsiteX6577" fmla="*/ 5189387 w 8978749"/>
              <a:gd name="connsiteY6577" fmla="*/ 1090510 h 4806848"/>
              <a:gd name="connsiteX6578" fmla="*/ 5189387 w 8978749"/>
              <a:gd name="connsiteY6578" fmla="*/ 1147660 h 4806848"/>
              <a:gd name="connsiteX6579" fmla="*/ 5130649 w 8978749"/>
              <a:gd name="connsiteY6579" fmla="*/ 1147660 h 4806848"/>
              <a:gd name="connsiteX6580" fmla="*/ 5052861 w 8978749"/>
              <a:gd name="connsiteY6580" fmla="*/ 1090510 h 4806848"/>
              <a:gd name="connsiteX6581" fmla="*/ 5110011 w 8978749"/>
              <a:gd name="connsiteY6581" fmla="*/ 1090510 h 4806848"/>
              <a:gd name="connsiteX6582" fmla="*/ 5110011 w 8978749"/>
              <a:gd name="connsiteY6582" fmla="*/ 1147660 h 4806848"/>
              <a:gd name="connsiteX6583" fmla="*/ 5052861 w 8978749"/>
              <a:gd name="connsiteY6583" fmla="*/ 1147660 h 4806848"/>
              <a:gd name="connsiteX6584" fmla="*/ 4973486 w 8978749"/>
              <a:gd name="connsiteY6584" fmla="*/ 1090510 h 4806848"/>
              <a:gd name="connsiteX6585" fmla="*/ 5030636 w 8978749"/>
              <a:gd name="connsiteY6585" fmla="*/ 1090510 h 4806848"/>
              <a:gd name="connsiteX6586" fmla="*/ 5030636 w 8978749"/>
              <a:gd name="connsiteY6586" fmla="*/ 1147660 h 4806848"/>
              <a:gd name="connsiteX6587" fmla="*/ 4973486 w 8978749"/>
              <a:gd name="connsiteY6587" fmla="*/ 1147660 h 4806848"/>
              <a:gd name="connsiteX6588" fmla="*/ 4894111 w 8978749"/>
              <a:gd name="connsiteY6588" fmla="*/ 1090510 h 4806848"/>
              <a:gd name="connsiteX6589" fmla="*/ 4952849 w 8978749"/>
              <a:gd name="connsiteY6589" fmla="*/ 1090510 h 4806848"/>
              <a:gd name="connsiteX6590" fmla="*/ 4952849 w 8978749"/>
              <a:gd name="connsiteY6590" fmla="*/ 1147660 h 4806848"/>
              <a:gd name="connsiteX6591" fmla="*/ 4894111 w 8978749"/>
              <a:gd name="connsiteY6591" fmla="*/ 1147660 h 4806848"/>
              <a:gd name="connsiteX6592" fmla="*/ 4657573 w 8978749"/>
              <a:gd name="connsiteY6592" fmla="*/ 1090510 h 4806848"/>
              <a:gd name="connsiteX6593" fmla="*/ 4716311 w 8978749"/>
              <a:gd name="connsiteY6593" fmla="*/ 1090510 h 4806848"/>
              <a:gd name="connsiteX6594" fmla="*/ 4716311 w 8978749"/>
              <a:gd name="connsiteY6594" fmla="*/ 1147660 h 4806848"/>
              <a:gd name="connsiteX6595" fmla="*/ 4657573 w 8978749"/>
              <a:gd name="connsiteY6595" fmla="*/ 1147660 h 4806848"/>
              <a:gd name="connsiteX6596" fmla="*/ 4578198 w 8978749"/>
              <a:gd name="connsiteY6596" fmla="*/ 1090510 h 4806848"/>
              <a:gd name="connsiteX6597" fmla="*/ 4636936 w 8978749"/>
              <a:gd name="connsiteY6597" fmla="*/ 1090510 h 4806848"/>
              <a:gd name="connsiteX6598" fmla="*/ 4636936 w 8978749"/>
              <a:gd name="connsiteY6598" fmla="*/ 1147660 h 4806848"/>
              <a:gd name="connsiteX6599" fmla="*/ 4578198 w 8978749"/>
              <a:gd name="connsiteY6599" fmla="*/ 1147660 h 4806848"/>
              <a:gd name="connsiteX6600" fmla="*/ 4498823 w 8978749"/>
              <a:gd name="connsiteY6600" fmla="*/ 1090510 h 4806848"/>
              <a:gd name="connsiteX6601" fmla="*/ 4557561 w 8978749"/>
              <a:gd name="connsiteY6601" fmla="*/ 1090510 h 4806848"/>
              <a:gd name="connsiteX6602" fmla="*/ 4557561 w 8978749"/>
              <a:gd name="connsiteY6602" fmla="*/ 1147660 h 4806848"/>
              <a:gd name="connsiteX6603" fmla="*/ 4498823 w 8978749"/>
              <a:gd name="connsiteY6603" fmla="*/ 1147660 h 4806848"/>
              <a:gd name="connsiteX6604" fmla="*/ 4184498 w 8978749"/>
              <a:gd name="connsiteY6604" fmla="*/ 1090510 h 4806848"/>
              <a:gd name="connsiteX6605" fmla="*/ 4241648 w 8978749"/>
              <a:gd name="connsiteY6605" fmla="*/ 1090510 h 4806848"/>
              <a:gd name="connsiteX6606" fmla="*/ 4241648 w 8978749"/>
              <a:gd name="connsiteY6606" fmla="*/ 1147660 h 4806848"/>
              <a:gd name="connsiteX6607" fmla="*/ 4184498 w 8978749"/>
              <a:gd name="connsiteY6607" fmla="*/ 1147660 h 4806848"/>
              <a:gd name="connsiteX6608" fmla="*/ 4105123 w 8978749"/>
              <a:gd name="connsiteY6608" fmla="*/ 1090510 h 4806848"/>
              <a:gd name="connsiteX6609" fmla="*/ 4163861 w 8978749"/>
              <a:gd name="connsiteY6609" fmla="*/ 1090510 h 4806848"/>
              <a:gd name="connsiteX6610" fmla="*/ 4163861 w 8978749"/>
              <a:gd name="connsiteY6610" fmla="*/ 1147660 h 4806848"/>
              <a:gd name="connsiteX6611" fmla="*/ 4105123 w 8978749"/>
              <a:gd name="connsiteY6611" fmla="*/ 1147660 h 4806848"/>
              <a:gd name="connsiteX6612" fmla="*/ 2604936 w 8978749"/>
              <a:gd name="connsiteY6612" fmla="*/ 1090510 h 4806848"/>
              <a:gd name="connsiteX6613" fmla="*/ 2663674 w 8978749"/>
              <a:gd name="connsiteY6613" fmla="*/ 1090510 h 4806848"/>
              <a:gd name="connsiteX6614" fmla="*/ 2663674 w 8978749"/>
              <a:gd name="connsiteY6614" fmla="*/ 1147660 h 4806848"/>
              <a:gd name="connsiteX6615" fmla="*/ 2604936 w 8978749"/>
              <a:gd name="connsiteY6615" fmla="*/ 1147660 h 4806848"/>
              <a:gd name="connsiteX6616" fmla="*/ 2525724 w 8978749"/>
              <a:gd name="connsiteY6616" fmla="*/ 1090510 h 4806848"/>
              <a:gd name="connsiteX6617" fmla="*/ 2584459 w 8978749"/>
              <a:gd name="connsiteY6617" fmla="*/ 1090510 h 4806848"/>
              <a:gd name="connsiteX6618" fmla="*/ 2584459 w 8978749"/>
              <a:gd name="connsiteY6618" fmla="*/ 1147660 h 4806848"/>
              <a:gd name="connsiteX6619" fmla="*/ 2525724 w 8978749"/>
              <a:gd name="connsiteY6619" fmla="*/ 1147660 h 4806848"/>
              <a:gd name="connsiteX6620" fmla="*/ 2447930 w 8978749"/>
              <a:gd name="connsiteY6620" fmla="*/ 1090510 h 4806848"/>
              <a:gd name="connsiteX6621" fmla="*/ 2505091 w 8978749"/>
              <a:gd name="connsiteY6621" fmla="*/ 1090510 h 4806848"/>
              <a:gd name="connsiteX6622" fmla="*/ 2505091 w 8978749"/>
              <a:gd name="connsiteY6622" fmla="*/ 1147660 h 4806848"/>
              <a:gd name="connsiteX6623" fmla="*/ 2447930 w 8978749"/>
              <a:gd name="connsiteY6623" fmla="*/ 1147660 h 4806848"/>
              <a:gd name="connsiteX6624" fmla="*/ 2368563 w 8978749"/>
              <a:gd name="connsiteY6624" fmla="*/ 1090510 h 4806848"/>
              <a:gd name="connsiteX6625" fmla="*/ 2427295 w 8978749"/>
              <a:gd name="connsiteY6625" fmla="*/ 1090510 h 4806848"/>
              <a:gd name="connsiteX6626" fmla="*/ 2427295 w 8978749"/>
              <a:gd name="connsiteY6626" fmla="*/ 1147660 h 4806848"/>
              <a:gd name="connsiteX6627" fmla="*/ 2368563 w 8978749"/>
              <a:gd name="connsiteY6627" fmla="*/ 1147660 h 4806848"/>
              <a:gd name="connsiteX6628" fmla="*/ 2289186 w 8978749"/>
              <a:gd name="connsiteY6628" fmla="*/ 1090510 h 4806848"/>
              <a:gd name="connsiteX6629" fmla="*/ 2347927 w 8978749"/>
              <a:gd name="connsiteY6629" fmla="*/ 1090510 h 4806848"/>
              <a:gd name="connsiteX6630" fmla="*/ 2347927 w 8978749"/>
              <a:gd name="connsiteY6630" fmla="*/ 1147660 h 4806848"/>
              <a:gd name="connsiteX6631" fmla="*/ 2289186 w 8978749"/>
              <a:gd name="connsiteY6631" fmla="*/ 1147660 h 4806848"/>
              <a:gd name="connsiteX6632" fmla="*/ 1816121 w 8978749"/>
              <a:gd name="connsiteY6632" fmla="*/ 1090510 h 4806848"/>
              <a:gd name="connsiteX6633" fmla="*/ 1873253 w 8978749"/>
              <a:gd name="connsiteY6633" fmla="*/ 1090510 h 4806848"/>
              <a:gd name="connsiteX6634" fmla="*/ 1873253 w 8978749"/>
              <a:gd name="connsiteY6634" fmla="*/ 1147660 h 4806848"/>
              <a:gd name="connsiteX6635" fmla="*/ 1816121 w 8978749"/>
              <a:gd name="connsiteY6635" fmla="*/ 1147660 h 4806848"/>
              <a:gd name="connsiteX6636" fmla="*/ 1736746 w 8978749"/>
              <a:gd name="connsiteY6636" fmla="*/ 1090510 h 4806848"/>
              <a:gd name="connsiteX6637" fmla="*/ 1795493 w 8978749"/>
              <a:gd name="connsiteY6637" fmla="*/ 1090510 h 4806848"/>
              <a:gd name="connsiteX6638" fmla="*/ 1795493 w 8978749"/>
              <a:gd name="connsiteY6638" fmla="*/ 1147660 h 4806848"/>
              <a:gd name="connsiteX6639" fmla="*/ 1736746 w 8978749"/>
              <a:gd name="connsiteY6639" fmla="*/ 1147660 h 4806848"/>
              <a:gd name="connsiteX6640" fmla="*/ 1657364 w 8978749"/>
              <a:gd name="connsiteY6640" fmla="*/ 1090510 h 4806848"/>
              <a:gd name="connsiteX6641" fmla="*/ 1716107 w 8978749"/>
              <a:gd name="connsiteY6641" fmla="*/ 1090510 h 4806848"/>
              <a:gd name="connsiteX6642" fmla="*/ 1716107 w 8978749"/>
              <a:gd name="connsiteY6642" fmla="*/ 1147660 h 4806848"/>
              <a:gd name="connsiteX6643" fmla="*/ 1657364 w 8978749"/>
              <a:gd name="connsiteY6643" fmla="*/ 1147660 h 4806848"/>
              <a:gd name="connsiteX6644" fmla="*/ 1577977 w 8978749"/>
              <a:gd name="connsiteY6644" fmla="*/ 1090510 h 4806848"/>
              <a:gd name="connsiteX6645" fmla="*/ 1636728 w 8978749"/>
              <a:gd name="connsiteY6645" fmla="*/ 1090510 h 4806848"/>
              <a:gd name="connsiteX6646" fmla="*/ 1636728 w 8978749"/>
              <a:gd name="connsiteY6646" fmla="*/ 1147660 h 4806848"/>
              <a:gd name="connsiteX6647" fmla="*/ 1577977 w 8978749"/>
              <a:gd name="connsiteY6647" fmla="*/ 1147660 h 4806848"/>
              <a:gd name="connsiteX6648" fmla="*/ 1500185 w 8978749"/>
              <a:gd name="connsiteY6648" fmla="*/ 1090510 h 4806848"/>
              <a:gd name="connsiteX6649" fmla="*/ 1558929 w 8978749"/>
              <a:gd name="connsiteY6649" fmla="*/ 1090510 h 4806848"/>
              <a:gd name="connsiteX6650" fmla="*/ 1558929 w 8978749"/>
              <a:gd name="connsiteY6650" fmla="*/ 1147660 h 4806848"/>
              <a:gd name="connsiteX6651" fmla="*/ 1500185 w 8978749"/>
              <a:gd name="connsiteY6651" fmla="*/ 1147660 h 4806848"/>
              <a:gd name="connsiteX6652" fmla="*/ 1420806 w 8978749"/>
              <a:gd name="connsiteY6652" fmla="*/ 1090510 h 4806848"/>
              <a:gd name="connsiteX6653" fmla="*/ 1479543 w 8978749"/>
              <a:gd name="connsiteY6653" fmla="*/ 1090510 h 4806848"/>
              <a:gd name="connsiteX6654" fmla="*/ 1479543 w 8978749"/>
              <a:gd name="connsiteY6654" fmla="*/ 1147660 h 4806848"/>
              <a:gd name="connsiteX6655" fmla="*/ 1420806 w 8978749"/>
              <a:gd name="connsiteY6655" fmla="*/ 1147660 h 4806848"/>
              <a:gd name="connsiteX6656" fmla="*/ 1341469 w 8978749"/>
              <a:gd name="connsiteY6656" fmla="*/ 1090510 h 4806848"/>
              <a:gd name="connsiteX6657" fmla="*/ 1400187 w 8978749"/>
              <a:gd name="connsiteY6657" fmla="*/ 1090510 h 4806848"/>
              <a:gd name="connsiteX6658" fmla="*/ 1400187 w 8978749"/>
              <a:gd name="connsiteY6658" fmla="*/ 1147660 h 4806848"/>
              <a:gd name="connsiteX6659" fmla="*/ 1341469 w 8978749"/>
              <a:gd name="connsiteY6659" fmla="*/ 1147660 h 4806848"/>
              <a:gd name="connsiteX6660" fmla="*/ 1263653 w 8978749"/>
              <a:gd name="connsiteY6660" fmla="*/ 1090510 h 4806848"/>
              <a:gd name="connsiteX6661" fmla="*/ 1320817 w 8978749"/>
              <a:gd name="connsiteY6661" fmla="*/ 1090510 h 4806848"/>
              <a:gd name="connsiteX6662" fmla="*/ 1320817 w 8978749"/>
              <a:gd name="connsiteY6662" fmla="*/ 1147660 h 4806848"/>
              <a:gd name="connsiteX6663" fmla="*/ 1263653 w 8978749"/>
              <a:gd name="connsiteY6663" fmla="*/ 1147660 h 4806848"/>
              <a:gd name="connsiteX6664" fmla="*/ 1184282 w 8978749"/>
              <a:gd name="connsiteY6664" fmla="*/ 1090510 h 4806848"/>
              <a:gd name="connsiteX6665" fmla="*/ 1243012 w 8978749"/>
              <a:gd name="connsiteY6665" fmla="*/ 1090510 h 4806848"/>
              <a:gd name="connsiteX6666" fmla="*/ 1243012 w 8978749"/>
              <a:gd name="connsiteY6666" fmla="*/ 1147660 h 4806848"/>
              <a:gd name="connsiteX6667" fmla="*/ 1184282 w 8978749"/>
              <a:gd name="connsiteY6667" fmla="*/ 1147660 h 4806848"/>
              <a:gd name="connsiteX6668" fmla="*/ 1104911 w 8978749"/>
              <a:gd name="connsiteY6668" fmla="*/ 1090510 h 4806848"/>
              <a:gd name="connsiteX6669" fmla="*/ 1163645 w 8978749"/>
              <a:gd name="connsiteY6669" fmla="*/ 1090510 h 4806848"/>
              <a:gd name="connsiteX6670" fmla="*/ 1163645 w 8978749"/>
              <a:gd name="connsiteY6670" fmla="*/ 1147660 h 4806848"/>
              <a:gd name="connsiteX6671" fmla="*/ 1104911 w 8978749"/>
              <a:gd name="connsiteY6671" fmla="*/ 1147660 h 4806848"/>
              <a:gd name="connsiteX6672" fmla="*/ 1027114 w 8978749"/>
              <a:gd name="connsiteY6672" fmla="*/ 1090510 h 4806848"/>
              <a:gd name="connsiteX6673" fmla="*/ 1084277 w 8978749"/>
              <a:gd name="connsiteY6673" fmla="*/ 1090510 h 4806848"/>
              <a:gd name="connsiteX6674" fmla="*/ 1084277 w 8978749"/>
              <a:gd name="connsiteY6674" fmla="*/ 1147660 h 4806848"/>
              <a:gd name="connsiteX6675" fmla="*/ 1027114 w 8978749"/>
              <a:gd name="connsiteY6675" fmla="*/ 1147660 h 4806848"/>
              <a:gd name="connsiteX6676" fmla="*/ 947735 w 8978749"/>
              <a:gd name="connsiteY6676" fmla="*/ 1090510 h 4806848"/>
              <a:gd name="connsiteX6677" fmla="*/ 1004884 w 8978749"/>
              <a:gd name="connsiteY6677" fmla="*/ 1090510 h 4806848"/>
              <a:gd name="connsiteX6678" fmla="*/ 1004884 w 8978749"/>
              <a:gd name="connsiteY6678" fmla="*/ 1147660 h 4806848"/>
              <a:gd name="connsiteX6679" fmla="*/ 947735 w 8978749"/>
              <a:gd name="connsiteY6679" fmla="*/ 1147660 h 4806848"/>
              <a:gd name="connsiteX6680" fmla="*/ 868372 w 8978749"/>
              <a:gd name="connsiteY6680" fmla="*/ 1090510 h 4806848"/>
              <a:gd name="connsiteX6681" fmla="*/ 927105 w 8978749"/>
              <a:gd name="connsiteY6681" fmla="*/ 1090510 h 4806848"/>
              <a:gd name="connsiteX6682" fmla="*/ 927105 w 8978749"/>
              <a:gd name="connsiteY6682" fmla="*/ 1147660 h 4806848"/>
              <a:gd name="connsiteX6683" fmla="*/ 868372 w 8978749"/>
              <a:gd name="connsiteY6683" fmla="*/ 1147660 h 4806848"/>
              <a:gd name="connsiteX6684" fmla="*/ 473064 w 8978749"/>
              <a:gd name="connsiteY6684" fmla="*/ 1090510 h 4806848"/>
              <a:gd name="connsiteX6685" fmla="*/ 531846 w 8978749"/>
              <a:gd name="connsiteY6685" fmla="*/ 1090510 h 4806848"/>
              <a:gd name="connsiteX6686" fmla="*/ 531846 w 8978749"/>
              <a:gd name="connsiteY6686" fmla="*/ 1147660 h 4806848"/>
              <a:gd name="connsiteX6687" fmla="*/ 473064 w 8978749"/>
              <a:gd name="connsiteY6687" fmla="*/ 1147660 h 4806848"/>
              <a:gd name="connsiteX6688" fmla="*/ 395284 w 8978749"/>
              <a:gd name="connsiteY6688" fmla="*/ 1090510 h 4806848"/>
              <a:gd name="connsiteX6689" fmla="*/ 452426 w 8978749"/>
              <a:gd name="connsiteY6689" fmla="*/ 1090510 h 4806848"/>
              <a:gd name="connsiteX6690" fmla="*/ 452426 w 8978749"/>
              <a:gd name="connsiteY6690" fmla="*/ 1147660 h 4806848"/>
              <a:gd name="connsiteX6691" fmla="*/ 395284 w 8978749"/>
              <a:gd name="connsiteY6691" fmla="*/ 1147660 h 4806848"/>
              <a:gd name="connsiteX6692" fmla="*/ 315904 w 8978749"/>
              <a:gd name="connsiteY6692" fmla="*/ 1090510 h 4806848"/>
              <a:gd name="connsiteX6693" fmla="*/ 374644 w 8978749"/>
              <a:gd name="connsiteY6693" fmla="*/ 1090510 h 4806848"/>
              <a:gd name="connsiteX6694" fmla="*/ 374644 w 8978749"/>
              <a:gd name="connsiteY6694" fmla="*/ 1147660 h 4806848"/>
              <a:gd name="connsiteX6695" fmla="*/ 315904 w 8978749"/>
              <a:gd name="connsiteY6695" fmla="*/ 1147660 h 4806848"/>
              <a:gd name="connsiteX6696" fmla="*/ 236529 w 8978749"/>
              <a:gd name="connsiteY6696" fmla="*/ 1090510 h 4806848"/>
              <a:gd name="connsiteX6697" fmla="*/ 295267 w 8978749"/>
              <a:gd name="connsiteY6697" fmla="*/ 1090510 h 4806848"/>
              <a:gd name="connsiteX6698" fmla="*/ 295267 w 8978749"/>
              <a:gd name="connsiteY6698" fmla="*/ 1147660 h 4806848"/>
              <a:gd name="connsiteX6699" fmla="*/ 236529 w 8978749"/>
              <a:gd name="connsiteY6699" fmla="*/ 1147660 h 4806848"/>
              <a:gd name="connsiteX6700" fmla="*/ 8367561 w 8978749"/>
              <a:gd name="connsiteY6700" fmla="*/ 1012870 h 4806848"/>
              <a:gd name="connsiteX6701" fmla="*/ 8426299 w 8978749"/>
              <a:gd name="connsiteY6701" fmla="*/ 1012870 h 4806848"/>
              <a:gd name="connsiteX6702" fmla="*/ 8426299 w 8978749"/>
              <a:gd name="connsiteY6702" fmla="*/ 1070020 h 4806848"/>
              <a:gd name="connsiteX6703" fmla="*/ 8367561 w 8978749"/>
              <a:gd name="connsiteY6703" fmla="*/ 1070020 h 4806848"/>
              <a:gd name="connsiteX6704" fmla="*/ 8289774 w 8978749"/>
              <a:gd name="connsiteY6704" fmla="*/ 1012870 h 4806848"/>
              <a:gd name="connsiteX6705" fmla="*/ 8346924 w 8978749"/>
              <a:gd name="connsiteY6705" fmla="*/ 1012870 h 4806848"/>
              <a:gd name="connsiteX6706" fmla="*/ 8346924 w 8978749"/>
              <a:gd name="connsiteY6706" fmla="*/ 1070020 h 4806848"/>
              <a:gd name="connsiteX6707" fmla="*/ 8289774 w 8978749"/>
              <a:gd name="connsiteY6707" fmla="*/ 1070020 h 4806848"/>
              <a:gd name="connsiteX6708" fmla="*/ 8210399 w 8978749"/>
              <a:gd name="connsiteY6708" fmla="*/ 1012870 h 4806848"/>
              <a:gd name="connsiteX6709" fmla="*/ 8267549 w 8978749"/>
              <a:gd name="connsiteY6709" fmla="*/ 1012870 h 4806848"/>
              <a:gd name="connsiteX6710" fmla="*/ 8267549 w 8978749"/>
              <a:gd name="connsiteY6710" fmla="*/ 1070020 h 4806848"/>
              <a:gd name="connsiteX6711" fmla="*/ 8210399 w 8978749"/>
              <a:gd name="connsiteY6711" fmla="*/ 1070020 h 4806848"/>
              <a:gd name="connsiteX6712" fmla="*/ 8051649 w 8978749"/>
              <a:gd name="connsiteY6712" fmla="*/ 1012870 h 4806848"/>
              <a:gd name="connsiteX6713" fmla="*/ 8110387 w 8978749"/>
              <a:gd name="connsiteY6713" fmla="*/ 1012870 h 4806848"/>
              <a:gd name="connsiteX6714" fmla="*/ 8110387 w 8978749"/>
              <a:gd name="connsiteY6714" fmla="*/ 1070020 h 4806848"/>
              <a:gd name="connsiteX6715" fmla="*/ 8051649 w 8978749"/>
              <a:gd name="connsiteY6715" fmla="*/ 1070020 h 4806848"/>
              <a:gd name="connsiteX6716" fmla="*/ 7973861 w 8978749"/>
              <a:gd name="connsiteY6716" fmla="*/ 1012870 h 4806848"/>
              <a:gd name="connsiteX6717" fmla="*/ 8031011 w 8978749"/>
              <a:gd name="connsiteY6717" fmla="*/ 1012870 h 4806848"/>
              <a:gd name="connsiteX6718" fmla="*/ 8031011 w 8978749"/>
              <a:gd name="connsiteY6718" fmla="*/ 1070020 h 4806848"/>
              <a:gd name="connsiteX6719" fmla="*/ 7973861 w 8978749"/>
              <a:gd name="connsiteY6719" fmla="*/ 1070020 h 4806848"/>
              <a:gd name="connsiteX6720" fmla="*/ 7894486 w 8978749"/>
              <a:gd name="connsiteY6720" fmla="*/ 1012870 h 4806848"/>
              <a:gd name="connsiteX6721" fmla="*/ 7951636 w 8978749"/>
              <a:gd name="connsiteY6721" fmla="*/ 1012870 h 4806848"/>
              <a:gd name="connsiteX6722" fmla="*/ 7951636 w 8978749"/>
              <a:gd name="connsiteY6722" fmla="*/ 1070020 h 4806848"/>
              <a:gd name="connsiteX6723" fmla="*/ 7894486 w 8978749"/>
              <a:gd name="connsiteY6723" fmla="*/ 1070020 h 4806848"/>
              <a:gd name="connsiteX6724" fmla="*/ 7815111 w 8978749"/>
              <a:gd name="connsiteY6724" fmla="*/ 1012870 h 4806848"/>
              <a:gd name="connsiteX6725" fmla="*/ 7873849 w 8978749"/>
              <a:gd name="connsiteY6725" fmla="*/ 1012870 h 4806848"/>
              <a:gd name="connsiteX6726" fmla="*/ 7873849 w 8978749"/>
              <a:gd name="connsiteY6726" fmla="*/ 1070020 h 4806848"/>
              <a:gd name="connsiteX6727" fmla="*/ 7815111 w 8978749"/>
              <a:gd name="connsiteY6727" fmla="*/ 1070020 h 4806848"/>
              <a:gd name="connsiteX6728" fmla="*/ 7735736 w 8978749"/>
              <a:gd name="connsiteY6728" fmla="*/ 1012870 h 4806848"/>
              <a:gd name="connsiteX6729" fmla="*/ 7794474 w 8978749"/>
              <a:gd name="connsiteY6729" fmla="*/ 1012870 h 4806848"/>
              <a:gd name="connsiteX6730" fmla="*/ 7794474 w 8978749"/>
              <a:gd name="connsiteY6730" fmla="*/ 1070020 h 4806848"/>
              <a:gd name="connsiteX6731" fmla="*/ 7735736 w 8978749"/>
              <a:gd name="connsiteY6731" fmla="*/ 1070020 h 4806848"/>
              <a:gd name="connsiteX6732" fmla="*/ 7657949 w 8978749"/>
              <a:gd name="connsiteY6732" fmla="*/ 1012870 h 4806848"/>
              <a:gd name="connsiteX6733" fmla="*/ 7715099 w 8978749"/>
              <a:gd name="connsiteY6733" fmla="*/ 1012870 h 4806848"/>
              <a:gd name="connsiteX6734" fmla="*/ 7715099 w 8978749"/>
              <a:gd name="connsiteY6734" fmla="*/ 1070020 h 4806848"/>
              <a:gd name="connsiteX6735" fmla="*/ 7657949 w 8978749"/>
              <a:gd name="connsiteY6735" fmla="*/ 1070020 h 4806848"/>
              <a:gd name="connsiteX6736" fmla="*/ 7578574 w 8978749"/>
              <a:gd name="connsiteY6736" fmla="*/ 1012870 h 4806848"/>
              <a:gd name="connsiteX6737" fmla="*/ 7637312 w 8978749"/>
              <a:gd name="connsiteY6737" fmla="*/ 1012870 h 4806848"/>
              <a:gd name="connsiteX6738" fmla="*/ 7637312 w 8978749"/>
              <a:gd name="connsiteY6738" fmla="*/ 1070020 h 4806848"/>
              <a:gd name="connsiteX6739" fmla="*/ 7578574 w 8978749"/>
              <a:gd name="connsiteY6739" fmla="*/ 1070020 h 4806848"/>
              <a:gd name="connsiteX6740" fmla="*/ 7499199 w 8978749"/>
              <a:gd name="connsiteY6740" fmla="*/ 1012870 h 4806848"/>
              <a:gd name="connsiteX6741" fmla="*/ 7557937 w 8978749"/>
              <a:gd name="connsiteY6741" fmla="*/ 1012870 h 4806848"/>
              <a:gd name="connsiteX6742" fmla="*/ 7557937 w 8978749"/>
              <a:gd name="connsiteY6742" fmla="*/ 1070020 h 4806848"/>
              <a:gd name="connsiteX6743" fmla="*/ 7499199 w 8978749"/>
              <a:gd name="connsiteY6743" fmla="*/ 1070020 h 4806848"/>
              <a:gd name="connsiteX6744" fmla="*/ 7419824 w 8978749"/>
              <a:gd name="connsiteY6744" fmla="*/ 1012870 h 4806848"/>
              <a:gd name="connsiteX6745" fmla="*/ 7478562 w 8978749"/>
              <a:gd name="connsiteY6745" fmla="*/ 1012870 h 4806848"/>
              <a:gd name="connsiteX6746" fmla="*/ 7478562 w 8978749"/>
              <a:gd name="connsiteY6746" fmla="*/ 1070020 h 4806848"/>
              <a:gd name="connsiteX6747" fmla="*/ 7419824 w 8978749"/>
              <a:gd name="connsiteY6747" fmla="*/ 1070020 h 4806848"/>
              <a:gd name="connsiteX6748" fmla="*/ 7342036 w 8978749"/>
              <a:gd name="connsiteY6748" fmla="*/ 1012870 h 4806848"/>
              <a:gd name="connsiteX6749" fmla="*/ 7400774 w 8978749"/>
              <a:gd name="connsiteY6749" fmla="*/ 1012870 h 4806848"/>
              <a:gd name="connsiteX6750" fmla="*/ 7400774 w 8978749"/>
              <a:gd name="connsiteY6750" fmla="*/ 1070020 h 4806848"/>
              <a:gd name="connsiteX6751" fmla="*/ 7342036 w 8978749"/>
              <a:gd name="connsiteY6751" fmla="*/ 1070020 h 4806848"/>
              <a:gd name="connsiteX6752" fmla="*/ 7262661 w 8978749"/>
              <a:gd name="connsiteY6752" fmla="*/ 1012870 h 4806848"/>
              <a:gd name="connsiteX6753" fmla="*/ 7321399 w 8978749"/>
              <a:gd name="connsiteY6753" fmla="*/ 1012870 h 4806848"/>
              <a:gd name="connsiteX6754" fmla="*/ 7321399 w 8978749"/>
              <a:gd name="connsiteY6754" fmla="*/ 1070020 h 4806848"/>
              <a:gd name="connsiteX6755" fmla="*/ 7262661 w 8978749"/>
              <a:gd name="connsiteY6755" fmla="*/ 1070020 h 4806848"/>
              <a:gd name="connsiteX6756" fmla="*/ 7183286 w 8978749"/>
              <a:gd name="connsiteY6756" fmla="*/ 1012870 h 4806848"/>
              <a:gd name="connsiteX6757" fmla="*/ 7242024 w 8978749"/>
              <a:gd name="connsiteY6757" fmla="*/ 1012870 h 4806848"/>
              <a:gd name="connsiteX6758" fmla="*/ 7242024 w 8978749"/>
              <a:gd name="connsiteY6758" fmla="*/ 1070020 h 4806848"/>
              <a:gd name="connsiteX6759" fmla="*/ 7183286 w 8978749"/>
              <a:gd name="connsiteY6759" fmla="*/ 1070020 h 4806848"/>
              <a:gd name="connsiteX6760" fmla="*/ 7105499 w 8978749"/>
              <a:gd name="connsiteY6760" fmla="*/ 1012870 h 4806848"/>
              <a:gd name="connsiteX6761" fmla="*/ 7162649 w 8978749"/>
              <a:gd name="connsiteY6761" fmla="*/ 1012870 h 4806848"/>
              <a:gd name="connsiteX6762" fmla="*/ 7162649 w 8978749"/>
              <a:gd name="connsiteY6762" fmla="*/ 1070020 h 4806848"/>
              <a:gd name="connsiteX6763" fmla="*/ 7105499 w 8978749"/>
              <a:gd name="connsiteY6763" fmla="*/ 1070020 h 4806848"/>
              <a:gd name="connsiteX6764" fmla="*/ 7026124 w 8978749"/>
              <a:gd name="connsiteY6764" fmla="*/ 1012870 h 4806848"/>
              <a:gd name="connsiteX6765" fmla="*/ 7084862 w 8978749"/>
              <a:gd name="connsiteY6765" fmla="*/ 1012870 h 4806848"/>
              <a:gd name="connsiteX6766" fmla="*/ 7084862 w 8978749"/>
              <a:gd name="connsiteY6766" fmla="*/ 1070020 h 4806848"/>
              <a:gd name="connsiteX6767" fmla="*/ 7026124 w 8978749"/>
              <a:gd name="connsiteY6767" fmla="*/ 1070020 h 4806848"/>
              <a:gd name="connsiteX6768" fmla="*/ 6946749 w 8978749"/>
              <a:gd name="connsiteY6768" fmla="*/ 1012870 h 4806848"/>
              <a:gd name="connsiteX6769" fmla="*/ 7005487 w 8978749"/>
              <a:gd name="connsiteY6769" fmla="*/ 1012870 h 4806848"/>
              <a:gd name="connsiteX6770" fmla="*/ 7005487 w 8978749"/>
              <a:gd name="connsiteY6770" fmla="*/ 1070020 h 4806848"/>
              <a:gd name="connsiteX6771" fmla="*/ 6946749 w 8978749"/>
              <a:gd name="connsiteY6771" fmla="*/ 1070020 h 4806848"/>
              <a:gd name="connsiteX6772" fmla="*/ 6867374 w 8978749"/>
              <a:gd name="connsiteY6772" fmla="*/ 1012870 h 4806848"/>
              <a:gd name="connsiteX6773" fmla="*/ 6926112 w 8978749"/>
              <a:gd name="connsiteY6773" fmla="*/ 1012870 h 4806848"/>
              <a:gd name="connsiteX6774" fmla="*/ 6926112 w 8978749"/>
              <a:gd name="connsiteY6774" fmla="*/ 1070020 h 4806848"/>
              <a:gd name="connsiteX6775" fmla="*/ 6867374 w 8978749"/>
              <a:gd name="connsiteY6775" fmla="*/ 1070020 h 4806848"/>
              <a:gd name="connsiteX6776" fmla="*/ 6789586 w 8978749"/>
              <a:gd name="connsiteY6776" fmla="*/ 1012870 h 4806848"/>
              <a:gd name="connsiteX6777" fmla="*/ 6846736 w 8978749"/>
              <a:gd name="connsiteY6777" fmla="*/ 1012870 h 4806848"/>
              <a:gd name="connsiteX6778" fmla="*/ 6846736 w 8978749"/>
              <a:gd name="connsiteY6778" fmla="*/ 1070020 h 4806848"/>
              <a:gd name="connsiteX6779" fmla="*/ 6789586 w 8978749"/>
              <a:gd name="connsiteY6779" fmla="*/ 1070020 h 4806848"/>
              <a:gd name="connsiteX6780" fmla="*/ 6710211 w 8978749"/>
              <a:gd name="connsiteY6780" fmla="*/ 1012870 h 4806848"/>
              <a:gd name="connsiteX6781" fmla="*/ 6768949 w 8978749"/>
              <a:gd name="connsiteY6781" fmla="*/ 1012870 h 4806848"/>
              <a:gd name="connsiteX6782" fmla="*/ 6768949 w 8978749"/>
              <a:gd name="connsiteY6782" fmla="*/ 1070020 h 4806848"/>
              <a:gd name="connsiteX6783" fmla="*/ 6710211 w 8978749"/>
              <a:gd name="connsiteY6783" fmla="*/ 1070020 h 4806848"/>
              <a:gd name="connsiteX6784" fmla="*/ 6630836 w 8978749"/>
              <a:gd name="connsiteY6784" fmla="*/ 1012870 h 4806848"/>
              <a:gd name="connsiteX6785" fmla="*/ 6689574 w 8978749"/>
              <a:gd name="connsiteY6785" fmla="*/ 1012870 h 4806848"/>
              <a:gd name="connsiteX6786" fmla="*/ 6689574 w 8978749"/>
              <a:gd name="connsiteY6786" fmla="*/ 1070020 h 4806848"/>
              <a:gd name="connsiteX6787" fmla="*/ 6630836 w 8978749"/>
              <a:gd name="connsiteY6787" fmla="*/ 1070020 h 4806848"/>
              <a:gd name="connsiteX6788" fmla="*/ 6551461 w 8978749"/>
              <a:gd name="connsiteY6788" fmla="*/ 1012870 h 4806848"/>
              <a:gd name="connsiteX6789" fmla="*/ 6610199 w 8978749"/>
              <a:gd name="connsiteY6789" fmla="*/ 1012870 h 4806848"/>
              <a:gd name="connsiteX6790" fmla="*/ 6610199 w 8978749"/>
              <a:gd name="connsiteY6790" fmla="*/ 1070020 h 4806848"/>
              <a:gd name="connsiteX6791" fmla="*/ 6551461 w 8978749"/>
              <a:gd name="connsiteY6791" fmla="*/ 1070020 h 4806848"/>
              <a:gd name="connsiteX6792" fmla="*/ 6473674 w 8978749"/>
              <a:gd name="connsiteY6792" fmla="*/ 1012870 h 4806848"/>
              <a:gd name="connsiteX6793" fmla="*/ 6530824 w 8978749"/>
              <a:gd name="connsiteY6793" fmla="*/ 1012870 h 4806848"/>
              <a:gd name="connsiteX6794" fmla="*/ 6530824 w 8978749"/>
              <a:gd name="connsiteY6794" fmla="*/ 1070020 h 4806848"/>
              <a:gd name="connsiteX6795" fmla="*/ 6473674 w 8978749"/>
              <a:gd name="connsiteY6795" fmla="*/ 1070020 h 4806848"/>
              <a:gd name="connsiteX6796" fmla="*/ 6394299 w 8978749"/>
              <a:gd name="connsiteY6796" fmla="*/ 1012870 h 4806848"/>
              <a:gd name="connsiteX6797" fmla="*/ 6453037 w 8978749"/>
              <a:gd name="connsiteY6797" fmla="*/ 1012870 h 4806848"/>
              <a:gd name="connsiteX6798" fmla="*/ 6453037 w 8978749"/>
              <a:gd name="connsiteY6798" fmla="*/ 1070020 h 4806848"/>
              <a:gd name="connsiteX6799" fmla="*/ 6394299 w 8978749"/>
              <a:gd name="connsiteY6799" fmla="*/ 1070020 h 4806848"/>
              <a:gd name="connsiteX6800" fmla="*/ 6314924 w 8978749"/>
              <a:gd name="connsiteY6800" fmla="*/ 1012870 h 4806848"/>
              <a:gd name="connsiteX6801" fmla="*/ 6373662 w 8978749"/>
              <a:gd name="connsiteY6801" fmla="*/ 1012870 h 4806848"/>
              <a:gd name="connsiteX6802" fmla="*/ 6373662 w 8978749"/>
              <a:gd name="connsiteY6802" fmla="*/ 1070020 h 4806848"/>
              <a:gd name="connsiteX6803" fmla="*/ 6314924 w 8978749"/>
              <a:gd name="connsiteY6803" fmla="*/ 1070020 h 4806848"/>
              <a:gd name="connsiteX6804" fmla="*/ 6235549 w 8978749"/>
              <a:gd name="connsiteY6804" fmla="*/ 1012870 h 4806848"/>
              <a:gd name="connsiteX6805" fmla="*/ 6294287 w 8978749"/>
              <a:gd name="connsiteY6805" fmla="*/ 1012870 h 4806848"/>
              <a:gd name="connsiteX6806" fmla="*/ 6294287 w 8978749"/>
              <a:gd name="connsiteY6806" fmla="*/ 1070020 h 4806848"/>
              <a:gd name="connsiteX6807" fmla="*/ 6235549 w 8978749"/>
              <a:gd name="connsiteY6807" fmla="*/ 1070020 h 4806848"/>
              <a:gd name="connsiteX6808" fmla="*/ 6157761 w 8978749"/>
              <a:gd name="connsiteY6808" fmla="*/ 1012870 h 4806848"/>
              <a:gd name="connsiteX6809" fmla="*/ 6214911 w 8978749"/>
              <a:gd name="connsiteY6809" fmla="*/ 1012870 h 4806848"/>
              <a:gd name="connsiteX6810" fmla="*/ 6214911 w 8978749"/>
              <a:gd name="connsiteY6810" fmla="*/ 1070020 h 4806848"/>
              <a:gd name="connsiteX6811" fmla="*/ 6157761 w 8978749"/>
              <a:gd name="connsiteY6811" fmla="*/ 1070020 h 4806848"/>
              <a:gd name="connsiteX6812" fmla="*/ 6078386 w 8978749"/>
              <a:gd name="connsiteY6812" fmla="*/ 1012870 h 4806848"/>
              <a:gd name="connsiteX6813" fmla="*/ 6137124 w 8978749"/>
              <a:gd name="connsiteY6813" fmla="*/ 1012870 h 4806848"/>
              <a:gd name="connsiteX6814" fmla="*/ 6137124 w 8978749"/>
              <a:gd name="connsiteY6814" fmla="*/ 1070020 h 4806848"/>
              <a:gd name="connsiteX6815" fmla="*/ 6078386 w 8978749"/>
              <a:gd name="connsiteY6815" fmla="*/ 1070020 h 4806848"/>
              <a:gd name="connsiteX6816" fmla="*/ 5999011 w 8978749"/>
              <a:gd name="connsiteY6816" fmla="*/ 1012870 h 4806848"/>
              <a:gd name="connsiteX6817" fmla="*/ 6057749 w 8978749"/>
              <a:gd name="connsiteY6817" fmla="*/ 1012870 h 4806848"/>
              <a:gd name="connsiteX6818" fmla="*/ 6057749 w 8978749"/>
              <a:gd name="connsiteY6818" fmla="*/ 1070020 h 4806848"/>
              <a:gd name="connsiteX6819" fmla="*/ 5999011 w 8978749"/>
              <a:gd name="connsiteY6819" fmla="*/ 1070020 h 4806848"/>
              <a:gd name="connsiteX6820" fmla="*/ 5921224 w 8978749"/>
              <a:gd name="connsiteY6820" fmla="*/ 1012870 h 4806848"/>
              <a:gd name="connsiteX6821" fmla="*/ 5978374 w 8978749"/>
              <a:gd name="connsiteY6821" fmla="*/ 1012870 h 4806848"/>
              <a:gd name="connsiteX6822" fmla="*/ 5978374 w 8978749"/>
              <a:gd name="connsiteY6822" fmla="*/ 1070020 h 4806848"/>
              <a:gd name="connsiteX6823" fmla="*/ 5921224 w 8978749"/>
              <a:gd name="connsiteY6823" fmla="*/ 1070020 h 4806848"/>
              <a:gd name="connsiteX6824" fmla="*/ 5841849 w 8978749"/>
              <a:gd name="connsiteY6824" fmla="*/ 1012870 h 4806848"/>
              <a:gd name="connsiteX6825" fmla="*/ 5900587 w 8978749"/>
              <a:gd name="connsiteY6825" fmla="*/ 1012870 h 4806848"/>
              <a:gd name="connsiteX6826" fmla="*/ 5900587 w 8978749"/>
              <a:gd name="connsiteY6826" fmla="*/ 1070020 h 4806848"/>
              <a:gd name="connsiteX6827" fmla="*/ 5841849 w 8978749"/>
              <a:gd name="connsiteY6827" fmla="*/ 1070020 h 4806848"/>
              <a:gd name="connsiteX6828" fmla="*/ 5762474 w 8978749"/>
              <a:gd name="connsiteY6828" fmla="*/ 1012870 h 4806848"/>
              <a:gd name="connsiteX6829" fmla="*/ 5821212 w 8978749"/>
              <a:gd name="connsiteY6829" fmla="*/ 1012870 h 4806848"/>
              <a:gd name="connsiteX6830" fmla="*/ 5821212 w 8978749"/>
              <a:gd name="connsiteY6830" fmla="*/ 1070020 h 4806848"/>
              <a:gd name="connsiteX6831" fmla="*/ 5762474 w 8978749"/>
              <a:gd name="connsiteY6831" fmla="*/ 1070020 h 4806848"/>
              <a:gd name="connsiteX6832" fmla="*/ 5684686 w 8978749"/>
              <a:gd name="connsiteY6832" fmla="*/ 1012870 h 4806848"/>
              <a:gd name="connsiteX6833" fmla="*/ 5741836 w 8978749"/>
              <a:gd name="connsiteY6833" fmla="*/ 1012870 h 4806848"/>
              <a:gd name="connsiteX6834" fmla="*/ 5741836 w 8978749"/>
              <a:gd name="connsiteY6834" fmla="*/ 1070020 h 4806848"/>
              <a:gd name="connsiteX6835" fmla="*/ 5684686 w 8978749"/>
              <a:gd name="connsiteY6835" fmla="*/ 1070020 h 4806848"/>
              <a:gd name="connsiteX6836" fmla="*/ 5605311 w 8978749"/>
              <a:gd name="connsiteY6836" fmla="*/ 1012870 h 4806848"/>
              <a:gd name="connsiteX6837" fmla="*/ 5664049 w 8978749"/>
              <a:gd name="connsiteY6837" fmla="*/ 1012870 h 4806848"/>
              <a:gd name="connsiteX6838" fmla="*/ 5664049 w 8978749"/>
              <a:gd name="connsiteY6838" fmla="*/ 1070020 h 4806848"/>
              <a:gd name="connsiteX6839" fmla="*/ 5605311 w 8978749"/>
              <a:gd name="connsiteY6839" fmla="*/ 1070020 h 4806848"/>
              <a:gd name="connsiteX6840" fmla="*/ 5525936 w 8978749"/>
              <a:gd name="connsiteY6840" fmla="*/ 1012870 h 4806848"/>
              <a:gd name="connsiteX6841" fmla="*/ 5584674 w 8978749"/>
              <a:gd name="connsiteY6841" fmla="*/ 1012870 h 4806848"/>
              <a:gd name="connsiteX6842" fmla="*/ 5584674 w 8978749"/>
              <a:gd name="connsiteY6842" fmla="*/ 1070020 h 4806848"/>
              <a:gd name="connsiteX6843" fmla="*/ 5525936 w 8978749"/>
              <a:gd name="connsiteY6843" fmla="*/ 1070020 h 4806848"/>
              <a:gd name="connsiteX6844" fmla="*/ 5446561 w 8978749"/>
              <a:gd name="connsiteY6844" fmla="*/ 1012870 h 4806848"/>
              <a:gd name="connsiteX6845" fmla="*/ 5505299 w 8978749"/>
              <a:gd name="connsiteY6845" fmla="*/ 1012870 h 4806848"/>
              <a:gd name="connsiteX6846" fmla="*/ 5505299 w 8978749"/>
              <a:gd name="connsiteY6846" fmla="*/ 1070020 h 4806848"/>
              <a:gd name="connsiteX6847" fmla="*/ 5446561 w 8978749"/>
              <a:gd name="connsiteY6847" fmla="*/ 1070020 h 4806848"/>
              <a:gd name="connsiteX6848" fmla="*/ 5368774 w 8978749"/>
              <a:gd name="connsiteY6848" fmla="*/ 1012870 h 4806848"/>
              <a:gd name="connsiteX6849" fmla="*/ 5425924 w 8978749"/>
              <a:gd name="connsiteY6849" fmla="*/ 1012870 h 4806848"/>
              <a:gd name="connsiteX6850" fmla="*/ 5425924 w 8978749"/>
              <a:gd name="connsiteY6850" fmla="*/ 1070020 h 4806848"/>
              <a:gd name="connsiteX6851" fmla="*/ 5368774 w 8978749"/>
              <a:gd name="connsiteY6851" fmla="*/ 1070020 h 4806848"/>
              <a:gd name="connsiteX6852" fmla="*/ 5289399 w 8978749"/>
              <a:gd name="connsiteY6852" fmla="*/ 1012870 h 4806848"/>
              <a:gd name="connsiteX6853" fmla="*/ 5348137 w 8978749"/>
              <a:gd name="connsiteY6853" fmla="*/ 1012870 h 4806848"/>
              <a:gd name="connsiteX6854" fmla="*/ 5348137 w 8978749"/>
              <a:gd name="connsiteY6854" fmla="*/ 1070020 h 4806848"/>
              <a:gd name="connsiteX6855" fmla="*/ 5289399 w 8978749"/>
              <a:gd name="connsiteY6855" fmla="*/ 1070020 h 4806848"/>
              <a:gd name="connsiteX6856" fmla="*/ 5210024 w 8978749"/>
              <a:gd name="connsiteY6856" fmla="*/ 1012870 h 4806848"/>
              <a:gd name="connsiteX6857" fmla="*/ 5268762 w 8978749"/>
              <a:gd name="connsiteY6857" fmla="*/ 1012870 h 4806848"/>
              <a:gd name="connsiteX6858" fmla="*/ 5268762 w 8978749"/>
              <a:gd name="connsiteY6858" fmla="*/ 1070020 h 4806848"/>
              <a:gd name="connsiteX6859" fmla="*/ 5210024 w 8978749"/>
              <a:gd name="connsiteY6859" fmla="*/ 1070020 h 4806848"/>
              <a:gd name="connsiteX6860" fmla="*/ 5130649 w 8978749"/>
              <a:gd name="connsiteY6860" fmla="*/ 1012870 h 4806848"/>
              <a:gd name="connsiteX6861" fmla="*/ 5189387 w 8978749"/>
              <a:gd name="connsiteY6861" fmla="*/ 1012870 h 4806848"/>
              <a:gd name="connsiteX6862" fmla="*/ 5189387 w 8978749"/>
              <a:gd name="connsiteY6862" fmla="*/ 1070020 h 4806848"/>
              <a:gd name="connsiteX6863" fmla="*/ 5130649 w 8978749"/>
              <a:gd name="connsiteY6863" fmla="*/ 1070020 h 4806848"/>
              <a:gd name="connsiteX6864" fmla="*/ 5052861 w 8978749"/>
              <a:gd name="connsiteY6864" fmla="*/ 1012870 h 4806848"/>
              <a:gd name="connsiteX6865" fmla="*/ 5110011 w 8978749"/>
              <a:gd name="connsiteY6865" fmla="*/ 1012870 h 4806848"/>
              <a:gd name="connsiteX6866" fmla="*/ 5110011 w 8978749"/>
              <a:gd name="connsiteY6866" fmla="*/ 1070020 h 4806848"/>
              <a:gd name="connsiteX6867" fmla="*/ 5052861 w 8978749"/>
              <a:gd name="connsiteY6867" fmla="*/ 1070020 h 4806848"/>
              <a:gd name="connsiteX6868" fmla="*/ 4973486 w 8978749"/>
              <a:gd name="connsiteY6868" fmla="*/ 1012870 h 4806848"/>
              <a:gd name="connsiteX6869" fmla="*/ 5030636 w 8978749"/>
              <a:gd name="connsiteY6869" fmla="*/ 1012870 h 4806848"/>
              <a:gd name="connsiteX6870" fmla="*/ 5030636 w 8978749"/>
              <a:gd name="connsiteY6870" fmla="*/ 1070020 h 4806848"/>
              <a:gd name="connsiteX6871" fmla="*/ 4973486 w 8978749"/>
              <a:gd name="connsiteY6871" fmla="*/ 1070020 h 4806848"/>
              <a:gd name="connsiteX6872" fmla="*/ 395289 w 8978749"/>
              <a:gd name="connsiteY6872" fmla="*/ 1012828 h 4806848"/>
              <a:gd name="connsiteX6873" fmla="*/ 452431 w 8978749"/>
              <a:gd name="connsiteY6873" fmla="*/ 1012828 h 4806848"/>
              <a:gd name="connsiteX6874" fmla="*/ 452431 w 8978749"/>
              <a:gd name="connsiteY6874" fmla="*/ 1069978 h 4806848"/>
              <a:gd name="connsiteX6875" fmla="*/ 395289 w 8978749"/>
              <a:gd name="connsiteY6875" fmla="*/ 1069978 h 4806848"/>
              <a:gd name="connsiteX6876" fmla="*/ 315910 w 8978749"/>
              <a:gd name="connsiteY6876" fmla="*/ 1012828 h 4806848"/>
              <a:gd name="connsiteX6877" fmla="*/ 374649 w 8978749"/>
              <a:gd name="connsiteY6877" fmla="*/ 1012828 h 4806848"/>
              <a:gd name="connsiteX6878" fmla="*/ 374649 w 8978749"/>
              <a:gd name="connsiteY6878" fmla="*/ 1069979 h 4806848"/>
              <a:gd name="connsiteX6879" fmla="*/ 315910 w 8978749"/>
              <a:gd name="connsiteY6879" fmla="*/ 1069979 h 4806848"/>
              <a:gd name="connsiteX6880" fmla="*/ 236535 w 8978749"/>
              <a:gd name="connsiteY6880" fmla="*/ 1012828 h 4806848"/>
              <a:gd name="connsiteX6881" fmla="*/ 295273 w 8978749"/>
              <a:gd name="connsiteY6881" fmla="*/ 1012828 h 4806848"/>
              <a:gd name="connsiteX6882" fmla="*/ 295273 w 8978749"/>
              <a:gd name="connsiteY6882" fmla="*/ 1069979 h 4806848"/>
              <a:gd name="connsiteX6883" fmla="*/ 236535 w 8978749"/>
              <a:gd name="connsiteY6883" fmla="*/ 1069979 h 4806848"/>
              <a:gd name="connsiteX6884" fmla="*/ 157160 w 8978749"/>
              <a:gd name="connsiteY6884" fmla="*/ 1012828 h 4806848"/>
              <a:gd name="connsiteX6885" fmla="*/ 215900 w 8978749"/>
              <a:gd name="connsiteY6885" fmla="*/ 1012828 h 4806848"/>
              <a:gd name="connsiteX6886" fmla="*/ 215900 w 8978749"/>
              <a:gd name="connsiteY6886" fmla="*/ 1069979 h 4806848"/>
              <a:gd name="connsiteX6887" fmla="*/ 157160 w 8978749"/>
              <a:gd name="connsiteY6887" fmla="*/ 1069979 h 4806848"/>
              <a:gd name="connsiteX6888" fmla="*/ 79374 w 8978749"/>
              <a:gd name="connsiteY6888" fmla="*/ 1012828 h 4806848"/>
              <a:gd name="connsiteX6889" fmla="*/ 136520 w 8978749"/>
              <a:gd name="connsiteY6889" fmla="*/ 1012828 h 4806848"/>
              <a:gd name="connsiteX6890" fmla="*/ 136520 w 8978749"/>
              <a:gd name="connsiteY6890" fmla="*/ 1069979 h 4806848"/>
              <a:gd name="connsiteX6891" fmla="*/ 79374 w 8978749"/>
              <a:gd name="connsiteY6891" fmla="*/ 1069979 h 4806848"/>
              <a:gd name="connsiteX6892" fmla="*/ 2368569 w 8978749"/>
              <a:gd name="connsiteY6892" fmla="*/ 1012828 h 4806848"/>
              <a:gd name="connsiteX6893" fmla="*/ 2427300 w 8978749"/>
              <a:gd name="connsiteY6893" fmla="*/ 1012828 h 4806848"/>
              <a:gd name="connsiteX6894" fmla="*/ 2427300 w 8978749"/>
              <a:gd name="connsiteY6894" fmla="*/ 1069977 h 4806848"/>
              <a:gd name="connsiteX6895" fmla="*/ 2368569 w 8978749"/>
              <a:gd name="connsiteY6895" fmla="*/ 1069977 h 4806848"/>
              <a:gd name="connsiteX6896" fmla="*/ 2289190 w 8978749"/>
              <a:gd name="connsiteY6896" fmla="*/ 1012828 h 4806848"/>
              <a:gd name="connsiteX6897" fmla="*/ 2347931 w 8978749"/>
              <a:gd name="connsiteY6897" fmla="*/ 1012828 h 4806848"/>
              <a:gd name="connsiteX6898" fmla="*/ 2347931 w 8978749"/>
              <a:gd name="connsiteY6898" fmla="*/ 1069977 h 4806848"/>
              <a:gd name="connsiteX6899" fmla="*/ 2289190 w 8978749"/>
              <a:gd name="connsiteY6899" fmla="*/ 1069977 h 4806848"/>
              <a:gd name="connsiteX6900" fmla="*/ 1816125 w 8978749"/>
              <a:gd name="connsiteY6900" fmla="*/ 1012828 h 4806848"/>
              <a:gd name="connsiteX6901" fmla="*/ 1873257 w 8978749"/>
              <a:gd name="connsiteY6901" fmla="*/ 1012828 h 4806848"/>
              <a:gd name="connsiteX6902" fmla="*/ 1873257 w 8978749"/>
              <a:gd name="connsiteY6902" fmla="*/ 1069977 h 4806848"/>
              <a:gd name="connsiteX6903" fmla="*/ 1816125 w 8978749"/>
              <a:gd name="connsiteY6903" fmla="*/ 1069977 h 4806848"/>
              <a:gd name="connsiteX6904" fmla="*/ 1736750 w 8978749"/>
              <a:gd name="connsiteY6904" fmla="*/ 1012828 h 4806848"/>
              <a:gd name="connsiteX6905" fmla="*/ 1795497 w 8978749"/>
              <a:gd name="connsiteY6905" fmla="*/ 1012828 h 4806848"/>
              <a:gd name="connsiteX6906" fmla="*/ 1795497 w 8978749"/>
              <a:gd name="connsiteY6906" fmla="*/ 1069977 h 4806848"/>
              <a:gd name="connsiteX6907" fmla="*/ 1736750 w 8978749"/>
              <a:gd name="connsiteY6907" fmla="*/ 1069977 h 4806848"/>
              <a:gd name="connsiteX6908" fmla="*/ 1657368 w 8978749"/>
              <a:gd name="connsiteY6908" fmla="*/ 1012828 h 4806848"/>
              <a:gd name="connsiteX6909" fmla="*/ 1716111 w 8978749"/>
              <a:gd name="connsiteY6909" fmla="*/ 1012828 h 4806848"/>
              <a:gd name="connsiteX6910" fmla="*/ 1716111 w 8978749"/>
              <a:gd name="connsiteY6910" fmla="*/ 1069977 h 4806848"/>
              <a:gd name="connsiteX6911" fmla="*/ 1657368 w 8978749"/>
              <a:gd name="connsiteY6911" fmla="*/ 1069977 h 4806848"/>
              <a:gd name="connsiteX6912" fmla="*/ 1577982 w 8978749"/>
              <a:gd name="connsiteY6912" fmla="*/ 1012828 h 4806848"/>
              <a:gd name="connsiteX6913" fmla="*/ 1636735 w 8978749"/>
              <a:gd name="connsiteY6913" fmla="*/ 1012828 h 4806848"/>
              <a:gd name="connsiteX6914" fmla="*/ 1636735 w 8978749"/>
              <a:gd name="connsiteY6914" fmla="*/ 1069977 h 4806848"/>
              <a:gd name="connsiteX6915" fmla="*/ 1577982 w 8978749"/>
              <a:gd name="connsiteY6915" fmla="*/ 1069977 h 4806848"/>
              <a:gd name="connsiteX6916" fmla="*/ 1500191 w 8978749"/>
              <a:gd name="connsiteY6916" fmla="*/ 1012828 h 4806848"/>
              <a:gd name="connsiteX6917" fmla="*/ 1558934 w 8978749"/>
              <a:gd name="connsiteY6917" fmla="*/ 1012828 h 4806848"/>
              <a:gd name="connsiteX6918" fmla="*/ 1558934 w 8978749"/>
              <a:gd name="connsiteY6918" fmla="*/ 1069977 h 4806848"/>
              <a:gd name="connsiteX6919" fmla="*/ 1500191 w 8978749"/>
              <a:gd name="connsiteY6919" fmla="*/ 1069977 h 4806848"/>
              <a:gd name="connsiteX6920" fmla="*/ 1420811 w 8978749"/>
              <a:gd name="connsiteY6920" fmla="*/ 1012828 h 4806848"/>
              <a:gd name="connsiteX6921" fmla="*/ 1479548 w 8978749"/>
              <a:gd name="connsiteY6921" fmla="*/ 1012828 h 4806848"/>
              <a:gd name="connsiteX6922" fmla="*/ 1479548 w 8978749"/>
              <a:gd name="connsiteY6922" fmla="*/ 1069977 h 4806848"/>
              <a:gd name="connsiteX6923" fmla="*/ 1420811 w 8978749"/>
              <a:gd name="connsiteY6923" fmla="*/ 1069977 h 4806848"/>
              <a:gd name="connsiteX6924" fmla="*/ 1341473 w 8978749"/>
              <a:gd name="connsiteY6924" fmla="*/ 1012828 h 4806848"/>
              <a:gd name="connsiteX6925" fmla="*/ 1400192 w 8978749"/>
              <a:gd name="connsiteY6925" fmla="*/ 1012828 h 4806848"/>
              <a:gd name="connsiteX6926" fmla="*/ 1400192 w 8978749"/>
              <a:gd name="connsiteY6926" fmla="*/ 1069978 h 4806848"/>
              <a:gd name="connsiteX6927" fmla="*/ 1341473 w 8978749"/>
              <a:gd name="connsiteY6927" fmla="*/ 1069978 h 4806848"/>
              <a:gd name="connsiteX6928" fmla="*/ 1263656 w 8978749"/>
              <a:gd name="connsiteY6928" fmla="*/ 1012828 h 4806848"/>
              <a:gd name="connsiteX6929" fmla="*/ 1320823 w 8978749"/>
              <a:gd name="connsiteY6929" fmla="*/ 1012828 h 4806848"/>
              <a:gd name="connsiteX6930" fmla="*/ 1320823 w 8978749"/>
              <a:gd name="connsiteY6930" fmla="*/ 1069978 h 4806848"/>
              <a:gd name="connsiteX6931" fmla="*/ 1263656 w 8978749"/>
              <a:gd name="connsiteY6931" fmla="*/ 1069978 h 4806848"/>
              <a:gd name="connsiteX6932" fmla="*/ 1184291 w 8978749"/>
              <a:gd name="connsiteY6932" fmla="*/ 1012828 h 4806848"/>
              <a:gd name="connsiteX6933" fmla="*/ 1243018 w 8978749"/>
              <a:gd name="connsiteY6933" fmla="*/ 1012828 h 4806848"/>
              <a:gd name="connsiteX6934" fmla="*/ 1243018 w 8978749"/>
              <a:gd name="connsiteY6934" fmla="*/ 1069978 h 4806848"/>
              <a:gd name="connsiteX6935" fmla="*/ 1184291 w 8978749"/>
              <a:gd name="connsiteY6935" fmla="*/ 1069978 h 4806848"/>
              <a:gd name="connsiteX6936" fmla="*/ 1104915 w 8978749"/>
              <a:gd name="connsiteY6936" fmla="*/ 1012828 h 4806848"/>
              <a:gd name="connsiteX6937" fmla="*/ 1163648 w 8978749"/>
              <a:gd name="connsiteY6937" fmla="*/ 1012828 h 4806848"/>
              <a:gd name="connsiteX6938" fmla="*/ 1163648 w 8978749"/>
              <a:gd name="connsiteY6938" fmla="*/ 1069978 h 4806848"/>
              <a:gd name="connsiteX6939" fmla="*/ 1104915 w 8978749"/>
              <a:gd name="connsiteY6939" fmla="*/ 1069978 h 4806848"/>
              <a:gd name="connsiteX6940" fmla="*/ 1027118 w 8978749"/>
              <a:gd name="connsiteY6940" fmla="*/ 1012828 h 4806848"/>
              <a:gd name="connsiteX6941" fmla="*/ 1084281 w 8978749"/>
              <a:gd name="connsiteY6941" fmla="*/ 1012828 h 4806848"/>
              <a:gd name="connsiteX6942" fmla="*/ 1084281 w 8978749"/>
              <a:gd name="connsiteY6942" fmla="*/ 1069978 h 4806848"/>
              <a:gd name="connsiteX6943" fmla="*/ 1027118 w 8978749"/>
              <a:gd name="connsiteY6943" fmla="*/ 1069978 h 4806848"/>
              <a:gd name="connsiteX6944" fmla="*/ 947740 w 8978749"/>
              <a:gd name="connsiteY6944" fmla="*/ 1012828 h 4806848"/>
              <a:gd name="connsiteX6945" fmla="*/ 1004888 w 8978749"/>
              <a:gd name="connsiteY6945" fmla="*/ 1012828 h 4806848"/>
              <a:gd name="connsiteX6946" fmla="*/ 1004888 w 8978749"/>
              <a:gd name="connsiteY6946" fmla="*/ 1069978 h 4806848"/>
              <a:gd name="connsiteX6947" fmla="*/ 947740 w 8978749"/>
              <a:gd name="connsiteY6947" fmla="*/ 1069978 h 4806848"/>
              <a:gd name="connsiteX6948" fmla="*/ 868377 w 8978749"/>
              <a:gd name="connsiteY6948" fmla="*/ 1012828 h 4806848"/>
              <a:gd name="connsiteX6949" fmla="*/ 927111 w 8978749"/>
              <a:gd name="connsiteY6949" fmla="*/ 1012828 h 4806848"/>
              <a:gd name="connsiteX6950" fmla="*/ 927111 w 8978749"/>
              <a:gd name="connsiteY6950" fmla="*/ 1069978 h 4806848"/>
              <a:gd name="connsiteX6951" fmla="*/ 868377 w 8978749"/>
              <a:gd name="connsiteY6951" fmla="*/ 1069978 h 4806848"/>
              <a:gd name="connsiteX6952" fmla="*/ 789007 w 8978749"/>
              <a:gd name="connsiteY6952" fmla="*/ 1012828 h 4806848"/>
              <a:gd name="connsiteX6953" fmla="*/ 847743 w 8978749"/>
              <a:gd name="connsiteY6953" fmla="*/ 1012828 h 4806848"/>
              <a:gd name="connsiteX6954" fmla="*/ 847743 w 8978749"/>
              <a:gd name="connsiteY6954" fmla="*/ 1069978 h 4806848"/>
              <a:gd name="connsiteX6955" fmla="*/ 789007 w 8978749"/>
              <a:gd name="connsiteY6955" fmla="*/ 1069978 h 4806848"/>
              <a:gd name="connsiteX6956" fmla="*/ 711229 w 8978749"/>
              <a:gd name="connsiteY6956" fmla="*/ 1012828 h 4806848"/>
              <a:gd name="connsiteX6957" fmla="*/ 768372 w 8978749"/>
              <a:gd name="connsiteY6957" fmla="*/ 1012828 h 4806848"/>
              <a:gd name="connsiteX6958" fmla="*/ 768372 w 8978749"/>
              <a:gd name="connsiteY6958" fmla="*/ 1069978 h 4806848"/>
              <a:gd name="connsiteX6959" fmla="*/ 711229 w 8978749"/>
              <a:gd name="connsiteY6959" fmla="*/ 1069978 h 4806848"/>
              <a:gd name="connsiteX6960" fmla="*/ 631857 w 8978749"/>
              <a:gd name="connsiteY6960" fmla="*/ 1012828 h 4806848"/>
              <a:gd name="connsiteX6961" fmla="*/ 689007 w 8978749"/>
              <a:gd name="connsiteY6961" fmla="*/ 1012828 h 4806848"/>
              <a:gd name="connsiteX6962" fmla="*/ 689007 w 8978749"/>
              <a:gd name="connsiteY6962" fmla="*/ 1069978 h 4806848"/>
              <a:gd name="connsiteX6963" fmla="*/ 631857 w 8978749"/>
              <a:gd name="connsiteY6963" fmla="*/ 1069978 h 4806848"/>
              <a:gd name="connsiteX6964" fmla="*/ 473068 w 8978749"/>
              <a:gd name="connsiteY6964" fmla="*/ 1012828 h 4806848"/>
              <a:gd name="connsiteX6965" fmla="*/ 531853 w 8978749"/>
              <a:gd name="connsiteY6965" fmla="*/ 1012828 h 4806848"/>
              <a:gd name="connsiteX6966" fmla="*/ 531853 w 8978749"/>
              <a:gd name="connsiteY6966" fmla="*/ 1069978 h 4806848"/>
              <a:gd name="connsiteX6967" fmla="*/ 473068 w 8978749"/>
              <a:gd name="connsiteY6967" fmla="*/ 1069978 h 4806848"/>
              <a:gd name="connsiteX6968" fmla="*/ 4814736 w 8978749"/>
              <a:gd name="connsiteY6968" fmla="*/ 1012827 h 4806848"/>
              <a:gd name="connsiteX6969" fmla="*/ 4873474 w 8978749"/>
              <a:gd name="connsiteY6969" fmla="*/ 1012827 h 4806848"/>
              <a:gd name="connsiteX6970" fmla="*/ 4873474 w 8978749"/>
              <a:gd name="connsiteY6970" fmla="*/ 1069976 h 4806848"/>
              <a:gd name="connsiteX6971" fmla="*/ 4814736 w 8978749"/>
              <a:gd name="connsiteY6971" fmla="*/ 1069976 h 4806848"/>
              <a:gd name="connsiteX6972" fmla="*/ 4657573 w 8978749"/>
              <a:gd name="connsiteY6972" fmla="*/ 1012827 h 4806848"/>
              <a:gd name="connsiteX6973" fmla="*/ 4716311 w 8978749"/>
              <a:gd name="connsiteY6973" fmla="*/ 1012827 h 4806848"/>
              <a:gd name="connsiteX6974" fmla="*/ 4716311 w 8978749"/>
              <a:gd name="connsiteY6974" fmla="*/ 1069976 h 4806848"/>
              <a:gd name="connsiteX6975" fmla="*/ 4657573 w 8978749"/>
              <a:gd name="connsiteY6975" fmla="*/ 1069976 h 4806848"/>
              <a:gd name="connsiteX6976" fmla="*/ 4578198 w 8978749"/>
              <a:gd name="connsiteY6976" fmla="*/ 1012827 h 4806848"/>
              <a:gd name="connsiteX6977" fmla="*/ 4636936 w 8978749"/>
              <a:gd name="connsiteY6977" fmla="*/ 1012827 h 4806848"/>
              <a:gd name="connsiteX6978" fmla="*/ 4636936 w 8978749"/>
              <a:gd name="connsiteY6978" fmla="*/ 1069976 h 4806848"/>
              <a:gd name="connsiteX6979" fmla="*/ 4578198 w 8978749"/>
              <a:gd name="connsiteY6979" fmla="*/ 1069976 h 4806848"/>
              <a:gd name="connsiteX6980" fmla="*/ 4498823 w 8978749"/>
              <a:gd name="connsiteY6980" fmla="*/ 1012827 h 4806848"/>
              <a:gd name="connsiteX6981" fmla="*/ 4557561 w 8978749"/>
              <a:gd name="connsiteY6981" fmla="*/ 1012827 h 4806848"/>
              <a:gd name="connsiteX6982" fmla="*/ 4557561 w 8978749"/>
              <a:gd name="connsiteY6982" fmla="*/ 1069976 h 4806848"/>
              <a:gd name="connsiteX6983" fmla="*/ 4498823 w 8978749"/>
              <a:gd name="connsiteY6983" fmla="*/ 1069976 h 4806848"/>
              <a:gd name="connsiteX6984" fmla="*/ 4421036 w 8978749"/>
              <a:gd name="connsiteY6984" fmla="*/ 1012827 h 4806848"/>
              <a:gd name="connsiteX6985" fmla="*/ 4479774 w 8978749"/>
              <a:gd name="connsiteY6985" fmla="*/ 1012827 h 4806848"/>
              <a:gd name="connsiteX6986" fmla="*/ 4479774 w 8978749"/>
              <a:gd name="connsiteY6986" fmla="*/ 1069976 h 4806848"/>
              <a:gd name="connsiteX6987" fmla="*/ 4421036 w 8978749"/>
              <a:gd name="connsiteY6987" fmla="*/ 1069976 h 4806848"/>
              <a:gd name="connsiteX6988" fmla="*/ 4184498 w 8978749"/>
              <a:gd name="connsiteY6988" fmla="*/ 1012827 h 4806848"/>
              <a:gd name="connsiteX6989" fmla="*/ 4241648 w 8978749"/>
              <a:gd name="connsiteY6989" fmla="*/ 1012827 h 4806848"/>
              <a:gd name="connsiteX6990" fmla="*/ 4241648 w 8978749"/>
              <a:gd name="connsiteY6990" fmla="*/ 1069976 h 4806848"/>
              <a:gd name="connsiteX6991" fmla="*/ 4184498 w 8978749"/>
              <a:gd name="connsiteY6991" fmla="*/ 1069976 h 4806848"/>
              <a:gd name="connsiteX6992" fmla="*/ 3157386 w 8978749"/>
              <a:gd name="connsiteY6992" fmla="*/ 1012827 h 4806848"/>
              <a:gd name="connsiteX6993" fmla="*/ 3216124 w 8978749"/>
              <a:gd name="connsiteY6993" fmla="*/ 1012827 h 4806848"/>
              <a:gd name="connsiteX6994" fmla="*/ 3216124 w 8978749"/>
              <a:gd name="connsiteY6994" fmla="*/ 1069976 h 4806848"/>
              <a:gd name="connsiteX6995" fmla="*/ 3157386 w 8978749"/>
              <a:gd name="connsiteY6995" fmla="*/ 1069976 h 4806848"/>
              <a:gd name="connsiteX6996" fmla="*/ 3078011 w 8978749"/>
              <a:gd name="connsiteY6996" fmla="*/ 1012827 h 4806848"/>
              <a:gd name="connsiteX6997" fmla="*/ 3136749 w 8978749"/>
              <a:gd name="connsiteY6997" fmla="*/ 1012827 h 4806848"/>
              <a:gd name="connsiteX6998" fmla="*/ 3136749 w 8978749"/>
              <a:gd name="connsiteY6998" fmla="*/ 1069977 h 4806848"/>
              <a:gd name="connsiteX6999" fmla="*/ 3078011 w 8978749"/>
              <a:gd name="connsiteY6999" fmla="*/ 1069977 h 4806848"/>
              <a:gd name="connsiteX7000" fmla="*/ 2447935 w 8978749"/>
              <a:gd name="connsiteY7000" fmla="*/ 1012827 h 4806848"/>
              <a:gd name="connsiteX7001" fmla="*/ 2505095 w 8978749"/>
              <a:gd name="connsiteY7001" fmla="*/ 1012827 h 4806848"/>
              <a:gd name="connsiteX7002" fmla="*/ 2505095 w 8978749"/>
              <a:gd name="connsiteY7002" fmla="*/ 1069977 h 4806848"/>
              <a:gd name="connsiteX7003" fmla="*/ 2447935 w 8978749"/>
              <a:gd name="connsiteY7003" fmla="*/ 1069977 h 4806848"/>
              <a:gd name="connsiteX7004" fmla="*/ 4894111 w 8978749"/>
              <a:gd name="connsiteY7004" fmla="*/ 1012826 h 4806848"/>
              <a:gd name="connsiteX7005" fmla="*/ 4952849 w 8978749"/>
              <a:gd name="connsiteY7005" fmla="*/ 1012826 h 4806848"/>
              <a:gd name="connsiteX7006" fmla="*/ 4952849 w 8978749"/>
              <a:gd name="connsiteY7006" fmla="*/ 1069976 h 4806848"/>
              <a:gd name="connsiteX7007" fmla="*/ 4894111 w 8978749"/>
              <a:gd name="connsiteY7007" fmla="*/ 1069976 h 4806848"/>
              <a:gd name="connsiteX7008" fmla="*/ 8683474 w 8978749"/>
              <a:gd name="connsiteY7008" fmla="*/ 935079 h 4806848"/>
              <a:gd name="connsiteX7009" fmla="*/ 8742212 w 8978749"/>
              <a:gd name="connsiteY7009" fmla="*/ 935079 h 4806848"/>
              <a:gd name="connsiteX7010" fmla="*/ 8742212 w 8978749"/>
              <a:gd name="connsiteY7010" fmla="*/ 992232 h 4806848"/>
              <a:gd name="connsiteX7011" fmla="*/ 8683474 w 8978749"/>
              <a:gd name="connsiteY7011" fmla="*/ 992232 h 4806848"/>
              <a:gd name="connsiteX7012" fmla="*/ 8604099 w 8978749"/>
              <a:gd name="connsiteY7012" fmla="*/ 935079 h 4806848"/>
              <a:gd name="connsiteX7013" fmla="*/ 8662837 w 8978749"/>
              <a:gd name="connsiteY7013" fmla="*/ 935079 h 4806848"/>
              <a:gd name="connsiteX7014" fmla="*/ 8662837 w 8978749"/>
              <a:gd name="connsiteY7014" fmla="*/ 992232 h 4806848"/>
              <a:gd name="connsiteX7015" fmla="*/ 8604099 w 8978749"/>
              <a:gd name="connsiteY7015" fmla="*/ 992232 h 4806848"/>
              <a:gd name="connsiteX7016" fmla="*/ 8526311 w 8978749"/>
              <a:gd name="connsiteY7016" fmla="*/ 935079 h 4806848"/>
              <a:gd name="connsiteX7017" fmla="*/ 8583461 w 8978749"/>
              <a:gd name="connsiteY7017" fmla="*/ 935079 h 4806848"/>
              <a:gd name="connsiteX7018" fmla="*/ 8583461 w 8978749"/>
              <a:gd name="connsiteY7018" fmla="*/ 992232 h 4806848"/>
              <a:gd name="connsiteX7019" fmla="*/ 8526311 w 8978749"/>
              <a:gd name="connsiteY7019" fmla="*/ 992232 h 4806848"/>
              <a:gd name="connsiteX7020" fmla="*/ 8446936 w 8978749"/>
              <a:gd name="connsiteY7020" fmla="*/ 935079 h 4806848"/>
              <a:gd name="connsiteX7021" fmla="*/ 8505674 w 8978749"/>
              <a:gd name="connsiteY7021" fmla="*/ 935079 h 4806848"/>
              <a:gd name="connsiteX7022" fmla="*/ 8505674 w 8978749"/>
              <a:gd name="connsiteY7022" fmla="*/ 992232 h 4806848"/>
              <a:gd name="connsiteX7023" fmla="*/ 8446936 w 8978749"/>
              <a:gd name="connsiteY7023" fmla="*/ 992232 h 4806848"/>
              <a:gd name="connsiteX7024" fmla="*/ 8367561 w 8978749"/>
              <a:gd name="connsiteY7024" fmla="*/ 935079 h 4806848"/>
              <a:gd name="connsiteX7025" fmla="*/ 8426299 w 8978749"/>
              <a:gd name="connsiteY7025" fmla="*/ 935079 h 4806848"/>
              <a:gd name="connsiteX7026" fmla="*/ 8426299 w 8978749"/>
              <a:gd name="connsiteY7026" fmla="*/ 992232 h 4806848"/>
              <a:gd name="connsiteX7027" fmla="*/ 8367561 w 8978749"/>
              <a:gd name="connsiteY7027" fmla="*/ 992232 h 4806848"/>
              <a:gd name="connsiteX7028" fmla="*/ 8289774 w 8978749"/>
              <a:gd name="connsiteY7028" fmla="*/ 935079 h 4806848"/>
              <a:gd name="connsiteX7029" fmla="*/ 8346924 w 8978749"/>
              <a:gd name="connsiteY7029" fmla="*/ 935079 h 4806848"/>
              <a:gd name="connsiteX7030" fmla="*/ 8346924 w 8978749"/>
              <a:gd name="connsiteY7030" fmla="*/ 992232 h 4806848"/>
              <a:gd name="connsiteX7031" fmla="*/ 8289774 w 8978749"/>
              <a:gd name="connsiteY7031" fmla="*/ 992232 h 4806848"/>
              <a:gd name="connsiteX7032" fmla="*/ 8210399 w 8978749"/>
              <a:gd name="connsiteY7032" fmla="*/ 935079 h 4806848"/>
              <a:gd name="connsiteX7033" fmla="*/ 8267549 w 8978749"/>
              <a:gd name="connsiteY7033" fmla="*/ 935079 h 4806848"/>
              <a:gd name="connsiteX7034" fmla="*/ 8267549 w 8978749"/>
              <a:gd name="connsiteY7034" fmla="*/ 992232 h 4806848"/>
              <a:gd name="connsiteX7035" fmla="*/ 8210399 w 8978749"/>
              <a:gd name="connsiteY7035" fmla="*/ 992232 h 4806848"/>
              <a:gd name="connsiteX7036" fmla="*/ 8131024 w 8978749"/>
              <a:gd name="connsiteY7036" fmla="*/ 935079 h 4806848"/>
              <a:gd name="connsiteX7037" fmla="*/ 8189762 w 8978749"/>
              <a:gd name="connsiteY7037" fmla="*/ 935079 h 4806848"/>
              <a:gd name="connsiteX7038" fmla="*/ 8189762 w 8978749"/>
              <a:gd name="connsiteY7038" fmla="*/ 992232 h 4806848"/>
              <a:gd name="connsiteX7039" fmla="*/ 8131024 w 8978749"/>
              <a:gd name="connsiteY7039" fmla="*/ 992232 h 4806848"/>
              <a:gd name="connsiteX7040" fmla="*/ 8051649 w 8978749"/>
              <a:gd name="connsiteY7040" fmla="*/ 935079 h 4806848"/>
              <a:gd name="connsiteX7041" fmla="*/ 8110387 w 8978749"/>
              <a:gd name="connsiteY7041" fmla="*/ 935079 h 4806848"/>
              <a:gd name="connsiteX7042" fmla="*/ 8110387 w 8978749"/>
              <a:gd name="connsiteY7042" fmla="*/ 992232 h 4806848"/>
              <a:gd name="connsiteX7043" fmla="*/ 8051649 w 8978749"/>
              <a:gd name="connsiteY7043" fmla="*/ 992232 h 4806848"/>
              <a:gd name="connsiteX7044" fmla="*/ 7973861 w 8978749"/>
              <a:gd name="connsiteY7044" fmla="*/ 935079 h 4806848"/>
              <a:gd name="connsiteX7045" fmla="*/ 8031011 w 8978749"/>
              <a:gd name="connsiteY7045" fmla="*/ 935079 h 4806848"/>
              <a:gd name="connsiteX7046" fmla="*/ 8031011 w 8978749"/>
              <a:gd name="connsiteY7046" fmla="*/ 992232 h 4806848"/>
              <a:gd name="connsiteX7047" fmla="*/ 7973861 w 8978749"/>
              <a:gd name="connsiteY7047" fmla="*/ 992232 h 4806848"/>
              <a:gd name="connsiteX7048" fmla="*/ 7894486 w 8978749"/>
              <a:gd name="connsiteY7048" fmla="*/ 935079 h 4806848"/>
              <a:gd name="connsiteX7049" fmla="*/ 7951636 w 8978749"/>
              <a:gd name="connsiteY7049" fmla="*/ 935079 h 4806848"/>
              <a:gd name="connsiteX7050" fmla="*/ 7951636 w 8978749"/>
              <a:gd name="connsiteY7050" fmla="*/ 992232 h 4806848"/>
              <a:gd name="connsiteX7051" fmla="*/ 7894486 w 8978749"/>
              <a:gd name="connsiteY7051" fmla="*/ 992232 h 4806848"/>
              <a:gd name="connsiteX7052" fmla="*/ 7815111 w 8978749"/>
              <a:gd name="connsiteY7052" fmla="*/ 935079 h 4806848"/>
              <a:gd name="connsiteX7053" fmla="*/ 7873849 w 8978749"/>
              <a:gd name="connsiteY7053" fmla="*/ 935079 h 4806848"/>
              <a:gd name="connsiteX7054" fmla="*/ 7873849 w 8978749"/>
              <a:gd name="connsiteY7054" fmla="*/ 992232 h 4806848"/>
              <a:gd name="connsiteX7055" fmla="*/ 7815111 w 8978749"/>
              <a:gd name="connsiteY7055" fmla="*/ 992232 h 4806848"/>
              <a:gd name="connsiteX7056" fmla="*/ 7735736 w 8978749"/>
              <a:gd name="connsiteY7056" fmla="*/ 935079 h 4806848"/>
              <a:gd name="connsiteX7057" fmla="*/ 7794474 w 8978749"/>
              <a:gd name="connsiteY7057" fmla="*/ 935079 h 4806848"/>
              <a:gd name="connsiteX7058" fmla="*/ 7794474 w 8978749"/>
              <a:gd name="connsiteY7058" fmla="*/ 992232 h 4806848"/>
              <a:gd name="connsiteX7059" fmla="*/ 7735736 w 8978749"/>
              <a:gd name="connsiteY7059" fmla="*/ 992232 h 4806848"/>
              <a:gd name="connsiteX7060" fmla="*/ 7657949 w 8978749"/>
              <a:gd name="connsiteY7060" fmla="*/ 935079 h 4806848"/>
              <a:gd name="connsiteX7061" fmla="*/ 7715099 w 8978749"/>
              <a:gd name="connsiteY7061" fmla="*/ 935079 h 4806848"/>
              <a:gd name="connsiteX7062" fmla="*/ 7715099 w 8978749"/>
              <a:gd name="connsiteY7062" fmla="*/ 992232 h 4806848"/>
              <a:gd name="connsiteX7063" fmla="*/ 7657949 w 8978749"/>
              <a:gd name="connsiteY7063" fmla="*/ 992232 h 4806848"/>
              <a:gd name="connsiteX7064" fmla="*/ 7578574 w 8978749"/>
              <a:gd name="connsiteY7064" fmla="*/ 935079 h 4806848"/>
              <a:gd name="connsiteX7065" fmla="*/ 7637312 w 8978749"/>
              <a:gd name="connsiteY7065" fmla="*/ 935079 h 4806848"/>
              <a:gd name="connsiteX7066" fmla="*/ 7637312 w 8978749"/>
              <a:gd name="connsiteY7066" fmla="*/ 992232 h 4806848"/>
              <a:gd name="connsiteX7067" fmla="*/ 7578574 w 8978749"/>
              <a:gd name="connsiteY7067" fmla="*/ 992232 h 4806848"/>
              <a:gd name="connsiteX7068" fmla="*/ 7499199 w 8978749"/>
              <a:gd name="connsiteY7068" fmla="*/ 935079 h 4806848"/>
              <a:gd name="connsiteX7069" fmla="*/ 7557937 w 8978749"/>
              <a:gd name="connsiteY7069" fmla="*/ 935079 h 4806848"/>
              <a:gd name="connsiteX7070" fmla="*/ 7557937 w 8978749"/>
              <a:gd name="connsiteY7070" fmla="*/ 992232 h 4806848"/>
              <a:gd name="connsiteX7071" fmla="*/ 7499199 w 8978749"/>
              <a:gd name="connsiteY7071" fmla="*/ 992232 h 4806848"/>
              <a:gd name="connsiteX7072" fmla="*/ 7419824 w 8978749"/>
              <a:gd name="connsiteY7072" fmla="*/ 935079 h 4806848"/>
              <a:gd name="connsiteX7073" fmla="*/ 7478562 w 8978749"/>
              <a:gd name="connsiteY7073" fmla="*/ 935079 h 4806848"/>
              <a:gd name="connsiteX7074" fmla="*/ 7478562 w 8978749"/>
              <a:gd name="connsiteY7074" fmla="*/ 992232 h 4806848"/>
              <a:gd name="connsiteX7075" fmla="*/ 7419824 w 8978749"/>
              <a:gd name="connsiteY7075" fmla="*/ 992232 h 4806848"/>
              <a:gd name="connsiteX7076" fmla="*/ 7342036 w 8978749"/>
              <a:gd name="connsiteY7076" fmla="*/ 935079 h 4806848"/>
              <a:gd name="connsiteX7077" fmla="*/ 7400774 w 8978749"/>
              <a:gd name="connsiteY7077" fmla="*/ 935079 h 4806848"/>
              <a:gd name="connsiteX7078" fmla="*/ 7400774 w 8978749"/>
              <a:gd name="connsiteY7078" fmla="*/ 992232 h 4806848"/>
              <a:gd name="connsiteX7079" fmla="*/ 7342036 w 8978749"/>
              <a:gd name="connsiteY7079" fmla="*/ 992232 h 4806848"/>
              <a:gd name="connsiteX7080" fmla="*/ 7262661 w 8978749"/>
              <a:gd name="connsiteY7080" fmla="*/ 935079 h 4806848"/>
              <a:gd name="connsiteX7081" fmla="*/ 7321399 w 8978749"/>
              <a:gd name="connsiteY7081" fmla="*/ 935079 h 4806848"/>
              <a:gd name="connsiteX7082" fmla="*/ 7321399 w 8978749"/>
              <a:gd name="connsiteY7082" fmla="*/ 992232 h 4806848"/>
              <a:gd name="connsiteX7083" fmla="*/ 7262661 w 8978749"/>
              <a:gd name="connsiteY7083" fmla="*/ 992232 h 4806848"/>
              <a:gd name="connsiteX7084" fmla="*/ 7183286 w 8978749"/>
              <a:gd name="connsiteY7084" fmla="*/ 935079 h 4806848"/>
              <a:gd name="connsiteX7085" fmla="*/ 7242024 w 8978749"/>
              <a:gd name="connsiteY7085" fmla="*/ 935079 h 4806848"/>
              <a:gd name="connsiteX7086" fmla="*/ 7242024 w 8978749"/>
              <a:gd name="connsiteY7086" fmla="*/ 992232 h 4806848"/>
              <a:gd name="connsiteX7087" fmla="*/ 7183286 w 8978749"/>
              <a:gd name="connsiteY7087" fmla="*/ 992232 h 4806848"/>
              <a:gd name="connsiteX7088" fmla="*/ 7105499 w 8978749"/>
              <a:gd name="connsiteY7088" fmla="*/ 935079 h 4806848"/>
              <a:gd name="connsiteX7089" fmla="*/ 7162649 w 8978749"/>
              <a:gd name="connsiteY7089" fmla="*/ 935079 h 4806848"/>
              <a:gd name="connsiteX7090" fmla="*/ 7162649 w 8978749"/>
              <a:gd name="connsiteY7090" fmla="*/ 992232 h 4806848"/>
              <a:gd name="connsiteX7091" fmla="*/ 7105499 w 8978749"/>
              <a:gd name="connsiteY7091" fmla="*/ 992232 h 4806848"/>
              <a:gd name="connsiteX7092" fmla="*/ 7026124 w 8978749"/>
              <a:gd name="connsiteY7092" fmla="*/ 935079 h 4806848"/>
              <a:gd name="connsiteX7093" fmla="*/ 7084862 w 8978749"/>
              <a:gd name="connsiteY7093" fmla="*/ 935079 h 4806848"/>
              <a:gd name="connsiteX7094" fmla="*/ 7084862 w 8978749"/>
              <a:gd name="connsiteY7094" fmla="*/ 992232 h 4806848"/>
              <a:gd name="connsiteX7095" fmla="*/ 7026124 w 8978749"/>
              <a:gd name="connsiteY7095" fmla="*/ 992232 h 4806848"/>
              <a:gd name="connsiteX7096" fmla="*/ 6946749 w 8978749"/>
              <a:gd name="connsiteY7096" fmla="*/ 935079 h 4806848"/>
              <a:gd name="connsiteX7097" fmla="*/ 7005487 w 8978749"/>
              <a:gd name="connsiteY7097" fmla="*/ 935079 h 4806848"/>
              <a:gd name="connsiteX7098" fmla="*/ 7005487 w 8978749"/>
              <a:gd name="connsiteY7098" fmla="*/ 992232 h 4806848"/>
              <a:gd name="connsiteX7099" fmla="*/ 6946749 w 8978749"/>
              <a:gd name="connsiteY7099" fmla="*/ 992232 h 4806848"/>
              <a:gd name="connsiteX7100" fmla="*/ 6867374 w 8978749"/>
              <a:gd name="connsiteY7100" fmla="*/ 935079 h 4806848"/>
              <a:gd name="connsiteX7101" fmla="*/ 6926112 w 8978749"/>
              <a:gd name="connsiteY7101" fmla="*/ 935079 h 4806848"/>
              <a:gd name="connsiteX7102" fmla="*/ 6926112 w 8978749"/>
              <a:gd name="connsiteY7102" fmla="*/ 992232 h 4806848"/>
              <a:gd name="connsiteX7103" fmla="*/ 6867374 w 8978749"/>
              <a:gd name="connsiteY7103" fmla="*/ 992232 h 4806848"/>
              <a:gd name="connsiteX7104" fmla="*/ 6789586 w 8978749"/>
              <a:gd name="connsiteY7104" fmla="*/ 935079 h 4806848"/>
              <a:gd name="connsiteX7105" fmla="*/ 6846736 w 8978749"/>
              <a:gd name="connsiteY7105" fmla="*/ 935079 h 4806848"/>
              <a:gd name="connsiteX7106" fmla="*/ 6846736 w 8978749"/>
              <a:gd name="connsiteY7106" fmla="*/ 992232 h 4806848"/>
              <a:gd name="connsiteX7107" fmla="*/ 6789586 w 8978749"/>
              <a:gd name="connsiteY7107" fmla="*/ 992232 h 4806848"/>
              <a:gd name="connsiteX7108" fmla="*/ 6710211 w 8978749"/>
              <a:gd name="connsiteY7108" fmla="*/ 935079 h 4806848"/>
              <a:gd name="connsiteX7109" fmla="*/ 6768949 w 8978749"/>
              <a:gd name="connsiteY7109" fmla="*/ 935079 h 4806848"/>
              <a:gd name="connsiteX7110" fmla="*/ 6768949 w 8978749"/>
              <a:gd name="connsiteY7110" fmla="*/ 992232 h 4806848"/>
              <a:gd name="connsiteX7111" fmla="*/ 6710211 w 8978749"/>
              <a:gd name="connsiteY7111" fmla="*/ 992232 h 4806848"/>
              <a:gd name="connsiteX7112" fmla="*/ 6630836 w 8978749"/>
              <a:gd name="connsiteY7112" fmla="*/ 935079 h 4806848"/>
              <a:gd name="connsiteX7113" fmla="*/ 6689574 w 8978749"/>
              <a:gd name="connsiteY7113" fmla="*/ 935079 h 4806848"/>
              <a:gd name="connsiteX7114" fmla="*/ 6689574 w 8978749"/>
              <a:gd name="connsiteY7114" fmla="*/ 992232 h 4806848"/>
              <a:gd name="connsiteX7115" fmla="*/ 6630836 w 8978749"/>
              <a:gd name="connsiteY7115" fmla="*/ 992232 h 4806848"/>
              <a:gd name="connsiteX7116" fmla="*/ 6551461 w 8978749"/>
              <a:gd name="connsiteY7116" fmla="*/ 935079 h 4806848"/>
              <a:gd name="connsiteX7117" fmla="*/ 6610199 w 8978749"/>
              <a:gd name="connsiteY7117" fmla="*/ 935079 h 4806848"/>
              <a:gd name="connsiteX7118" fmla="*/ 6610199 w 8978749"/>
              <a:gd name="connsiteY7118" fmla="*/ 992232 h 4806848"/>
              <a:gd name="connsiteX7119" fmla="*/ 6551461 w 8978749"/>
              <a:gd name="connsiteY7119" fmla="*/ 992232 h 4806848"/>
              <a:gd name="connsiteX7120" fmla="*/ 6473674 w 8978749"/>
              <a:gd name="connsiteY7120" fmla="*/ 935079 h 4806848"/>
              <a:gd name="connsiteX7121" fmla="*/ 6530824 w 8978749"/>
              <a:gd name="connsiteY7121" fmla="*/ 935079 h 4806848"/>
              <a:gd name="connsiteX7122" fmla="*/ 6530824 w 8978749"/>
              <a:gd name="connsiteY7122" fmla="*/ 992232 h 4806848"/>
              <a:gd name="connsiteX7123" fmla="*/ 6473674 w 8978749"/>
              <a:gd name="connsiteY7123" fmla="*/ 992232 h 4806848"/>
              <a:gd name="connsiteX7124" fmla="*/ 6394299 w 8978749"/>
              <a:gd name="connsiteY7124" fmla="*/ 935079 h 4806848"/>
              <a:gd name="connsiteX7125" fmla="*/ 6453037 w 8978749"/>
              <a:gd name="connsiteY7125" fmla="*/ 935079 h 4806848"/>
              <a:gd name="connsiteX7126" fmla="*/ 6453037 w 8978749"/>
              <a:gd name="connsiteY7126" fmla="*/ 992232 h 4806848"/>
              <a:gd name="connsiteX7127" fmla="*/ 6394299 w 8978749"/>
              <a:gd name="connsiteY7127" fmla="*/ 992232 h 4806848"/>
              <a:gd name="connsiteX7128" fmla="*/ 6314924 w 8978749"/>
              <a:gd name="connsiteY7128" fmla="*/ 935079 h 4806848"/>
              <a:gd name="connsiteX7129" fmla="*/ 6373662 w 8978749"/>
              <a:gd name="connsiteY7129" fmla="*/ 935079 h 4806848"/>
              <a:gd name="connsiteX7130" fmla="*/ 6373662 w 8978749"/>
              <a:gd name="connsiteY7130" fmla="*/ 992232 h 4806848"/>
              <a:gd name="connsiteX7131" fmla="*/ 6314924 w 8978749"/>
              <a:gd name="connsiteY7131" fmla="*/ 992232 h 4806848"/>
              <a:gd name="connsiteX7132" fmla="*/ 6235549 w 8978749"/>
              <a:gd name="connsiteY7132" fmla="*/ 935079 h 4806848"/>
              <a:gd name="connsiteX7133" fmla="*/ 6294287 w 8978749"/>
              <a:gd name="connsiteY7133" fmla="*/ 935079 h 4806848"/>
              <a:gd name="connsiteX7134" fmla="*/ 6294287 w 8978749"/>
              <a:gd name="connsiteY7134" fmla="*/ 992232 h 4806848"/>
              <a:gd name="connsiteX7135" fmla="*/ 6235549 w 8978749"/>
              <a:gd name="connsiteY7135" fmla="*/ 992232 h 4806848"/>
              <a:gd name="connsiteX7136" fmla="*/ 6157761 w 8978749"/>
              <a:gd name="connsiteY7136" fmla="*/ 935079 h 4806848"/>
              <a:gd name="connsiteX7137" fmla="*/ 6214911 w 8978749"/>
              <a:gd name="connsiteY7137" fmla="*/ 935079 h 4806848"/>
              <a:gd name="connsiteX7138" fmla="*/ 6214911 w 8978749"/>
              <a:gd name="connsiteY7138" fmla="*/ 992232 h 4806848"/>
              <a:gd name="connsiteX7139" fmla="*/ 6157761 w 8978749"/>
              <a:gd name="connsiteY7139" fmla="*/ 992232 h 4806848"/>
              <a:gd name="connsiteX7140" fmla="*/ 6078386 w 8978749"/>
              <a:gd name="connsiteY7140" fmla="*/ 935079 h 4806848"/>
              <a:gd name="connsiteX7141" fmla="*/ 6137124 w 8978749"/>
              <a:gd name="connsiteY7141" fmla="*/ 935079 h 4806848"/>
              <a:gd name="connsiteX7142" fmla="*/ 6137124 w 8978749"/>
              <a:gd name="connsiteY7142" fmla="*/ 992232 h 4806848"/>
              <a:gd name="connsiteX7143" fmla="*/ 6078386 w 8978749"/>
              <a:gd name="connsiteY7143" fmla="*/ 992232 h 4806848"/>
              <a:gd name="connsiteX7144" fmla="*/ 5999011 w 8978749"/>
              <a:gd name="connsiteY7144" fmla="*/ 935079 h 4806848"/>
              <a:gd name="connsiteX7145" fmla="*/ 6057749 w 8978749"/>
              <a:gd name="connsiteY7145" fmla="*/ 935079 h 4806848"/>
              <a:gd name="connsiteX7146" fmla="*/ 6057749 w 8978749"/>
              <a:gd name="connsiteY7146" fmla="*/ 992232 h 4806848"/>
              <a:gd name="connsiteX7147" fmla="*/ 5999011 w 8978749"/>
              <a:gd name="connsiteY7147" fmla="*/ 992232 h 4806848"/>
              <a:gd name="connsiteX7148" fmla="*/ 5921224 w 8978749"/>
              <a:gd name="connsiteY7148" fmla="*/ 935079 h 4806848"/>
              <a:gd name="connsiteX7149" fmla="*/ 5978374 w 8978749"/>
              <a:gd name="connsiteY7149" fmla="*/ 935079 h 4806848"/>
              <a:gd name="connsiteX7150" fmla="*/ 5978374 w 8978749"/>
              <a:gd name="connsiteY7150" fmla="*/ 992232 h 4806848"/>
              <a:gd name="connsiteX7151" fmla="*/ 5921224 w 8978749"/>
              <a:gd name="connsiteY7151" fmla="*/ 992232 h 4806848"/>
              <a:gd name="connsiteX7152" fmla="*/ 5841849 w 8978749"/>
              <a:gd name="connsiteY7152" fmla="*/ 935079 h 4806848"/>
              <a:gd name="connsiteX7153" fmla="*/ 5900587 w 8978749"/>
              <a:gd name="connsiteY7153" fmla="*/ 935079 h 4806848"/>
              <a:gd name="connsiteX7154" fmla="*/ 5900587 w 8978749"/>
              <a:gd name="connsiteY7154" fmla="*/ 992232 h 4806848"/>
              <a:gd name="connsiteX7155" fmla="*/ 5841849 w 8978749"/>
              <a:gd name="connsiteY7155" fmla="*/ 992232 h 4806848"/>
              <a:gd name="connsiteX7156" fmla="*/ 5762474 w 8978749"/>
              <a:gd name="connsiteY7156" fmla="*/ 935079 h 4806848"/>
              <a:gd name="connsiteX7157" fmla="*/ 5821212 w 8978749"/>
              <a:gd name="connsiteY7157" fmla="*/ 935079 h 4806848"/>
              <a:gd name="connsiteX7158" fmla="*/ 5821212 w 8978749"/>
              <a:gd name="connsiteY7158" fmla="*/ 992232 h 4806848"/>
              <a:gd name="connsiteX7159" fmla="*/ 5762474 w 8978749"/>
              <a:gd name="connsiteY7159" fmla="*/ 992232 h 4806848"/>
              <a:gd name="connsiteX7160" fmla="*/ 5684686 w 8978749"/>
              <a:gd name="connsiteY7160" fmla="*/ 935079 h 4806848"/>
              <a:gd name="connsiteX7161" fmla="*/ 5741836 w 8978749"/>
              <a:gd name="connsiteY7161" fmla="*/ 935079 h 4806848"/>
              <a:gd name="connsiteX7162" fmla="*/ 5741836 w 8978749"/>
              <a:gd name="connsiteY7162" fmla="*/ 992232 h 4806848"/>
              <a:gd name="connsiteX7163" fmla="*/ 5684686 w 8978749"/>
              <a:gd name="connsiteY7163" fmla="*/ 992232 h 4806848"/>
              <a:gd name="connsiteX7164" fmla="*/ 5605311 w 8978749"/>
              <a:gd name="connsiteY7164" fmla="*/ 935079 h 4806848"/>
              <a:gd name="connsiteX7165" fmla="*/ 5664049 w 8978749"/>
              <a:gd name="connsiteY7165" fmla="*/ 935079 h 4806848"/>
              <a:gd name="connsiteX7166" fmla="*/ 5664049 w 8978749"/>
              <a:gd name="connsiteY7166" fmla="*/ 992232 h 4806848"/>
              <a:gd name="connsiteX7167" fmla="*/ 5605311 w 8978749"/>
              <a:gd name="connsiteY7167" fmla="*/ 992232 h 4806848"/>
              <a:gd name="connsiteX7168" fmla="*/ 5525936 w 8978749"/>
              <a:gd name="connsiteY7168" fmla="*/ 935079 h 4806848"/>
              <a:gd name="connsiteX7169" fmla="*/ 5584674 w 8978749"/>
              <a:gd name="connsiteY7169" fmla="*/ 935079 h 4806848"/>
              <a:gd name="connsiteX7170" fmla="*/ 5584674 w 8978749"/>
              <a:gd name="connsiteY7170" fmla="*/ 992232 h 4806848"/>
              <a:gd name="connsiteX7171" fmla="*/ 5525936 w 8978749"/>
              <a:gd name="connsiteY7171" fmla="*/ 992232 h 4806848"/>
              <a:gd name="connsiteX7172" fmla="*/ 5446561 w 8978749"/>
              <a:gd name="connsiteY7172" fmla="*/ 935079 h 4806848"/>
              <a:gd name="connsiteX7173" fmla="*/ 5505299 w 8978749"/>
              <a:gd name="connsiteY7173" fmla="*/ 935079 h 4806848"/>
              <a:gd name="connsiteX7174" fmla="*/ 5505299 w 8978749"/>
              <a:gd name="connsiteY7174" fmla="*/ 992232 h 4806848"/>
              <a:gd name="connsiteX7175" fmla="*/ 5446561 w 8978749"/>
              <a:gd name="connsiteY7175" fmla="*/ 992232 h 4806848"/>
              <a:gd name="connsiteX7176" fmla="*/ 5368774 w 8978749"/>
              <a:gd name="connsiteY7176" fmla="*/ 935079 h 4806848"/>
              <a:gd name="connsiteX7177" fmla="*/ 5425924 w 8978749"/>
              <a:gd name="connsiteY7177" fmla="*/ 935079 h 4806848"/>
              <a:gd name="connsiteX7178" fmla="*/ 5425924 w 8978749"/>
              <a:gd name="connsiteY7178" fmla="*/ 992232 h 4806848"/>
              <a:gd name="connsiteX7179" fmla="*/ 5368774 w 8978749"/>
              <a:gd name="connsiteY7179" fmla="*/ 992232 h 4806848"/>
              <a:gd name="connsiteX7180" fmla="*/ 5289399 w 8978749"/>
              <a:gd name="connsiteY7180" fmla="*/ 935079 h 4806848"/>
              <a:gd name="connsiteX7181" fmla="*/ 5348137 w 8978749"/>
              <a:gd name="connsiteY7181" fmla="*/ 935079 h 4806848"/>
              <a:gd name="connsiteX7182" fmla="*/ 5348137 w 8978749"/>
              <a:gd name="connsiteY7182" fmla="*/ 992232 h 4806848"/>
              <a:gd name="connsiteX7183" fmla="*/ 5289399 w 8978749"/>
              <a:gd name="connsiteY7183" fmla="*/ 992232 h 4806848"/>
              <a:gd name="connsiteX7184" fmla="*/ 5210024 w 8978749"/>
              <a:gd name="connsiteY7184" fmla="*/ 935079 h 4806848"/>
              <a:gd name="connsiteX7185" fmla="*/ 5268762 w 8978749"/>
              <a:gd name="connsiteY7185" fmla="*/ 935079 h 4806848"/>
              <a:gd name="connsiteX7186" fmla="*/ 5268762 w 8978749"/>
              <a:gd name="connsiteY7186" fmla="*/ 992232 h 4806848"/>
              <a:gd name="connsiteX7187" fmla="*/ 5210024 w 8978749"/>
              <a:gd name="connsiteY7187" fmla="*/ 992232 h 4806848"/>
              <a:gd name="connsiteX7188" fmla="*/ 5130649 w 8978749"/>
              <a:gd name="connsiteY7188" fmla="*/ 935079 h 4806848"/>
              <a:gd name="connsiteX7189" fmla="*/ 5189387 w 8978749"/>
              <a:gd name="connsiteY7189" fmla="*/ 935079 h 4806848"/>
              <a:gd name="connsiteX7190" fmla="*/ 5189387 w 8978749"/>
              <a:gd name="connsiteY7190" fmla="*/ 992232 h 4806848"/>
              <a:gd name="connsiteX7191" fmla="*/ 5130649 w 8978749"/>
              <a:gd name="connsiteY7191" fmla="*/ 992232 h 4806848"/>
              <a:gd name="connsiteX7192" fmla="*/ 5052861 w 8978749"/>
              <a:gd name="connsiteY7192" fmla="*/ 935079 h 4806848"/>
              <a:gd name="connsiteX7193" fmla="*/ 5110011 w 8978749"/>
              <a:gd name="connsiteY7193" fmla="*/ 935079 h 4806848"/>
              <a:gd name="connsiteX7194" fmla="*/ 5110011 w 8978749"/>
              <a:gd name="connsiteY7194" fmla="*/ 992232 h 4806848"/>
              <a:gd name="connsiteX7195" fmla="*/ 5052861 w 8978749"/>
              <a:gd name="connsiteY7195" fmla="*/ 992232 h 4806848"/>
              <a:gd name="connsiteX7196" fmla="*/ 4973486 w 8978749"/>
              <a:gd name="connsiteY7196" fmla="*/ 935079 h 4806848"/>
              <a:gd name="connsiteX7197" fmla="*/ 5030636 w 8978749"/>
              <a:gd name="connsiteY7197" fmla="*/ 935079 h 4806848"/>
              <a:gd name="connsiteX7198" fmla="*/ 5030636 w 8978749"/>
              <a:gd name="connsiteY7198" fmla="*/ 992232 h 4806848"/>
              <a:gd name="connsiteX7199" fmla="*/ 4973486 w 8978749"/>
              <a:gd name="connsiteY7199" fmla="*/ 992232 h 4806848"/>
              <a:gd name="connsiteX7200" fmla="*/ 157166 w 8978749"/>
              <a:gd name="connsiteY7200" fmla="*/ 935043 h 4806848"/>
              <a:gd name="connsiteX7201" fmla="*/ 215904 w 8978749"/>
              <a:gd name="connsiteY7201" fmla="*/ 935043 h 4806848"/>
              <a:gd name="connsiteX7202" fmla="*/ 215904 w 8978749"/>
              <a:gd name="connsiteY7202" fmla="*/ 992195 h 4806848"/>
              <a:gd name="connsiteX7203" fmla="*/ 157166 w 8978749"/>
              <a:gd name="connsiteY7203" fmla="*/ 992195 h 4806848"/>
              <a:gd name="connsiteX7204" fmla="*/ 0 w 8978749"/>
              <a:gd name="connsiteY7204" fmla="*/ 935043 h 4806848"/>
              <a:gd name="connsiteX7205" fmla="*/ 58749 w 8978749"/>
              <a:gd name="connsiteY7205" fmla="*/ 935043 h 4806848"/>
              <a:gd name="connsiteX7206" fmla="*/ 58749 w 8978749"/>
              <a:gd name="connsiteY7206" fmla="*/ 992195 h 4806848"/>
              <a:gd name="connsiteX7207" fmla="*/ 0 w 8978749"/>
              <a:gd name="connsiteY7207" fmla="*/ 992195 h 4806848"/>
              <a:gd name="connsiteX7208" fmla="*/ 631864 w 8978749"/>
              <a:gd name="connsiteY7208" fmla="*/ 935043 h 4806848"/>
              <a:gd name="connsiteX7209" fmla="*/ 689013 w 8978749"/>
              <a:gd name="connsiteY7209" fmla="*/ 935043 h 4806848"/>
              <a:gd name="connsiteX7210" fmla="*/ 689013 w 8978749"/>
              <a:gd name="connsiteY7210" fmla="*/ 992195 h 4806848"/>
              <a:gd name="connsiteX7211" fmla="*/ 631864 w 8978749"/>
              <a:gd name="connsiteY7211" fmla="*/ 992195 h 4806848"/>
              <a:gd name="connsiteX7212" fmla="*/ 552493 w 8978749"/>
              <a:gd name="connsiteY7212" fmla="*/ 935043 h 4806848"/>
              <a:gd name="connsiteX7213" fmla="*/ 611230 w 8978749"/>
              <a:gd name="connsiteY7213" fmla="*/ 935043 h 4806848"/>
              <a:gd name="connsiteX7214" fmla="*/ 611230 w 8978749"/>
              <a:gd name="connsiteY7214" fmla="*/ 992195 h 4806848"/>
              <a:gd name="connsiteX7215" fmla="*/ 552493 w 8978749"/>
              <a:gd name="connsiteY7215" fmla="*/ 992195 h 4806848"/>
              <a:gd name="connsiteX7216" fmla="*/ 473073 w 8978749"/>
              <a:gd name="connsiteY7216" fmla="*/ 935043 h 4806848"/>
              <a:gd name="connsiteX7217" fmla="*/ 531859 w 8978749"/>
              <a:gd name="connsiteY7217" fmla="*/ 935043 h 4806848"/>
              <a:gd name="connsiteX7218" fmla="*/ 531859 w 8978749"/>
              <a:gd name="connsiteY7218" fmla="*/ 992195 h 4806848"/>
              <a:gd name="connsiteX7219" fmla="*/ 473073 w 8978749"/>
              <a:gd name="connsiteY7219" fmla="*/ 992195 h 4806848"/>
              <a:gd name="connsiteX7220" fmla="*/ 395294 w 8978749"/>
              <a:gd name="connsiteY7220" fmla="*/ 935043 h 4806848"/>
              <a:gd name="connsiteX7221" fmla="*/ 452436 w 8978749"/>
              <a:gd name="connsiteY7221" fmla="*/ 935043 h 4806848"/>
              <a:gd name="connsiteX7222" fmla="*/ 452436 w 8978749"/>
              <a:gd name="connsiteY7222" fmla="*/ 992195 h 4806848"/>
              <a:gd name="connsiteX7223" fmla="*/ 395294 w 8978749"/>
              <a:gd name="connsiteY7223" fmla="*/ 992195 h 4806848"/>
              <a:gd name="connsiteX7224" fmla="*/ 315914 w 8978749"/>
              <a:gd name="connsiteY7224" fmla="*/ 935043 h 4806848"/>
              <a:gd name="connsiteX7225" fmla="*/ 374655 w 8978749"/>
              <a:gd name="connsiteY7225" fmla="*/ 935043 h 4806848"/>
              <a:gd name="connsiteX7226" fmla="*/ 374655 w 8978749"/>
              <a:gd name="connsiteY7226" fmla="*/ 992195 h 4806848"/>
              <a:gd name="connsiteX7227" fmla="*/ 315914 w 8978749"/>
              <a:gd name="connsiteY7227" fmla="*/ 992195 h 4806848"/>
              <a:gd name="connsiteX7228" fmla="*/ 236538 w 8978749"/>
              <a:gd name="connsiteY7228" fmla="*/ 935043 h 4806848"/>
              <a:gd name="connsiteX7229" fmla="*/ 295278 w 8978749"/>
              <a:gd name="connsiteY7229" fmla="*/ 935043 h 4806848"/>
              <a:gd name="connsiteX7230" fmla="*/ 295278 w 8978749"/>
              <a:gd name="connsiteY7230" fmla="*/ 992195 h 4806848"/>
              <a:gd name="connsiteX7231" fmla="*/ 236538 w 8978749"/>
              <a:gd name="connsiteY7231" fmla="*/ 992195 h 4806848"/>
              <a:gd name="connsiteX7232" fmla="*/ 947746 w 8978749"/>
              <a:gd name="connsiteY7232" fmla="*/ 935042 h 4806848"/>
              <a:gd name="connsiteX7233" fmla="*/ 1004893 w 8978749"/>
              <a:gd name="connsiteY7233" fmla="*/ 935042 h 4806848"/>
              <a:gd name="connsiteX7234" fmla="*/ 1004893 w 8978749"/>
              <a:gd name="connsiteY7234" fmla="*/ 992193 h 4806848"/>
              <a:gd name="connsiteX7235" fmla="*/ 947746 w 8978749"/>
              <a:gd name="connsiteY7235" fmla="*/ 992193 h 4806848"/>
              <a:gd name="connsiteX7236" fmla="*/ 868383 w 8978749"/>
              <a:gd name="connsiteY7236" fmla="*/ 935042 h 4806848"/>
              <a:gd name="connsiteX7237" fmla="*/ 927115 w 8978749"/>
              <a:gd name="connsiteY7237" fmla="*/ 935042 h 4806848"/>
              <a:gd name="connsiteX7238" fmla="*/ 927115 w 8978749"/>
              <a:gd name="connsiteY7238" fmla="*/ 992195 h 4806848"/>
              <a:gd name="connsiteX7239" fmla="*/ 868383 w 8978749"/>
              <a:gd name="connsiteY7239" fmla="*/ 992195 h 4806848"/>
              <a:gd name="connsiteX7240" fmla="*/ 789013 w 8978749"/>
              <a:gd name="connsiteY7240" fmla="*/ 935042 h 4806848"/>
              <a:gd name="connsiteX7241" fmla="*/ 847751 w 8978749"/>
              <a:gd name="connsiteY7241" fmla="*/ 935042 h 4806848"/>
              <a:gd name="connsiteX7242" fmla="*/ 847751 w 8978749"/>
              <a:gd name="connsiteY7242" fmla="*/ 992195 h 4806848"/>
              <a:gd name="connsiteX7243" fmla="*/ 789013 w 8978749"/>
              <a:gd name="connsiteY7243" fmla="*/ 992195 h 4806848"/>
              <a:gd name="connsiteX7244" fmla="*/ 711236 w 8978749"/>
              <a:gd name="connsiteY7244" fmla="*/ 935042 h 4806848"/>
              <a:gd name="connsiteX7245" fmla="*/ 768379 w 8978749"/>
              <a:gd name="connsiteY7245" fmla="*/ 935042 h 4806848"/>
              <a:gd name="connsiteX7246" fmla="*/ 768379 w 8978749"/>
              <a:gd name="connsiteY7246" fmla="*/ 992195 h 4806848"/>
              <a:gd name="connsiteX7247" fmla="*/ 711236 w 8978749"/>
              <a:gd name="connsiteY7247" fmla="*/ 992195 h 4806848"/>
              <a:gd name="connsiteX7248" fmla="*/ 1263663 w 8978749"/>
              <a:gd name="connsiteY7248" fmla="*/ 935042 h 4806848"/>
              <a:gd name="connsiteX7249" fmla="*/ 1320827 w 8978749"/>
              <a:gd name="connsiteY7249" fmla="*/ 935042 h 4806848"/>
              <a:gd name="connsiteX7250" fmla="*/ 1320827 w 8978749"/>
              <a:gd name="connsiteY7250" fmla="*/ 992193 h 4806848"/>
              <a:gd name="connsiteX7251" fmla="*/ 1263663 w 8978749"/>
              <a:gd name="connsiteY7251" fmla="*/ 992193 h 4806848"/>
              <a:gd name="connsiteX7252" fmla="*/ 1184292 w 8978749"/>
              <a:gd name="connsiteY7252" fmla="*/ 935042 h 4806848"/>
              <a:gd name="connsiteX7253" fmla="*/ 1243021 w 8978749"/>
              <a:gd name="connsiteY7253" fmla="*/ 935042 h 4806848"/>
              <a:gd name="connsiteX7254" fmla="*/ 1243021 w 8978749"/>
              <a:gd name="connsiteY7254" fmla="*/ 992193 h 4806848"/>
              <a:gd name="connsiteX7255" fmla="*/ 1184292 w 8978749"/>
              <a:gd name="connsiteY7255" fmla="*/ 992193 h 4806848"/>
              <a:gd name="connsiteX7256" fmla="*/ 1104921 w 8978749"/>
              <a:gd name="connsiteY7256" fmla="*/ 935042 h 4806848"/>
              <a:gd name="connsiteX7257" fmla="*/ 1163657 w 8978749"/>
              <a:gd name="connsiteY7257" fmla="*/ 935042 h 4806848"/>
              <a:gd name="connsiteX7258" fmla="*/ 1163657 w 8978749"/>
              <a:gd name="connsiteY7258" fmla="*/ 992193 h 4806848"/>
              <a:gd name="connsiteX7259" fmla="*/ 1104921 w 8978749"/>
              <a:gd name="connsiteY7259" fmla="*/ 992193 h 4806848"/>
              <a:gd name="connsiteX7260" fmla="*/ 1027124 w 8978749"/>
              <a:gd name="connsiteY7260" fmla="*/ 935042 h 4806848"/>
              <a:gd name="connsiteX7261" fmla="*/ 1084287 w 8978749"/>
              <a:gd name="connsiteY7261" fmla="*/ 935042 h 4806848"/>
              <a:gd name="connsiteX7262" fmla="*/ 1084287 w 8978749"/>
              <a:gd name="connsiteY7262" fmla="*/ 992193 h 4806848"/>
              <a:gd name="connsiteX7263" fmla="*/ 1027124 w 8978749"/>
              <a:gd name="connsiteY7263" fmla="*/ 992193 h 4806848"/>
              <a:gd name="connsiteX7264" fmla="*/ 2209817 w 8978749"/>
              <a:gd name="connsiteY7264" fmla="*/ 935042 h 4806848"/>
              <a:gd name="connsiteX7265" fmla="*/ 2268557 w 8978749"/>
              <a:gd name="connsiteY7265" fmla="*/ 935042 h 4806848"/>
              <a:gd name="connsiteX7266" fmla="*/ 2268557 w 8978749"/>
              <a:gd name="connsiteY7266" fmla="*/ 992193 h 4806848"/>
              <a:gd name="connsiteX7267" fmla="*/ 2209817 w 8978749"/>
              <a:gd name="connsiteY7267" fmla="*/ 992193 h 4806848"/>
              <a:gd name="connsiteX7268" fmla="*/ 2132029 w 8978749"/>
              <a:gd name="connsiteY7268" fmla="*/ 935042 h 4806848"/>
              <a:gd name="connsiteX7269" fmla="*/ 2189184 w 8978749"/>
              <a:gd name="connsiteY7269" fmla="*/ 935042 h 4806848"/>
              <a:gd name="connsiteX7270" fmla="*/ 2189184 w 8978749"/>
              <a:gd name="connsiteY7270" fmla="*/ 992193 h 4806848"/>
              <a:gd name="connsiteX7271" fmla="*/ 2132029 w 8978749"/>
              <a:gd name="connsiteY7271" fmla="*/ 992193 h 4806848"/>
              <a:gd name="connsiteX7272" fmla="*/ 1893891 w 8978749"/>
              <a:gd name="connsiteY7272" fmla="*/ 935042 h 4806848"/>
              <a:gd name="connsiteX7273" fmla="*/ 1952628 w 8978749"/>
              <a:gd name="connsiteY7273" fmla="*/ 935042 h 4806848"/>
              <a:gd name="connsiteX7274" fmla="*/ 1952628 w 8978749"/>
              <a:gd name="connsiteY7274" fmla="*/ 992193 h 4806848"/>
              <a:gd name="connsiteX7275" fmla="*/ 1893891 w 8978749"/>
              <a:gd name="connsiteY7275" fmla="*/ 992193 h 4806848"/>
              <a:gd name="connsiteX7276" fmla="*/ 1816131 w 8978749"/>
              <a:gd name="connsiteY7276" fmla="*/ 935042 h 4806848"/>
              <a:gd name="connsiteX7277" fmla="*/ 1873262 w 8978749"/>
              <a:gd name="connsiteY7277" fmla="*/ 935042 h 4806848"/>
              <a:gd name="connsiteX7278" fmla="*/ 1873262 w 8978749"/>
              <a:gd name="connsiteY7278" fmla="*/ 992193 h 4806848"/>
              <a:gd name="connsiteX7279" fmla="*/ 1816131 w 8978749"/>
              <a:gd name="connsiteY7279" fmla="*/ 992193 h 4806848"/>
              <a:gd name="connsiteX7280" fmla="*/ 1736756 w 8978749"/>
              <a:gd name="connsiteY7280" fmla="*/ 935042 h 4806848"/>
              <a:gd name="connsiteX7281" fmla="*/ 1795502 w 8978749"/>
              <a:gd name="connsiteY7281" fmla="*/ 935042 h 4806848"/>
              <a:gd name="connsiteX7282" fmla="*/ 1795502 w 8978749"/>
              <a:gd name="connsiteY7282" fmla="*/ 992193 h 4806848"/>
              <a:gd name="connsiteX7283" fmla="*/ 1736756 w 8978749"/>
              <a:gd name="connsiteY7283" fmla="*/ 992193 h 4806848"/>
              <a:gd name="connsiteX7284" fmla="*/ 1657373 w 8978749"/>
              <a:gd name="connsiteY7284" fmla="*/ 935042 h 4806848"/>
              <a:gd name="connsiteX7285" fmla="*/ 1716116 w 8978749"/>
              <a:gd name="connsiteY7285" fmla="*/ 935042 h 4806848"/>
              <a:gd name="connsiteX7286" fmla="*/ 1716116 w 8978749"/>
              <a:gd name="connsiteY7286" fmla="*/ 992193 h 4806848"/>
              <a:gd name="connsiteX7287" fmla="*/ 1657373 w 8978749"/>
              <a:gd name="connsiteY7287" fmla="*/ 992193 h 4806848"/>
              <a:gd name="connsiteX7288" fmla="*/ 1577986 w 8978749"/>
              <a:gd name="connsiteY7288" fmla="*/ 935042 h 4806848"/>
              <a:gd name="connsiteX7289" fmla="*/ 1636738 w 8978749"/>
              <a:gd name="connsiteY7289" fmla="*/ 935042 h 4806848"/>
              <a:gd name="connsiteX7290" fmla="*/ 1636738 w 8978749"/>
              <a:gd name="connsiteY7290" fmla="*/ 992193 h 4806848"/>
              <a:gd name="connsiteX7291" fmla="*/ 1577986 w 8978749"/>
              <a:gd name="connsiteY7291" fmla="*/ 992193 h 4806848"/>
              <a:gd name="connsiteX7292" fmla="*/ 1500193 w 8978749"/>
              <a:gd name="connsiteY7292" fmla="*/ 935042 h 4806848"/>
              <a:gd name="connsiteX7293" fmla="*/ 1558943 w 8978749"/>
              <a:gd name="connsiteY7293" fmla="*/ 935042 h 4806848"/>
              <a:gd name="connsiteX7294" fmla="*/ 1558943 w 8978749"/>
              <a:gd name="connsiteY7294" fmla="*/ 992193 h 4806848"/>
              <a:gd name="connsiteX7295" fmla="*/ 1500193 w 8978749"/>
              <a:gd name="connsiteY7295" fmla="*/ 992193 h 4806848"/>
              <a:gd name="connsiteX7296" fmla="*/ 1420816 w 8978749"/>
              <a:gd name="connsiteY7296" fmla="*/ 935042 h 4806848"/>
              <a:gd name="connsiteX7297" fmla="*/ 1479552 w 8978749"/>
              <a:gd name="connsiteY7297" fmla="*/ 935042 h 4806848"/>
              <a:gd name="connsiteX7298" fmla="*/ 1479552 w 8978749"/>
              <a:gd name="connsiteY7298" fmla="*/ 992193 h 4806848"/>
              <a:gd name="connsiteX7299" fmla="*/ 1420816 w 8978749"/>
              <a:gd name="connsiteY7299" fmla="*/ 992193 h 4806848"/>
              <a:gd name="connsiteX7300" fmla="*/ 1341478 w 8978749"/>
              <a:gd name="connsiteY7300" fmla="*/ 935042 h 4806848"/>
              <a:gd name="connsiteX7301" fmla="*/ 1400196 w 8978749"/>
              <a:gd name="connsiteY7301" fmla="*/ 935042 h 4806848"/>
              <a:gd name="connsiteX7302" fmla="*/ 1400196 w 8978749"/>
              <a:gd name="connsiteY7302" fmla="*/ 992193 h 4806848"/>
              <a:gd name="connsiteX7303" fmla="*/ 1341478 w 8978749"/>
              <a:gd name="connsiteY7303" fmla="*/ 992193 h 4806848"/>
              <a:gd name="connsiteX7304" fmla="*/ 4025748 w 8978749"/>
              <a:gd name="connsiteY7304" fmla="*/ 935041 h 4806848"/>
              <a:gd name="connsiteX7305" fmla="*/ 4084486 w 8978749"/>
              <a:gd name="connsiteY7305" fmla="*/ 935041 h 4806848"/>
              <a:gd name="connsiteX7306" fmla="*/ 4084486 w 8978749"/>
              <a:gd name="connsiteY7306" fmla="*/ 992191 h 4806848"/>
              <a:gd name="connsiteX7307" fmla="*/ 4025748 w 8978749"/>
              <a:gd name="connsiteY7307" fmla="*/ 992191 h 4806848"/>
              <a:gd name="connsiteX7308" fmla="*/ 3157386 w 8978749"/>
              <a:gd name="connsiteY7308" fmla="*/ 935041 h 4806848"/>
              <a:gd name="connsiteX7309" fmla="*/ 3216124 w 8978749"/>
              <a:gd name="connsiteY7309" fmla="*/ 935041 h 4806848"/>
              <a:gd name="connsiteX7310" fmla="*/ 3216124 w 8978749"/>
              <a:gd name="connsiteY7310" fmla="*/ 992193 h 4806848"/>
              <a:gd name="connsiteX7311" fmla="*/ 3157386 w 8978749"/>
              <a:gd name="connsiteY7311" fmla="*/ 992193 h 4806848"/>
              <a:gd name="connsiteX7312" fmla="*/ 3078011 w 8978749"/>
              <a:gd name="connsiteY7312" fmla="*/ 935041 h 4806848"/>
              <a:gd name="connsiteX7313" fmla="*/ 3136749 w 8978749"/>
              <a:gd name="connsiteY7313" fmla="*/ 935041 h 4806848"/>
              <a:gd name="connsiteX7314" fmla="*/ 3136749 w 8978749"/>
              <a:gd name="connsiteY7314" fmla="*/ 992193 h 4806848"/>
              <a:gd name="connsiteX7315" fmla="*/ 3078011 w 8978749"/>
              <a:gd name="connsiteY7315" fmla="*/ 992193 h 4806848"/>
              <a:gd name="connsiteX7316" fmla="*/ 3000223 w 8978749"/>
              <a:gd name="connsiteY7316" fmla="*/ 935041 h 4806848"/>
              <a:gd name="connsiteX7317" fmla="*/ 3057373 w 8978749"/>
              <a:gd name="connsiteY7317" fmla="*/ 935041 h 4806848"/>
              <a:gd name="connsiteX7318" fmla="*/ 3057373 w 8978749"/>
              <a:gd name="connsiteY7318" fmla="*/ 992193 h 4806848"/>
              <a:gd name="connsiteX7319" fmla="*/ 3000223 w 8978749"/>
              <a:gd name="connsiteY7319" fmla="*/ 992193 h 4806848"/>
              <a:gd name="connsiteX7320" fmla="*/ 2604936 w 8978749"/>
              <a:gd name="connsiteY7320" fmla="*/ 935041 h 4806848"/>
              <a:gd name="connsiteX7321" fmla="*/ 2663674 w 8978749"/>
              <a:gd name="connsiteY7321" fmla="*/ 935041 h 4806848"/>
              <a:gd name="connsiteX7322" fmla="*/ 2663674 w 8978749"/>
              <a:gd name="connsiteY7322" fmla="*/ 992193 h 4806848"/>
              <a:gd name="connsiteX7323" fmla="*/ 2604936 w 8978749"/>
              <a:gd name="connsiteY7323" fmla="*/ 992193 h 4806848"/>
              <a:gd name="connsiteX7324" fmla="*/ 2525735 w 8978749"/>
              <a:gd name="connsiteY7324" fmla="*/ 935041 h 4806848"/>
              <a:gd name="connsiteX7325" fmla="*/ 2584471 w 8978749"/>
              <a:gd name="connsiteY7325" fmla="*/ 935041 h 4806848"/>
              <a:gd name="connsiteX7326" fmla="*/ 2584471 w 8978749"/>
              <a:gd name="connsiteY7326" fmla="*/ 992193 h 4806848"/>
              <a:gd name="connsiteX7327" fmla="*/ 2525735 w 8978749"/>
              <a:gd name="connsiteY7327" fmla="*/ 992193 h 4806848"/>
              <a:gd name="connsiteX7328" fmla="*/ 4894111 w 8978749"/>
              <a:gd name="connsiteY7328" fmla="*/ 935040 h 4806848"/>
              <a:gd name="connsiteX7329" fmla="*/ 4952849 w 8978749"/>
              <a:gd name="connsiteY7329" fmla="*/ 935040 h 4806848"/>
              <a:gd name="connsiteX7330" fmla="*/ 4952849 w 8978749"/>
              <a:gd name="connsiteY7330" fmla="*/ 992191 h 4806848"/>
              <a:gd name="connsiteX7331" fmla="*/ 4894111 w 8978749"/>
              <a:gd name="connsiteY7331" fmla="*/ 992191 h 4806848"/>
              <a:gd name="connsiteX7332" fmla="*/ 4814736 w 8978749"/>
              <a:gd name="connsiteY7332" fmla="*/ 935040 h 4806848"/>
              <a:gd name="connsiteX7333" fmla="*/ 4873474 w 8978749"/>
              <a:gd name="connsiteY7333" fmla="*/ 935040 h 4806848"/>
              <a:gd name="connsiteX7334" fmla="*/ 4873474 w 8978749"/>
              <a:gd name="connsiteY7334" fmla="*/ 992191 h 4806848"/>
              <a:gd name="connsiteX7335" fmla="*/ 4814736 w 8978749"/>
              <a:gd name="connsiteY7335" fmla="*/ 992191 h 4806848"/>
              <a:gd name="connsiteX7336" fmla="*/ 4657573 w 8978749"/>
              <a:gd name="connsiteY7336" fmla="*/ 935040 h 4806848"/>
              <a:gd name="connsiteX7337" fmla="*/ 4716311 w 8978749"/>
              <a:gd name="connsiteY7337" fmla="*/ 935040 h 4806848"/>
              <a:gd name="connsiteX7338" fmla="*/ 4716311 w 8978749"/>
              <a:gd name="connsiteY7338" fmla="*/ 992191 h 4806848"/>
              <a:gd name="connsiteX7339" fmla="*/ 4657573 w 8978749"/>
              <a:gd name="connsiteY7339" fmla="*/ 992191 h 4806848"/>
              <a:gd name="connsiteX7340" fmla="*/ 4578198 w 8978749"/>
              <a:gd name="connsiteY7340" fmla="*/ 935040 h 4806848"/>
              <a:gd name="connsiteX7341" fmla="*/ 4636936 w 8978749"/>
              <a:gd name="connsiteY7341" fmla="*/ 935040 h 4806848"/>
              <a:gd name="connsiteX7342" fmla="*/ 4636936 w 8978749"/>
              <a:gd name="connsiteY7342" fmla="*/ 992191 h 4806848"/>
              <a:gd name="connsiteX7343" fmla="*/ 4578198 w 8978749"/>
              <a:gd name="connsiteY7343" fmla="*/ 992191 h 4806848"/>
              <a:gd name="connsiteX7344" fmla="*/ 4498823 w 8978749"/>
              <a:gd name="connsiteY7344" fmla="*/ 935040 h 4806848"/>
              <a:gd name="connsiteX7345" fmla="*/ 4557561 w 8978749"/>
              <a:gd name="connsiteY7345" fmla="*/ 935040 h 4806848"/>
              <a:gd name="connsiteX7346" fmla="*/ 4557561 w 8978749"/>
              <a:gd name="connsiteY7346" fmla="*/ 992191 h 4806848"/>
              <a:gd name="connsiteX7347" fmla="*/ 4498823 w 8978749"/>
              <a:gd name="connsiteY7347" fmla="*/ 992191 h 4806848"/>
              <a:gd name="connsiteX7348" fmla="*/ 8920011 w 8978749"/>
              <a:gd name="connsiteY7348" fmla="*/ 855698 h 4806848"/>
              <a:gd name="connsiteX7349" fmla="*/ 8978749 w 8978749"/>
              <a:gd name="connsiteY7349" fmla="*/ 855698 h 4806848"/>
              <a:gd name="connsiteX7350" fmla="*/ 8978749 w 8978749"/>
              <a:gd name="connsiteY7350" fmla="*/ 914434 h 4806848"/>
              <a:gd name="connsiteX7351" fmla="*/ 8920011 w 8978749"/>
              <a:gd name="connsiteY7351" fmla="*/ 914434 h 4806848"/>
              <a:gd name="connsiteX7352" fmla="*/ 8604099 w 8978749"/>
              <a:gd name="connsiteY7352" fmla="*/ 855698 h 4806848"/>
              <a:gd name="connsiteX7353" fmla="*/ 8662837 w 8978749"/>
              <a:gd name="connsiteY7353" fmla="*/ 855698 h 4806848"/>
              <a:gd name="connsiteX7354" fmla="*/ 8662837 w 8978749"/>
              <a:gd name="connsiteY7354" fmla="*/ 914434 h 4806848"/>
              <a:gd name="connsiteX7355" fmla="*/ 8604099 w 8978749"/>
              <a:gd name="connsiteY7355" fmla="*/ 914434 h 4806848"/>
              <a:gd name="connsiteX7356" fmla="*/ 8526311 w 8978749"/>
              <a:gd name="connsiteY7356" fmla="*/ 855698 h 4806848"/>
              <a:gd name="connsiteX7357" fmla="*/ 8583461 w 8978749"/>
              <a:gd name="connsiteY7357" fmla="*/ 855698 h 4806848"/>
              <a:gd name="connsiteX7358" fmla="*/ 8583461 w 8978749"/>
              <a:gd name="connsiteY7358" fmla="*/ 914434 h 4806848"/>
              <a:gd name="connsiteX7359" fmla="*/ 8526311 w 8978749"/>
              <a:gd name="connsiteY7359" fmla="*/ 914434 h 4806848"/>
              <a:gd name="connsiteX7360" fmla="*/ 8446936 w 8978749"/>
              <a:gd name="connsiteY7360" fmla="*/ 855698 h 4806848"/>
              <a:gd name="connsiteX7361" fmla="*/ 8505674 w 8978749"/>
              <a:gd name="connsiteY7361" fmla="*/ 855698 h 4806848"/>
              <a:gd name="connsiteX7362" fmla="*/ 8505674 w 8978749"/>
              <a:gd name="connsiteY7362" fmla="*/ 914434 h 4806848"/>
              <a:gd name="connsiteX7363" fmla="*/ 8446936 w 8978749"/>
              <a:gd name="connsiteY7363" fmla="*/ 914434 h 4806848"/>
              <a:gd name="connsiteX7364" fmla="*/ 8367561 w 8978749"/>
              <a:gd name="connsiteY7364" fmla="*/ 855698 h 4806848"/>
              <a:gd name="connsiteX7365" fmla="*/ 8426299 w 8978749"/>
              <a:gd name="connsiteY7365" fmla="*/ 855698 h 4806848"/>
              <a:gd name="connsiteX7366" fmla="*/ 8426299 w 8978749"/>
              <a:gd name="connsiteY7366" fmla="*/ 914434 h 4806848"/>
              <a:gd name="connsiteX7367" fmla="*/ 8367561 w 8978749"/>
              <a:gd name="connsiteY7367" fmla="*/ 914434 h 4806848"/>
              <a:gd name="connsiteX7368" fmla="*/ 8289774 w 8978749"/>
              <a:gd name="connsiteY7368" fmla="*/ 855698 h 4806848"/>
              <a:gd name="connsiteX7369" fmla="*/ 8346924 w 8978749"/>
              <a:gd name="connsiteY7369" fmla="*/ 855698 h 4806848"/>
              <a:gd name="connsiteX7370" fmla="*/ 8346924 w 8978749"/>
              <a:gd name="connsiteY7370" fmla="*/ 914434 h 4806848"/>
              <a:gd name="connsiteX7371" fmla="*/ 8289774 w 8978749"/>
              <a:gd name="connsiteY7371" fmla="*/ 914434 h 4806848"/>
              <a:gd name="connsiteX7372" fmla="*/ 8210399 w 8978749"/>
              <a:gd name="connsiteY7372" fmla="*/ 855698 h 4806848"/>
              <a:gd name="connsiteX7373" fmla="*/ 8267549 w 8978749"/>
              <a:gd name="connsiteY7373" fmla="*/ 855698 h 4806848"/>
              <a:gd name="connsiteX7374" fmla="*/ 8267549 w 8978749"/>
              <a:gd name="connsiteY7374" fmla="*/ 914434 h 4806848"/>
              <a:gd name="connsiteX7375" fmla="*/ 8210399 w 8978749"/>
              <a:gd name="connsiteY7375" fmla="*/ 914434 h 4806848"/>
              <a:gd name="connsiteX7376" fmla="*/ 8131024 w 8978749"/>
              <a:gd name="connsiteY7376" fmla="*/ 855698 h 4806848"/>
              <a:gd name="connsiteX7377" fmla="*/ 8189762 w 8978749"/>
              <a:gd name="connsiteY7377" fmla="*/ 855698 h 4806848"/>
              <a:gd name="connsiteX7378" fmla="*/ 8189762 w 8978749"/>
              <a:gd name="connsiteY7378" fmla="*/ 914434 h 4806848"/>
              <a:gd name="connsiteX7379" fmla="*/ 8131024 w 8978749"/>
              <a:gd name="connsiteY7379" fmla="*/ 914434 h 4806848"/>
              <a:gd name="connsiteX7380" fmla="*/ 8051649 w 8978749"/>
              <a:gd name="connsiteY7380" fmla="*/ 855698 h 4806848"/>
              <a:gd name="connsiteX7381" fmla="*/ 8110387 w 8978749"/>
              <a:gd name="connsiteY7381" fmla="*/ 855698 h 4806848"/>
              <a:gd name="connsiteX7382" fmla="*/ 8110387 w 8978749"/>
              <a:gd name="connsiteY7382" fmla="*/ 914434 h 4806848"/>
              <a:gd name="connsiteX7383" fmla="*/ 8051649 w 8978749"/>
              <a:gd name="connsiteY7383" fmla="*/ 914434 h 4806848"/>
              <a:gd name="connsiteX7384" fmla="*/ 7973861 w 8978749"/>
              <a:gd name="connsiteY7384" fmla="*/ 855698 h 4806848"/>
              <a:gd name="connsiteX7385" fmla="*/ 8031011 w 8978749"/>
              <a:gd name="connsiteY7385" fmla="*/ 855698 h 4806848"/>
              <a:gd name="connsiteX7386" fmla="*/ 8031011 w 8978749"/>
              <a:gd name="connsiteY7386" fmla="*/ 914434 h 4806848"/>
              <a:gd name="connsiteX7387" fmla="*/ 7973861 w 8978749"/>
              <a:gd name="connsiteY7387" fmla="*/ 914434 h 4806848"/>
              <a:gd name="connsiteX7388" fmla="*/ 7894486 w 8978749"/>
              <a:gd name="connsiteY7388" fmla="*/ 855698 h 4806848"/>
              <a:gd name="connsiteX7389" fmla="*/ 7951636 w 8978749"/>
              <a:gd name="connsiteY7389" fmla="*/ 855698 h 4806848"/>
              <a:gd name="connsiteX7390" fmla="*/ 7951636 w 8978749"/>
              <a:gd name="connsiteY7390" fmla="*/ 914434 h 4806848"/>
              <a:gd name="connsiteX7391" fmla="*/ 7894486 w 8978749"/>
              <a:gd name="connsiteY7391" fmla="*/ 914434 h 4806848"/>
              <a:gd name="connsiteX7392" fmla="*/ 7815111 w 8978749"/>
              <a:gd name="connsiteY7392" fmla="*/ 855698 h 4806848"/>
              <a:gd name="connsiteX7393" fmla="*/ 7873849 w 8978749"/>
              <a:gd name="connsiteY7393" fmla="*/ 855698 h 4806848"/>
              <a:gd name="connsiteX7394" fmla="*/ 7873849 w 8978749"/>
              <a:gd name="connsiteY7394" fmla="*/ 914434 h 4806848"/>
              <a:gd name="connsiteX7395" fmla="*/ 7815111 w 8978749"/>
              <a:gd name="connsiteY7395" fmla="*/ 914434 h 4806848"/>
              <a:gd name="connsiteX7396" fmla="*/ 7735736 w 8978749"/>
              <a:gd name="connsiteY7396" fmla="*/ 855698 h 4806848"/>
              <a:gd name="connsiteX7397" fmla="*/ 7794474 w 8978749"/>
              <a:gd name="connsiteY7397" fmla="*/ 855698 h 4806848"/>
              <a:gd name="connsiteX7398" fmla="*/ 7794474 w 8978749"/>
              <a:gd name="connsiteY7398" fmla="*/ 914434 h 4806848"/>
              <a:gd name="connsiteX7399" fmla="*/ 7735736 w 8978749"/>
              <a:gd name="connsiteY7399" fmla="*/ 914434 h 4806848"/>
              <a:gd name="connsiteX7400" fmla="*/ 7657949 w 8978749"/>
              <a:gd name="connsiteY7400" fmla="*/ 855698 h 4806848"/>
              <a:gd name="connsiteX7401" fmla="*/ 7715099 w 8978749"/>
              <a:gd name="connsiteY7401" fmla="*/ 855698 h 4806848"/>
              <a:gd name="connsiteX7402" fmla="*/ 7715099 w 8978749"/>
              <a:gd name="connsiteY7402" fmla="*/ 914434 h 4806848"/>
              <a:gd name="connsiteX7403" fmla="*/ 7657949 w 8978749"/>
              <a:gd name="connsiteY7403" fmla="*/ 914434 h 4806848"/>
              <a:gd name="connsiteX7404" fmla="*/ 7578574 w 8978749"/>
              <a:gd name="connsiteY7404" fmla="*/ 855698 h 4806848"/>
              <a:gd name="connsiteX7405" fmla="*/ 7637312 w 8978749"/>
              <a:gd name="connsiteY7405" fmla="*/ 855698 h 4806848"/>
              <a:gd name="connsiteX7406" fmla="*/ 7637312 w 8978749"/>
              <a:gd name="connsiteY7406" fmla="*/ 914434 h 4806848"/>
              <a:gd name="connsiteX7407" fmla="*/ 7578574 w 8978749"/>
              <a:gd name="connsiteY7407" fmla="*/ 914434 h 4806848"/>
              <a:gd name="connsiteX7408" fmla="*/ 7499199 w 8978749"/>
              <a:gd name="connsiteY7408" fmla="*/ 855698 h 4806848"/>
              <a:gd name="connsiteX7409" fmla="*/ 7557937 w 8978749"/>
              <a:gd name="connsiteY7409" fmla="*/ 855698 h 4806848"/>
              <a:gd name="connsiteX7410" fmla="*/ 7557937 w 8978749"/>
              <a:gd name="connsiteY7410" fmla="*/ 914434 h 4806848"/>
              <a:gd name="connsiteX7411" fmla="*/ 7499199 w 8978749"/>
              <a:gd name="connsiteY7411" fmla="*/ 914434 h 4806848"/>
              <a:gd name="connsiteX7412" fmla="*/ 7419824 w 8978749"/>
              <a:gd name="connsiteY7412" fmla="*/ 855698 h 4806848"/>
              <a:gd name="connsiteX7413" fmla="*/ 7478562 w 8978749"/>
              <a:gd name="connsiteY7413" fmla="*/ 855698 h 4806848"/>
              <a:gd name="connsiteX7414" fmla="*/ 7478562 w 8978749"/>
              <a:gd name="connsiteY7414" fmla="*/ 914434 h 4806848"/>
              <a:gd name="connsiteX7415" fmla="*/ 7419824 w 8978749"/>
              <a:gd name="connsiteY7415" fmla="*/ 914434 h 4806848"/>
              <a:gd name="connsiteX7416" fmla="*/ 7342036 w 8978749"/>
              <a:gd name="connsiteY7416" fmla="*/ 855698 h 4806848"/>
              <a:gd name="connsiteX7417" fmla="*/ 7400774 w 8978749"/>
              <a:gd name="connsiteY7417" fmla="*/ 855698 h 4806848"/>
              <a:gd name="connsiteX7418" fmla="*/ 7400774 w 8978749"/>
              <a:gd name="connsiteY7418" fmla="*/ 914434 h 4806848"/>
              <a:gd name="connsiteX7419" fmla="*/ 7342036 w 8978749"/>
              <a:gd name="connsiteY7419" fmla="*/ 914434 h 4806848"/>
              <a:gd name="connsiteX7420" fmla="*/ 7262661 w 8978749"/>
              <a:gd name="connsiteY7420" fmla="*/ 855698 h 4806848"/>
              <a:gd name="connsiteX7421" fmla="*/ 7321399 w 8978749"/>
              <a:gd name="connsiteY7421" fmla="*/ 855698 h 4806848"/>
              <a:gd name="connsiteX7422" fmla="*/ 7321399 w 8978749"/>
              <a:gd name="connsiteY7422" fmla="*/ 914434 h 4806848"/>
              <a:gd name="connsiteX7423" fmla="*/ 7262661 w 8978749"/>
              <a:gd name="connsiteY7423" fmla="*/ 914434 h 4806848"/>
              <a:gd name="connsiteX7424" fmla="*/ 7183286 w 8978749"/>
              <a:gd name="connsiteY7424" fmla="*/ 855698 h 4806848"/>
              <a:gd name="connsiteX7425" fmla="*/ 7242024 w 8978749"/>
              <a:gd name="connsiteY7425" fmla="*/ 855698 h 4806848"/>
              <a:gd name="connsiteX7426" fmla="*/ 7242024 w 8978749"/>
              <a:gd name="connsiteY7426" fmla="*/ 914434 h 4806848"/>
              <a:gd name="connsiteX7427" fmla="*/ 7183286 w 8978749"/>
              <a:gd name="connsiteY7427" fmla="*/ 914434 h 4806848"/>
              <a:gd name="connsiteX7428" fmla="*/ 7105499 w 8978749"/>
              <a:gd name="connsiteY7428" fmla="*/ 855698 h 4806848"/>
              <a:gd name="connsiteX7429" fmla="*/ 7162649 w 8978749"/>
              <a:gd name="connsiteY7429" fmla="*/ 855698 h 4806848"/>
              <a:gd name="connsiteX7430" fmla="*/ 7162649 w 8978749"/>
              <a:gd name="connsiteY7430" fmla="*/ 914434 h 4806848"/>
              <a:gd name="connsiteX7431" fmla="*/ 7105499 w 8978749"/>
              <a:gd name="connsiteY7431" fmla="*/ 914434 h 4806848"/>
              <a:gd name="connsiteX7432" fmla="*/ 7026124 w 8978749"/>
              <a:gd name="connsiteY7432" fmla="*/ 855698 h 4806848"/>
              <a:gd name="connsiteX7433" fmla="*/ 7084862 w 8978749"/>
              <a:gd name="connsiteY7433" fmla="*/ 855698 h 4806848"/>
              <a:gd name="connsiteX7434" fmla="*/ 7084862 w 8978749"/>
              <a:gd name="connsiteY7434" fmla="*/ 914434 h 4806848"/>
              <a:gd name="connsiteX7435" fmla="*/ 7026124 w 8978749"/>
              <a:gd name="connsiteY7435" fmla="*/ 914434 h 4806848"/>
              <a:gd name="connsiteX7436" fmla="*/ 6946749 w 8978749"/>
              <a:gd name="connsiteY7436" fmla="*/ 855698 h 4806848"/>
              <a:gd name="connsiteX7437" fmla="*/ 7005487 w 8978749"/>
              <a:gd name="connsiteY7437" fmla="*/ 855698 h 4806848"/>
              <a:gd name="connsiteX7438" fmla="*/ 7005487 w 8978749"/>
              <a:gd name="connsiteY7438" fmla="*/ 914434 h 4806848"/>
              <a:gd name="connsiteX7439" fmla="*/ 6946749 w 8978749"/>
              <a:gd name="connsiteY7439" fmla="*/ 914434 h 4806848"/>
              <a:gd name="connsiteX7440" fmla="*/ 6867374 w 8978749"/>
              <a:gd name="connsiteY7440" fmla="*/ 855698 h 4806848"/>
              <a:gd name="connsiteX7441" fmla="*/ 6926112 w 8978749"/>
              <a:gd name="connsiteY7441" fmla="*/ 855698 h 4806848"/>
              <a:gd name="connsiteX7442" fmla="*/ 6926112 w 8978749"/>
              <a:gd name="connsiteY7442" fmla="*/ 914434 h 4806848"/>
              <a:gd name="connsiteX7443" fmla="*/ 6867374 w 8978749"/>
              <a:gd name="connsiteY7443" fmla="*/ 914434 h 4806848"/>
              <a:gd name="connsiteX7444" fmla="*/ 6789586 w 8978749"/>
              <a:gd name="connsiteY7444" fmla="*/ 855698 h 4806848"/>
              <a:gd name="connsiteX7445" fmla="*/ 6846736 w 8978749"/>
              <a:gd name="connsiteY7445" fmla="*/ 855698 h 4806848"/>
              <a:gd name="connsiteX7446" fmla="*/ 6846736 w 8978749"/>
              <a:gd name="connsiteY7446" fmla="*/ 914434 h 4806848"/>
              <a:gd name="connsiteX7447" fmla="*/ 6789586 w 8978749"/>
              <a:gd name="connsiteY7447" fmla="*/ 914434 h 4806848"/>
              <a:gd name="connsiteX7448" fmla="*/ 6710211 w 8978749"/>
              <a:gd name="connsiteY7448" fmla="*/ 855698 h 4806848"/>
              <a:gd name="connsiteX7449" fmla="*/ 6768949 w 8978749"/>
              <a:gd name="connsiteY7449" fmla="*/ 855698 h 4806848"/>
              <a:gd name="connsiteX7450" fmla="*/ 6768949 w 8978749"/>
              <a:gd name="connsiteY7450" fmla="*/ 914434 h 4806848"/>
              <a:gd name="connsiteX7451" fmla="*/ 6710211 w 8978749"/>
              <a:gd name="connsiteY7451" fmla="*/ 914434 h 4806848"/>
              <a:gd name="connsiteX7452" fmla="*/ 6630836 w 8978749"/>
              <a:gd name="connsiteY7452" fmla="*/ 855698 h 4806848"/>
              <a:gd name="connsiteX7453" fmla="*/ 6689574 w 8978749"/>
              <a:gd name="connsiteY7453" fmla="*/ 855698 h 4806848"/>
              <a:gd name="connsiteX7454" fmla="*/ 6689574 w 8978749"/>
              <a:gd name="connsiteY7454" fmla="*/ 914434 h 4806848"/>
              <a:gd name="connsiteX7455" fmla="*/ 6630836 w 8978749"/>
              <a:gd name="connsiteY7455" fmla="*/ 914434 h 4806848"/>
              <a:gd name="connsiteX7456" fmla="*/ 6551461 w 8978749"/>
              <a:gd name="connsiteY7456" fmla="*/ 855698 h 4806848"/>
              <a:gd name="connsiteX7457" fmla="*/ 6610199 w 8978749"/>
              <a:gd name="connsiteY7457" fmla="*/ 855698 h 4806848"/>
              <a:gd name="connsiteX7458" fmla="*/ 6610199 w 8978749"/>
              <a:gd name="connsiteY7458" fmla="*/ 914434 h 4806848"/>
              <a:gd name="connsiteX7459" fmla="*/ 6551461 w 8978749"/>
              <a:gd name="connsiteY7459" fmla="*/ 914434 h 4806848"/>
              <a:gd name="connsiteX7460" fmla="*/ 6473674 w 8978749"/>
              <a:gd name="connsiteY7460" fmla="*/ 855698 h 4806848"/>
              <a:gd name="connsiteX7461" fmla="*/ 6530824 w 8978749"/>
              <a:gd name="connsiteY7461" fmla="*/ 855698 h 4806848"/>
              <a:gd name="connsiteX7462" fmla="*/ 6530824 w 8978749"/>
              <a:gd name="connsiteY7462" fmla="*/ 914434 h 4806848"/>
              <a:gd name="connsiteX7463" fmla="*/ 6473674 w 8978749"/>
              <a:gd name="connsiteY7463" fmla="*/ 914434 h 4806848"/>
              <a:gd name="connsiteX7464" fmla="*/ 6394299 w 8978749"/>
              <a:gd name="connsiteY7464" fmla="*/ 855698 h 4806848"/>
              <a:gd name="connsiteX7465" fmla="*/ 6453037 w 8978749"/>
              <a:gd name="connsiteY7465" fmla="*/ 855698 h 4806848"/>
              <a:gd name="connsiteX7466" fmla="*/ 6453037 w 8978749"/>
              <a:gd name="connsiteY7466" fmla="*/ 914434 h 4806848"/>
              <a:gd name="connsiteX7467" fmla="*/ 6394299 w 8978749"/>
              <a:gd name="connsiteY7467" fmla="*/ 914434 h 4806848"/>
              <a:gd name="connsiteX7468" fmla="*/ 6314924 w 8978749"/>
              <a:gd name="connsiteY7468" fmla="*/ 855698 h 4806848"/>
              <a:gd name="connsiteX7469" fmla="*/ 6373662 w 8978749"/>
              <a:gd name="connsiteY7469" fmla="*/ 855698 h 4806848"/>
              <a:gd name="connsiteX7470" fmla="*/ 6373662 w 8978749"/>
              <a:gd name="connsiteY7470" fmla="*/ 914434 h 4806848"/>
              <a:gd name="connsiteX7471" fmla="*/ 6314924 w 8978749"/>
              <a:gd name="connsiteY7471" fmla="*/ 914434 h 4806848"/>
              <a:gd name="connsiteX7472" fmla="*/ 6235549 w 8978749"/>
              <a:gd name="connsiteY7472" fmla="*/ 855698 h 4806848"/>
              <a:gd name="connsiteX7473" fmla="*/ 6294287 w 8978749"/>
              <a:gd name="connsiteY7473" fmla="*/ 855698 h 4806848"/>
              <a:gd name="connsiteX7474" fmla="*/ 6294287 w 8978749"/>
              <a:gd name="connsiteY7474" fmla="*/ 914434 h 4806848"/>
              <a:gd name="connsiteX7475" fmla="*/ 6235549 w 8978749"/>
              <a:gd name="connsiteY7475" fmla="*/ 914434 h 4806848"/>
              <a:gd name="connsiteX7476" fmla="*/ 6157761 w 8978749"/>
              <a:gd name="connsiteY7476" fmla="*/ 855698 h 4806848"/>
              <a:gd name="connsiteX7477" fmla="*/ 6214911 w 8978749"/>
              <a:gd name="connsiteY7477" fmla="*/ 855698 h 4806848"/>
              <a:gd name="connsiteX7478" fmla="*/ 6214911 w 8978749"/>
              <a:gd name="connsiteY7478" fmla="*/ 914434 h 4806848"/>
              <a:gd name="connsiteX7479" fmla="*/ 6157761 w 8978749"/>
              <a:gd name="connsiteY7479" fmla="*/ 914434 h 4806848"/>
              <a:gd name="connsiteX7480" fmla="*/ 6078386 w 8978749"/>
              <a:gd name="connsiteY7480" fmla="*/ 855698 h 4806848"/>
              <a:gd name="connsiteX7481" fmla="*/ 6137124 w 8978749"/>
              <a:gd name="connsiteY7481" fmla="*/ 855698 h 4806848"/>
              <a:gd name="connsiteX7482" fmla="*/ 6137124 w 8978749"/>
              <a:gd name="connsiteY7482" fmla="*/ 914434 h 4806848"/>
              <a:gd name="connsiteX7483" fmla="*/ 6078386 w 8978749"/>
              <a:gd name="connsiteY7483" fmla="*/ 914434 h 4806848"/>
              <a:gd name="connsiteX7484" fmla="*/ 5999011 w 8978749"/>
              <a:gd name="connsiteY7484" fmla="*/ 855698 h 4806848"/>
              <a:gd name="connsiteX7485" fmla="*/ 6057749 w 8978749"/>
              <a:gd name="connsiteY7485" fmla="*/ 855698 h 4806848"/>
              <a:gd name="connsiteX7486" fmla="*/ 6057749 w 8978749"/>
              <a:gd name="connsiteY7486" fmla="*/ 914434 h 4806848"/>
              <a:gd name="connsiteX7487" fmla="*/ 5999011 w 8978749"/>
              <a:gd name="connsiteY7487" fmla="*/ 914434 h 4806848"/>
              <a:gd name="connsiteX7488" fmla="*/ 5921224 w 8978749"/>
              <a:gd name="connsiteY7488" fmla="*/ 855698 h 4806848"/>
              <a:gd name="connsiteX7489" fmla="*/ 5978374 w 8978749"/>
              <a:gd name="connsiteY7489" fmla="*/ 855698 h 4806848"/>
              <a:gd name="connsiteX7490" fmla="*/ 5978374 w 8978749"/>
              <a:gd name="connsiteY7490" fmla="*/ 914434 h 4806848"/>
              <a:gd name="connsiteX7491" fmla="*/ 5921224 w 8978749"/>
              <a:gd name="connsiteY7491" fmla="*/ 914434 h 4806848"/>
              <a:gd name="connsiteX7492" fmla="*/ 5841849 w 8978749"/>
              <a:gd name="connsiteY7492" fmla="*/ 855698 h 4806848"/>
              <a:gd name="connsiteX7493" fmla="*/ 5900587 w 8978749"/>
              <a:gd name="connsiteY7493" fmla="*/ 855698 h 4806848"/>
              <a:gd name="connsiteX7494" fmla="*/ 5900587 w 8978749"/>
              <a:gd name="connsiteY7494" fmla="*/ 914434 h 4806848"/>
              <a:gd name="connsiteX7495" fmla="*/ 5841849 w 8978749"/>
              <a:gd name="connsiteY7495" fmla="*/ 914434 h 4806848"/>
              <a:gd name="connsiteX7496" fmla="*/ 5762474 w 8978749"/>
              <a:gd name="connsiteY7496" fmla="*/ 855698 h 4806848"/>
              <a:gd name="connsiteX7497" fmla="*/ 5821212 w 8978749"/>
              <a:gd name="connsiteY7497" fmla="*/ 855698 h 4806848"/>
              <a:gd name="connsiteX7498" fmla="*/ 5821212 w 8978749"/>
              <a:gd name="connsiteY7498" fmla="*/ 914434 h 4806848"/>
              <a:gd name="connsiteX7499" fmla="*/ 5762474 w 8978749"/>
              <a:gd name="connsiteY7499" fmla="*/ 914434 h 4806848"/>
              <a:gd name="connsiteX7500" fmla="*/ 5684686 w 8978749"/>
              <a:gd name="connsiteY7500" fmla="*/ 855698 h 4806848"/>
              <a:gd name="connsiteX7501" fmla="*/ 5741836 w 8978749"/>
              <a:gd name="connsiteY7501" fmla="*/ 855698 h 4806848"/>
              <a:gd name="connsiteX7502" fmla="*/ 5741836 w 8978749"/>
              <a:gd name="connsiteY7502" fmla="*/ 914434 h 4806848"/>
              <a:gd name="connsiteX7503" fmla="*/ 5684686 w 8978749"/>
              <a:gd name="connsiteY7503" fmla="*/ 914434 h 4806848"/>
              <a:gd name="connsiteX7504" fmla="*/ 5605311 w 8978749"/>
              <a:gd name="connsiteY7504" fmla="*/ 855698 h 4806848"/>
              <a:gd name="connsiteX7505" fmla="*/ 5664049 w 8978749"/>
              <a:gd name="connsiteY7505" fmla="*/ 855698 h 4806848"/>
              <a:gd name="connsiteX7506" fmla="*/ 5664049 w 8978749"/>
              <a:gd name="connsiteY7506" fmla="*/ 914434 h 4806848"/>
              <a:gd name="connsiteX7507" fmla="*/ 5605311 w 8978749"/>
              <a:gd name="connsiteY7507" fmla="*/ 914434 h 4806848"/>
              <a:gd name="connsiteX7508" fmla="*/ 5525936 w 8978749"/>
              <a:gd name="connsiteY7508" fmla="*/ 855698 h 4806848"/>
              <a:gd name="connsiteX7509" fmla="*/ 5584674 w 8978749"/>
              <a:gd name="connsiteY7509" fmla="*/ 855698 h 4806848"/>
              <a:gd name="connsiteX7510" fmla="*/ 5584674 w 8978749"/>
              <a:gd name="connsiteY7510" fmla="*/ 914434 h 4806848"/>
              <a:gd name="connsiteX7511" fmla="*/ 5525936 w 8978749"/>
              <a:gd name="connsiteY7511" fmla="*/ 914434 h 4806848"/>
              <a:gd name="connsiteX7512" fmla="*/ 5446561 w 8978749"/>
              <a:gd name="connsiteY7512" fmla="*/ 855698 h 4806848"/>
              <a:gd name="connsiteX7513" fmla="*/ 5505299 w 8978749"/>
              <a:gd name="connsiteY7513" fmla="*/ 855698 h 4806848"/>
              <a:gd name="connsiteX7514" fmla="*/ 5505299 w 8978749"/>
              <a:gd name="connsiteY7514" fmla="*/ 914434 h 4806848"/>
              <a:gd name="connsiteX7515" fmla="*/ 5446561 w 8978749"/>
              <a:gd name="connsiteY7515" fmla="*/ 914434 h 4806848"/>
              <a:gd name="connsiteX7516" fmla="*/ 5368774 w 8978749"/>
              <a:gd name="connsiteY7516" fmla="*/ 855698 h 4806848"/>
              <a:gd name="connsiteX7517" fmla="*/ 5425924 w 8978749"/>
              <a:gd name="connsiteY7517" fmla="*/ 855698 h 4806848"/>
              <a:gd name="connsiteX7518" fmla="*/ 5425924 w 8978749"/>
              <a:gd name="connsiteY7518" fmla="*/ 914434 h 4806848"/>
              <a:gd name="connsiteX7519" fmla="*/ 5368774 w 8978749"/>
              <a:gd name="connsiteY7519" fmla="*/ 914434 h 4806848"/>
              <a:gd name="connsiteX7520" fmla="*/ 5289399 w 8978749"/>
              <a:gd name="connsiteY7520" fmla="*/ 855698 h 4806848"/>
              <a:gd name="connsiteX7521" fmla="*/ 5348137 w 8978749"/>
              <a:gd name="connsiteY7521" fmla="*/ 855698 h 4806848"/>
              <a:gd name="connsiteX7522" fmla="*/ 5348137 w 8978749"/>
              <a:gd name="connsiteY7522" fmla="*/ 914434 h 4806848"/>
              <a:gd name="connsiteX7523" fmla="*/ 5289399 w 8978749"/>
              <a:gd name="connsiteY7523" fmla="*/ 914434 h 4806848"/>
              <a:gd name="connsiteX7524" fmla="*/ 5210024 w 8978749"/>
              <a:gd name="connsiteY7524" fmla="*/ 855698 h 4806848"/>
              <a:gd name="connsiteX7525" fmla="*/ 5268762 w 8978749"/>
              <a:gd name="connsiteY7525" fmla="*/ 855698 h 4806848"/>
              <a:gd name="connsiteX7526" fmla="*/ 5268762 w 8978749"/>
              <a:gd name="connsiteY7526" fmla="*/ 914434 h 4806848"/>
              <a:gd name="connsiteX7527" fmla="*/ 5210024 w 8978749"/>
              <a:gd name="connsiteY7527" fmla="*/ 914434 h 4806848"/>
              <a:gd name="connsiteX7528" fmla="*/ 5130649 w 8978749"/>
              <a:gd name="connsiteY7528" fmla="*/ 855698 h 4806848"/>
              <a:gd name="connsiteX7529" fmla="*/ 5189387 w 8978749"/>
              <a:gd name="connsiteY7529" fmla="*/ 855698 h 4806848"/>
              <a:gd name="connsiteX7530" fmla="*/ 5189387 w 8978749"/>
              <a:gd name="connsiteY7530" fmla="*/ 914434 h 4806848"/>
              <a:gd name="connsiteX7531" fmla="*/ 5130649 w 8978749"/>
              <a:gd name="connsiteY7531" fmla="*/ 914434 h 4806848"/>
              <a:gd name="connsiteX7532" fmla="*/ 5052861 w 8978749"/>
              <a:gd name="connsiteY7532" fmla="*/ 855698 h 4806848"/>
              <a:gd name="connsiteX7533" fmla="*/ 5110011 w 8978749"/>
              <a:gd name="connsiteY7533" fmla="*/ 855698 h 4806848"/>
              <a:gd name="connsiteX7534" fmla="*/ 5110011 w 8978749"/>
              <a:gd name="connsiteY7534" fmla="*/ 914434 h 4806848"/>
              <a:gd name="connsiteX7535" fmla="*/ 5052861 w 8978749"/>
              <a:gd name="connsiteY7535" fmla="*/ 914434 h 4806848"/>
              <a:gd name="connsiteX7536" fmla="*/ 4973486 w 8978749"/>
              <a:gd name="connsiteY7536" fmla="*/ 855698 h 4806848"/>
              <a:gd name="connsiteX7537" fmla="*/ 5030636 w 8978749"/>
              <a:gd name="connsiteY7537" fmla="*/ 855698 h 4806848"/>
              <a:gd name="connsiteX7538" fmla="*/ 5030636 w 8978749"/>
              <a:gd name="connsiteY7538" fmla="*/ 914434 h 4806848"/>
              <a:gd name="connsiteX7539" fmla="*/ 4973486 w 8978749"/>
              <a:gd name="connsiteY7539" fmla="*/ 914434 h 4806848"/>
              <a:gd name="connsiteX7540" fmla="*/ 473079 w 8978749"/>
              <a:gd name="connsiteY7540" fmla="*/ 855668 h 4806848"/>
              <a:gd name="connsiteX7541" fmla="*/ 531865 w 8978749"/>
              <a:gd name="connsiteY7541" fmla="*/ 855668 h 4806848"/>
              <a:gd name="connsiteX7542" fmla="*/ 531865 w 8978749"/>
              <a:gd name="connsiteY7542" fmla="*/ 914406 h 4806848"/>
              <a:gd name="connsiteX7543" fmla="*/ 473079 w 8978749"/>
              <a:gd name="connsiteY7543" fmla="*/ 914406 h 4806848"/>
              <a:gd name="connsiteX7544" fmla="*/ 395300 w 8978749"/>
              <a:gd name="connsiteY7544" fmla="*/ 855668 h 4806848"/>
              <a:gd name="connsiteX7545" fmla="*/ 452441 w 8978749"/>
              <a:gd name="connsiteY7545" fmla="*/ 855668 h 4806848"/>
              <a:gd name="connsiteX7546" fmla="*/ 452441 w 8978749"/>
              <a:gd name="connsiteY7546" fmla="*/ 914406 h 4806848"/>
              <a:gd name="connsiteX7547" fmla="*/ 395300 w 8978749"/>
              <a:gd name="connsiteY7547" fmla="*/ 914406 h 4806848"/>
              <a:gd name="connsiteX7548" fmla="*/ 315920 w 8978749"/>
              <a:gd name="connsiteY7548" fmla="*/ 855668 h 4806848"/>
              <a:gd name="connsiteX7549" fmla="*/ 374661 w 8978749"/>
              <a:gd name="connsiteY7549" fmla="*/ 855668 h 4806848"/>
              <a:gd name="connsiteX7550" fmla="*/ 374661 w 8978749"/>
              <a:gd name="connsiteY7550" fmla="*/ 914406 h 4806848"/>
              <a:gd name="connsiteX7551" fmla="*/ 315920 w 8978749"/>
              <a:gd name="connsiteY7551" fmla="*/ 914406 h 4806848"/>
              <a:gd name="connsiteX7552" fmla="*/ 236544 w 8978749"/>
              <a:gd name="connsiteY7552" fmla="*/ 855668 h 4806848"/>
              <a:gd name="connsiteX7553" fmla="*/ 295282 w 8978749"/>
              <a:gd name="connsiteY7553" fmla="*/ 855668 h 4806848"/>
              <a:gd name="connsiteX7554" fmla="*/ 295282 w 8978749"/>
              <a:gd name="connsiteY7554" fmla="*/ 914406 h 4806848"/>
              <a:gd name="connsiteX7555" fmla="*/ 236544 w 8978749"/>
              <a:gd name="connsiteY7555" fmla="*/ 914406 h 4806848"/>
              <a:gd name="connsiteX7556" fmla="*/ 157171 w 8978749"/>
              <a:gd name="connsiteY7556" fmla="*/ 855668 h 4806848"/>
              <a:gd name="connsiteX7557" fmla="*/ 215910 w 8978749"/>
              <a:gd name="connsiteY7557" fmla="*/ 855668 h 4806848"/>
              <a:gd name="connsiteX7558" fmla="*/ 215910 w 8978749"/>
              <a:gd name="connsiteY7558" fmla="*/ 914406 h 4806848"/>
              <a:gd name="connsiteX7559" fmla="*/ 157171 w 8978749"/>
              <a:gd name="connsiteY7559" fmla="*/ 914406 h 4806848"/>
              <a:gd name="connsiteX7560" fmla="*/ 79385 w 8978749"/>
              <a:gd name="connsiteY7560" fmla="*/ 855668 h 4806848"/>
              <a:gd name="connsiteX7561" fmla="*/ 136531 w 8978749"/>
              <a:gd name="connsiteY7561" fmla="*/ 855668 h 4806848"/>
              <a:gd name="connsiteX7562" fmla="*/ 136531 w 8978749"/>
              <a:gd name="connsiteY7562" fmla="*/ 914406 h 4806848"/>
              <a:gd name="connsiteX7563" fmla="*/ 79385 w 8978749"/>
              <a:gd name="connsiteY7563" fmla="*/ 914406 h 4806848"/>
              <a:gd name="connsiteX7564" fmla="*/ 2368578 w 8978749"/>
              <a:gd name="connsiteY7564" fmla="*/ 855666 h 4806848"/>
              <a:gd name="connsiteX7565" fmla="*/ 2427314 w 8978749"/>
              <a:gd name="connsiteY7565" fmla="*/ 855666 h 4806848"/>
              <a:gd name="connsiteX7566" fmla="*/ 2427314 w 8978749"/>
              <a:gd name="connsiteY7566" fmla="*/ 914403 h 4806848"/>
              <a:gd name="connsiteX7567" fmla="*/ 2368578 w 8978749"/>
              <a:gd name="connsiteY7567" fmla="*/ 914403 h 4806848"/>
              <a:gd name="connsiteX7568" fmla="*/ 2132036 w 8978749"/>
              <a:gd name="connsiteY7568" fmla="*/ 855666 h 4806848"/>
              <a:gd name="connsiteX7569" fmla="*/ 2189190 w 8978749"/>
              <a:gd name="connsiteY7569" fmla="*/ 855666 h 4806848"/>
              <a:gd name="connsiteX7570" fmla="*/ 2189190 w 8978749"/>
              <a:gd name="connsiteY7570" fmla="*/ 914403 h 4806848"/>
              <a:gd name="connsiteX7571" fmla="*/ 2132036 w 8978749"/>
              <a:gd name="connsiteY7571" fmla="*/ 914403 h 4806848"/>
              <a:gd name="connsiteX7572" fmla="*/ 2052653 w 8978749"/>
              <a:gd name="connsiteY7572" fmla="*/ 855666 h 4806848"/>
              <a:gd name="connsiteX7573" fmla="*/ 2111401 w 8978749"/>
              <a:gd name="connsiteY7573" fmla="*/ 855666 h 4806848"/>
              <a:gd name="connsiteX7574" fmla="*/ 2111401 w 8978749"/>
              <a:gd name="connsiteY7574" fmla="*/ 914403 h 4806848"/>
              <a:gd name="connsiteX7575" fmla="*/ 2052653 w 8978749"/>
              <a:gd name="connsiteY7575" fmla="*/ 914403 h 4806848"/>
              <a:gd name="connsiteX7576" fmla="*/ 1973276 w 8978749"/>
              <a:gd name="connsiteY7576" fmla="*/ 855666 h 4806848"/>
              <a:gd name="connsiteX7577" fmla="*/ 2032019 w 8978749"/>
              <a:gd name="connsiteY7577" fmla="*/ 855666 h 4806848"/>
              <a:gd name="connsiteX7578" fmla="*/ 2032019 w 8978749"/>
              <a:gd name="connsiteY7578" fmla="*/ 914403 h 4806848"/>
              <a:gd name="connsiteX7579" fmla="*/ 1973276 w 8978749"/>
              <a:gd name="connsiteY7579" fmla="*/ 914403 h 4806848"/>
              <a:gd name="connsiteX7580" fmla="*/ 1893897 w 8978749"/>
              <a:gd name="connsiteY7580" fmla="*/ 855666 h 4806848"/>
              <a:gd name="connsiteX7581" fmla="*/ 1952630 w 8978749"/>
              <a:gd name="connsiteY7581" fmla="*/ 855666 h 4806848"/>
              <a:gd name="connsiteX7582" fmla="*/ 1952630 w 8978749"/>
              <a:gd name="connsiteY7582" fmla="*/ 914403 h 4806848"/>
              <a:gd name="connsiteX7583" fmla="*/ 1893897 w 8978749"/>
              <a:gd name="connsiteY7583" fmla="*/ 914403 h 4806848"/>
              <a:gd name="connsiteX7584" fmla="*/ 1816134 w 8978749"/>
              <a:gd name="connsiteY7584" fmla="*/ 855666 h 4806848"/>
              <a:gd name="connsiteX7585" fmla="*/ 1873269 w 8978749"/>
              <a:gd name="connsiteY7585" fmla="*/ 855666 h 4806848"/>
              <a:gd name="connsiteX7586" fmla="*/ 1873269 w 8978749"/>
              <a:gd name="connsiteY7586" fmla="*/ 914403 h 4806848"/>
              <a:gd name="connsiteX7587" fmla="*/ 1816134 w 8978749"/>
              <a:gd name="connsiteY7587" fmla="*/ 914403 h 4806848"/>
              <a:gd name="connsiteX7588" fmla="*/ 1736763 w 8978749"/>
              <a:gd name="connsiteY7588" fmla="*/ 855666 h 4806848"/>
              <a:gd name="connsiteX7589" fmla="*/ 1795512 w 8978749"/>
              <a:gd name="connsiteY7589" fmla="*/ 855666 h 4806848"/>
              <a:gd name="connsiteX7590" fmla="*/ 1795512 w 8978749"/>
              <a:gd name="connsiteY7590" fmla="*/ 914403 h 4806848"/>
              <a:gd name="connsiteX7591" fmla="*/ 1736763 w 8978749"/>
              <a:gd name="connsiteY7591" fmla="*/ 914403 h 4806848"/>
              <a:gd name="connsiteX7592" fmla="*/ 1657379 w 8978749"/>
              <a:gd name="connsiteY7592" fmla="*/ 855666 h 4806848"/>
              <a:gd name="connsiteX7593" fmla="*/ 1716122 w 8978749"/>
              <a:gd name="connsiteY7593" fmla="*/ 855666 h 4806848"/>
              <a:gd name="connsiteX7594" fmla="*/ 1716122 w 8978749"/>
              <a:gd name="connsiteY7594" fmla="*/ 914403 h 4806848"/>
              <a:gd name="connsiteX7595" fmla="*/ 1657379 w 8978749"/>
              <a:gd name="connsiteY7595" fmla="*/ 914403 h 4806848"/>
              <a:gd name="connsiteX7596" fmla="*/ 1577991 w 8978749"/>
              <a:gd name="connsiteY7596" fmla="*/ 855666 h 4806848"/>
              <a:gd name="connsiteX7597" fmla="*/ 1636746 w 8978749"/>
              <a:gd name="connsiteY7597" fmla="*/ 855666 h 4806848"/>
              <a:gd name="connsiteX7598" fmla="*/ 1636746 w 8978749"/>
              <a:gd name="connsiteY7598" fmla="*/ 914403 h 4806848"/>
              <a:gd name="connsiteX7599" fmla="*/ 1577991 w 8978749"/>
              <a:gd name="connsiteY7599" fmla="*/ 914403 h 4806848"/>
              <a:gd name="connsiteX7600" fmla="*/ 1500201 w 8978749"/>
              <a:gd name="connsiteY7600" fmla="*/ 855666 h 4806848"/>
              <a:gd name="connsiteX7601" fmla="*/ 1558943 w 8978749"/>
              <a:gd name="connsiteY7601" fmla="*/ 855666 h 4806848"/>
              <a:gd name="connsiteX7602" fmla="*/ 1558943 w 8978749"/>
              <a:gd name="connsiteY7602" fmla="*/ 914403 h 4806848"/>
              <a:gd name="connsiteX7603" fmla="*/ 1500201 w 8978749"/>
              <a:gd name="connsiteY7603" fmla="*/ 914403 h 4806848"/>
              <a:gd name="connsiteX7604" fmla="*/ 1420822 w 8978749"/>
              <a:gd name="connsiteY7604" fmla="*/ 855666 h 4806848"/>
              <a:gd name="connsiteX7605" fmla="*/ 1479559 w 8978749"/>
              <a:gd name="connsiteY7605" fmla="*/ 855666 h 4806848"/>
              <a:gd name="connsiteX7606" fmla="*/ 1479559 w 8978749"/>
              <a:gd name="connsiteY7606" fmla="*/ 914403 h 4806848"/>
              <a:gd name="connsiteX7607" fmla="*/ 1420822 w 8978749"/>
              <a:gd name="connsiteY7607" fmla="*/ 914403 h 4806848"/>
              <a:gd name="connsiteX7608" fmla="*/ 1341482 w 8978749"/>
              <a:gd name="connsiteY7608" fmla="*/ 855666 h 4806848"/>
              <a:gd name="connsiteX7609" fmla="*/ 1400204 w 8978749"/>
              <a:gd name="connsiteY7609" fmla="*/ 855666 h 4806848"/>
              <a:gd name="connsiteX7610" fmla="*/ 1400204 w 8978749"/>
              <a:gd name="connsiteY7610" fmla="*/ 914403 h 4806848"/>
              <a:gd name="connsiteX7611" fmla="*/ 1341482 w 8978749"/>
              <a:gd name="connsiteY7611" fmla="*/ 914403 h 4806848"/>
              <a:gd name="connsiteX7612" fmla="*/ 1263668 w 8978749"/>
              <a:gd name="connsiteY7612" fmla="*/ 855666 h 4806848"/>
              <a:gd name="connsiteX7613" fmla="*/ 1320832 w 8978749"/>
              <a:gd name="connsiteY7613" fmla="*/ 855666 h 4806848"/>
              <a:gd name="connsiteX7614" fmla="*/ 1320832 w 8978749"/>
              <a:gd name="connsiteY7614" fmla="*/ 914403 h 4806848"/>
              <a:gd name="connsiteX7615" fmla="*/ 1263668 w 8978749"/>
              <a:gd name="connsiteY7615" fmla="*/ 914403 h 4806848"/>
              <a:gd name="connsiteX7616" fmla="*/ 1184302 w 8978749"/>
              <a:gd name="connsiteY7616" fmla="*/ 855666 h 4806848"/>
              <a:gd name="connsiteX7617" fmla="*/ 1243027 w 8978749"/>
              <a:gd name="connsiteY7617" fmla="*/ 855666 h 4806848"/>
              <a:gd name="connsiteX7618" fmla="*/ 1243027 w 8978749"/>
              <a:gd name="connsiteY7618" fmla="*/ 914403 h 4806848"/>
              <a:gd name="connsiteX7619" fmla="*/ 1184302 w 8978749"/>
              <a:gd name="connsiteY7619" fmla="*/ 914403 h 4806848"/>
              <a:gd name="connsiteX7620" fmla="*/ 1104928 w 8978749"/>
              <a:gd name="connsiteY7620" fmla="*/ 855666 h 4806848"/>
              <a:gd name="connsiteX7621" fmla="*/ 1163664 w 8978749"/>
              <a:gd name="connsiteY7621" fmla="*/ 855666 h 4806848"/>
              <a:gd name="connsiteX7622" fmla="*/ 1163664 w 8978749"/>
              <a:gd name="connsiteY7622" fmla="*/ 914406 h 4806848"/>
              <a:gd name="connsiteX7623" fmla="*/ 1104928 w 8978749"/>
              <a:gd name="connsiteY7623" fmla="*/ 914406 h 4806848"/>
              <a:gd name="connsiteX7624" fmla="*/ 1027129 w 8978749"/>
              <a:gd name="connsiteY7624" fmla="*/ 855666 h 4806848"/>
              <a:gd name="connsiteX7625" fmla="*/ 1084292 w 8978749"/>
              <a:gd name="connsiteY7625" fmla="*/ 855666 h 4806848"/>
              <a:gd name="connsiteX7626" fmla="*/ 1084292 w 8978749"/>
              <a:gd name="connsiteY7626" fmla="*/ 914406 h 4806848"/>
              <a:gd name="connsiteX7627" fmla="*/ 1027129 w 8978749"/>
              <a:gd name="connsiteY7627" fmla="*/ 914406 h 4806848"/>
              <a:gd name="connsiteX7628" fmla="*/ 947750 w 8978749"/>
              <a:gd name="connsiteY7628" fmla="*/ 855666 h 4806848"/>
              <a:gd name="connsiteX7629" fmla="*/ 1004899 w 8978749"/>
              <a:gd name="connsiteY7629" fmla="*/ 855666 h 4806848"/>
              <a:gd name="connsiteX7630" fmla="*/ 1004899 w 8978749"/>
              <a:gd name="connsiteY7630" fmla="*/ 914406 h 4806848"/>
              <a:gd name="connsiteX7631" fmla="*/ 947750 w 8978749"/>
              <a:gd name="connsiteY7631" fmla="*/ 914406 h 4806848"/>
              <a:gd name="connsiteX7632" fmla="*/ 868388 w 8978749"/>
              <a:gd name="connsiteY7632" fmla="*/ 855666 h 4806848"/>
              <a:gd name="connsiteX7633" fmla="*/ 927120 w 8978749"/>
              <a:gd name="connsiteY7633" fmla="*/ 855666 h 4806848"/>
              <a:gd name="connsiteX7634" fmla="*/ 927120 w 8978749"/>
              <a:gd name="connsiteY7634" fmla="*/ 914406 h 4806848"/>
              <a:gd name="connsiteX7635" fmla="*/ 868388 w 8978749"/>
              <a:gd name="connsiteY7635" fmla="*/ 914406 h 4806848"/>
              <a:gd name="connsiteX7636" fmla="*/ 789020 w 8978749"/>
              <a:gd name="connsiteY7636" fmla="*/ 855666 h 4806848"/>
              <a:gd name="connsiteX7637" fmla="*/ 847758 w 8978749"/>
              <a:gd name="connsiteY7637" fmla="*/ 855666 h 4806848"/>
              <a:gd name="connsiteX7638" fmla="*/ 847758 w 8978749"/>
              <a:gd name="connsiteY7638" fmla="*/ 914406 h 4806848"/>
              <a:gd name="connsiteX7639" fmla="*/ 789020 w 8978749"/>
              <a:gd name="connsiteY7639" fmla="*/ 914406 h 4806848"/>
              <a:gd name="connsiteX7640" fmla="*/ 711243 w 8978749"/>
              <a:gd name="connsiteY7640" fmla="*/ 855666 h 4806848"/>
              <a:gd name="connsiteX7641" fmla="*/ 768385 w 8978749"/>
              <a:gd name="connsiteY7641" fmla="*/ 855666 h 4806848"/>
              <a:gd name="connsiteX7642" fmla="*/ 768385 w 8978749"/>
              <a:gd name="connsiteY7642" fmla="*/ 914406 h 4806848"/>
              <a:gd name="connsiteX7643" fmla="*/ 711243 w 8978749"/>
              <a:gd name="connsiteY7643" fmla="*/ 914406 h 4806848"/>
              <a:gd name="connsiteX7644" fmla="*/ 631873 w 8978749"/>
              <a:gd name="connsiteY7644" fmla="*/ 855666 h 4806848"/>
              <a:gd name="connsiteX7645" fmla="*/ 689020 w 8978749"/>
              <a:gd name="connsiteY7645" fmla="*/ 855666 h 4806848"/>
              <a:gd name="connsiteX7646" fmla="*/ 689020 w 8978749"/>
              <a:gd name="connsiteY7646" fmla="*/ 914406 h 4806848"/>
              <a:gd name="connsiteX7647" fmla="*/ 631873 w 8978749"/>
              <a:gd name="connsiteY7647" fmla="*/ 914406 h 4806848"/>
              <a:gd name="connsiteX7648" fmla="*/ 552501 w 8978749"/>
              <a:gd name="connsiteY7648" fmla="*/ 855666 h 4806848"/>
              <a:gd name="connsiteX7649" fmla="*/ 611236 w 8978749"/>
              <a:gd name="connsiteY7649" fmla="*/ 855666 h 4806848"/>
              <a:gd name="connsiteX7650" fmla="*/ 611236 w 8978749"/>
              <a:gd name="connsiteY7650" fmla="*/ 914406 h 4806848"/>
              <a:gd name="connsiteX7651" fmla="*/ 552501 w 8978749"/>
              <a:gd name="connsiteY7651" fmla="*/ 914406 h 4806848"/>
              <a:gd name="connsiteX7652" fmla="*/ 4894111 w 8978749"/>
              <a:gd name="connsiteY7652" fmla="*/ 855664 h 4806848"/>
              <a:gd name="connsiteX7653" fmla="*/ 4952849 w 8978749"/>
              <a:gd name="connsiteY7653" fmla="*/ 855664 h 4806848"/>
              <a:gd name="connsiteX7654" fmla="*/ 4952849 w 8978749"/>
              <a:gd name="connsiteY7654" fmla="*/ 914403 h 4806848"/>
              <a:gd name="connsiteX7655" fmla="*/ 4894111 w 8978749"/>
              <a:gd name="connsiteY7655" fmla="*/ 914403 h 4806848"/>
              <a:gd name="connsiteX7656" fmla="*/ 4736948 w 8978749"/>
              <a:gd name="connsiteY7656" fmla="*/ 855664 h 4806848"/>
              <a:gd name="connsiteX7657" fmla="*/ 4794098 w 8978749"/>
              <a:gd name="connsiteY7657" fmla="*/ 855664 h 4806848"/>
              <a:gd name="connsiteX7658" fmla="*/ 4794098 w 8978749"/>
              <a:gd name="connsiteY7658" fmla="*/ 914403 h 4806848"/>
              <a:gd name="connsiteX7659" fmla="*/ 4736948 w 8978749"/>
              <a:gd name="connsiteY7659" fmla="*/ 914403 h 4806848"/>
              <a:gd name="connsiteX7660" fmla="*/ 4657573 w 8978749"/>
              <a:gd name="connsiteY7660" fmla="*/ 855664 h 4806848"/>
              <a:gd name="connsiteX7661" fmla="*/ 4716311 w 8978749"/>
              <a:gd name="connsiteY7661" fmla="*/ 855664 h 4806848"/>
              <a:gd name="connsiteX7662" fmla="*/ 4716311 w 8978749"/>
              <a:gd name="connsiteY7662" fmla="*/ 914403 h 4806848"/>
              <a:gd name="connsiteX7663" fmla="*/ 4657573 w 8978749"/>
              <a:gd name="connsiteY7663" fmla="*/ 914403 h 4806848"/>
              <a:gd name="connsiteX7664" fmla="*/ 4578198 w 8978749"/>
              <a:gd name="connsiteY7664" fmla="*/ 855664 h 4806848"/>
              <a:gd name="connsiteX7665" fmla="*/ 4636936 w 8978749"/>
              <a:gd name="connsiteY7665" fmla="*/ 855664 h 4806848"/>
              <a:gd name="connsiteX7666" fmla="*/ 4636936 w 8978749"/>
              <a:gd name="connsiteY7666" fmla="*/ 914403 h 4806848"/>
              <a:gd name="connsiteX7667" fmla="*/ 4578198 w 8978749"/>
              <a:gd name="connsiteY7667" fmla="*/ 914403 h 4806848"/>
              <a:gd name="connsiteX7668" fmla="*/ 3868586 w 8978749"/>
              <a:gd name="connsiteY7668" fmla="*/ 855664 h 4806848"/>
              <a:gd name="connsiteX7669" fmla="*/ 3925736 w 8978749"/>
              <a:gd name="connsiteY7669" fmla="*/ 855664 h 4806848"/>
              <a:gd name="connsiteX7670" fmla="*/ 3925736 w 8978749"/>
              <a:gd name="connsiteY7670" fmla="*/ 914403 h 4806848"/>
              <a:gd name="connsiteX7671" fmla="*/ 3868586 w 8978749"/>
              <a:gd name="connsiteY7671" fmla="*/ 914403 h 4806848"/>
              <a:gd name="connsiteX7672" fmla="*/ 3789211 w 8978749"/>
              <a:gd name="connsiteY7672" fmla="*/ 855664 h 4806848"/>
              <a:gd name="connsiteX7673" fmla="*/ 3847949 w 8978749"/>
              <a:gd name="connsiteY7673" fmla="*/ 855664 h 4806848"/>
              <a:gd name="connsiteX7674" fmla="*/ 3847949 w 8978749"/>
              <a:gd name="connsiteY7674" fmla="*/ 914403 h 4806848"/>
              <a:gd name="connsiteX7675" fmla="*/ 3789211 w 8978749"/>
              <a:gd name="connsiteY7675" fmla="*/ 914403 h 4806848"/>
              <a:gd name="connsiteX7676" fmla="*/ 3709836 w 8978749"/>
              <a:gd name="connsiteY7676" fmla="*/ 855664 h 4806848"/>
              <a:gd name="connsiteX7677" fmla="*/ 3768574 w 8978749"/>
              <a:gd name="connsiteY7677" fmla="*/ 855664 h 4806848"/>
              <a:gd name="connsiteX7678" fmla="*/ 3768574 w 8978749"/>
              <a:gd name="connsiteY7678" fmla="*/ 914403 h 4806848"/>
              <a:gd name="connsiteX7679" fmla="*/ 3709836 w 8978749"/>
              <a:gd name="connsiteY7679" fmla="*/ 914403 h 4806848"/>
              <a:gd name="connsiteX7680" fmla="*/ 3157386 w 8978749"/>
              <a:gd name="connsiteY7680" fmla="*/ 855664 h 4806848"/>
              <a:gd name="connsiteX7681" fmla="*/ 3216124 w 8978749"/>
              <a:gd name="connsiteY7681" fmla="*/ 855664 h 4806848"/>
              <a:gd name="connsiteX7682" fmla="*/ 3216124 w 8978749"/>
              <a:gd name="connsiteY7682" fmla="*/ 914403 h 4806848"/>
              <a:gd name="connsiteX7683" fmla="*/ 3157386 w 8978749"/>
              <a:gd name="connsiteY7683" fmla="*/ 914403 h 4806848"/>
              <a:gd name="connsiteX7684" fmla="*/ 3078011 w 8978749"/>
              <a:gd name="connsiteY7684" fmla="*/ 855664 h 4806848"/>
              <a:gd name="connsiteX7685" fmla="*/ 3136749 w 8978749"/>
              <a:gd name="connsiteY7685" fmla="*/ 855664 h 4806848"/>
              <a:gd name="connsiteX7686" fmla="*/ 3136749 w 8978749"/>
              <a:gd name="connsiteY7686" fmla="*/ 914403 h 4806848"/>
              <a:gd name="connsiteX7687" fmla="*/ 3078011 w 8978749"/>
              <a:gd name="connsiteY7687" fmla="*/ 914403 h 4806848"/>
              <a:gd name="connsiteX7688" fmla="*/ 3000223 w 8978749"/>
              <a:gd name="connsiteY7688" fmla="*/ 855664 h 4806848"/>
              <a:gd name="connsiteX7689" fmla="*/ 3057373 w 8978749"/>
              <a:gd name="connsiteY7689" fmla="*/ 855664 h 4806848"/>
              <a:gd name="connsiteX7690" fmla="*/ 3057373 w 8978749"/>
              <a:gd name="connsiteY7690" fmla="*/ 914403 h 4806848"/>
              <a:gd name="connsiteX7691" fmla="*/ 3000223 w 8978749"/>
              <a:gd name="connsiteY7691" fmla="*/ 914403 h 4806848"/>
              <a:gd name="connsiteX7692" fmla="*/ 2604936 w 8978749"/>
              <a:gd name="connsiteY7692" fmla="*/ 855664 h 4806848"/>
              <a:gd name="connsiteX7693" fmla="*/ 2663674 w 8978749"/>
              <a:gd name="connsiteY7693" fmla="*/ 855664 h 4806848"/>
              <a:gd name="connsiteX7694" fmla="*/ 2663674 w 8978749"/>
              <a:gd name="connsiteY7694" fmla="*/ 914403 h 4806848"/>
              <a:gd name="connsiteX7695" fmla="*/ 2604936 w 8978749"/>
              <a:gd name="connsiteY7695" fmla="*/ 914403 h 4806848"/>
              <a:gd name="connsiteX7696" fmla="*/ 2525741 w 8978749"/>
              <a:gd name="connsiteY7696" fmla="*/ 855664 h 4806848"/>
              <a:gd name="connsiteX7697" fmla="*/ 2584476 w 8978749"/>
              <a:gd name="connsiteY7697" fmla="*/ 855664 h 4806848"/>
              <a:gd name="connsiteX7698" fmla="*/ 2584476 w 8978749"/>
              <a:gd name="connsiteY7698" fmla="*/ 914403 h 4806848"/>
              <a:gd name="connsiteX7699" fmla="*/ 2525741 w 8978749"/>
              <a:gd name="connsiteY7699" fmla="*/ 914403 h 4806848"/>
              <a:gd name="connsiteX7700" fmla="*/ 2447946 w 8978749"/>
              <a:gd name="connsiteY7700" fmla="*/ 855664 h 4806848"/>
              <a:gd name="connsiteX7701" fmla="*/ 2505108 w 8978749"/>
              <a:gd name="connsiteY7701" fmla="*/ 855664 h 4806848"/>
              <a:gd name="connsiteX7702" fmla="*/ 2505108 w 8978749"/>
              <a:gd name="connsiteY7702" fmla="*/ 914403 h 4806848"/>
              <a:gd name="connsiteX7703" fmla="*/ 2447946 w 8978749"/>
              <a:gd name="connsiteY7703" fmla="*/ 914403 h 4806848"/>
              <a:gd name="connsiteX7704" fmla="*/ 8920011 w 8978749"/>
              <a:gd name="connsiteY7704" fmla="*/ 777907 h 4806848"/>
              <a:gd name="connsiteX7705" fmla="*/ 8978749 w 8978749"/>
              <a:gd name="connsiteY7705" fmla="*/ 777907 h 4806848"/>
              <a:gd name="connsiteX7706" fmla="*/ 8978749 w 8978749"/>
              <a:gd name="connsiteY7706" fmla="*/ 836652 h 4806848"/>
              <a:gd name="connsiteX7707" fmla="*/ 8920011 w 8978749"/>
              <a:gd name="connsiteY7707" fmla="*/ 836652 h 4806848"/>
              <a:gd name="connsiteX7708" fmla="*/ 8842224 w 8978749"/>
              <a:gd name="connsiteY7708" fmla="*/ 777907 h 4806848"/>
              <a:gd name="connsiteX7709" fmla="*/ 8899374 w 8978749"/>
              <a:gd name="connsiteY7709" fmla="*/ 777907 h 4806848"/>
              <a:gd name="connsiteX7710" fmla="*/ 8899374 w 8978749"/>
              <a:gd name="connsiteY7710" fmla="*/ 836652 h 4806848"/>
              <a:gd name="connsiteX7711" fmla="*/ 8842224 w 8978749"/>
              <a:gd name="connsiteY7711" fmla="*/ 836652 h 4806848"/>
              <a:gd name="connsiteX7712" fmla="*/ 8762849 w 8978749"/>
              <a:gd name="connsiteY7712" fmla="*/ 777907 h 4806848"/>
              <a:gd name="connsiteX7713" fmla="*/ 8821587 w 8978749"/>
              <a:gd name="connsiteY7713" fmla="*/ 777907 h 4806848"/>
              <a:gd name="connsiteX7714" fmla="*/ 8821587 w 8978749"/>
              <a:gd name="connsiteY7714" fmla="*/ 836652 h 4806848"/>
              <a:gd name="connsiteX7715" fmla="*/ 8762849 w 8978749"/>
              <a:gd name="connsiteY7715" fmla="*/ 836652 h 4806848"/>
              <a:gd name="connsiteX7716" fmla="*/ 8683474 w 8978749"/>
              <a:gd name="connsiteY7716" fmla="*/ 777907 h 4806848"/>
              <a:gd name="connsiteX7717" fmla="*/ 8742212 w 8978749"/>
              <a:gd name="connsiteY7717" fmla="*/ 777907 h 4806848"/>
              <a:gd name="connsiteX7718" fmla="*/ 8742212 w 8978749"/>
              <a:gd name="connsiteY7718" fmla="*/ 836652 h 4806848"/>
              <a:gd name="connsiteX7719" fmla="*/ 8683474 w 8978749"/>
              <a:gd name="connsiteY7719" fmla="*/ 836652 h 4806848"/>
              <a:gd name="connsiteX7720" fmla="*/ 8604099 w 8978749"/>
              <a:gd name="connsiteY7720" fmla="*/ 777907 h 4806848"/>
              <a:gd name="connsiteX7721" fmla="*/ 8662837 w 8978749"/>
              <a:gd name="connsiteY7721" fmla="*/ 777907 h 4806848"/>
              <a:gd name="connsiteX7722" fmla="*/ 8662837 w 8978749"/>
              <a:gd name="connsiteY7722" fmla="*/ 836652 h 4806848"/>
              <a:gd name="connsiteX7723" fmla="*/ 8604099 w 8978749"/>
              <a:gd name="connsiteY7723" fmla="*/ 836652 h 4806848"/>
              <a:gd name="connsiteX7724" fmla="*/ 8526311 w 8978749"/>
              <a:gd name="connsiteY7724" fmla="*/ 777907 h 4806848"/>
              <a:gd name="connsiteX7725" fmla="*/ 8583461 w 8978749"/>
              <a:gd name="connsiteY7725" fmla="*/ 777907 h 4806848"/>
              <a:gd name="connsiteX7726" fmla="*/ 8583461 w 8978749"/>
              <a:gd name="connsiteY7726" fmla="*/ 836652 h 4806848"/>
              <a:gd name="connsiteX7727" fmla="*/ 8526311 w 8978749"/>
              <a:gd name="connsiteY7727" fmla="*/ 836652 h 4806848"/>
              <a:gd name="connsiteX7728" fmla="*/ 8446936 w 8978749"/>
              <a:gd name="connsiteY7728" fmla="*/ 777907 h 4806848"/>
              <a:gd name="connsiteX7729" fmla="*/ 8505674 w 8978749"/>
              <a:gd name="connsiteY7729" fmla="*/ 777907 h 4806848"/>
              <a:gd name="connsiteX7730" fmla="*/ 8505674 w 8978749"/>
              <a:gd name="connsiteY7730" fmla="*/ 836652 h 4806848"/>
              <a:gd name="connsiteX7731" fmla="*/ 8446936 w 8978749"/>
              <a:gd name="connsiteY7731" fmla="*/ 836652 h 4806848"/>
              <a:gd name="connsiteX7732" fmla="*/ 8367561 w 8978749"/>
              <a:gd name="connsiteY7732" fmla="*/ 777907 h 4806848"/>
              <a:gd name="connsiteX7733" fmla="*/ 8426299 w 8978749"/>
              <a:gd name="connsiteY7733" fmla="*/ 777907 h 4806848"/>
              <a:gd name="connsiteX7734" fmla="*/ 8426299 w 8978749"/>
              <a:gd name="connsiteY7734" fmla="*/ 836652 h 4806848"/>
              <a:gd name="connsiteX7735" fmla="*/ 8367561 w 8978749"/>
              <a:gd name="connsiteY7735" fmla="*/ 836652 h 4806848"/>
              <a:gd name="connsiteX7736" fmla="*/ 8289774 w 8978749"/>
              <a:gd name="connsiteY7736" fmla="*/ 777907 h 4806848"/>
              <a:gd name="connsiteX7737" fmla="*/ 8346924 w 8978749"/>
              <a:gd name="connsiteY7737" fmla="*/ 777907 h 4806848"/>
              <a:gd name="connsiteX7738" fmla="*/ 8346924 w 8978749"/>
              <a:gd name="connsiteY7738" fmla="*/ 836652 h 4806848"/>
              <a:gd name="connsiteX7739" fmla="*/ 8289774 w 8978749"/>
              <a:gd name="connsiteY7739" fmla="*/ 836652 h 4806848"/>
              <a:gd name="connsiteX7740" fmla="*/ 8210399 w 8978749"/>
              <a:gd name="connsiteY7740" fmla="*/ 777907 h 4806848"/>
              <a:gd name="connsiteX7741" fmla="*/ 8267549 w 8978749"/>
              <a:gd name="connsiteY7741" fmla="*/ 777907 h 4806848"/>
              <a:gd name="connsiteX7742" fmla="*/ 8267549 w 8978749"/>
              <a:gd name="connsiteY7742" fmla="*/ 836652 h 4806848"/>
              <a:gd name="connsiteX7743" fmla="*/ 8210399 w 8978749"/>
              <a:gd name="connsiteY7743" fmla="*/ 836652 h 4806848"/>
              <a:gd name="connsiteX7744" fmla="*/ 8131024 w 8978749"/>
              <a:gd name="connsiteY7744" fmla="*/ 777907 h 4806848"/>
              <a:gd name="connsiteX7745" fmla="*/ 8189762 w 8978749"/>
              <a:gd name="connsiteY7745" fmla="*/ 777907 h 4806848"/>
              <a:gd name="connsiteX7746" fmla="*/ 8189762 w 8978749"/>
              <a:gd name="connsiteY7746" fmla="*/ 836652 h 4806848"/>
              <a:gd name="connsiteX7747" fmla="*/ 8131024 w 8978749"/>
              <a:gd name="connsiteY7747" fmla="*/ 836652 h 4806848"/>
              <a:gd name="connsiteX7748" fmla="*/ 8051649 w 8978749"/>
              <a:gd name="connsiteY7748" fmla="*/ 777907 h 4806848"/>
              <a:gd name="connsiteX7749" fmla="*/ 8110387 w 8978749"/>
              <a:gd name="connsiteY7749" fmla="*/ 777907 h 4806848"/>
              <a:gd name="connsiteX7750" fmla="*/ 8110387 w 8978749"/>
              <a:gd name="connsiteY7750" fmla="*/ 836652 h 4806848"/>
              <a:gd name="connsiteX7751" fmla="*/ 8051649 w 8978749"/>
              <a:gd name="connsiteY7751" fmla="*/ 836652 h 4806848"/>
              <a:gd name="connsiteX7752" fmla="*/ 7973861 w 8978749"/>
              <a:gd name="connsiteY7752" fmla="*/ 777907 h 4806848"/>
              <a:gd name="connsiteX7753" fmla="*/ 8031011 w 8978749"/>
              <a:gd name="connsiteY7753" fmla="*/ 777907 h 4806848"/>
              <a:gd name="connsiteX7754" fmla="*/ 8031011 w 8978749"/>
              <a:gd name="connsiteY7754" fmla="*/ 836652 h 4806848"/>
              <a:gd name="connsiteX7755" fmla="*/ 7973861 w 8978749"/>
              <a:gd name="connsiteY7755" fmla="*/ 836652 h 4806848"/>
              <a:gd name="connsiteX7756" fmla="*/ 7894486 w 8978749"/>
              <a:gd name="connsiteY7756" fmla="*/ 777907 h 4806848"/>
              <a:gd name="connsiteX7757" fmla="*/ 7951636 w 8978749"/>
              <a:gd name="connsiteY7757" fmla="*/ 777907 h 4806848"/>
              <a:gd name="connsiteX7758" fmla="*/ 7951636 w 8978749"/>
              <a:gd name="connsiteY7758" fmla="*/ 836652 h 4806848"/>
              <a:gd name="connsiteX7759" fmla="*/ 7894486 w 8978749"/>
              <a:gd name="connsiteY7759" fmla="*/ 836652 h 4806848"/>
              <a:gd name="connsiteX7760" fmla="*/ 7815111 w 8978749"/>
              <a:gd name="connsiteY7760" fmla="*/ 777907 h 4806848"/>
              <a:gd name="connsiteX7761" fmla="*/ 7873849 w 8978749"/>
              <a:gd name="connsiteY7761" fmla="*/ 777907 h 4806848"/>
              <a:gd name="connsiteX7762" fmla="*/ 7873849 w 8978749"/>
              <a:gd name="connsiteY7762" fmla="*/ 836652 h 4806848"/>
              <a:gd name="connsiteX7763" fmla="*/ 7815111 w 8978749"/>
              <a:gd name="connsiteY7763" fmla="*/ 836652 h 4806848"/>
              <a:gd name="connsiteX7764" fmla="*/ 7735736 w 8978749"/>
              <a:gd name="connsiteY7764" fmla="*/ 777907 h 4806848"/>
              <a:gd name="connsiteX7765" fmla="*/ 7794474 w 8978749"/>
              <a:gd name="connsiteY7765" fmla="*/ 777907 h 4806848"/>
              <a:gd name="connsiteX7766" fmla="*/ 7794474 w 8978749"/>
              <a:gd name="connsiteY7766" fmla="*/ 836652 h 4806848"/>
              <a:gd name="connsiteX7767" fmla="*/ 7735736 w 8978749"/>
              <a:gd name="connsiteY7767" fmla="*/ 836652 h 4806848"/>
              <a:gd name="connsiteX7768" fmla="*/ 7657949 w 8978749"/>
              <a:gd name="connsiteY7768" fmla="*/ 777907 h 4806848"/>
              <a:gd name="connsiteX7769" fmla="*/ 7715099 w 8978749"/>
              <a:gd name="connsiteY7769" fmla="*/ 777907 h 4806848"/>
              <a:gd name="connsiteX7770" fmla="*/ 7715099 w 8978749"/>
              <a:gd name="connsiteY7770" fmla="*/ 836652 h 4806848"/>
              <a:gd name="connsiteX7771" fmla="*/ 7657949 w 8978749"/>
              <a:gd name="connsiteY7771" fmla="*/ 836652 h 4806848"/>
              <a:gd name="connsiteX7772" fmla="*/ 7578574 w 8978749"/>
              <a:gd name="connsiteY7772" fmla="*/ 777907 h 4806848"/>
              <a:gd name="connsiteX7773" fmla="*/ 7637312 w 8978749"/>
              <a:gd name="connsiteY7773" fmla="*/ 777907 h 4806848"/>
              <a:gd name="connsiteX7774" fmla="*/ 7637312 w 8978749"/>
              <a:gd name="connsiteY7774" fmla="*/ 836652 h 4806848"/>
              <a:gd name="connsiteX7775" fmla="*/ 7578574 w 8978749"/>
              <a:gd name="connsiteY7775" fmla="*/ 836652 h 4806848"/>
              <a:gd name="connsiteX7776" fmla="*/ 7499199 w 8978749"/>
              <a:gd name="connsiteY7776" fmla="*/ 777907 h 4806848"/>
              <a:gd name="connsiteX7777" fmla="*/ 7557937 w 8978749"/>
              <a:gd name="connsiteY7777" fmla="*/ 777907 h 4806848"/>
              <a:gd name="connsiteX7778" fmla="*/ 7557937 w 8978749"/>
              <a:gd name="connsiteY7778" fmla="*/ 836652 h 4806848"/>
              <a:gd name="connsiteX7779" fmla="*/ 7499199 w 8978749"/>
              <a:gd name="connsiteY7779" fmla="*/ 836652 h 4806848"/>
              <a:gd name="connsiteX7780" fmla="*/ 7419824 w 8978749"/>
              <a:gd name="connsiteY7780" fmla="*/ 777907 h 4806848"/>
              <a:gd name="connsiteX7781" fmla="*/ 7478562 w 8978749"/>
              <a:gd name="connsiteY7781" fmla="*/ 777907 h 4806848"/>
              <a:gd name="connsiteX7782" fmla="*/ 7478562 w 8978749"/>
              <a:gd name="connsiteY7782" fmla="*/ 836652 h 4806848"/>
              <a:gd name="connsiteX7783" fmla="*/ 7419824 w 8978749"/>
              <a:gd name="connsiteY7783" fmla="*/ 836652 h 4806848"/>
              <a:gd name="connsiteX7784" fmla="*/ 7342036 w 8978749"/>
              <a:gd name="connsiteY7784" fmla="*/ 777907 h 4806848"/>
              <a:gd name="connsiteX7785" fmla="*/ 7400774 w 8978749"/>
              <a:gd name="connsiteY7785" fmla="*/ 777907 h 4806848"/>
              <a:gd name="connsiteX7786" fmla="*/ 7400774 w 8978749"/>
              <a:gd name="connsiteY7786" fmla="*/ 836652 h 4806848"/>
              <a:gd name="connsiteX7787" fmla="*/ 7342036 w 8978749"/>
              <a:gd name="connsiteY7787" fmla="*/ 836652 h 4806848"/>
              <a:gd name="connsiteX7788" fmla="*/ 7262661 w 8978749"/>
              <a:gd name="connsiteY7788" fmla="*/ 777907 h 4806848"/>
              <a:gd name="connsiteX7789" fmla="*/ 7321399 w 8978749"/>
              <a:gd name="connsiteY7789" fmla="*/ 777907 h 4806848"/>
              <a:gd name="connsiteX7790" fmla="*/ 7321399 w 8978749"/>
              <a:gd name="connsiteY7790" fmla="*/ 836652 h 4806848"/>
              <a:gd name="connsiteX7791" fmla="*/ 7262661 w 8978749"/>
              <a:gd name="connsiteY7791" fmla="*/ 836652 h 4806848"/>
              <a:gd name="connsiteX7792" fmla="*/ 7183286 w 8978749"/>
              <a:gd name="connsiteY7792" fmla="*/ 777907 h 4806848"/>
              <a:gd name="connsiteX7793" fmla="*/ 7242024 w 8978749"/>
              <a:gd name="connsiteY7793" fmla="*/ 777907 h 4806848"/>
              <a:gd name="connsiteX7794" fmla="*/ 7242024 w 8978749"/>
              <a:gd name="connsiteY7794" fmla="*/ 836652 h 4806848"/>
              <a:gd name="connsiteX7795" fmla="*/ 7183286 w 8978749"/>
              <a:gd name="connsiteY7795" fmla="*/ 836652 h 4806848"/>
              <a:gd name="connsiteX7796" fmla="*/ 7105499 w 8978749"/>
              <a:gd name="connsiteY7796" fmla="*/ 777907 h 4806848"/>
              <a:gd name="connsiteX7797" fmla="*/ 7162649 w 8978749"/>
              <a:gd name="connsiteY7797" fmla="*/ 777907 h 4806848"/>
              <a:gd name="connsiteX7798" fmla="*/ 7162649 w 8978749"/>
              <a:gd name="connsiteY7798" fmla="*/ 836652 h 4806848"/>
              <a:gd name="connsiteX7799" fmla="*/ 7105499 w 8978749"/>
              <a:gd name="connsiteY7799" fmla="*/ 836652 h 4806848"/>
              <a:gd name="connsiteX7800" fmla="*/ 7026124 w 8978749"/>
              <a:gd name="connsiteY7800" fmla="*/ 777907 h 4806848"/>
              <a:gd name="connsiteX7801" fmla="*/ 7084862 w 8978749"/>
              <a:gd name="connsiteY7801" fmla="*/ 777907 h 4806848"/>
              <a:gd name="connsiteX7802" fmla="*/ 7084862 w 8978749"/>
              <a:gd name="connsiteY7802" fmla="*/ 836652 h 4806848"/>
              <a:gd name="connsiteX7803" fmla="*/ 7026124 w 8978749"/>
              <a:gd name="connsiteY7803" fmla="*/ 836652 h 4806848"/>
              <a:gd name="connsiteX7804" fmla="*/ 6946749 w 8978749"/>
              <a:gd name="connsiteY7804" fmla="*/ 777907 h 4806848"/>
              <a:gd name="connsiteX7805" fmla="*/ 7005487 w 8978749"/>
              <a:gd name="connsiteY7805" fmla="*/ 777907 h 4806848"/>
              <a:gd name="connsiteX7806" fmla="*/ 7005487 w 8978749"/>
              <a:gd name="connsiteY7806" fmla="*/ 836652 h 4806848"/>
              <a:gd name="connsiteX7807" fmla="*/ 6946749 w 8978749"/>
              <a:gd name="connsiteY7807" fmla="*/ 836652 h 4806848"/>
              <a:gd name="connsiteX7808" fmla="*/ 6867374 w 8978749"/>
              <a:gd name="connsiteY7808" fmla="*/ 777907 h 4806848"/>
              <a:gd name="connsiteX7809" fmla="*/ 6926112 w 8978749"/>
              <a:gd name="connsiteY7809" fmla="*/ 777907 h 4806848"/>
              <a:gd name="connsiteX7810" fmla="*/ 6926112 w 8978749"/>
              <a:gd name="connsiteY7810" fmla="*/ 836652 h 4806848"/>
              <a:gd name="connsiteX7811" fmla="*/ 6867374 w 8978749"/>
              <a:gd name="connsiteY7811" fmla="*/ 836652 h 4806848"/>
              <a:gd name="connsiteX7812" fmla="*/ 6789586 w 8978749"/>
              <a:gd name="connsiteY7812" fmla="*/ 777907 h 4806848"/>
              <a:gd name="connsiteX7813" fmla="*/ 6846736 w 8978749"/>
              <a:gd name="connsiteY7813" fmla="*/ 777907 h 4806848"/>
              <a:gd name="connsiteX7814" fmla="*/ 6846736 w 8978749"/>
              <a:gd name="connsiteY7814" fmla="*/ 836652 h 4806848"/>
              <a:gd name="connsiteX7815" fmla="*/ 6789586 w 8978749"/>
              <a:gd name="connsiteY7815" fmla="*/ 836652 h 4806848"/>
              <a:gd name="connsiteX7816" fmla="*/ 6710211 w 8978749"/>
              <a:gd name="connsiteY7816" fmla="*/ 777907 h 4806848"/>
              <a:gd name="connsiteX7817" fmla="*/ 6768949 w 8978749"/>
              <a:gd name="connsiteY7817" fmla="*/ 777907 h 4806848"/>
              <a:gd name="connsiteX7818" fmla="*/ 6768949 w 8978749"/>
              <a:gd name="connsiteY7818" fmla="*/ 836652 h 4806848"/>
              <a:gd name="connsiteX7819" fmla="*/ 6710211 w 8978749"/>
              <a:gd name="connsiteY7819" fmla="*/ 836652 h 4806848"/>
              <a:gd name="connsiteX7820" fmla="*/ 6630836 w 8978749"/>
              <a:gd name="connsiteY7820" fmla="*/ 777907 h 4806848"/>
              <a:gd name="connsiteX7821" fmla="*/ 6689574 w 8978749"/>
              <a:gd name="connsiteY7821" fmla="*/ 777907 h 4806848"/>
              <a:gd name="connsiteX7822" fmla="*/ 6689574 w 8978749"/>
              <a:gd name="connsiteY7822" fmla="*/ 836652 h 4806848"/>
              <a:gd name="connsiteX7823" fmla="*/ 6630836 w 8978749"/>
              <a:gd name="connsiteY7823" fmla="*/ 836652 h 4806848"/>
              <a:gd name="connsiteX7824" fmla="*/ 6551461 w 8978749"/>
              <a:gd name="connsiteY7824" fmla="*/ 777907 h 4806848"/>
              <a:gd name="connsiteX7825" fmla="*/ 6610199 w 8978749"/>
              <a:gd name="connsiteY7825" fmla="*/ 777907 h 4806848"/>
              <a:gd name="connsiteX7826" fmla="*/ 6610199 w 8978749"/>
              <a:gd name="connsiteY7826" fmla="*/ 836652 h 4806848"/>
              <a:gd name="connsiteX7827" fmla="*/ 6551461 w 8978749"/>
              <a:gd name="connsiteY7827" fmla="*/ 836652 h 4806848"/>
              <a:gd name="connsiteX7828" fmla="*/ 6473674 w 8978749"/>
              <a:gd name="connsiteY7828" fmla="*/ 777907 h 4806848"/>
              <a:gd name="connsiteX7829" fmla="*/ 6530824 w 8978749"/>
              <a:gd name="connsiteY7829" fmla="*/ 777907 h 4806848"/>
              <a:gd name="connsiteX7830" fmla="*/ 6530824 w 8978749"/>
              <a:gd name="connsiteY7830" fmla="*/ 836652 h 4806848"/>
              <a:gd name="connsiteX7831" fmla="*/ 6473674 w 8978749"/>
              <a:gd name="connsiteY7831" fmla="*/ 836652 h 4806848"/>
              <a:gd name="connsiteX7832" fmla="*/ 6394299 w 8978749"/>
              <a:gd name="connsiteY7832" fmla="*/ 777907 h 4806848"/>
              <a:gd name="connsiteX7833" fmla="*/ 6453037 w 8978749"/>
              <a:gd name="connsiteY7833" fmla="*/ 777907 h 4806848"/>
              <a:gd name="connsiteX7834" fmla="*/ 6453037 w 8978749"/>
              <a:gd name="connsiteY7834" fmla="*/ 836652 h 4806848"/>
              <a:gd name="connsiteX7835" fmla="*/ 6394299 w 8978749"/>
              <a:gd name="connsiteY7835" fmla="*/ 836652 h 4806848"/>
              <a:gd name="connsiteX7836" fmla="*/ 6314924 w 8978749"/>
              <a:gd name="connsiteY7836" fmla="*/ 777907 h 4806848"/>
              <a:gd name="connsiteX7837" fmla="*/ 6373662 w 8978749"/>
              <a:gd name="connsiteY7837" fmla="*/ 777907 h 4806848"/>
              <a:gd name="connsiteX7838" fmla="*/ 6373662 w 8978749"/>
              <a:gd name="connsiteY7838" fmla="*/ 836652 h 4806848"/>
              <a:gd name="connsiteX7839" fmla="*/ 6314924 w 8978749"/>
              <a:gd name="connsiteY7839" fmla="*/ 836652 h 4806848"/>
              <a:gd name="connsiteX7840" fmla="*/ 6235549 w 8978749"/>
              <a:gd name="connsiteY7840" fmla="*/ 777907 h 4806848"/>
              <a:gd name="connsiteX7841" fmla="*/ 6294287 w 8978749"/>
              <a:gd name="connsiteY7841" fmla="*/ 777907 h 4806848"/>
              <a:gd name="connsiteX7842" fmla="*/ 6294287 w 8978749"/>
              <a:gd name="connsiteY7842" fmla="*/ 836652 h 4806848"/>
              <a:gd name="connsiteX7843" fmla="*/ 6235549 w 8978749"/>
              <a:gd name="connsiteY7843" fmla="*/ 836652 h 4806848"/>
              <a:gd name="connsiteX7844" fmla="*/ 6157761 w 8978749"/>
              <a:gd name="connsiteY7844" fmla="*/ 777907 h 4806848"/>
              <a:gd name="connsiteX7845" fmla="*/ 6214911 w 8978749"/>
              <a:gd name="connsiteY7845" fmla="*/ 777907 h 4806848"/>
              <a:gd name="connsiteX7846" fmla="*/ 6214911 w 8978749"/>
              <a:gd name="connsiteY7846" fmla="*/ 836652 h 4806848"/>
              <a:gd name="connsiteX7847" fmla="*/ 6157761 w 8978749"/>
              <a:gd name="connsiteY7847" fmla="*/ 836652 h 4806848"/>
              <a:gd name="connsiteX7848" fmla="*/ 6078386 w 8978749"/>
              <a:gd name="connsiteY7848" fmla="*/ 777907 h 4806848"/>
              <a:gd name="connsiteX7849" fmla="*/ 6137124 w 8978749"/>
              <a:gd name="connsiteY7849" fmla="*/ 777907 h 4806848"/>
              <a:gd name="connsiteX7850" fmla="*/ 6137124 w 8978749"/>
              <a:gd name="connsiteY7850" fmla="*/ 836652 h 4806848"/>
              <a:gd name="connsiteX7851" fmla="*/ 6078386 w 8978749"/>
              <a:gd name="connsiteY7851" fmla="*/ 836652 h 4806848"/>
              <a:gd name="connsiteX7852" fmla="*/ 5999011 w 8978749"/>
              <a:gd name="connsiteY7852" fmla="*/ 777907 h 4806848"/>
              <a:gd name="connsiteX7853" fmla="*/ 6057749 w 8978749"/>
              <a:gd name="connsiteY7853" fmla="*/ 777907 h 4806848"/>
              <a:gd name="connsiteX7854" fmla="*/ 6057749 w 8978749"/>
              <a:gd name="connsiteY7854" fmla="*/ 836652 h 4806848"/>
              <a:gd name="connsiteX7855" fmla="*/ 5999011 w 8978749"/>
              <a:gd name="connsiteY7855" fmla="*/ 836652 h 4806848"/>
              <a:gd name="connsiteX7856" fmla="*/ 5921224 w 8978749"/>
              <a:gd name="connsiteY7856" fmla="*/ 777907 h 4806848"/>
              <a:gd name="connsiteX7857" fmla="*/ 5978374 w 8978749"/>
              <a:gd name="connsiteY7857" fmla="*/ 777907 h 4806848"/>
              <a:gd name="connsiteX7858" fmla="*/ 5978374 w 8978749"/>
              <a:gd name="connsiteY7858" fmla="*/ 836652 h 4806848"/>
              <a:gd name="connsiteX7859" fmla="*/ 5921224 w 8978749"/>
              <a:gd name="connsiteY7859" fmla="*/ 836652 h 4806848"/>
              <a:gd name="connsiteX7860" fmla="*/ 5841849 w 8978749"/>
              <a:gd name="connsiteY7860" fmla="*/ 777907 h 4806848"/>
              <a:gd name="connsiteX7861" fmla="*/ 5900587 w 8978749"/>
              <a:gd name="connsiteY7861" fmla="*/ 777907 h 4806848"/>
              <a:gd name="connsiteX7862" fmla="*/ 5900587 w 8978749"/>
              <a:gd name="connsiteY7862" fmla="*/ 836652 h 4806848"/>
              <a:gd name="connsiteX7863" fmla="*/ 5841849 w 8978749"/>
              <a:gd name="connsiteY7863" fmla="*/ 836652 h 4806848"/>
              <a:gd name="connsiteX7864" fmla="*/ 5762474 w 8978749"/>
              <a:gd name="connsiteY7864" fmla="*/ 777907 h 4806848"/>
              <a:gd name="connsiteX7865" fmla="*/ 5821212 w 8978749"/>
              <a:gd name="connsiteY7865" fmla="*/ 777907 h 4806848"/>
              <a:gd name="connsiteX7866" fmla="*/ 5821212 w 8978749"/>
              <a:gd name="connsiteY7866" fmla="*/ 836652 h 4806848"/>
              <a:gd name="connsiteX7867" fmla="*/ 5762474 w 8978749"/>
              <a:gd name="connsiteY7867" fmla="*/ 836652 h 4806848"/>
              <a:gd name="connsiteX7868" fmla="*/ 5684686 w 8978749"/>
              <a:gd name="connsiteY7868" fmla="*/ 777907 h 4806848"/>
              <a:gd name="connsiteX7869" fmla="*/ 5741836 w 8978749"/>
              <a:gd name="connsiteY7869" fmla="*/ 777907 h 4806848"/>
              <a:gd name="connsiteX7870" fmla="*/ 5741836 w 8978749"/>
              <a:gd name="connsiteY7870" fmla="*/ 836652 h 4806848"/>
              <a:gd name="connsiteX7871" fmla="*/ 5684686 w 8978749"/>
              <a:gd name="connsiteY7871" fmla="*/ 836652 h 4806848"/>
              <a:gd name="connsiteX7872" fmla="*/ 5605311 w 8978749"/>
              <a:gd name="connsiteY7872" fmla="*/ 777907 h 4806848"/>
              <a:gd name="connsiteX7873" fmla="*/ 5664049 w 8978749"/>
              <a:gd name="connsiteY7873" fmla="*/ 777907 h 4806848"/>
              <a:gd name="connsiteX7874" fmla="*/ 5664049 w 8978749"/>
              <a:gd name="connsiteY7874" fmla="*/ 836652 h 4806848"/>
              <a:gd name="connsiteX7875" fmla="*/ 5605311 w 8978749"/>
              <a:gd name="connsiteY7875" fmla="*/ 836652 h 4806848"/>
              <a:gd name="connsiteX7876" fmla="*/ 5525936 w 8978749"/>
              <a:gd name="connsiteY7876" fmla="*/ 777907 h 4806848"/>
              <a:gd name="connsiteX7877" fmla="*/ 5584674 w 8978749"/>
              <a:gd name="connsiteY7877" fmla="*/ 777907 h 4806848"/>
              <a:gd name="connsiteX7878" fmla="*/ 5584674 w 8978749"/>
              <a:gd name="connsiteY7878" fmla="*/ 836652 h 4806848"/>
              <a:gd name="connsiteX7879" fmla="*/ 5525936 w 8978749"/>
              <a:gd name="connsiteY7879" fmla="*/ 836652 h 4806848"/>
              <a:gd name="connsiteX7880" fmla="*/ 5446561 w 8978749"/>
              <a:gd name="connsiteY7880" fmla="*/ 777907 h 4806848"/>
              <a:gd name="connsiteX7881" fmla="*/ 5505299 w 8978749"/>
              <a:gd name="connsiteY7881" fmla="*/ 777907 h 4806848"/>
              <a:gd name="connsiteX7882" fmla="*/ 5505299 w 8978749"/>
              <a:gd name="connsiteY7882" fmla="*/ 836652 h 4806848"/>
              <a:gd name="connsiteX7883" fmla="*/ 5446561 w 8978749"/>
              <a:gd name="connsiteY7883" fmla="*/ 836652 h 4806848"/>
              <a:gd name="connsiteX7884" fmla="*/ 5368774 w 8978749"/>
              <a:gd name="connsiteY7884" fmla="*/ 777907 h 4806848"/>
              <a:gd name="connsiteX7885" fmla="*/ 5425924 w 8978749"/>
              <a:gd name="connsiteY7885" fmla="*/ 777907 h 4806848"/>
              <a:gd name="connsiteX7886" fmla="*/ 5425924 w 8978749"/>
              <a:gd name="connsiteY7886" fmla="*/ 836652 h 4806848"/>
              <a:gd name="connsiteX7887" fmla="*/ 5368774 w 8978749"/>
              <a:gd name="connsiteY7887" fmla="*/ 836652 h 4806848"/>
              <a:gd name="connsiteX7888" fmla="*/ 5210024 w 8978749"/>
              <a:gd name="connsiteY7888" fmla="*/ 777907 h 4806848"/>
              <a:gd name="connsiteX7889" fmla="*/ 5268762 w 8978749"/>
              <a:gd name="connsiteY7889" fmla="*/ 777907 h 4806848"/>
              <a:gd name="connsiteX7890" fmla="*/ 5268762 w 8978749"/>
              <a:gd name="connsiteY7890" fmla="*/ 836652 h 4806848"/>
              <a:gd name="connsiteX7891" fmla="*/ 5210024 w 8978749"/>
              <a:gd name="connsiteY7891" fmla="*/ 836652 h 4806848"/>
              <a:gd name="connsiteX7892" fmla="*/ 5130649 w 8978749"/>
              <a:gd name="connsiteY7892" fmla="*/ 777907 h 4806848"/>
              <a:gd name="connsiteX7893" fmla="*/ 5189387 w 8978749"/>
              <a:gd name="connsiteY7893" fmla="*/ 777907 h 4806848"/>
              <a:gd name="connsiteX7894" fmla="*/ 5189387 w 8978749"/>
              <a:gd name="connsiteY7894" fmla="*/ 836652 h 4806848"/>
              <a:gd name="connsiteX7895" fmla="*/ 5130649 w 8978749"/>
              <a:gd name="connsiteY7895" fmla="*/ 836652 h 4806848"/>
              <a:gd name="connsiteX7896" fmla="*/ 5052861 w 8978749"/>
              <a:gd name="connsiteY7896" fmla="*/ 777907 h 4806848"/>
              <a:gd name="connsiteX7897" fmla="*/ 5110011 w 8978749"/>
              <a:gd name="connsiteY7897" fmla="*/ 777907 h 4806848"/>
              <a:gd name="connsiteX7898" fmla="*/ 5110011 w 8978749"/>
              <a:gd name="connsiteY7898" fmla="*/ 836652 h 4806848"/>
              <a:gd name="connsiteX7899" fmla="*/ 5052861 w 8978749"/>
              <a:gd name="connsiteY7899" fmla="*/ 836652 h 4806848"/>
              <a:gd name="connsiteX7900" fmla="*/ 4973486 w 8978749"/>
              <a:gd name="connsiteY7900" fmla="*/ 777907 h 4806848"/>
              <a:gd name="connsiteX7901" fmla="*/ 5030636 w 8978749"/>
              <a:gd name="connsiteY7901" fmla="*/ 777907 h 4806848"/>
              <a:gd name="connsiteX7902" fmla="*/ 5030636 w 8978749"/>
              <a:gd name="connsiteY7902" fmla="*/ 836652 h 4806848"/>
              <a:gd name="connsiteX7903" fmla="*/ 4973486 w 8978749"/>
              <a:gd name="connsiteY7903" fmla="*/ 836652 h 4806848"/>
              <a:gd name="connsiteX7904" fmla="*/ 711249 w 8978749"/>
              <a:gd name="connsiteY7904" fmla="*/ 777883 h 4806848"/>
              <a:gd name="connsiteX7905" fmla="*/ 768391 w 8978749"/>
              <a:gd name="connsiteY7905" fmla="*/ 777883 h 4806848"/>
              <a:gd name="connsiteX7906" fmla="*/ 768391 w 8978749"/>
              <a:gd name="connsiteY7906" fmla="*/ 836625 h 4806848"/>
              <a:gd name="connsiteX7907" fmla="*/ 711249 w 8978749"/>
              <a:gd name="connsiteY7907" fmla="*/ 836625 h 4806848"/>
              <a:gd name="connsiteX7908" fmla="*/ 631883 w 8978749"/>
              <a:gd name="connsiteY7908" fmla="*/ 777883 h 4806848"/>
              <a:gd name="connsiteX7909" fmla="*/ 689027 w 8978749"/>
              <a:gd name="connsiteY7909" fmla="*/ 777883 h 4806848"/>
              <a:gd name="connsiteX7910" fmla="*/ 689027 w 8978749"/>
              <a:gd name="connsiteY7910" fmla="*/ 836625 h 4806848"/>
              <a:gd name="connsiteX7911" fmla="*/ 631883 w 8978749"/>
              <a:gd name="connsiteY7911" fmla="*/ 836625 h 4806848"/>
              <a:gd name="connsiteX7912" fmla="*/ 552507 w 8978749"/>
              <a:gd name="connsiteY7912" fmla="*/ 777883 h 4806848"/>
              <a:gd name="connsiteX7913" fmla="*/ 611245 w 8978749"/>
              <a:gd name="connsiteY7913" fmla="*/ 777883 h 4806848"/>
              <a:gd name="connsiteX7914" fmla="*/ 611245 w 8978749"/>
              <a:gd name="connsiteY7914" fmla="*/ 836625 h 4806848"/>
              <a:gd name="connsiteX7915" fmla="*/ 552507 w 8978749"/>
              <a:gd name="connsiteY7915" fmla="*/ 836625 h 4806848"/>
              <a:gd name="connsiteX7916" fmla="*/ 473086 w 8978749"/>
              <a:gd name="connsiteY7916" fmla="*/ 777883 h 4806848"/>
              <a:gd name="connsiteX7917" fmla="*/ 531875 w 8978749"/>
              <a:gd name="connsiteY7917" fmla="*/ 777883 h 4806848"/>
              <a:gd name="connsiteX7918" fmla="*/ 531875 w 8978749"/>
              <a:gd name="connsiteY7918" fmla="*/ 836625 h 4806848"/>
              <a:gd name="connsiteX7919" fmla="*/ 473086 w 8978749"/>
              <a:gd name="connsiteY7919" fmla="*/ 836625 h 4806848"/>
              <a:gd name="connsiteX7920" fmla="*/ 395306 w 8978749"/>
              <a:gd name="connsiteY7920" fmla="*/ 777883 h 4806848"/>
              <a:gd name="connsiteX7921" fmla="*/ 452449 w 8978749"/>
              <a:gd name="connsiteY7921" fmla="*/ 777883 h 4806848"/>
              <a:gd name="connsiteX7922" fmla="*/ 452449 w 8978749"/>
              <a:gd name="connsiteY7922" fmla="*/ 836626 h 4806848"/>
              <a:gd name="connsiteX7923" fmla="*/ 395306 w 8978749"/>
              <a:gd name="connsiteY7923" fmla="*/ 836626 h 4806848"/>
              <a:gd name="connsiteX7924" fmla="*/ 315926 w 8978749"/>
              <a:gd name="connsiteY7924" fmla="*/ 777883 h 4806848"/>
              <a:gd name="connsiteX7925" fmla="*/ 374668 w 8978749"/>
              <a:gd name="connsiteY7925" fmla="*/ 777883 h 4806848"/>
              <a:gd name="connsiteX7926" fmla="*/ 374668 w 8978749"/>
              <a:gd name="connsiteY7926" fmla="*/ 836626 h 4806848"/>
              <a:gd name="connsiteX7927" fmla="*/ 315926 w 8978749"/>
              <a:gd name="connsiteY7927" fmla="*/ 836626 h 4806848"/>
              <a:gd name="connsiteX7928" fmla="*/ 236550 w 8978749"/>
              <a:gd name="connsiteY7928" fmla="*/ 777883 h 4806848"/>
              <a:gd name="connsiteX7929" fmla="*/ 295288 w 8978749"/>
              <a:gd name="connsiteY7929" fmla="*/ 777883 h 4806848"/>
              <a:gd name="connsiteX7930" fmla="*/ 295288 w 8978749"/>
              <a:gd name="connsiteY7930" fmla="*/ 836626 h 4806848"/>
              <a:gd name="connsiteX7931" fmla="*/ 236550 w 8978749"/>
              <a:gd name="connsiteY7931" fmla="*/ 836626 h 4806848"/>
              <a:gd name="connsiteX7932" fmla="*/ 1500210 w 8978749"/>
              <a:gd name="connsiteY7932" fmla="*/ 777881 h 4806848"/>
              <a:gd name="connsiteX7933" fmla="*/ 1558955 w 8978749"/>
              <a:gd name="connsiteY7933" fmla="*/ 777881 h 4806848"/>
              <a:gd name="connsiteX7934" fmla="*/ 1558955 w 8978749"/>
              <a:gd name="connsiteY7934" fmla="*/ 836624 h 4806848"/>
              <a:gd name="connsiteX7935" fmla="*/ 1500210 w 8978749"/>
              <a:gd name="connsiteY7935" fmla="*/ 836624 h 4806848"/>
              <a:gd name="connsiteX7936" fmla="*/ 1420828 w 8978749"/>
              <a:gd name="connsiteY7936" fmla="*/ 777881 h 4806848"/>
              <a:gd name="connsiteX7937" fmla="*/ 1479564 w 8978749"/>
              <a:gd name="connsiteY7937" fmla="*/ 777881 h 4806848"/>
              <a:gd name="connsiteX7938" fmla="*/ 1479564 w 8978749"/>
              <a:gd name="connsiteY7938" fmla="*/ 836624 h 4806848"/>
              <a:gd name="connsiteX7939" fmla="*/ 1420828 w 8978749"/>
              <a:gd name="connsiteY7939" fmla="*/ 836624 h 4806848"/>
              <a:gd name="connsiteX7940" fmla="*/ 1341492 w 8978749"/>
              <a:gd name="connsiteY7940" fmla="*/ 777881 h 4806848"/>
              <a:gd name="connsiteX7941" fmla="*/ 1400210 w 8978749"/>
              <a:gd name="connsiteY7941" fmla="*/ 777881 h 4806848"/>
              <a:gd name="connsiteX7942" fmla="*/ 1400210 w 8978749"/>
              <a:gd name="connsiteY7942" fmla="*/ 836624 h 4806848"/>
              <a:gd name="connsiteX7943" fmla="*/ 1341492 w 8978749"/>
              <a:gd name="connsiteY7943" fmla="*/ 836624 h 4806848"/>
              <a:gd name="connsiteX7944" fmla="*/ 1263672 w 8978749"/>
              <a:gd name="connsiteY7944" fmla="*/ 777881 h 4806848"/>
              <a:gd name="connsiteX7945" fmla="*/ 1320842 w 8978749"/>
              <a:gd name="connsiteY7945" fmla="*/ 777881 h 4806848"/>
              <a:gd name="connsiteX7946" fmla="*/ 1320842 w 8978749"/>
              <a:gd name="connsiteY7946" fmla="*/ 836624 h 4806848"/>
              <a:gd name="connsiteX7947" fmla="*/ 1263672 w 8978749"/>
              <a:gd name="connsiteY7947" fmla="*/ 836624 h 4806848"/>
              <a:gd name="connsiteX7948" fmla="*/ 1184305 w 8978749"/>
              <a:gd name="connsiteY7948" fmla="*/ 777881 h 4806848"/>
              <a:gd name="connsiteX7949" fmla="*/ 1243037 w 8978749"/>
              <a:gd name="connsiteY7949" fmla="*/ 777881 h 4806848"/>
              <a:gd name="connsiteX7950" fmla="*/ 1243037 w 8978749"/>
              <a:gd name="connsiteY7950" fmla="*/ 836624 h 4806848"/>
              <a:gd name="connsiteX7951" fmla="*/ 1184305 w 8978749"/>
              <a:gd name="connsiteY7951" fmla="*/ 836624 h 4806848"/>
              <a:gd name="connsiteX7952" fmla="*/ 1104934 w 8978749"/>
              <a:gd name="connsiteY7952" fmla="*/ 777881 h 4806848"/>
              <a:gd name="connsiteX7953" fmla="*/ 1163668 w 8978749"/>
              <a:gd name="connsiteY7953" fmla="*/ 777881 h 4806848"/>
              <a:gd name="connsiteX7954" fmla="*/ 1163668 w 8978749"/>
              <a:gd name="connsiteY7954" fmla="*/ 836624 h 4806848"/>
              <a:gd name="connsiteX7955" fmla="*/ 1104934 w 8978749"/>
              <a:gd name="connsiteY7955" fmla="*/ 836624 h 4806848"/>
              <a:gd name="connsiteX7956" fmla="*/ 1027135 w 8978749"/>
              <a:gd name="connsiteY7956" fmla="*/ 777881 h 4806848"/>
              <a:gd name="connsiteX7957" fmla="*/ 1084300 w 8978749"/>
              <a:gd name="connsiteY7957" fmla="*/ 777881 h 4806848"/>
              <a:gd name="connsiteX7958" fmla="*/ 1084300 w 8978749"/>
              <a:gd name="connsiteY7958" fmla="*/ 836624 h 4806848"/>
              <a:gd name="connsiteX7959" fmla="*/ 1027135 w 8978749"/>
              <a:gd name="connsiteY7959" fmla="*/ 836624 h 4806848"/>
              <a:gd name="connsiteX7960" fmla="*/ 947757 w 8978749"/>
              <a:gd name="connsiteY7960" fmla="*/ 777881 h 4806848"/>
              <a:gd name="connsiteX7961" fmla="*/ 1004905 w 8978749"/>
              <a:gd name="connsiteY7961" fmla="*/ 777881 h 4806848"/>
              <a:gd name="connsiteX7962" fmla="*/ 1004905 w 8978749"/>
              <a:gd name="connsiteY7962" fmla="*/ 836624 h 4806848"/>
              <a:gd name="connsiteX7963" fmla="*/ 947757 w 8978749"/>
              <a:gd name="connsiteY7963" fmla="*/ 836624 h 4806848"/>
              <a:gd name="connsiteX7964" fmla="*/ 868396 w 8978749"/>
              <a:gd name="connsiteY7964" fmla="*/ 777881 h 4806848"/>
              <a:gd name="connsiteX7965" fmla="*/ 927126 w 8978749"/>
              <a:gd name="connsiteY7965" fmla="*/ 777881 h 4806848"/>
              <a:gd name="connsiteX7966" fmla="*/ 927126 w 8978749"/>
              <a:gd name="connsiteY7966" fmla="*/ 836624 h 4806848"/>
              <a:gd name="connsiteX7967" fmla="*/ 868396 w 8978749"/>
              <a:gd name="connsiteY7967" fmla="*/ 836624 h 4806848"/>
              <a:gd name="connsiteX7968" fmla="*/ 789027 w 8978749"/>
              <a:gd name="connsiteY7968" fmla="*/ 777881 h 4806848"/>
              <a:gd name="connsiteX7969" fmla="*/ 847762 w 8978749"/>
              <a:gd name="connsiteY7969" fmla="*/ 777881 h 4806848"/>
              <a:gd name="connsiteX7970" fmla="*/ 847762 w 8978749"/>
              <a:gd name="connsiteY7970" fmla="*/ 836625 h 4806848"/>
              <a:gd name="connsiteX7971" fmla="*/ 789027 w 8978749"/>
              <a:gd name="connsiteY7971" fmla="*/ 836625 h 4806848"/>
              <a:gd name="connsiteX7972" fmla="*/ 4894111 w 8978749"/>
              <a:gd name="connsiteY7972" fmla="*/ 777878 h 4806848"/>
              <a:gd name="connsiteX7973" fmla="*/ 4952849 w 8978749"/>
              <a:gd name="connsiteY7973" fmla="*/ 777878 h 4806848"/>
              <a:gd name="connsiteX7974" fmla="*/ 4952849 w 8978749"/>
              <a:gd name="connsiteY7974" fmla="*/ 836621 h 4806848"/>
              <a:gd name="connsiteX7975" fmla="*/ 4894111 w 8978749"/>
              <a:gd name="connsiteY7975" fmla="*/ 836621 h 4806848"/>
              <a:gd name="connsiteX7976" fmla="*/ 4814736 w 8978749"/>
              <a:gd name="connsiteY7976" fmla="*/ 777878 h 4806848"/>
              <a:gd name="connsiteX7977" fmla="*/ 4873474 w 8978749"/>
              <a:gd name="connsiteY7977" fmla="*/ 777878 h 4806848"/>
              <a:gd name="connsiteX7978" fmla="*/ 4873474 w 8978749"/>
              <a:gd name="connsiteY7978" fmla="*/ 836621 h 4806848"/>
              <a:gd name="connsiteX7979" fmla="*/ 4814736 w 8978749"/>
              <a:gd name="connsiteY7979" fmla="*/ 836621 h 4806848"/>
              <a:gd name="connsiteX7980" fmla="*/ 4736948 w 8978749"/>
              <a:gd name="connsiteY7980" fmla="*/ 777878 h 4806848"/>
              <a:gd name="connsiteX7981" fmla="*/ 4794098 w 8978749"/>
              <a:gd name="connsiteY7981" fmla="*/ 777878 h 4806848"/>
              <a:gd name="connsiteX7982" fmla="*/ 4794098 w 8978749"/>
              <a:gd name="connsiteY7982" fmla="*/ 836621 h 4806848"/>
              <a:gd name="connsiteX7983" fmla="*/ 4736948 w 8978749"/>
              <a:gd name="connsiteY7983" fmla="*/ 836621 h 4806848"/>
              <a:gd name="connsiteX7984" fmla="*/ 4657573 w 8978749"/>
              <a:gd name="connsiteY7984" fmla="*/ 777878 h 4806848"/>
              <a:gd name="connsiteX7985" fmla="*/ 4716311 w 8978749"/>
              <a:gd name="connsiteY7985" fmla="*/ 777878 h 4806848"/>
              <a:gd name="connsiteX7986" fmla="*/ 4716311 w 8978749"/>
              <a:gd name="connsiteY7986" fmla="*/ 836622 h 4806848"/>
              <a:gd name="connsiteX7987" fmla="*/ 4657573 w 8978749"/>
              <a:gd name="connsiteY7987" fmla="*/ 836622 h 4806848"/>
              <a:gd name="connsiteX7988" fmla="*/ 4578198 w 8978749"/>
              <a:gd name="connsiteY7988" fmla="*/ 777878 h 4806848"/>
              <a:gd name="connsiteX7989" fmla="*/ 4636936 w 8978749"/>
              <a:gd name="connsiteY7989" fmla="*/ 777878 h 4806848"/>
              <a:gd name="connsiteX7990" fmla="*/ 4636936 w 8978749"/>
              <a:gd name="connsiteY7990" fmla="*/ 836622 h 4806848"/>
              <a:gd name="connsiteX7991" fmla="*/ 4578198 w 8978749"/>
              <a:gd name="connsiteY7991" fmla="*/ 836622 h 4806848"/>
              <a:gd name="connsiteX7992" fmla="*/ 3868586 w 8978749"/>
              <a:gd name="connsiteY7992" fmla="*/ 777878 h 4806848"/>
              <a:gd name="connsiteX7993" fmla="*/ 3925736 w 8978749"/>
              <a:gd name="connsiteY7993" fmla="*/ 777878 h 4806848"/>
              <a:gd name="connsiteX7994" fmla="*/ 3925736 w 8978749"/>
              <a:gd name="connsiteY7994" fmla="*/ 836622 h 4806848"/>
              <a:gd name="connsiteX7995" fmla="*/ 3868586 w 8978749"/>
              <a:gd name="connsiteY7995" fmla="*/ 836622 h 4806848"/>
              <a:gd name="connsiteX7996" fmla="*/ 3789211 w 8978749"/>
              <a:gd name="connsiteY7996" fmla="*/ 777878 h 4806848"/>
              <a:gd name="connsiteX7997" fmla="*/ 3847949 w 8978749"/>
              <a:gd name="connsiteY7997" fmla="*/ 777878 h 4806848"/>
              <a:gd name="connsiteX7998" fmla="*/ 3847949 w 8978749"/>
              <a:gd name="connsiteY7998" fmla="*/ 836622 h 4806848"/>
              <a:gd name="connsiteX7999" fmla="*/ 3789211 w 8978749"/>
              <a:gd name="connsiteY7999" fmla="*/ 836622 h 4806848"/>
              <a:gd name="connsiteX8000" fmla="*/ 3314548 w 8978749"/>
              <a:gd name="connsiteY8000" fmla="*/ 777878 h 4806848"/>
              <a:gd name="connsiteX8001" fmla="*/ 3373286 w 8978749"/>
              <a:gd name="connsiteY8001" fmla="*/ 777878 h 4806848"/>
              <a:gd name="connsiteX8002" fmla="*/ 3373286 w 8978749"/>
              <a:gd name="connsiteY8002" fmla="*/ 836622 h 4806848"/>
              <a:gd name="connsiteX8003" fmla="*/ 3314548 w 8978749"/>
              <a:gd name="connsiteY8003" fmla="*/ 836622 h 4806848"/>
              <a:gd name="connsiteX8004" fmla="*/ 3236761 w 8978749"/>
              <a:gd name="connsiteY8004" fmla="*/ 777878 h 4806848"/>
              <a:gd name="connsiteX8005" fmla="*/ 3293911 w 8978749"/>
              <a:gd name="connsiteY8005" fmla="*/ 777878 h 4806848"/>
              <a:gd name="connsiteX8006" fmla="*/ 3293911 w 8978749"/>
              <a:gd name="connsiteY8006" fmla="*/ 836622 h 4806848"/>
              <a:gd name="connsiteX8007" fmla="*/ 3236761 w 8978749"/>
              <a:gd name="connsiteY8007" fmla="*/ 836622 h 4806848"/>
              <a:gd name="connsiteX8008" fmla="*/ 3157386 w 8978749"/>
              <a:gd name="connsiteY8008" fmla="*/ 777878 h 4806848"/>
              <a:gd name="connsiteX8009" fmla="*/ 3216124 w 8978749"/>
              <a:gd name="connsiteY8009" fmla="*/ 777878 h 4806848"/>
              <a:gd name="connsiteX8010" fmla="*/ 3216124 w 8978749"/>
              <a:gd name="connsiteY8010" fmla="*/ 836622 h 4806848"/>
              <a:gd name="connsiteX8011" fmla="*/ 3157386 w 8978749"/>
              <a:gd name="connsiteY8011" fmla="*/ 836622 h 4806848"/>
              <a:gd name="connsiteX8012" fmla="*/ 3078011 w 8978749"/>
              <a:gd name="connsiteY8012" fmla="*/ 777878 h 4806848"/>
              <a:gd name="connsiteX8013" fmla="*/ 3136749 w 8978749"/>
              <a:gd name="connsiteY8013" fmla="*/ 777878 h 4806848"/>
              <a:gd name="connsiteX8014" fmla="*/ 3136749 w 8978749"/>
              <a:gd name="connsiteY8014" fmla="*/ 836622 h 4806848"/>
              <a:gd name="connsiteX8015" fmla="*/ 3078011 w 8978749"/>
              <a:gd name="connsiteY8015" fmla="*/ 836622 h 4806848"/>
              <a:gd name="connsiteX8016" fmla="*/ 3000223 w 8978749"/>
              <a:gd name="connsiteY8016" fmla="*/ 777878 h 4806848"/>
              <a:gd name="connsiteX8017" fmla="*/ 3057373 w 8978749"/>
              <a:gd name="connsiteY8017" fmla="*/ 777878 h 4806848"/>
              <a:gd name="connsiteX8018" fmla="*/ 3057373 w 8978749"/>
              <a:gd name="connsiteY8018" fmla="*/ 836622 h 4806848"/>
              <a:gd name="connsiteX8019" fmla="*/ 3000223 w 8978749"/>
              <a:gd name="connsiteY8019" fmla="*/ 836622 h 4806848"/>
              <a:gd name="connsiteX8020" fmla="*/ 2920848 w 8978749"/>
              <a:gd name="connsiteY8020" fmla="*/ 777878 h 4806848"/>
              <a:gd name="connsiteX8021" fmla="*/ 2979586 w 8978749"/>
              <a:gd name="connsiteY8021" fmla="*/ 777878 h 4806848"/>
              <a:gd name="connsiteX8022" fmla="*/ 2979586 w 8978749"/>
              <a:gd name="connsiteY8022" fmla="*/ 836622 h 4806848"/>
              <a:gd name="connsiteX8023" fmla="*/ 2920848 w 8978749"/>
              <a:gd name="connsiteY8023" fmla="*/ 836622 h 4806848"/>
              <a:gd name="connsiteX8024" fmla="*/ 2684311 w 8978749"/>
              <a:gd name="connsiteY8024" fmla="*/ 777878 h 4806848"/>
              <a:gd name="connsiteX8025" fmla="*/ 2743049 w 8978749"/>
              <a:gd name="connsiteY8025" fmla="*/ 777878 h 4806848"/>
              <a:gd name="connsiteX8026" fmla="*/ 2743049 w 8978749"/>
              <a:gd name="connsiteY8026" fmla="*/ 836623 h 4806848"/>
              <a:gd name="connsiteX8027" fmla="*/ 2684311 w 8978749"/>
              <a:gd name="connsiteY8027" fmla="*/ 836623 h 4806848"/>
              <a:gd name="connsiteX8028" fmla="*/ 2604936 w 8978749"/>
              <a:gd name="connsiteY8028" fmla="*/ 777878 h 4806848"/>
              <a:gd name="connsiteX8029" fmla="*/ 2663674 w 8978749"/>
              <a:gd name="connsiteY8029" fmla="*/ 777878 h 4806848"/>
              <a:gd name="connsiteX8030" fmla="*/ 2663674 w 8978749"/>
              <a:gd name="connsiteY8030" fmla="*/ 836623 h 4806848"/>
              <a:gd name="connsiteX8031" fmla="*/ 2604936 w 8978749"/>
              <a:gd name="connsiteY8031" fmla="*/ 836623 h 4806848"/>
              <a:gd name="connsiteX8032" fmla="*/ 2525748 w 8978749"/>
              <a:gd name="connsiteY8032" fmla="*/ 777878 h 4806848"/>
              <a:gd name="connsiteX8033" fmla="*/ 2584483 w 8978749"/>
              <a:gd name="connsiteY8033" fmla="*/ 777878 h 4806848"/>
              <a:gd name="connsiteX8034" fmla="*/ 2584483 w 8978749"/>
              <a:gd name="connsiteY8034" fmla="*/ 836623 h 4806848"/>
              <a:gd name="connsiteX8035" fmla="*/ 2525748 w 8978749"/>
              <a:gd name="connsiteY8035" fmla="*/ 836623 h 4806848"/>
              <a:gd name="connsiteX8036" fmla="*/ 2447953 w 8978749"/>
              <a:gd name="connsiteY8036" fmla="*/ 777878 h 4806848"/>
              <a:gd name="connsiteX8037" fmla="*/ 2505114 w 8978749"/>
              <a:gd name="connsiteY8037" fmla="*/ 777878 h 4806848"/>
              <a:gd name="connsiteX8038" fmla="*/ 2505114 w 8978749"/>
              <a:gd name="connsiteY8038" fmla="*/ 836623 h 4806848"/>
              <a:gd name="connsiteX8039" fmla="*/ 2447953 w 8978749"/>
              <a:gd name="connsiteY8039" fmla="*/ 836623 h 4806848"/>
              <a:gd name="connsiteX8040" fmla="*/ 2209830 w 8978749"/>
              <a:gd name="connsiteY8040" fmla="*/ 777878 h 4806848"/>
              <a:gd name="connsiteX8041" fmla="*/ 2268572 w 8978749"/>
              <a:gd name="connsiteY8041" fmla="*/ 777878 h 4806848"/>
              <a:gd name="connsiteX8042" fmla="*/ 2268572 w 8978749"/>
              <a:gd name="connsiteY8042" fmla="*/ 836623 h 4806848"/>
              <a:gd name="connsiteX8043" fmla="*/ 2209830 w 8978749"/>
              <a:gd name="connsiteY8043" fmla="*/ 836623 h 4806848"/>
              <a:gd name="connsiteX8044" fmla="*/ 2132040 w 8978749"/>
              <a:gd name="connsiteY8044" fmla="*/ 777878 h 4806848"/>
              <a:gd name="connsiteX8045" fmla="*/ 2189196 w 8978749"/>
              <a:gd name="connsiteY8045" fmla="*/ 777878 h 4806848"/>
              <a:gd name="connsiteX8046" fmla="*/ 2189196 w 8978749"/>
              <a:gd name="connsiteY8046" fmla="*/ 836623 h 4806848"/>
              <a:gd name="connsiteX8047" fmla="*/ 2132040 w 8978749"/>
              <a:gd name="connsiteY8047" fmla="*/ 836623 h 4806848"/>
              <a:gd name="connsiteX8048" fmla="*/ 2052659 w 8978749"/>
              <a:gd name="connsiteY8048" fmla="*/ 777878 h 4806848"/>
              <a:gd name="connsiteX8049" fmla="*/ 2111406 w 8978749"/>
              <a:gd name="connsiteY8049" fmla="*/ 777878 h 4806848"/>
              <a:gd name="connsiteX8050" fmla="*/ 2111406 w 8978749"/>
              <a:gd name="connsiteY8050" fmla="*/ 836623 h 4806848"/>
              <a:gd name="connsiteX8051" fmla="*/ 2052659 w 8978749"/>
              <a:gd name="connsiteY8051" fmla="*/ 836623 h 4806848"/>
              <a:gd name="connsiteX8052" fmla="*/ 1973282 w 8978749"/>
              <a:gd name="connsiteY8052" fmla="*/ 777878 h 4806848"/>
              <a:gd name="connsiteX8053" fmla="*/ 2032028 w 8978749"/>
              <a:gd name="connsiteY8053" fmla="*/ 777878 h 4806848"/>
              <a:gd name="connsiteX8054" fmla="*/ 2032028 w 8978749"/>
              <a:gd name="connsiteY8054" fmla="*/ 836623 h 4806848"/>
              <a:gd name="connsiteX8055" fmla="*/ 1973282 w 8978749"/>
              <a:gd name="connsiteY8055" fmla="*/ 836623 h 4806848"/>
              <a:gd name="connsiteX8056" fmla="*/ 1893904 w 8978749"/>
              <a:gd name="connsiteY8056" fmla="*/ 777878 h 4806848"/>
              <a:gd name="connsiteX8057" fmla="*/ 1952641 w 8978749"/>
              <a:gd name="connsiteY8057" fmla="*/ 777878 h 4806848"/>
              <a:gd name="connsiteX8058" fmla="*/ 1952641 w 8978749"/>
              <a:gd name="connsiteY8058" fmla="*/ 836623 h 4806848"/>
              <a:gd name="connsiteX8059" fmla="*/ 1893904 w 8978749"/>
              <a:gd name="connsiteY8059" fmla="*/ 836623 h 4806848"/>
              <a:gd name="connsiteX8060" fmla="*/ 1816142 w 8978749"/>
              <a:gd name="connsiteY8060" fmla="*/ 777878 h 4806848"/>
              <a:gd name="connsiteX8061" fmla="*/ 1873275 w 8978749"/>
              <a:gd name="connsiteY8061" fmla="*/ 777878 h 4806848"/>
              <a:gd name="connsiteX8062" fmla="*/ 1873275 w 8978749"/>
              <a:gd name="connsiteY8062" fmla="*/ 836623 h 4806848"/>
              <a:gd name="connsiteX8063" fmla="*/ 1816142 w 8978749"/>
              <a:gd name="connsiteY8063" fmla="*/ 836623 h 4806848"/>
              <a:gd name="connsiteX8064" fmla="*/ 1736768 w 8978749"/>
              <a:gd name="connsiteY8064" fmla="*/ 777878 h 4806848"/>
              <a:gd name="connsiteX8065" fmla="*/ 1795513 w 8978749"/>
              <a:gd name="connsiteY8065" fmla="*/ 777878 h 4806848"/>
              <a:gd name="connsiteX8066" fmla="*/ 1795513 w 8978749"/>
              <a:gd name="connsiteY8066" fmla="*/ 836623 h 4806848"/>
              <a:gd name="connsiteX8067" fmla="*/ 1736768 w 8978749"/>
              <a:gd name="connsiteY8067" fmla="*/ 836623 h 4806848"/>
              <a:gd name="connsiteX8068" fmla="*/ 1657386 w 8978749"/>
              <a:gd name="connsiteY8068" fmla="*/ 777878 h 4806848"/>
              <a:gd name="connsiteX8069" fmla="*/ 1716130 w 8978749"/>
              <a:gd name="connsiteY8069" fmla="*/ 777878 h 4806848"/>
              <a:gd name="connsiteX8070" fmla="*/ 1716130 w 8978749"/>
              <a:gd name="connsiteY8070" fmla="*/ 836624 h 4806848"/>
              <a:gd name="connsiteX8071" fmla="*/ 1657386 w 8978749"/>
              <a:gd name="connsiteY8071" fmla="*/ 836624 h 4806848"/>
              <a:gd name="connsiteX8072" fmla="*/ 1577997 w 8978749"/>
              <a:gd name="connsiteY8072" fmla="*/ 777878 h 4806848"/>
              <a:gd name="connsiteX8073" fmla="*/ 1636754 w 8978749"/>
              <a:gd name="connsiteY8073" fmla="*/ 777878 h 4806848"/>
              <a:gd name="connsiteX8074" fmla="*/ 1636754 w 8978749"/>
              <a:gd name="connsiteY8074" fmla="*/ 836624 h 4806848"/>
              <a:gd name="connsiteX8075" fmla="*/ 1577997 w 8978749"/>
              <a:gd name="connsiteY8075" fmla="*/ 836624 h 4806848"/>
              <a:gd name="connsiteX8076" fmla="*/ 8762849 w 8978749"/>
              <a:gd name="connsiteY8076" fmla="*/ 700117 h 4806848"/>
              <a:gd name="connsiteX8077" fmla="*/ 8821587 w 8978749"/>
              <a:gd name="connsiteY8077" fmla="*/ 700117 h 4806848"/>
              <a:gd name="connsiteX8078" fmla="*/ 8821587 w 8978749"/>
              <a:gd name="connsiteY8078" fmla="*/ 758866 h 4806848"/>
              <a:gd name="connsiteX8079" fmla="*/ 8762849 w 8978749"/>
              <a:gd name="connsiteY8079" fmla="*/ 758866 h 4806848"/>
              <a:gd name="connsiteX8080" fmla="*/ 8683474 w 8978749"/>
              <a:gd name="connsiteY8080" fmla="*/ 700117 h 4806848"/>
              <a:gd name="connsiteX8081" fmla="*/ 8742212 w 8978749"/>
              <a:gd name="connsiteY8081" fmla="*/ 700117 h 4806848"/>
              <a:gd name="connsiteX8082" fmla="*/ 8742212 w 8978749"/>
              <a:gd name="connsiteY8082" fmla="*/ 758866 h 4806848"/>
              <a:gd name="connsiteX8083" fmla="*/ 8683474 w 8978749"/>
              <a:gd name="connsiteY8083" fmla="*/ 758866 h 4806848"/>
              <a:gd name="connsiteX8084" fmla="*/ 8604099 w 8978749"/>
              <a:gd name="connsiteY8084" fmla="*/ 700117 h 4806848"/>
              <a:gd name="connsiteX8085" fmla="*/ 8662837 w 8978749"/>
              <a:gd name="connsiteY8085" fmla="*/ 700117 h 4806848"/>
              <a:gd name="connsiteX8086" fmla="*/ 8662837 w 8978749"/>
              <a:gd name="connsiteY8086" fmla="*/ 758866 h 4806848"/>
              <a:gd name="connsiteX8087" fmla="*/ 8604099 w 8978749"/>
              <a:gd name="connsiteY8087" fmla="*/ 758866 h 4806848"/>
              <a:gd name="connsiteX8088" fmla="*/ 8526311 w 8978749"/>
              <a:gd name="connsiteY8088" fmla="*/ 700117 h 4806848"/>
              <a:gd name="connsiteX8089" fmla="*/ 8583461 w 8978749"/>
              <a:gd name="connsiteY8089" fmla="*/ 700117 h 4806848"/>
              <a:gd name="connsiteX8090" fmla="*/ 8583461 w 8978749"/>
              <a:gd name="connsiteY8090" fmla="*/ 758866 h 4806848"/>
              <a:gd name="connsiteX8091" fmla="*/ 8526311 w 8978749"/>
              <a:gd name="connsiteY8091" fmla="*/ 758866 h 4806848"/>
              <a:gd name="connsiteX8092" fmla="*/ 8446936 w 8978749"/>
              <a:gd name="connsiteY8092" fmla="*/ 700117 h 4806848"/>
              <a:gd name="connsiteX8093" fmla="*/ 8505674 w 8978749"/>
              <a:gd name="connsiteY8093" fmla="*/ 700117 h 4806848"/>
              <a:gd name="connsiteX8094" fmla="*/ 8505674 w 8978749"/>
              <a:gd name="connsiteY8094" fmla="*/ 758866 h 4806848"/>
              <a:gd name="connsiteX8095" fmla="*/ 8446936 w 8978749"/>
              <a:gd name="connsiteY8095" fmla="*/ 758866 h 4806848"/>
              <a:gd name="connsiteX8096" fmla="*/ 8367561 w 8978749"/>
              <a:gd name="connsiteY8096" fmla="*/ 700117 h 4806848"/>
              <a:gd name="connsiteX8097" fmla="*/ 8426299 w 8978749"/>
              <a:gd name="connsiteY8097" fmla="*/ 700117 h 4806848"/>
              <a:gd name="connsiteX8098" fmla="*/ 8426299 w 8978749"/>
              <a:gd name="connsiteY8098" fmla="*/ 758866 h 4806848"/>
              <a:gd name="connsiteX8099" fmla="*/ 8367561 w 8978749"/>
              <a:gd name="connsiteY8099" fmla="*/ 758866 h 4806848"/>
              <a:gd name="connsiteX8100" fmla="*/ 8289774 w 8978749"/>
              <a:gd name="connsiteY8100" fmla="*/ 700117 h 4806848"/>
              <a:gd name="connsiteX8101" fmla="*/ 8346924 w 8978749"/>
              <a:gd name="connsiteY8101" fmla="*/ 700117 h 4806848"/>
              <a:gd name="connsiteX8102" fmla="*/ 8346924 w 8978749"/>
              <a:gd name="connsiteY8102" fmla="*/ 758866 h 4806848"/>
              <a:gd name="connsiteX8103" fmla="*/ 8289774 w 8978749"/>
              <a:gd name="connsiteY8103" fmla="*/ 758866 h 4806848"/>
              <a:gd name="connsiteX8104" fmla="*/ 8210399 w 8978749"/>
              <a:gd name="connsiteY8104" fmla="*/ 700117 h 4806848"/>
              <a:gd name="connsiteX8105" fmla="*/ 8267549 w 8978749"/>
              <a:gd name="connsiteY8105" fmla="*/ 700117 h 4806848"/>
              <a:gd name="connsiteX8106" fmla="*/ 8267549 w 8978749"/>
              <a:gd name="connsiteY8106" fmla="*/ 758866 h 4806848"/>
              <a:gd name="connsiteX8107" fmla="*/ 8210399 w 8978749"/>
              <a:gd name="connsiteY8107" fmla="*/ 758866 h 4806848"/>
              <a:gd name="connsiteX8108" fmla="*/ 8131024 w 8978749"/>
              <a:gd name="connsiteY8108" fmla="*/ 700117 h 4806848"/>
              <a:gd name="connsiteX8109" fmla="*/ 8189762 w 8978749"/>
              <a:gd name="connsiteY8109" fmla="*/ 700117 h 4806848"/>
              <a:gd name="connsiteX8110" fmla="*/ 8189762 w 8978749"/>
              <a:gd name="connsiteY8110" fmla="*/ 758866 h 4806848"/>
              <a:gd name="connsiteX8111" fmla="*/ 8131024 w 8978749"/>
              <a:gd name="connsiteY8111" fmla="*/ 758866 h 4806848"/>
              <a:gd name="connsiteX8112" fmla="*/ 8051649 w 8978749"/>
              <a:gd name="connsiteY8112" fmla="*/ 700117 h 4806848"/>
              <a:gd name="connsiteX8113" fmla="*/ 8110387 w 8978749"/>
              <a:gd name="connsiteY8113" fmla="*/ 700117 h 4806848"/>
              <a:gd name="connsiteX8114" fmla="*/ 8110387 w 8978749"/>
              <a:gd name="connsiteY8114" fmla="*/ 758866 h 4806848"/>
              <a:gd name="connsiteX8115" fmla="*/ 8051649 w 8978749"/>
              <a:gd name="connsiteY8115" fmla="*/ 758866 h 4806848"/>
              <a:gd name="connsiteX8116" fmla="*/ 7973861 w 8978749"/>
              <a:gd name="connsiteY8116" fmla="*/ 700117 h 4806848"/>
              <a:gd name="connsiteX8117" fmla="*/ 8031011 w 8978749"/>
              <a:gd name="connsiteY8117" fmla="*/ 700117 h 4806848"/>
              <a:gd name="connsiteX8118" fmla="*/ 8031011 w 8978749"/>
              <a:gd name="connsiteY8118" fmla="*/ 758866 h 4806848"/>
              <a:gd name="connsiteX8119" fmla="*/ 7973861 w 8978749"/>
              <a:gd name="connsiteY8119" fmla="*/ 758866 h 4806848"/>
              <a:gd name="connsiteX8120" fmla="*/ 7894486 w 8978749"/>
              <a:gd name="connsiteY8120" fmla="*/ 700117 h 4806848"/>
              <a:gd name="connsiteX8121" fmla="*/ 7951636 w 8978749"/>
              <a:gd name="connsiteY8121" fmla="*/ 700117 h 4806848"/>
              <a:gd name="connsiteX8122" fmla="*/ 7951636 w 8978749"/>
              <a:gd name="connsiteY8122" fmla="*/ 758866 h 4806848"/>
              <a:gd name="connsiteX8123" fmla="*/ 7894486 w 8978749"/>
              <a:gd name="connsiteY8123" fmla="*/ 758866 h 4806848"/>
              <a:gd name="connsiteX8124" fmla="*/ 7815111 w 8978749"/>
              <a:gd name="connsiteY8124" fmla="*/ 700117 h 4806848"/>
              <a:gd name="connsiteX8125" fmla="*/ 7873849 w 8978749"/>
              <a:gd name="connsiteY8125" fmla="*/ 700117 h 4806848"/>
              <a:gd name="connsiteX8126" fmla="*/ 7873849 w 8978749"/>
              <a:gd name="connsiteY8126" fmla="*/ 758866 h 4806848"/>
              <a:gd name="connsiteX8127" fmla="*/ 7815111 w 8978749"/>
              <a:gd name="connsiteY8127" fmla="*/ 758866 h 4806848"/>
              <a:gd name="connsiteX8128" fmla="*/ 7735736 w 8978749"/>
              <a:gd name="connsiteY8128" fmla="*/ 700117 h 4806848"/>
              <a:gd name="connsiteX8129" fmla="*/ 7794474 w 8978749"/>
              <a:gd name="connsiteY8129" fmla="*/ 700117 h 4806848"/>
              <a:gd name="connsiteX8130" fmla="*/ 7794474 w 8978749"/>
              <a:gd name="connsiteY8130" fmla="*/ 758866 h 4806848"/>
              <a:gd name="connsiteX8131" fmla="*/ 7735736 w 8978749"/>
              <a:gd name="connsiteY8131" fmla="*/ 758866 h 4806848"/>
              <a:gd name="connsiteX8132" fmla="*/ 7657949 w 8978749"/>
              <a:gd name="connsiteY8132" fmla="*/ 700117 h 4806848"/>
              <a:gd name="connsiteX8133" fmla="*/ 7715099 w 8978749"/>
              <a:gd name="connsiteY8133" fmla="*/ 700117 h 4806848"/>
              <a:gd name="connsiteX8134" fmla="*/ 7715099 w 8978749"/>
              <a:gd name="connsiteY8134" fmla="*/ 758866 h 4806848"/>
              <a:gd name="connsiteX8135" fmla="*/ 7657949 w 8978749"/>
              <a:gd name="connsiteY8135" fmla="*/ 758866 h 4806848"/>
              <a:gd name="connsiteX8136" fmla="*/ 7578574 w 8978749"/>
              <a:gd name="connsiteY8136" fmla="*/ 700117 h 4806848"/>
              <a:gd name="connsiteX8137" fmla="*/ 7637312 w 8978749"/>
              <a:gd name="connsiteY8137" fmla="*/ 700117 h 4806848"/>
              <a:gd name="connsiteX8138" fmla="*/ 7637312 w 8978749"/>
              <a:gd name="connsiteY8138" fmla="*/ 758866 h 4806848"/>
              <a:gd name="connsiteX8139" fmla="*/ 7578574 w 8978749"/>
              <a:gd name="connsiteY8139" fmla="*/ 758866 h 4806848"/>
              <a:gd name="connsiteX8140" fmla="*/ 7499199 w 8978749"/>
              <a:gd name="connsiteY8140" fmla="*/ 700117 h 4806848"/>
              <a:gd name="connsiteX8141" fmla="*/ 7557937 w 8978749"/>
              <a:gd name="connsiteY8141" fmla="*/ 700117 h 4806848"/>
              <a:gd name="connsiteX8142" fmla="*/ 7557937 w 8978749"/>
              <a:gd name="connsiteY8142" fmla="*/ 758866 h 4806848"/>
              <a:gd name="connsiteX8143" fmla="*/ 7499199 w 8978749"/>
              <a:gd name="connsiteY8143" fmla="*/ 758866 h 4806848"/>
              <a:gd name="connsiteX8144" fmla="*/ 7419824 w 8978749"/>
              <a:gd name="connsiteY8144" fmla="*/ 700117 h 4806848"/>
              <a:gd name="connsiteX8145" fmla="*/ 7478562 w 8978749"/>
              <a:gd name="connsiteY8145" fmla="*/ 700117 h 4806848"/>
              <a:gd name="connsiteX8146" fmla="*/ 7478562 w 8978749"/>
              <a:gd name="connsiteY8146" fmla="*/ 758866 h 4806848"/>
              <a:gd name="connsiteX8147" fmla="*/ 7419824 w 8978749"/>
              <a:gd name="connsiteY8147" fmla="*/ 758866 h 4806848"/>
              <a:gd name="connsiteX8148" fmla="*/ 7342036 w 8978749"/>
              <a:gd name="connsiteY8148" fmla="*/ 700117 h 4806848"/>
              <a:gd name="connsiteX8149" fmla="*/ 7400774 w 8978749"/>
              <a:gd name="connsiteY8149" fmla="*/ 700117 h 4806848"/>
              <a:gd name="connsiteX8150" fmla="*/ 7400774 w 8978749"/>
              <a:gd name="connsiteY8150" fmla="*/ 758866 h 4806848"/>
              <a:gd name="connsiteX8151" fmla="*/ 7342036 w 8978749"/>
              <a:gd name="connsiteY8151" fmla="*/ 758866 h 4806848"/>
              <a:gd name="connsiteX8152" fmla="*/ 7262661 w 8978749"/>
              <a:gd name="connsiteY8152" fmla="*/ 700117 h 4806848"/>
              <a:gd name="connsiteX8153" fmla="*/ 7321399 w 8978749"/>
              <a:gd name="connsiteY8153" fmla="*/ 700117 h 4806848"/>
              <a:gd name="connsiteX8154" fmla="*/ 7321399 w 8978749"/>
              <a:gd name="connsiteY8154" fmla="*/ 758866 h 4806848"/>
              <a:gd name="connsiteX8155" fmla="*/ 7262661 w 8978749"/>
              <a:gd name="connsiteY8155" fmla="*/ 758866 h 4806848"/>
              <a:gd name="connsiteX8156" fmla="*/ 7183286 w 8978749"/>
              <a:gd name="connsiteY8156" fmla="*/ 700117 h 4806848"/>
              <a:gd name="connsiteX8157" fmla="*/ 7242024 w 8978749"/>
              <a:gd name="connsiteY8157" fmla="*/ 700117 h 4806848"/>
              <a:gd name="connsiteX8158" fmla="*/ 7242024 w 8978749"/>
              <a:gd name="connsiteY8158" fmla="*/ 758866 h 4806848"/>
              <a:gd name="connsiteX8159" fmla="*/ 7183286 w 8978749"/>
              <a:gd name="connsiteY8159" fmla="*/ 758866 h 4806848"/>
              <a:gd name="connsiteX8160" fmla="*/ 7105499 w 8978749"/>
              <a:gd name="connsiteY8160" fmla="*/ 700117 h 4806848"/>
              <a:gd name="connsiteX8161" fmla="*/ 7162649 w 8978749"/>
              <a:gd name="connsiteY8161" fmla="*/ 700117 h 4806848"/>
              <a:gd name="connsiteX8162" fmla="*/ 7162649 w 8978749"/>
              <a:gd name="connsiteY8162" fmla="*/ 758866 h 4806848"/>
              <a:gd name="connsiteX8163" fmla="*/ 7105499 w 8978749"/>
              <a:gd name="connsiteY8163" fmla="*/ 758866 h 4806848"/>
              <a:gd name="connsiteX8164" fmla="*/ 7026124 w 8978749"/>
              <a:gd name="connsiteY8164" fmla="*/ 700117 h 4806848"/>
              <a:gd name="connsiteX8165" fmla="*/ 7084862 w 8978749"/>
              <a:gd name="connsiteY8165" fmla="*/ 700117 h 4806848"/>
              <a:gd name="connsiteX8166" fmla="*/ 7084862 w 8978749"/>
              <a:gd name="connsiteY8166" fmla="*/ 758866 h 4806848"/>
              <a:gd name="connsiteX8167" fmla="*/ 7026124 w 8978749"/>
              <a:gd name="connsiteY8167" fmla="*/ 758866 h 4806848"/>
              <a:gd name="connsiteX8168" fmla="*/ 6946749 w 8978749"/>
              <a:gd name="connsiteY8168" fmla="*/ 700117 h 4806848"/>
              <a:gd name="connsiteX8169" fmla="*/ 7005487 w 8978749"/>
              <a:gd name="connsiteY8169" fmla="*/ 700117 h 4806848"/>
              <a:gd name="connsiteX8170" fmla="*/ 7005487 w 8978749"/>
              <a:gd name="connsiteY8170" fmla="*/ 758866 h 4806848"/>
              <a:gd name="connsiteX8171" fmla="*/ 6946749 w 8978749"/>
              <a:gd name="connsiteY8171" fmla="*/ 758866 h 4806848"/>
              <a:gd name="connsiteX8172" fmla="*/ 6867374 w 8978749"/>
              <a:gd name="connsiteY8172" fmla="*/ 700117 h 4806848"/>
              <a:gd name="connsiteX8173" fmla="*/ 6926112 w 8978749"/>
              <a:gd name="connsiteY8173" fmla="*/ 700117 h 4806848"/>
              <a:gd name="connsiteX8174" fmla="*/ 6926112 w 8978749"/>
              <a:gd name="connsiteY8174" fmla="*/ 758866 h 4806848"/>
              <a:gd name="connsiteX8175" fmla="*/ 6867374 w 8978749"/>
              <a:gd name="connsiteY8175" fmla="*/ 758866 h 4806848"/>
              <a:gd name="connsiteX8176" fmla="*/ 6789586 w 8978749"/>
              <a:gd name="connsiteY8176" fmla="*/ 700117 h 4806848"/>
              <a:gd name="connsiteX8177" fmla="*/ 6846736 w 8978749"/>
              <a:gd name="connsiteY8177" fmla="*/ 700117 h 4806848"/>
              <a:gd name="connsiteX8178" fmla="*/ 6846736 w 8978749"/>
              <a:gd name="connsiteY8178" fmla="*/ 758866 h 4806848"/>
              <a:gd name="connsiteX8179" fmla="*/ 6789586 w 8978749"/>
              <a:gd name="connsiteY8179" fmla="*/ 758866 h 4806848"/>
              <a:gd name="connsiteX8180" fmla="*/ 6710211 w 8978749"/>
              <a:gd name="connsiteY8180" fmla="*/ 700117 h 4806848"/>
              <a:gd name="connsiteX8181" fmla="*/ 6768949 w 8978749"/>
              <a:gd name="connsiteY8181" fmla="*/ 700117 h 4806848"/>
              <a:gd name="connsiteX8182" fmla="*/ 6768949 w 8978749"/>
              <a:gd name="connsiteY8182" fmla="*/ 758866 h 4806848"/>
              <a:gd name="connsiteX8183" fmla="*/ 6710211 w 8978749"/>
              <a:gd name="connsiteY8183" fmla="*/ 758866 h 4806848"/>
              <a:gd name="connsiteX8184" fmla="*/ 6630836 w 8978749"/>
              <a:gd name="connsiteY8184" fmla="*/ 700117 h 4806848"/>
              <a:gd name="connsiteX8185" fmla="*/ 6689574 w 8978749"/>
              <a:gd name="connsiteY8185" fmla="*/ 700117 h 4806848"/>
              <a:gd name="connsiteX8186" fmla="*/ 6689574 w 8978749"/>
              <a:gd name="connsiteY8186" fmla="*/ 758866 h 4806848"/>
              <a:gd name="connsiteX8187" fmla="*/ 6630836 w 8978749"/>
              <a:gd name="connsiteY8187" fmla="*/ 758866 h 4806848"/>
              <a:gd name="connsiteX8188" fmla="*/ 6551461 w 8978749"/>
              <a:gd name="connsiteY8188" fmla="*/ 700117 h 4806848"/>
              <a:gd name="connsiteX8189" fmla="*/ 6610199 w 8978749"/>
              <a:gd name="connsiteY8189" fmla="*/ 700117 h 4806848"/>
              <a:gd name="connsiteX8190" fmla="*/ 6610199 w 8978749"/>
              <a:gd name="connsiteY8190" fmla="*/ 758866 h 4806848"/>
              <a:gd name="connsiteX8191" fmla="*/ 6551461 w 8978749"/>
              <a:gd name="connsiteY8191" fmla="*/ 758866 h 4806848"/>
              <a:gd name="connsiteX8192" fmla="*/ 6473674 w 8978749"/>
              <a:gd name="connsiteY8192" fmla="*/ 700117 h 4806848"/>
              <a:gd name="connsiteX8193" fmla="*/ 6530824 w 8978749"/>
              <a:gd name="connsiteY8193" fmla="*/ 700117 h 4806848"/>
              <a:gd name="connsiteX8194" fmla="*/ 6530824 w 8978749"/>
              <a:gd name="connsiteY8194" fmla="*/ 758866 h 4806848"/>
              <a:gd name="connsiteX8195" fmla="*/ 6473674 w 8978749"/>
              <a:gd name="connsiteY8195" fmla="*/ 758866 h 4806848"/>
              <a:gd name="connsiteX8196" fmla="*/ 6394299 w 8978749"/>
              <a:gd name="connsiteY8196" fmla="*/ 700117 h 4806848"/>
              <a:gd name="connsiteX8197" fmla="*/ 6453037 w 8978749"/>
              <a:gd name="connsiteY8197" fmla="*/ 700117 h 4806848"/>
              <a:gd name="connsiteX8198" fmla="*/ 6453037 w 8978749"/>
              <a:gd name="connsiteY8198" fmla="*/ 758866 h 4806848"/>
              <a:gd name="connsiteX8199" fmla="*/ 6394299 w 8978749"/>
              <a:gd name="connsiteY8199" fmla="*/ 758866 h 4806848"/>
              <a:gd name="connsiteX8200" fmla="*/ 6314924 w 8978749"/>
              <a:gd name="connsiteY8200" fmla="*/ 700117 h 4806848"/>
              <a:gd name="connsiteX8201" fmla="*/ 6373662 w 8978749"/>
              <a:gd name="connsiteY8201" fmla="*/ 700117 h 4806848"/>
              <a:gd name="connsiteX8202" fmla="*/ 6373662 w 8978749"/>
              <a:gd name="connsiteY8202" fmla="*/ 758866 h 4806848"/>
              <a:gd name="connsiteX8203" fmla="*/ 6314924 w 8978749"/>
              <a:gd name="connsiteY8203" fmla="*/ 758866 h 4806848"/>
              <a:gd name="connsiteX8204" fmla="*/ 6235549 w 8978749"/>
              <a:gd name="connsiteY8204" fmla="*/ 700117 h 4806848"/>
              <a:gd name="connsiteX8205" fmla="*/ 6294287 w 8978749"/>
              <a:gd name="connsiteY8205" fmla="*/ 700117 h 4806848"/>
              <a:gd name="connsiteX8206" fmla="*/ 6294287 w 8978749"/>
              <a:gd name="connsiteY8206" fmla="*/ 758866 h 4806848"/>
              <a:gd name="connsiteX8207" fmla="*/ 6235549 w 8978749"/>
              <a:gd name="connsiteY8207" fmla="*/ 758866 h 4806848"/>
              <a:gd name="connsiteX8208" fmla="*/ 5999011 w 8978749"/>
              <a:gd name="connsiteY8208" fmla="*/ 700117 h 4806848"/>
              <a:gd name="connsiteX8209" fmla="*/ 6057749 w 8978749"/>
              <a:gd name="connsiteY8209" fmla="*/ 700117 h 4806848"/>
              <a:gd name="connsiteX8210" fmla="*/ 6057749 w 8978749"/>
              <a:gd name="connsiteY8210" fmla="*/ 758866 h 4806848"/>
              <a:gd name="connsiteX8211" fmla="*/ 5999011 w 8978749"/>
              <a:gd name="connsiteY8211" fmla="*/ 758866 h 4806848"/>
              <a:gd name="connsiteX8212" fmla="*/ 5921224 w 8978749"/>
              <a:gd name="connsiteY8212" fmla="*/ 700117 h 4806848"/>
              <a:gd name="connsiteX8213" fmla="*/ 5978374 w 8978749"/>
              <a:gd name="connsiteY8213" fmla="*/ 700117 h 4806848"/>
              <a:gd name="connsiteX8214" fmla="*/ 5978374 w 8978749"/>
              <a:gd name="connsiteY8214" fmla="*/ 758866 h 4806848"/>
              <a:gd name="connsiteX8215" fmla="*/ 5921224 w 8978749"/>
              <a:gd name="connsiteY8215" fmla="*/ 758866 h 4806848"/>
              <a:gd name="connsiteX8216" fmla="*/ 5841849 w 8978749"/>
              <a:gd name="connsiteY8216" fmla="*/ 700117 h 4806848"/>
              <a:gd name="connsiteX8217" fmla="*/ 5900587 w 8978749"/>
              <a:gd name="connsiteY8217" fmla="*/ 700117 h 4806848"/>
              <a:gd name="connsiteX8218" fmla="*/ 5900587 w 8978749"/>
              <a:gd name="connsiteY8218" fmla="*/ 758866 h 4806848"/>
              <a:gd name="connsiteX8219" fmla="*/ 5841849 w 8978749"/>
              <a:gd name="connsiteY8219" fmla="*/ 758866 h 4806848"/>
              <a:gd name="connsiteX8220" fmla="*/ 5762474 w 8978749"/>
              <a:gd name="connsiteY8220" fmla="*/ 700117 h 4806848"/>
              <a:gd name="connsiteX8221" fmla="*/ 5821212 w 8978749"/>
              <a:gd name="connsiteY8221" fmla="*/ 700117 h 4806848"/>
              <a:gd name="connsiteX8222" fmla="*/ 5821212 w 8978749"/>
              <a:gd name="connsiteY8222" fmla="*/ 758866 h 4806848"/>
              <a:gd name="connsiteX8223" fmla="*/ 5762474 w 8978749"/>
              <a:gd name="connsiteY8223" fmla="*/ 758866 h 4806848"/>
              <a:gd name="connsiteX8224" fmla="*/ 5684686 w 8978749"/>
              <a:gd name="connsiteY8224" fmla="*/ 700117 h 4806848"/>
              <a:gd name="connsiteX8225" fmla="*/ 5741836 w 8978749"/>
              <a:gd name="connsiteY8225" fmla="*/ 700117 h 4806848"/>
              <a:gd name="connsiteX8226" fmla="*/ 5741836 w 8978749"/>
              <a:gd name="connsiteY8226" fmla="*/ 758866 h 4806848"/>
              <a:gd name="connsiteX8227" fmla="*/ 5684686 w 8978749"/>
              <a:gd name="connsiteY8227" fmla="*/ 758866 h 4806848"/>
              <a:gd name="connsiteX8228" fmla="*/ 5605311 w 8978749"/>
              <a:gd name="connsiteY8228" fmla="*/ 700117 h 4806848"/>
              <a:gd name="connsiteX8229" fmla="*/ 5664049 w 8978749"/>
              <a:gd name="connsiteY8229" fmla="*/ 700117 h 4806848"/>
              <a:gd name="connsiteX8230" fmla="*/ 5664049 w 8978749"/>
              <a:gd name="connsiteY8230" fmla="*/ 758866 h 4806848"/>
              <a:gd name="connsiteX8231" fmla="*/ 5605311 w 8978749"/>
              <a:gd name="connsiteY8231" fmla="*/ 758866 h 4806848"/>
              <a:gd name="connsiteX8232" fmla="*/ 5446561 w 8978749"/>
              <a:gd name="connsiteY8232" fmla="*/ 700117 h 4806848"/>
              <a:gd name="connsiteX8233" fmla="*/ 5505299 w 8978749"/>
              <a:gd name="connsiteY8233" fmla="*/ 700117 h 4806848"/>
              <a:gd name="connsiteX8234" fmla="*/ 5505299 w 8978749"/>
              <a:gd name="connsiteY8234" fmla="*/ 758866 h 4806848"/>
              <a:gd name="connsiteX8235" fmla="*/ 5446561 w 8978749"/>
              <a:gd name="connsiteY8235" fmla="*/ 758866 h 4806848"/>
              <a:gd name="connsiteX8236" fmla="*/ 5368774 w 8978749"/>
              <a:gd name="connsiteY8236" fmla="*/ 700117 h 4806848"/>
              <a:gd name="connsiteX8237" fmla="*/ 5425924 w 8978749"/>
              <a:gd name="connsiteY8237" fmla="*/ 700117 h 4806848"/>
              <a:gd name="connsiteX8238" fmla="*/ 5425924 w 8978749"/>
              <a:gd name="connsiteY8238" fmla="*/ 758866 h 4806848"/>
              <a:gd name="connsiteX8239" fmla="*/ 5368774 w 8978749"/>
              <a:gd name="connsiteY8239" fmla="*/ 758866 h 4806848"/>
              <a:gd name="connsiteX8240" fmla="*/ 5210024 w 8978749"/>
              <a:gd name="connsiteY8240" fmla="*/ 700117 h 4806848"/>
              <a:gd name="connsiteX8241" fmla="*/ 5268762 w 8978749"/>
              <a:gd name="connsiteY8241" fmla="*/ 700117 h 4806848"/>
              <a:gd name="connsiteX8242" fmla="*/ 5268762 w 8978749"/>
              <a:gd name="connsiteY8242" fmla="*/ 758866 h 4806848"/>
              <a:gd name="connsiteX8243" fmla="*/ 5210024 w 8978749"/>
              <a:gd name="connsiteY8243" fmla="*/ 758866 h 4806848"/>
              <a:gd name="connsiteX8244" fmla="*/ 5130649 w 8978749"/>
              <a:gd name="connsiteY8244" fmla="*/ 700117 h 4806848"/>
              <a:gd name="connsiteX8245" fmla="*/ 5189387 w 8978749"/>
              <a:gd name="connsiteY8245" fmla="*/ 700117 h 4806848"/>
              <a:gd name="connsiteX8246" fmla="*/ 5189387 w 8978749"/>
              <a:gd name="connsiteY8246" fmla="*/ 758866 h 4806848"/>
              <a:gd name="connsiteX8247" fmla="*/ 5130649 w 8978749"/>
              <a:gd name="connsiteY8247" fmla="*/ 758866 h 4806848"/>
              <a:gd name="connsiteX8248" fmla="*/ 5052861 w 8978749"/>
              <a:gd name="connsiteY8248" fmla="*/ 700117 h 4806848"/>
              <a:gd name="connsiteX8249" fmla="*/ 5110011 w 8978749"/>
              <a:gd name="connsiteY8249" fmla="*/ 700117 h 4806848"/>
              <a:gd name="connsiteX8250" fmla="*/ 5110011 w 8978749"/>
              <a:gd name="connsiteY8250" fmla="*/ 758866 h 4806848"/>
              <a:gd name="connsiteX8251" fmla="*/ 5052861 w 8978749"/>
              <a:gd name="connsiteY8251" fmla="*/ 758866 h 4806848"/>
              <a:gd name="connsiteX8252" fmla="*/ 4973486 w 8978749"/>
              <a:gd name="connsiteY8252" fmla="*/ 700117 h 4806848"/>
              <a:gd name="connsiteX8253" fmla="*/ 5030636 w 8978749"/>
              <a:gd name="connsiteY8253" fmla="*/ 700117 h 4806848"/>
              <a:gd name="connsiteX8254" fmla="*/ 5030636 w 8978749"/>
              <a:gd name="connsiteY8254" fmla="*/ 758866 h 4806848"/>
              <a:gd name="connsiteX8255" fmla="*/ 4973486 w 8978749"/>
              <a:gd name="connsiteY8255" fmla="*/ 758866 h 4806848"/>
              <a:gd name="connsiteX8256" fmla="*/ 236555 w 8978749"/>
              <a:gd name="connsiteY8256" fmla="*/ 700096 h 4806848"/>
              <a:gd name="connsiteX8257" fmla="*/ 295294 w 8978749"/>
              <a:gd name="connsiteY8257" fmla="*/ 700096 h 4806848"/>
              <a:gd name="connsiteX8258" fmla="*/ 295294 w 8978749"/>
              <a:gd name="connsiteY8258" fmla="*/ 758843 h 4806848"/>
              <a:gd name="connsiteX8259" fmla="*/ 236555 w 8978749"/>
              <a:gd name="connsiteY8259" fmla="*/ 758843 h 4806848"/>
              <a:gd name="connsiteX8260" fmla="*/ 157183 w 8978749"/>
              <a:gd name="connsiteY8260" fmla="*/ 700096 h 4806848"/>
              <a:gd name="connsiteX8261" fmla="*/ 215922 w 8978749"/>
              <a:gd name="connsiteY8261" fmla="*/ 700096 h 4806848"/>
              <a:gd name="connsiteX8262" fmla="*/ 215922 w 8978749"/>
              <a:gd name="connsiteY8262" fmla="*/ 758843 h 4806848"/>
              <a:gd name="connsiteX8263" fmla="*/ 157183 w 8978749"/>
              <a:gd name="connsiteY8263" fmla="*/ 758843 h 4806848"/>
              <a:gd name="connsiteX8264" fmla="*/ 473090 w 8978749"/>
              <a:gd name="connsiteY8264" fmla="*/ 700096 h 4806848"/>
              <a:gd name="connsiteX8265" fmla="*/ 531880 w 8978749"/>
              <a:gd name="connsiteY8265" fmla="*/ 700096 h 4806848"/>
              <a:gd name="connsiteX8266" fmla="*/ 531880 w 8978749"/>
              <a:gd name="connsiteY8266" fmla="*/ 758843 h 4806848"/>
              <a:gd name="connsiteX8267" fmla="*/ 473090 w 8978749"/>
              <a:gd name="connsiteY8267" fmla="*/ 758843 h 4806848"/>
              <a:gd name="connsiteX8268" fmla="*/ 395311 w 8978749"/>
              <a:gd name="connsiteY8268" fmla="*/ 700096 h 4806848"/>
              <a:gd name="connsiteX8269" fmla="*/ 452453 w 8978749"/>
              <a:gd name="connsiteY8269" fmla="*/ 700096 h 4806848"/>
              <a:gd name="connsiteX8270" fmla="*/ 452453 w 8978749"/>
              <a:gd name="connsiteY8270" fmla="*/ 758843 h 4806848"/>
              <a:gd name="connsiteX8271" fmla="*/ 395311 w 8978749"/>
              <a:gd name="connsiteY8271" fmla="*/ 758843 h 4806848"/>
              <a:gd name="connsiteX8272" fmla="*/ 315929 w 8978749"/>
              <a:gd name="connsiteY8272" fmla="*/ 700096 h 4806848"/>
              <a:gd name="connsiteX8273" fmla="*/ 374672 w 8978749"/>
              <a:gd name="connsiteY8273" fmla="*/ 700096 h 4806848"/>
              <a:gd name="connsiteX8274" fmla="*/ 374672 w 8978749"/>
              <a:gd name="connsiteY8274" fmla="*/ 758843 h 4806848"/>
              <a:gd name="connsiteX8275" fmla="*/ 315929 w 8978749"/>
              <a:gd name="connsiteY8275" fmla="*/ 758843 h 4806848"/>
              <a:gd name="connsiteX8276" fmla="*/ 711256 w 8978749"/>
              <a:gd name="connsiteY8276" fmla="*/ 700096 h 4806848"/>
              <a:gd name="connsiteX8277" fmla="*/ 768398 w 8978749"/>
              <a:gd name="connsiteY8277" fmla="*/ 700096 h 4806848"/>
              <a:gd name="connsiteX8278" fmla="*/ 768398 w 8978749"/>
              <a:gd name="connsiteY8278" fmla="*/ 758843 h 4806848"/>
              <a:gd name="connsiteX8279" fmla="*/ 711256 w 8978749"/>
              <a:gd name="connsiteY8279" fmla="*/ 758843 h 4806848"/>
              <a:gd name="connsiteX8280" fmla="*/ 631889 w 8978749"/>
              <a:gd name="connsiteY8280" fmla="*/ 700096 h 4806848"/>
              <a:gd name="connsiteX8281" fmla="*/ 689033 w 8978749"/>
              <a:gd name="connsiteY8281" fmla="*/ 700096 h 4806848"/>
              <a:gd name="connsiteX8282" fmla="*/ 689033 w 8978749"/>
              <a:gd name="connsiteY8282" fmla="*/ 758843 h 4806848"/>
              <a:gd name="connsiteX8283" fmla="*/ 631889 w 8978749"/>
              <a:gd name="connsiteY8283" fmla="*/ 758843 h 4806848"/>
              <a:gd name="connsiteX8284" fmla="*/ 552514 w 8978749"/>
              <a:gd name="connsiteY8284" fmla="*/ 700096 h 4806848"/>
              <a:gd name="connsiteX8285" fmla="*/ 611253 w 8978749"/>
              <a:gd name="connsiteY8285" fmla="*/ 700096 h 4806848"/>
              <a:gd name="connsiteX8286" fmla="*/ 611253 w 8978749"/>
              <a:gd name="connsiteY8286" fmla="*/ 758843 h 4806848"/>
              <a:gd name="connsiteX8287" fmla="*/ 552514 w 8978749"/>
              <a:gd name="connsiteY8287" fmla="*/ 758843 h 4806848"/>
              <a:gd name="connsiteX8288" fmla="*/ 1104940 w 8978749"/>
              <a:gd name="connsiteY8288" fmla="*/ 700095 h 4806848"/>
              <a:gd name="connsiteX8289" fmla="*/ 1163673 w 8978749"/>
              <a:gd name="connsiteY8289" fmla="*/ 700095 h 4806848"/>
              <a:gd name="connsiteX8290" fmla="*/ 1163673 w 8978749"/>
              <a:gd name="connsiteY8290" fmla="*/ 758841 h 4806848"/>
              <a:gd name="connsiteX8291" fmla="*/ 1104940 w 8978749"/>
              <a:gd name="connsiteY8291" fmla="*/ 758841 h 4806848"/>
              <a:gd name="connsiteX8292" fmla="*/ 1027141 w 8978749"/>
              <a:gd name="connsiteY8292" fmla="*/ 700095 h 4806848"/>
              <a:gd name="connsiteX8293" fmla="*/ 1084306 w 8978749"/>
              <a:gd name="connsiteY8293" fmla="*/ 700095 h 4806848"/>
              <a:gd name="connsiteX8294" fmla="*/ 1084306 w 8978749"/>
              <a:gd name="connsiteY8294" fmla="*/ 758841 h 4806848"/>
              <a:gd name="connsiteX8295" fmla="*/ 1027141 w 8978749"/>
              <a:gd name="connsiteY8295" fmla="*/ 758841 h 4806848"/>
              <a:gd name="connsiteX8296" fmla="*/ 947763 w 8978749"/>
              <a:gd name="connsiteY8296" fmla="*/ 700095 h 4806848"/>
              <a:gd name="connsiteX8297" fmla="*/ 1004912 w 8978749"/>
              <a:gd name="connsiteY8297" fmla="*/ 700095 h 4806848"/>
              <a:gd name="connsiteX8298" fmla="*/ 1004912 w 8978749"/>
              <a:gd name="connsiteY8298" fmla="*/ 758841 h 4806848"/>
              <a:gd name="connsiteX8299" fmla="*/ 947763 w 8978749"/>
              <a:gd name="connsiteY8299" fmla="*/ 758841 h 4806848"/>
              <a:gd name="connsiteX8300" fmla="*/ 789033 w 8978749"/>
              <a:gd name="connsiteY8300" fmla="*/ 700095 h 4806848"/>
              <a:gd name="connsiteX8301" fmla="*/ 847769 w 8978749"/>
              <a:gd name="connsiteY8301" fmla="*/ 700095 h 4806848"/>
              <a:gd name="connsiteX8302" fmla="*/ 847769 w 8978749"/>
              <a:gd name="connsiteY8302" fmla="*/ 758841 h 4806848"/>
              <a:gd name="connsiteX8303" fmla="*/ 789033 w 8978749"/>
              <a:gd name="connsiteY8303" fmla="*/ 758841 h 4806848"/>
              <a:gd name="connsiteX8304" fmla="*/ 1184314 w 8978749"/>
              <a:gd name="connsiteY8304" fmla="*/ 700095 h 4806848"/>
              <a:gd name="connsiteX8305" fmla="*/ 1243039 w 8978749"/>
              <a:gd name="connsiteY8305" fmla="*/ 700095 h 4806848"/>
              <a:gd name="connsiteX8306" fmla="*/ 1243039 w 8978749"/>
              <a:gd name="connsiteY8306" fmla="*/ 758841 h 4806848"/>
              <a:gd name="connsiteX8307" fmla="*/ 1184314 w 8978749"/>
              <a:gd name="connsiteY8307" fmla="*/ 758841 h 4806848"/>
              <a:gd name="connsiteX8308" fmla="*/ 1578003 w 8978749"/>
              <a:gd name="connsiteY8308" fmla="*/ 700095 h 4806848"/>
              <a:gd name="connsiteX8309" fmla="*/ 1636759 w 8978749"/>
              <a:gd name="connsiteY8309" fmla="*/ 700095 h 4806848"/>
              <a:gd name="connsiteX8310" fmla="*/ 1636759 w 8978749"/>
              <a:gd name="connsiteY8310" fmla="*/ 758841 h 4806848"/>
              <a:gd name="connsiteX8311" fmla="*/ 1578003 w 8978749"/>
              <a:gd name="connsiteY8311" fmla="*/ 758841 h 4806848"/>
              <a:gd name="connsiteX8312" fmla="*/ 1341497 w 8978749"/>
              <a:gd name="connsiteY8312" fmla="*/ 700095 h 4806848"/>
              <a:gd name="connsiteX8313" fmla="*/ 1400214 w 8978749"/>
              <a:gd name="connsiteY8313" fmla="*/ 700095 h 4806848"/>
              <a:gd name="connsiteX8314" fmla="*/ 1400214 w 8978749"/>
              <a:gd name="connsiteY8314" fmla="*/ 758841 h 4806848"/>
              <a:gd name="connsiteX8315" fmla="*/ 1341497 w 8978749"/>
              <a:gd name="connsiteY8315" fmla="*/ 758841 h 4806848"/>
              <a:gd name="connsiteX8316" fmla="*/ 1263680 w 8978749"/>
              <a:gd name="connsiteY8316" fmla="*/ 700095 h 4806848"/>
              <a:gd name="connsiteX8317" fmla="*/ 1320847 w 8978749"/>
              <a:gd name="connsiteY8317" fmla="*/ 700095 h 4806848"/>
              <a:gd name="connsiteX8318" fmla="*/ 1320847 w 8978749"/>
              <a:gd name="connsiteY8318" fmla="*/ 758841 h 4806848"/>
              <a:gd name="connsiteX8319" fmla="*/ 1263680 w 8978749"/>
              <a:gd name="connsiteY8319" fmla="*/ 758841 h 4806848"/>
              <a:gd name="connsiteX8320" fmla="*/ 1816148 w 8978749"/>
              <a:gd name="connsiteY8320" fmla="*/ 700095 h 4806848"/>
              <a:gd name="connsiteX8321" fmla="*/ 1873279 w 8978749"/>
              <a:gd name="connsiteY8321" fmla="*/ 700095 h 4806848"/>
              <a:gd name="connsiteX8322" fmla="*/ 1873279 w 8978749"/>
              <a:gd name="connsiteY8322" fmla="*/ 758841 h 4806848"/>
              <a:gd name="connsiteX8323" fmla="*/ 1816148 w 8978749"/>
              <a:gd name="connsiteY8323" fmla="*/ 758841 h 4806848"/>
              <a:gd name="connsiteX8324" fmla="*/ 1736775 w 8978749"/>
              <a:gd name="connsiteY8324" fmla="*/ 700095 h 4806848"/>
              <a:gd name="connsiteX8325" fmla="*/ 1795521 w 8978749"/>
              <a:gd name="connsiteY8325" fmla="*/ 700095 h 4806848"/>
              <a:gd name="connsiteX8326" fmla="*/ 1795521 w 8978749"/>
              <a:gd name="connsiteY8326" fmla="*/ 758841 h 4806848"/>
              <a:gd name="connsiteX8327" fmla="*/ 1736775 w 8978749"/>
              <a:gd name="connsiteY8327" fmla="*/ 758841 h 4806848"/>
              <a:gd name="connsiteX8328" fmla="*/ 1657394 w 8978749"/>
              <a:gd name="connsiteY8328" fmla="*/ 700095 h 4806848"/>
              <a:gd name="connsiteX8329" fmla="*/ 1716138 w 8978749"/>
              <a:gd name="connsiteY8329" fmla="*/ 700095 h 4806848"/>
              <a:gd name="connsiteX8330" fmla="*/ 1716138 w 8978749"/>
              <a:gd name="connsiteY8330" fmla="*/ 758841 h 4806848"/>
              <a:gd name="connsiteX8331" fmla="*/ 1657394 w 8978749"/>
              <a:gd name="connsiteY8331" fmla="*/ 758841 h 4806848"/>
              <a:gd name="connsiteX8332" fmla="*/ 2052669 w 8978749"/>
              <a:gd name="connsiteY8332" fmla="*/ 700094 h 4806848"/>
              <a:gd name="connsiteX8333" fmla="*/ 2111413 w 8978749"/>
              <a:gd name="connsiteY8333" fmla="*/ 700094 h 4806848"/>
              <a:gd name="connsiteX8334" fmla="*/ 2111413 w 8978749"/>
              <a:gd name="connsiteY8334" fmla="*/ 758841 h 4806848"/>
              <a:gd name="connsiteX8335" fmla="*/ 2052669 w 8978749"/>
              <a:gd name="connsiteY8335" fmla="*/ 758841 h 4806848"/>
              <a:gd name="connsiteX8336" fmla="*/ 1973288 w 8978749"/>
              <a:gd name="connsiteY8336" fmla="*/ 700094 h 4806848"/>
              <a:gd name="connsiteX8337" fmla="*/ 2032033 w 8978749"/>
              <a:gd name="connsiteY8337" fmla="*/ 700094 h 4806848"/>
              <a:gd name="connsiteX8338" fmla="*/ 2032033 w 8978749"/>
              <a:gd name="connsiteY8338" fmla="*/ 758841 h 4806848"/>
              <a:gd name="connsiteX8339" fmla="*/ 1973288 w 8978749"/>
              <a:gd name="connsiteY8339" fmla="*/ 758841 h 4806848"/>
              <a:gd name="connsiteX8340" fmla="*/ 1893906 w 8978749"/>
              <a:gd name="connsiteY8340" fmla="*/ 700094 h 4806848"/>
              <a:gd name="connsiteX8341" fmla="*/ 1952647 w 8978749"/>
              <a:gd name="connsiteY8341" fmla="*/ 700094 h 4806848"/>
              <a:gd name="connsiteX8342" fmla="*/ 1952647 w 8978749"/>
              <a:gd name="connsiteY8342" fmla="*/ 758841 h 4806848"/>
              <a:gd name="connsiteX8343" fmla="*/ 1893906 w 8978749"/>
              <a:gd name="connsiteY8343" fmla="*/ 758841 h 4806848"/>
              <a:gd name="connsiteX8344" fmla="*/ 2368590 w 8978749"/>
              <a:gd name="connsiteY8344" fmla="*/ 700094 h 4806848"/>
              <a:gd name="connsiteX8345" fmla="*/ 2427326 w 8978749"/>
              <a:gd name="connsiteY8345" fmla="*/ 700094 h 4806848"/>
              <a:gd name="connsiteX8346" fmla="*/ 2427326 w 8978749"/>
              <a:gd name="connsiteY8346" fmla="*/ 758841 h 4806848"/>
              <a:gd name="connsiteX8347" fmla="*/ 2368590 w 8978749"/>
              <a:gd name="connsiteY8347" fmla="*/ 758841 h 4806848"/>
              <a:gd name="connsiteX8348" fmla="*/ 2209836 w 8978749"/>
              <a:gd name="connsiteY8348" fmla="*/ 700094 h 4806848"/>
              <a:gd name="connsiteX8349" fmla="*/ 2268577 w 8978749"/>
              <a:gd name="connsiteY8349" fmla="*/ 700094 h 4806848"/>
              <a:gd name="connsiteX8350" fmla="*/ 2268577 w 8978749"/>
              <a:gd name="connsiteY8350" fmla="*/ 758841 h 4806848"/>
              <a:gd name="connsiteX8351" fmla="*/ 2209836 w 8978749"/>
              <a:gd name="connsiteY8351" fmla="*/ 758841 h 4806848"/>
              <a:gd name="connsiteX8352" fmla="*/ 2132046 w 8978749"/>
              <a:gd name="connsiteY8352" fmla="*/ 700094 h 4806848"/>
              <a:gd name="connsiteX8353" fmla="*/ 2189203 w 8978749"/>
              <a:gd name="connsiteY8353" fmla="*/ 700094 h 4806848"/>
              <a:gd name="connsiteX8354" fmla="*/ 2189203 w 8978749"/>
              <a:gd name="connsiteY8354" fmla="*/ 758841 h 4806848"/>
              <a:gd name="connsiteX8355" fmla="*/ 2132046 w 8978749"/>
              <a:gd name="connsiteY8355" fmla="*/ 758841 h 4806848"/>
              <a:gd name="connsiteX8356" fmla="*/ 2525753 w 8978749"/>
              <a:gd name="connsiteY8356" fmla="*/ 700094 h 4806848"/>
              <a:gd name="connsiteX8357" fmla="*/ 2584490 w 8978749"/>
              <a:gd name="connsiteY8357" fmla="*/ 700094 h 4806848"/>
              <a:gd name="connsiteX8358" fmla="*/ 2584490 w 8978749"/>
              <a:gd name="connsiteY8358" fmla="*/ 758841 h 4806848"/>
              <a:gd name="connsiteX8359" fmla="*/ 2525753 w 8978749"/>
              <a:gd name="connsiteY8359" fmla="*/ 758841 h 4806848"/>
              <a:gd name="connsiteX8360" fmla="*/ 2447959 w 8978749"/>
              <a:gd name="connsiteY8360" fmla="*/ 700094 h 4806848"/>
              <a:gd name="connsiteX8361" fmla="*/ 2505120 w 8978749"/>
              <a:gd name="connsiteY8361" fmla="*/ 700094 h 4806848"/>
              <a:gd name="connsiteX8362" fmla="*/ 2505120 w 8978749"/>
              <a:gd name="connsiteY8362" fmla="*/ 758841 h 4806848"/>
              <a:gd name="connsiteX8363" fmla="*/ 2447959 w 8978749"/>
              <a:gd name="connsiteY8363" fmla="*/ 758841 h 4806848"/>
              <a:gd name="connsiteX8364" fmla="*/ 3000223 w 8978749"/>
              <a:gd name="connsiteY8364" fmla="*/ 700094 h 4806848"/>
              <a:gd name="connsiteX8365" fmla="*/ 3057373 w 8978749"/>
              <a:gd name="connsiteY8365" fmla="*/ 700094 h 4806848"/>
              <a:gd name="connsiteX8366" fmla="*/ 3057373 w 8978749"/>
              <a:gd name="connsiteY8366" fmla="*/ 758841 h 4806848"/>
              <a:gd name="connsiteX8367" fmla="*/ 3000223 w 8978749"/>
              <a:gd name="connsiteY8367" fmla="*/ 758841 h 4806848"/>
              <a:gd name="connsiteX8368" fmla="*/ 2920848 w 8978749"/>
              <a:gd name="connsiteY8368" fmla="*/ 700094 h 4806848"/>
              <a:gd name="connsiteX8369" fmla="*/ 2979586 w 8978749"/>
              <a:gd name="connsiteY8369" fmla="*/ 700094 h 4806848"/>
              <a:gd name="connsiteX8370" fmla="*/ 2979586 w 8978749"/>
              <a:gd name="connsiteY8370" fmla="*/ 758841 h 4806848"/>
              <a:gd name="connsiteX8371" fmla="*/ 2920848 w 8978749"/>
              <a:gd name="connsiteY8371" fmla="*/ 758841 h 4806848"/>
              <a:gd name="connsiteX8372" fmla="*/ 2604936 w 8978749"/>
              <a:gd name="connsiteY8372" fmla="*/ 700094 h 4806848"/>
              <a:gd name="connsiteX8373" fmla="*/ 2663674 w 8978749"/>
              <a:gd name="connsiteY8373" fmla="*/ 700094 h 4806848"/>
              <a:gd name="connsiteX8374" fmla="*/ 2663674 w 8978749"/>
              <a:gd name="connsiteY8374" fmla="*/ 758841 h 4806848"/>
              <a:gd name="connsiteX8375" fmla="*/ 2604936 w 8978749"/>
              <a:gd name="connsiteY8375" fmla="*/ 758841 h 4806848"/>
              <a:gd name="connsiteX8376" fmla="*/ 3236761 w 8978749"/>
              <a:gd name="connsiteY8376" fmla="*/ 700093 h 4806848"/>
              <a:gd name="connsiteX8377" fmla="*/ 3293911 w 8978749"/>
              <a:gd name="connsiteY8377" fmla="*/ 700093 h 4806848"/>
              <a:gd name="connsiteX8378" fmla="*/ 3293911 w 8978749"/>
              <a:gd name="connsiteY8378" fmla="*/ 758841 h 4806848"/>
              <a:gd name="connsiteX8379" fmla="*/ 3236761 w 8978749"/>
              <a:gd name="connsiteY8379" fmla="*/ 758841 h 4806848"/>
              <a:gd name="connsiteX8380" fmla="*/ 3157386 w 8978749"/>
              <a:gd name="connsiteY8380" fmla="*/ 700093 h 4806848"/>
              <a:gd name="connsiteX8381" fmla="*/ 3216124 w 8978749"/>
              <a:gd name="connsiteY8381" fmla="*/ 700093 h 4806848"/>
              <a:gd name="connsiteX8382" fmla="*/ 3216124 w 8978749"/>
              <a:gd name="connsiteY8382" fmla="*/ 758841 h 4806848"/>
              <a:gd name="connsiteX8383" fmla="*/ 3157386 w 8978749"/>
              <a:gd name="connsiteY8383" fmla="*/ 758841 h 4806848"/>
              <a:gd name="connsiteX8384" fmla="*/ 3078011 w 8978749"/>
              <a:gd name="connsiteY8384" fmla="*/ 700093 h 4806848"/>
              <a:gd name="connsiteX8385" fmla="*/ 3136749 w 8978749"/>
              <a:gd name="connsiteY8385" fmla="*/ 700093 h 4806848"/>
              <a:gd name="connsiteX8386" fmla="*/ 3136749 w 8978749"/>
              <a:gd name="connsiteY8386" fmla="*/ 758841 h 4806848"/>
              <a:gd name="connsiteX8387" fmla="*/ 3078011 w 8978749"/>
              <a:gd name="connsiteY8387" fmla="*/ 758841 h 4806848"/>
              <a:gd name="connsiteX8388" fmla="*/ 3473298 w 8978749"/>
              <a:gd name="connsiteY8388" fmla="*/ 700093 h 4806848"/>
              <a:gd name="connsiteX8389" fmla="*/ 3532036 w 8978749"/>
              <a:gd name="connsiteY8389" fmla="*/ 700093 h 4806848"/>
              <a:gd name="connsiteX8390" fmla="*/ 3532036 w 8978749"/>
              <a:gd name="connsiteY8390" fmla="*/ 758840 h 4806848"/>
              <a:gd name="connsiteX8391" fmla="*/ 3473298 w 8978749"/>
              <a:gd name="connsiteY8391" fmla="*/ 758840 h 4806848"/>
              <a:gd name="connsiteX8392" fmla="*/ 3393923 w 8978749"/>
              <a:gd name="connsiteY8392" fmla="*/ 700093 h 4806848"/>
              <a:gd name="connsiteX8393" fmla="*/ 3452661 w 8978749"/>
              <a:gd name="connsiteY8393" fmla="*/ 700093 h 4806848"/>
              <a:gd name="connsiteX8394" fmla="*/ 3452661 w 8978749"/>
              <a:gd name="connsiteY8394" fmla="*/ 758841 h 4806848"/>
              <a:gd name="connsiteX8395" fmla="*/ 3393923 w 8978749"/>
              <a:gd name="connsiteY8395" fmla="*/ 758841 h 4806848"/>
              <a:gd name="connsiteX8396" fmla="*/ 3314548 w 8978749"/>
              <a:gd name="connsiteY8396" fmla="*/ 700093 h 4806848"/>
              <a:gd name="connsiteX8397" fmla="*/ 3373286 w 8978749"/>
              <a:gd name="connsiteY8397" fmla="*/ 700093 h 4806848"/>
              <a:gd name="connsiteX8398" fmla="*/ 3373286 w 8978749"/>
              <a:gd name="connsiteY8398" fmla="*/ 758841 h 4806848"/>
              <a:gd name="connsiteX8399" fmla="*/ 3314548 w 8978749"/>
              <a:gd name="connsiteY8399" fmla="*/ 758841 h 4806848"/>
              <a:gd name="connsiteX8400" fmla="*/ 4814736 w 8978749"/>
              <a:gd name="connsiteY8400" fmla="*/ 700093 h 4806848"/>
              <a:gd name="connsiteX8401" fmla="*/ 4873474 w 8978749"/>
              <a:gd name="connsiteY8401" fmla="*/ 700093 h 4806848"/>
              <a:gd name="connsiteX8402" fmla="*/ 4873474 w 8978749"/>
              <a:gd name="connsiteY8402" fmla="*/ 758840 h 4806848"/>
              <a:gd name="connsiteX8403" fmla="*/ 4814736 w 8978749"/>
              <a:gd name="connsiteY8403" fmla="*/ 758840 h 4806848"/>
              <a:gd name="connsiteX8404" fmla="*/ 4736948 w 8978749"/>
              <a:gd name="connsiteY8404" fmla="*/ 700093 h 4806848"/>
              <a:gd name="connsiteX8405" fmla="*/ 4794098 w 8978749"/>
              <a:gd name="connsiteY8405" fmla="*/ 700093 h 4806848"/>
              <a:gd name="connsiteX8406" fmla="*/ 4794098 w 8978749"/>
              <a:gd name="connsiteY8406" fmla="*/ 758840 h 4806848"/>
              <a:gd name="connsiteX8407" fmla="*/ 4736948 w 8978749"/>
              <a:gd name="connsiteY8407" fmla="*/ 758840 h 4806848"/>
              <a:gd name="connsiteX8408" fmla="*/ 4657573 w 8978749"/>
              <a:gd name="connsiteY8408" fmla="*/ 700093 h 4806848"/>
              <a:gd name="connsiteX8409" fmla="*/ 4716311 w 8978749"/>
              <a:gd name="connsiteY8409" fmla="*/ 700093 h 4806848"/>
              <a:gd name="connsiteX8410" fmla="*/ 4716311 w 8978749"/>
              <a:gd name="connsiteY8410" fmla="*/ 758840 h 4806848"/>
              <a:gd name="connsiteX8411" fmla="*/ 4657573 w 8978749"/>
              <a:gd name="connsiteY8411" fmla="*/ 758840 h 4806848"/>
              <a:gd name="connsiteX8412" fmla="*/ 4894111 w 8978749"/>
              <a:gd name="connsiteY8412" fmla="*/ 700093 h 4806848"/>
              <a:gd name="connsiteX8413" fmla="*/ 4952849 w 8978749"/>
              <a:gd name="connsiteY8413" fmla="*/ 700093 h 4806848"/>
              <a:gd name="connsiteX8414" fmla="*/ 4952849 w 8978749"/>
              <a:gd name="connsiteY8414" fmla="*/ 758840 h 4806848"/>
              <a:gd name="connsiteX8415" fmla="*/ 4894111 w 8978749"/>
              <a:gd name="connsiteY8415" fmla="*/ 758840 h 4806848"/>
              <a:gd name="connsiteX8416" fmla="*/ 8683474 w 8978749"/>
              <a:gd name="connsiteY8416" fmla="*/ 622341 h 4806848"/>
              <a:gd name="connsiteX8417" fmla="*/ 8742212 w 8978749"/>
              <a:gd name="connsiteY8417" fmla="*/ 622341 h 4806848"/>
              <a:gd name="connsiteX8418" fmla="*/ 8742212 w 8978749"/>
              <a:gd name="connsiteY8418" fmla="*/ 681070 h 4806848"/>
              <a:gd name="connsiteX8419" fmla="*/ 8683474 w 8978749"/>
              <a:gd name="connsiteY8419" fmla="*/ 681070 h 4806848"/>
              <a:gd name="connsiteX8420" fmla="*/ 8526311 w 8978749"/>
              <a:gd name="connsiteY8420" fmla="*/ 622341 h 4806848"/>
              <a:gd name="connsiteX8421" fmla="*/ 8583461 w 8978749"/>
              <a:gd name="connsiteY8421" fmla="*/ 622341 h 4806848"/>
              <a:gd name="connsiteX8422" fmla="*/ 8583461 w 8978749"/>
              <a:gd name="connsiteY8422" fmla="*/ 681070 h 4806848"/>
              <a:gd name="connsiteX8423" fmla="*/ 8526311 w 8978749"/>
              <a:gd name="connsiteY8423" fmla="*/ 681070 h 4806848"/>
              <a:gd name="connsiteX8424" fmla="*/ 8210399 w 8978749"/>
              <a:gd name="connsiteY8424" fmla="*/ 622341 h 4806848"/>
              <a:gd name="connsiteX8425" fmla="*/ 8267549 w 8978749"/>
              <a:gd name="connsiteY8425" fmla="*/ 622341 h 4806848"/>
              <a:gd name="connsiteX8426" fmla="*/ 8267549 w 8978749"/>
              <a:gd name="connsiteY8426" fmla="*/ 681070 h 4806848"/>
              <a:gd name="connsiteX8427" fmla="*/ 8210399 w 8978749"/>
              <a:gd name="connsiteY8427" fmla="*/ 681070 h 4806848"/>
              <a:gd name="connsiteX8428" fmla="*/ 8131024 w 8978749"/>
              <a:gd name="connsiteY8428" fmla="*/ 622341 h 4806848"/>
              <a:gd name="connsiteX8429" fmla="*/ 8189762 w 8978749"/>
              <a:gd name="connsiteY8429" fmla="*/ 622341 h 4806848"/>
              <a:gd name="connsiteX8430" fmla="*/ 8189762 w 8978749"/>
              <a:gd name="connsiteY8430" fmla="*/ 681070 h 4806848"/>
              <a:gd name="connsiteX8431" fmla="*/ 8131024 w 8978749"/>
              <a:gd name="connsiteY8431" fmla="*/ 681070 h 4806848"/>
              <a:gd name="connsiteX8432" fmla="*/ 8051649 w 8978749"/>
              <a:gd name="connsiteY8432" fmla="*/ 622341 h 4806848"/>
              <a:gd name="connsiteX8433" fmla="*/ 8110387 w 8978749"/>
              <a:gd name="connsiteY8433" fmla="*/ 622341 h 4806848"/>
              <a:gd name="connsiteX8434" fmla="*/ 8110387 w 8978749"/>
              <a:gd name="connsiteY8434" fmla="*/ 681070 h 4806848"/>
              <a:gd name="connsiteX8435" fmla="*/ 8051649 w 8978749"/>
              <a:gd name="connsiteY8435" fmla="*/ 681070 h 4806848"/>
              <a:gd name="connsiteX8436" fmla="*/ 7973861 w 8978749"/>
              <a:gd name="connsiteY8436" fmla="*/ 622341 h 4806848"/>
              <a:gd name="connsiteX8437" fmla="*/ 8031011 w 8978749"/>
              <a:gd name="connsiteY8437" fmla="*/ 622341 h 4806848"/>
              <a:gd name="connsiteX8438" fmla="*/ 8031011 w 8978749"/>
              <a:gd name="connsiteY8438" fmla="*/ 681070 h 4806848"/>
              <a:gd name="connsiteX8439" fmla="*/ 7973861 w 8978749"/>
              <a:gd name="connsiteY8439" fmla="*/ 681070 h 4806848"/>
              <a:gd name="connsiteX8440" fmla="*/ 7894486 w 8978749"/>
              <a:gd name="connsiteY8440" fmla="*/ 622341 h 4806848"/>
              <a:gd name="connsiteX8441" fmla="*/ 7951636 w 8978749"/>
              <a:gd name="connsiteY8441" fmla="*/ 622341 h 4806848"/>
              <a:gd name="connsiteX8442" fmla="*/ 7951636 w 8978749"/>
              <a:gd name="connsiteY8442" fmla="*/ 681070 h 4806848"/>
              <a:gd name="connsiteX8443" fmla="*/ 7894486 w 8978749"/>
              <a:gd name="connsiteY8443" fmla="*/ 681070 h 4806848"/>
              <a:gd name="connsiteX8444" fmla="*/ 7815111 w 8978749"/>
              <a:gd name="connsiteY8444" fmla="*/ 622341 h 4806848"/>
              <a:gd name="connsiteX8445" fmla="*/ 7873849 w 8978749"/>
              <a:gd name="connsiteY8445" fmla="*/ 622341 h 4806848"/>
              <a:gd name="connsiteX8446" fmla="*/ 7873849 w 8978749"/>
              <a:gd name="connsiteY8446" fmla="*/ 681070 h 4806848"/>
              <a:gd name="connsiteX8447" fmla="*/ 7815111 w 8978749"/>
              <a:gd name="connsiteY8447" fmla="*/ 681070 h 4806848"/>
              <a:gd name="connsiteX8448" fmla="*/ 7735736 w 8978749"/>
              <a:gd name="connsiteY8448" fmla="*/ 622341 h 4806848"/>
              <a:gd name="connsiteX8449" fmla="*/ 7794474 w 8978749"/>
              <a:gd name="connsiteY8449" fmla="*/ 622341 h 4806848"/>
              <a:gd name="connsiteX8450" fmla="*/ 7794474 w 8978749"/>
              <a:gd name="connsiteY8450" fmla="*/ 681070 h 4806848"/>
              <a:gd name="connsiteX8451" fmla="*/ 7735736 w 8978749"/>
              <a:gd name="connsiteY8451" fmla="*/ 681070 h 4806848"/>
              <a:gd name="connsiteX8452" fmla="*/ 7657949 w 8978749"/>
              <a:gd name="connsiteY8452" fmla="*/ 622341 h 4806848"/>
              <a:gd name="connsiteX8453" fmla="*/ 7715099 w 8978749"/>
              <a:gd name="connsiteY8453" fmla="*/ 622341 h 4806848"/>
              <a:gd name="connsiteX8454" fmla="*/ 7715099 w 8978749"/>
              <a:gd name="connsiteY8454" fmla="*/ 681070 h 4806848"/>
              <a:gd name="connsiteX8455" fmla="*/ 7657949 w 8978749"/>
              <a:gd name="connsiteY8455" fmla="*/ 681070 h 4806848"/>
              <a:gd name="connsiteX8456" fmla="*/ 7578574 w 8978749"/>
              <a:gd name="connsiteY8456" fmla="*/ 622341 h 4806848"/>
              <a:gd name="connsiteX8457" fmla="*/ 7637312 w 8978749"/>
              <a:gd name="connsiteY8457" fmla="*/ 622341 h 4806848"/>
              <a:gd name="connsiteX8458" fmla="*/ 7637312 w 8978749"/>
              <a:gd name="connsiteY8458" fmla="*/ 681070 h 4806848"/>
              <a:gd name="connsiteX8459" fmla="*/ 7578574 w 8978749"/>
              <a:gd name="connsiteY8459" fmla="*/ 681070 h 4806848"/>
              <a:gd name="connsiteX8460" fmla="*/ 7499199 w 8978749"/>
              <a:gd name="connsiteY8460" fmla="*/ 622341 h 4806848"/>
              <a:gd name="connsiteX8461" fmla="*/ 7557937 w 8978749"/>
              <a:gd name="connsiteY8461" fmla="*/ 622341 h 4806848"/>
              <a:gd name="connsiteX8462" fmla="*/ 7557937 w 8978749"/>
              <a:gd name="connsiteY8462" fmla="*/ 681070 h 4806848"/>
              <a:gd name="connsiteX8463" fmla="*/ 7499199 w 8978749"/>
              <a:gd name="connsiteY8463" fmla="*/ 681070 h 4806848"/>
              <a:gd name="connsiteX8464" fmla="*/ 7419824 w 8978749"/>
              <a:gd name="connsiteY8464" fmla="*/ 622341 h 4806848"/>
              <a:gd name="connsiteX8465" fmla="*/ 7478562 w 8978749"/>
              <a:gd name="connsiteY8465" fmla="*/ 622341 h 4806848"/>
              <a:gd name="connsiteX8466" fmla="*/ 7478562 w 8978749"/>
              <a:gd name="connsiteY8466" fmla="*/ 681070 h 4806848"/>
              <a:gd name="connsiteX8467" fmla="*/ 7419824 w 8978749"/>
              <a:gd name="connsiteY8467" fmla="*/ 681070 h 4806848"/>
              <a:gd name="connsiteX8468" fmla="*/ 7342036 w 8978749"/>
              <a:gd name="connsiteY8468" fmla="*/ 622341 h 4806848"/>
              <a:gd name="connsiteX8469" fmla="*/ 7400774 w 8978749"/>
              <a:gd name="connsiteY8469" fmla="*/ 622341 h 4806848"/>
              <a:gd name="connsiteX8470" fmla="*/ 7400774 w 8978749"/>
              <a:gd name="connsiteY8470" fmla="*/ 681070 h 4806848"/>
              <a:gd name="connsiteX8471" fmla="*/ 7342036 w 8978749"/>
              <a:gd name="connsiteY8471" fmla="*/ 681070 h 4806848"/>
              <a:gd name="connsiteX8472" fmla="*/ 7262661 w 8978749"/>
              <a:gd name="connsiteY8472" fmla="*/ 622341 h 4806848"/>
              <a:gd name="connsiteX8473" fmla="*/ 7321399 w 8978749"/>
              <a:gd name="connsiteY8473" fmla="*/ 622341 h 4806848"/>
              <a:gd name="connsiteX8474" fmla="*/ 7321399 w 8978749"/>
              <a:gd name="connsiteY8474" fmla="*/ 681070 h 4806848"/>
              <a:gd name="connsiteX8475" fmla="*/ 7262661 w 8978749"/>
              <a:gd name="connsiteY8475" fmla="*/ 681070 h 4806848"/>
              <a:gd name="connsiteX8476" fmla="*/ 7183286 w 8978749"/>
              <a:gd name="connsiteY8476" fmla="*/ 622341 h 4806848"/>
              <a:gd name="connsiteX8477" fmla="*/ 7242024 w 8978749"/>
              <a:gd name="connsiteY8477" fmla="*/ 622341 h 4806848"/>
              <a:gd name="connsiteX8478" fmla="*/ 7242024 w 8978749"/>
              <a:gd name="connsiteY8478" fmla="*/ 681070 h 4806848"/>
              <a:gd name="connsiteX8479" fmla="*/ 7183286 w 8978749"/>
              <a:gd name="connsiteY8479" fmla="*/ 681070 h 4806848"/>
              <a:gd name="connsiteX8480" fmla="*/ 7105499 w 8978749"/>
              <a:gd name="connsiteY8480" fmla="*/ 622341 h 4806848"/>
              <a:gd name="connsiteX8481" fmla="*/ 7162649 w 8978749"/>
              <a:gd name="connsiteY8481" fmla="*/ 622341 h 4806848"/>
              <a:gd name="connsiteX8482" fmla="*/ 7162649 w 8978749"/>
              <a:gd name="connsiteY8482" fmla="*/ 681070 h 4806848"/>
              <a:gd name="connsiteX8483" fmla="*/ 7105499 w 8978749"/>
              <a:gd name="connsiteY8483" fmla="*/ 681070 h 4806848"/>
              <a:gd name="connsiteX8484" fmla="*/ 7026124 w 8978749"/>
              <a:gd name="connsiteY8484" fmla="*/ 622341 h 4806848"/>
              <a:gd name="connsiteX8485" fmla="*/ 7084862 w 8978749"/>
              <a:gd name="connsiteY8485" fmla="*/ 622341 h 4806848"/>
              <a:gd name="connsiteX8486" fmla="*/ 7084862 w 8978749"/>
              <a:gd name="connsiteY8486" fmla="*/ 681070 h 4806848"/>
              <a:gd name="connsiteX8487" fmla="*/ 7026124 w 8978749"/>
              <a:gd name="connsiteY8487" fmla="*/ 681070 h 4806848"/>
              <a:gd name="connsiteX8488" fmla="*/ 6946749 w 8978749"/>
              <a:gd name="connsiteY8488" fmla="*/ 622341 h 4806848"/>
              <a:gd name="connsiteX8489" fmla="*/ 7005487 w 8978749"/>
              <a:gd name="connsiteY8489" fmla="*/ 622341 h 4806848"/>
              <a:gd name="connsiteX8490" fmla="*/ 7005487 w 8978749"/>
              <a:gd name="connsiteY8490" fmla="*/ 681070 h 4806848"/>
              <a:gd name="connsiteX8491" fmla="*/ 6946749 w 8978749"/>
              <a:gd name="connsiteY8491" fmla="*/ 681070 h 4806848"/>
              <a:gd name="connsiteX8492" fmla="*/ 6867374 w 8978749"/>
              <a:gd name="connsiteY8492" fmla="*/ 622341 h 4806848"/>
              <a:gd name="connsiteX8493" fmla="*/ 6926112 w 8978749"/>
              <a:gd name="connsiteY8493" fmla="*/ 622341 h 4806848"/>
              <a:gd name="connsiteX8494" fmla="*/ 6926112 w 8978749"/>
              <a:gd name="connsiteY8494" fmla="*/ 681070 h 4806848"/>
              <a:gd name="connsiteX8495" fmla="*/ 6867374 w 8978749"/>
              <a:gd name="connsiteY8495" fmla="*/ 681070 h 4806848"/>
              <a:gd name="connsiteX8496" fmla="*/ 6789586 w 8978749"/>
              <a:gd name="connsiteY8496" fmla="*/ 622341 h 4806848"/>
              <a:gd name="connsiteX8497" fmla="*/ 6846736 w 8978749"/>
              <a:gd name="connsiteY8497" fmla="*/ 622341 h 4806848"/>
              <a:gd name="connsiteX8498" fmla="*/ 6846736 w 8978749"/>
              <a:gd name="connsiteY8498" fmla="*/ 681070 h 4806848"/>
              <a:gd name="connsiteX8499" fmla="*/ 6789586 w 8978749"/>
              <a:gd name="connsiteY8499" fmla="*/ 681070 h 4806848"/>
              <a:gd name="connsiteX8500" fmla="*/ 6710211 w 8978749"/>
              <a:gd name="connsiteY8500" fmla="*/ 622341 h 4806848"/>
              <a:gd name="connsiteX8501" fmla="*/ 6768949 w 8978749"/>
              <a:gd name="connsiteY8501" fmla="*/ 622341 h 4806848"/>
              <a:gd name="connsiteX8502" fmla="*/ 6768949 w 8978749"/>
              <a:gd name="connsiteY8502" fmla="*/ 681070 h 4806848"/>
              <a:gd name="connsiteX8503" fmla="*/ 6710211 w 8978749"/>
              <a:gd name="connsiteY8503" fmla="*/ 681070 h 4806848"/>
              <a:gd name="connsiteX8504" fmla="*/ 6630836 w 8978749"/>
              <a:gd name="connsiteY8504" fmla="*/ 622341 h 4806848"/>
              <a:gd name="connsiteX8505" fmla="*/ 6689574 w 8978749"/>
              <a:gd name="connsiteY8505" fmla="*/ 622341 h 4806848"/>
              <a:gd name="connsiteX8506" fmla="*/ 6689574 w 8978749"/>
              <a:gd name="connsiteY8506" fmla="*/ 681070 h 4806848"/>
              <a:gd name="connsiteX8507" fmla="*/ 6630836 w 8978749"/>
              <a:gd name="connsiteY8507" fmla="*/ 681070 h 4806848"/>
              <a:gd name="connsiteX8508" fmla="*/ 6551461 w 8978749"/>
              <a:gd name="connsiteY8508" fmla="*/ 622341 h 4806848"/>
              <a:gd name="connsiteX8509" fmla="*/ 6610199 w 8978749"/>
              <a:gd name="connsiteY8509" fmla="*/ 622341 h 4806848"/>
              <a:gd name="connsiteX8510" fmla="*/ 6610199 w 8978749"/>
              <a:gd name="connsiteY8510" fmla="*/ 681070 h 4806848"/>
              <a:gd name="connsiteX8511" fmla="*/ 6551461 w 8978749"/>
              <a:gd name="connsiteY8511" fmla="*/ 681070 h 4806848"/>
              <a:gd name="connsiteX8512" fmla="*/ 6473674 w 8978749"/>
              <a:gd name="connsiteY8512" fmla="*/ 622341 h 4806848"/>
              <a:gd name="connsiteX8513" fmla="*/ 6530824 w 8978749"/>
              <a:gd name="connsiteY8513" fmla="*/ 622341 h 4806848"/>
              <a:gd name="connsiteX8514" fmla="*/ 6530824 w 8978749"/>
              <a:gd name="connsiteY8514" fmla="*/ 681070 h 4806848"/>
              <a:gd name="connsiteX8515" fmla="*/ 6473674 w 8978749"/>
              <a:gd name="connsiteY8515" fmla="*/ 681070 h 4806848"/>
              <a:gd name="connsiteX8516" fmla="*/ 6394299 w 8978749"/>
              <a:gd name="connsiteY8516" fmla="*/ 622341 h 4806848"/>
              <a:gd name="connsiteX8517" fmla="*/ 6453037 w 8978749"/>
              <a:gd name="connsiteY8517" fmla="*/ 622341 h 4806848"/>
              <a:gd name="connsiteX8518" fmla="*/ 6453037 w 8978749"/>
              <a:gd name="connsiteY8518" fmla="*/ 681070 h 4806848"/>
              <a:gd name="connsiteX8519" fmla="*/ 6394299 w 8978749"/>
              <a:gd name="connsiteY8519" fmla="*/ 681070 h 4806848"/>
              <a:gd name="connsiteX8520" fmla="*/ 6314924 w 8978749"/>
              <a:gd name="connsiteY8520" fmla="*/ 622341 h 4806848"/>
              <a:gd name="connsiteX8521" fmla="*/ 6373662 w 8978749"/>
              <a:gd name="connsiteY8521" fmla="*/ 622341 h 4806848"/>
              <a:gd name="connsiteX8522" fmla="*/ 6373662 w 8978749"/>
              <a:gd name="connsiteY8522" fmla="*/ 681070 h 4806848"/>
              <a:gd name="connsiteX8523" fmla="*/ 6314924 w 8978749"/>
              <a:gd name="connsiteY8523" fmla="*/ 681070 h 4806848"/>
              <a:gd name="connsiteX8524" fmla="*/ 6235549 w 8978749"/>
              <a:gd name="connsiteY8524" fmla="*/ 622341 h 4806848"/>
              <a:gd name="connsiteX8525" fmla="*/ 6294287 w 8978749"/>
              <a:gd name="connsiteY8525" fmla="*/ 622341 h 4806848"/>
              <a:gd name="connsiteX8526" fmla="*/ 6294287 w 8978749"/>
              <a:gd name="connsiteY8526" fmla="*/ 681070 h 4806848"/>
              <a:gd name="connsiteX8527" fmla="*/ 6235549 w 8978749"/>
              <a:gd name="connsiteY8527" fmla="*/ 681070 h 4806848"/>
              <a:gd name="connsiteX8528" fmla="*/ 6157761 w 8978749"/>
              <a:gd name="connsiteY8528" fmla="*/ 622341 h 4806848"/>
              <a:gd name="connsiteX8529" fmla="*/ 6214911 w 8978749"/>
              <a:gd name="connsiteY8529" fmla="*/ 622341 h 4806848"/>
              <a:gd name="connsiteX8530" fmla="*/ 6214911 w 8978749"/>
              <a:gd name="connsiteY8530" fmla="*/ 681070 h 4806848"/>
              <a:gd name="connsiteX8531" fmla="*/ 6157761 w 8978749"/>
              <a:gd name="connsiteY8531" fmla="*/ 681070 h 4806848"/>
              <a:gd name="connsiteX8532" fmla="*/ 5999011 w 8978749"/>
              <a:gd name="connsiteY8532" fmla="*/ 622341 h 4806848"/>
              <a:gd name="connsiteX8533" fmla="*/ 6057749 w 8978749"/>
              <a:gd name="connsiteY8533" fmla="*/ 622341 h 4806848"/>
              <a:gd name="connsiteX8534" fmla="*/ 6057749 w 8978749"/>
              <a:gd name="connsiteY8534" fmla="*/ 681070 h 4806848"/>
              <a:gd name="connsiteX8535" fmla="*/ 5999011 w 8978749"/>
              <a:gd name="connsiteY8535" fmla="*/ 681070 h 4806848"/>
              <a:gd name="connsiteX8536" fmla="*/ 5921224 w 8978749"/>
              <a:gd name="connsiteY8536" fmla="*/ 622341 h 4806848"/>
              <a:gd name="connsiteX8537" fmla="*/ 5978374 w 8978749"/>
              <a:gd name="connsiteY8537" fmla="*/ 622341 h 4806848"/>
              <a:gd name="connsiteX8538" fmla="*/ 5978374 w 8978749"/>
              <a:gd name="connsiteY8538" fmla="*/ 681070 h 4806848"/>
              <a:gd name="connsiteX8539" fmla="*/ 5921224 w 8978749"/>
              <a:gd name="connsiteY8539" fmla="*/ 681070 h 4806848"/>
              <a:gd name="connsiteX8540" fmla="*/ 5762474 w 8978749"/>
              <a:gd name="connsiteY8540" fmla="*/ 622341 h 4806848"/>
              <a:gd name="connsiteX8541" fmla="*/ 5821212 w 8978749"/>
              <a:gd name="connsiteY8541" fmla="*/ 622341 h 4806848"/>
              <a:gd name="connsiteX8542" fmla="*/ 5821212 w 8978749"/>
              <a:gd name="connsiteY8542" fmla="*/ 681070 h 4806848"/>
              <a:gd name="connsiteX8543" fmla="*/ 5762474 w 8978749"/>
              <a:gd name="connsiteY8543" fmla="*/ 681070 h 4806848"/>
              <a:gd name="connsiteX8544" fmla="*/ 5684686 w 8978749"/>
              <a:gd name="connsiteY8544" fmla="*/ 622341 h 4806848"/>
              <a:gd name="connsiteX8545" fmla="*/ 5741836 w 8978749"/>
              <a:gd name="connsiteY8545" fmla="*/ 622341 h 4806848"/>
              <a:gd name="connsiteX8546" fmla="*/ 5741836 w 8978749"/>
              <a:gd name="connsiteY8546" fmla="*/ 681070 h 4806848"/>
              <a:gd name="connsiteX8547" fmla="*/ 5684686 w 8978749"/>
              <a:gd name="connsiteY8547" fmla="*/ 681070 h 4806848"/>
              <a:gd name="connsiteX8548" fmla="*/ 4973486 w 8978749"/>
              <a:gd name="connsiteY8548" fmla="*/ 622341 h 4806848"/>
              <a:gd name="connsiteX8549" fmla="*/ 5030636 w 8978749"/>
              <a:gd name="connsiteY8549" fmla="*/ 622341 h 4806848"/>
              <a:gd name="connsiteX8550" fmla="*/ 5030636 w 8978749"/>
              <a:gd name="connsiteY8550" fmla="*/ 681070 h 4806848"/>
              <a:gd name="connsiteX8551" fmla="*/ 4973486 w 8978749"/>
              <a:gd name="connsiteY8551" fmla="*/ 681070 h 4806848"/>
              <a:gd name="connsiteX8552" fmla="*/ 315936 w 8978749"/>
              <a:gd name="connsiteY8552" fmla="*/ 622323 h 4806848"/>
              <a:gd name="connsiteX8553" fmla="*/ 374676 w 8978749"/>
              <a:gd name="connsiteY8553" fmla="*/ 622323 h 4806848"/>
              <a:gd name="connsiteX8554" fmla="*/ 374676 w 8978749"/>
              <a:gd name="connsiteY8554" fmla="*/ 681052 h 4806848"/>
              <a:gd name="connsiteX8555" fmla="*/ 315936 w 8978749"/>
              <a:gd name="connsiteY8555" fmla="*/ 681052 h 4806848"/>
              <a:gd name="connsiteX8556" fmla="*/ 236562 w 8978749"/>
              <a:gd name="connsiteY8556" fmla="*/ 622323 h 4806848"/>
              <a:gd name="connsiteX8557" fmla="*/ 295298 w 8978749"/>
              <a:gd name="connsiteY8557" fmla="*/ 622323 h 4806848"/>
              <a:gd name="connsiteX8558" fmla="*/ 295298 w 8978749"/>
              <a:gd name="connsiteY8558" fmla="*/ 681053 h 4806848"/>
              <a:gd name="connsiteX8559" fmla="*/ 236562 w 8978749"/>
              <a:gd name="connsiteY8559" fmla="*/ 681053 h 4806848"/>
              <a:gd name="connsiteX8560" fmla="*/ 395316 w 8978749"/>
              <a:gd name="connsiteY8560" fmla="*/ 622322 h 4806848"/>
              <a:gd name="connsiteX8561" fmla="*/ 452458 w 8978749"/>
              <a:gd name="connsiteY8561" fmla="*/ 622322 h 4806848"/>
              <a:gd name="connsiteX8562" fmla="*/ 452458 w 8978749"/>
              <a:gd name="connsiteY8562" fmla="*/ 681052 h 4806848"/>
              <a:gd name="connsiteX8563" fmla="*/ 395316 w 8978749"/>
              <a:gd name="connsiteY8563" fmla="*/ 681052 h 4806848"/>
              <a:gd name="connsiteX8564" fmla="*/ 631894 w 8978749"/>
              <a:gd name="connsiteY8564" fmla="*/ 622322 h 4806848"/>
              <a:gd name="connsiteX8565" fmla="*/ 689040 w 8978749"/>
              <a:gd name="connsiteY8565" fmla="*/ 622322 h 4806848"/>
              <a:gd name="connsiteX8566" fmla="*/ 689040 w 8978749"/>
              <a:gd name="connsiteY8566" fmla="*/ 681052 h 4806848"/>
              <a:gd name="connsiteX8567" fmla="*/ 631894 w 8978749"/>
              <a:gd name="connsiteY8567" fmla="*/ 681052 h 4806848"/>
              <a:gd name="connsiteX8568" fmla="*/ 552521 w 8978749"/>
              <a:gd name="connsiteY8568" fmla="*/ 622322 h 4806848"/>
              <a:gd name="connsiteX8569" fmla="*/ 611255 w 8978749"/>
              <a:gd name="connsiteY8569" fmla="*/ 622322 h 4806848"/>
              <a:gd name="connsiteX8570" fmla="*/ 611255 w 8978749"/>
              <a:gd name="connsiteY8570" fmla="*/ 681052 h 4806848"/>
              <a:gd name="connsiteX8571" fmla="*/ 552521 w 8978749"/>
              <a:gd name="connsiteY8571" fmla="*/ 681052 h 4806848"/>
              <a:gd name="connsiteX8572" fmla="*/ 473096 w 8978749"/>
              <a:gd name="connsiteY8572" fmla="*/ 622322 h 4806848"/>
              <a:gd name="connsiteX8573" fmla="*/ 531887 w 8978749"/>
              <a:gd name="connsiteY8573" fmla="*/ 622322 h 4806848"/>
              <a:gd name="connsiteX8574" fmla="*/ 531887 w 8978749"/>
              <a:gd name="connsiteY8574" fmla="*/ 681052 h 4806848"/>
              <a:gd name="connsiteX8575" fmla="*/ 473096 w 8978749"/>
              <a:gd name="connsiteY8575" fmla="*/ 681052 h 4806848"/>
              <a:gd name="connsiteX8576" fmla="*/ 1420841 w 8978749"/>
              <a:gd name="connsiteY8576" fmla="*/ 622322 h 4806848"/>
              <a:gd name="connsiteX8577" fmla="*/ 1479576 w 8978749"/>
              <a:gd name="connsiteY8577" fmla="*/ 622322 h 4806848"/>
              <a:gd name="connsiteX8578" fmla="*/ 1479576 w 8978749"/>
              <a:gd name="connsiteY8578" fmla="*/ 681052 h 4806848"/>
              <a:gd name="connsiteX8579" fmla="*/ 1420841 w 8978749"/>
              <a:gd name="connsiteY8579" fmla="*/ 681052 h 4806848"/>
              <a:gd name="connsiteX8580" fmla="*/ 1027147 w 8978749"/>
              <a:gd name="connsiteY8580" fmla="*/ 622322 h 4806848"/>
              <a:gd name="connsiteX8581" fmla="*/ 1084311 w 8978749"/>
              <a:gd name="connsiteY8581" fmla="*/ 622322 h 4806848"/>
              <a:gd name="connsiteX8582" fmla="*/ 1084311 w 8978749"/>
              <a:gd name="connsiteY8582" fmla="*/ 681052 h 4806848"/>
              <a:gd name="connsiteX8583" fmla="*/ 1027147 w 8978749"/>
              <a:gd name="connsiteY8583" fmla="*/ 681052 h 4806848"/>
              <a:gd name="connsiteX8584" fmla="*/ 711262 w 8978749"/>
              <a:gd name="connsiteY8584" fmla="*/ 622322 h 4806848"/>
              <a:gd name="connsiteX8585" fmla="*/ 768404 w 8978749"/>
              <a:gd name="connsiteY8585" fmla="*/ 622322 h 4806848"/>
              <a:gd name="connsiteX8586" fmla="*/ 768404 w 8978749"/>
              <a:gd name="connsiteY8586" fmla="*/ 681052 h 4806848"/>
              <a:gd name="connsiteX8587" fmla="*/ 711262 w 8978749"/>
              <a:gd name="connsiteY8587" fmla="*/ 681052 h 4806848"/>
              <a:gd name="connsiteX8588" fmla="*/ 1657400 w 8978749"/>
              <a:gd name="connsiteY8588" fmla="*/ 622321 h 4806848"/>
              <a:gd name="connsiteX8589" fmla="*/ 1716143 w 8978749"/>
              <a:gd name="connsiteY8589" fmla="*/ 622321 h 4806848"/>
              <a:gd name="connsiteX8590" fmla="*/ 1716143 w 8978749"/>
              <a:gd name="connsiteY8590" fmla="*/ 681052 h 4806848"/>
              <a:gd name="connsiteX8591" fmla="*/ 1657400 w 8978749"/>
              <a:gd name="connsiteY8591" fmla="*/ 681052 h 4806848"/>
              <a:gd name="connsiteX8592" fmla="*/ 1578008 w 8978749"/>
              <a:gd name="connsiteY8592" fmla="*/ 622321 h 4806848"/>
              <a:gd name="connsiteX8593" fmla="*/ 1636763 w 8978749"/>
              <a:gd name="connsiteY8593" fmla="*/ 622321 h 4806848"/>
              <a:gd name="connsiteX8594" fmla="*/ 1636763 w 8978749"/>
              <a:gd name="connsiteY8594" fmla="*/ 681052 h 4806848"/>
              <a:gd name="connsiteX8595" fmla="*/ 1578008 w 8978749"/>
              <a:gd name="connsiteY8595" fmla="*/ 681052 h 4806848"/>
              <a:gd name="connsiteX8596" fmla="*/ 1500218 w 8978749"/>
              <a:gd name="connsiteY8596" fmla="*/ 622321 h 4806848"/>
              <a:gd name="connsiteX8597" fmla="*/ 1558964 w 8978749"/>
              <a:gd name="connsiteY8597" fmla="*/ 622321 h 4806848"/>
              <a:gd name="connsiteX8598" fmla="*/ 1558964 w 8978749"/>
              <a:gd name="connsiteY8598" fmla="*/ 681052 h 4806848"/>
              <a:gd name="connsiteX8599" fmla="*/ 1500218 w 8978749"/>
              <a:gd name="connsiteY8599" fmla="*/ 681052 h 4806848"/>
              <a:gd name="connsiteX8600" fmla="*/ 1893912 w 8978749"/>
              <a:gd name="connsiteY8600" fmla="*/ 622321 h 4806848"/>
              <a:gd name="connsiteX8601" fmla="*/ 1952647 w 8978749"/>
              <a:gd name="connsiteY8601" fmla="*/ 622321 h 4806848"/>
              <a:gd name="connsiteX8602" fmla="*/ 1952647 w 8978749"/>
              <a:gd name="connsiteY8602" fmla="*/ 681052 h 4806848"/>
              <a:gd name="connsiteX8603" fmla="*/ 1893912 w 8978749"/>
              <a:gd name="connsiteY8603" fmla="*/ 681052 h 4806848"/>
              <a:gd name="connsiteX8604" fmla="*/ 2132054 w 8978749"/>
              <a:gd name="connsiteY8604" fmla="*/ 622321 h 4806848"/>
              <a:gd name="connsiteX8605" fmla="*/ 2189209 w 8978749"/>
              <a:gd name="connsiteY8605" fmla="*/ 622321 h 4806848"/>
              <a:gd name="connsiteX8606" fmla="*/ 2189209 w 8978749"/>
              <a:gd name="connsiteY8606" fmla="*/ 681051 h 4806848"/>
              <a:gd name="connsiteX8607" fmla="*/ 2132054 w 8978749"/>
              <a:gd name="connsiteY8607" fmla="*/ 681051 h 4806848"/>
              <a:gd name="connsiteX8608" fmla="*/ 2052675 w 8978749"/>
              <a:gd name="connsiteY8608" fmla="*/ 622321 h 4806848"/>
              <a:gd name="connsiteX8609" fmla="*/ 2111420 w 8978749"/>
              <a:gd name="connsiteY8609" fmla="*/ 622321 h 4806848"/>
              <a:gd name="connsiteX8610" fmla="*/ 2111420 w 8978749"/>
              <a:gd name="connsiteY8610" fmla="*/ 681051 h 4806848"/>
              <a:gd name="connsiteX8611" fmla="*/ 2052675 w 8978749"/>
              <a:gd name="connsiteY8611" fmla="*/ 681051 h 4806848"/>
              <a:gd name="connsiteX8612" fmla="*/ 2289220 w 8978749"/>
              <a:gd name="connsiteY8612" fmla="*/ 622320 h 4806848"/>
              <a:gd name="connsiteX8613" fmla="*/ 2347962 w 8978749"/>
              <a:gd name="connsiteY8613" fmla="*/ 622320 h 4806848"/>
              <a:gd name="connsiteX8614" fmla="*/ 2347962 w 8978749"/>
              <a:gd name="connsiteY8614" fmla="*/ 681050 h 4806848"/>
              <a:gd name="connsiteX8615" fmla="*/ 2289220 w 8978749"/>
              <a:gd name="connsiteY8615" fmla="*/ 681050 h 4806848"/>
              <a:gd name="connsiteX8616" fmla="*/ 2209845 w 8978749"/>
              <a:gd name="connsiteY8616" fmla="*/ 622320 h 4806848"/>
              <a:gd name="connsiteX8617" fmla="*/ 2268584 w 8978749"/>
              <a:gd name="connsiteY8617" fmla="*/ 622320 h 4806848"/>
              <a:gd name="connsiteX8618" fmla="*/ 2268584 w 8978749"/>
              <a:gd name="connsiteY8618" fmla="*/ 681050 h 4806848"/>
              <a:gd name="connsiteX8619" fmla="*/ 2209845 w 8978749"/>
              <a:gd name="connsiteY8619" fmla="*/ 681050 h 4806848"/>
              <a:gd name="connsiteX8620" fmla="*/ 2525759 w 8978749"/>
              <a:gd name="connsiteY8620" fmla="*/ 622320 h 4806848"/>
              <a:gd name="connsiteX8621" fmla="*/ 2584495 w 8978749"/>
              <a:gd name="connsiteY8621" fmla="*/ 622320 h 4806848"/>
              <a:gd name="connsiteX8622" fmla="*/ 2584495 w 8978749"/>
              <a:gd name="connsiteY8622" fmla="*/ 681050 h 4806848"/>
              <a:gd name="connsiteX8623" fmla="*/ 2525759 w 8978749"/>
              <a:gd name="connsiteY8623" fmla="*/ 681050 h 4806848"/>
              <a:gd name="connsiteX8624" fmla="*/ 2447964 w 8978749"/>
              <a:gd name="connsiteY8624" fmla="*/ 622320 h 4806848"/>
              <a:gd name="connsiteX8625" fmla="*/ 2505127 w 8978749"/>
              <a:gd name="connsiteY8625" fmla="*/ 622320 h 4806848"/>
              <a:gd name="connsiteX8626" fmla="*/ 2505127 w 8978749"/>
              <a:gd name="connsiteY8626" fmla="*/ 681050 h 4806848"/>
              <a:gd name="connsiteX8627" fmla="*/ 2447964 w 8978749"/>
              <a:gd name="connsiteY8627" fmla="*/ 681050 h 4806848"/>
              <a:gd name="connsiteX8628" fmla="*/ 2368599 w 8978749"/>
              <a:gd name="connsiteY8628" fmla="*/ 622320 h 4806848"/>
              <a:gd name="connsiteX8629" fmla="*/ 2427333 w 8978749"/>
              <a:gd name="connsiteY8629" fmla="*/ 622320 h 4806848"/>
              <a:gd name="connsiteX8630" fmla="*/ 2427333 w 8978749"/>
              <a:gd name="connsiteY8630" fmla="*/ 681050 h 4806848"/>
              <a:gd name="connsiteX8631" fmla="*/ 2368599 w 8978749"/>
              <a:gd name="connsiteY8631" fmla="*/ 681050 h 4806848"/>
              <a:gd name="connsiteX8632" fmla="*/ 2920848 w 8978749"/>
              <a:gd name="connsiteY8632" fmla="*/ 622319 h 4806848"/>
              <a:gd name="connsiteX8633" fmla="*/ 2979586 w 8978749"/>
              <a:gd name="connsiteY8633" fmla="*/ 622319 h 4806848"/>
              <a:gd name="connsiteX8634" fmla="*/ 2979586 w 8978749"/>
              <a:gd name="connsiteY8634" fmla="*/ 681050 h 4806848"/>
              <a:gd name="connsiteX8635" fmla="*/ 2920848 w 8978749"/>
              <a:gd name="connsiteY8635" fmla="*/ 681050 h 4806848"/>
              <a:gd name="connsiteX8636" fmla="*/ 3157386 w 8978749"/>
              <a:gd name="connsiteY8636" fmla="*/ 622319 h 4806848"/>
              <a:gd name="connsiteX8637" fmla="*/ 3216124 w 8978749"/>
              <a:gd name="connsiteY8637" fmla="*/ 622319 h 4806848"/>
              <a:gd name="connsiteX8638" fmla="*/ 3216124 w 8978749"/>
              <a:gd name="connsiteY8638" fmla="*/ 681050 h 4806848"/>
              <a:gd name="connsiteX8639" fmla="*/ 3157386 w 8978749"/>
              <a:gd name="connsiteY8639" fmla="*/ 681050 h 4806848"/>
              <a:gd name="connsiteX8640" fmla="*/ 3078011 w 8978749"/>
              <a:gd name="connsiteY8640" fmla="*/ 622319 h 4806848"/>
              <a:gd name="connsiteX8641" fmla="*/ 3136749 w 8978749"/>
              <a:gd name="connsiteY8641" fmla="*/ 622319 h 4806848"/>
              <a:gd name="connsiteX8642" fmla="*/ 3136749 w 8978749"/>
              <a:gd name="connsiteY8642" fmla="*/ 681050 h 4806848"/>
              <a:gd name="connsiteX8643" fmla="*/ 3078011 w 8978749"/>
              <a:gd name="connsiteY8643" fmla="*/ 681050 h 4806848"/>
              <a:gd name="connsiteX8644" fmla="*/ 3000223 w 8978749"/>
              <a:gd name="connsiteY8644" fmla="*/ 622319 h 4806848"/>
              <a:gd name="connsiteX8645" fmla="*/ 3057373 w 8978749"/>
              <a:gd name="connsiteY8645" fmla="*/ 622319 h 4806848"/>
              <a:gd name="connsiteX8646" fmla="*/ 3057373 w 8978749"/>
              <a:gd name="connsiteY8646" fmla="*/ 681050 h 4806848"/>
              <a:gd name="connsiteX8647" fmla="*/ 3000223 w 8978749"/>
              <a:gd name="connsiteY8647" fmla="*/ 681050 h 4806848"/>
              <a:gd name="connsiteX8648" fmla="*/ 3393923 w 8978749"/>
              <a:gd name="connsiteY8648" fmla="*/ 622319 h 4806848"/>
              <a:gd name="connsiteX8649" fmla="*/ 3452661 w 8978749"/>
              <a:gd name="connsiteY8649" fmla="*/ 622319 h 4806848"/>
              <a:gd name="connsiteX8650" fmla="*/ 3452661 w 8978749"/>
              <a:gd name="connsiteY8650" fmla="*/ 681049 h 4806848"/>
              <a:gd name="connsiteX8651" fmla="*/ 3393923 w 8978749"/>
              <a:gd name="connsiteY8651" fmla="*/ 681049 h 4806848"/>
              <a:gd name="connsiteX8652" fmla="*/ 3314548 w 8978749"/>
              <a:gd name="connsiteY8652" fmla="*/ 622319 h 4806848"/>
              <a:gd name="connsiteX8653" fmla="*/ 3373286 w 8978749"/>
              <a:gd name="connsiteY8653" fmla="*/ 622319 h 4806848"/>
              <a:gd name="connsiteX8654" fmla="*/ 3373286 w 8978749"/>
              <a:gd name="connsiteY8654" fmla="*/ 681049 h 4806848"/>
              <a:gd name="connsiteX8655" fmla="*/ 3314548 w 8978749"/>
              <a:gd name="connsiteY8655" fmla="*/ 681049 h 4806848"/>
              <a:gd name="connsiteX8656" fmla="*/ 3236761 w 8978749"/>
              <a:gd name="connsiteY8656" fmla="*/ 622319 h 4806848"/>
              <a:gd name="connsiteX8657" fmla="*/ 3293911 w 8978749"/>
              <a:gd name="connsiteY8657" fmla="*/ 622319 h 4806848"/>
              <a:gd name="connsiteX8658" fmla="*/ 3293911 w 8978749"/>
              <a:gd name="connsiteY8658" fmla="*/ 681049 h 4806848"/>
              <a:gd name="connsiteX8659" fmla="*/ 3236761 w 8978749"/>
              <a:gd name="connsiteY8659" fmla="*/ 681049 h 4806848"/>
              <a:gd name="connsiteX8660" fmla="*/ 3552673 w 8978749"/>
              <a:gd name="connsiteY8660" fmla="*/ 622319 h 4806848"/>
              <a:gd name="connsiteX8661" fmla="*/ 3609823 w 8978749"/>
              <a:gd name="connsiteY8661" fmla="*/ 622319 h 4806848"/>
              <a:gd name="connsiteX8662" fmla="*/ 3609823 w 8978749"/>
              <a:gd name="connsiteY8662" fmla="*/ 681049 h 4806848"/>
              <a:gd name="connsiteX8663" fmla="*/ 3552673 w 8978749"/>
              <a:gd name="connsiteY8663" fmla="*/ 681049 h 4806848"/>
              <a:gd name="connsiteX8664" fmla="*/ 3473298 w 8978749"/>
              <a:gd name="connsiteY8664" fmla="*/ 622319 h 4806848"/>
              <a:gd name="connsiteX8665" fmla="*/ 3532036 w 8978749"/>
              <a:gd name="connsiteY8665" fmla="*/ 622319 h 4806848"/>
              <a:gd name="connsiteX8666" fmla="*/ 3532036 w 8978749"/>
              <a:gd name="connsiteY8666" fmla="*/ 681049 h 4806848"/>
              <a:gd name="connsiteX8667" fmla="*/ 3473298 w 8978749"/>
              <a:gd name="connsiteY8667" fmla="*/ 681049 h 4806848"/>
              <a:gd name="connsiteX8668" fmla="*/ 4814736 w 8978749"/>
              <a:gd name="connsiteY8668" fmla="*/ 622318 h 4806848"/>
              <a:gd name="connsiteX8669" fmla="*/ 4873474 w 8978749"/>
              <a:gd name="connsiteY8669" fmla="*/ 622318 h 4806848"/>
              <a:gd name="connsiteX8670" fmla="*/ 4873474 w 8978749"/>
              <a:gd name="connsiteY8670" fmla="*/ 681049 h 4806848"/>
              <a:gd name="connsiteX8671" fmla="*/ 4814736 w 8978749"/>
              <a:gd name="connsiteY8671" fmla="*/ 681049 h 4806848"/>
              <a:gd name="connsiteX8672" fmla="*/ 3709836 w 8978749"/>
              <a:gd name="connsiteY8672" fmla="*/ 622318 h 4806848"/>
              <a:gd name="connsiteX8673" fmla="*/ 3768574 w 8978749"/>
              <a:gd name="connsiteY8673" fmla="*/ 622318 h 4806848"/>
              <a:gd name="connsiteX8674" fmla="*/ 3768574 w 8978749"/>
              <a:gd name="connsiteY8674" fmla="*/ 681049 h 4806848"/>
              <a:gd name="connsiteX8675" fmla="*/ 3709836 w 8978749"/>
              <a:gd name="connsiteY8675" fmla="*/ 681049 h 4806848"/>
              <a:gd name="connsiteX8676" fmla="*/ 3630461 w 8978749"/>
              <a:gd name="connsiteY8676" fmla="*/ 622318 h 4806848"/>
              <a:gd name="connsiteX8677" fmla="*/ 3689199 w 8978749"/>
              <a:gd name="connsiteY8677" fmla="*/ 622318 h 4806848"/>
              <a:gd name="connsiteX8678" fmla="*/ 3689199 w 8978749"/>
              <a:gd name="connsiteY8678" fmla="*/ 681049 h 4806848"/>
              <a:gd name="connsiteX8679" fmla="*/ 3630461 w 8978749"/>
              <a:gd name="connsiteY8679" fmla="*/ 681049 h 4806848"/>
              <a:gd name="connsiteX8680" fmla="*/ 4894111 w 8978749"/>
              <a:gd name="connsiteY8680" fmla="*/ 622318 h 4806848"/>
              <a:gd name="connsiteX8681" fmla="*/ 4952849 w 8978749"/>
              <a:gd name="connsiteY8681" fmla="*/ 622318 h 4806848"/>
              <a:gd name="connsiteX8682" fmla="*/ 4952849 w 8978749"/>
              <a:gd name="connsiteY8682" fmla="*/ 681049 h 4806848"/>
              <a:gd name="connsiteX8683" fmla="*/ 4894111 w 8978749"/>
              <a:gd name="connsiteY8683" fmla="*/ 681049 h 4806848"/>
              <a:gd name="connsiteX8684" fmla="*/ 8842224 w 8978749"/>
              <a:gd name="connsiteY8684" fmla="*/ 544566 h 4806848"/>
              <a:gd name="connsiteX8685" fmla="*/ 8899374 w 8978749"/>
              <a:gd name="connsiteY8685" fmla="*/ 544566 h 4806848"/>
              <a:gd name="connsiteX8686" fmla="*/ 8899374 w 8978749"/>
              <a:gd name="connsiteY8686" fmla="*/ 603295 h 4806848"/>
              <a:gd name="connsiteX8687" fmla="*/ 8842224 w 8978749"/>
              <a:gd name="connsiteY8687" fmla="*/ 603295 h 4806848"/>
              <a:gd name="connsiteX8688" fmla="*/ 8762849 w 8978749"/>
              <a:gd name="connsiteY8688" fmla="*/ 544566 h 4806848"/>
              <a:gd name="connsiteX8689" fmla="*/ 8821587 w 8978749"/>
              <a:gd name="connsiteY8689" fmla="*/ 544566 h 4806848"/>
              <a:gd name="connsiteX8690" fmla="*/ 8821587 w 8978749"/>
              <a:gd name="connsiteY8690" fmla="*/ 603295 h 4806848"/>
              <a:gd name="connsiteX8691" fmla="*/ 8762849 w 8978749"/>
              <a:gd name="connsiteY8691" fmla="*/ 603295 h 4806848"/>
              <a:gd name="connsiteX8692" fmla="*/ 7973861 w 8978749"/>
              <a:gd name="connsiteY8692" fmla="*/ 544566 h 4806848"/>
              <a:gd name="connsiteX8693" fmla="*/ 8031011 w 8978749"/>
              <a:gd name="connsiteY8693" fmla="*/ 544566 h 4806848"/>
              <a:gd name="connsiteX8694" fmla="*/ 8031011 w 8978749"/>
              <a:gd name="connsiteY8694" fmla="*/ 603295 h 4806848"/>
              <a:gd name="connsiteX8695" fmla="*/ 7973861 w 8978749"/>
              <a:gd name="connsiteY8695" fmla="*/ 603295 h 4806848"/>
              <a:gd name="connsiteX8696" fmla="*/ 7815111 w 8978749"/>
              <a:gd name="connsiteY8696" fmla="*/ 544566 h 4806848"/>
              <a:gd name="connsiteX8697" fmla="*/ 7873849 w 8978749"/>
              <a:gd name="connsiteY8697" fmla="*/ 544566 h 4806848"/>
              <a:gd name="connsiteX8698" fmla="*/ 7873849 w 8978749"/>
              <a:gd name="connsiteY8698" fmla="*/ 603295 h 4806848"/>
              <a:gd name="connsiteX8699" fmla="*/ 7815111 w 8978749"/>
              <a:gd name="connsiteY8699" fmla="*/ 603295 h 4806848"/>
              <a:gd name="connsiteX8700" fmla="*/ 7735736 w 8978749"/>
              <a:gd name="connsiteY8700" fmla="*/ 544566 h 4806848"/>
              <a:gd name="connsiteX8701" fmla="*/ 7794474 w 8978749"/>
              <a:gd name="connsiteY8701" fmla="*/ 544566 h 4806848"/>
              <a:gd name="connsiteX8702" fmla="*/ 7794474 w 8978749"/>
              <a:gd name="connsiteY8702" fmla="*/ 603295 h 4806848"/>
              <a:gd name="connsiteX8703" fmla="*/ 7735736 w 8978749"/>
              <a:gd name="connsiteY8703" fmla="*/ 603295 h 4806848"/>
              <a:gd name="connsiteX8704" fmla="*/ 7342036 w 8978749"/>
              <a:gd name="connsiteY8704" fmla="*/ 544566 h 4806848"/>
              <a:gd name="connsiteX8705" fmla="*/ 7400774 w 8978749"/>
              <a:gd name="connsiteY8705" fmla="*/ 544566 h 4806848"/>
              <a:gd name="connsiteX8706" fmla="*/ 7400774 w 8978749"/>
              <a:gd name="connsiteY8706" fmla="*/ 603295 h 4806848"/>
              <a:gd name="connsiteX8707" fmla="*/ 7342036 w 8978749"/>
              <a:gd name="connsiteY8707" fmla="*/ 603295 h 4806848"/>
              <a:gd name="connsiteX8708" fmla="*/ 7262661 w 8978749"/>
              <a:gd name="connsiteY8708" fmla="*/ 544566 h 4806848"/>
              <a:gd name="connsiteX8709" fmla="*/ 7321399 w 8978749"/>
              <a:gd name="connsiteY8709" fmla="*/ 544566 h 4806848"/>
              <a:gd name="connsiteX8710" fmla="*/ 7321399 w 8978749"/>
              <a:gd name="connsiteY8710" fmla="*/ 603295 h 4806848"/>
              <a:gd name="connsiteX8711" fmla="*/ 7262661 w 8978749"/>
              <a:gd name="connsiteY8711" fmla="*/ 603295 h 4806848"/>
              <a:gd name="connsiteX8712" fmla="*/ 7183286 w 8978749"/>
              <a:gd name="connsiteY8712" fmla="*/ 544566 h 4806848"/>
              <a:gd name="connsiteX8713" fmla="*/ 7242024 w 8978749"/>
              <a:gd name="connsiteY8713" fmla="*/ 544566 h 4806848"/>
              <a:gd name="connsiteX8714" fmla="*/ 7242024 w 8978749"/>
              <a:gd name="connsiteY8714" fmla="*/ 603295 h 4806848"/>
              <a:gd name="connsiteX8715" fmla="*/ 7183286 w 8978749"/>
              <a:gd name="connsiteY8715" fmla="*/ 603295 h 4806848"/>
              <a:gd name="connsiteX8716" fmla="*/ 7105499 w 8978749"/>
              <a:gd name="connsiteY8716" fmla="*/ 544566 h 4806848"/>
              <a:gd name="connsiteX8717" fmla="*/ 7162649 w 8978749"/>
              <a:gd name="connsiteY8717" fmla="*/ 544566 h 4806848"/>
              <a:gd name="connsiteX8718" fmla="*/ 7162649 w 8978749"/>
              <a:gd name="connsiteY8718" fmla="*/ 603295 h 4806848"/>
              <a:gd name="connsiteX8719" fmla="*/ 7105499 w 8978749"/>
              <a:gd name="connsiteY8719" fmla="*/ 603295 h 4806848"/>
              <a:gd name="connsiteX8720" fmla="*/ 7026124 w 8978749"/>
              <a:gd name="connsiteY8720" fmla="*/ 544566 h 4806848"/>
              <a:gd name="connsiteX8721" fmla="*/ 7084862 w 8978749"/>
              <a:gd name="connsiteY8721" fmla="*/ 544566 h 4806848"/>
              <a:gd name="connsiteX8722" fmla="*/ 7084862 w 8978749"/>
              <a:gd name="connsiteY8722" fmla="*/ 603295 h 4806848"/>
              <a:gd name="connsiteX8723" fmla="*/ 7026124 w 8978749"/>
              <a:gd name="connsiteY8723" fmla="*/ 603295 h 4806848"/>
              <a:gd name="connsiteX8724" fmla="*/ 6946749 w 8978749"/>
              <a:gd name="connsiteY8724" fmla="*/ 544566 h 4806848"/>
              <a:gd name="connsiteX8725" fmla="*/ 7005487 w 8978749"/>
              <a:gd name="connsiteY8725" fmla="*/ 544566 h 4806848"/>
              <a:gd name="connsiteX8726" fmla="*/ 7005487 w 8978749"/>
              <a:gd name="connsiteY8726" fmla="*/ 603295 h 4806848"/>
              <a:gd name="connsiteX8727" fmla="*/ 6946749 w 8978749"/>
              <a:gd name="connsiteY8727" fmla="*/ 603295 h 4806848"/>
              <a:gd name="connsiteX8728" fmla="*/ 6867374 w 8978749"/>
              <a:gd name="connsiteY8728" fmla="*/ 544566 h 4806848"/>
              <a:gd name="connsiteX8729" fmla="*/ 6926112 w 8978749"/>
              <a:gd name="connsiteY8729" fmla="*/ 544566 h 4806848"/>
              <a:gd name="connsiteX8730" fmla="*/ 6926112 w 8978749"/>
              <a:gd name="connsiteY8730" fmla="*/ 603295 h 4806848"/>
              <a:gd name="connsiteX8731" fmla="*/ 6867374 w 8978749"/>
              <a:gd name="connsiteY8731" fmla="*/ 603295 h 4806848"/>
              <a:gd name="connsiteX8732" fmla="*/ 6789586 w 8978749"/>
              <a:gd name="connsiteY8732" fmla="*/ 544566 h 4806848"/>
              <a:gd name="connsiteX8733" fmla="*/ 6846736 w 8978749"/>
              <a:gd name="connsiteY8733" fmla="*/ 544566 h 4806848"/>
              <a:gd name="connsiteX8734" fmla="*/ 6846736 w 8978749"/>
              <a:gd name="connsiteY8734" fmla="*/ 603295 h 4806848"/>
              <a:gd name="connsiteX8735" fmla="*/ 6789586 w 8978749"/>
              <a:gd name="connsiteY8735" fmla="*/ 603295 h 4806848"/>
              <a:gd name="connsiteX8736" fmla="*/ 6710211 w 8978749"/>
              <a:gd name="connsiteY8736" fmla="*/ 544566 h 4806848"/>
              <a:gd name="connsiteX8737" fmla="*/ 6768949 w 8978749"/>
              <a:gd name="connsiteY8737" fmla="*/ 544566 h 4806848"/>
              <a:gd name="connsiteX8738" fmla="*/ 6768949 w 8978749"/>
              <a:gd name="connsiteY8738" fmla="*/ 603295 h 4806848"/>
              <a:gd name="connsiteX8739" fmla="*/ 6710211 w 8978749"/>
              <a:gd name="connsiteY8739" fmla="*/ 603295 h 4806848"/>
              <a:gd name="connsiteX8740" fmla="*/ 6630836 w 8978749"/>
              <a:gd name="connsiteY8740" fmla="*/ 544566 h 4806848"/>
              <a:gd name="connsiteX8741" fmla="*/ 6689574 w 8978749"/>
              <a:gd name="connsiteY8741" fmla="*/ 544566 h 4806848"/>
              <a:gd name="connsiteX8742" fmla="*/ 6689574 w 8978749"/>
              <a:gd name="connsiteY8742" fmla="*/ 603295 h 4806848"/>
              <a:gd name="connsiteX8743" fmla="*/ 6630836 w 8978749"/>
              <a:gd name="connsiteY8743" fmla="*/ 603295 h 4806848"/>
              <a:gd name="connsiteX8744" fmla="*/ 6551461 w 8978749"/>
              <a:gd name="connsiteY8744" fmla="*/ 544566 h 4806848"/>
              <a:gd name="connsiteX8745" fmla="*/ 6610199 w 8978749"/>
              <a:gd name="connsiteY8745" fmla="*/ 544566 h 4806848"/>
              <a:gd name="connsiteX8746" fmla="*/ 6610199 w 8978749"/>
              <a:gd name="connsiteY8746" fmla="*/ 603295 h 4806848"/>
              <a:gd name="connsiteX8747" fmla="*/ 6551461 w 8978749"/>
              <a:gd name="connsiteY8747" fmla="*/ 603295 h 4806848"/>
              <a:gd name="connsiteX8748" fmla="*/ 6473674 w 8978749"/>
              <a:gd name="connsiteY8748" fmla="*/ 544566 h 4806848"/>
              <a:gd name="connsiteX8749" fmla="*/ 6530824 w 8978749"/>
              <a:gd name="connsiteY8749" fmla="*/ 544566 h 4806848"/>
              <a:gd name="connsiteX8750" fmla="*/ 6530824 w 8978749"/>
              <a:gd name="connsiteY8750" fmla="*/ 603295 h 4806848"/>
              <a:gd name="connsiteX8751" fmla="*/ 6473674 w 8978749"/>
              <a:gd name="connsiteY8751" fmla="*/ 603295 h 4806848"/>
              <a:gd name="connsiteX8752" fmla="*/ 6394299 w 8978749"/>
              <a:gd name="connsiteY8752" fmla="*/ 544566 h 4806848"/>
              <a:gd name="connsiteX8753" fmla="*/ 6453037 w 8978749"/>
              <a:gd name="connsiteY8753" fmla="*/ 544566 h 4806848"/>
              <a:gd name="connsiteX8754" fmla="*/ 6453037 w 8978749"/>
              <a:gd name="connsiteY8754" fmla="*/ 603295 h 4806848"/>
              <a:gd name="connsiteX8755" fmla="*/ 6394299 w 8978749"/>
              <a:gd name="connsiteY8755" fmla="*/ 603295 h 4806848"/>
              <a:gd name="connsiteX8756" fmla="*/ 6235549 w 8978749"/>
              <a:gd name="connsiteY8756" fmla="*/ 544566 h 4806848"/>
              <a:gd name="connsiteX8757" fmla="*/ 6294287 w 8978749"/>
              <a:gd name="connsiteY8757" fmla="*/ 544566 h 4806848"/>
              <a:gd name="connsiteX8758" fmla="*/ 6294287 w 8978749"/>
              <a:gd name="connsiteY8758" fmla="*/ 603295 h 4806848"/>
              <a:gd name="connsiteX8759" fmla="*/ 6235549 w 8978749"/>
              <a:gd name="connsiteY8759" fmla="*/ 603295 h 4806848"/>
              <a:gd name="connsiteX8760" fmla="*/ 6078386 w 8978749"/>
              <a:gd name="connsiteY8760" fmla="*/ 544566 h 4806848"/>
              <a:gd name="connsiteX8761" fmla="*/ 6137124 w 8978749"/>
              <a:gd name="connsiteY8761" fmla="*/ 544566 h 4806848"/>
              <a:gd name="connsiteX8762" fmla="*/ 6137124 w 8978749"/>
              <a:gd name="connsiteY8762" fmla="*/ 603295 h 4806848"/>
              <a:gd name="connsiteX8763" fmla="*/ 6078386 w 8978749"/>
              <a:gd name="connsiteY8763" fmla="*/ 603295 h 4806848"/>
              <a:gd name="connsiteX8764" fmla="*/ 5999011 w 8978749"/>
              <a:gd name="connsiteY8764" fmla="*/ 544566 h 4806848"/>
              <a:gd name="connsiteX8765" fmla="*/ 6057749 w 8978749"/>
              <a:gd name="connsiteY8765" fmla="*/ 544566 h 4806848"/>
              <a:gd name="connsiteX8766" fmla="*/ 6057749 w 8978749"/>
              <a:gd name="connsiteY8766" fmla="*/ 603295 h 4806848"/>
              <a:gd name="connsiteX8767" fmla="*/ 5999011 w 8978749"/>
              <a:gd name="connsiteY8767" fmla="*/ 603295 h 4806848"/>
              <a:gd name="connsiteX8768" fmla="*/ 5921224 w 8978749"/>
              <a:gd name="connsiteY8768" fmla="*/ 544566 h 4806848"/>
              <a:gd name="connsiteX8769" fmla="*/ 5978374 w 8978749"/>
              <a:gd name="connsiteY8769" fmla="*/ 544566 h 4806848"/>
              <a:gd name="connsiteX8770" fmla="*/ 5978374 w 8978749"/>
              <a:gd name="connsiteY8770" fmla="*/ 603295 h 4806848"/>
              <a:gd name="connsiteX8771" fmla="*/ 5921224 w 8978749"/>
              <a:gd name="connsiteY8771" fmla="*/ 603295 h 4806848"/>
              <a:gd name="connsiteX8772" fmla="*/ 5605311 w 8978749"/>
              <a:gd name="connsiteY8772" fmla="*/ 544566 h 4806848"/>
              <a:gd name="connsiteX8773" fmla="*/ 5664049 w 8978749"/>
              <a:gd name="connsiteY8773" fmla="*/ 544566 h 4806848"/>
              <a:gd name="connsiteX8774" fmla="*/ 5664049 w 8978749"/>
              <a:gd name="connsiteY8774" fmla="*/ 603295 h 4806848"/>
              <a:gd name="connsiteX8775" fmla="*/ 5605311 w 8978749"/>
              <a:gd name="connsiteY8775" fmla="*/ 603295 h 4806848"/>
              <a:gd name="connsiteX8776" fmla="*/ 1420843 w 8978749"/>
              <a:gd name="connsiteY8776" fmla="*/ 544547 h 4806848"/>
              <a:gd name="connsiteX8777" fmla="*/ 1479579 w 8978749"/>
              <a:gd name="connsiteY8777" fmla="*/ 544547 h 4806848"/>
              <a:gd name="connsiteX8778" fmla="*/ 1479579 w 8978749"/>
              <a:gd name="connsiteY8778" fmla="*/ 603277 h 4806848"/>
              <a:gd name="connsiteX8779" fmla="*/ 1420843 w 8978749"/>
              <a:gd name="connsiteY8779" fmla="*/ 603277 h 4806848"/>
              <a:gd name="connsiteX8780" fmla="*/ 1341503 w 8978749"/>
              <a:gd name="connsiteY8780" fmla="*/ 544547 h 4806848"/>
              <a:gd name="connsiteX8781" fmla="*/ 1400224 w 8978749"/>
              <a:gd name="connsiteY8781" fmla="*/ 544547 h 4806848"/>
              <a:gd name="connsiteX8782" fmla="*/ 1400224 w 8978749"/>
              <a:gd name="connsiteY8782" fmla="*/ 603277 h 4806848"/>
              <a:gd name="connsiteX8783" fmla="*/ 1341503 w 8978749"/>
              <a:gd name="connsiteY8783" fmla="*/ 603277 h 4806848"/>
              <a:gd name="connsiteX8784" fmla="*/ 1184319 w 8978749"/>
              <a:gd name="connsiteY8784" fmla="*/ 544547 h 4806848"/>
              <a:gd name="connsiteX8785" fmla="*/ 1243051 w 8978749"/>
              <a:gd name="connsiteY8785" fmla="*/ 544547 h 4806848"/>
              <a:gd name="connsiteX8786" fmla="*/ 1243051 w 8978749"/>
              <a:gd name="connsiteY8786" fmla="*/ 603277 h 4806848"/>
              <a:gd name="connsiteX8787" fmla="*/ 1184319 w 8978749"/>
              <a:gd name="connsiteY8787" fmla="*/ 603277 h 4806848"/>
              <a:gd name="connsiteX8788" fmla="*/ 1500223 w 8978749"/>
              <a:gd name="connsiteY8788" fmla="*/ 544547 h 4806848"/>
              <a:gd name="connsiteX8789" fmla="*/ 1558968 w 8978749"/>
              <a:gd name="connsiteY8789" fmla="*/ 544547 h 4806848"/>
              <a:gd name="connsiteX8790" fmla="*/ 1558968 w 8978749"/>
              <a:gd name="connsiteY8790" fmla="*/ 603277 h 4806848"/>
              <a:gd name="connsiteX8791" fmla="*/ 1500223 w 8978749"/>
              <a:gd name="connsiteY8791" fmla="*/ 603277 h 4806848"/>
              <a:gd name="connsiteX8792" fmla="*/ 1816156 w 8978749"/>
              <a:gd name="connsiteY8792" fmla="*/ 544547 h 4806848"/>
              <a:gd name="connsiteX8793" fmla="*/ 1873288 w 8978749"/>
              <a:gd name="connsiteY8793" fmla="*/ 544547 h 4806848"/>
              <a:gd name="connsiteX8794" fmla="*/ 1873288 w 8978749"/>
              <a:gd name="connsiteY8794" fmla="*/ 603277 h 4806848"/>
              <a:gd name="connsiteX8795" fmla="*/ 1816156 w 8978749"/>
              <a:gd name="connsiteY8795" fmla="*/ 603277 h 4806848"/>
              <a:gd name="connsiteX8796" fmla="*/ 1736782 w 8978749"/>
              <a:gd name="connsiteY8796" fmla="*/ 544547 h 4806848"/>
              <a:gd name="connsiteX8797" fmla="*/ 1795522 w 8978749"/>
              <a:gd name="connsiteY8797" fmla="*/ 544547 h 4806848"/>
              <a:gd name="connsiteX8798" fmla="*/ 1795522 w 8978749"/>
              <a:gd name="connsiteY8798" fmla="*/ 603277 h 4806848"/>
              <a:gd name="connsiteX8799" fmla="*/ 1736782 w 8978749"/>
              <a:gd name="connsiteY8799" fmla="*/ 603277 h 4806848"/>
              <a:gd name="connsiteX8800" fmla="*/ 1578010 w 8978749"/>
              <a:gd name="connsiteY8800" fmla="*/ 544547 h 4806848"/>
              <a:gd name="connsiteX8801" fmla="*/ 1636764 w 8978749"/>
              <a:gd name="connsiteY8801" fmla="*/ 544547 h 4806848"/>
              <a:gd name="connsiteX8802" fmla="*/ 1636764 w 8978749"/>
              <a:gd name="connsiteY8802" fmla="*/ 603277 h 4806848"/>
              <a:gd name="connsiteX8803" fmla="*/ 1578010 w 8978749"/>
              <a:gd name="connsiteY8803" fmla="*/ 603277 h 4806848"/>
              <a:gd name="connsiteX8804" fmla="*/ 2052678 w 8978749"/>
              <a:gd name="connsiteY8804" fmla="*/ 544546 h 4806848"/>
              <a:gd name="connsiteX8805" fmla="*/ 2111420 w 8978749"/>
              <a:gd name="connsiteY8805" fmla="*/ 544546 h 4806848"/>
              <a:gd name="connsiteX8806" fmla="*/ 2111420 w 8978749"/>
              <a:gd name="connsiteY8806" fmla="*/ 603277 h 4806848"/>
              <a:gd name="connsiteX8807" fmla="*/ 2052678 w 8978749"/>
              <a:gd name="connsiteY8807" fmla="*/ 603277 h 4806848"/>
              <a:gd name="connsiteX8808" fmla="*/ 1893916 w 8978749"/>
              <a:gd name="connsiteY8808" fmla="*/ 544546 h 4806848"/>
              <a:gd name="connsiteX8809" fmla="*/ 1952655 w 8978749"/>
              <a:gd name="connsiteY8809" fmla="*/ 544546 h 4806848"/>
              <a:gd name="connsiteX8810" fmla="*/ 1952655 w 8978749"/>
              <a:gd name="connsiteY8810" fmla="*/ 603277 h 4806848"/>
              <a:gd name="connsiteX8811" fmla="*/ 1893916 w 8978749"/>
              <a:gd name="connsiteY8811" fmla="*/ 603277 h 4806848"/>
              <a:gd name="connsiteX8812" fmla="*/ 2289223 w 8978749"/>
              <a:gd name="connsiteY8812" fmla="*/ 544546 h 4806848"/>
              <a:gd name="connsiteX8813" fmla="*/ 2347965 w 8978749"/>
              <a:gd name="connsiteY8813" fmla="*/ 544546 h 4806848"/>
              <a:gd name="connsiteX8814" fmla="*/ 2347965 w 8978749"/>
              <a:gd name="connsiteY8814" fmla="*/ 603276 h 4806848"/>
              <a:gd name="connsiteX8815" fmla="*/ 2289223 w 8978749"/>
              <a:gd name="connsiteY8815" fmla="*/ 603276 h 4806848"/>
              <a:gd name="connsiteX8816" fmla="*/ 2209845 w 8978749"/>
              <a:gd name="connsiteY8816" fmla="*/ 544546 h 4806848"/>
              <a:gd name="connsiteX8817" fmla="*/ 2268586 w 8978749"/>
              <a:gd name="connsiteY8817" fmla="*/ 544546 h 4806848"/>
              <a:gd name="connsiteX8818" fmla="*/ 2268586 w 8978749"/>
              <a:gd name="connsiteY8818" fmla="*/ 603276 h 4806848"/>
              <a:gd name="connsiteX8819" fmla="*/ 2209845 w 8978749"/>
              <a:gd name="connsiteY8819" fmla="*/ 603276 h 4806848"/>
              <a:gd name="connsiteX8820" fmla="*/ 2132054 w 8978749"/>
              <a:gd name="connsiteY8820" fmla="*/ 544546 h 4806848"/>
              <a:gd name="connsiteX8821" fmla="*/ 2189212 w 8978749"/>
              <a:gd name="connsiteY8821" fmla="*/ 544546 h 4806848"/>
              <a:gd name="connsiteX8822" fmla="*/ 2189212 w 8978749"/>
              <a:gd name="connsiteY8822" fmla="*/ 603277 h 4806848"/>
              <a:gd name="connsiteX8823" fmla="*/ 2132054 w 8978749"/>
              <a:gd name="connsiteY8823" fmla="*/ 603277 h 4806848"/>
              <a:gd name="connsiteX8824" fmla="*/ 2368599 w 8978749"/>
              <a:gd name="connsiteY8824" fmla="*/ 544546 h 4806848"/>
              <a:gd name="connsiteX8825" fmla="*/ 2427335 w 8978749"/>
              <a:gd name="connsiteY8825" fmla="*/ 544546 h 4806848"/>
              <a:gd name="connsiteX8826" fmla="*/ 2427335 w 8978749"/>
              <a:gd name="connsiteY8826" fmla="*/ 603276 h 4806848"/>
              <a:gd name="connsiteX8827" fmla="*/ 2368599 w 8978749"/>
              <a:gd name="connsiteY8827" fmla="*/ 603276 h 4806848"/>
              <a:gd name="connsiteX8828" fmla="*/ 3078011 w 8978749"/>
              <a:gd name="connsiteY8828" fmla="*/ 544546 h 4806848"/>
              <a:gd name="connsiteX8829" fmla="*/ 3136749 w 8978749"/>
              <a:gd name="connsiteY8829" fmla="*/ 544546 h 4806848"/>
              <a:gd name="connsiteX8830" fmla="*/ 3136749 w 8978749"/>
              <a:gd name="connsiteY8830" fmla="*/ 603276 h 4806848"/>
              <a:gd name="connsiteX8831" fmla="*/ 3078011 w 8978749"/>
              <a:gd name="connsiteY8831" fmla="*/ 603276 h 4806848"/>
              <a:gd name="connsiteX8832" fmla="*/ 3000224 w 8978749"/>
              <a:gd name="connsiteY8832" fmla="*/ 544546 h 4806848"/>
              <a:gd name="connsiteX8833" fmla="*/ 3057374 w 8978749"/>
              <a:gd name="connsiteY8833" fmla="*/ 544546 h 4806848"/>
              <a:gd name="connsiteX8834" fmla="*/ 3057374 w 8978749"/>
              <a:gd name="connsiteY8834" fmla="*/ 603276 h 4806848"/>
              <a:gd name="connsiteX8835" fmla="*/ 3000224 w 8978749"/>
              <a:gd name="connsiteY8835" fmla="*/ 603276 h 4806848"/>
              <a:gd name="connsiteX8836" fmla="*/ 2920849 w 8978749"/>
              <a:gd name="connsiteY8836" fmla="*/ 544546 h 4806848"/>
              <a:gd name="connsiteX8837" fmla="*/ 2979587 w 8978749"/>
              <a:gd name="connsiteY8837" fmla="*/ 544546 h 4806848"/>
              <a:gd name="connsiteX8838" fmla="*/ 2979587 w 8978749"/>
              <a:gd name="connsiteY8838" fmla="*/ 603276 h 4806848"/>
              <a:gd name="connsiteX8839" fmla="*/ 2920849 w 8978749"/>
              <a:gd name="connsiteY8839" fmla="*/ 603276 h 4806848"/>
              <a:gd name="connsiteX8840" fmla="*/ 3314549 w 8978749"/>
              <a:gd name="connsiteY8840" fmla="*/ 544545 h 4806848"/>
              <a:gd name="connsiteX8841" fmla="*/ 3373287 w 8978749"/>
              <a:gd name="connsiteY8841" fmla="*/ 544545 h 4806848"/>
              <a:gd name="connsiteX8842" fmla="*/ 3373287 w 8978749"/>
              <a:gd name="connsiteY8842" fmla="*/ 603275 h 4806848"/>
              <a:gd name="connsiteX8843" fmla="*/ 3314549 w 8978749"/>
              <a:gd name="connsiteY8843" fmla="*/ 603275 h 4806848"/>
              <a:gd name="connsiteX8844" fmla="*/ 3236761 w 8978749"/>
              <a:gd name="connsiteY8844" fmla="*/ 544545 h 4806848"/>
              <a:gd name="connsiteX8845" fmla="*/ 3293911 w 8978749"/>
              <a:gd name="connsiteY8845" fmla="*/ 544545 h 4806848"/>
              <a:gd name="connsiteX8846" fmla="*/ 3293911 w 8978749"/>
              <a:gd name="connsiteY8846" fmla="*/ 603275 h 4806848"/>
              <a:gd name="connsiteX8847" fmla="*/ 3236761 w 8978749"/>
              <a:gd name="connsiteY8847" fmla="*/ 603275 h 4806848"/>
              <a:gd name="connsiteX8848" fmla="*/ 3157386 w 8978749"/>
              <a:gd name="connsiteY8848" fmla="*/ 544545 h 4806848"/>
              <a:gd name="connsiteX8849" fmla="*/ 3216124 w 8978749"/>
              <a:gd name="connsiteY8849" fmla="*/ 544545 h 4806848"/>
              <a:gd name="connsiteX8850" fmla="*/ 3216124 w 8978749"/>
              <a:gd name="connsiteY8850" fmla="*/ 603276 h 4806848"/>
              <a:gd name="connsiteX8851" fmla="*/ 3157386 w 8978749"/>
              <a:gd name="connsiteY8851" fmla="*/ 603276 h 4806848"/>
              <a:gd name="connsiteX8852" fmla="*/ 3393924 w 8978749"/>
              <a:gd name="connsiteY8852" fmla="*/ 544545 h 4806848"/>
              <a:gd name="connsiteX8853" fmla="*/ 3452662 w 8978749"/>
              <a:gd name="connsiteY8853" fmla="*/ 544545 h 4806848"/>
              <a:gd name="connsiteX8854" fmla="*/ 3452662 w 8978749"/>
              <a:gd name="connsiteY8854" fmla="*/ 603275 h 4806848"/>
              <a:gd name="connsiteX8855" fmla="*/ 3393924 w 8978749"/>
              <a:gd name="connsiteY8855" fmla="*/ 603275 h 4806848"/>
              <a:gd name="connsiteX8856" fmla="*/ 3630461 w 8978749"/>
              <a:gd name="connsiteY8856" fmla="*/ 544545 h 4806848"/>
              <a:gd name="connsiteX8857" fmla="*/ 3689199 w 8978749"/>
              <a:gd name="connsiteY8857" fmla="*/ 544545 h 4806848"/>
              <a:gd name="connsiteX8858" fmla="*/ 3689199 w 8978749"/>
              <a:gd name="connsiteY8858" fmla="*/ 603275 h 4806848"/>
              <a:gd name="connsiteX8859" fmla="*/ 3630461 w 8978749"/>
              <a:gd name="connsiteY8859" fmla="*/ 603275 h 4806848"/>
              <a:gd name="connsiteX8860" fmla="*/ 3552674 w 8978749"/>
              <a:gd name="connsiteY8860" fmla="*/ 544545 h 4806848"/>
              <a:gd name="connsiteX8861" fmla="*/ 3609824 w 8978749"/>
              <a:gd name="connsiteY8861" fmla="*/ 544545 h 4806848"/>
              <a:gd name="connsiteX8862" fmla="*/ 3609824 w 8978749"/>
              <a:gd name="connsiteY8862" fmla="*/ 603275 h 4806848"/>
              <a:gd name="connsiteX8863" fmla="*/ 3552674 w 8978749"/>
              <a:gd name="connsiteY8863" fmla="*/ 603275 h 4806848"/>
              <a:gd name="connsiteX8864" fmla="*/ 3473299 w 8978749"/>
              <a:gd name="connsiteY8864" fmla="*/ 544545 h 4806848"/>
              <a:gd name="connsiteX8865" fmla="*/ 3532037 w 8978749"/>
              <a:gd name="connsiteY8865" fmla="*/ 544545 h 4806848"/>
              <a:gd name="connsiteX8866" fmla="*/ 3532037 w 8978749"/>
              <a:gd name="connsiteY8866" fmla="*/ 603275 h 4806848"/>
              <a:gd name="connsiteX8867" fmla="*/ 3473299 w 8978749"/>
              <a:gd name="connsiteY8867" fmla="*/ 603275 h 4806848"/>
              <a:gd name="connsiteX8868" fmla="*/ 7815111 w 8978749"/>
              <a:gd name="connsiteY8868" fmla="*/ 466789 h 4806848"/>
              <a:gd name="connsiteX8869" fmla="*/ 7873849 w 8978749"/>
              <a:gd name="connsiteY8869" fmla="*/ 466789 h 4806848"/>
              <a:gd name="connsiteX8870" fmla="*/ 7873849 w 8978749"/>
              <a:gd name="connsiteY8870" fmla="*/ 525519 h 4806848"/>
              <a:gd name="connsiteX8871" fmla="*/ 7815111 w 8978749"/>
              <a:gd name="connsiteY8871" fmla="*/ 525519 h 4806848"/>
              <a:gd name="connsiteX8872" fmla="*/ 7735736 w 8978749"/>
              <a:gd name="connsiteY8872" fmla="*/ 466789 h 4806848"/>
              <a:gd name="connsiteX8873" fmla="*/ 7794474 w 8978749"/>
              <a:gd name="connsiteY8873" fmla="*/ 466789 h 4806848"/>
              <a:gd name="connsiteX8874" fmla="*/ 7794474 w 8978749"/>
              <a:gd name="connsiteY8874" fmla="*/ 525519 h 4806848"/>
              <a:gd name="connsiteX8875" fmla="*/ 7735736 w 8978749"/>
              <a:gd name="connsiteY8875" fmla="*/ 525519 h 4806848"/>
              <a:gd name="connsiteX8876" fmla="*/ 7419824 w 8978749"/>
              <a:gd name="connsiteY8876" fmla="*/ 466789 h 4806848"/>
              <a:gd name="connsiteX8877" fmla="*/ 7478562 w 8978749"/>
              <a:gd name="connsiteY8877" fmla="*/ 466789 h 4806848"/>
              <a:gd name="connsiteX8878" fmla="*/ 7478562 w 8978749"/>
              <a:gd name="connsiteY8878" fmla="*/ 525519 h 4806848"/>
              <a:gd name="connsiteX8879" fmla="*/ 7419824 w 8978749"/>
              <a:gd name="connsiteY8879" fmla="*/ 525519 h 4806848"/>
              <a:gd name="connsiteX8880" fmla="*/ 7342036 w 8978749"/>
              <a:gd name="connsiteY8880" fmla="*/ 466789 h 4806848"/>
              <a:gd name="connsiteX8881" fmla="*/ 7400774 w 8978749"/>
              <a:gd name="connsiteY8881" fmla="*/ 466789 h 4806848"/>
              <a:gd name="connsiteX8882" fmla="*/ 7400774 w 8978749"/>
              <a:gd name="connsiteY8882" fmla="*/ 525519 h 4806848"/>
              <a:gd name="connsiteX8883" fmla="*/ 7342036 w 8978749"/>
              <a:gd name="connsiteY8883" fmla="*/ 525519 h 4806848"/>
              <a:gd name="connsiteX8884" fmla="*/ 7105499 w 8978749"/>
              <a:gd name="connsiteY8884" fmla="*/ 466789 h 4806848"/>
              <a:gd name="connsiteX8885" fmla="*/ 7162649 w 8978749"/>
              <a:gd name="connsiteY8885" fmla="*/ 466789 h 4806848"/>
              <a:gd name="connsiteX8886" fmla="*/ 7162649 w 8978749"/>
              <a:gd name="connsiteY8886" fmla="*/ 525519 h 4806848"/>
              <a:gd name="connsiteX8887" fmla="*/ 7105499 w 8978749"/>
              <a:gd name="connsiteY8887" fmla="*/ 525519 h 4806848"/>
              <a:gd name="connsiteX8888" fmla="*/ 7026124 w 8978749"/>
              <a:gd name="connsiteY8888" fmla="*/ 466789 h 4806848"/>
              <a:gd name="connsiteX8889" fmla="*/ 7084862 w 8978749"/>
              <a:gd name="connsiteY8889" fmla="*/ 466789 h 4806848"/>
              <a:gd name="connsiteX8890" fmla="*/ 7084862 w 8978749"/>
              <a:gd name="connsiteY8890" fmla="*/ 525519 h 4806848"/>
              <a:gd name="connsiteX8891" fmla="*/ 7026124 w 8978749"/>
              <a:gd name="connsiteY8891" fmla="*/ 525519 h 4806848"/>
              <a:gd name="connsiteX8892" fmla="*/ 6946749 w 8978749"/>
              <a:gd name="connsiteY8892" fmla="*/ 466789 h 4806848"/>
              <a:gd name="connsiteX8893" fmla="*/ 7005487 w 8978749"/>
              <a:gd name="connsiteY8893" fmla="*/ 466789 h 4806848"/>
              <a:gd name="connsiteX8894" fmla="*/ 7005487 w 8978749"/>
              <a:gd name="connsiteY8894" fmla="*/ 525519 h 4806848"/>
              <a:gd name="connsiteX8895" fmla="*/ 6946749 w 8978749"/>
              <a:gd name="connsiteY8895" fmla="*/ 525519 h 4806848"/>
              <a:gd name="connsiteX8896" fmla="*/ 6867374 w 8978749"/>
              <a:gd name="connsiteY8896" fmla="*/ 466789 h 4806848"/>
              <a:gd name="connsiteX8897" fmla="*/ 6926112 w 8978749"/>
              <a:gd name="connsiteY8897" fmla="*/ 466789 h 4806848"/>
              <a:gd name="connsiteX8898" fmla="*/ 6926112 w 8978749"/>
              <a:gd name="connsiteY8898" fmla="*/ 525519 h 4806848"/>
              <a:gd name="connsiteX8899" fmla="*/ 6867374 w 8978749"/>
              <a:gd name="connsiteY8899" fmla="*/ 525519 h 4806848"/>
              <a:gd name="connsiteX8900" fmla="*/ 6789586 w 8978749"/>
              <a:gd name="connsiteY8900" fmla="*/ 466789 h 4806848"/>
              <a:gd name="connsiteX8901" fmla="*/ 6846736 w 8978749"/>
              <a:gd name="connsiteY8901" fmla="*/ 466789 h 4806848"/>
              <a:gd name="connsiteX8902" fmla="*/ 6846736 w 8978749"/>
              <a:gd name="connsiteY8902" fmla="*/ 525519 h 4806848"/>
              <a:gd name="connsiteX8903" fmla="*/ 6789586 w 8978749"/>
              <a:gd name="connsiteY8903" fmla="*/ 525519 h 4806848"/>
              <a:gd name="connsiteX8904" fmla="*/ 6710211 w 8978749"/>
              <a:gd name="connsiteY8904" fmla="*/ 466789 h 4806848"/>
              <a:gd name="connsiteX8905" fmla="*/ 6768949 w 8978749"/>
              <a:gd name="connsiteY8905" fmla="*/ 466789 h 4806848"/>
              <a:gd name="connsiteX8906" fmla="*/ 6768949 w 8978749"/>
              <a:gd name="connsiteY8906" fmla="*/ 525519 h 4806848"/>
              <a:gd name="connsiteX8907" fmla="*/ 6710211 w 8978749"/>
              <a:gd name="connsiteY8907" fmla="*/ 525519 h 4806848"/>
              <a:gd name="connsiteX8908" fmla="*/ 6630836 w 8978749"/>
              <a:gd name="connsiteY8908" fmla="*/ 466789 h 4806848"/>
              <a:gd name="connsiteX8909" fmla="*/ 6689574 w 8978749"/>
              <a:gd name="connsiteY8909" fmla="*/ 466789 h 4806848"/>
              <a:gd name="connsiteX8910" fmla="*/ 6689574 w 8978749"/>
              <a:gd name="connsiteY8910" fmla="*/ 525519 h 4806848"/>
              <a:gd name="connsiteX8911" fmla="*/ 6630836 w 8978749"/>
              <a:gd name="connsiteY8911" fmla="*/ 525519 h 4806848"/>
              <a:gd name="connsiteX8912" fmla="*/ 6551461 w 8978749"/>
              <a:gd name="connsiteY8912" fmla="*/ 466789 h 4806848"/>
              <a:gd name="connsiteX8913" fmla="*/ 6610199 w 8978749"/>
              <a:gd name="connsiteY8913" fmla="*/ 466789 h 4806848"/>
              <a:gd name="connsiteX8914" fmla="*/ 6610199 w 8978749"/>
              <a:gd name="connsiteY8914" fmla="*/ 525519 h 4806848"/>
              <a:gd name="connsiteX8915" fmla="*/ 6551461 w 8978749"/>
              <a:gd name="connsiteY8915" fmla="*/ 525519 h 4806848"/>
              <a:gd name="connsiteX8916" fmla="*/ 6473674 w 8978749"/>
              <a:gd name="connsiteY8916" fmla="*/ 466789 h 4806848"/>
              <a:gd name="connsiteX8917" fmla="*/ 6530824 w 8978749"/>
              <a:gd name="connsiteY8917" fmla="*/ 466789 h 4806848"/>
              <a:gd name="connsiteX8918" fmla="*/ 6530824 w 8978749"/>
              <a:gd name="connsiteY8918" fmla="*/ 525519 h 4806848"/>
              <a:gd name="connsiteX8919" fmla="*/ 6473674 w 8978749"/>
              <a:gd name="connsiteY8919" fmla="*/ 525519 h 4806848"/>
              <a:gd name="connsiteX8920" fmla="*/ 6394299 w 8978749"/>
              <a:gd name="connsiteY8920" fmla="*/ 466789 h 4806848"/>
              <a:gd name="connsiteX8921" fmla="*/ 6453037 w 8978749"/>
              <a:gd name="connsiteY8921" fmla="*/ 466789 h 4806848"/>
              <a:gd name="connsiteX8922" fmla="*/ 6453037 w 8978749"/>
              <a:gd name="connsiteY8922" fmla="*/ 525519 h 4806848"/>
              <a:gd name="connsiteX8923" fmla="*/ 6394299 w 8978749"/>
              <a:gd name="connsiteY8923" fmla="*/ 525519 h 4806848"/>
              <a:gd name="connsiteX8924" fmla="*/ 6314924 w 8978749"/>
              <a:gd name="connsiteY8924" fmla="*/ 466789 h 4806848"/>
              <a:gd name="connsiteX8925" fmla="*/ 6373662 w 8978749"/>
              <a:gd name="connsiteY8925" fmla="*/ 466789 h 4806848"/>
              <a:gd name="connsiteX8926" fmla="*/ 6373662 w 8978749"/>
              <a:gd name="connsiteY8926" fmla="*/ 525519 h 4806848"/>
              <a:gd name="connsiteX8927" fmla="*/ 6314924 w 8978749"/>
              <a:gd name="connsiteY8927" fmla="*/ 525519 h 4806848"/>
              <a:gd name="connsiteX8928" fmla="*/ 5684686 w 8978749"/>
              <a:gd name="connsiteY8928" fmla="*/ 466789 h 4806848"/>
              <a:gd name="connsiteX8929" fmla="*/ 5741836 w 8978749"/>
              <a:gd name="connsiteY8929" fmla="*/ 466789 h 4806848"/>
              <a:gd name="connsiteX8930" fmla="*/ 5741836 w 8978749"/>
              <a:gd name="connsiteY8930" fmla="*/ 525519 h 4806848"/>
              <a:gd name="connsiteX8931" fmla="*/ 5684686 w 8978749"/>
              <a:gd name="connsiteY8931" fmla="*/ 525519 h 4806848"/>
              <a:gd name="connsiteX8932" fmla="*/ 5605311 w 8978749"/>
              <a:gd name="connsiteY8932" fmla="*/ 466789 h 4806848"/>
              <a:gd name="connsiteX8933" fmla="*/ 5664049 w 8978749"/>
              <a:gd name="connsiteY8933" fmla="*/ 466789 h 4806848"/>
              <a:gd name="connsiteX8934" fmla="*/ 5664049 w 8978749"/>
              <a:gd name="connsiteY8934" fmla="*/ 525519 h 4806848"/>
              <a:gd name="connsiteX8935" fmla="*/ 5605311 w 8978749"/>
              <a:gd name="connsiteY8935" fmla="*/ 525519 h 4806848"/>
              <a:gd name="connsiteX8936" fmla="*/ 1184322 w 8978749"/>
              <a:gd name="connsiteY8936" fmla="*/ 466773 h 4806848"/>
              <a:gd name="connsiteX8937" fmla="*/ 1243051 w 8978749"/>
              <a:gd name="connsiteY8937" fmla="*/ 466773 h 4806848"/>
              <a:gd name="connsiteX8938" fmla="*/ 1243051 w 8978749"/>
              <a:gd name="connsiteY8938" fmla="*/ 525503 h 4806848"/>
              <a:gd name="connsiteX8939" fmla="*/ 1184322 w 8978749"/>
              <a:gd name="connsiteY8939" fmla="*/ 525503 h 4806848"/>
              <a:gd name="connsiteX8940" fmla="*/ 1263689 w 8978749"/>
              <a:gd name="connsiteY8940" fmla="*/ 466773 h 4806848"/>
              <a:gd name="connsiteX8941" fmla="*/ 1320857 w 8978749"/>
              <a:gd name="connsiteY8941" fmla="*/ 466773 h 4806848"/>
              <a:gd name="connsiteX8942" fmla="*/ 1320857 w 8978749"/>
              <a:gd name="connsiteY8942" fmla="*/ 525503 h 4806848"/>
              <a:gd name="connsiteX8943" fmla="*/ 1263689 w 8978749"/>
              <a:gd name="connsiteY8943" fmla="*/ 525503 h 4806848"/>
              <a:gd name="connsiteX8944" fmla="*/ 1736782 w 8978749"/>
              <a:gd name="connsiteY8944" fmla="*/ 466773 h 4806848"/>
              <a:gd name="connsiteX8945" fmla="*/ 1795522 w 8978749"/>
              <a:gd name="connsiteY8945" fmla="*/ 466773 h 4806848"/>
              <a:gd name="connsiteX8946" fmla="*/ 1795522 w 8978749"/>
              <a:gd name="connsiteY8946" fmla="*/ 525502 h 4806848"/>
              <a:gd name="connsiteX8947" fmla="*/ 1736782 w 8978749"/>
              <a:gd name="connsiteY8947" fmla="*/ 525502 h 4806848"/>
              <a:gd name="connsiteX8948" fmla="*/ 1578016 w 8978749"/>
              <a:gd name="connsiteY8948" fmla="*/ 466773 h 4806848"/>
              <a:gd name="connsiteX8949" fmla="*/ 1636764 w 8978749"/>
              <a:gd name="connsiteY8949" fmla="*/ 466773 h 4806848"/>
              <a:gd name="connsiteX8950" fmla="*/ 1636764 w 8978749"/>
              <a:gd name="connsiteY8950" fmla="*/ 525503 h 4806848"/>
              <a:gd name="connsiteX8951" fmla="*/ 1578016 w 8978749"/>
              <a:gd name="connsiteY8951" fmla="*/ 525503 h 4806848"/>
              <a:gd name="connsiteX8952" fmla="*/ 1341506 w 8978749"/>
              <a:gd name="connsiteY8952" fmla="*/ 466773 h 4806848"/>
              <a:gd name="connsiteX8953" fmla="*/ 1400224 w 8978749"/>
              <a:gd name="connsiteY8953" fmla="*/ 466773 h 4806848"/>
              <a:gd name="connsiteX8954" fmla="*/ 1400224 w 8978749"/>
              <a:gd name="connsiteY8954" fmla="*/ 525503 h 4806848"/>
              <a:gd name="connsiteX8955" fmla="*/ 1341506 w 8978749"/>
              <a:gd name="connsiteY8955" fmla="*/ 525503 h 4806848"/>
              <a:gd name="connsiteX8956" fmla="*/ 1973295 w 8978749"/>
              <a:gd name="connsiteY8956" fmla="*/ 466772 h 4806848"/>
              <a:gd name="connsiteX8957" fmla="*/ 2032043 w 8978749"/>
              <a:gd name="connsiteY8957" fmla="*/ 466772 h 4806848"/>
              <a:gd name="connsiteX8958" fmla="*/ 2032043 w 8978749"/>
              <a:gd name="connsiteY8958" fmla="*/ 525502 h 4806848"/>
              <a:gd name="connsiteX8959" fmla="*/ 1973295 w 8978749"/>
              <a:gd name="connsiteY8959" fmla="*/ 525502 h 4806848"/>
              <a:gd name="connsiteX8960" fmla="*/ 1893916 w 8978749"/>
              <a:gd name="connsiteY8960" fmla="*/ 466772 h 4806848"/>
              <a:gd name="connsiteX8961" fmla="*/ 1952655 w 8978749"/>
              <a:gd name="connsiteY8961" fmla="*/ 466772 h 4806848"/>
              <a:gd name="connsiteX8962" fmla="*/ 1952655 w 8978749"/>
              <a:gd name="connsiteY8962" fmla="*/ 525502 h 4806848"/>
              <a:gd name="connsiteX8963" fmla="*/ 1893916 w 8978749"/>
              <a:gd name="connsiteY8963" fmla="*/ 525502 h 4806848"/>
              <a:gd name="connsiteX8964" fmla="*/ 1816156 w 8978749"/>
              <a:gd name="connsiteY8964" fmla="*/ 466772 h 4806848"/>
              <a:gd name="connsiteX8965" fmla="*/ 1873288 w 8978749"/>
              <a:gd name="connsiteY8965" fmla="*/ 466772 h 4806848"/>
              <a:gd name="connsiteX8966" fmla="*/ 1873288 w 8978749"/>
              <a:gd name="connsiteY8966" fmla="*/ 525502 h 4806848"/>
              <a:gd name="connsiteX8967" fmla="*/ 1816156 w 8978749"/>
              <a:gd name="connsiteY8967" fmla="*/ 525502 h 4806848"/>
              <a:gd name="connsiteX8968" fmla="*/ 2289223 w 8978749"/>
              <a:gd name="connsiteY8968" fmla="*/ 466772 h 4806848"/>
              <a:gd name="connsiteX8969" fmla="*/ 2347967 w 8978749"/>
              <a:gd name="connsiteY8969" fmla="*/ 466772 h 4806848"/>
              <a:gd name="connsiteX8970" fmla="*/ 2347967 w 8978749"/>
              <a:gd name="connsiteY8970" fmla="*/ 525502 h 4806848"/>
              <a:gd name="connsiteX8971" fmla="*/ 2289223 w 8978749"/>
              <a:gd name="connsiteY8971" fmla="*/ 525502 h 4806848"/>
              <a:gd name="connsiteX8972" fmla="*/ 3157386 w 8978749"/>
              <a:gd name="connsiteY8972" fmla="*/ 466771 h 4806848"/>
              <a:gd name="connsiteX8973" fmla="*/ 3216124 w 8978749"/>
              <a:gd name="connsiteY8973" fmla="*/ 466771 h 4806848"/>
              <a:gd name="connsiteX8974" fmla="*/ 3216124 w 8978749"/>
              <a:gd name="connsiteY8974" fmla="*/ 525502 h 4806848"/>
              <a:gd name="connsiteX8975" fmla="*/ 3157386 w 8978749"/>
              <a:gd name="connsiteY8975" fmla="*/ 525502 h 4806848"/>
              <a:gd name="connsiteX8976" fmla="*/ 3078011 w 8978749"/>
              <a:gd name="connsiteY8976" fmla="*/ 466771 h 4806848"/>
              <a:gd name="connsiteX8977" fmla="*/ 3136749 w 8978749"/>
              <a:gd name="connsiteY8977" fmla="*/ 466771 h 4806848"/>
              <a:gd name="connsiteX8978" fmla="*/ 3136749 w 8978749"/>
              <a:gd name="connsiteY8978" fmla="*/ 525502 h 4806848"/>
              <a:gd name="connsiteX8979" fmla="*/ 3078011 w 8978749"/>
              <a:gd name="connsiteY8979" fmla="*/ 525502 h 4806848"/>
              <a:gd name="connsiteX8980" fmla="*/ 3000224 w 8978749"/>
              <a:gd name="connsiteY8980" fmla="*/ 466771 h 4806848"/>
              <a:gd name="connsiteX8981" fmla="*/ 3057374 w 8978749"/>
              <a:gd name="connsiteY8981" fmla="*/ 466771 h 4806848"/>
              <a:gd name="connsiteX8982" fmla="*/ 3057374 w 8978749"/>
              <a:gd name="connsiteY8982" fmla="*/ 525502 h 4806848"/>
              <a:gd name="connsiteX8983" fmla="*/ 3000224 w 8978749"/>
              <a:gd name="connsiteY8983" fmla="*/ 525502 h 4806848"/>
              <a:gd name="connsiteX8984" fmla="*/ 2920849 w 8978749"/>
              <a:gd name="connsiteY8984" fmla="*/ 466771 h 4806848"/>
              <a:gd name="connsiteX8985" fmla="*/ 2979587 w 8978749"/>
              <a:gd name="connsiteY8985" fmla="*/ 466771 h 4806848"/>
              <a:gd name="connsiteX8986" fmla="*/ 2979587 w 8978749"/>
              <a:gd name="connsiteY8986" fmla="*/ 525502 h 4806848"/>
              <a:gd name="connsiteX8987" fmla="*/ 2920849 w 8978749"/>
              <a:gd name="connsiteY8987" fmla="*/ 525502 h 4806848"/>
              <a:gd name="connsiteX8988" fmla="*/ 3709836 w 8978749"/>
              <a:gd name="connsiteY8988" fmla="*/ 466771 h 4806848"/>
              <a:gd name="connsiteX8989" fmla="*/ 3768574 w 8978749"/>
              <a:gd name="connsiteY8989" fmla="*/ 466771 h 4806848"/>
              <a:gd name="connsiteX8990" fmla="*/ 3768574 w 8978749"/>
              <a:gd name="connsiteY8990" fmla="*/ 525501 h 4806848"/>
              <a:gd name="connsiteX8991" fmla="*/ 3709836 w 8978749"/>
              <a:gd name="connsiteY8991" fmla="*/ 525501 h 4806848"/>
              <a:gd name="connsiteX8992" fmla="*/ 3630461 w 8978749"/>
              <a:gd name="connsiteY8992" fmla="*/ 466771 h 4806848"/>
              <a:gd name="connsiteX8993" fmla="*/ 3689199 w 8978749"/>
              <a:gd name="connsiteY8993" fmla="*/ 466771 h 4806848"/>
              <a:gd name="connsiteX8994" fmla="*/ 3689199 w 8978749"/>
              <a:gd name="connsiteY8994" fmla="*/ 525501 h 4806848"/>
              <a:gd name="connsiteX8995" fmla="*/ 3630461 w 8978749"/>
              <a:gd name="connsiteY8995" fmla="*/ 525501 h 4806848"/>
              <a:gd name="connsiteX8996" fmla="*/ 3552674 w 8978749"/>
              <a:gd name="connsiteY8996" fmla="*/ 466771 h 4806848"/>
              <a:gd name="connsiteX8997" fmla="*/ 3609824 w 8978749"/>
              <a:gd name="connsiteY8997" fmla="*/ 466771 h 4806848"/>
              <a:gd name="connsiteX8998" fmla="*/ 3609824 w 8978749"/>
              <a:gd name="connsiteY8998" fmla="*/ 525501 h 4806848"/>
              <a:gd name="connsiteX8999" fmla="*/ 3552674 w 8978749"/>
              <a:gd name="connsiteY8999" fmla="*/ 525501 h 4806848"/>
              <a:gd name="connsiteX9000" fmla="*/ 3473299 w 8978749"/>
              <a:gd name="connsiteY9000" fmla="*/ 466771 h 4806848"/>
              <a:gd name="connsiteX9001" fmla="*/ 3532037 w 8978749"/>
              <a:gd name="connsiteY9001" fmla="*/ 466771 h 4806848"/>
              <a:gd name="connsiteX9002" fmla="*/ 3532037 w 8978749"/>
              <a:gd name="connsiteY9002" fmla="*/ 525501 h 4806848"/>
              <a:gd name="connsiteX9003" fmla="*/ 3473299 w 8978749"/>
              <a:gd name="connsiteY9003" fmla="*/ 525501 h 4806848"/>
              <a:gd name="connsiteX9004" fmla="*/ 3393924 w 8978749"/>
              <a:gd name="connsiteY9004" fmla="*/ 466771 h 4806848"/>
              <a:gd name="connsiteX9005" fmla="*/ 3452662 w 8978749"/>
              <a:gd name="connsiteY9005" fmla="*/ 466771 h 4806848"/>
              <a:gd name="connsiteX9006" fmla="*/ 3452662 w 8978749"/>
              <a:gd name="connsiteY9006" fmla="*/ 525501 h 4806848"/>
              <a:gd name="connsiteX9007" fmla="*/ 3393924 w 8978749"/>
              <a:gd name="connsiteY9007" fmla="*/ 525501 h 4806848"/>
              <a:gd name="connsiteX9008" fmla="*/ 3314549 w 8978749"/>
              <a:gd name="connsiteY9008" fmla="*/ 466771 h 4806848"/>
              <a:gd name="connsiteX9009" fmla="*/ 3373287 w 8978749"/>
              <a:gd name="connsiteY9009" fmla="*/ 466771 h 4806848"/>
              <a:gd name="connsiteX9010" fmla="*/ 3373287 w 8978749"/>
              <a:gd name="connsiteY9010" fmla="*/ 525501 h 4806848"/>
              <a:gd name="connsiteX9011" fmla="*/ 3314549 w 8978749"/>
              <a:gd name="connsiteY9011" fmla="*/ 525501 h 4806848"/>
              <a:gd name="connsiteX9012" fmla="*/ 3236761 w 8978749"/>
              <a:gd name="connsiteY9012" fmla="*/ 466771 h 4806848"/>
              <a:gd name="connsiteX9013" fmla="*/ 3293911 w 8978749"/>
              <a:gd name="connsiteY9013" fmla="*/ 466771 h 4806848"/>
              <a:gd name="connsiteX9014" fmla="*/ 3293911 w 8978749"/>
              <a:gd name="connsiteY9014" fmla="*/ 525501 h 4806848"/>
              <a:gd name="connsiteX9015" fmla="*/ 3236761 w 8978749"/>
              <a:gd name="connsiteY9015" fmla="*/ 525501 h 4806848"/>
              <a:gd name="connsiteX9016" fmla="*/ 7973861 w 8978749"/>
              <a:gd name="connsiteY9016" fmla="*/ 389004 h 4806848"/>
              <a:gd name="connsiteX9017" fmla="*/ 8031011 w 8978749"/>
              <a:gd name="connsiteY9017" fmla="*/ 389004 h 4806848"/>
              <a:gd name="connsiteX9018" fmla="*/ 8031011 w 8978749"/>
              <a:gd name="connsiteY9018" fmla="*/ 447741 h 4806848"/>
              <a:gd name="connsiteX9019" fmla="*/ 7973861 w 8978749"/>
              <a:gd name="connsiteY9019" fmla="*/ 447741 h 4806848"/>
              <a:gd name="connsiteX9020" fmla="*/ 7894486 w 8978749"/>
              <a:gd name="connsiteY9020" fmla="*/ 389004 h 4806848"/>
              <a:gd name="connsiteX9021" fmla="*/ 7951636 w 8978749"/>
              <a:gd name="connsiteY9021" fmla="*/ 389004 h 4806848"/>
              <a:gd name="connsiteX9022" fmla="*/ 7951636 w 8978749"/>
              <a:gd name="connsiteY9022" fmla="*/ 447741 h 4806848"/>
              <a:gd name="connsiteX9023" fmla="*/ 7894486 w 8978749"/>
              <a:gd name="connsiteY9023" fmla="*/ 447741 h 4806848"/>
              <a:gd name="connsiteX9024" fmla="*/ 7815111 w 8978749"/>
              <a:gd name="connsiteY9024" fmla="*/ 389004 h 4806848"/>
              <a:gd name="connsiteX9025" fmla="*/ 7873849 w 8978749"/>
              <a:gd name="connsiteY9025" fmla="*/ 389004 h 4806848"/>
              <a:gd name="connsiteX9026" fmla="*/ 7873849 w 8978749"/>
              <a:gd name="connsiteY9026" fmla="*/ 447741 h 4806848"/>
              <a:gd name="connsiteX9027" fmla="*/ 7815111 w 8978749"/>
              <a:gd name="connsiteY9027" fmla="*/ 447741 h 4806848"/>
              <a:gd name="connsiteX9028" fmla="*/ 7735736 w 8978749"/>
              <a:gd name="connsiteY9028" fmla="*/ 389004 h 4806848"/>
              <a:gd name="connsiteX9029" fmla="*/ 7794474 w 8978749"/>
              <a:gd name="connsiteY9029" fmla="*/ 389004 h 4806848"/>
              <a:gd name="connsiteX9030" fmla="*/ 7794474 w 8978749"/>
              <a:gd name="connsiteY9030" fmla="*/ 447741 h 4806848"/>
              <a:gd name="connsiteX9031" fmla="*/ 7735736 w 8978749"/>
              <a:gd name="connsiteY9031" fmla="*/ 447741 h 4806848"/>
              <a:gd name="connsiteX9032" fmla="*/ 7657949 w 8978749"/>
              <a:gd name="connsiteY9032" fmla="*/ 389004 h 4806848"/>
              <a:gd name="connsiteX9033" fmla="*/ 7715099 w 8978749"/>
              <a:gd name="connsiteY9033" fmla="*/ 389004 h 4806848"/>
              <a:gd name="connsiteX9034" fmla="*/ 7715099 w 8978749"/>
              <a:gd name="connsiteY9034" fmla="*/ 447741 h 4806848"/>
              <a:gd name="connsiteX9035" fmla="*/ 7657949 w 8978749"/>
              <a:gd name="connsiteY9035" fmla="*/ 447741 h 4806848"/>
              <a:gd name="connsiteX9036" fmla="*/ 7026124 w 8978749"/>
              <a:gd name="connsiteY9036" fmla="*/ 389004 h 4806848"/>
              <a:gd name="connsiteX9037" fmla="*/ 7084862 w 8978749"/>
              <a:gd name="connsiteY9037" fmla="*/ 389004 h 4806848"/>
              <a:gd name="connsiteX9038" fmla="*/ 7084862 w 8978749"/>
              <a:gd name="connsiteY9038" fmla="*/ 447741 h 4806848"/>
              <a:gd name="connsiteX9039" fmla="*/ 7026124 w 8978749"/>
              <a:gd name="connsiteY9039" fmla="*/ 447741 h 4806848"/>
              <a:gd name="connsiteX9040" fmla="*/ 6946749 w 8978749"/>
              <a:gd name="connsiteY9040" fmla="*/ 389004 h 4806848"/>
              <a:gd name="connsiteX9041" fmla="*/ 7005487 w 8978749"/>
              <a:gd name="connsiteY9041" fmla="*/ 389004 h 4806848"/>
              <a:gd name="connsiteX9042" fmla="*/ 7005487 w 8978749"/>
              <a:gd name="connsiteY9042" fmla="*/ 447741 h 4806848"/>
              <a:gd name="connsiteX9043" fmla="*/ 6946749 w 8978749"/>
              <a:gd name="connsiteY9043" fmla="*/ 447741 h 4806848"/>
              <a:gd name="connsiteX9044" fmla="*/ 6867374 w 8978749"/>
              <a:gd name="connsiteY9044" fmla="*/ 389004 h 4806848"/>
              <a:gd name="connsiteX9045" fmla="*/ 6926112 w 8978749"/>
              <a:gd name="connsiteY9045" fmla="*/ 389004 h 4806848"/>
              <a:gd name="connsiteX9046" fmla="*/ 6926112 w 8978749"/>
              <a:gd name="connsiteY9046" fmla="*/ 447741 h 4806848"/>
              <a:gd name="connsiteX9047" fmla="*/ 6867374 w 8978749"/>
              <a:gd name="connsiteY9047" fmla="*/ 447741 h 4806848"/>
              <a:gd name="connsiteX9048" fmla="*/ 6789586 w 8978749"/>
              <a:gd name="connsiteY9048" fmla="*/ 389004 h 4806848"/>
              <a:gd name="connsiteX9049" fmla="*/ 6846736 w 8978749"/>
              <a:gd name="connsiteY9049" fmla="*/ 389004 h 4806848"/>
              <a:gd name="connsiteX9050" fmla="*/ 6846736 w 8978749"/>
              <a:gd name="connsiteY9050" fmla="*/ 447741 h 4806848"/>
              <a:gd name="connsiteX9051" fmla="*/ 6789586 w 8978749"/>
              <a:gd name="connsiteY9051" fmla="*/ 447741 h 4806848"/>
              <a:gd name="connsiteX9052" fmla="*/ 6710211 w 8978749"/>
              <a:gd name="connsiteY9052" fmla="*/ 389004 h 4806848"/>
              <a:gd name="connsiteX9053" fmla="*/ 6768949 w 8978749"/>
              <a:gd name="connsiteY9053" fmla="*/ 389004 h 4806848"/>
              <a:gd name="connsiteX9054" fmla="*/ 6768949 w 8978749"/>
              <a:gd name="connsiteY9054" fmla="*/ 447741 h 4806848"/>
              <a:gd name="connsiteX9055" fmla="*/ 6710211 w 8978749"/>
              <a:gd name="connsiteY9055" fmla="*/ 447741 h 4806848"/>
              <a:gd name="connsiteX9056" fmla="*/ 6630836 w 8978749"/>
              <a:gd name="connsiteY9056" fmla="*/ 389004 h 4806848"/>
              <a:gd name="connsiteX9057" fmla="*/ 6689574 w 8978749"/>
              <a:gd name="connsiteY9057" fmla="*/ 389004 h 4806848"/>
              <a:gd name="connsiteX9058" fmla="*/ 6689574 w 8978749"/>
              <a:gd name="connsiteY9058" fmla="*/ 447741 h 4806848"/>
              <a:gd name="connsiteX9059" fmla="*/ 6630836 w 8978749"/>
              <a:gd name="connsiteY9059" fmla="*/ 447741 h 4806848"/>
              <a:gd name="connsiteX9060" fmla="*/ 6551461 w 8978749"/>
              <a:gd name="connsiteY9060" fmla="*/ 389004 h 4806848"/>
              <a:gd name="connsiteX9061" fmla="*/ 6610199 w 8978749"/>
              <a:gd name="connsiteY9061" fmla="*/ 389004 h 4806848"/>
              <a:gd name="connsiteX9062" fmla="*/ 6610199 w 8978749"/>
              <a:gd name="connsiteY9062" fmla="*/ 447741 h 4806848"/>
              <a:gd name="connsiteX9063" fmla="*/ 6551461 w 8978749"/>
              <a:gd name="connsiteY9063" fmla="*/ 447741 h 4806848"/>
              <a:gd name="connsiteX9064" fmla="*/ 6473674 w 8978749"/>
              <a:gd name="connsiteY9064" fmla="*/ 389004 h 4806848"/>
              <a:gd name="connsiteX9065" fmla="*/ 6530824 w 8978749"/>
              <a:gd name="connsiteY9065" fmla="*/ 389004 h 4806848"/>
              <a:gd name="connsiteX9066" fmla="*/ 6530824 w 8978749"/>
              <a:gd name="connsiteY9066" fmla="*/ 447741 h 4806848"/>
              <a:gd name="connsiteX9067" fmla="*/ 6473674 w 8978749"/>
              <a:gd name="connsiteY9067" fmla="*/ 447741 h 4806848"/>
              <a:gd name="connsiteX9068" fmla="*/ 6314924 w 8978749"/>
              <a:gd name="connsiteY9068" fmla="*/ 389004 h 4806848"/>
              <a:gd name="connsiteX9069" fmla="*/ 6373662 w 8978749"/>
              <a:gd name="connsiteY9069" fmla="*/ 389004 h 4806848"/>
              <a:gd name="connsiteX9070" fmla="*/ 6373662 w 8978749"/>
              <a:gd name="connsiteY9070" fmla="*/ 447741 h 4806848"/>
              <a:gd name="connsiteX9071" fmla="*/ 6314924 w 8978749"/>
              <a:gd name="connsiteY9071" fmla="*/ 447741 h 4806848"/>
              <a:gd name="connsiteX9072" fmla="*/ 5841849 w 8978749"/>
              <a:gd name="connsiteY9072" fmla="*/ 389004 h 4806848"/>
              <a:gd name="connsiteX9073" fmla="*/ 5900587 w 8978749"/>
              <a:gd name="connsiteY9073" fmla="*/ 389004 h 4806848"/>
              <a:gd name="connsiteX9074" fmla="*/ 5900587 w 8978749"/>
              <a:gd name="connsiteY9074" fmla="*/ 447741 h 4806848"/>
              <a:gd name="connsiteX9075" fmla="*/ 5841849 w 8978749"/>
              <a:gd name="connsiteY9075" fmla="*/ 447741 h 4806848"/>
              <a:gd name="connsiteX9076" fmla="*/ 5762474 w 8978749"/>
              <a:gd name="connsiteY9076" fmla="*/ 389004 h 4806848"/>
              <a:gd name="connsiteX9077" fmla="*/ 5821212 w 8978749"/>
              <a:gd name="connsiteY9077" fmla="*/ 389004 h 4806848"/>
              <a:gd name="connsiteX9078" fmla="*/ 5821212 w 8978749"/>
              <a:gd name="connsiteY9078" fmla="*/ 447741 h 4806848"/>
              <a:gd name="connsiteX9079" fmla="*/ 5762474 w 8978749"/>
              <a:gd name="connsiteY9079" fmla="*/ 447741 h 4806848"/>
              <a:gd name="connsiteX9080" fmla="*/ 1420849 w 8978749"/>
              <a:gd name="connsiteY9080" fmla="*/ 388988 h 4806848"/>
              <a:gd name="connsiteX9081" fmla="*/ 1479583 w 8978749"/>
              <a:gd name="connsiteY9081" fmla="*/ 388988 h 4806848"/>
              <a:gd name="connsiteX9082" fmla="*/ 1479583 w 8978749"/>
              <a:gd name="connsiteY9082" fmla="*/ 447726 h 4806848"/>
              <a:gd name="connsiteX9083" fmla="*/ 1420849 w 8978749"/>
              <a:gd name="connsiteY9083" fmla="*/ 447726 h 4806848"/>
              <a:gd name="connsiteX9084" fmla="*/ 1263696 w 8978749"/>
              <a:gd name="connsiteY9084" fmla="*/ 388988 h 4806848"/>
              <a:gd name="connsiteX9085" fmla="*/ 1320862 w 8978749"/>
              <a:gd name="connsiteY9085" fmla="*/ 388988 h 4806848"/>
              <a:gd name="connsiteX9086" fmla="*/ 1320862 w 8978749"/>
              <a:gd name="connsiteY9086" fmla="*/ 447726 h 4806848"/>
              <a:gd name="connsiteX9087" fmla="*/ 1263696 w 8978749"/>
              <a:gd name="connsiteY9087" fmla="*/ 447726 h 4806848"/>
              <a:gd name="connsiteX9088" fmla="*/ 1973295 w 8978749"/>
              <a:gd name="connsiteY9088" fmla="*/ 388988 h 4806848"/>
              <a:gd name="connsiteX9089" fmla="*/ 2032043 w 8978749"/>
              <a:gd name="connsiteY9089" fmla="*/ 388988 h 4806848"/>
              <a:gd name="connsiteX9090" fmla="*/ 2032043 w 8978749"/>
              <a:gd name="connsiteY9090" fmla="*/ 447726 h 4806848"/>
              <a:gd name="connsiteX9091" fmla="*/ 1973295 w 8978749"/>
              <a:gd name="connsiteY9091" fmla="*/ 447726 h 4806848"/>
              <a:gd name="connsiteX9092" fmla="*/ 1893916 w 8978749"/>
              <a:gd name="connsiteY9092" fmla="*/ 388988 h 4806848"/>
              <a:gd name="connsiteX9093" fmla="*/ 1952655 w 8978749"/>
              <a:gd name="connsiteY9093" fmla="*/ 388988 h 4806848"/>
              <a:gd name="connsiteX9094" fmla="*/ 1952655 w 8978749"/>
              <a:gd name="connsiteY9094" fmla="*/ 447726 h 4806848"/>
              <a:gd name="connsiteX9095" fmla="*/ 1893916 w 8978749"/>
              <a:gd name="connsiteY9095" fmla="*/ 447726 h 4806848"/>
              <a:gd name="connsiteX9096" fmla="*/ 1736782 w 8978749"/>
              <a:gd name="connsiteY9096" fmla="*/ 388988 h 4806848"/>
              <a:gd name="connsiteX9097" fmla="*/ 1795527 w 8978749"/>
              <a:gd name="connsiteY9097" fmla="*/ 388988 h 4806848"/>
              <a:gd name="connsiteX9098" fmla="*/ 1795527 w 8978749"/>
              <a:gd name="connsiteY9098" fmla="*/ 447726 h 4806848"/>
              <a:gd name="connsiteX9099" fmla="*/ 1736782 w 8978749"/>
              <a:gd name="connsiteY9099" fmla="*/ 447726 h 4806848"/>
              <a:gd name="connsiteX9100" fmla="*/ 1657403 w 8978749"/>
              <a:gd name="connsiteY9100" fmla="*/ 388988 h 4806848"/>
              <a:gd name="connsiteX9101" fmla="*/ 1716147 w 8978749"/>
              <a:gd name="connsiteY9101" fmla="*/ 388988 h 4806848"/>
              <a:gd name="connsiteX9102" fmla="*/ 1716147 w 8978749"/>
              <a:gd name="connsiteY9102" fmla="*/ 447726 h 4806848"/>
              <a:gd name="connsiteX9103" fmla="*/ 1657403 w 8978749"/>
              <a:gd name="connsiteY9103" fmla="*/ 447726 h 4806848"/>
              <a:gd name="connsiteX9104" fmla="*/ 1578016 w 8978749"/>
              <a:gd name="connsiteY9104" fmla="*/ 388988 h 4806848"/>
              <a:gd name="connsiteX9105" fmla="*/ 1636768 w 8978749"/>
              <a:gd name="connsiteY9105" fmla="*/ 388988 h 4806848"/>
              <a:gd name="connsiteX9106" fmla="*/ 1636768 w 8978749"/>
              <a:gd name="connsiteY9106" fmla="*/ 447726 h 4806848"/>
              <a:gd name="connsiteX9107" fmla="*/ 1578016 w 8978749"/>
              <a:gd name="connsiteY9107" fmla="*/ 447726 h 4806848"/>
              <a:gd name="connsiteX9108" fmla="*/ 1500228 w 8978749"/>
              <a:gd name="connsiteY9108" fmla="*/ 388988 h 4806848"/>
              <a:gd name="connsiteX9109" fmla="*/ 1558974 w 8978749"/>
              <a:gd name="connsiteY9109" fmla="*/ 388988 h 4806848"/>
              <a:gd name="connsiteX9110" fmla="*/ 1558974 w 8978749"/>
              <a:gd name="connsiteY9110" fmla="*/ 447726 h 4806848"/>
              <a:gd name="connsiteX9111" fmla="*/ 1500228 w 8978749"/>
              <a:gd name="connsiteY9111" fmla="*/ 447726 h 4806848"/>
              <a:gd name="connsiteX9112" fmla="*/ 2841474 w 8978749"/>
              <a:gd name="connsiteY9112" fmla="*/ 388988 h 4806848"/>
              <a:gd name="connsiteX9113" fmla="*/ 2900212 w 8978749"/>
              <a:gd name="connsiteY9113" fmla="*/ 388988 h 4806848"/>
              <a:gd name="connsiteX9114" fmla="*/ 2900212 w 8978749"/>
              <a:gd name="connsiteY9114" fmla="*/ 447725 h 4806848"/>
              <a:gd name="connsiteX9115" fmla="*/ 2841474 w 8978749"/>
              <a:gd name="connsiteY9115" fmla="*/ 447725 h 4806848"/>
              <a:gd name="connsiteX9116" fmla="*/ 2209846 w 8978749"/>
              <a:gd name="connsiteY9116" fmla="*/ 388988 h 4806848"/>
              <a:gd name="connsiteX9117" fmla="*/ 2268586 w 8978749"/>
              <a:gd name="connsiteY9117" fmla="*/ 388988 h 4806848"/>
              <a:gd name="connsiteX9118" fmla="*/ 2268586 w 8978749"/>
              <a:gd name="connsiteY9118" fmla="*/ 447725 h 4806848"/>
              <a:gd name="connsiteX9119" fmla="*/ 2209846 w 8978749"/>
              <a:gd name="connsiteY9119" fmla="*/ 447725 h 4806848"/>
              <a:gd name="connsiteX9120" fmla="*/ 2132054 w 8978749"/>
              <a:gd name="connsiteY9120" fmla="*/ 388988 h 4806848"/>
              <a:gd name="connsiteX9121" fmla="*/ 2189215 w 8978749"/>
              <a:gd name="connsiteY9121" fmla="*/ 388988 h 4806848"/>
              <a:gd name="connsiteX9122" fmla="*/ 2189215 w 8978749"/>
              <a:gd name="connsiteY9122" fmla="*/ 447725 h 4806848"/>
              <a:gd name="connsiteX9123" fmla="*/ 2132054 w 8978749"/>
              <a:gd name="connsiteY9123" fmla="*/ 447725 h 4806848"/>
              <a:gd name="connsiteX9124" fmla="*/ 2052678 w 8978749"/>
              <a:gd name="connsiteY9124" fmla="*/ 388988 h 4806848"/>
              <a:gd name="connsiteX9125" fmla="*/ 2111420 w 8978749"/>
              <a:gd name="connsiteY9125" fmla="*/ 388988 h 4806848"/>
              <a:gd name="connsiteX9126" fmla="*/ 2111420 w 8978749"/>
              <a:gd name="connsiteY9126" fmla="*/ 447725 h 4806848"/>
              <a:gd name="connsiteX9127" fmla="*/ 2052678 w 8978749"/>
              <a:gd name="connsiteY9127" fmla="*/ 447725 h 4806848"/>
              <a:gd name="connsiteX9128" fmla="*/ 3157386 w 8978749"/>
              <a:gd name="connsiteY9128" fmla="*/ 388987 h 4806848"/>
              <a:gd name="connsiteX9129" fmla="*/ 3216124 w 8978749"/>
              <a:gd name="connsiteY9129" fmla="*/ 388987 h 4806848"/>
              <a:gd name="connsiteX9130" fmla="*/ 3216124 w 8978749"/>
              <a:gd name="connsiteY9130" fmla="*/ 447725 h 4806848"/>
              <a:gd name="connsiteX9131" fmla="*/ 3157386 w 8978749"/>
              <a:gd name="connsiteY9131" fmla="*/ 447725 h 4806848"/>
              <a:gd name="connsiteX9132" fmla="*/ 3078011 w 8978749"/>
              <a:gd name="connsiteY9132" fmla="*/ 388987 h 4806848"/>
              <a:gd name="connsiteX9133" fmla="*/ 3136749 w 8978749"/>
              <a:gd name="connsiteY9133" fmla="*/ 388987 h 4806848"/>
              <a:gd name="connsiteX9134" fmla="*/ 3136749 w 8978749"/>
              <a:gd name="connsiteY9134" fmla="*/ 447725 h 4806848"/>
              <a:gd name="connsiteX9135" fmla="*/ 3078011 w 8978749"/>
              <a:gd name="connsiteY9135" fmla="*/ 447725 h 4806848"/>
              <a:gd name="connsiteX9136" fmla="*/ 3000224 w 8978749"/>
              <a:gd name="connsiteY9136" fmla="*/ 388987 h 4806848"/>
              <a:gd name="connsiteX9137" fmla="*/ 3057374 w 8978749"/>
              <a:gd name="connsiteY9137" fmla="*/ 388987 h 4806848"/>
              <a:gd name="connsiteX9138" fmla="*/ 3057374 w 8978749"/>
              <a:gd name="connsiteY9138" fmla="*/ 447725 h 4806848"/>
              <a:gd name="connsiteX9139" fmla="*/ 3000224 w 8978749"/>
              <a:gd name="connsiteY9139" fmla="*/ 447725 h 4806848"/>
              <a:gd name="connsiteX9140" fmla="*/ 3473299 w 8978749"/>
              <a:gd name="connsiteY9140" fmla="*/ 388987 h 4806848"/>
              <a:gd name="connsiteX9141" fmla="*/ 3532037 w 8978749"/>
              <a:gd name="connsiteY9141" fmla="*/ 388987 h 4806848"/>
              <a:gd name="connsiteX9142" fmla="*/ 3532037 w 8978749"/>
              <a:gd name="connsiteY9142" fmla="*/ 447724 h 4806848"/>
              <a:gd name="connsiteX9143" fmla="*/ 3473299 w 8978749"/>
              <a:gd name="connsiteY9143" fmla="*/ 447724 h 4806848"/>
              <a:gd name="connsiteX9144" fmla="*/ 3393924 w 8978749"/>
              <a:gd name="connsiteY9144" fmla="*/ 388987 h 4806848"/>
              <a:gd name="connsiteX9145" fmla="*/ 3452662 w 8978749"/>
              <a:gd name="connsiteY9145" fmla="*/ 388987 h 4806848"/>
              <a:gd name="connsiteX9146" fmla="*/ 3452662 w 8978749"/>
              <a:gd name="connsiteY9146" fmla="*/ 447724 h 4806848"/>
              <a:gd name="connsiteX9147" fmla="*/ 3393924 w 8978749"/>
              <a:gd name="connsiteY9147" fmla="*/ 447724 h 4806848"/>
              <a:gd name="connsiteX9148" fmla="*/ 3314549 w 8978749"/>
              <a:gd name="connsiteY9148" fmla="*/ 388987 h 4806848"/>
              <a:gd name="connsiteX9149" fmla="*/ 3373287 w 8978749"/>
              <a:gd name="connsiteY9149" fmla="*/ 388987 h 4806848"/>
              <a:gd name="connsiteX9150" fmla="*/ 3373287 w 8978749"/>
              <a:gd name="connsiteY9150" fmla="*/ 447724 h 4806848"/>
              <a:gd name="connsiteX9151" fmla="*/ 3314549 w 8978749"/>
              <a:gd name="connsiteY9151" fmla="*/ 447724 h 4806848"/>
              <a:gd name="connsiteX9152" fmla="*/ 3236761 w 8978749"/>
              <a:gd name="connsiteY9152" fmla="*/ 388987 h 4806848"/>
              <a:gd name="connsiteX9153" fmla="*/ 3293911 w 8978749"/>
              <a:gd name="connsiteY9153" fmla="*/ 388987 h 4806848"/>
              <a:gd name="connsiteX9154" fmla="*/ 3293911 w 8978749"/>
              <a:gd name="connsiteY9154" fmla="*/ 447725 h 4806848"/>
              <a:gd name="connsiteX9155" fmla="*/ 3236761 w 8978749"/>
              <a:gd name="connsiteY9155" fmla="*/ 447725 h 4806848"/>
              <a:gd name="connsiteX9156" fmla="*/ 3709836 w 8978749"/>
              <a:gd name="connsiteY9156" fmla="*/ 388986 h 4806848"/>
              <a:gd name="connsiteX9157" fmla="*/ 3768574 w 8978749"/>
              <a:gd name="connsiteY9157" fmla="*/ 388986 h 4806848"/>
              <a:gd name="connsiteX9158" fmla="*/ 3768574 w 8978749"/>
              <a:gd name="connsiteY9158" fmla="*/ 447724 h 4806848"/>
              <a:gd name="connsiteX9159" fmla="*/ 3709836 w 8978749"/>
              <a:gd name="connsiteY9159" fmla="*/ 447724 h 4806848"/>
              <a:gd name="connsiteX9160" fmla="*/ 3630461 w 8978749"/>
              <a:gd name="connsiteY9160" fmla="*/ 388986 h 4806848"/>
              <a:gd name="connsiteX9161" fmla="*/ 3689199 w 8978749"/>
              <a:gd name="connsiteY9161" fmla="*/ 388986 h 4806848"/>
              <a:gd name="connsiteX9162" fmla="*/ 3689199 w 8978749"/>
              <a:gd name="connsiteY9162" fmla="*/ 447724 h 4806848"/>
              <a:gd name="connsiteX9163" fmla="*/ 3630461 w 8978749"/>
              <a:gd name="connsiteY9163" fmla="*/ 447724 h 4806848"/>
              <a:gd name="connsiteX9164" fmla="*/ 3552674 w 8978749"/>
              <a:gd name="connsiteY9164" fmla="*/ 388986 h 4806848"/>
              <a:gd name="connsiteX9165" fmla="*/ 3609824 w 8978749"/>
              <a:gd name="connsiteY9165" fmla="*/ 388986 h 4806848"/>
              <a:gd name="connsiteX9166" fmla="*/ 3609824 w 8978749"/>
              <a:gd name="connsiteY9166" fmla="*/ 447724 h 4806848"/>
              <a:gd name="connsiteX9167" fmla="*/ 3552674 w 8978749"/>
              <a:gd name="connsiteY9167" fmla="*/ 447724 h 4806848"/>
              <a:gd name="connsiteX9168" fmla="*/ 4736949 w 8978749"/>
              <a:gd name="connsiteY9168" fmla="*/ 388986 h 4806848"/>
              <a:gd name="connsiteX9169" fmla="*/ 4794099 w 8978749"/>
              <a:gd name="connsiteY9169" fmla="*/ 388986 h 4806848"/>
              <a:gd name="connsiteX9170" fmla="*/ 4794099 w 8978749"/>
              <a:gd name="connsiteY9170" fmla="*/ 447724 h 4806848"/>
              <a:gd name="connsiteX9171" fmla="*/ 4736949 w 8978749"/>
              <a:gd name="connsiteY9171" fmla="*/ 447724 h 4806848"/>
              <a:gd name="connsiteX9172" fmla="*/ 3789211 w 8978749"/>
              <a:gd name="connsiteY9172" fmla="*/ 388986 h 4806848"/>
              <a:gd name="connsiteX9173" fmla="*/ 3847949 w 8978749"/>
              <a:gd name="connsiteY9173" fmla="*/ 388986 h 4806848"/>
              <a:gd name="connsiteX9174" fmla="*/ 3847949 w 8978749"/>
              <a:gd name="connsiteY9174" fmla="*/ 447724 h 4806848"/>
              <a:gd name="connsiteX9175" fmla="*/ 3789211 w 8978749"/>
              <a:gd name="connsiteY9175" fmla="*/ 447724 h 4806848"/>
              <a:gd name="connsiteX9176" fmla="*/ 8051649 w 8978749"/>
              <a:gd name="connsiteY9176" fmla="*/ 311214 h 4806848"/>
              <a:gd name="connsiteX9177" fmla="*/ 8110387 w 8978749"/>
              <a:gd name="connsiteY9177" fmla="*/ 311214 h 4806848"/>
              <a:gd name="connsiteX9178" fmla="*/ 8110387 w 8978749"/>
              <a:gd name="connsiteY9178" fmla="*/ 369949 h 4806848"/>
              <a:gd name="connsiteX9179" fmla="*/ 8051649 w 8978749"/>
              <a:gd name="connsiteY9179" fmla="*/ 369949 h 4806848"/>
              <a:gd name="connsiteX9180" fmla="*/ 6867374 w 8978749"/>
              <a:gd name="connsiteY9180" fmla="*/ 311214 h 4806848"/>
              <a:gd name="connsiteX9181" fmla="*/ 6926112 w 8978749"/>
              <a:gd name="connsiteY9181" fmla="*/ 311214 h 4806848"/>
              <a:gd name="connsiteX9182" fmla="*/ 6926112 w 8978749"/>
              <a:gd name="connsiteY9182" fmla="*/ 369949 h 4806848"/>
              <a:gd name="connsiteX9183" fmla="*/ 6867374 w 8978749"/>
              <a:gd name="connsiteY9183" fmla="*/ 369949 h 4806848"/>
              <a:gd name="connsiteX9184" fmla="*/ 6789586 w 8978749"/>
              <a:gd name="connsiteY9184" fmla="*/ 311214 h 4806848"/>
              <a:gd name="connsiteX9185" fmla="*/ 6846736 w 8978749"/>
              <a:gd name="connsiteY9185" fmla="*/ 311214 h 4806848"/>
              <a:gd name="connsiteX9186" fmla="*/ 6846736 w 8978749"/>
              <a:gd name="connsiteY9186" fmla="*/ 369949 h 4806848"/>
              <a:gd name="connsiteX9187" fmla="*/ 6789586 w 8978749"/>
              <a:gd name="connsiteY9187" fmla="*/ 369949 h 4806848"/>
              <a:gd name="connsiteX9188" fmla="*/ 5921224 w 8978749"/>
              <a:gd name="connsiteY9188" fmla="*/ 311214 h 4806848"/>
              <a:gd name="connsiteX9189" fmla="*/ 5978374 w 8978749"/>
              <a:gd name="connsiteY9189" fmla="*/ 311214 h 4806848"/>
              <a:gd name="connsiteX9190" fmla="*/ 5978374 w 8978749"/>
              <a:gd name="connsiteY9190" fmla="*/ 369949 h 4806848"/>
              <a:gd name="connsiteX9191" fmla="*/ 5921224 w 8978749"/>
              <a:gd name="connsiteY9191" fmla="*/ 369949 h 4806848"/>
              <a:gd name="connsiteX9192" fmla="*/ 2209846 w 8978749"/>
              <a:gd name="connsiteY9192" fmla="*/ 311203 h 4806848"/>
              <a:gd name="connsiteX9193" fmla="*/ 2268588 w 8978749"/>
              <a:gd name="connsiteY9193" fmla="*/ 311203 h 4806848"/>
              <a:gd name="connsiteX9194" fmla="*/ 2268588 w 8978749"/>
              <a:gd name="connsiteY9194" fmla="*/ 369937 h 4806848"/>
              <a:gd name="connsiteX9195" fmla="*/ 2209846 w 8978749"/>
              <a:gd name="connsiteY9195" fmla="*/ 369937 h 4806848"/>
              <a:gd name="connsiteX9196" fmla="*/ 2132057 w 8978749"/>
              <a:gd name="connsiteY9196" fmla="*/ 311203 h 4806848"/>
              <a:gd name="connsiteX9197" fmla="*/ 2189215 w 8978749"/>
              <a:gd name="connsiteY9197" fmla="*/ 311203 h 4806848"/>
              <a:gd name="connsiteX9198" fmla="*/ 2189215 w 8978749"/>
              <a:gd name="connsiteY9198" fmla="*/ 369937 h 4806848"/>
              <a:gd name="connsiteX9199" fmla="*/ 2132057 w 8978749"/>
              <a:gd name="connsiteY9199" fmla="*/ 369937 h 4806848"/>
              <a:gd name="connsiteX9200" fmla="*/ 2052678 w 8978749"/>
              <a:gd name="connsiteY9200" fmla="*/ 311203 h 4806848"/>
              <a:gd name="connsiteX9201" fmla="*/ 2111423 w 8978749"/>
              <a:gd name="connsiteY9201" fmla="*/ 311203 h 4806848"/>
              <a:gd name="connsiteX9202" fmla="*/ 2111423 w 8978749"/>
              <a:gd name="connsiteY9202" fmla="*/ 369937 h 4806848"/>
              <a:gd name="connsiteX9203" fmla="*/ 2052678 w 8978749"/>
              <a:gd name="connsiteY9203" fmla="*/ 369937 h 4806848"/>
              <a:gd name="connsiteX9204" fmla="*/ 1893916 w 8978749"/>
              <a:gd name="connsiteY9204" fmla="*/ 311203 h 4806848"/>
              <a:gd name="connsiteX9205" fmla="*/ 1952655 w 8978749"/>
              <a:gd name="connsiteY9205" fmla="*/ 311203 h 4806848"/>
              <a:gd name="connsiteX9206" fmla="*/ 1952655 w 8978749"/>
              <a:gd name="connsiteY9206" fmla="*/ 369937 h 4806848"/>
              <a:gd name="connsiteX9207" fmla="*/ 1893916 w 8978749"/>
              <a:gd name="connsiteY9207" fmla="*/ 369937 h 4806848"/>
              <a:gd name="connsiteX9208" fmla="*/ 1420854 w 8978749"/>
              <a:gd name="connsiteY9208" fmla="*/ 311203 h 4806848"/>
              <a:gd name="connsiteX9209" fmla="*/ 1479589 w 8978749"/>
              <a:gd name="connsiteY9209" fmla="*/ 311203 h 4806848"/>
              <a:gd name="connsiteX9210" fmla="*/ 1479589 w 8978749"/>
              <a:gd name="connsiteY9210" fmla="*/ 369937 h 4806848"/>
              <a:gd name="connsiteX9211" fmla="*/ 1420854 w 8978749"/>
              <a:gd name="connsiteY9211" fmla="*/ 369937 h 4806848"/>
              <a:gd name="connsiteX9212" fmla="*/ 1341513 w 8978749"/>
              <a:gd name="connsiteY9212" fmla="*/ 311203 h 4806848"/>
              <a:gd name="connsiteX9213" fmla="*/ 1400233 w 8978749"/>
              <a:gd name="connsiteY9213" fmla="*/ 311203 h 4806848"/>
              <a:gd name="connsiteX9214" fmla="*/ 1400233 w 8978749"/>
              <a:gd name="connsiteY9214" fmla="*/ 369937 h 4806848"/>
              <a:gd name="connsiteX9215" fmla="*/ 1341513 w 8978749"/>
              <a:gd name="connsiteY9215" fmla="*/ 369937 h 4806848"/>
              <a:gd name="connsiteX9216" fmla="*/ 1263699 w 8978749"/>
              <a:gd name="connsiteY9216" fmla="*/ 311203 h 4806848"/>
              <a:gd name="connsiteX9217" fmla="*/ 1320862 w 8978749"/>
              <a:gd name="connsiteY9217" fmla="*/ 311203 h 4806848"/>
              <a:gd name="connsiteX9218" fmla="*/ 1320862 w 8978749"/>
              <a:gd name="connsiteY9218" fmla="*/ 369937 h 4806848"/>
              <a:gd name="connsiteX9219" fmla="*/ 1263699 w 8978749"/>
              <a:gd name="connsiteY9219" fmla="*/ 369937 h 4806848"/>
              <a:gd name="connsiteX9220" fmla="*/ 2763686 w 8978749"/>
              <a:gd name="connsiteY9220" fmla="*/ 311202 h 4806848"/>
              <a:gd name="connsiteX9221" fmla="*/ 2820836 w 8978749"/>
              <a:gd name="connsiteY9221" fmla="*/ 311202 h 4806848"/>
              <a:gd name="connsiteX9222" fmla="*/ 2820836 w 8978749"/>
              <a:gd name="connsiteY9222" fmla="*/ 369937 h 4806848"/>
              <a:gd name="connsiteX9223" fmla="*/ 2763686 w 8978749"/>
              <a:gd name="connsiteY9223" fmla="*/ 369937 h 4806848"/>
              <a:gd name="connsiteX9224" fmla="*/ 2684311 w 8978749"/>
              <a:gd name="connsiteY9224" fmla="*/ 311202 h 4806848"/>
              <a:gd name="connsiteX9225" fmla="*/ 2743049 w 8978749"/>
              <a:gd name="connsiteY9225" fmla="*/ 311202 h 4806848"/>
              <a:gd name="connsiteX9226" fmla="*/ 2743049 w 8978749"/>
              <a:gd name="connsiteY9226" fmla="*/ 369937 h 4806848"/>
              <a:gd name="connsiteX9227" fmla="*/ 2684311 w 8978749"/>
              <a:gd name="connsiteY9227" fmla="*/ 369937 h 4806848"/>
              <a:gd name="connsiteX9228" fmla="*/ 2604936 w 8978749"/>
              <a:gd name="connsiteY9228" fmla="*/ 311202 h 4806848"/>
              <a:gd name="connsiteX9229" fmla="*/ 2663674 w 8978749"/>
              <a:gd name="connsiteY9229" fmla="*/ 311202 h 4806848"/>
              <a:gd name="connsiteX9230" fmla="*/ 2663674 w 8978749"/>
              <a:gd name="connsiteY9230" fmla="*/ 369937 h 4806848"/>
              <a:gd name="connsiteX9231" fmla="*/ 2604936 w 8978749"/>
              <a:gd name="connsiteY9231" fmla="*/ 369937 h 4806848"/>
              <a:gd name="connsiteX9232" fmla="*/ 2525764 w 8978749"/>
              <a:gd name="connsiteY9232" fmla="*/ 311202 h 4806848"/>
              <a:gd name="connsiteX9233" fmla="*/ 2584501 w 8978749"/>
              <a:gd name="connsiteY9233" fmla="*/ 311202 h 4806848"/>
              <a:gd name="connsiteX9234" fmla="*/ 2584501 w 8978749"/>
              <a:gd name="connsiteY9234" fmla="*/ 369937 h 4806848"/>
              <a:gd name="connsiteX9235" fmla="*/ 2525764 w 8978749"/>
              <a:gd name="connsiteY9235" fmla="*/ 369937 h 4806848"/>
              <a:gd name="connsiteX9236" fmla="*/ 2289229 w 8978749"/>
              <a:gd name="connsiteY9236" fmla="*/ 311202 h 4806848"/>
              <a:gd name="connsiteX9237" fmla="*/ 2347967 w 8978749"/>
              <a:gd name="connsiteY9237" fmla="*/ 311202 h 4806848"/>
              <a:gd name="connsiteX9238" fmla="*/ 2347967 w 8978749"/>
              <a:gd name="connsiteY9238" fmla="*/ 369937 h 4806848"/>
              <a:gd name="connsiteX9239" fmla="*/ 2289229 w 8978749"/>
              <a:gd name="connsiteY9239" fmla="*/ 369937 h 4806848"/>
              <a:gd name="connsiteX9240" fmla="*/ 4657574 w 8978749"/>
              <a:gd name="connsiteY9240" fmla="*/ 311201 h 4806848"/>
              <a:gd name="connsiteX9241" fmla="*/ 4716312 w 8978749"/>
              <a:gd name="connsiteY9241" fmla="*/ 311201 h 4806848"/>
              <a:gd name="connsiteX9242" fmla="*/ 4716312 w 8978749"/>
              <a:gd name="connsiteY9242" fmla="*/ 369934 h 4806848"/>
              <a:gd name="connsiteX9243" fmla="*/ 4657574 w 8978749"/>
              <a:gd name="connsiteY9243" fmla="*/ 369934 h 4806848"/>
              <a:gd name="connsiteX9244" fmla="*/ 3709836 w 8978749"/>
              <a:gd name="connsiteY9244" fmla="*/ 311201 h 4806848"/>
              <a:gd name="connsiteX9245" fmla="*/ 3768574 w 8978749"/>
              <a:gd name="connsiteY9245" fmla="*/ 311201 h 4806848"/>
              <a:gd name="connsiteX9246" fmla="*/ 3768574 w 8978749"/>
              <a:gd name="connsiteY9246" fmla="*/ 369934 h 4806848"/>
              <a:gd name="connsiteX9247" fmla="*/ 3709836 w 8978749"/>
              <a:gd name="connsiteY9247" fmla="*/ 369934 h 4806848"/>
              <a:gd name="connsiteX9248" fmla="*/ 3630461 w 8978749"/>
              <a:gd name="connsiteY9248" fmla="*/ 311201 h 4806848"/>
              <a:gd name="connsiteX9249" fmla="*/ 3689199 w 8978749"/>
              <a:gd name="connsiteY9249" fmla="*/ 311201 h 4806848"/>
              <a:gd name="connsiteX9250" fmla="*/ 3689199 w 8978749"/>
              <a:gd name="connsiteY9250" fmla="*/ 369935 h 4806848"/>
              <a:gd name="connsiteX9251" fmla="*/ 3630461 w 8978749"/>
              <a:gd name="connsiteY9251" fmla="*/ 369935 h 4806848"/>
              <a:gd name="connsiteX9252" fmla="*/ 3552674 w 8978749"/>
              <a:gd name="connsiteY9252" fmla="*/ 311201 h 4806848"/>
              <a:gd name="connsiteX9253" fmla="*/ 3609824 w 8978749"/>
              <a:gd name="connsiteY9253" fmla="*/ 311201 h 4806848"/>
              <a:gd name="connsiteX9254" fmla="*/ 3609824 w 8978749"/>
              <a:gd name="connsiteY9254" fmla="*/ 369935 h 4806848"/>
              <a:gd name="connsiteX9255" fmla="*/ 3552674 w 8978749"/>
              <a:gd name="connsiteY9255" fmla="*/ 369935 h 4806848"/>
              <a:gd name="connsiteX9256" fmla="*/ 3473299 w 8978749"/>
              <a:gd name="connsiteY9256" fmla="*/ 311201 h 4806848"/>
              <a:gd name="connsiteX9257" fmla="*/ 3532037 w 8978749"/>
              <a:gd name="connsiteY9257" fmla="*/ 311201 h 4806848"/>
              <a:gd name="connsiteX9258" fmla="*/ 3532037 w 8978749"/>
              <a:gd name="connsiteY9258" fmla="*/ 369935 h 4806848"/>
              <a:gd name="connsiteX9259" fmla="*/ 3473299 w 8978749"/>
              <a:gd name="connsiteY9259" fmla="*/ 369935 h 4806848"/>
              <a:gd name="connsiteX9260" fmla="*/ 3393924 w 8978749"/>
              <a:gd name="connsiteY9260" fmla="*/ 311201 h 4806848"/>
              <a:gd name="connsiteX9261" fmla="*/ 3452662 w 8978749"/>
              <a:gd name="connsiteY9261" fmla="*/ 311201 h 4806848"/>
              <a:gd name="connsiteX9262" fmla="*/ 3452662 w 8978749"/>
              <a:gd name="connsiteY9262" fmla="*/ 369935 h 4806848"/>
              <a:gd name="connsiteX9263" fmla="*/ 3393924 w 8978749"/>
              <a:gd name="connsiteY9263" fmla="*/ 369935 h 4806848"/>
              <a:gd name="connsiteX9264" fmla="*/ 3314549 w 8978749"/>
              <a:gd name="connsiteY9264" fmla="*/ 311201 h 4806848"/>
              <a:gd name="connsiteX9265" fmla="*/ 3373287 w 8978749"/>
              <a:gd name="connsiteY9265" fmla="*/ 311201 h 4806848"/>
              <a:gd name="connsiteX9266" fmla="*/ 3373287 w 8978749"/>
              <a:gd name="connsiteY9266" fmla="*/ 369936 h 4806848"/>
              <a:gd name="connsiteX9267" fmla="*/ 3314549 w 8978749"/>
              <a:gd name="connsiteY9267" fmla="*/ 369936 h 4806848"/>
              <a:gd name="connsiteX9268" fmla="*/ 3236761 w 8978749"/>
              <a:gd name="connsiteY9268" fmla="*/ 311201 h 4806848"/>
              <a:gd name="connsiteX9269" fmla="*/ 3293911 w 8978749"/>
              <a:gd name="connsiteY9269" fmla="*/ 311201 h 4806848"/>
              <a:gd name="connsiteX9270" fmla="*/ 3293911 w 8978749"/>
              <a:gd name="connsiteY9270" fmla="*/ 369936 h 4806848"/>
              <a:gd name="connsiteX9271" fmla="*/ 3236761 w 8978749"/>
              <a:gd name="connsiteY9271" fmla="*/ 369936 h 4806848"/>
              <a:gd name="connsiteX9272" fmla="*/ 3157386 w 8978749"/>
              <a:gd name="connsiteY9272" fmla="*/ 311201 h 4806848"/>
              <a:gd name="connsiteX9273" fmla="*/ 3216124 w 8978749"/>
              <a:gd name="connsiteY9273" fmla="*/ 311201 h 4806848"/>
              <a:gd name="connsiteX9274" fmla="*/ 3216124 w 8978749"/>
              <a:gd name="connsiteY9274" fmla="*/ 369936 h 4806848"/>
              <a:gd name="connsiteX9275" fmla="*/ 3157386 w 8978749"/>
              <a:gd name="connsiteY9275" fmla="*/ 369936 h 4806848"/>
              <a:gd name="connsiteX9276" fmla="*/ 3078011 w 8978749"/>
              <a:gd name="connsiteY9276" fmla="*/ 311201 h 4806848"/>
              <a:gd name="connsiteX9277" fmla="*/ 3136749 w 8978749"/>
              <a:gd name="connsiteY9277" fmla="*/ 311201 h 4806848"/>
              <a:gd name="connsiteX9278" fmla="*/ 3136749 w 8978749"/>
              <a:gd name="connsiteY9278" fmla="*/ 369936 h 4806848"/>
              <a:gd name="connsiteX9279" fmla="*/ 3078011 w 8978749"/>
              <a:gd name="connsiteY9279" fmla="*/ 369936 h 4806848"/>
              <a:gd name="connsiteX9280" fmla="*/ 3000224 w 8978749"/>
              <a:gd name="connsiteY9280" fmla="*/ 311201 h 4806848"/>
              <a:gd name="connsiteX9281" fmla="*/ 3057374 w 8978749"/>
              <a:gd name="connsiteY9281" fmla="*/ 311201 h 4806848"/>
              <a:gd name="connsiteX9282" fmla="*/ 3057374 w 8978749"/>
              <a:gd name="connsiteY9282" fmla="*/ 369936 h 4806848"/>
              <a:gd name="connsiteX9283" fmla="*/ 3000224 w 8978749"/>
              <a:gd name="connsiteY9283" fmla="*/ 369936 h 4806848"/>
              <a:gd name="connsiteX9284" fmla="*/ 2920849 w 8978749"/>
              <a:gd name="connsiteY9284" fmla="*/ 311201 h 4806848"/>
              <a:gd name="connsiteX9285" fmla="*/ 2979587 w 8978749"/>
              <a:gd name="connsiteY9285" fmla="*/ 311201 h 4806848"/>
              <a:gd name="connsiteX9286" fmla="*/ 2979587 w 8978749"/>
              <a:gd name="connsiteY9286" fmla="*/ 369937 h 4806848"/>
              <a:gd name="connsiteX9287" fmla="*/ 2920849 w 8978749"/>
              <a:gd name="connsiteY9287" fmla="*/ 369937 h 4806848"/>
              <a:gd name="connsiteX9288" fmla="*/ 2841474 w 8978749"/>
              <a:gd name="connsiteY9288" fmla="*/ 311201 h 4806848"/>
              <a:gd name="connsiteX9289" fmla="*/ 2900212 w 8978749"/>
              <a:gd name="connsiteY9289" fmla="*/ 311201 h 4806848"/>
              <a:gd name="connsiteX9290" fmla="*/ 2900212 w 8978749"/>
              <a:gd name="connsiteY9290" fmla="*/ 369937 h 4806848"/>
              <a:gd name="connsiteX9291" fmla="*/ 2841474 w 8978749"/>
              <a:gd name="connsiteY9291" fmla="*/ 369937 h 4806848"/>
              <a:gd name="connsiteX9292" fmla="*/ 4814736 w 8978749"/>
              <a:gd name="connsiteY9292" fmla="*/ 311200 h 4806848"/>
              <a:gd name="connsiteX9293" fmla="*/ 4873474 w 8978749"/>
              <a:gd name="connsiteY9293" fmla="*/ 311200 h 4806848"/>
              <a:gd name="connsiteX9294" fmla="*/ 4873474 w 8978749"/>
              <a:gd name="connsiteY9294" fmla="*/ 369934 h 4806848"/>
              <a:gd name="connsiteX9295" fmla="*/ 4814736 w 8978749"/>
              <a:gd name="connsiteY9295" fmla="*/ 369934 h 4806848"/>
              <a:gd name="connsiteX9296" fmla="*/ 2052678 w 8978749"/>
              <a:gd name="connsiteY9296" fmla="*/ 233423 h 4806848"/>
              <a:gd name="connsiteX9297" fmla="*/ 2111423 w 8978749"/>
              <a:gd name="connsiteY9297" fmla="*/ 233423 h 4806848"/>
              <a:gd name="connsiteX9298" fmla="*/ 2111423 w 8978749"/>
              <a:gd name="connsiteY9298" fmla="*/ 292156 h 4806848"/>
              <a:gd name="connsiteX9299" fmla="*/ 2052678 w 8978749"/>
              <a:gd name="connsiteY9299" fmla="*/ 292156 h 4806848"/>
              <a:gd name="connsiteX9300" fmla="*/ 1973295 w 8978749"/>
              <a:gd name="connsiteY9300" fmla="*/ 233423 h 4806848"/>
              <a:gd name="connsiteX9301" fmla="*/ 2032043 w 8978749"/>
              <a:gd name="connsiteY9301" fmla="*/ 233423 h 4806848"/>
              <a:gd name="connsiteX9302" fmla="*/ 2032043 w 8978749"/>
              <a:gd name="connsiteY9302" fmla="*/ 292156 h 4806848"/>
              <a:gd name="connsiteX9303" fmla="*/ 1973295 w 8978749"/>
              <a:gd name="connsiteY9303" fmla="*/ 292156 h 4806848"/>
              <a:gd name="connsiteX9304" fmla="*/ 1736784 w 8978749"/>
              <a:gd name="connsiteY9304" fmla="*/ 233423 h 4806848"/>
              <a:gd name="connsiteX9305" fmla="*/ 1795527 w 8978749"/>
              <a:gd name="connsiteY9305" fmla="*/ 233423 h 4806848"/>
              <a:gd name="connsiteX9306" fmla="*/ 1795527 w 8978749"/>
              <a:gd name="connsiteY9306" fmla="*/ 292156 h 4806848"/>
              <a:gd name="connsiteX9307" fmla="*/ 1736784 w 8978749"/>
              <a:gd name="connsiteY9307" fmla="*/ 292156 h 4806848"/>
              <a:gd name="connsiteX9308" fmla="*/ 1657403 w 8978749"/>
              <a:gd name="connsiteY9308" fmla="*/ 233423 h 4806848"/>
              <a:gd name="connsiteX9309" fmla="*/ 1716149 w 8978749"/>
              <a:gd name="connsiteY9309" fmla="*/ 233423 h 4806848"/>
              <a:gd name="connsiteX9310" fmla="*/ 1716149 w 8978749"/>
              <a:gd name="connsiteY9310" fmla="*/ 292156 h 4806848"/>
              <a:gd name="connsiteX9311" fmla="*/ 1657403 w 8978749"/>
              <a:gd name="connsiteY9311" fmla="*/ 292156 h 4806848"/>
              <a:gd name="connsiteX9312" fmla="*/ 1500231 w 8978749"/>
              <a:gd name="connsiteY9312" fmla="*/ 233423 h 4806848"/>
              <a:gd name="connsiteX9313" fmla="*/ 1558977 w 8978749"/>
              <a:gd name="connsiteY9313" fmla="*/ 233423 h 4806848"/>
              <a:gd name="connsiteX9314" fmla="*/ 1558977 w 8978749"/>
              <a:gd name="connsiteY9314" fmla="*/ 292156 h 4806848"/>
              <a:gd name="connsiteX9315" fmla="*/ 1500231 w 8978749"/>
              <a:gd name="connsiteY9315" fmla="*/ 292156 h 4806848"/>
              <a:gd name="connsiteX9316" fmla="*/ 2368606 w 8978749"/>
              <a:gd name="connsiteY9316" fmla="*/ 233423 h 4806848"/>
              <a:gd name="connsiteX9317" fmla="*/ 2427339 w 8978749"/>
              <a:gd name="connsiteY9317" fmla="*/ 233423 h 4806848"/>
              <a:gd name="connsiteX9318" fmla="*/ 2427339 w 8978749"/>
              <a:gd name="connsiteY9318" fmla="*/ 292156 h 4806848"/>
              <a:gd name="connsiteX9319" fmla="*/ 2368606 w 8978749"/>
              <a:gd name="connsiteY9319" fmla="*/ 292156 h 4806848"/>
              <a:gd name="connsiteX9320" fmla="*/ 2289229 w 8978749"/>
              <a:gd name="connsiteY9320" fmla="*/ 233423 h 4806848"/>
              <a:gd name="connsiteX9321" fmla="*/ 2347969 w 8978749"/>
              <a:gd name="connsiteY9321" fmla="*/ 233423 h 4806848"/>
              <a:gd name="connsiteX9322" fmla="*/ 2347969 w 8978749"/>
              <a:gd name="connsiteY9322" fmla="*/ 292156 h 4806848"/>
              <a:gd name="connsiteX9323" fmla="*/ 2289229 w 8978749"/>
              <a:gd name="connsiteY9323" fmla="*/ 292156 h 4806848"/>
              <a:gd name="connsiteX9324" fmla="*/ 2209846 w 8978749"/>
              <a:gd name="connsiteY9324" fmla="*/ 233423 h 4806848"/>
              <a:gd name="connsiteX9325" fmla="*/ 2268592 w 8978749"/>
              <a:gd name="connsiteY9325" fmla="*/ 233423 h 4806848"/>
              <a:gd name="connsiteX9326" fmla="*/ 2268592 w 8978749"/>
              <a:gd name="connsiteY9326" fmla="*/ 292156 h 4806848"/>
              <a:gd name="connsiteX9327" fmla="*/ 2209846 w 8978749"/>
              <a:gd name="connsiteY9327" fmla="*/ 292156 h 4806848"/>
              <a:gd name="connsiteX9328" fmla="*/ 2132057 w 8978749"/>
              <a:gd name="connsiteY9328" fmla="*/ 233423 h 4806848"/>
              <a:gd name="connsiteX9329" fmla="*/ 2189215 w 8978749"/>
              <a:gd name="connsiteY9329" fmla="*/ 233423 h 4806848"/>
              <a:gd name="connsiteX9330" fmla="*/ 2189215 w 8978749"/>
              <a:gd name="connsiteY9330" fmla="*/ 292156 h 4806848"/>
              <a:gd name="connsiteX9331" fmla="*/ 2132057 w 8978749"/>
              <a:gd name="connsiteY9331" fmla="*/ 292156 h 4806848"/>
              <a:gd name="connsiteX9332" fmla="*/ 2763686 w 8978749"/>
              <a:gd name="connsiteY9332" fmla="*/ 233422 h 4806848"/>
              <a:gd name="connsiteX9333" fmla="*/ 2820836 w 8978749"/>
              <a:gd name="connsiteY9333" fmla="*/ 233422 h 4806848"/>
              <a:gd name="connsiteX9334" fmla="*/ 2820836 w 8978749"/>
              <a:gd name="connsiteY9334" fmla="*/ 292156 h 4806848"/>
              <a:gd name="connsiteX9335" fmla="*/ 2763686 w 8978749"/>
              <a:gd name="connsiteY9335" fmla="*/ 292156 h 4806848"/>
              <a:gd name="connsiteX9336" fmla="*/ 2684311 w 8978749"/>
              <a:gd name="connsiteY9336" fmla="*/ 233422 h 4806848"/>
              <a:gd name="connsiteX9337" fmla="*/ 2743049 w 8978749"/>
              <a:gd name="connsiteY9337" fmla="*/ 233422 h 4806848"/>
              <a:gd name="connsiteX9338" fmla="*/ 2743049 w 8978749"/>
              <a:gd name="connsiteY9338" fmla="*/ 292156 h 4806848"/>
              <a:gd name="connsiteX9339" fmla="*/ 2684311 w 8978749"/>
              <a:gd name="connsiteY9339" fmla="*/ 292156 h 4806848"/>
              <a:gd name="connsiteX9340" fmla="*/ 2604936 w 8978749"/>
              <a:gd name="connsiteY9340" fmla="*/ 233422 h 4806848"/>
              <a:gd name="connsiteX9341" fmla="*/ 2663674 w 8978749"/>
              <a:gd name="connsiteY9341" fmla="*/ 233422 h 4806848"/>
              <a:gd name="connsiteX9342" fmla="*/ 2663674 w 8978749"/>
              <a:gd name="connsiteY9342" fmla="*/ 292156 h 4806848"/>
              <a:gd name="connsiteX9343" fmla="*/ 2604936 w 8978749"/>
              <a:gd name="connsiteY9343" fmla="*/ 292156 h 4806848"/>
              <a:gd name="connsiteX9344" fmla="*/ 2525764 w 8978749"/>
              <a:gd name="connsiteY9344" fmla="*/ 233422 h 4806848"/>
              <a:gd name="connsiteX9345" fmla="*/ 2584503 w 8978749"/>
              <a:gd name="connsiteY9345" fmla="*/ 233422 h 4806848"/>
              <a:gd name="connsiteX9346" fmla="*/ 2584503 w 8978749"/>
              <a:gd name="connsiteY9346" fmla="*/ 292156 h 4806848"/>
              <a:gd name="connsiteX9347" fmla="*/ 2525764 w 8978749"/>
              <a:gd name="connsiteY9347" fmla="*/ 292156 h 4806848"/>
              <a:gd name="connsiteX9348" fmla="*/ 3078011 w 8978749"/>
              <a:gd name="connsiteY9348" fmla="*/ 233422 h 4806848"/>
              <a:gd name="connsiteX9349" fmla="*/ 3136749 w 8978749"/>
              <a:gd name="connsiteY9349" fmla="*/ 233422 h 4806848"/>
              <a:gd name="connsiteX9350" fmla="*/ 3136749 w 8978749"/>
              <a:gd name="connsiteY9350" fmla="*/ 292156 h 4806848"/>
              <a:gd name="connsiteX9351" fmla="*/ 3078011 w 8978749"/>
              <a:gd name="connsiteY9351" fmla="*/ 292156 h 4806848"/>
              <a:gd name="connsiteX9352" fmla="*/ 3000224 w 8978749"/>
              <a:gd name="connsiteY9352" fmla="*/ 233422 h 4806848"/>
              <a:gd name="connsiteX9353" fmla="*/ 3057374 w 8978749"/>
              <a:gd name="connsiteY9353" fmla="*/ 233422 h 4806848"/>
              <a:gd name="connsiteX9354" fmla="*/ 3057374 w 8978749"/>
              <a:gd name="connsiteY9354" fmla="*/ 292156 h 4806848"/>
              <a:gd name="connsiteX9355" fmla="*/ 3000224 w 8978749"/>
              <a:gd name="connsiteY9355" fmla="*/ 292156 h 4806848"/>
              <a:gd name="connsiteX9356" fmla="*/ 2920849 w 8978749"/>
              <a:gd name="connsiteY9356" fmla="*/ 233422 h 4806848"/>
              <a:gd name="connsiteX9357" fmla="*/ 2979587 w 8978749"/>
              <a:gd name="connsiteY9357" fmla="*/ 233422 h 4806848"/>
              <a:gd name="connsiteX9358" fmla="*/ 2979587 w 8978749"/>
              <a:gd name="connsiteY9358" fmla="*/ 292156 h 4806848"/>
              <a:gd name="connsiteX9359" fmla="*/ 2920849 w 8978749"/>
              <a:gd name="connsiteY9359" fmla="*/ 292156 h 4806848"/>
              <a:gd name="connsiteX9360" fmla="*/ 2841474 w 8978749"/>
              <a:gd name="connsiteY9360" fmla="*/ 233422 h 4806848"/>
              <a:gd name="connsiteX9361" fmla="*/ 2900212 w 8978749"/>
              <a:gd name="connsiteY9361" fmla="*/ 233422 h 4806848"/>
              <a:gd name="connsiteX9362" fmla="*/ 2900212 w 8978749"/>
              <a:gd name="connsiteY9362" fmla="*/ 292156 h 4806848"/>
              <a:gd name="connsiteX9363" fmla="*/ 2841474 w 8978749"/>
              <a:gd name="connsiteY9363" fmla="*/ 292156 h 4806848"/>
              <a:gd name="connsiteX9364" fmla="*/ 3393924 w 8978749"/>
              <a:gd name="connsiteY9364" fmla="*/ 233421 h 4806848"/>
              <a:gd name="connsiteX9365" fmla="*/ 3452662 w 8978749"/>
              <a:gd name="connsiteY9365" fmla="*/ 233421 h 4806848"/>
              <a:gd name="connsiteX9366" fmla="*/ 3452662 w 8978749"/>
              <a:gd name="connsiteY9366" fmla="*/ 292150 h 4806848"/>
              <a:gd name="connsiteX9367" fmla="*/ 3393924 w 8978749"/>
              <a:gd name="connsiteY9367" fmla="*/ 292150 h 4806848"/>
              <a:gd name="connsiteX9368" fmla="*/ 3314549 w 8978749"/>
              <a:gd name="connsiteY9368" fmla="*/ 233421 h 4806848"/>
              <a:gd name="connsiteX9369" fmla="*/ 3373287 w 8978749"/>
              <a:gd name="connsiteY9369" fmla="*/ 233421 h 4806848"/>
              <a:gd name="connsiteX9370" fmla="*/ 3373287 w 8978749"/>
              <a:gd name="connsiteY9370" fmla="*/ 292150 h 4806848"/>
              <a:gd name="connsiteX9371" fmla="*/ 3314549 w 8978749"/>
              <a:gd name="connsiteY9371" fmla="*/ 292150 h 4806848"/>
              <a:gd name="connsiteX9372" fmla="*/ 3236761 w 8978749"/>
              <a:gd name="connsiteY9372" fmla="*/ 233421 h 4806848"/>
              <a:gd name="connsiteX9373" fmla="*/ 3293911 w 8978749"/>
              <a:gd name="connsiteY9373" fmla="*/ 233421 h 4806848"/>
              <a:gd name="connsiteX9374" fmla="*/ 3293911 w 8978749"/>
              <a:gd name="connsiteY9374" fmla="*/ 292156 h 4806848"/>
              <a:gd name="connsiteX9375" fmla="*/ 3236761 w 8978749"/>
              <a:gd name="connsiteY9375" fmla="*/ 292156 h 4806848"/>
              <a:gd name="connsiteX9376" fmla="*/ 3157386 w 8978749"/>
              <a:gd name="connsiteY9376" fmla="*/ 233421 h 4806848"/>
              <a:gd name="connsiteX9377" fmla="*/ 3216124 w 8978749"/>
              <a:gd name="connsiteY9377" fmla="*/ 233421 h 4806848"/>
              <a:gd name="connsiteX9378" fmla="*/ 3216124 w 8978749"/>
              <a:gd name="connsiteY9378" fmla="*/ 292156 h 4806848"/>
              <a:gd name="connsiteX9379" fmla="*/ 3157386 w 8978749"/>
              <a:gd name="connsiteY9379" fmla="*/ 292156 h 4806848"/>
              <a:gd name="connsiteX9380" fmla="*/ 3709836 w 8978749"/>
              <a:gd name="connsiteY9380" fmla="*/ 233421 h 4806848"/>
              <a:gd name="connsiteX9381" fmla="*/ 3768574 w 8978749"/>
              <a:gd name="connsiteY9381" fmla="*/ 233421 h 4806848"/>
              <a:gd name="connsiteX9382" fmla="*/ 3768574 w 8978749"/>
              <a:gd name="connsiteY9382" fmla="*/ 292150 h 4806848"/>
              <a:gd name="connsiteX9383" fmla="*/ 3709836 w 8978749"/>
              <a:gd name="connsiteY9383" fmla="*/ 292150 h 4806848"/>
              <a:gd name="connsiteX9384" fmla="*/ 3630461 w 8978749"/>
              <a:gd name="connsiteY9384" fmla="*/ 233421 h 4806848"/>
              <a:gd name="connsiteX9385" fmla="*/ 3689199 w 8978749"/>
              <a:gd name="connsiteY9385" fmla="*/ 233421 h 4806848"/>
              <a:gd name="connsiteX9386" fmla="*/ 3689199 w 8978749"/>
              <a:gd name="connsiteY9386" fmla="*/ 292150 h 4806848"/>
              <a:gd name="connsiteX9387" fmla="*/ 3630461 w 8978749"/>
              <a:gd name="connsiteY9387" fmla="*/ 292150 h 4806848"/>
              <a:gd name="connsiteX9388" fmla="*/ 3552674 w 8978749"/>
              <a:gd name="connsiteY9388" fmla="*/ 233421 h 4806848"/>
              <a:gd name="connsiteX9389" fmla="*/ 3609824 w 8978749"/>
              <a:gd name="connsiteY9389" fmla="*/ 233421 h 4806848"/>
              <a:gd name="connsiteX9390" fmla="*/ 3609824 w 8978749"/>
              <a:gd name="connsiteY9390" fmla="*/ 292150 h 4806848"/>
              <a:gd name="connsiteX9391" fmla="*/ 3552674 w 8978749"/>
              <a:gd name="connsiteY9391" fmla="*/ 292150 h 4806848"/>
              <a:gd name="connsiteX9392" fmla="*/ 3473299 w 8978749"/>
              <a:gd name="connsiteY9392" fmla="*/ 233421 h 4806848"/>
              <a:gd name="connsiteX9393" fmla="*/ 3532037 w 8978749"/>
              <a:gd name="connsiteY9393" fmla="*/ 233421 h 4806848"/>
              <a:gd name="connsiteX9394" fmla="*/ 3532037 w 8978749"/>
              <a:gd name="connsiteY9394" fmla="*/ 292150 h 4806848"/>
              <a:gd name="connsiteX9395" fmla="*/ 3473299 w 8978749"/>
              <a:gd name="connsiteY9395" fmla="*/ 292150 h 4806848"/>
              <a:gd name="connsiteX9396" fmla="*/ 6710211 w 8978749"/>
              <a:gd name="connsiteY9396" fmla="*/ 233420 h 4806848"/>
              <a:gd name="connsiteX9397" fmla="*/ 6768949 w 8978749"/>
              <a:gd name="connsiteY9397" fmla="*/ 233420 h 4806848"/>
              <a:gd name="connsiteX9398" fmla="*/ 6768949 w 8978749"/>
              <a:gd name="connsiteY9398" fmla="*/ 292150 h 4806848"/>
              <a:gd name="connsiteX9399" fmla="*/ 6710211 w 8978749"/>
              <a:gd name="connsiteY9399" fmla="*/ 292150 h 4806848"/>
              <a:gd name="connsiteX9400" fmla="*/ 4736949 w 8978749"/>
              <a:gd name="connsiteY9400" fmla="*/ 233420 h 4806848"/>
              <a:gd name="connsiteX9401" fmla="*/ 4794099 w 8978749"/>
              <a:gd name="connsiteY9401" fmla="*/ 233420 h 4806848"/>
              <a:gd name="connsiteX9402" fmla="*/ 4794099 w 8978749"/>
              <a:gd name="connsiteY9402" fmla="*/ 292150 h 4806848"/>
              <a:gd name="connsiteX9403" fmla="*/ 4736949 w 8978749"/>
              <a:gd name="connsiteY9403" fmla="*/ 292150 h 4806848"/>
              <a:gd name="connsiteX9404" fmla="*/ 4657574 w 8978749"/>
              <a:gd name="connsiteY9404" fmla="*/ 233420 h 4806848"/>
              <a:gd name="connsiteX9405" fmla="*/ 4716312 w 8978749"/>
              <a:gd name="connsiteY9405" fmla="*/ 233420 h 4806848"/>
              <a:gd name="connsiteX9406" fmla="*/ 4716312 w 8978749"/>
              <a:gd name="connsiteY9406" fmla="*/ 292150 h 4806848"/>
              <a:gd name="connsiteX9407" fmla="*/ 4657574 w 8978749"/>
              <a:gd name="connsiteY9407" fmla="*/ 292150 h 4806848"/>
              <a:gd name="connsiteX9408" fmla="*/ 4578199 w 8978749"/>
              <a:gd name="connsiteY9408" fmla="*/ 233420 h 4806848"/>
              <a:gd name="connsiteX9409" fmla="*/ 4636937 w 8978749"/>
              <a:gd name="connsiteY9409" fmla="*/ 233420 h 4806848"/>
              <a:gd name="connsiteX9410" fmla="*/ 4636937 w 8978749"/>
              <a:gd name="connsiteY9410" fmla="*/ 292150 h 4806848"/>
              <a:gd name="connsiteX9411" fmla="*/ 4578199 w 8978749"/>
              <a:gd name="connsiteY9411" fmla="*/ 292150 h 4806848"/>
              <a:gd name="connsiteX9412" fmla="*/ 4498824 w 8978749"/>
              <a:gd name="connsiteY9412" fmla="*/ 233420 h 4806848"/>
              <a:gd name="connsiteX9413" fmla="*/ 4557562 w 8978749"/>
              <a:gd name="connsiteY9413" fmla="*/ 233420 h 4806848"/>
              <a:gd name="connsiteX9414" fmla="*/ 4557562 w 8978749"/>
              <a:gd name="connsiteY9414" fmla="*/ 292150 h 4806848"/>
              <a:gd name="connsiteX9415" fmla="*/ 4498824 w 8978749"/>
              <a:gd name="connsiteY9415" fmla="*/ 292150 h 4806848"/>
              <a:gd name="connsiteX9416" fmla="*/ 6867374 w 8978749"/>
              <a:gd name="connsiteY9416" fmla="*/ 233420 h 4806848"/>
              <a:gd name="connsiteX9417" fmla="*/ 6926112 w 8978749"/>
              <a:gd name="connsiteY9417" fmla="*/ 233420 h 4806848"/>
              <a:gd name="connsiteX9418" fmla="*/ 6926112 w 8978749"/>
              <a:gd name="connsiteY9418" fmla="*/ 292150 h 4806848"/>
              <a:gd name="connsiteX9419" fmla="*/ 6867374 w 8978749"/>
              <a:gd name="connsiteY9419" fmla="*/ 292150 h 4806848"/>
              <a:gd name="connsiteX9420" fmla="*/ 6789586 w 8978749"/>
              <a:gd name="connsiteY9420" fmla="*/ 233420 h 4806848"/>
              <a:gd name="connsiteX9421" fmla="*/ 6846736 w 8978749"/>
              <a:gd name="connsiteY9421" fmla="*/ 233420 h 4806848"/>
              <a:gd name="connsiteX9422" fmla="*/ 6846736 w 8978749"/>
              <a:gd name="connsiteY9422" fmla="*/ 292150 h 4806848"/>
              <a:gd name="connsiteX9423" fmla="*/ 6789586 w 8978749"/>
              <a:gd name="connsiteY9423" fmla="*/ 292150 h 4806848"/>
              <a:gd name="connsiteX9424" fmla="*/ 2052678 w 8978749"/>
              <a:gd name="connsiteY9424" fmla="*/ 155642 h 4806848"/>
              <a:gd name="connsiteX9425" fmla="*/ 2111423 w 8978749"/>
              <a:gd name="connsiteY9425" fmla="*/ 155642 h 4806848"/>
              <a:gd name="connsiteX9426" fmla="*/ 2111423 w 8978749"/>
              <a:gd name="connsiteY9426" fmla="*/ 214388 h 4806848"/>
              <a:gd name="connsiteX9427" fmla="*/ 2052678 w 8978749"/>
              <a:gd name="connsiteY9427" fmla="*/ 214388 h 4806848"/>
              <a:gd name="connsiteX9428" fmla="*/ 1973295 w 8978749"/>
              <a:gd name="connsiteY9428" fmla="*/ 155642 h 4806848"/>
              <a:gd name="connsiteX9429" fmla="*/ 2032043 w 8978749"/>
              <a:gd name="connsiteY9429" fmla="*/ 155642 h 4806848"/>
              <a:gd name="connsiteX9430" fmla="*/ 2032043 w 8978749"/>
              <a:gd name="connsiteY9430" fmla="*/ 214388 h 4806848"/>
              <a:gd name="connsiteX9431" fmla="*/ 1973295 w 8978749"/>
              <a:gd name="connsiteY9431" fmla="*/ 214388 h 4806848"/>
              <a:gd name="connsiteX9432" fmla="*/ 1893916 w 8978749"/>
              <a:gd name="connsiteY9432" fmla="*/ 155642 h 4806848"/>
              <a:gd name="connsiteX9433" fmla="*/ 1952655 w 8978749"/>
              <a:gd name="connsiteY9433" fmla="*/ 155642 h 4806848"/>
              <a:gd name="connsiteX9434" fmla="*/ 1952655 w 8978749"/>
              <a:gd name="connsiteY9434" fmla="*/ 214388 h 4806848"/>
              <a:gd name="connsiteX9435" fmla="*/ 1893916 w 8978749"/>
              <a:gd name="connsiteY9435" fmla="*/ 214388 h 4806848"/>
              <a:gd name="connsiteX9436" fmla="*/ 1736788 w 8978749"/>
              <a:gd name="connsiteY9436" fmla="*/ 155642 h 4806848"/>
              <a:gd name="connsiteX9437" fmla="*/ 1795527 w 8978749"/>
              <a:gd name="connsiteY9437" fmla="*/ 155642 h 4806848"/>
              <a:gd name="connsiteX9438" fmla="*/ 1795527 w 8978749"/>
              <a:gd name="connsiteY9438" fmla="*/ 214388 h 4806848"/>
              <a:gd name="connsiteX9439" fmla="*/ 1736788 w 8978749"/>
              <a:gd name="connsiteY9439" fmla="*/ 214388 h 4806848"/>
              <a:gd name="connsiteX9440" fmla="*/ 2368606 w 8978749"/>
              <a:gd name="connsiteY9440" fmla="*/ 155642 h 4806848"/>
              <a:gd name="connsiteX9441" fmla="*/ 2427339 w 8978749"/>
              <a:gd name="connsiteY9441" fmla="*/ 155642 h 4806848"/>
              <a:gd name="connsiteX9442" fmla="*/ 2427339 w 8978749"/>
              <a:gd name="connsiteY9442" fmla="*/ 214387 h 4806848"/>
              <a:gd name="connsiteX9443" fmla="*/ 2368606 w 8978749"/>
              <a:gd name="connsiteY9443" fmla="*/ 214387 h 4806848"/>
              <a:gd name="connsiteX9444" fmla="*/ 2289229 w 8978749"/>
              <a:gd name="connsiteY9444" fmla="*/ 155642 h 4806848"/>
              <a:gd name="connsiteX9445" fmla="*/ 2347969 w 8978749"/>
              <a:gd name="connsiteY9445" fmla="*/ 155642 h 4806848"/>
              <a:gd name="connsiteX9446" fmla="*/ 2347969 w 8978749"/>
              <a:gd name="connsiteY9446" fmla="*/ 214387 h 4806848"/>
              <a:gd name="connsiteX9447" fmla="*/ 2289229 w 8978749"/>
              <a:gd name="connsiteY9447" fmla="*/ 214387 h 4806848"/>
              <a:gd name="connsiteX9448" fmla="*/ 2209846 w 8978749"/>
              <a:gd name="connsiteY9448" fmla="*/ 155642 h 4806848"/>
              <a:gd name="connsiteX9449" fmla="*/ 2268592 w 8978749"/>
              <a:gd name="connsiteY9449" fmla="*/ 155642 h 4806848"/>
              <a:gd name="connsiteX9450" fmla="*/ 2268592 w 8978749"/>
              <a:gd name="connsiteY9450" fmla="*/ 214387 h 4806848"/>
              <a:gd name="connsiteX9451" fmla="*/ 2209846 w 8978749"/>
              <a:gd name="connsiteY9451" fmla="*/ 214387 h 4806848"/>
              <a:gd name="connsiteX9452" fmla="*/ 2132057 w 8978749"/>
              <a:gd name="connsiteY9452" fmla="*/ 155642 h 4806848"/>
              <a:gd name="connsiteX9453" fmla="*/ 2189215 w 8978749"/>
              <a:gd name="connsiteY9453" fmla="*/ 155642 h 4806848"/>
              <a:gd name="connsiteX9454" fmla="*/ 2189215 w 8978749"/>
              <a:gd name="connsiteY9454" fmla="*/ 214387 h 4806848"/>
              <a:gd name="connsiteX9455" fmla="*/ 2132057 w 8978749"/>
              <a:gd name="connsiteY9455" fmla="*/ 214387 h 4806848"/>
              <a:gd name="connsiteX9456" fmla="*/ 2604936 w 8978749"/>
              <a:gd name="connsiteY9456" fmla="*/ 155641 h 4806848"/>
              <a:gd name="connsiteX9457" fmla="*/ 2663674 w 8978749"/>
              <a:gd name="connsiteY9457" fmla="*/ 155641 h 4806848"/>
              <a:gd name="connsiteX9458" fmla="*/ 2663674 w 8978749"/>
              <a:gd name="connsiteY9458" fmla="*/ 214387 h 4806848"/>
              <a:gd name="connsiteX9459" fmla="*/ 2604936 w 8978749"/>
              <a:gd name="connsiteY9459" fmla="*/ 214387 h 4806848"/>
              <a:gd name="connsiteX9460" fmla="*/ 2525766 w 8978749"/>
              <a:gd name="connsiteY9460" fmla="*/ 155641 h 4806848"/>
              <a:gd name="connsiteX9461" fmla="*/ 2584503 w 8978749"/>
              <a:gd name="connsiteY9461" fmla="*/ 155641 h 4806848"/>
              <a:gd name="connsiteX9462" fmla="*/ 2584503 w 8978749"/>
              <a:gd name="connsiteY9462" fmla="*/ 214387 h 4806848"/>
              <a:gd name="connsiteX9463" fmla="*/ 2525766 w 8978749"/>
              <a:gd name="connsiteY9463" fmla="*/ 214387 h 4806848"/>
              <a:gd name="connsiteX9464" fmla="*/ 2447972 w 8978749"/>
              <a:gd name="connsiteY9464" fmla="*/ 155641 h 4806848"/>
              <a:gd name="connsiteX9465" fmla="*/ 2505137 w 8978749"/>
              <a:gd name="connsiteY9465" fmla="*/ 155641 h 4806848"/>
              <a:gd name="connsiteX9466" fmla="*/ 2505137 w 8978749"/>
              <a:gd name="connsiteY9466" fmla="*/ 214387 h 4806848"/>
              <a:gd name="connsiteX9467" fmla="*/ 2447972 w 8978749"/>
              <a:gd name="connsiteY9467" fmla="*/ 214387 h 4806848"/>
              <a:gd name="connsiteX9468" fmla="*/ 3000224 w 8978749"/>
              <a:gd name="connsiteY9468" fmla="*/ 155641 h 4806848"/>
              <a:gd name="connsiteX9469" fmla="*/ 3057374 w 8978749"/>
              <a:gd name="connsiteY9469" fmla="*/ 155641 h 4806848"/>
              <a:gd name="connsiteX9470" fmla="*/ 3057374 w 8978749"/>
              <a:gd name="connsiteY9470" fmla="*/ 214386 h 4806848"/>
              <a:gd name="connsiteX9471" fmla="*/ 3000224 w 8978749"/>
              <a:gd name="connsiteY9471" fmla="*/ 214386 h 4806848"/>
              <a:gd name="connsiteX9472" fmla="*/ 2920849 w 8978749"/>
              <a:gd name="connsiteY9472" fmla="*/ 155641 h 4806848"/>
              <a:gd name="connsiteX9473" fmla="*/ 2979587 w 8978749"/>
              <a:gd name="connsiteY9473" fmla="*/ 155641 h 4806848"/>
              <a:gd name="connsiteX9474" fmla="*/ 2979587 w 8978749"/>
              <a:gd name="connsiteY9474" fmla="*/ 214386 h 4806848"/>
              <a:gd name="connsiteX9475" fmla="*/ 2920849 w 8978749"/>
              <a:gd name="connsiteY9475" fmla="*/ 214386 h 4806848"/>
              <a:gd name="connsiteX9476" fmla="*/ 2841474 w 8978749"/>
              <a:gd name="connsiteY9476" fmla="*/ 155641 h 4806848"/>
              <a:gd name="connsiteX9477" fmla="*/ 2900212 w 8978749"/>
              <a:gd name="connsiteY9477" fmla="*/ 155641 h 4806848"/>
              <a:gd name="connsiteX9478" fmla="*/ 2900212 w 8978749"/>
              <a:gd name="connsiteY9478" fmla="*/ 214386 h 4806848"/>
              <a:gd name="connsiteX9479" fmla="*/ 2841474 w 8978749"/>
              <a:gd name="connsiteY9479" fmla="*/ 214386 h 4806848"/>
              <a:gd name="connsiteX9480" fmla="*/ 2763686 w 8978749"/>
              <a:gd name="connsiteY9480" fmla="*/ 155641 h 4806848"/>
              <a:gd name="connsiteX9481" fmla="*/ 2820836 w 8978749"/>
              <a:gd name="connsiteY9481" fmla="*/ 155641 h 4806848"/>
              <a:gd name="connsiteX9482" fmla="*/ 2820836 w 8978749"/>
              <a:gd name="connsiteY9482" fmla="*/ 214386 h 4806848"/>
              <a:gd name="connsiteX9483" fmla="*/ 2763686 w 8978749"/>
              <a:gd name="connsiteY9483" fmla="*/ 214386 h 4806848"/>
              <a:gd name="connsiteX9484" fmla="*/ 2684311 w 8978749"/>
              <a:gd name="connsiteY9484" fmla="*/ 155641 h 4806848"/>
              <a:gd name="connsiteX9485" fmla="*/ 2743049 w 8978749"/>
              <a:gd name="connsiteY9485" fmla="*/ 155641 h 4806848"/>
              <a:gd name="connsiteX9486" fmla="*/ 2743049 w 8978749"/>
              <a:gd name="connsiteY9486" fmla="*/ 214387 h 4806848"/>
              <a:gd name="connsiteX9487" fmla="*/ 2684311 w 8978749"/>
              <a:gd name="connsiteY9487" fmla="*/ 214387 h 4806848"/>
              <a:gd name="connsiteX9488" fmla="*/ 3314549 w 8978749"/>
              <a:gd name="connsiteY9488" fmla="*/ 155640 h 4806848"/>
              <a:gd name="connsiteX9489" fmla="*/ 3373287 w 8978749"/>
              <a:gd name="connsiteY9489" fmla="*/ 155640 h 4806848"/>
              <a:gd name="connsiteX9490" fmla="*/ 3373287 w 8978749"/>
              <a:gd name="connsiteY9490" fmla="*/ 214385 h 4806848"/>
              <a:gd name="connsiteX9491" fmla="*/ 3314549 w 8978749"/>
              <a:gd name="connsiteY9491" fmla="*/ 214385 h 4806848"/>
              <a:gd name="connsiteX9492" fmla="*/ 3236761 w 8978749"/>
              <a:gd name="connsiteY9492" fmla="*/ 155640 h 4806848"/>
              <a:gd name="connsiteX9493" fmla="*/ 3293911 w 8978749"/>
              <a:gd name="connsiteY9493" fmla="*/ 155640 h 4806848"/>
              <a:gd name="connsiteX9494" fmla="*/ 3293911 w 8978749"/>
              <a:gd name="connsiteY9494" fmla="*/ 214385 h 4806848"/>
              <a:gd name="connsiteX9495" fmla="*/ 3236761 w 8978749"/>
              <a:gd name="connsiteY9495" fmla="*/ 214385 h 4806848"/>
              <a:gd name="connsiteX9496" fmla="*/ 3157386 w 8978749"/>
              <a:gd name="connsiteY9496" fmla="*/ 155640 h 4806848"/>
              <a:gd name="connsiteX9497" fmla="*/ 3216124 w 8978749"/>
              <a:gd name="connsiteY9497" fmla="*/ 155640 h 4806848"/>
              <a:gd name="connsiteX9498" fmla="*/ 3216124 w 8978749"/>
              <a:gd name="connsiteY9498" fmla="*/ 214385 h 4806848"/>
              <a:gd name="connsiteX9499" fmla="*/ 3157386 w 8978749"/>
              <a:gd name="connsiteY9499" fmla="*/ 214385 h 4806848"/>
              <a:gd name="connsiteX9500" fmla="*/ 3078011 w 8978749"/>
              <a:gd name="connsiteY9500" fmla="*/ 155640 h 4806848"/>
              <a:gd name="connsiteX9501" fmla="*/ 3136749 w 8978749"/>
              <a:gd name="connsiteY9501" fmla="*/ 155640 h 4806848"/>
              <a:gd name="connsiteX9502" fmla="*/ 3136749 w 8978749"/>
              <a:gd name="connsiteY9502" fmla="*/ 214385 h 4806848"/>
              <a:gd name="connsiteX9503" fmla="*/ 3078011 w 8978749"/>
              <a:gd name="connsiteY9503" fmla="*/ 214385 h 4806848"/>
              <a:gd name="connsiteX9504" fmla="*/ 3630461 w 8978749"/>
              <a:gd name="connsiteY9504" fmla="*/ 155640 h 4806848"/>
              <a:gd name="connsiteX9505" fmla="*/ 3689199 w 8978749"/>
              <a:gd name="connsiteY9505" fmla="*/ 155640 h 4806848"/>
              <a:gd name="connsiteX9506" fmla="*/ 3689199 w 8978749"/>
              <a:gd name="connsiteY9506" fmla="*/ 214385 h 4806848"/>
              <a:gd name="connsiteX9507" fmla="*/ 3630461 w 8978749"/>
              <a:gd name="connsiteY9507" fmla="*/ 214385 h 4806848"/>
              <a:gd name="connsiteX9508" fmla="*/ 3552674 w 8978749"/>
              <a:gd name="connsiteY9508" fmla="*/ 155640 h 4806848"/>
              <a:gd name="connsiteX9509" fmla="*/ 3609824 w 8978749"/>
              <a:gd name="connsiteY9509" fmla="*/ 155640 h 4806848"/>
              <a:gd name="connsiteX9510" fmla="*/ 3609824 w 8978749"/>
              <a:gd name="connsiteY9510" fmla="*/ 214385 h 4806848"/>
              <a:gd name="connsiteX9511" fmla="*/ 3552674 w 8978749"/>
              <a:gd name="connsiteY9511" fmla="*/ 214385 h 4806848"/>
              <a:gd name="connsiteX9512" fmla="*/ 3473299 w 8978749"/>
              <a:gd name="connsiteY9512" fmla="*/ 155640 h 4806848"/>
              <a:gd name="connsiteX9513" fmla="*/ 3532037 w 8978749"/>
              <a:gd name="connsiteY9513" fmla="*/ 155640 h 4806848"/>
              <a:gd name="connsiteX9514" fmla="*/ 3532037 w 8978749"/>
              <a:gd name="connsiteY9514" fmla="*/ 214385 h 4806848"/>
              <a:gd name="connsiteX9515" fmla="*/ 3473299 w 8978749"/>
              <a:gd name="connsiteY9515" fmla="*/ 214385 h 4806848"/>
              <a:gd name="connsiteX9516" fmla="*/ 3393924 w 8978749"/>
              <a:gd name="connsiteY9516" fmla="*/ 155640 h 4806848"/>
              <a:gd name="connsiteX9517" fmla="*/ 3452662 w 8978749"/>
              <a:gd name="connsiteY9517" fmla="*/ 155640 h 4806848"/>
              <a:gd name="connsiteX9518" fmla="*/ 3452662 w 8978749"/>
              <a:gd name="connsiteY9518" fmla="*/ 214385 h 4806848"/>
              <a:gd name="connsiteX9519" fmla="*/ 3393924 w 8978749"/>
              <a:gd name="connsiteY9519" fmla="*/ 214385 h 4806848"/>
              <a:gd name="connsiteX9520" fmla="*/ 4657574 w 8978749"/>
              <a:gd name="connsiteY9520" fmla="*/ 155639 h 4806848"/>
              <a:gd name="connsiteX9521" fmla="*/ 4716312 w 8978749"/>
              <a:gd name="connsiteY9521" fmla="*/ 155639 h 4806848"/>
              <a:gd name="connsiteX9522" fmla="*/ 4716312 w 8978749"/>
              <a:gd name="connsiteY9522" fmla="*/ 214385 h 4806848"/>
              <a:gd name="connsiteX9523" fmla="*/ 4657574 w 8978749"/>
              <a:gd name="connsiteY9523" fmla="*/ 214385 h 4806848"/>
              <a:gd name="connsiteX9524" fmla="*/ 4578199 w 8978749"/>
              <a:gd name="connsiteY9524" fmla="*/ 155639 h 4806848"/>
              <a:gd name="connsiteX9525" fmla="*/ 4636937 w 8978749"/>
              <a:gd name="connsiteY9525" fmla="*/ 155639 h 4806848"/>
              <a:gd name="connsiteX9526" fmla="*/ 4636937 w 8978749"/>
              <a:gd name="connsiteY9526" fmla="*/ 214385 h 4806848"/>
              <a:gd name="connsiteX9527" fmla="*/ 4578199 w 8978749"/>
              <a:gd name="connsiteY9527" fmla="*/ 214385 h 4806848"/>
              <a:gd name="connsiteX9528" fmla="*/ 3789211 w 8978749"/>
              <a:gd name="connsiteY9528" fmla="*/ 155639 h 4806848"/>
              <a:gd name="connsiteX9529" fmla="*/ 3847949 w 8978749"/>
              <a:gd name="connsiteY9529" fmla="*/ 155639 h 4806848"/>
              <a:gd name="connsiteX9530" fmla="*/ 3847949 w 8978749"/>
              <a:gd name="connsiteY9530" fmla="*/ 214385 h 4806848"/>
              <a:gd name="connsiteX9531" fmla="*/ 3789211 w 8978749"/>
              <a:gd name="connsiteY9531" fmla="*/ 214385 h 4806848"/>
              <a:gd name="connsiteX9532" fmla="*/ 3709836 w 8978749"/>
              <a:gd name="connsiteY9532" fmla="*/ 155639 h 4806848"/>
              <a:gd name="connsiteX9533" fmla="*/ 3768574 w 8978749"/>
              <a:gd name="connsiteY9533" fmla="*/ 155639 h 4806848"/>
              <a:gd name="connsiteX9534" fmla="*/ 3768574 w 8978749"/>
              <a:gd name="connsiteY9534" fmla="*/ 214385 h 4806848"/>
              <a:gd name="connsiteX9535" fmla="*/ 3709836 w 8978749"/>
              <a:gd name="connsiteY9535" fmla="*/ 214385 h 4806848"/>
              <a:gd name="connsiteX9536" fmla="*/ 5130649 w 8978749"/>
              <a:gd name="connsiteY9536" fmla="*/ 155639 h 4806848"/>
              <a:gd name="connsiteX9537" fmla="*/ 5189387 w 8978749"/>
              <a:gd name="connsiteY9537" fmla="*/ 155639 h 4806848"/>
              <a:gd name="connsiteX9538" fmla="*/ 5189387 w 8978749"/>
              <a:gd name="connsiteY9538" fmla="*/ 214384 h 4806848"/>
              <a:gd name="connsiteX9539" fmla="*/ 5130649 w 8978749"/>
              <a:gd name="connsiteY9539" fmla="*/ 214384 h 4806848"/>
              <a:gd name="connsiteX9540" fmla="*/ 4894111 w 8978749"/>
              <a:gd name="connsiteY9540" fmla="*/ 155639 h 4806848"/>
              <a:gd name="connsiteX9541" fmla="*/ 4952849 w 8978749"/>
              <a:gd name="connsiteY9541" fmla="*/ 155639 h 4806848"/>
              <a:gd name="connsiteX9542" fmla="*/ 4952849 w 8978749"/>
              <a:gd name="connsiteY9542" fmla="*/ 214384 h 4806848"/>
              <a:gd name="connsiteX9543" fmla="*/ 4894111 w 8978749"/>
              <a:gd name="connsiteY9543" fmla="*/ 214384 h 4806848"/>
              <a:gd name="connsiteX9544" fmla="*/ 4814736 w 8978749"/>
              <a:gd name="connsiteY9544" fmla="*/ 155639 h 4806848"/>
              <a:gd name="connsiteX9545" fmla="*/ 4873474 w 8978749"/>
              <a:gd name="connsiteY9545" fmla="*/ 155639 h 4806848"/>
              <a:gd name="connsiteX9546" fmla="*/ 4873474 w 8978749"/>
              <a:gd name="connsiteY9546" fmla="*/ 214384 h 4806848"/>
              <a:gd name="connsiteX9547" fmla="*/ 4814736 w 8978749"/>
              <a:gd name="connsiteY9547" fmla="*/ 214384 h 4806848"/>
              <a:gd name="connsiteX9548" fmla="*/ 4736949 w 8978749"/>
              <a:gd name="connsiteY9548" fmla="*/ 155639 h 4806848"/>
              <a:gd name="connsiteX9549" fmla="*/ 4794099 w 8978749"/>
              <a:gd name="connsiteY9549" fmla="*/ 155639 h 4806848"/>
              <a:gd name="connsiteX9550" fmla="*/ 4794099 w 8978749"/>
              <a:gd name="connsiteY9550" fmla="*/ 214384 h 4806848"/>
              <a:gd name="connsiteX9551" fmla="*/ 4736949 w 8978749"/>
              <a:gd name="connsiteY9551" fmla="*/ 214384 h 4806848"/>
              <a:gd name="connsiteX9552" fmla="*/ 5684686 w 8978749"/>
              <a:gd name="connsiteY9552" fmla="*/ 155638 h 4806848"/>
              <a:gd name="connsiteX9553" fmla="*/ 5741836 w 8978749"/>
              <a:gd name="connsiteY9553" fmla="*/ 155638 h 4806848"/>
              <a:gd name="connsiteX9554" fmla="*/ 5741836 w 8978749"/>
              <a:gd name="connsiteY9554" fmla="*/ 214383 h 4806848"/>
              <a:gd name="connsiteX9555" fmla="*/ 5684686 w 8978749"/>
              <a:gd name="connsiteY9555" fmla="*/ 214383 h 4806848"/>
              <a:gd name="connsiteX9556" fmla="*/ 5605311 w 8978749"/>
              <a:gd name="connsiteY9556" fmla="*/ 155638 h 4806848"/>
              <a:gd name="connsiteX9557" fmla="*/ 5664049 w 8978749"/>
              <a:gd name="connsiteY9557" fmla="*/ 155638 h 4806848"/>
              <a:gd name="connsiteX9558" fmla="*/ 5664049 w 8978749"/>
              <a:gd name="connsiteY9558" fmla="*/ 214383 h 4806848"/>
              <a:gd name="connsiteX9559" fmla="*/ 5605311 w 8978749"/>
              <a:gd name="connsiteY9559" fmla="*/ 214383 h 4806848"/>
              <a:gd name="connsiteX9560" fmla="*/ 5525936 w 8978749"/>
              <a:gd name="connsiteY9560" fmla="*/ 155638 h 4806848"/>
              <a:gd name="connsiteX9561" fmla="*/ 5584674 w 8978749"/>
              <a:gd name="connsiteY9561" fmla="*/ 155638 h 4806848"/>
              <a:gd name="connsiteX9562" fmla="*/ 5584674 w 8978749"/>
              <a:gd name="connsiteY9562" fmla="*/ 214383 h 4806848"/>
              <a:gd name="connsiteX9563" fmla="*/ 5525936 w 8978749"/>
              <a:gd name="connsiteY9563" fmla="*/ 214383 h 4806848"/>
              <a:gd name="connsiteX9564" fmla="*/ 5446561 w 8978749"/>
              <a:gd name="connsiteY9564" fmla="*/ 155638 h 4806848"/>
              <a:gd name="connsiteX9565" fmla="*/ 5505299 w 8978749"/>
              <a:gd name="connsiteY9565" fmla="*/ 155638 h 4806848"/>
              <a:gd name="connsiteX9566" fmla="*/ 5505299 w 8978749"/>
              <a:gd name="connsiteY9566" fmla="*/ 214383 h 4806848"/>
              <a:gd name="connsiteX9567" fmla="*/ 5446561 w 8978749"/>
              <a:gd name="connsiteY9567" fmla="*/ 214383 h 4806848"/>
              <a:gd name="connsiteX9568" fmla="*/ 6710211 w 8978749"/>
              <a:gd name="connsiteY9568" fmla="*/ 155638 h 4806848"/>
              <a:gd name="connsiteX9569" fmla="*/ 6768949 w 8978749"/>
              <a:gd name="connsiteY9569" fmla="*/ 155638 h 4806848"/>
              <a:gd name="connsiteX9570" fmla="*/ 6768949 w 8978749"/>
              <a:gd name="connsiteY9570" fmla="*/ 214383 h 4806848"/>
              <a:gd name="connsiteX9571" fmla="*/ 6710211 w 8978749"/>
              <a:gd name="connsiteY9571" fmla="*/ 214383 h 4806848"/>
              <a:gd name="connsiteX9572" fmla="*/ 6630836 w 8978749"/>
              <a:gd name="connsiteY9572" fmla="*/ 155638 h 4806848"/>
              <a:gd name="connsiteX9573" fmla="*/ 6689574 w 8978749"/>
              <a:gd name="connsiteY9573" fmla="*/ 155638 h 4806848"/>
              <a:gd name="connsiteX9574" fmla="*/ 6689574 w 8978749"/>
              <a:gd name="connsiteY9574" fmla="*/ 214383 h 4806848"/>
              <a:gd name="connsiteX9575" fmla="*/ 6630836 w 8978749"/>
              <a:gd name="connsiteY9575" fmla="*/ 214383 h 4806848"/>
              <a:gd name="connsiteX9576" fmla="*/ 6551461 w 8978749"/>
              <a:gd name="connsiteY9576" fmla="*/ 155638 h 4806848"/>
              <a:gd name="connsiteX9577" fmla="*/ 6610199 w 8978749"/>
              <a:gd name="connsiteY9577" fmla="*/ 155638 h 4806848"/>
              <a:gd name="connsiteX9578" fmla="*/ 6610199 w 8978749"/>
              <a:gd name="connsiteY9578" fmla="*/ 214383 h 4806848"/>
              <a:gd name="connsiteX9579" fmla="*/ 6551461 w 8978749"/>
              <a:gd name="connsiteY9579" fmla="*/ 214383 h 4806848"/>
              <a:gd name="connsiteX9580" fmla="*/ 5762474 w 8978749"/>
              <a:gd name="connsiteY9580" fmla="*/ 155638 h 4806848"/>
              <a:gd name="connsiteX9581" fmla="*/ 5821212 w 8978749"/>
              <a:gd name="connsiteY9581" fmla="*/ 155638 h 4806848"/>
              <a:gd name="connsiteX9582" fmla="*/ 5821212 w 8978749"/>
              <a:gd name="connsiteY9582" fmla="*/ 214383 h 4806848"/>
              <a:gd name="connsiteX9583" fmla="*/ 5762474 w 8978749"/>
              <a:gd name="connsiteY9583" fmla="*/ 214383 h 4806848"/>
              <a:gd name="connsiteX9584" fmla="*/ 2289229 w 8978749"/>
              <a:gd name="connsiteY9584" fmla="*/ 77846 h 4806848"/>
              <a:gd name="connsiteX9585" fmla="*/ 2347969 w 8978749"/>
              <a:gd name="connsiteY9585" fmla="*/ 77846 h 4806848"/>
              <a:gd name="connsiteX9586" fmla="*/ 2347969 w 8978749"/>
              <a:gd name="connsiteY9586" fmla="*/ 136593 h 4806848"/>
              <a:gd name="connsiteX9587" fmla="*/ 2289229 w 8978749"/>
              <a:gd name="connsiteY9587" fmla="*/ 136593 h 4806848"/>
              <a:gd name="connsiteX9588" fmla="*/ 2209846 w 8978749"/>
              <a:gd name="connsiteY9588" fmla="*/ 77846 h 4806848"/>
              <a:gd name="connsiteX9589" fmla="*/ 2268592 w 8978749"/>
              <a:gd name="connsiteY9589" fmla="*/ 77846 h 4806848"/>
              <a:gd name="connsiteX9590" fmla="*/ 2268592 w 8978749"/>
              <a:gd name="connsiteY9590" fmla="*/ 136593 h 4806848"/>
              <a:gd name="connsiteX9591" fmla="*/ 2209846 w 8978749"/>
              <a:gd name="connsiteY9591" fmla="*/ 136593 h 4806848"/>
              <a:gd name="connsiteX9592" fmla="*/ 2132057 w 8978749"/>
              <a:gd name="connsiteY9592" fmla="*/ 77846 h 4806848"/>
              <a:gd name="connsiteX9593" fmla="*/ 2189215 w 8978749"/>
              <a:gd name="connsiteY9593" fmla="*/ 77846 h 4806848"/>
              <a:gd name="connsiteX9594" fmla="*/ 2189215 w 8978749"/>
              <a:gd name="connsiteY9594" fmla="*/ 136593 h 4806848"/>
              <a:gd name="connsiteX9595" fmla="*/ 2132057 w 8978749"/>
              <a:gd name="connsiteY9595" fmla="*/ 136593 h 4806848"/>
              <a:gd name="connsiteX9596" fmla="*/ 2052678 w 8978749"/>
              <a:gd name="connsiteY9596" fmla="*/ 77846 h 4806848"/>
              <a:gd name="connsiteX9597" fmla="*/ 2111423 w 8978749"/>
              <a:gd name="connsiteY9597" fmla="*/ 77846 h 4806848"/>
              <a:gd name="connsiteX9598" fmla="*/ 2111423 w 8978749"/>
              <a:gd name="connsiteY9598" fmla="*/ 136593 h 4806848"/>
              <a:gd name="connsiteX9599" fmla="*/ 2052678 w 8978749"/>
              <a:gd name="connsiteY9599" fmla="*/ 136593 h 4806848"/>
              <a:gd name="connsiteX9600" fmla="*/ 2604936 w 8978749"/>
              <a:gd name="connsiteY9600" fmla="*/ 77846 h 4806848"/>
              <a:gd name="connsiteX9601" fmla="*/ 2663674 w 8978749"/>
              <a:gd name="connsiteY9601" fmla="*/ 77846 h 4806848"/>
              <a:gd name="connsiteX9602" fmla="*/ 2663674 w 8978749"/>
              <a:gd name="connsiteY9602" fmla="*/ 136592 h 4806848"/>
              <a:gd name="connsiteX9603" fmla="*/ 2604936 w 8978749"/>
              <a:gd name="connsiteY9603" fmla="*/ 136592 h 4806848"/>
              <a:gd name="connsiteX9604" fmla="*/ 2525766 w 8978749"/>
              <a:gd name="connsiteY9604" fmla="*/ 77846 h 4806848"/>
              <a:gd name="connsiteX9605" fmla="*/ 2584503 w 8978749"/>
              <a:gd name="connsiteY9605" fmla="*/ 77846 h 4806848"/>
              <a:gd name="connsiteX9606" fmla="*/ 2584503 w 8978749"/>
              <a:gd name="connsiteY9606" fmla="*/ 136593 h 4806848"/>
              <a:gd name="connsiteX9607" fmla="*/ 2525766 w 8978749"/>
              <a:gd name="connsiteY9607" fmla="*/ 136593 h 4806848"/>
              <a:gd name="connsiteX9608" fmla="*/ 2447972 w 8978749"/>
              <a:gd name="connsiteY9608" fmla="*/ 77846 h 4806848"/>
              <a:gd name="connsiteX9609" fmla="*/ 2505137 w 8978749"/>
              <a:gd name="connsiteY9609" fmla="*/ 77846 h 4806848"/>
              <a:gd name="connsiteX9610" fmla="*/ 2505137 w 8978749"/>
              <a:gd name="connsiteY9610" fmla="*/ 136593 h 4806848"/>
              <a:gd name="connsiteX9611" fmla="*/ 2447972 w 8978749"/>
              <a:gd name="connsiteY9611" fmla="*/ 136593 h 4806848"/>
              <a:gd name="connsiteX9612" fmla="*/ 2368606 w 8978749"/>
              <a:gd name="connsiteY9612" fmla="*/ 77846 h 4806848"/>
              <a:gd name="connsiteX9613" fmla="*/ 2427339 w 8978749"/>
              <a:gd name="connsiteY9613" fmla="*/ 77846 h 4806848"/>
              <a:gd name="connsiteX9614" fmla="*/ 2427339 w 8978749"/>
              <a:gd name="connsiteY9614" fmla="*/ 136593 h 4806848"/>
              <a:gd name="connsiteX9615" fmla="*/ 2368606 w 8978749"/>
              <a:gd name="connsiteY9615" fmla="*/ 136593 h 4806848"/>
              <a:gd name="connsiteX9616" fmla="*/ 3000224 w 8978749"/>
              <a:gd name="connsiteY9616" fmla="*/ 77845 h 4806848"/>
              <a:gd name="connsiteX9617" fmla="*/ 3057374 w 8978749"/>
              <a:gd name="connsiteY9617" fmla="*/ 77845 h 4806848"/>
              <a:gd name="connsiteX9618" fmla="*/ 3057374 w 8978749"/>
              <a:gd name="connsiteY9618" fmla="*/ 136592 h 4806848"/>
              <a:gd name="connsiteX9619" fmla="*/ 3000224 w 8978749"/>
              <a:gd name="connsiteY9619" fmla="*/ 136592 h 4806848"/>
              <a:gd name="connsiteX9620" fmla="*/ 2920849 w 8978749"/>
              <a:gd name="connsiteY9620" fmla="*/ 77845 h 4806848"/>
              <a:gd name="connsiteX9621" fmla="*/ 2979587 w 8978749"/>
              <a:gd name="connsiteY9621" fmla="*/ 77845 h 4806848"/>
              <a:gd name="connsiteX9622" fmla="*/ 2979587 w 8978749"/>
              <a:gd name="connsiteY9622" fmla="*/ 136592 h 4806848"/>
              <a:gd name="connsiteX9623" fmla="*/ 2920849 w 8978749"/>
              <a:gd name="connsiteY9623" fmla="*/ 136592 h 4806848"/>
              <a:gd name="connsiteX9624" fmla="*/ 2841474 w 8978749"/>
              <a:gd name="connsiteY9624" fmla="*/ 77845 h 4806848"/>
              <a:gd name="connsiteX9625" fmla="*/ 2900212 w 8978749"/>
              <a:gd name="connsiteY9625" fmla="*/ 77845 h 4806848"/>
              <a:gd name="connsiteX9626" fmla="*/ 2900212 w 8978749"/>
              <a:gd name="connsiteY9626" fmla="*/ 136592 h 4806848"/>
              <a:gd name="connsiteX9627" fmla="*/ 2841474 w 8978749"/>
              <a:gd name="connsiteY9627" fmla="*/ 136592 h 4806848"/>
              <a:gd name="connsiteX9628" fmla="*/ 2763686 w 8978749"/>
              <a:gd name="connsiteY9628" fmla="*/ 77845 h 4806848"/>
              <a:gd name="connsiteX9629" fmla="*/ 2820836 w 8978749"/>
              <a:gd name="connsiteY9629" fmla="*/ 77845 h 4806848"/>
              <a:gd name="connsiteX9630" fmla="*/ 2820836 w 8978749"/>
              <a:gd name="connsiteY9630" fmla="*/ 136592 h 4806848"/>
              <a:gd name="connsiteX9631" fmla="*/ 2763686 w 8978749"/>
              <a:gd name="connsiteY9631" fmla="*/ 136592 h 4806848"/>
              <a:gd name="connsiteX9632" fmla="*/ 3393924 w 8978749"/>
              <a:gd name="connsiteY9632" fmla="*/ 77845 h 4806848"/>
              <a:gd name="connsiteX9633" fmla="*/ 3452662 w 8978749"/>
              <a:gd name="connsiteY9633" fmla="*/ 77845 h 4806848"/>
              <a:gd name="connsiteX9634" fmla="*/ 3452662 w 8978749"/>
              <a:gd name="connsiteY9634" fmla="*/ 136591 h 4806848"/>
              <a:gd name="connsiteX9635" fmla="*/ 3393924 w 8978749"/>
              <a:gd name="connsiteY9635" fmla="*/ 136591 h 4806848"/>
              <a:gd name="connsiteX9636" fmla="*/ 3314549 w 8978749"/>
              <a:gd name="connsiteY9636" fmla="*/ 77845 h 4806848"/>
              <a:gd name="connsiteX9637" fmla="*/ 3373287 w 8978749"/>
              <a:gd name="connsiteY9637" fmla="*/ 77845 h 4806848"/>
              <a:gd name="connsiteX9638" fmla="*/ 3373287 w 8978749"/>
              <a:gd name="connsiteY9638" fmla="*/ 136591 h 4806848"/>
              <a:gd name="connsiteX9639" fmla="*/ 3314549 w 8978749"/>
              <a:gd name="connsiteY9639" fmla="*/ 136591 h 4806848"/>
              <a:gd name="connsiteX9640" fmla="*/ 3236761 w 8978749"/>
              <a:gd name="connsiteY9640" fmla="*/ 77845 h 4806848"/>
              <a:gd name="connsiteX9641" fmla="*/ 3293911 w 8978749"/>
              <a:gd name="connsiteY9641" fmla="*/ 77845 h 4806848"/>
              <a:gd name="connsiteX9642" fmla="*/ 3293911 w 8978749"/>
              <a:gd name="connsiteY9642" fmla="*/ 136591 h 4806848"/>
              <a:gd name="connsiteX9643" fmla="*/ 3236761 w 8978749"/>
              <a:gd name="connsiteY9643" fmla="*/ 136591 h 4806848"/>
              <a:gd name="connsiteX9644" fmla="*/ 3157386 w 8978749"/>
              <a:gd name="connsiteY9644" fmla="*/ 77845 h 4806848"/>
              <a:gd name="connsiteX9645" fmla="*/ 3216124 w 8978749"/>
              <a:gd name="connsiteY9645" fmla="*/ 77845 h 4806848"/>
              <a:gd name="connsiteX9646" fmla="*/ 3216124 w 8978749"/>
              <a:gd name="connsiteY9646" fmla="*/ 136592 h 4806848"/>
              <a:gd name="connsiteX9647" fmla="*/ 3157386 w 8978749"/>
              <a:gd name="connsiteY9647" fmla="*/ 136592 h 4806848"/>
              <a:gd name="connsiteX9648" fmla="*/ 3078011 w 8978749"/>
              <a:gd name="connsiteY9648" fmla="*/ 77845 h 4806848"/>
              <a:gd name="connsiteX9649" fmla="*/ 3136749 w 8978749"/>
              <a:gd name="connsiteY9649" fmla="*/ 77845 h 4806848"/>
              <a:gd name="connsiteX9650" fmla="*/ 3136749 w 8978749"/>
              <a:gd name="connsiteY9650" fmla="*/ 136592 h 4806848"/>
              <a:gd name="connsiteX9651" fmla="*/ 3078011 w 8978749"/>
              <a:gd name="connsiteY9651" fmla="*/ 136592 h 4806848"/>
              <a:gd name="connsiteX9652" fmla="*/ 3789211 w 8978749"/>
              <a:gd name="connsiteY9652" fmla="*/ 77844 h 4806848"/>
              <a:gd name="connsiteX9653" fmla="*/ 3847949 w 8978749"/>
              <a:gd name="connsiteY9653" fmla="*/ 77844 h 4806848"/>
              <a:gd name="connsiteX9654" fmla="*/ 3847949 w 8978749"/>
              <a:gd name="connsiteY9654" fmla="*/ 136591 h 4806848"/>
              <a:gd name="connsiteX9655" fmla="*/ 3789211 w 8978749"/>
              <a:gd name="connsiteY9655" fmla="*/ 136591 h 4806848"/>
              <a:gd name="connsiteX9656" fmla="*/ 3709836 w 8978749"/>
              <a:gd name="connsiteY9656" fmla="*/ 77844 h 4806848"/>
              <a:gd name="connsiteX9657" fmla="*/ 3768574 w 8978749"/>
              <a:gd name="connsiteY9657" fmla="*/ 77844 h 4806848"/>
              <a:gd name="connsiteX9658" fmla="*/ 3768574 w 8978749"/>
              <a:gd name="connsiteY9658" fmla="*/ 136591 h 4806848"/>
              <a:gd name="connsiteX9659" fmla="*/ 3709836 w 8978749"/>
              <a:gd name="connsiteY9659" fmla="*/ 136591 h 4806848"/>
              <a:gd name="connsiteX9660" fmla="*/ 3630461 w 8978749"/>
              <a:gd name="connsiteY9660" fmla="*/ 77844 h 4806848"/>
              <a:gd name="connsiteX9661" fmla="*/ 3689199 w 8978749"/>
              <a:gd name="connsiteY9661" fmla="*/ 77844 h 4806848"/>
              <a:gd name="connsiteX9662" fmla="*/ 3689199 w 8978749"/>
              <a:gd name="connsiteY9662" fmla="*/ 136591 h 4806848"/>
              <a:gd name="connsiteX9663" fmla="*/ 3630461 w 8978749"/>
              <a:gd name="connsiteY9663" fmla="*/ 136591 h 4806848"/>
              <a:gd name="connsiteX9664" fmla="*/ 3552674 w 8978749"/>
              <a:gd name="connsiteY9664" fmla="*/ 77844 h 4806848"/>
              <a:gd name="connsiteX9665" fmla="*/ 3609824 w 8978749"/>
              <a:gd name="connsiteY9665" fmla="*/ 77844 h 4806848"/>
              <a:gd name="connsiteX9666" fmla="*/ 3609824 w 8978749"/>
              <a:gd name="connsiteY9666" fmla="*/ 136591 h 4806848"/>
              <a:gd name="connsiteX9667" fmla="*/ 3552674 w 8978749"/>
              <a:gd name="connsiteY9667" fmla="*/ 136591 h 4806848"/>
              <a:gd name="connsiteX9668" fmla="*/ 3473299 w 8978749"/>
              <a:gd name="connsiteY9668" fmla="*/ 77844 h 4806848"/>
              <a:gd name="connsiteX9669" fmla="*/ 3532037 w 8978749"/>
              <a:gd name="connsiteY9669" fmla="*/ 77844 h 4806848"/>
              <a:gd name="connsiteX9670" fmla="*/ 3532037 w 8978749"/>
              <a:gd name="connsiteY9670" fmla="*/ 136591 h 4806848"/>
              <a:gd name="connsiteX9671" fmla="*/ 3473299 w 8978749"/>
              <a:gd name="connsiteY9671" fmla="*/ 136591 h 4806848"/>
              <a:gd name="connsiteX9672" fmla="*/ 5684686 w 8978749"/>
              <a:gd name="connsiteY9672" fmla="*/ 77844 h 4806848"/>
              <a:gd name="connsiteX9673" fmla="*/ 5741836 w 8978749"/>
              <a:gd name="connsiteY9673" fmla="*/ 77844 h 4806848"/>
              <a:gd name="connsiteX9674" fmla="*/ 5741836 w 8978749"/>
              <a:gd name="connsiteY9674" fmla="*/ 136590 h 4806848"/>
              <a:gd name="connsiteX9675" fmla="*/ 5684686 w 8978749"/>
              <a:gd name="connsiteY9675" fmla="*/ 136590 h 4806848"/>
              <a:gd name="connsiteX9676" fmla="*/ 5525936 w 8978749"/>
              <a:gd name="connsiteY9676" fmla="*/ 77844 h 4806848"/>
              <a:gd name="connsiteX9677" fmla="*/ 5584674 w 8978749"/>
              <a:gd name="connsiteY9677" fmla="*/ 77844 h 4806848"/>
              <a:gd name="connsiteX9678" fmla="*/ 5584674 w 8978749"/>
              <a:gd name="connsiteY9678" fmla="*/ 136590 h 4806848"/>
              <a:gd name="connsiteX9679" fmla="*/ 5525936 w 8978749"/>
              <a:gd name="connsiteY9679" fmla="*/ 136590 h 4806848"/>
              <a:gd name="connsiteX9680" fmla="*/ 5368774 w 8978749"/>
              <a:gd name="connsiteY9680" fmla="*/ 77844 h 4806848"/>
              <a:gd name="connsiteX9681" fmla="*/ 5425924 w 8978749"/>
              <a:gd name="connsiteY9681" fmla="*/ 77844 h 4806848"/>
              <a:gd name="connsiteX9682" fmla="*/ 5425924 w 8978749"/>
              <a:gd name="connsiteY9682" fmla="*/ 136590 h 4806848"/>
              <a:gd name="connsiteX9683" fmla="*/ 5368774 w 8978749"/>
              <a:gd name="connsiteY9683" fmla="*/ 136590 h 4806848"/>
              <a:gd name="connsiteX9684" fmla="*/ 3868586 w 8978749"/>
              <a:gd name="connsiteY9684" fmla="*/ 77844 h 4806848"/>
              <a:gd name="connsiteX9685" fmla="*/ 3925736 w 8978749"/>
              <a:gd name="connsiteY9685" fmla="*/ 77844 h 4806848"/>
              <a:gd name="connsiteX9686" fmla="*/ 3925736 w 8978749"/>
              <a:gd name="connsiteY9686" fmla="*/ 136591 h 4806848"/>
              <a:gd name="connsiteX9687" fmla="*/ 3868586 w 8978749"/>
              <a:gd name="connsiteY9687" fmla="*/ 136591 h 4806848"/>
              <a:gd name="connsiteX9688" fmla="*/ 6551461 w 8978749"/>
              <a:gd name="connsiteY9688" fmla="*/ 77843 h 4806848"/>
              <a:gd name="connsiteX9689" fmla="*/ 6610199 w 8978749"/>
              <a:gd name="connsiteY9689" fmla="*/ 77843 h 4806848"/>
              <a:gd name="connsiteX9690" fmla="*/ 6610199 w 8978749"/>
              <a:gd name="connsiteY9690" fmla="*/ 136590 h 4806848"/>
              <a:gd name="connsiteX9691" fmla="*/ 6551461 w 8978749"/>
              <a:gd name="connsiteY9691" fmla="*/ 136590 h 4806848"/>
              <a:gd name="connsiteX9692" fmla="*/ 6473674 w 8978749"/>
              <a:gd name="connsiteY9692" fmla="*/ 77843 h 4806848"/>
              <a:gd name="connsiteX9693" fmla="*/ 6530824 w 8978749"/>
              <a:gd name="connsiteY9693" fmla="*/ 77843 h 4806848"/>
              <a:gd name="connsiteX9694" fmla="*/ 6530824 w 8978749"/>
              <a:gd name="connsiteY9694" fmla="*/ 136590 h 4806848"/>
              <a:gd name="connsiteX9695" fmla="*/ 6473674 w 8978749"/>
              <a:gd name="connsiteY9695" fmla="*/ 136590 h 4806848"/>
              <a:gd name="connsiteX9696" fmla="*/ 5841849 w 8978749"/>
              <a:gd name="connsiteY9696" fmla="*/ 77843 h 4806848"/>
              <a:gd name="connsiteX9697" fmla="*/ 5900587 w 8978749"/>
              <a:gd name="connsiteY9697" fmla="*/ 77843 h 4806848"/>
              <a:gd name="connsiteX9698" fmla="*/ 5900587 w 8978749"/>
              <a:gd name="connsiteY9698" fmla="*/ 136590 h 4806848"/>
              <a:gd name="connsiteX9699" fmla="*/ 5841849 w 8978749"/>
              <a:gd name="connsiteY9699" fmla="*/ 136590 h 4806848"/>
              <a:gd name="connsiteX9700" fmla="*/ 5762474 w 8978749"/>
              <a:gd name="connsiteY9700" fmla="*/ 77843 h 4806848"/>
              <a:gd name="connsiteX9701" fmla="*/ 5821212 w 8978749"/>
              <a:gd name="connsiteY9701" fmla="*/ 77843 h 4806848"/>
              <a:gd name="connsiteX9702" fmla="*/ 5821212 w 8978749"/>
              <a:gd name="connsiteY9702" fmla="*/ 136590 h 4806848"/>
              <a:gd name="connsiteX9703" fmla="*/ 5762474 w 8978749"/>
              <a:gd name="connsiteY9703" fmla="*/ 136590 h 4806848"/>
              <a:gd name="connsiteX9704" fmla="*/ 6630836 w 8978749"/>
              <a:gd name="connsiteY9704" fmla="*/ 77843 h 4806848"/>
              <a:gd name="connsiteX9705" fmla="*/ 6689574 w 8978749"/>
              <a:gd name="connsiteY9705" fmla="*/ 77843 h 4806848"/>
              <a:gd name="connsiteX9706" fmla="*/ 6689574 w 8978749"/>
              <a:gd name="connsiteY9706" fmla="*/ 136590 h 4806848"/>
              <a:gd name="connsiteX9707" fmla="*/ 6630836 w 8978749"/>
              <a:gd name="connsiteY9707" fmla="*/ 136590 h 4806848"/>
              <a:gd name="connsiteX9708" fmla="*/ 3000224 w 8978749"/>
              <a:gd name="connsiteY9708" fmla="*/ 1 h 4806848"/>
              <a:gd name="connsiteX9709" fmla="*/ 3057374 w 8978749"/>
              <a:gd name="connsiteY9709" fmla="*/ 1 h 4806848"/>
              <a:gd name="connsiteX9710" fmla="*/ 3057374 w 8978749"/>
              <a:gd name="connsiteY9710" fmla="*/ 58794 h 4806848"/>
              <a:gd name="connsiteX9711" fmla="*/ 3000224 w 8978749"/>
              <a:gd name="connsiteY9711" fmla="*/ 58794 h 4806848"/>
              <a:gd name="connsiteX9712" fmla="*/ 2604936 w 8978749"/>
              <a:gd name="connsiteY9712" fmla="*/ 1 h 4806848"/>
              <a:gd name="connsiteX9713" fmla="*/ 2663674 w 8978749"/>
              <a:gd name="connsiteY9713" fmla="*/ 1 h 4806848"/>
              <a:gd name="connsiteX9714" fmla="*/ 2663674 w 8978749"/>
              <a:gd name="connsiteY9714" fmla="*/ 58794 h 4806848"/>
              <a:gd name="connsiteX9715" fmla="*/ 2604936 w 8978749"/>
              <a:gd name="connsiteY9715" fmla="*/ 58794 h 4806848"/>
              <a:gd name="connsiteX9716" fmla="*/ 2525766 w 8978749"/>
              <a:gd name="connsiteY9716" fmla="*/ 1 h 4806848"/>
              <a:gd name="connsiteX9717" fmla="*/ 2584503 w 8978749"/>
              <a:gd name="connsiteY9717" fmla="*/ 1 h 4806848"/>
              <a:gd name="connsiteX9718" fmla="*/ 2584503 w 8978749"/>
              <a:gd name="connsiteY9718" fmla="*/ 58794 h 4806848"/>
              <a:gd name="connsiteX9719" fmla="*/ 2525766 w 8978749"/>
              <a:gd name="connsiteY9719" fmla="*/ 58794 h 4806848"/>
              <a:gd name="connsiteX9720" fmla="*/ 2447972 w 8978749"/>
              <a:gd name="connsiteY9720" fmla="*/ 1 h 4806848"/>
              <a:gd name="connsiteX9721" fmla="*/ 2505139 w 8978749"/>
              <a:gd name="connsiteY9721" fmla="*/ 1 h 4806848"/>
              <a:gd name="connsiteX9722" fmla="*/ 2505139 w 8978749"/>
              <a:gd name="connsiteY9722" fmla="*/ 58794 h 4806848"/>
              <a:gd name="connsiteX9723" fmla="*/ 2447972 w 8978749"/>
              <a:gd name="connsiteY9723" fmla="*/ 58794 h 4806848"/>
              <a:gd name="connsiteX9724" fmla="*/ 2368606 w 8978749"/>
              <a:gd name="connsiteY9724" fmla="*/ 1 h 4806848"/>
              <a:gd name="connsiteX9725" fmla="*/ 2427339 w 8978749"/>
              <a:gd name="connsiteY9725" fmla="*/ 1 h 4806848"/>
              <a:gd name="connsiteX9726" fmla="*/ 2427339 w 8978749"/>
              <a:gd name="connsiteY9726" fmla="*/ 58794 h 4806848"/>
              <a:gd name="connsiteX9727" fmla="*/ 2368606 w 8978749"/>
              <a:gd name="connsiteY9727" fmla="*/ 58794 h 4806848"/>
              <a:gd name="connsiteX9728" fmla="*/ 2289229 w 8978749"/>
              <a:gd name="connsiteY9728" fmla="*/ 1 h 4806848"/>
              <a:gd name="connsiteX9729" fmla="*/ 2347969 w 8978749"/>
              <a:gd name="connsiteY9729" fmla="*/ 1 h 4806848"/>
              <a:gd name="connsiteX9730" fmla="*/ 2347969 w 8978749"/>
              <a:gd name="connsiteY9730" fmla="*/ 58794 h 4806848"/>
              <a:gd name="connsiteX9731" fmla="*/ 2289229 w 8978749"/>
              <a:gd name="connsiteY9731" fmla="*/ 58794 h 4806848"/>
              <a:gd name="connsiteX9732" fmla="*/ 2209849 w 8978749"/>
              <a:gd name="connsiteY9732" fmla="*/ 1 h 4806848"/>
              <a:gd name="connsiteX9733" fmla="*/ 2268592 w 8978749"/>
              <a:gd name="connsiteY9733" fmla="*/ 1 h 4806848"/>
              <a:gd name="connsiteX9734" fmla="*/ 2268592 w 8978749"/>
              <a:gd name="connsiteY9734" fmla="*/ 58794 h 4806848"/>
              <a:gd name="connsiteX9735" fmla="*/ 2209849 w 8978749"/>
              <a:gd name="connsiteY9735" fmla="*/ 58794 h 4806848"/>
              <a:gd name="connsiteX9736" fmla="*/ 3552674 w 8978749"/>
              <a:gd name="connsiteY9736" fmla="*/ 0 h 4806848"/>
              <a:gd name="connsiteX9737" fmla="*/ 3609824 w 8978749"/>
              <a:gd name="connsiteY9737" fmla="*/ 0 h 4806848"/>
              <a:gd name="connsiteX9738" fmla="*/ 3609824 w 8978749"/>
              <a:gd name="connsiteY9738" fmla="*/ 58794 h 4806848"/>
              <a:gd name="connsiteX9739" fmla="*/ 3552674 w 8978749"/>
              <a:gd name="connsiteY9739" fmla="*/ 58794 h 4806848"/>
              <a:gd name="connsiteX9740" fmla="*/ 3473299 w 8978749"/>
              <a:gd name="connsiteY9740" fmla="*/ 0 h 4806848"/>
              <a:gd name="connsiteX9741" fmla="*/ 3532037 w 8978749"/>
              <a:gd name="connsiteY9741" fmla="*/ 0 h 4806848"/>
              <a:gd name="connsiteX9742" fmla="*/ 3532037 w 8978749"/>
              <a:gd name="connsiteY9742" fmla="*/ 58794 h 4806848"/>
              <a:gd name="connsiteX9743" fmla="*/ 3473299 w 8978749"/>
              <a:gd name="connsiteY9743" fmla="*/ 58794 h 4806848"/>
              <a:gd name="connsiteX9744" fmla="*/ 3393924 w 8978749"/>
              <a:gd name="connsiteY9744" fmla="*/ 0 h 4806848"/>
              <a:gd name="connsiteX9745" fmla="*/ 3452662 w 8978749"/>
              <a:gd name="connsiteY9745" fmla="*/ 0 h 4806848"/>
              <a:gd name="connsiteX9746" fmla="*/ 3452662 w 8978749"/>
              <a:gd name="connsiteY9746" fmla="*/ 58794 h 4806848"/>
              <a:gd name="connsiteX9747" fmla="*/ 3393924 w 8978749"/>
              <a:gd name="connsiteY9747" fmla="*/ 58794 h 4806848"/>
              <a:gd name="connsiteX9748" fmla="*/ 3314549 w 8978749"/>
              <a:gd name="connsiteY9748" fmla="*/ 0 h 4806848"/>
              <a:gd name="connsiteX9749" fmla="*/ 3373287 w 8978749"/>
              <a:gd name="connsiteY9749" fmla="*/ 0 h 4806848"/>
              <a:gd name="connsiteX9750" fmla="*/ 3373287 w 8978749"/>
              <a:gd name="connsiteY9750" fmla="*/ 58794 h 4806848"/>
              <a:gd name="connsiteX9751" fmla="*/ 3314549 w 8978749"/>
              <a:gd name="connsiteY9751" fmla="*/ 58794 h 4806848"/>
              <a:gd name="connsiteX9752" fmla="*/ 3236761 w 8978749"/>
              <a:gd name="connsiteY9752" fmla="*/ 0 h 4806848"/>
              <a:gd name="connsiteX9753" fmla="*/ 3293911 w 8978749"/>
              <a:gd name="connsiteY9753" fmla="*/ 0 h 4806848"/>
              <a:gd name="connsiteX9754" fmla="*/ 3293911 w 8978749"/>
              <a:gd name="connsiteY9754" fmla="*/ 58794 h 4806848"/>
              <a:gd name="connsiteX9755" fmla="*/ 3236761 w 8978749"/>
              <a:gd name="connsiteY9755" fmla="*/ 58794 h 4806848"/>
              <a:gd name="connsiteX9756" fmla="*/ 3157386 w 8978749"/>
              <a:gd name="connsiteY9756" fmla="*/ 0 h 4806848"/>
              <a:gd name="connsiteX9757" fmla="*/ 3216124 w 8978749"/>
              <a:gd name="connsiteY9757" fmla="*/ 0 h 4806848"/>
              <a:gd name="connsiteX9758" fmla="*/ 3216124 w 8978749"/>
              <a:gd name="connsiteY9758" fmla="*/ 58794 h 4806848"/>
              <a:gd name="connsiteX9759" fmla="*/ 3157386 w 8978749"/>
              <a:gd name="connsiteY9759" fmla="*/ 58794 h 4806848"/>
              <a:gd name="connsiteX9760" fmla="*/ 3078011 w 8978749"/>
              <a:gd name="connsiteY9760" fmla="*/ 0 h 4806848"/>
              <a:gd name="connsiteX9761" fmla="*/ 3136749 w 8978749"/>
              <a:gd name="connsiteY9761" fmla="*/ 0 h 4806848"/>
              <a:gd name="connsiteX9762" fmla="*/ 3136749 w 8978749"/>
              <a:gd name="connsiteY9762" fmla="*/ 58794 h 4806848"/>
              <a:gd name="connsiteX9763" fmla="*/ 3078011 w 8978749"/>
              <a:gd name="connsiteY9763" fmla="*/ 58794 h 4806848"/>
              <a:gd name="connsiteX9764" fmla="*/ 3630461 w 8978749"/>
              <a:gd name="connsiteY9764" fmla="*/ 0 h 4806848"/>
              <a:gd name="connsiteX9765" fmla="*/ 3689199 w 8978749"/>
              <a:gd name="connsiteY9765" fmla="*/ 0 h 4806848"/>
              <a:gd name="connsiteX9766" fmla="*/ 3689199 w 8978749"/>
              <a:gd name="connsiteY9766" fmla="*/ 58794 h 4806848"/>
              <a:gd name="connsiteX9767" fmla="*/ 3630461 w 8978749"/>
              <a:gd name="connsiteY9767" fmla="*/ 58794 h 4806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Lst>
            <a:rect l="l" t="t" r="r" b="b"/>
            <a:pathLst>
              <a:path w="8978749" h="4806848">
                <a:moveTo>
                  <a:pt x="2604936" y="4748110"/>
                </a:moveTo>
                <a:lnTo>
                  <a:pt x="2663674" y="4748110"/>
                </a:lnTo>
                <a:lnTo>
                  <a:pt x="2663674" y="4806848"/>
                </a:lnTo>
                <a:lnTo>
                  <a:pt x="2604936" y="4806848"/>
                </a:lnTo>
                <a:close/>
                <a:moveTo>
                  <a:pt x="2525561" y="4748110"/>
                </a:moveTo>
                <a:lnTo>
                  <a:pt x="2584299" y="4748110"/>
                </a:lnTo>
                <a:lnTo>
                  <a:pt x="2584299" y="4806848"/>
                </a:lnTo>
                <a:lnTo>
                  <a:pt x="2525561" y="4806848"/>
                </a:lnTo>
                <a:close/>
                <a:moveTo>
                  <a:pt x="3314548" y="4670322"/>
                </a:moveTo>
                <a:lnTo>
                  <a:pt x="3373286" y="4670322"/>
                </a:lnTo>
                <a:lnTo>
                  <a:pt x="3373286" y="4729060"/>
                </a:lnTo>
                <a:lnTo>
                  <a:pt x="3314548" y="4729060"/>
                </a:lnTo>
                <a:close/>
                <a:moveTo>
                  <a:pt x="2525561" y="4670322"/>
                </a:moveTo>
                <a:lnTo>
                  <a:pt x="2584299" y="4670322"/>
                </a:lnTo>
                <a:lnTo>
                  <a:pt x="2584299" y="4729060"/>
                </a:lnTo>
                <a:lnTo>
                  <a:pt x="2525561" y="4729060"/>
                </a:lnTo>
                <a:close/>
                <a:moveTo>
                  <a:pt x="2447774" y="4670322"/>
                </a:moveTo>
                <a:lnTo>
                  <a:pt x="2504923" y="4670322"/>
                </a:lnTo>
                <a:lnTo>
                  <a:pt x="2504923" y="4729060"/>
                </a:lnTo>
                <a:lnTo>
                  <a:pt x="2447774" y="4729060"/>
                </a:lnTo>
                <a:close/>
                <a:moveTo>
                  <a:pt x="2368399" y="4670322"/>
                </a:moveTo>
                <a:lnTo>
                  <a:pt x="2427137" y="4670322"/>
                </a:lnTo>
                <a:lnTo>
                  <a:pt x="2427137" y="4729060"/>
                </a:lnTo>
                <a:lnTo>
                  <a:pt x="2368399" y="4729060"/>
                </a:lnTo>
                <a:close/>
                <a:moveTo>
                  <a:pt x="2763686" y="4592535"/>
                </a:moveTo>
                <a:lnTo>
                  <a:pt x="2820836" y="4592535"/>
                </a:lnTo>
                <a:lnTo>
                  <a:pt x="2820836" y="4651273"/>
                </a:lnTo>
                <a:lnTo>
                  <a:pt x="2763686" y="4651273"/>
                </a:lnTo>
                <a:close/>
                <a:moveTo>
                  <a:pt x="2684311" y="4592535"/>
                </a:moveTo>
                <a:lnTo>
                  <a:pt x="2743049" y="4592535"/>
                </a:lnTo>
                <a:lnTo>
                  <a:pt x="2743049" y="4651273"/>
                </a:lnTo>
                <a:lnTo>
                  <a:pt x="2684311" y="4651273"/>
                </a:lnTo>
                <a:close/>
                <a:moveTo>
                  <a:pt x="2447774" y="4592535"/>
                </a:moveTo>
                <a:lnTo>
                  <a:pt x="2504924" y="4592535"/>
                </a:lnTo>
                <a:lnTo>
                  <a:pt x="2504924" y="4651273"/>
                </a:lnTo>
                <a:lnTo>
                  <a:pt x="2447774" y="4651273"/>
                </a:lnTo>
                <a:close/>
                <a:moveTo>
                  <a:pt x="2368399" y="4592535"/>
                </a:moveTo>
                <a:lnTo>
                  <a:pt x="2427137" y="4592535"/>
                </a:lnTo>
                <a:lnTo>
                  <a:pt x="2427137" y="4651273"/>
                </a:lnTo>
                <a:lnTo>
                  <a:pt x="2368399" y="4651273"/>
                </a:lnTo>
                <a:close/>
                <a:moveTo>
                  <a:pt x="8367561" y="4514747"/>
                </a:moveTo>
                <a:lnTo>
                  <a:pt x="8426299" y="4514747"/>
                </a:lnTo>
                <a:lnTo>
                  <a:pt x="8426299" y="4573485"/>
                </a:lnTo>
                <a:lnTo>
                  <a:pt x="8367561" y="4573485"/>
                </a:lnTo>
                <a:close/>
                <a:moveTo>
                  <a:pt x="2525562" y="4514747"/>
                </a:moveTo>
                <a:lnTo>
                  <a:pt x="2584300" y="4514747"/>
                </a:lnTo>
                <a:lnTo>
                  <a:pt x="2584300" y="4573485"/>
                </a:lnTo>
                <a:lnTo>
                  <a:pt x="2525562" y="4573485"/>
                </a:lnTo>
                <a:close/>
                <a:moveTo>
                  <a:pt x="2447775" y="4514747"/>
                </a:moveTo>
                <a:lnTo>
                  <a:pt x="2504925" y="4514747"/>
                </a:lnTo>
                <a:lnTo>
                  <a:pt x="2504925" y="4573485"/>
                </a:lnTo>
                <a:lnTo>
                  <a:pt x="2447775" y="4573485"/>
                </a:lnTo>
                <a:close/>
                <a:moveTo>
                  <a:pt x="2368400" y="4514747"/>
                </a:moveTo>
                <a:lnTo>
                  <a:pt x="2427138" y="4514747"/>
                </a:lnTo>
                <a:lnTo>
                  <a:pt x="2427138" y="4573485"/>
                </a:lnTo>
                <a:lnTo>
                  <a:pt x="2368400" y="4573485"/>
                </a:lnTo>
                <a:close/>
                <a:moveTo>
                  <a:pt x="8446936" y="4436960"/>
                </a:moveTo>
                <a:lnTo>
                  <a:pt x="8505674" y="4436960"/>
                </a:lnTo>
                <a:lnTo>
                  <a:pt x="8505674" y="4495698"/>
                </a:lnTo>
                <a:lnTo>
                  <a:pt x="8446936" y="4495698"/>
                </a:lnTo>
                <a:close/>
                <a:moveTo>
                  <a:pt x="2525563" y="4436960"/>
                </a:moveTo>
                <a:lnTo>
                  <a:pt x="2584301" y="4436960"/>
                </a:lnTo>
                <a:lnTo>
                  <a:pt x="2584301" y="4495698"/>
                </a:lnTo>
                <a:lnTo>
                  <a:pt x="2525563" y="4495698"/>
                </a:lnTo>
                <a:close/>
                <a:moveTo>
                  <a:pt x="2447775" y="4436960"/>
                </a:moveTo>
                <a:lnTo>
                  <a:pt x="2504926" y="4436960"/>
                </a:lnTo>
                <a:lnTo>
                  <a:pt x="2504926" y="4495698"/>
                </a:lnTo>
                <a:lnTo>
                  <a:pt x="2447775" y="4495698"/>
                </a:lnTo>
                <a:close/>
                <a:moveTo>
                  <a:pt x="2368400" y="4436960"/>
                </a:moveTo>
                <a:lnTo>
                  <a:pt x="2427139" y="4436960"/>
                </a:lnTo>
                <a:lnTo>
                  <a:pt x="2427139" y="4495698"/>
                </a:lnTo>
                <a:lnTo>
                  <a:pt x="2368400" y="4495698"/>
                </a:lnTo>
                <a:close/>
                <a:moveTo>
                  <a:pt x="8526311" y="4359172"/>
                </a:moveTo>
                <a:lnTo>
                  <a:pt x="8583461" y="4359172"/>
                </a:lnTo>
                <a:lnTo>
                  <a:pt x="8583461" y="4417910"/>
                </a:lnTo>
                <a:lnTo>
                  <a:pt x="8526311" y="4417910"/>
                </a:lnTo>
                <a:close/>
                <a:moveTo>
                  <a:pt x="8446936" y="4359172"/>
                </a:moveTo>
                <a:lnTo>
                  <a:pt x="8505674" y="4359172"/>
                </a:lnTo>
                <a:lnTo>
                  <a:pt x="8505674" y="4417910"/>
                </a:lnTo>
                <a:lnTo>
                  <a:pt x="8446936" y="4417910"/>
                </a:lnTo>
                <a:close/>
                <a:moveTo>
                  <a:pt x="2525564" y="4359172"/>
                </a:moveTo>
                <a:lnTo>
                  <a:pt x="2584302" y="4359172"/>
                </a:lnTo>
                <a:lnTo>
                  <a:pt x="2584302" y="4417910"/>
                </a:lnTo>
                <a:lnTo>
                  <a:pt x="2525564" y="4417910"/>
                </a:lnTo>
                <a:close/>
                <a:moveTo>
                  <a:pt x="2447776" y="4359172"/>
                </a:moveTo>
                <a:lnTo>
                  <a:pt x="2504926" y="4359172"/>
                </a:lnTo>
                <a:lnTo>
                  <a:pt x="2504926" y="4417910"/>
                </a:lnTo>
                <a:lnTo>
                  <a:pt x="2447776" y="4417910"/>
                </a:lnTo>
                <a:close/>
                <a:moveTo>
                  <a:pt x="8526311" y="4281385"/>
                </a:moveTo>
                <a:lnTo>
                  <a:pt x="8583461" y="4281385"/>
                </a:lnTo>
                <a:lnTo>
                  <a:pt x="8583461" y="4340123"/>
                </a:lnTo>
                <a:lnTo>
                  <a:pt x="8526311" y="4340123"/>
                </a:lnTo>
                <a:close/>
                <a:moveTo>
                  <a:pt x="7894486" y="4281385"/>
                </a:moveTo>
                <a:lnTo>
                  <a:pt x="7951636" y="4281385"/>
                </a:lnTo>
                <a:lnTo>
                  <a:pt x="7951636" y="4340123"/>
                </a:lnTo>
                <a:lnTo>
                  <a:pt x="7894486" y="4340123"/>
                </a:lnTo>
                <a:close/>
                <a:moveTo>
                  <a:pt x="2525565" y="4281385"/>
                </a:moveTo>
                <a:lnTo>
                  <a:pt x="2584303" y="4281385"/>
                </a:lnTo>
                <a:lnTo>
                  <a:pt x="2584303" y="4340123"/>
                </a:lnTo>
                <a:lnTo>
                  <a:pt x="2525565" y="4340123"/>
                </a:lnTo>
                <a:close/>
                <a:moveTo>
                  <a:pt x="2447777" y="4281385"/>
                </a:moveTo>
                <a:lnTo>
                  <a:pt x="2504927" y="4281385"/>
                </a:lnTo>
                <a:lnTo>
                  <a:pt x="2504927" y="4340123"/>
                </a:lnTo>
                <a:lnTo>
                  <a:pt x="2447777" y="4340123"/>
                </a:lnTo>
                <a:close/>
                <a:moveTo>
                  <a:pt x="8604098" y="4203597"/>
                </a:moveTo>
                <a:lnTo>
                  <a:pt x="8662836" y="4203597"/>
                </a:lnTo>
                <a:lnTo>
                  <a:pt x="8662836" y="4262335"/>
                </a:lnTo>
                <a:lnTo>
                  <a:pt x="8604098" y="4262335"/>
                </a:lnTo>
                <a:close/>
                <a:moveTo>
                  <a:pt x="2604936" y="4203597"/>
                </a:moveTo>
                <a:lnTo>
                  <a:pt x="2663674" y="4203597"/>
                </a:lnTo>
                <a:lnTo>
                  <a:pt x="2663674" y="4262335"/>
                </a:lnTo>
                <a:lnTo>
                  <a:pt x="2604936" y="4262335"/>
                </a:lnTo>
                <a:close/>
                <a:moveTo>
                  <a:pt x="2525565" y="4203597"/>
                </a:moveTo>
                <a:lnTo>
                  <a:pt x="2584304" y="4203597"/>
                </a:lnTo>
                <a:lnTo>
                  <a:pt x="2584304" y="4262335"/>
                </a:lnTo>
                <a:lnTo>
                  <a:pt x="2525565" y="4262335"/>
                </a:lnTo>
                <a:close/>
                <a:moveTo>
                  <a:pt x="2447778" y="4203597"/>
                </a:moveTo>
                <a:lnTo>
                  <a:pt x="2504928" y="4203597"/>
                </a:lnTo>
                <a:lnTo>
                  <a:pt x="2504928" y="4262335"/>
                </a:lnTo>
                <a:lnTo>
                  <a:pt x="2447778" y="4262335"/>
                </a:lnTo>
                <a:close/>
                <a:moveTo>
                  <a:pt x="8604098" y="4125810"/>
                </a:moveTo>
                <a:lnTo>
                  <a:pt x="8662836" y="4125810"/>
                </a:lnTo>
                <a:lnTo>
                  <a:pt x="8662836" y="4184548"/>
                </a:lnTo>
                <a:lnTo>
                  <a:pt x="8604098" y="4184548"/>
                </a:lnTo>
                <a:close/>
                <a:moveTo>
                  <a:pt x="7973861" y="4125810"/>
                </a:moveTo>
                <a:lnTo>
                  <a:pt x="8031011" y="4125810"/>
                </a:lnTo>
                <a:lnTo>
                  <a:pt x="8031011" y="4184548"/>
                </a:lnTo>
                <a:lnTo>
                  <a:pt x="7973861" y="4184548"/>
                </a:lnTo>
                <a:close/>
                <a:moveTo>
                  <a:pt x="7894486" y="4125810"/>
                </a:moveTo>
                <a:lnTo>
                  <a:pt x="7951636" y="4125810"/>
                </a:lnTo>
                <a:lnTo>
                  <a:pt x="7951636" y="4184548"/>
                </a:lnTo>
                <a:lnTo>
                  <a:pt x="7894486" y="4184548"/>
                </a:lnTo>
                <a:close/>
                <a:moveTo>
                  <a:pt x="7815111" y="4125810"/>
                </a:moveTo>
                <a:lnTo>
                  <a:pt x="7873849" y="4125810"/>
                </a:lnTo>
                <a:lnTo>
                  <a:pt x="7873849" y="4184548"/>
                </a:lnTo>
                <a:lnTo>
                  <a:pt x="7815111" y="4184548"/>
                </a:lnTo>
                <a:close/>
                <a:moveTo>
                  <a:pt x="2763686" y="4125810"/>
                </a:moveTo>
                <a:lnTo>
                  <a:pt x="2820836" y="4125810"/>
                </a:lnTo>
                <a:lnTo>
                  <a:pt x="2820836" y="4184548"/>
                </a:lnTo>
                <a:lnTo>
                  <a:pt x="2763686" y="4184548"/>
                </a:lnTo>
                <a:close/>
                <a:moveTo>
                  <a:pt x="2684311" y="4125810"/>
                </a:moveTo>
                <a:lnTo>
                  <a:pt x="2743049" y="4125810"/>
                </a:lnTo>
                <a:lnTo>
                  <a:pt x="2743049" y="4184548"/>
                </a:lnTo>
                <a:lnTo>
                  <a:pt x="2684311" y="4184548"/>
                </a:lnTo>
                <a:close/>
                <a:moveTo>
                  <a:pt x="2604936" y="4125810"/>
                </a:moveTo>
                <a:lnTo>
                  <a:pt x="2663674" y="4125810"/>
                </a:lnTo>
                <a:lnTo>
                  <a:pt x="2663674" y="4184548"/>
                </a:lnTo>
                <a:lnTo>
                  <a:pt x="2604936" y="4184548"/>
                </a:lnTo>
                <a:close/>
                <a:moveTo>
                  <a:pt x="2525567" y="4125810"/>
                </a:moveTo>
                <a:lnTo>
                  <a:pt x="2584305" y="4125810"/>
                </a:lnTo>
                <a:lnTo>
                  <a:pt x="2584305" y="4184548"/>
                </a:lnTo>
                <a:lnTo>
                  <a:pt x="2525567" y="4184548"/>
                </a:lnTo>
                <a:close/>
                <a:moveTo>
                  <a:pt x="2447779" y="4125810"/>
                </a:moveTo>
                <a:lnTo>
                  <a:pt x="2504929" y="4125810"/>
                </a:lnTo>
                <a:lnTo>
                  <a:pt x="2504929" y="4184548"/>
                </a:lnTo>
                <a:lnTo>
                  <a:pt x="2447779" y="4184548"/>
                </a:lnTo>
                <a:close/>
                <a:moveTo>
                  <a:pt x="8526311" y="4048022"/>
                </a:moveTo>
                <a:lnTo>
                  <a:pt x="8583461" y="4048022"/>
                </a:lnTo>
                <a:lnTo>
                  <a:pt x="8583461" y="4106760"/>
                </a:lnTo>
                <a:lnTo>
                  <a:pt x="8526311" y="4106760"/>
                </a:lnTo>
                <a:close/>
                <a:moveTo>
                  <a:pt x="7973861" y="4048022"/>
                </a:moveTo>
                <a:lnTo>
                  <a:pt x="8031011" y="4048022"/>
                </a:lnTo>
                <a:lnTo>
                  <a:pt x="8031011" y="4106760"/>
                </a:lnTo>
                <a:lnTo>
                  <a:pt x="7973861" y="4106760"/>
                </a:lnTo>
                <a:close/>
                <a:moveTo>
                  <a:pt x="7894486" y="4048022"/>
                </a:moveTo>
                <a:lnTo>
                  <a:pt x="7951636" y="4048022"/>
                </a:lnTo>
                <a:lnTo>
                  <a:pt x="7951636" y="4106760"/>
                </a:lnTo>
                <a:lnTo>
                  <a:pt x="7894486" y="4106760"/>
                </a:lnTo>
                <a:close/>
                <a:moveTo>
                  <a:pt x="7815111" y="4048022"/>
                </a:moveTo>
                <a:lnTo>
                  <a:pt x="7873849" y="4048022"/>
                </a:lnTo>
                <a:lnTo>
                  <a:pt x="7873849" y="4106760"/>
                </a:lnTo>
                <a:lnTo>
                  <a:pt x="7815111" y="4106760"/>
                </a:lnTo>
                <a:close/>
                <a:moveTo>
                  <a:pt x="7735736" y="4048022"/>
                </a:moveTo>
                <a:lnTo>
                  <a:pt x="7794474" y="4048022"/>
                </a:lnTo>
                <a:lnTo>
                  <a:pt x="7794474" y="4106760"/>
                </a:lnTo>
                <a:lnTo>
                  <a:pt x="7735736" y="4106760"/>
                </a:lnTo>
                <a:close/>
                <a:moveTo>
                  <a:pt x="7183286" y="4048022"/>
                </a:moveTo>
                <a:lnTo>
                  <a:pt x="7242024" y="4048022"/>
                </a:lnTo>
                <a:lnTo>
                  <a:pt x="7242024" y="4106760"/>
                </a:lnTo>
                <a:lnTo>
                  <a:pt x="7183286" y="4106760"/>
                </a:lnTo>
                <a:close/>
                <a:moveTo>
                  <a:pt x="2763686" y="4048022"/>
                </a:moveTo>
                <a:lnTo>
                  <a:pt x="2820836" y="4048022"/>
                </a:lnTo>
                <a:lnTo>
                  <a:pt x="2820836" y="4106760"/>
                </a:lnTo>
                <a:lnTo>
                  <a:pt x="2763686" y="4106760"/>
                </a:lnTo>
                <a:close/>
                <a:moveTo>
                  <a:pt x="2684311" y="4048022"/>
                </a:moveTo>
                <a:lnTo>
                  <a:pt x="2743049" y="4048022"/>
                </a:lnTo>
                <a:lnTo>
                  <a:pt x="2743049" y="4106760"/>
                </a:lnTo>
                <a:lnTo>
                  <a:pt x="2684311" y="4106760"/>
                </a:lnTo>
                <a:close/>
                <a:moveTo>
                  <a:pt x="2604936" y="4048022"/>
                </a:moveTo>
                <a:lnTo>
                  <a:pt x="2663674" y="4048022"/>
                </a:lnTo>
                <a:lnTo>
                  <a:pt x="2663674" y="4106760"/>
                </a:lnTo>
                <a:lnTo>
                  <a:pt x="2604936" y="4106760"/>
                </a:lnTo>
                <a:close/>
                <a:moveTo>
                  <a:pt x="2525569" y="4048022"/>
                </a:moveTo>
                <a:lnTo>
                  <a:pt x="2584307" y="4048022"/>
                </a:lnTo>
                <a:lnTo>
                  <a:pt x="2584307" y="4106760"/>
                </a:lnTo>
                <a:lnTo>
                  <a:pt x="2525569" y="4106760"/>
                </a:lnTo>
                <a:close/>
                <a:moveTo>
                  <a:pt x="2447781" y="4048022"/>
                </a:moveTo>
                <a:lnTo>
                  <a:pt x="2504930" y="4048022"/>
                </a:lnTo>
                <a:lnTo>
                  <a:pt x="2504930" y="4106760"/>
                </a:lnTo>
                <a:lnTo>
                  <a:pt x="2447781" y="4106760"/>
                </a:lnTo>
                <a:close/>
                <a:moveTo>
                  <a:pt x="7973861" y="3970235"/>
                </a:moveTo>
                <a:lnTo>
                  <a:pt x="8031011" y="3970235"/>
                </a:lnTo>
                <a:lnTo>
                  <a:pt x="8031011" y="4028973"/>
                </a:lnTo>
                <a:lnTo>
                  <a:pt x="7973861" y="4028973"/>
                </a:lnTo>
                <a:close/>
                <a:moveTo>
                  <a:pt x="7894486" y="3970235"/>
                </a:moveTo>
                <a:lnTo>
                  <a:pt x="7951636" y="3970235"/>
                </a:lnTo>
                <a:lnTo>
                  <a:pt x="7951636" y="4028973"/>
                </a:lnTo>
                <a:lnTo>
                  <a:pt x="7894486" y="4028973"/>
                </a:lnTo>
                <a:close/>
                <a:moveTo>
                  <a:pt x="7815111" y="3970235"/>
                </a:moveTo>
                <a:lnTo>
                  <a:pt x="7873849" y="3970235"/>
                </a:lnTo>
                <a:lnTo>
                  <a:pt x="7873849" y="4028973"/>
                </a:lnTo>
                <a:lnTo>
                  <a:pt x="7815111" y="4028973"/>
                </a:lnTo>
                <a:close/>
                <a:moveTo>
                  <a:pt x="7735736" y="3970235"/>
                </a:moveTo>
                <a:lnTo>
                  <a:pt x="7794474" y="3970235"/>
                </a:lnTo>
                <a:lnTo>
                  <a:pt x="7794474" y="4028973"/>
                </a:lnTo>
                <a:lnTo>
                  <a:pt x="7735736" y="4028973"/>
                </a:lnTo>
                <a:close/>
                <a:moveTo>
                  <a:pt x="7657948" y="3970235"/>
                </a:moveTo>
                <a:lnTo>
                  <a:pt x="7715098" y="3970235"/>
                </a:lnTo>
                <a:lnTo>
                  <a:pt x="7715098" y="4028973"/>
                </a:lnTo>
                <a:lnTo>
                  <a:pt x="7657948" y="4028973"/>
                </a:lnTo>
                <a:close/>
                <a:moveTo>
                  <a:pt x="7578573" y="3970235"/>
                </a:moveTo>
                <a:lnTo>
                  <a:pt x="7637311" y="3970235"/>
                </a:lnTo>
                <a:lnTo>
                  <a:pt x="7637311" y="4028973"/>
                </a:lnTo>
                <a:lnTo>
                  <a:pt x="7578573" y="4028973"/>
                </a:lnTo>
                <a:close/>
                <a:moveTo>
                  <a:pt x="7262661" y="3970235"/>
                </a:moveTo>
                <a:lnTo>
                  <a:pt x="7321399" y="3970235"/>
                </a:lnTo>
                <a:lnTo>
                  <a:pt x="7321399" y="4028973"/>
                </a:lnTo>
                <a:lnTo>
                  <a:pt x="7262661" y="4028973"/>
                </a:lnTo>
                <a:close/>
                <a:moveTo>
                  <a:pt x="7183286" y="3970235"/>
                </a:moveTo>
                <a:lnTo>
                  <a:pt x="7242024" y="3970235"/>
                </a:lnTo>
                <a:lnTo>
                  <a:pt x="7242024" y="4028973"/>
                </a:lnTo>
                <a:lnTo>
                  <a:pt x="7183286" y="4028973"/>
                </a:lnTo>
                <a:close/>
                <a:moveTo>
                  <a:pt x="7105498" y="3970235"/>
                </a:moveTo>
                <a:lnTo>
                  <a:pt x="7162648" y="3970235"/>
                </a:lnTo>
                <a:lnTo>
                  <a:pt x="7162648" y="4028973"/>
                </a:lnTo>
                <a:lnTo>
                  <a:pt x="7105498" y="4028973"/>
                </a:lnTo>
                <a:close/>
                <a:moveTo>
                  <a:pt x="4894111" y="3970235"/>
                </a:moveTo>
                <a:lnTo>
                  <a:pt x="4952849" y="3970235"/>
                </a:lnTo>
                <a:lnTo>
                  <a:pt x="4952849" y="4028973"/>
                </a:lnTo>
                <a:lnTo>
                  <a:pt x="4894111" y="4028973"/>
                </a:lnTo>
                <a:close/>
                <a:moveTo>
                  <a:pt x="4814736" y="3970235"/>
                </a:moveTo>
                <a:lnTo>
                  <a:pt x="4873474" y="3970235"/>
                </a:lnTo>
                <a:lnTo>
                  <a:pt x="4873474" y="4028973"/>
                </a:lnTo>
                <a:lnTo>
                  <a:pt x="4814736" y="4028973"/>
                </a:lnTo>
                <a:close/>
                <a:moveTo>
                  <a:pt x="4736948" y="3970235"/>
                </a:moveTo>
                <a:lnTo>
                  <a:pt x="4794098" y="3970235"/>
                </a:lnTo>
                <a:lnTo>
                  <a:pt x="4794098" y="4028973"/>
                </a:lnTo>
                <a:lnTo>
                  <a:pt x="4736948" y="4028973"/>
                </a:lnTo>
                <a:close/>
                <a:moveTo>
                  <a:pt x="2841473" y="3970235"/>
                </a:moveTo>
                <a:lnTo>
                  <a:pt x="2900211" y="3970235"/>
                </a:lnTo>
                <a:lnTo>
                  <a:pt x="2900211" y="4028973"/>
                </a:lnTo>
                <a:lnTo>
                  <a:pt x="2841473" y="4028973"/>
                </a:lnTo>
                <a:close/>
                <a:moveTo>
                  <a:pt x="2763686" y="3970235"/>
                </a:moveTo>
                <a:lnTo>
                  <a:pt x="2820836" y="3970235"/>
                </a:lnTo>
                <a:lnTo>
                  <a:pt x="2820836" y="4028973"/>
                </a:lnTo>
                <a:lnTo>
                  <a:pt x="2763686" y="4028973"/>
                </a:lnTo>
                <a:close/>
                <a:moveTo>
                  <a:pt x="2684311" y="3970235"/>
                </a:moveTo>
                <a:lnTo>
                  <a:pt x="2743049" y="3970235"/>
                </a:lnTo>
                <a:lnTo>
                  <a:pt x="2743049" y="4028973"/>
                </a:lnTo>
                <a:lnTo>
                  <a:pt x="2684311" y="4028973"/>
                </a:lnTo>
                <a:close/>
                <a:moveTo>
                  <a:pt x="2604936" y="3970235"/>
                </a:moveTo>
                <a:lnTo>
                  <a:pt x="2663674" y="3970235"/>
                </a:lnTo>
                <a:lnTo>
                  <a:pt x="2663674" y="4028973"/>
                </a:lnTo>
                <a:lnTo>
                  <a:pt x="2604936" y="4028973"/>
                </a:lnTo>
                <a:close/>
                <a:moveTo>
                  <a:pt x="2525572" y="3970235"/>
                </a:moveTo>
                <a:lnTo>
                  <a:pt x="2584309" y="3970235"/>
                </a:lnTo>
                <a:lnTo>
                  <a:pt x="2584309" y="4028973"/>
                </a:lnTo>
                <a:lnTo>
                  <a:pt x="2525572" y="4028973"/>
                </a:lnTo>
                <a:close/>
                <a:moveTo>
                  <a:pt x="2447784" y="3970235"/>
                </a:moveTo>
                <a:lnTo>
                  <a:pt x="2504934" y="3970235"/>
                </a:lnTo>
                <a:lnTo>
                  <a:pt x="2504934" y="4028973"/>
                </a:lnTo>
                <a:lnTo>
                  <a:pt x="2447784" y="4028973"/>
                </a:lnTo>
                <a:close/>
                <a:moveTo>
                  <a:pt x="2289034" y="3970235"/>
                </a:moveTo>
                <a:lnTo>
                  <a:pt x="2347772" y="3970235"/>
                </a:lnTo>
                <a:lnTo>
                  <a:pt x="2347772" y="4028973"/>
                </a:lnTo>
                <a:lnTo>
                  <a:pt x="2289034" y="4028973"/>
                </a:lnTo>
                <a:close/>
                <a:moveTo>
                  <a:pt x="8051648" y="3892447"/>
                </a:moveTo>
                <a:lnTo>
                  <a:pt x="8110386" y="3892447"/>
                </a:lnTo>
                <a:lnTo>
                  <a:pt x="8110386" y="3951185"/>
                </a:lnTo>
                <a:lnTo>
                  <a:pt x="8051648" y="3951185"/>
                </a:lnTo>
                <a:close/>
                <a:moveTo>
                  <a:pt x="7973861" y="3892447"/>
                </a:moveTo>
                <a:lnTo>
                  <a:pt x="8031011" y="3892447"/>
                </a:lnTo>
                <a:lnTo>
                  <a:pt x="8031011" y="3951185"/>
                </a:lnTo>
                <a:lnTo>
                  <a:pt x="7973861" y="3951185"/>
                </a:lnTo>
                <a:close/>
                <a:moveTo>
                  <a:pt x="7894486" y="3892447"/>
                </a:moveTo>
                <a:lnTo>
                  <a:pt x="7951636" y="3892447"/>
                </a:lnTo>
                <a:lnTo>
                  <a:pt x="7951636" y="3951185"/>
                </a:lnTo>
                <a:lnTo>
                  <a:pt x="7894486" y="3951185"/>
                </a:lnTo>
                <a:close/>
                <a:moveTo>
                  <a:pt x="7815111" y="3892447"/>
                </a:moveTo>
                <a:lnTo>
                  <a:pt x="7873849" y="3892447"/>
                </a:lnTo>
                <a:lnTo>
                  <a:pt x="7873849" y="3951185"/>
                </a:lnTo>
                <a:lnTo>
                  <a:pt x="7815111" y="3951185"/>
                </a:lnTo>
                <a:close/>
                <a:moveTo>
                  <a:pt x="7735736" y="3892447"/>
                </a:moveTo>
                <a:lnTo>
                  <a:pt x="7794474" y="3892447"/>
                </a:lnTo>
                <a:lnTo>
                  <a:pt x="7794474" y="3951185"/>
                </a:lnTo>
                <a:lnTo>
                  <a:pt x="7735736" y="3951185"/>
                </a:lnTo>
                <a:close/>
                <a:moveTo>
                  <a:pt x="7657948" y="3892447"/>
                </a:moveTo>
                <a:lnTo>
                  <a:pt x="7715098" y="3892447"/>
                </a:lnTo>
                <a:lnTo>
                  <a:pt x="7715098" y="3951185"/>
                </a:lnTo>
                <a:lnTo>
                  <a:pt x="7657948" y="3951185"/>
                </a:lnTo>
                <a:close/>
                <a:moveTo>
                  <a:pt x="7578573" y="3892447"/>
                </a:moveTo>
                <a:lnTo>
                  <a:pt x="7637311" y="3892447"/>
                </a:lnTo>
                <a:lnTo>
                  <a:pt x="7637311" y="3951185"/>
                </a:lnTo>
                <a:lnTo>
                  <a:pt x="7578573" y="3951185"/>
                </a:lnTo>
                <a:close/>
                <a:moveTo>
                  <a:pt x="7499198" y="3892447"/>
                </a:moveTo>
                <a:lnTo>
                  <a:pt x="7557936" y="3892447"/>
                </a:lnTo>
                <a:lnTo>
                  <a:pt x="7557936" y="3951185"/>
                </a:lnTo>
                <a:lnTo>
                  <a:pt x="7499198" y="3951185"/>
                </a:lnTo>
                <a:close/>
                <a:moveTo>
                  <a:pt x="7419823" y="3892447"/>
                </a:moveTo>
                <a:lnTo>
                  <a:pt x="7478561" y="3892447"/>
                </a:lnTo>
                <a:lnTo>
                  <a:pt x="7478561" y="3951185"/>
                </a:lnTo>
                <a:lnTo>
                  <a:pt x="7419823" y="3951185"/>
                </a:lnTo>
                <a:close/>
                <a:moveTo>
                  <a:pt x="7342036" y="3892447"/>
                </a:moveTo>
                <a:lnTo>
                  <a:pt x="7400774" y="3892447"/>
                </a:lnTo>
                <a:lnTo>
                  <a:pt x="7400774" y="3951185"/>
                </a:lnTo>
                <a:lnTo>
                  <a:pt x="7342036" y="3951185"/>
                </a:lnTo>
                <a:close/>
                <a:moveTo>
                  <a:pt x="7262661" y="3892447"/>
                </a:moveTo>
                <a:lnTo>
                  <a:pt x="7321399" y="3892447"/>
                </a:lnTo>
                <a:lnTo>
                  <a:pt x="7321399" y="3951185"/>
                </a:lnTo>
                <a:lnTo>
                  <a:pt x="7262661" y="3951185"/>
                </a:lnTo>
                <a:close/>
                <a:moveTo>
                  <a:pt x="7183286" y="3892447"/>
                </a:moveTo>
                <a:lnTo>
                  <a:pt x="7242024" y="3892447"/>
                </a:lnTo>
                <a:lnTo>
                  <a:pt x="7242024" y="3951185"/>
                </a:lnTo>
                <a:lnTo>
                  <a:pt x="7183286" y="3951185"/>
                </a:lnTo>
                <a:close/>
                <a:moveTo>
                  <a:pt x="7105498" y="3892447"/>
                </a:moveTo>
                <a:lnTo>
                  <a:pt x="7162648" y="3892447"/>
                </a:lnTo>
                <a:lnTo>
                  <a:pt x="7162648" y="3951185"/>
                </a:lnTo>
                <a:lnTo>
                  <a:pt x="7105498" y="3951185"/>
                </a:lnTo>
                <a:close/>
                <a:moveTo>
                  <a:pt x="4973486" y="3892447"/>
                </a:moveTo>
                <a:lnTo>
                  <a:pt x="5030636" y="3892447"/>
                </a:lnTo>
                <a:lnTo>
                  <a:pt x="5030636" y="3951185"/>
                </a:lnTo>
                <a:lnTo>
                  <a:pt x="4973486" y="3951185"/>
                </a:lnTo>
                <a:close/>
                <a:moveTo>
                  <a:pt x="4894111" y="3892447"/>
                </a:moveTo>
                <a:lnTo>
                  <a:pt x="4952849" y="3892447"/>
                </a:lnTo>
                <a:lnTo>
                  <a:pt x="4952849" y="3951185"/>
                </a:lnTo>
                <a:lnTo>
                  <a:pt x="4894111" y="3951185"/>
                </a:lnTo>
                <a:close/>
                <a:moveTo>
                  <a:pt x="4814736" y="3892447"/>
                </a:moveTo>
                <a:lnTo>
                  <a:pt x="4873474" y="3892447"/>
                </a:lnTo>
                <a:lnTo>
                  <a:pt x="4873474" y="3951185"/>
                </a:lnTo>
                <a:lnTo>
                  <a:pt x="4814736" y="3951185"/>
                </a:lnTo>
                <a:close/>
                <a:moveTo>
                  <a:pt x="4736948" y="3892447"/>
                </a:moveTo>
                <a:lnTo>
                  <a:pt x="4794098" y="3892447"/>
                </a:lnTo>
                <a:lnTo>
                  <a:pt x="4794098" y="3951185"/>
                </a:lnTo>
                <a:lnTo>
                  <a:pt x="4736948" y="3951185"/>
                </a:lnTo>
                <a:close/>
                <a:moveTo>
                  <a:pt x="2920848" y="3892447"/>
                </a:moveTo>
                <a:lnTo>
                  <a:pt x="2979586" y="3892447"/>
                </a:lnTo>
                <a:lnTo>
                  <a:pt x="2979586" y="3951185"/>
                </a:lnTo>
                <a:lnTo>
                  <a:pt x="2920848" y="3951185"/>
                </a:lnTo>
                <a:close/>
                <a:moveTo>
                  <a:pt x="2841473" y="3892447"/>
                </a:moveTo>
                <a:lnTo>
                  <a:pt x="2900211" y="3892447"/>
                </a:lnTo>
                <a:lnTo>
                  <a:pt x="2900211" y="3951185"/>
                </a:lnTo>
                <a:lnTo>
                  <a:pt x="2841473" y="3951185"/>
                </a:lnTo>
                <a:close/>
                <a:moveTo>
                  <a:pt x="2763686" y="3892447"/>
                </a:moveTo>
                <a:lnTo>
                  <a:pt x="2820836" y="3892447"/>
                </a:lnTo>
                <a:lnTo>
                  <a:pt x="2820836" y="3951185"/>
                </a:lnTo>
                <a:lnTo>
                  <a:pt x="2763686" y="3951185"/>
                </a:lnTo>
                <a:close/>
                <a:moveTo>
                  <a:pt x="2684311" y="3892447"/>
                </a:moveTo>
                <a:lnTo>
                  <a:pt x="2743049" y="3892447"/>
                </a:lnTo>
                <a:lnTo>
                  <a:pt x="2743049" y="3951185"/>
                </a:lnTo>
                <a:lnTo>
                  <a:pt x="2684311" y="3951185"/>
                </a:lnTo>
                <a:close/>
                <a:moveTo>
                  <a:pt x="2604936" y="3892447"/>
                </a:moveTo>
                <a:lnTo>
                  <a:pt x="2663674" y="3892447"/>
                </a:lnTo>
                <a:lnTo>
                  <a:pt x="2663674" y="3951185"/>
                </a:lnTo>
                <a:lnTo>
                  <a:pt x="2604936" y="3951185"/>
                </a:lnTo>
                <a:close/>
                <a:moveTo>
                  <a:pt x="2525575" y="3892447"/>
                </a:moveTo>
                <a:lnTo>
                  <a:pt x="2584313" y="3892447"/>
                </a:lnTo>
                <a:lnTo>
                  <a:pt x="2584313" y="3951185"/>
                </a:lnTo>
                <a:lnTo>
                  <a:pt x="2525575" y="3951185"/>
                </a:lnTo>
                <a:close/>
                <a:moveTo>
                  <a:pt x="8051648" y="3814660"/>
                </a:moveTo>
                <a:lnTo>
                  <a:pt x="8110386" y="3814660"/>
                </a:lnTo>
                <a:lnTo>
                  <a:pt x="8110386" y="3871810"/>
                </a:lnTo>
                <a:lnTo>
                  <a:pt x="8051648" y="3871810"/>
                </a:lnTo>
                <a:close/>
                <a:moveTo>
                  <a:pt x="7973861" y="3814660"/>
                </a:moveTo>
                <a:lnTo>
                  <a:pt x="8031011" y="3814660"/>
                </a:lnTo>
                <a:lnTo>
                  <a:pt x="8031011" y="3871810"/>
                </a:lnTo>
                <a:lnTo>
                  <a:pt x="7973861" y="3871810"/>
                </a:lnTo>
                <a:close/>
                <a:moveTo>
                  <a:pt x="7894486" y="3814660"/>
                </a:moveTo>
                <a:lnTo>
                  <a:pt x="7951636" y="3814660"/>
                </a:lnTo>
                <a:lnTo>
                  <a:pt x="7951636" y="3871810"/>
                </a:lnTo>
                <a:lnTo>
                  <a:pt x="7894486" y="3871810"/>
                </a:lnTo>
                <a:close/>
                <a:moveTo>
                  <a:pt x="7815111" y="3814660"/>
                </a:moveTo>
                <a:lnTo>
                  <a:pt x="7873849" y="3814660"/>
                </a:lnTo>
                <a:lnTo>
                  <a:pt x="7873849" y="3871810"/>
                </a:lnTo>
                <a:lnTo>
                  <a:pt x="7815111" y="3871810"/>
                </a:lnTo>
                <a:close/>
                <a:moveTo>
                  <a:pt x="7735736" y="3814660"/>
                </a:moveTo>
                <a:lnTo>
                  <a:pt x="7794474" y="3814660"/>
                </a:lnTo>
                <a:lnTo>
                  <a:pt x="7794474" y="3871810"/>
                </a:lnTo>
                <a:lnTo>
                  <a:pt x="7735736" y="3871810"/>
                </a:lnTo>
                <a:close/>
                <a:moveTo>
                  <a:pt x="7657948" y="3814660"/>
                </a:moveTo>
                <a:lnTo>
                  <a:pt x="7715098" y="3814660"/>
                </a:lnTo>
                <a:lnTo>
                  <a:pt x="7715098" y="3871810"/>
                </a:lnTo>
                <a:lnTo>
                  <a:pt x="7657948" y="3871810"/>
                </a:lnTo>
                <a:close/>
                <a:moveTo>
                  <a:pt x="7578573" y="3814660"/>
                </a:moveTo>
                <a:lnTo>
                  <a:pt x="7637311" y="3814660"/>
                </a:lnTo>
                <a:lnTo>
                  <a:pt x="7637311" y="3871810"/>
                </a:lnTo>
                <a:lnTo>
                  <a:pt x="7578573" y="3871810"/>
                </a:lnTo>
                <a:close/>
                <a:moveTo>
                  <a:pt x="7499198" y="3814660"/>
                </a:moveTo>
                <a:lnTo>
                  <a:pt x="7557936" y="3814660"/>
                </a:lnTo>
                <a:lnTo>
                  <a:pt x="7557936" y="3871810"/>
                </a:lnTo>
                <a:lnTo>
                  <a:pt x="7499198" y="3871810"/>
                </a:lnTo>
                <a:close/>
                <a:moveTo>
                  <a:pt x="7419823" y="3814660"/>
                </a:moveTo>
                <a:lnTo>
                  <a:pt x="7478561" y="3814660"/>
                </a:lnTo>
                <a:lnTo>
                  <a:pt x="7478561" y="3871810"/>
                </a:lnTo>
                <a:lnTo>
                  <a:pt x="7419823" y="3871810"/>
                </a:lnTo>
                <a:close/>
                <a:moveTo>
                  <a:pt x="7342036" y="3814660"/>
                </a:moveTo>
                <a:lnTo>
                  <a:pt x="7400774" y="3814660"/>
                </a:lnTo>
                <a:lnTo>
                  <a:pt x="7400774" y="3871810"/>
                </a:lnTo>
                <a:lnTo>
                  <a:pt x="7342036" y="3871810"/>
                </a:lnTo>
                <a:close/>
                <a:moveTo>
                  <a:pt x="7262661" y="3814660"/>
                </a:moveTo>
                <a:lnTo>
                  <a:pt x="7321399" y="3814660"/>
                </a:lnTo>
                <a:lnTo>
                  <a:pt x="7321399" y="3871810"/>
                </a:lnTo>
                <a:lnTo>
                  <a:pt x="7262661" y="3871810"/>
                </a:lnTo>
                <a:close/>
                <a:moveTo>
                  <a:pt x="7183286" y="3814660"/>
                </a:moveTo>
                <a:lnTo>
                  <a:pt x="7242024" y="3814660"/>
                </a:lnTo>
                <a:lnTo>
                  <a:pt x="7242024" y="3871810"/>
                </a:lnTo>
                <a:lnTo>
                  <a:pt x="7183286" y="3871810"/>
                </a:lnTo>
                <a:close/>
                <a:moveTo>
                  <a:pt x="7105498" y="3814660"/>
                </a:moveTo>
                <a:lnTo>
                  <a:pt x="7162648" y="3814660"/>
                </a:lnTo>
                <a:lnTo>
                  <a:pt x="7162648" y="3871810"/>
                </a:lnTo>
                <a:lnTo>
                  <a:pt x="7105498" y="3871810"/>
                </a:lnTo>
                <a:close/>
                <a:moveTo>
                  <a:pt x="4973486" y="3814660"/>
                </a:moveTo>
                <a:lnTo>
                  <a:pt x="5030636" y="3814660"/>
                </a:lnTo>
                <a:lnTo>
                  <a:pt x="5030636" y="3871810"/>
                </a:lnTo>
                <a:lnTo>
                  <a:pt x="4973486" y="3871810"/>
                </a:lnTo>
                <a:close/>
                <a:moveTo>
                  <a:pt x="4894111" y="3814660"/>
                </a:moveTo>
                <a:lnTo>
                  <a:pt x="4952849" y="3814660"/>
                </a:lnTo>
                <a:lnTo>
                  <a:pt x="4952849" y="3871810"/>
                </a:lnTo>
                <a:lnTo>
                  <a:pt x="4894111" y="3871810"/>
                </a:lnTo>
                <a:close/>
                <a:moveTo>
                  <a:pt x="4814736" y="3814660"/>
                </a:moveTo>
                <a:lnTo>
                  <a:pt x="4873474" y="3814660"/>
                </a:lnTo>
                <a:lnTo>
                  <a:pt x="4873474" y="3871810"/>
                </a:lnTo>
                <a:lnTo>
                  <a:pt x="4814736" y="3871810"/>
                </a:lnTo>
                <a:close/>
                <a:moveTo>
                  <a:pt x="4736948" y="3814660"/>
                </a:moveTo>
                <a:lnTo>
                  <a:pt x="4794098" y="3814660"/>
                </a:lnTo>
                <a:lnTo>
                  <a:pt x="4794098" y="3871810"/>
                </a:lnTo>
                <a:lnTo>
                  <a:pt x="4736948" y="3871810"/>
                </a:lnTo>
                <a:close/>
                <a:moveTo>
                  <a:pt x="4657573" y="3814660"/>
                </a:moveTo>
                <a:lnTo>
                  <a:pt x="4716311" y="3814660"/>
                </a:lnTo>
                <a:lnTo>
                  <a:pt x="4716311" y="3871810"/>
                </a:lnTo>
                <a:lnTo>
                  <a:pt x="4657573" y="3871810"/>
                </a:lnTo>
                <a:close/>
                <a:moveTo>
                  <a:pt x="2920848" y="3814660"/>
                </a:moveTo>
                <a:lnTo>
                  <a:pt x="2979586" y="3814660"/>
                </a:lnTo>
                <a:lnTo>
                  <a:pt x="2979586" y="3871810"/>
                </a:lnTo>
                <a:lnTo>
                  <a:pt x="2920848" y="3871810"/>
                </a:lnTo>
                <a:close/>
                <a:moveTo>
                  <a:pt x="2841473" y="3814660"/>
                </a:moveTo>
                <a:lnTo>
                  <a:pt x="2900211" y="3814660"/>
                </a:lnTo>
                <a:lnTo>
                  <a:pt x="2900211" y="3871810"/>
                </a:lnTo>
                <a:lnTo>
                  <a:pt x="2841473" y="3871810"/>
                </a:lnTo>
                <a:close/>
                <a:moveTo>
                  <a:pt x="2763686" y="3814660"/>
                </a:moveTo>
                <a:lnTo>
                  <a:pt x="2820836" y="3814660"/>
                </a:lnTo>
                <a:lnTo>
                  <a:pt x="2820836" y="3871810"/>
                </a:lnTo>
                <a:lnTo>
                  <a:pt x="2763686" y="3871810"/>
                </a:lnTo>
                <a:close/>
                <a:moveTo>
                  <a:pt x="2684311" y="3814660"/>
                </a:moveTo>
                <a:lnTo>
                  <a:pt x="2743049" y="3814660"/>
                </a:lnTo>
                <a:lnTo>
                  <a:pt x="2743049" y="3871810"/>
                </a:lnTo>
                <a:lnTo>
                  <a:pt x="2684311" y="3871810"/>
                </a:lnTo>
                <a:close/>
                <a:moveTo>
                  <a:pt x="2604936" y="3814660"/>
                </a:moveTo>
                <a:lnTo>
                  <a:pt x="2663674" y="3814660"/>
                </a:lnTo>
                <a:lnTo>
                  <a:pt x="2663674" y="3871810"/>
                </a:lnTo>
                <a:lnTo>
                  <a:pt x="2604936" y="3871810"/>
                </a:lnTo>
                <a:close/>
                <a:moveTo>
                  <a:pt x="2525579" y="3814660"/>
                </a:moveTo>
                <a:lnTo>
                  <a:pt x="2584317" y="3814660"/>
                </a:lnTo>
                <a:lnTo>
                  <a:pt x="2584317" y="3871810"/>
                </a:lnTo>
                <a:lnTo>
                  <a:pt x="2525579" y="3871810"/>
                </a:lnTo>
                <a:close/>
                <a:moveTo>
                  <a:pt x="1500053" y="3814660"/>
                </a:moveTo>
                <a:lnTo>
                  <a:pt x="1558792" y="3814660"/>
                </a:lnTo>
                <a:lnTo>
                  <a:pt x="1558792" y="3871810"/>
                </a:lnTo>
                <a:lnTo>
                  <a:pt x="1500053" y="3871810"/>
                </a:lnTo>
                <a:close/>
                <a:moveTo>
                  <a:pt x="8051648" y="3736872"/>
                </a:moveTo>
                <a:lnTo>
                  <a:pt x="8110386" y="3736872"/>
                </a:lnTo>
                <a:lnTo>
                  <a:pt x="8110386" y="3794022"/>
                </a:lnTo>
                <a:lnTo>
                  <a:pt x="8051648" y="3794022"/>
                </a:lnTo>
                <a:close/>
                <a:moveTo>
                  <a:pt x="7973861" y="3736872"/>
                </a:moveTo>
                <a:lnTo>
                  <a:pt x="8031011" y="3736872"/>
                </a:lnTo>
                <a:lnTo>
                  <a:pt x="8031011" y="3794022"/>
                </a:lnTo>
                <a:lnTo>
                  <a:pt x="7973861" y="3794022"/>
                </a:lnTo>
                <a:close/>
                <a:moveTo>
                  <a:pt x="7894486" y="3736872"/>
                </a:moveTo>
                <a:lnTo>
                  <a:pt x="7951636" y="3736872"/>
                </a:lnTo>
                <a:lnTo>
                  <a:pt x="7951636" y="3794022"/>
                </a:lnTo>
                <a:lnTo>
                  <a:pt x="7894486" y="3794022"/>
                </a:lnTo>
                <a:close/>
                <a:moveTo>
                  <a:pt x="7815111" y="3736872"/>
                </a:moveTo>
                <a:lnTo>
                  <a:pt x="7873849" y="3736872"/>
                </a:lnTo>
                <a:lnTo>
                  <a:pt x="7873849" y="3794022"/>
                </a:lnTo>
                <a:lnTo>
                  <a:pt x="7815111" y="3794022"/>
                </a:lnTo>
                <a:close/>
                <a:moveTo>
                  <a:pt x="7735736" y="3736872"/>
                </a:moveTo>
                <a:lnTo>
                  <a:pt x="7794474" y="3736872"/>
                </a:lnTo>
                <a:lnTo>
                  <a:pt x="7794474" y="3794022"/>
                </a:lnTo>
                <a:lnTo>
                  <a:pt x="7735736" y="3794022"/>
                </a:lnTo>
                <a:close/>
                <a:moveTo>
                  <a:pt x="7657948" y="3736872"/>
                </a:moveTo>
                <a:lnTo>
                  <a:pt x="7715098" y="3736872"/>
                </a:lnTo>
                <a:lnTo>
                  <a:pt x="7715098" y="3794022"/>
                </a:lnTo>
                <a:lnTo>
                  <a:pt x="7657948" y="3794022"/>
                </a:lnTo>
                <a:close/>
                <a:moveTo>
                  <a:pt x="7578573" y="3736872"/>
                </a:moveTo>
                <a:lnTo>
                  <a:pt x="7637311" y="3736872"/>
                </a:lnTo>
                <a:lnTo>
                  <a:pt x="7637311" y="3794022"/>
                </a:lnTo>
                <a:lnTo>
                  <a:pt x="7578573" y="3794022"/>
                </a:lnTo>
                <a:close/>
                <a:moveTo>
                  <a:pt x="7499198" y="3736872"/>
                </a:moveTo>
                <a:lnTo>
                  <a:pt x="7557936" y="3736872"/>
                </a:lnTo>
                <a:lnTo>
                  <a:pt x="7557936" y="3794022"/>
                </a:lnTo>
                <a:lnTo>
                  <a:pt x="7499198" y="3794022"/>
                </a:lnTo>
                <a:close/>
                <a:moveTo>
                  <a:pt x="7419823" y="3736872"/>
                </a:moveTo>
                <a:lnTo>
                  <a:pt x="7478561" y="3736872"/>
                </a:lnTo>
                <a:lnTo>
                  <a:pt x="7478561" y="3794022"/>
                </a:lnTo>
                <a:lnTo>
                  <a:pt x="7419823" y="3794022"/>
                </a:lnTo>
                <a:close/>
                <a:moveTo>
                  <a:pt x="7342036" y="3736872"/>
                </a:moveTo>
                <a:lnTo>
                  <a:pt x="7400774" y="3736872"/>
                </a:lnTo>
                <a:lnTo>
                  <a:pt x="7400774" y="3794022"/>
                </a:lnTo>
                <a:lnTo>
                  <a:pt x="7342036" y="3794022"/>
                </a:lnTo>
                <a:close/>
                <a:moveTo>
                  <a:pt x="7262661" y="3736872"/>
                </a:moveTo>
                <a:lnTo>
                  <a:pt x="7321399" y="3736872"/>
                </a:lnTo>
                <a:lnTo>
                  <a:pt x="7321399" y="3794022"/>
                </a:lnTo>
                <a:lnTo>
                  <a:pt x="7262661" y="3794022"/>
                </a:lnTo>
                <a:close/>
                <a:moveTo>
                  <a:pt x="7183286" y="3736872"/>
                </a:moveTo>
                <a:lnTo>
                  <a:pt x="7242024" y="3736872"/>
                </a:lnTo>
                <a:lnTo>
                  <a:pt x="7242024" y="3794022"/>
                </a:lnTo>
                <a:lnTo>
                  <a:pt x="7183286" y="3794022"/>
                </a:lnTo>
                <a:close/>
                <a:moveTo>
                  <a:pt x="7105498" y="3736872"/>
                </a:moveTo>
                <a:lnTo>
                  <a:pt x="7162648" y="3736872"/>
                </a:lnTo>
                <a:lnTo>
                  <a:pt x="7162648" y="3794022"/>
                </a:lnTo>
                <a:lnTo>
                  <a:pt x="7105498" y="3794022"/>
                </a:lnTo>
                <a:close/>
                <a:moveTo>
                  <a:pt x="7026123" y="3736872"/>
                </a:moveTo>
                <a:lnTo>
                  <a:pt x="7084861" y="3736872"/>
                </a:lnTo>
                <a:lnTo>
                  <a:pt x="7084861" y="3794022"/>
                </a:lnTo>
                <a:lnTo>
                  <a:pt x="7026123" y="3794022"/>
                </a:lnTo>
                <a:close/>
                <a:moveTo>
                  <a:pt x="5368773" y="3736872"/>
                </a:moveTo>
                <a:lnTo>
                  <a:pt x="5425923" y="3736872"/>
                </a:lnTo>
                <a:lnTo>
                  <a:pt x="5425923" y="3794022"/>
                </a:lnTo>
                <a:lnTo>
                  <a:pt x="5368773" y="3794022"/>
                </a:lnTo>
                <a:close/>
                <a:moveTo>
                  <a:pt x="4973486" y="3736872"/>
                </a:moveTo>
                <a:lnTo>
                  <a:pt x="5030636" y="3736872"/>
                </a:lnTo>
                <a:lnTo>
                  <a:pt x="5030636" y="3794022"/>
                </a:lnTo>
                <a:lnTo>
                  <a:pt x="4973486" y="3794022"/>
                </a:lnTo>
                <a:close/>
                <a:moveTo>
                  <a:pt x="4894111" y="3736872"/>
                </a:moveTo>
                <a:lnTo>
                  <a:pt x="4952849" y="3736872"/>
                </a:lnTo>
                <a:lnTo>
                  <a:pt x="4952849" y="3794022"/>
                </a:lnTo>
                <a:lnTo>
                  <a:pt x="4894111" y="3794022"/>
                </a:lnTo>
                <a:close/>
                <a:moveTo>
                  <a:pt x="4814736" y="3736872"/>
                </a:moveTo>
                <a:lnTo>
                  <a:pt x="4873474" y="3736872"/>
                </a:lnTo>
                <a:lnTo>
                  <a:pt x="4873474" y="3794022"/>
                </a:lnTo>
                <a:lnTo>
                  <a:pt x="4814736" y="3794022"/>
                </a:lnTo>
                <a:close/>
                <a:moveTo>
                  <a:pt x="4736948" y="3736872"/>
                </a:moveTo>
                <a:lnTo>
                  <a:pt x="4794098" y="3736872"/>
                </a:lnTo>
                <a:lnTo>
                  <a:pt x="4794098" y="3794022"/>
                </a:lnTo>
                <a:lnTo>
                  <a:pt x="4736948" y="3794022"/>
                </a:lnTo>
                <a:close/>
                <a:moveTo>
                  <a:pt x="4657573" y="3736872"/>
                </a:moveTo>
                <a:lnTo>
                  <a:pt x="4716311" y="3736872"/>
                </a:lnTo>
                <a:lnTo>
                  <a:pt x="4716311" y="3794022"/>
                </a:lnTo>
                <a:lnTo>
                  <a:pt x="4657573" y="3794022"/>
                </a:lnTo>
                <a:close/>
                <a:moveTo>
                  <a:pt x="3000223" y="3736872"/>
                </a:moveTo>
                <a:lnTo>
                  <a:pt x="3057373" y="3736872"/>
                </a:lnTo>
                <a:lnTo>
                  <a:pt x="3057373" y="3794022"/>
                </a:lnTo>
                <a:lnTo>
                  <a:pt x="3000223" y="3794022"/>
                </a:lnTo>
                <a:close/>
                <a:moveTo>
                  <a:pt x="2920848" y="3736872"/>
                </a:moveTo>
                <a:lnTo>
                  <a:pt x="2979586" y="3736872"/>
                </a:lnTo>
                <a:lnTo>
                  <a:pt x="2979586" y="3794022"/>
                </a:lnTo>
                <a:lnTo>
                  <a:pt x="2920848" y="3794022"/>
                </a:lnTo>
                <a:close/>
                <a:moveTo>
                  <a:pt x="2841473" y="3736872"/>
                </a:moveTo>
                <a:lnTo>
                  <a:pt x="2900211" y="3736872"/>
                </a:lnTo>
                <a:lnTo>
                  <a:pt x="2900211" y="3794022"/>
                </a:lnTo>
                <a:lnTo>
                  <a:pt x="2841473" y="3794022"/>
                </a:lnTo>
                <a:close/>
                <a:moveTo>
                  <a:pt x="2763686" y="3736872"/>
                </a:moveTo>
                <a:lnTo>
                  <a:pt x="2820836" y="3736872"/>
                </a:lnTo>
                <a:lnTo>
                  <a:pt x="2820836" y="3794022"/>
                </a:lnTo>
                <a:lnTo>
                  <a:pt x="2763686" y="3794022"/>
                </a:lnTo>
                <a:close/>
                <a:moveTo>
                  <a:pt x="2684311" y="3736872"/>
                </a:moveTo>
                <a:lnTo>
                  <a:pt x="2743049" y="3736872"/>
                </a:lnTo>
                <a:lnTo>
                  <a:pt x="2743049" y="3794022"/>
                </a:lnTo>
                <a:lnTo>
                  <a:pt x="2684311" y="3794022"/>
                </a:lnTo>
                <a:close/>
                <a:moveTo>
                  <a:pt x="2604936" y="3736872"/>
                </a:moveTo>
                <a:lnTo>
                  <a:pt x="2663674" y="3736872"/>
                </a:lnTo>
                <a:lnTo>
                  <a:pt x="2663674" y="3794022"/>
                </a:lnTo>
                <a:lnTo>
                  <a:pt x="2604936" y="3794022"/>
                </a:lnTo>
                <a:close/>
                <a:moveTo>
                  <a:pt x="2525584" y="3736872"/>
                </a:moveTo>
                <a:lnTo>
                  <a:pt x="2584322" y="3736872"/>
                </a:lnTo>
                <a:lnTo>
                  <a:pt x="2584322" y="3794022"/>
                </a:lnTo>
                <a:lnTo>
                  <a:pt x="2525584" y="3794022"/>
                </a:lnTo>
                <a:close/>
                <a:moveTo>
                  <a:pt x="1657221" y="3736872"/>
                </a:moveTo>
                <a:lnTo>
                  <a:pt x="1715959" y="3736872"/>
                </a:lnTo>
                <a:lnTo>
                  <a:pt x="1715959" y="3794022"/>
                </a:lnTo>
                <a:lnTo>
                  <a:pt x="1657221" y="3794022"/>
                </a:lnTo>
                <a:close/>
                <a:moveTo>
                  <a:pt x="7973861" y="3659085"/>
                </a:moveTo>
                <a:lnTo>
                  <a:pt x="8031011" y="3659085"/>
                </a:lnTo>
                <a:lnTo>
                  <a:pt x="8031011" y="3716235"/>
                </a:lnTo>
                <a:lnTo>
                  <a:pt x="7973861" y="3716235"/>
                </a:lnTo>
                <a:close/>
                <a:moveTo>
                  <a:pt x="7894486" y="3659085"/>
                </a:moveTo>
                <a:lnTo>
                  <a:pt x="7951636" y="3659085"/>
                </a:lnTo>
                <a:lnTo>
                  <a:pt x="7951636" y="3716235"/>
                </a:lnTo>
                <a:lnTo>
                  <a:pt x="7894486" y="3716235"/>
                </a:lnTo>
                <a:close/>
                <a:moveTo>
                  <a:pt x="7815111" y="3659085"/>
                </a:moveTo>
                <a:lnTo>
                  <a:pt x="7873849" y="3659085"/>
                </a:lnTo>
                <a:lnTo>
                  <a:pt x="7873849" y="3716235"/>
                </a:lnTo>
                <a:lnTo>
                  <a:pt x="7815111" y="3716235"/>
                </a:lnTo>
                <a:close/>
                <a:moveTo>
                  <a:pt x="7735736" y="3659085"/>
                </a:moveTo>
                <a:lnTo>
                  <a:pt x="7794474" y="3659085"/>
                </a:lnTo>
                <a:lnTo>
                  <a:pt x="7794474" y="3716235"/>
                </a:lnTo>
                <a:lnTo>
                  <a:pt x="7735736" y="3716235"/>
                </a:lnTo>
                <a:close/>
                <a:moveTo>
                  <a:pt x="7657948" y="3659085"/>
                </a:moveTo>
                <a:lnTo>
                  <a:pt x="7715098" y="3659085"/>
                </a:lnTo>
                <a:lnTo>
                  <a:pt x="7715098" y="3716235"/>
                </a:lnTo>
                <a:lnTo>
                  <a:pt x="7657948" y="3716235"/>
                </a:lnTo>
                <a:close/>
                <a:moveTo>
                  <a:pt x="7578573" y="3659085"/>
                </a:moveTo>
                <a:lnTo>
                  <a:pt x="7637311" y="3659085"/>
                </a:lnTo>
                <a:lnTo>
                  <a:pt x="7637311" y="3716235"/>
                </a:lnTo>
                <a:lnTo>
                  <a:pt x="7578573" y="3716235"/>
                </a:lnTo>
                <a:close/>
                <a:moveTo>
                  <a:pt x="7499198" y="3659085"/>
                </a:moveTo>
                <a:lnTo>
                  <a:pt x="7557936" y="3659085"/>
                </a:lnTo>
                <a:lnTo>
                  <a:pt x="7557936" y="3716235"/>
                </a:lnTo>
                <a:lnTo>
                  <a:pt x="7499198" y="3716235"/>
                </a:lnTo>
                <a:close/>
                <a:moveTo>
                  <a:pt x="7419823" y="3659085"/>
                </a:moveTo>
                <a:lnTo>
                  <a:pt x="7478561" y="3659085"/>
                </a:lnTo>
                <a:lnTo>
                  <a:pt x="7478561" y="3716235"/>
                </a:lnTo>
                <a:lnTo>
                  <a:pt x="7419823" y="3716235"/>
                </a:lnTo>
                <a:close/>
                <a:moveTo>
                  <a:pt x="7342036" y="3659085"/>
                </a:moveTo>
                <a:lnTo>
                  <a:pt x="7400774" y="3659085"/>
                </a:lnTo>
                <a:lnTo>
                  <a:pt x="7400774" y="3716235"/>
                </a:lnTo>
                <a:lnTo>
                  <a:pt x="7342036" y="3716235"/>
                </a:lnTo>
                <a:close/>
                <a:moveTo>
                  <a:pt x="7262661" y="3659085"/>
                </a:moveTo>
                <a:lnTo>
                  <a:pt x="7321399" y="3659085"/>
                </a:lnTo>
                <a:lnTo>
                  <a:pt x="7321399" y="3716235"/>
                </a:lnTo>
                <a:lnTo>
                  <a:pt x="7262661" y="3716235"/>
                </a:lnTo>
                <a:close/>
                <a:moveTo>
                  <a:pt x="7183286" y="3659085"/>
                </a:moveTo>
                <a:lnTo>
                  <a:pt x="7242024" y="3659085"/>
                </a:lnTo>
                <a:lnTo>
                  <a:pt x="7242024" y="3716235"/>
                </a:lnTo>
                <a:lnTo>
                  <a:pt x="7183286" y="3716235"/>
                </a:lnTo>
                <a:close/>
                <a:moveTo>
                  <a:pt x="7105498" y="3659085"/>
                </a:moveTo>
                <a:lnTo>
                  <a:pt x="7162648" y="3659085"/>
                </a:lnTo>
                <a:lnTo>
                  <a:pt x="7162648" y="3716235"/>
                </a:lnTo>
                <a:lnTo>
                  <a:pt x="7105498" y="3716235"/>
                </a:lnTo>
                <a:close/>
                <a:moveTo>
                  <a:pt x="5368773" y="3659085"/>
                </a:moveTo>
                <a:lnTo>
                  <a:pt x="5425923" y="3659085"/>
                </a:lnTo>
                <a:lnTo>
                  <a:pt x="5425923" y="3716235"/>
                </a:lnTo>
                <a:lnTo>
                  <a:pt x="5368773" y="3716235"/>
                </a:lnTo>
                <a:close/>
                <a:moveTo>
                  <a:pt x="5130648" y="3659085"/>
                </a:moveTo>
                <a:lnTo>
                  <a:pt x="5189386" y="3659085"/>
                </a:lnTo>
                <a:lnTo>
                  <a:pt x="5189386" y="3716235"/>
                </a:lnTo>
                <a:lnTo>
                  <a:pt x="5130648" y="3716235"/>
                </a:lnTo>
                <a:close/>
                <a:moveTo>
                  <a:pt x="5052861" y="3659085"/>
                </a:moveTo>
                <a:lnTo>
                  <a:pt x="5110011" y="3659085"/>
                </a:lnTo>
                <a:lnTo>
                  <a:pt x="5110011" y="3716235"/>
                </a:lnTo>
                <a:lnTo>
                  <a:pt x="5052861" y="3716235"/>
                </a:lnTo>
                <a:close/>
                <a:moveTo>
                  <a:pt x="4973486" y="3659085"/>
                </a:moveTo>
                <a:lnTo>
                  <a:pt x="5030636" y="3659085"/>
                </a:lnTo>
                <a:lnTo>
                  <a:pt x="5030636" y="3716235"/>
                </a:lnTo>
                <a:lnTo>
                  <a:pt x="4973486" y="3716235"/>
                </a:lnTo>
                <a:close/>
                <a:moveTo>
                  <a:pt x="4894111" y="3659085"/>
                </a:moveTo>
                <a:lnTo>
                  <a:pt x="4952849" y="3659085"/>
                </a:lnTo>
                <a:lnTo>
                  <a:pt x="4952849" y="3716235"/>
                </a:lnTo>
                <a:lnTo>
                  <a:pt x="4894111" y="3716235"/>
                </a:lnTo>
                <a:close/>
                <a:moveTo>
                  <a:pt x="4814736" y="3659085"/>
                </a:moveTo>
                <a:lnTo>
                  <a:pt x="4873474" y="3659085"/>
                </a:lnTo>
                <a:lnTo>
                  <a:pt x="4873474" y="3716235"/>
                </a:lnTo>
                <a:lnTo>
                  <a:pt x="4814736" y="3716235"/>
                </a:lnTo>
                <a:close/>
                <a:moveTo>
                  <a:pt x="4736948" y="3659085"/>
                </a:moveTo>
                <a:lnTo>
                  <a:pt x="4794098" y="3659085"/>
                </a:lnTo>
                <a:lnTo>
                  <a:pt x="4794098" y="3716235"/>
                </a:lnTo>
                <a:lnTo>
                  <a:pt x="4736948" y="3716235"/>
                </a:lnTo>
                <a:close/>
                <a:moveTo>
                  <a:pt x="4657573" y="3659085"/>
                </a:moveTo>
                <a:lnTo>
                  <a:pt x="4716311" y="3659085"/>
                </a:lnTo>
                <a:lnTo>
                  <a:pt x="4716311" y="3716235"/>
                </a:lnTo>
                <a:lnTo>
                  <a:pt x="4657573" y="3716235"/>
                </a:lnTo>
                <a:close/>
                <a:moveTo>
                  <a:pt x="4578198" y="3659085"/>
                </a:moveTo>
                <a:lnTo>
                  <a:pt x="4636936" y="3659085"/>
                </a:lnTo>
                <a:lnTo>
                  <a:pt x="4636936" y="3716235"/>
                </a:lnTo>
                <a:lnTo>
                  <a:pt x="4578198" y="3716235"/>
                </a:lnTo>
                <a:close/>
                <a:moveTo>
                  <a:pt x="3078011" y="3659085"/>
                </a:moveTo>
                <a:lnTo>
                  <a:pt x="3136749" y="3659085"/>
                </a:lnTo>
                <a:lnTo>
                  <a:pt x="3136749" y="3716235"/>
                </a:lnTo>
                <a:lnTo>
                  <a:pt x="3078011" y="3716235"/>
                </a:lnTo>
                <a:close/>
                <a:moveTo>
                  <a:pt x="3000223" y="3659085"/>
                </a:moveTo>
                <a:lnTo>
                  <a:pt x="3057373" y="3659085"/>
                </a:lnTo>
                <a:lnTo>
                  <a:pt x="3057373" y="3716235"/>
                </a:lnTo>
                <a:lnTo>
                  <a:pt x="3000223" y="3716235"/>
                </a:lnTo>
                <a:close/>
                <a:moveTo>
                  <a:pt x="2920848" y="3659085"/>
                </a:moveTo>
                <a:lnTo>
                  <a:pt x="2979586" y="3659085"/>
                </a:lnTo>
                <a:lnTo>
                  <a:pt x="2979586" y="3716235"/>
                </a:lnTo>
                <a:lnTo>
                  <a:pt x="2920848" y="3716235"/>
                </a:lnTo>
                <a:close/>
                <a:moveTo>
                  <a:pt x="2841473" y="3659085"/>
                </a:moveTo>
                <a:lnTo>
                  <a:pt x="2900211" y="3659085"/>
                </a:lnTo>
                <a:lnTo>
                  <a:pt x="2900211" y="3716235"/>
                </a:lnTo>
                <a:lnTo>
                  <a:pt x="2841473" y="3716235"/>
                </a:lnTo>
                <a:close/>
                <a:moveTo>
                  <a:pt x="2763686" y="3659085"/>
                </a:moveTo>
                <a:lnTo>
                  <a:pt x="2820836" y="3659085"/>
                </a:lnTo>
                <a:lnTo>
                  <a:pt x="2820836" y="3716235"/>
                </a:lnTo>
                <a:lnTo>
                  <a:pt x="2763686" y="3716235"/>
                </a:lnTo>
                <a:close/>
                <a:moveTo>
                  <a:pt x="2684311" y="3659085"/>
                </a:moveTo>
                <a:lnTo>
                  <a:pt x="2743049" y="3659085"/>
                </a:lnTo>
                <a:lnTo>
                  <a:pt x="2743049" y="3716235"/>
                </a:lnTo>
                <a:lnTo>
                  <a:pt x="2684311" y="3716235"/>
                </a:lnTo>
                <a:close/>
                <a:moveTo>
                  <a:pt x="2604936" y="3659085"/>
                </a:moveTo>
                <a:lnTo>
                  <a:pt x="2663674" y="3659085"/>
                </a:lnTo>
                <a:lnTo>
                  <a:pt x="2663674" y="3716235"/>
                </a:lnTo>
                <a:lnTo>
                  <a:pt x="2604936" y="3716235"/>
                </a:lnTo>
                <a:close/>
                <a:moveTo>
                  <a:pt x="2525589" y="3659085"/>
                </a:moveTo>
                <a:lnTo>
                  <a:pt x="2584327" y="3659085"/>
                </a:lnTo>
                <a:lnTo>
                  <a:pt x="2584327" y="3716235"/>
                </a:lnTo>
                <a:lnTo>
                  <a:pt x="2525589" y="3716235"/>
                </a:lnTo>
                <a:close/>
                <a:moveTo>
                  <a:pt x="1026987" y="3659085"/>
                </a:moveTo>
                <a:lnTo>
                  <a:pt x="1084138" y="3659085"/>
                </a:lnTo>
                <a:lnTo>
                  <a:pt x="1084138" y="3716235"/>
                </a:lnTo>
                <a:lnTo>
                  <a:pt x="1026987" y="3716235"/>
                </a:lnTo>
                <a:close/>
                <a:moveTo>
                  <a:pt x="868238" y="3659085"/>
                </a:moveTo>
                <a:lnTo>
                  <a:pt x="926976" y="3659085"/>
                </a:lnTo>
                <a:lnTo>
                  <a:pt x="926976" y="3716235"/>
                </a:lnTo>
                <a:lnTo>
                  <a:pt x="868238" y="3716235"/>
                </a:lnTo>
                <a:close/>
                <a:moveTo>
                  <a:pt x="8842223" y="3581297"/>
                </a:moveTo>
                <a:lnTo>
                  <a:pt x="8899373" y="3581297"/>
                </a:lnTo>
                <a:lnTo>
                  <a:pt x="8899373" y="3640035"/>
                </a:lnTo>
                <a:lnTo>
                  <a:pt x="8842223" y="3640035"/>
                </a:lnTo>
                <a:close/>
                <a:moveTo>
                  <a:pt x="8367561" y="3581297"/>
                </a:moveTo>
                <a:lnTo>
                  <a:pt x="8426299" y="3581297"/>
                </a:lnTo>
                <a:lnTo>
                  <a:pt x="8426299" y="3640035"/>
                </a:lnTo>
                <a:lnTo>
                  <a:pt x="8367561" y="3640035"/>
                </a:lnTo>
                <a:close/>
                <a:moveTo>
                  <a:pt x="7894486" y="3581297"/>
                </a:moveTo>
                <a:lnTo>
                  <a:pt x="7951636" y="3581297"/>
                </a:lnTo>
                <a:lnTo>
                  <a:pt x="7951636" y="3640035"/>
                </a:lnTo>
                <a:lnTo>
                  <a:pt x="7894486" y="3640035"/>
                </a:lnTo>
                <a:close/>
                <a:moveTo>
                  <a:pt x="7815111" y="3581297"/>
                </a:moveTo>
                <a:lnTo>
                  <a:pt x="7873849" y="3581297"/>
                </a:lnTo>
                <a:lnTo>
                  <a:pt x="7873849" y="3640035"/>
                </a:lnTo>
                <a:lnTo>
                  <a:pt x="7815111" y="3640035"/>
                </a:lnTo>
                <a:close/>
                <a:moveTo>
                  <a:pt x="7735736" y="3581297"/>
                </a:moveTo>
                <a:lnTo>
                  <a:pt x="7794474" y="3581297"/>
                </a:lnTo>
                <a:lnTo>
                  <a:pt x="7794474" y="3640035"/>
                </a:lnTo>
                <a:lnTo>
                  <a:pt x="7735736" y="3640035"/>
                </a:lnTo>
                <a:close/>
                <a:moveTo>
                  <a:pt x="7657948" y="3581297"/>
                </a:moveTo>
                <a:lnTo>
                  <a:pt x="7715098" y="3581297"/>
                </a:lnTo>
                <a:lnTo>
                  <a:pt x="7715098" y="3640035"/>
                </a:lnTo>
                <a:lnTo>
                  <a:pt x="7657948" y="3640035"/>
                </a:lnTo>
                <a:close/>
                <a:moveTo>
                  <a:pt x="7578573" y="3581297"/>
                </a:moveTo>
                <a:lnTo>
                  <a:pt x="7637311" y="3581297"/>
                </a:lnTo>
                <a:lnTo>
                  <a:pt x="7637311" y="3640035"/>
                </a:lnTo>
                <a:lnTo>
                  <a:pt x="7578573" y="3640035"/>
                </a:lnTo>
                <a:close/>
                <a:moveTo>
                  <a:pt x="7499198" y="3581297"/>
                </a:moveTo>
                <a:lnTo>
                  <a:pt x="7557936" y="3581297"/>
                </a:lnTo>
                <a:lnTo>
                  <a:pt x="7557936" y="3640035"/>
                </a:lnTo>
                <a:lnTo>
                  <a:pt x="7499198" y="3640035"/>
                </a:lnTo>
                <a:close/>
                <a:moveTo>
                  <a:pt x="7419823" y="3581297"/>
                </a:moveTo>
                <a:lnTo>
                  <a:pt x="7478561" y="3581297"/>
                </a:lnTo>
                <a:lnTo>
                  <a:pt x="7478561" y="3640035"/>
                </a:lnTo>
                <a:lnTo>
                  <a:pt x="7419823" y="3640035"/>
                </a:lnTo>
                <a:close/>
                <a:moveTo>
                  <a:pt x="7342036" y="3581297"/>
                </a:moveTo>
                <a:lnTo>
                  <a:pt x="7400774" y="3581297"/>
                </a:lnTo>
                <a:lnTo>
                  <a:pt x="7400774" y="3640035"/>
                </a:lnTo>
                <a:lnTo>
                  <a:pt x="7342036" y="3640035"/>
                </a:lnTo>
                <a:close/>
                <a:moveTo>
                  <a:pt x="7262661" y="3581297"/>
                </a:moveTo>
                <a:lnTo>
                  <a:pt x="7321399" y="3581297"/>
                </a:lnTo>
                <a:lnTo>
                  <a:pt x="7321399" y="3640035"/>
                </a:lnTo>
                <a:lnTo>
                  <a:pt x="7262661" y="3640035"/>
                </a:lnTo>
                <a:close/>
                <a:moveTo>
                  <a:pt x="5605311" y="3581297"/>
                </a:moveTo>
                <a:lnTo>
                  <a:pt x="5664049" y="3581297"/>
                </a:lnTo>
                <a:lnTo>
                  <a:pt x="5664049" y="3640035"/>
                </a:lnTo>
                <a:lnTo>
                  <a:pt x="5605311" y="3640035"/>
                </a:lnTo>
                <a:close/>
                <a:moveTo>
                  <a:pt x="5446561" y="3581297"/>
                </a:moveTo>
                <a:lnTo>
                  <a:pt x="5505299" y="3581297"/>
                </a:lnTo>
                <a:lnTo>
                  <a:pt x="5505299" y="3640035"/>
                </a:lnTo>
                <a:lnTo>
                  <a:pt x="5446561" y="3640035"/>
                </a:lnTo>
                <a:close/>
                <a:moveTo>
                  <a:pt x="5368773" y="3581297"/>
                </a:moveTo>
                <a:lnTo>
                  <a:pt x="5425923" y="3581297"/>
                </a:lnTo>
                <a:lnTo>
                  <a:pt x="5425923" y="3640035"/>
                </a:lnTo>
                <a:lnTo>
                  <a:pt x="5368773" y="3640035"/>
                </a:lnTo>
                <a:close/>
                <a:moveTo>
                  <a:pt x="5052861" y="3581297"/>
                </a:moveTo>
                <a:lnTo>
                  <a:pt x="5110011" y="3581297"/>
                </a:lnTo>
                <a:lnTo>
                  <a:pt x="5110011" y="3640035"/>
                </a:lnTo>
                <a:lnTo>
                  <a:pt x="5052861" y="3640035"/>
                </a:lnTo>
                <a:close/>
                <a:moveTo>
                  <a:pt x="4973486" y="3581297"/>
                </a:moveTo>
                <a:lnTo>
                  <a:pt x="5030636" y="3581297"/>
                </a:lnTo>
                <a:lnTo>
                  <a:pt x="5030636" y="3640035"/>
                </a:lnTo>
                <a:lnTo>
                  <a:pt x="4973486" y="3640035"/>
                </a:lnTo>
                <a:close/>
                <a:moveTo>
                  <a:pt x="4894111" y="3581297"/>
                </a:moveTo>
                <a:lnTo>
                  <a:pt x="4952849" y="3581297"/>
                </a:lnTo>
                <a:lnTo>
                  <a:pt x="4952849" y="3640035"/>
                </a:lnTo>
                <a:lnTo>
                  <a:pt x="4894111" y="3640035"/>
                </a:lnTo>
                <a:close/>
                <a:moveTo>
                  <a:pt x="4814736" y="3581297"/>
                </a:moveTo>
                <a:lnTo>
                  <a:pt x="4873474" y="3581297"/>
                </a:lnTo>
                <a:lnTo>
                  <a:pt x="4873474" y="3640035"/>
                </a:lnTo>
                <a:lnTo>
                  <a:pt x="4814736" y="3640035"/>
                </a:lnTo>
                <a:close/>
                <a:moveTo>
                  <a:pt x="4736948" y="3581297"/>
                </a:moveTo>
                <a:lnTo>
                  <a:pt x="4794098" y="3581297"/>
                </a:lnTo>
                <a:lnTo>
                  <a:pt x="4794098" y="3640035"/>
                </a:lnTo>
                <a:lnTo>
                  <a:pt x="4736948" y="3640035"/>
                </a:lnTo>
                <a:close/>
                <a:moveTo>
                  <a:pt x="4657573" y="3581297"/>
                </a:moveTo>
                <a:lnTo>
                  <a:pt x="4716311" y="3581297"/>
                </a:lnTo>
                <a:lnTo>
                  <a:pt x="4716311" y="3640035"/>
                </a:lnTo>
                <a:lnTo>
                  <a:pt x="4657573" y="3640035"/>
                </a:lnTo>
                <a:close/>
                <a:moveTo>
                  <a:pt x="4578198" y="3581297"/>
                </a:moveTo>
                <a:lnTo>
                  <a:pt x="4636936" y="3581297"/>
                </a:lnTo>
                <a:lnTo>
                  <a:pt x="4636936" y="3640035"/>
                </a:lnTo>
                <a:lnTo>
                  <a:pt x="4578198" y="3640035"/>
                </a:lnTo>
                <a:close/>
                <a:moveTo>
                  <a:pt x="3157386" y="3581297"/>
                </a:moveTo>
                <a:lnTo>
                  <a:pt x="3216124" y="3581297"/>
                </a:lnTo>
                <a:lnTo>
                  <a:pt x="3216124" y="3640035"/>
                </a:lnTo>
                <a:lnTo>
                  <a:pt x="3157386" y="3640035"/>
                </a:lnTo>
                <a:close/>
                <a:moveTo>
                  <a:pt x="3078011" y="3581297"/>
                </a:moveTo>
                <a:lnTo>
                  <a:pt x="3136749" y="3581297"/>
                </a:lnTo>
                <a:lnTo>
                  <a:pt x="3136749" y="3640035"/>
                </a:lnTo>
                <a:lnTo>
                  <a:pt x="3078011" y="3640035"/>
                </a:lnTo>
                <a:close/>
                <a:moveTo>
                  <a:pt x="3000223" y="3581297"/>
                </a:moveTo>
                <a:lnTo>
                  <a:pt x="3057373" y="3581297"/>
                </a:lnTo>
                <a:lnTo>
                  <a:pt x="3057373" y="3640035"/>
                </a:lnTo>
                <a:lnTo>
                  <a:pt x="3000223" y="3640035"/>
                </a:lnTo>
                <a:close/>
                <a:moveTo>
                  <a:pt x="2920848" y="3581297"/>
                </a:moveTo>
                <a:lnTo>
                  <a:pt x="2979586" y="3581297"/>
                </a:lnTo>
                <a:lnTo>
                  <a:pt x="2979586" y="3640035"/>
                </a:lnTo>
                <a:lnTo>
                  <a:pt x="2920848" y="3640035"/>
                </a:lnTo>
                <a:close/>
                <a:moveTo>
                  <a:pt x="2841473" y="3581297"/>
                </a:moveTo>
                <a:lnTo>
                  <a:pt x="2900211" y="3581297"/>
                </a:lnTo>
                <a:lnTo>
                  <a:pt x="2900211" y="3640035"/>
                </a:lnTo>
                <a:lnTo>
                  <a:pt x="2841473" y="3640035"/>
                </a:lnTo>
                <a:close/>
                <a:moveTo>
                  <a:pt x="2763686" y="3581297"/>
                </a:moveTo>
                <a:lnTo>
                  <a:pt x="2820836" y="3581297"/>
                </a:lnTo>
                <a:lnTo>
                  <a:pt x="2820836" y="3640035"/>
                </a:lnTo>
                <a:lnTo>
                  <a:pt x="2763686" y="3640035"/>
                </a:lnTo>
                <a:close/>
                <a:moveTo>
                  <a:pt x="2684311" y="3581297"/>
                </a:moveTo>
                <a:lnTo>
                  <a:pt x="2743049" y="3581297"/>
                </a:lnTo>
                <a:lnTo>
                  <a:pt x="2743049" y="3640035"/>
                </a:lnTo>
                <a:lnTo>
                  <a:pt x="2684311" y="3640035"/>
                </a:lnTo>
                <a:close/>
                <a:moveTo>
                  <a:pt x="2604936" y="3581297"/>
                </a:moveTo>
                <a:lnTo>
                  <a:pt x="2663674" y="3581297"/>
                </a:lnTo>
                <a:lnTo>
                  <a:pt x="2663674" y="3640035"/>
                </a:lnTo>
                <a:lnTo>
                  <a:pt x="2604936" y="3640035"/>
                </a:lnTo>
                <a:close/>
                <a:moveTo>
                  <a:pt x="2525594" y="3581297"/>
                </a:moveTo>
                <a:lnTo>
                  <a:pt x="2584332" y="3581297"/>
                </a:lnTo>
                <a:lnTo>
                  <a:pt x="2584332" y="3640035"/>
                </a:lnTo>
                <a:lnTo>
                  <a:pt x="2525594" y="3640035"/>
                </a:lnTo>
                <a:close/>
                <a:moveTo>
                  <a:pt x="868242" y="3581297"/>
                </a:moveTo>
                <a:lnTo>
                  <a:pt x="926982" y="3581297"/>
                </a:lnTo>
                <a:lnTo>
                  <a:pt x="926982" y="3640035"/>
                </a:lnTo>
                <a:lnTo>
                  <a:pt x="868242" y="3640035"/>
                </a:lnTo>
                <a:close/>
                <a:moveTo>
                  <a:pt x="711084" y="3581297"/>
                </a:moveTo>
                <a:lnTo>
                  <a:pt x="768233" y="3581297"/>
                </a:lnTo>
                <a:lnTo>
                  <a:pt x="768233" y="3640035"/>
                </a:lnTo>
                <a:lnTo>
                  <a:pt x="711084" y="3640035"/>
                </a:lnTo>
                <a:close/>
                <a:moveTo>
                  <a:pt x="8683473" y="3503510"/>
                </a:moveTo>
                <a:lnTo>
                  <a:pt x="8742211" y="3503510"/>
                </a:lnTo>
                <a:lnTo>
                  <a:pt x="8742211" y="3560660"/>
                </a:lnTo>
                <a:lnTo>
                  <a:pt x="8683473" y="3560660"/>
                </a:lnTo>
                <a:close/>
                <a:moveTo>
                  <a:pt x="8446936" y="3503510"/>
                </a:moveTo>
                <a:lnTo>
                  <a:pt x="8505674" y="3503510"/>
                </a:lnTo>
                <a:lnTo>
                  <a:pt x="8505674" y="3560660"/>
                </a:lnTo>
                <a:lnTo>
                  <a:pt x="8446936" y="3560660"/>
                </a:lnTo>
                <a:close/>
                <a:moveTo>
                  <a:pt x="8367561" y="3503510"/>
                </a:moveTo>
                <a:lnTo>
                  <a:pt x="8426299" y="3503510"/>
                </a:lnTo>
                <a:lnTo>
                  <a:pt x="8426299" y="3560660"/>
                </a:lnTo>
                <a:lnTo>
                  <a:pt x="8367561" y="3560660"/>
                </a:lnTo>
                <a:close/>
                <a:moveTo>
                  <a:pt x="7894486" y="3503510"/>
                </a:moveTo>
                <a:lnTo>
                  <a:pt x="7951636" y="3503510"/>
                </a:lnTo>
                <a:lnTo>
                  <a:pt x="7951636" y="3560660"/>
                </a:lnTo>
                <a:lnTo>
                  <a:pt x="7894486" y="3560660"/>
                </a:lnTo>
                <a:close/>
                <a:moveTo>
                  <a:pt x="7815111" y="3503510"/>
                </a:moveTo>
                <a:lnTo>
                  <a:pt x="7873849" y="3503510"/>
                </a:lnTo>
                <a:lnTo>
                  <a:pt x="7873849" y="3560660"/>
                </a:lnTo>
                <a:lnTo>
                  <a:pt x="7815111" y="3560660"/>
                </a:lnTo>
                <a:close/>
                <a:moveTo>
                  <a:pt x="7735736" y="3503510"/>
                </a:moveTo>
                <a:lnTo>
                  <a:pt x="7794474" y="3503510"/>
                </a:lnTo>
                <a:lnTo>
                  <a:pt x="7794474" y="3560660"/>
                </a:lnTo>
                <a:lnTo>
                  <a:pt x="7735736" y="3560660"/>
                </a:lnTo>
                <a:close/>
                <a:moveTo>
                  <a:pt x="7657948" y="3503510"/>
                </a:moveTo>
                <a:lnTo>
                  <a:pt x="7715098" y="3503510"/>
                </a:lnTo>
                <a:lnTo>
                  <a:pt x="7715098" y="3560660"/>
                </a:lnTo>
                <a:lnTo>
                  <a:pt x="7657948" y="3560660"/>
                </a:lnTo>
                <a:close/>
                <a:moveTo>
                  <a:pt x="7578573" y="3503510"/>
                </a:moveTo>
                <a:lnTo>
                  <a:pt x="7637311" y="3503510"/>
                </a:lnTo>
                <a:lnTo>
                  <a:pt x="7637311" y="3560660"/>
                </a:lnTo>
                <a:lnTo>
                  <a:pt x="7578573" y="3560660"/>
                </a:lnTo>
                <a:close/>
                <a:moveTo>
                  <a:pt x="7499198" y="3503510"/>
                </a:moveTo>
                <a:lnTo>
                  <a:pt x="7557936" y="3503510"/>
                </a:lnTo>
                <a:lnTo>
                  <a:pt x="7557936" y="3560660"/>
                </a:lnTo>
                <a:lnTo>
                  <a:pt x="7499198" y="3560660"/>
                </a:lnTo>
                <a:close/>
                <a:moveTo>
                  <a:pt x="7419823" y="3503510"/>
                </a:moveTo>
                <a:lnTo>
                  <a:pt x="7478561" y="3503510"/>
                </a:lnTo>
                <a:lnTo>
                  <a:pt x="7478561" y="3560660"/>
                </a:lnTo>
                <a:lnTo>
                  <a:pt x="7419823" y="3560660"/>
                </a:lnTo>
                <a:close/>
                <a:moveTo>
                  <a:pt x="7342036" y="3503510"/>
                </a:moveTo>
                <a:lnTo>
                  <a:pt x="7400774" y="3503510"/>
                </a:lnTo>
                <a:lnTo>
                  <a:pt x="7400774" y="3560660"/>
                </a:lnTo>
                <a:lnTo>
                  <a:pt x="7342036" y="3560660"/>
                </a:lnTo>
                <a:close/>
                <a:moveTo>
                  <a:pt x="7262661" y="3503510"/>
                </a:moveTo>
                <a:lnTo>
                  <a:pt x="7321399" y="3503510"/>
                </a:lnTo>
                <a:lnTo>
                  <a:pt x="7321399" y="3560660"/>
                </a:lnTo>
                <a:lnTo>
                  <a:pt x="7262661" y="3560660"/>
                </a:lnTo>
                <a:close/>
                <a:moveTo>
                  <a:pt x="5446561" y="3503510"/>
                </a:moveTo>
                <a:lnTo>
                  <a:pt x="5505299" y="3503510"/>
                </a:lnTo>
                <a:lnTo>
                  <a:pt x="5505299" y="3560660"/>
                </a:lnTo>
                <a:lnTo>
                  <a:pt x="5446561" y="3560660"/>
                </a:lnTo>
                <a:close/>
                <a:moveTo>
                  <a:pt x="5368773" y="3503510"/>
                </a:moveTo>
                <a:lnTo>
                  <a:pt x="5425923" y="3503510"/>
                </a:lnTo>
                <a:lnTo>
                  <a:pt x="5425923" y="3560660"/>
                </a:lnTo>
                <a:lnTo>
                  <a:pt x="5368773" y="3560660"/>
                </a:lnTo>
                <a:close/>
                <a:moveTo>
                  <a:pt x="5130648" y="3503510"/>
                </a:moveTo>
                <a:lnTo>
                  <a:pt x="5189386" y="3503510"/>
                </a:lnTo>
                <a:lnTo>
                  <a:pt x="5189386" y="3560660"/>
                </a:lnTo>
                <a:lnTo>
                  <a:pt x="5130648" y="3560660"/>
                </a:lnTo>
                <a:close/>
                <a:moveTo>
                  <a:pt x="5052861" y="3503510"/>
                </a:moveTo>
                <a:lnTo>
                  <a:pt x="5110011" y="3503510"/>
                </a:lnTo>
                <a:lnTo>
                  <a:pt x="5110011" y="3560660"/>
                </a:lnTo>
                <a:lnTo>
                  <a:pt x="5052861" y="3560660"/>
                </a:lnTo>
                <a:close/>
                <a:moveTo>
                  <a:pt x="4973486" y="3503510"/>
                </a:moveTo>
                <a:lnTo>
                  <a:pt x="5030636" y="3503510"/>
                </a:lnTo>
                <a:lnTo>
                  <a:pt x="5030636" y="3560660"/>
                </a:lnTo>
                <a:lnTo>
                  <a:pt x="4973486" y="3560660"/>
                </a:lnTo>
                <a:close/>
                <a:moveTo>
                  <a:pt x="4894111" y="3503510"/>
                </a:moveTo>
                <a:lnTo>
                  <a:pt x="4952849" y="3503510"/>
                </a:lnTo>
                <a:lnTo>
                  <a:pt x="4952849" y="3560660"/>
                </a:lnTo>
                <a:lnTo>
                  <a:pt x="4894111" y="3560660"/>
                </a:lnTo>
                <a:close/>
                <a:moveTo>
                  <a:pt x="4814736" y="3503510"/>
                </a:moveTo>
                <a:lnTo>
                  <a:pt x="4873474" y="3503510"/>
                </a:lnTo>
                <a:lnTo>
                  <a:pt x="4873474" y="3560660"/>
                </a:lnTo>
                <a:lnTo>
                  <a:pt x="4814736" y="3560660"/>
                </a:lnTo>
                <a:close/>
                <a:moveTo>
                  <a:pt x="4736948" y="3503510"/>
                </a:moveTo>
                <a:lnTo>
                  <a:pt x="4794098" y="3503510"/>
                </a:lnTo>
                <a:lnTo>
                  <a:pt x="4794098" y="3560660"/>
                </a:lnTo>
                <a:lnTo>
                  <a:pt x="4736948" y="3560660"/>
                </a:lnTo>
                <a:close/>
                <a:moveTo>
                  <a:pt x="4657573" y="3503510"/>
                </a:moveTo>
                <a:lnTo>
                  <a:pt x="4716311" y="3503510"/>
                </a:lnTo>
                <a:lnTo>
                  <a:pt x="4716311" y="3560660"/>
                </a:lnTo>
                <a:lnTo>
                  <a:pt x="4657573" y="3560660"/>
                </a:lnTo>
                <a:close/>
                <a:moveTo>
                  <a:pt x="4578198" y="3503510"/>
                </a:moveTo>
                <a:lnTo>
                  <a:pt x="4636936" y="3503510"/>
                </a:lnTo>
                <a:lnTo>
                  <a:pt x="4636936" y="3560660"/>
                </a:lnTo>
                <a:lnTo>
                  <a:pt x="4578198" y="3560660"/>
                </a:lnTo>
                <a:close/>
                <a:moveTo>
                  <a:pt x="3157386" y="3503510"/>
                </a:moveTo>
                <a:lnTo>
                  <a:pt x="3216124" y="3503510"/>
                </a:lnTo>
                <a:lnTo>
                  <a:pt x="3216124" y="3560660"/>
                </a:lnTo>
                <a:lnTo>
                  <a:pt x="3157386" y="3560660"/>
                </a:lnTo>
                <a:close/>
                <a:moveTo>
                  <a:pt x="3078011" y="3503510"/>
                </a:moveTo>
                <a:lnTo>
                  <a:pt x="3136749" y="3503510"/>
                </a:lnTo>
                <a:lnTo>
                  <a:pt x="3136749" y="3560660"/>
                </a:lnTo>
                <a:lnTo>
                  <a:pt x="3078011" y="3560660"/>
                </a:lnTo>
                <a:close/>
                <a:moveTo>
                  <a:pt x="3000223" y="3503510"/>
                </a:moveTo>
                <a:lnTo>
                  <a:pt x="3057373" y="3503510"/>
                </a:lnTo>
                <a:lnTo>
                  <a:pt x="3057373" y="3560660"/>
                </a:lnTo>
                <a:lnTo>
                  <a:pt x="3000223" y="3560660"/>
                </a:lnTo>
                <a:close/>
                <a:moveTo>
                  <a:pt x="2920848" y="3503510"/>
                </a:moveTo>
                <a:lnTo>
                  <a:pt x="2979586" y="3503510"/>
                </a:lnTo>
                <a:lnTo>
                  <a:pt x="2979586" y="3560660"/>
                </a:lnTo>
                <a:lnTo>
                  <a:pt x="2920848" y="3560660"/>
                </a:lnTo>
                <a:close/>
                <a:moveTo>
                  <a:pt x="2841473" y="3503510"/>
                </a:moveTo>
                <a:lnTo>
                  <a:pt x="2900211" y="3503510"/>
                </a:lnTo>
                <a:lnTo>
                  <a:pt x="2900211" y="3560660"/>
                </a:lnTo>
                <a:lnTo>
                  <a:pt x="2841473" y="3560660"/>
                </a:lnTo>
                <a:close/>
                <a:moveTo>
                  <a:pt x="2763686" y="3503510"/>
                </a:moveTo>
                <a:lnTo>
                  <a:pt x="2820836" y="3503510"/>
                </a:lnTo>
                <a:lnTo>
                  <a:pt x="2820836" y="3560660"/>
                </a:lnTo>
                <a:lnTo>
                  <a:pt x="2763686" y="3560660"/>
                </a:lnTo>
                <a:close/>
                <a:moveTo>
                  <a:pt x="2684311" y="3503510"/>
                </a:moveTo>
                <a:lnTo>
                  <a:pt x="2743049" y="3503510"/>
                </a:lnTo>
                <a:lnTo>
                  <a:pt x="2743049" y="3560660"/>
                </a:lnTo>
                <a:lnTo>
                  <a:pt x="2684311" y="3560660"/>
                </a:lnTo>
                <a:close/>
                <a:moveTo>
                  <a:pt x="2604936" y="3503510"/>
                </a:moveTo>
                <a:lnTo>
                  <a:pt x="2663674" y="3503510"/>
                </a:lnTo>
                <a:lnTo>
                  <a:pt x="2663674" y="3560660"/>
                </a:lnTo>
                <a:lnTo>
                  <a:pt x="2604936" y="3560660"/>
                </a:lnTo>
                <a:close/>
                <a:moveTo>
                  <a:pt x="2525599" y="3503510"/>
                </a:moveTo>
                <a:lnTo>
                  <a:pt x="2584337" y="3503510"/>
                </a:lnTo>
                <a:lnTo>
                  <a:pt x="2584337" y="3560660"/>
                </a:lnTo>
                <a:lnTo>
                  <a:pt x="2525599" y="3560660"/>
                </a:lnTo>
                <a:close/>
                <a:moveTo>
                  <a:pt x="2447810" y="3503510"/>
                </a:moveTo>
                <a:lnTo>
                  <a:pt x="2504963" y="3503510"/>
                </a:lnTo>
                <a:lnTo>
                  <a:pt x="2504963" y="3560660"/>
                </a:lnTo>
                <a:lnTo>
                  <a:pt x="2447810" y="3560660"/>
                </a:lnTo>
                <a:close/>
                <a:moveTo>
                  <a:pt x="552340" y="3503510"/>
                </a:moveTo>
                <a:lnTo>
                  <a:pt x="611079" y="3503510"/>
                </a:lnTo>
                <a:lnTo>
                  <a:pt x="611079" y="3560660"/>
                </a:lnTo>
                <a:lnTo>
                  <a:pt x="552340" y="3560660"/>
                </a:lnTo>
                <a:close/>
                <a:moveTo>
                  <a:pt x="7815111" y="3425723"/>
                </a:moveTo>
                <a:lnTo>
                  <a:pt x="7873849" y="3425723"/>
                </a:lnTo>
                <a:lnTo>
                  <a:pt x="7873849" y="3482873"/>
                </a:lnTo>
                <a:lnTo>
                  <a:pt x="7815111" y="3482873"/>
                </a:lnTo>
                <a:close/>
                <a:moveTo>
                  <a:pt x="7578573" y="3425723"/>
                </a:moveTo>
                <a:lnTo>
                  <a:pt x="7637311" y="3425723"/>
                </a:lnTo>
                <a:lnTo>
                  <a:pt x="7637311" y="3482873"/>
                </a:lnTo>
                <a:lnTo>
                  <a:pt x="7578573" y="3482873"/>
                </a:lnTo>
                <a:close/>
                <a:moveTo>
                  <a:pt x="7499198" y="3425723"/>
                </a:moveTo>
                <a:lnTo>
                  <a:pt x="7557936" y="3425723"/>
                </a:lnTo>
                <a:lnTo>
                  <a:pt x="7557936" y="3482873"/>
                </a:lnTo>
                <a:lnTo>
                  <a:pt x="7499198" y="3482873"/>
                </a:lnTo>
                <a:close/>
                <a:moveTo>
                  <a:pt x="7419823" y="3425723"/>
                </a:moveTo>
                <a:lnTo>
                  <a:pt x="7478561" y="3425723"/>
                </a:lnTo>
                <a:lnTo>
                  <a:pt x="7478561" y="3482873"/>
                </a:lnTo>
                <a:lnTo>
                  <a:pt x="7419823" y="3482873"/>
                </a:lnTo>
                <a:close/>
                <a:moveTo>
                  <a:pt x="7342036" y="3425723"/>
                </a:moveTo>
                <a:lnTo>
                  <a:pt x="7400774" y="3425723"/>
                </a:lnTo>
                <a:lnTo>
                  <a:pt x="7400774" y="3482873"/>
                </a:lnTo>
                <a:lnTo>
                  <a:pt x="7342036" y="3482873"/>
                </a:lnTo>
                <a:close/>
                <a:moveTo>
                  <a:pt x="5446561" y="3425723"/>
                </a:moveTo>
                <a:lnTo>
                  <a:pt x="5505299" y="3425723"/>
                </a:lnTo>
                <a:lnTo>
                  <a:pt x="5505299" y="3482873"/>
                </a:lnTo>
                <a:lnTo>
                  <a:pt x="5446561" y="3482873"/>
                </a:lnTo>
                <a:close/>
                <a:moveTo>
                  <a:pt x="5210023" y="3425723"/>
                </a:moveTo>
                <a:lnTo>
                  <a:pt x="5268761" y="3425723"/>
                </a:lnTo>
                <a:lnTo>
                  <a:pt x="5268761" y="3482873"/>
                </a:lnTo>
                <a:lnTo>
                  <a:pt x="5210023" y="3482873"/>
                </a:lnTo>
                <a:close/>
                <a:moveTo>
                  <a:pt x="5130648" y="3425723"/>
                </a:moveTo>
                <a:lnTo>
                  <a:pt x="5189386" y="3425723"/>
                </a:lnTo>
                <a:lnTo>
                  <a:pt x="5189386" y="3482873"/>
                </a:lnTo>
                <a:lnTo>
                  <a:pt x="5130648" y="3482873"/>
                </a:lnTo>
                <a:close/>
                <a:moveTo>
                  <a:pt x="5052861" y="3425723"/>
                </a:moveTo>
                <a:lnTo>
                  <a:pt x="5110011" y="3425723"/>
                </a:lnTo>
                <a:lnTo>
                  <a:pt x="5110011" y="3482873"/>
                </a:lnTo>
                <a:lnTo>
                  <a:pt x="5052861" y="3482873"/>
                </a:lnTo>
                <a:close/>
                <a:moveTo>
                  <a:pt x="4973486" y="3425723"/>
                </a:moveTo>
                <a:lnTo>
                  <a:pt x="5030636" y="3425723"/>
                </a:lnTo>
                <a:lnTo>
                  <a:pt x="5030636" y="3482873"/>
                </a:lnTo>
                <a:lnTo>
                  <a:pt x="4973486" y="3482873"/>
                </a:lnTo>
                <a:close/>
                <a:moveTo>
                  <a:pt x="4894111" y="3425723"/>
                </a:moveTo>
                <a:lnTo>
                  <a:pt x="4952849" y="3425723"/>
                </a:lnTo>
                <a:lnTo>
                  <a:pt x="4952849" y="3482873"/>
                </a:lnTo>
                <a:lnTo>
                  <a:pt x="4894111" y="3482873"/>
                </a:lnTo>
                <a:close/>
                <a:moveTo>
                  <a:pt x="4814736" y="3425723"/>
                </a:moveTo>
                <a:lnTo>
                  <a:pt x="4873474" y="3425723"/>
                </a:lnTo>
                <a:lnTo>
                  <a:pt x="4873474" y="3482873"/>
                </a:lnTo>
                <a:lnTo>
                  <a:pt x="4814736" y="3482873"/>
                </a:lnTo>
                <a:close/>
                <a:moveTo>
                  <a:pt x="4736948" y="3425723"/>
                </a:moveTo>
                <a:lnTo>
                  <a:pt x="4794098" y="3425723"/>
                </a:lnTo>
                <a:lnTo>
                  <a:pt x="4794098" y="3482873"/>
                </a:lnTo>
                <a:lnTo>
                  <a:pt x="4736948" y="3482873"/>
                </a:lnTo>
                <a:close/>
                <a:moveTo>
                  <a:pt x="4657573" y="3425723"/>
                </a:moveTo>
                <a:lnTo>
                  <a:pt x="4716311" y="3425723"/>
                </a:lnTo>
                <a:lnTo>
                  <a:pt x="4716311" y="3482873"/>
                </a:lnTo>
                <a:lnTo>
                  <a:pt x="4657573" y="3482873"/>
                </a:lnTo>
                <a:close/>
                <a:moveTo>
                  <a:pt x="4578198" y="3425723"/>
                </a:moveTo>
                <a:lnTo>
                  <a:pt x="4636936" y="3425723"/>
                </a:lnTo>
                <a:lnTo>
                  <a:pt x="4636936" y="3482873"/>
                </a:lnTo>
                <a:lnTo>
                  <a:pt x="4578198" y="3482873"/>
                </a:lnTo>
                <a:close/>
                <a:moveTo>
                  <a:pt x="3236761" y="3425723"/>
                </a:moveTo>
                <a:lnTo>
                  <a:pt x="3293911" y="3425723"/>
                </a:lnTo>
                <a:lnTo>
                  <a:pt x="3293911" y="3482873"/>
                </a:lnTo>
                <a:lnTo>
                  <a:pt x="3236761" y="3482873"/>
                </a:lnTo>
                <a:close/>
                <a:moveTo>
                  <a:pt x="3157386" y="3425723"/>
                </a:moveTo>
                <a:lnTo>
                  <a:pt x="3216124" y="3425723"/>
                </a:lnTo>
                <a:lnTo>
                  <a:pt x="3216124" y="3482873"/>
                </a:lnTo>
                <a:lnTo>
                  <a:pt x="3157386" y="3482873"/>
                </a:lnTo>
                <a:close/>
                <a:moveTo>
                  <a:pt x="3078011" y="3425723"/>
                </a:moveTo>
                <a:lnTo>
                  <a:pt x="3136749" y="3425723"/>
                </a:lnTo>
                <a:lnTo>
                  <a:pt x="3136749" y="3482873"/>
                </a:lnTo>
                <a:lnTo>
                  <a:pt x="3078011" y="3482873"/>
                </a:lnTo>
                <a:close/>
                <a:moveTo>
                  <a:pt x="3000223" y="3425723"/>
                </a:moveTo>
                <a:lnTo>
                  <a:pt x="3057373" y="3425723"/>
                </a:lnTo>
                <a:lnTo>
                  <a:pt x="3057373" y="3482873"/>
                </a:lnTo>
                <a:lnTo>
                  <a:pt x="3000223" y="3482873"/>
                </a:lnTo>
                <a:close/>
                <a:moveTo>
                  <a:pt x="2920848" y="3425723"/>
                </a:moveTo>
                <a:lnTo>
                  <a:pt x="2979586" y="3425723"/>
                </a:lnTo>
                <a:lnTo>
                  <a:pt x="2979586" y="3482873"/>
                </a:lnTo>
                <a:lnTo>
                  <a:pt x="2920848" y="3482873"/>
                </a:lnTo>
                <a:close/>
                <a:moveTo>
                  <a:pt x="2841473" y="3425723"/>
                </a:moveTo>
                <a:lnTo>
                  <a:pt x="2900211" y="3425723"/>
                </a:lnTo>
                <a:lnTo>
                  <a:pt x="2900211" y="3482873"/>
                </a:lnTo>
                <a:lnTo>
                  <a:pt x="2841473" y="3482873"/>
                </a:lnTo>
                <a:close/>
                <a:moveTo>
                  <a:pt x="2763686" y="3425723"/>
                </a:moveTo>
                <a:lnTo>
                  <a:pt x="2820836" y="3425723"/>
                </a:lnTo>
                <a:lnTo>
                  <a:pt x="2820836" y="3482873"/>
                </a:lnTo>
                <a:lnTo>
                  <a:pt x="2763686" y="3482873"/>
                </a:lnTo>
                <a:close/>
                <a:moveTo>
                  <a:pt x="2684311" y="3425723"/>
                </a:moveTo>
                <a:lnTo>
                  <a:pt x="2743049" y="3425723"/>
                </a:lnTo>
                <a:lnTo>
                  <a:pt x="2743049" y="3482873"/>
                </a:lnTo>
                <a:lnTo>
                  <a:pt x="2684311" y="3482873"/>
                </a:lnTo>
                <a:close/>
                <a:moveTo>
                  <a:pt x="2604936" y="3425723"/>
                </a:moveTo>
                <a:lnTo>
                  <a:pt x="2663674" y="3425723"/>
                </a:lnTo>
                <a:lnTo>
                  <a:pt x="2663674" y="3482873"/>
                </a:lnTo>
                <a:lnTo>
                  <a:pt x="2604936" y="3482873"/>
                </a:lnTo>
                <a:close/>
                <a:moveTo>
                  <a:pt x="2525604" y="3425723"/>
                </a:moveTo>
                <a:lnTo>
                  <a:pt x="2584342" y="3425723"/>
                </a:lnTo>
                <a:lnTo>
                  <a:pt x="2584342" y="3482873"/>
                </a:lnTo>
                <a:lnTo>
                  <a:pt x="2525604" y="3482873"/>
                </a:lnTo>
                <a:close/>
                <a:moveTo>
                  <a:pt x="2447814" y="3425723"/>
                </a:moveTo>
                <a:lnTo>
                  <a:pt x="2504967" y="3425723"/>
                </a:lnTo>
                <a:lnTo>
                  <a:pt x="2504967" y="3482873"/>
                </a:lnTo>
                <a:lnTo>
                  <a:pt x="2447814" y="3482873"/>
                </a:lnTo>
                <a:close/>
                <a:moveTo>
                  <a:pt x="2368442" y="3425723"/>
                </a:moveTo>
                <a:lnTo>
                  <a:pt x="2427179" y="3425723"/>
                </a:lnTo>
                <a:lnTo>
                  <a:pt x="2427179" y="3482873"/>
                </a:lnTo>
                <a:lnTo>
                  <a:pt x="2368442" y="3482873"/>
                </a:lnTo>
                <a:close/>
                <a:moveTo>
                  <a:pt x="8920011" y="3425722"/>
                </a:moveTo>
                <a:lnTo>
                  <a:pt x="8978749" y="3425722"/>
                </a:lnTo>
                <a:lnTo>
                  <a:pt x="8978749" y="3482872"/>
                </a:lnTo>
                <a:lnTo>
                  <a:pt x="8920011" y="3482872"/>
                </a:lnTo>
                <a:close/>
                <a:moveTo>
                  <a:pt x="7815111" y="3347935"/>
                </a:moveTo>
                <a:lnTo>
                  <a:pt x="7873849" y="3347935"/>
                </a:lnTo>
                <a:lnTo>
                  <a:pt x="7873849" y="3405085"/>
                </a:lnTo>
                <a:lnTo>
                  <a:pt x="7815111" y="3405085"/>
                </a:lnTo>
                <a:close/>
                <a:moveTo>
                  <a:pt x="7657948" y="3347935"/>
                </a:moveTo>
                <a:lnTo>
                  <a:pt x="7715098" y="3347935"/>
                </a:lnTo>
                <a:lnTo>
                  <a:pt x="7715098" y="3405085"/>
                </a:lnTo>
                <a:lnTo>
                  <a:pt x="7657948" y="3405085"/>
                </a:lnTo>
                <a:close/>
                <a:moveTo>
                  <a:pt x="7578573" y="3347935"/>
                </a:moveTo>
                <a:lnTo>
                  <a:pt x="7637311" y="3347935"/>
                </a:lnTo>
                <a:lnTo>
                  <a:pt x="7637311" y="3405085"/>
                </a:lnTo>
                <a:lnTo>
                  <a:pt x="7578573" y="3405085"/>
                </a:lnTo>
                <a:close/>
                <a:moveTo>
                  <a:pt x="7499198" y="3347935"/>
                </a:moveTo>
                <a:lnTo>
                  <a:pt x="7557936" y="3347935"/>
                </a:lnTo>
                <a:lnTo>
                  <a:pt x="7557936" y="3405085"/>
                </a:lnTo>
                <a:lnTo>
                  <a:pt x="7499198" y="3405085"/>
                </a:lnTo>
                <a:close/>
                <a:moveTo>
                  <a:pt x="5368773" y="3347935"/>
                </a:moveTo>
                <a:lnTo>
                  <a:pt x="5425923" y="3347935"/>
                </a:lnTo>
                <a:lnTo>
                  <a:pt x="5425923" y="3405085"/>
                </a:lnTo>
                <a:lnTo>
                  <a:pt x="5368773" y="3405085"/>
                </a:lnTo>
                <a:close/>
                <a:moveTo>
                  <a:pt x="5210023" y="3347935"/>
                </a:moveTo>
                <a:lnTo>
                  <a:pt x="5268761" y="3347935"/>
                </a:lnTo>
                <a:lnTo>
                  <a:pt x="5268761" y="3405085"/>
                </a:lnTo>
                <a:lnTo>
                  <a:pt x="5210023" y="3405085"/>
                </a:lnTo>
                <a:close/>
                <a:moveTo>
                  <a:pt x="5130648" y="3347935"/>
                </a:moveTo>
                <a:lnTo>
                  <a:pt x="5189386" y="3347935"/>
                </a:lnTo>
                <a:lnTo>
                  <a:pt x="5189386" y="3405085"/>
                </a:lnTo>
                <a:lnTo>
                  <a:pt x="5130648" y="3405085"/>
                </a:lnTo>
                <a:close/>
                <a:moveTo>
                  <a:pt x="5052861" y="3347935"/>
                </a:moveTo>
                <a:lnTo>
                  <a:pt x="5110011" y="3347935"/>
                </a:lnTo>
                <a:lnTo>
                  <a:pt x="5110011" y="3405085"/>
                </a:lnTo>
                <a:lnTo>
                  <a:pt x="5052861" y="3405085"/>
                </a:lnTo>
                <a:close/>
                <a:moveTo>
                  <a:pt x="4973486" y="3347935"/>
                </a:moveTo>
                <a:lnTo>
                  <a:pt x="5030636" y="3347935"/>
                </a:lnTo>
                <a:lnTo>
                  <a:pt x="5030636" y="3405085"/>
                </a:lnTo>
                <a:lnTo>
                  <a:pt x="4973486" y="3405085"/>
                </a:lnTo>
                <a:close/>
                <a:moveTo>
                  <a:pt x="4894111" y="3347935"/>
                </a:moveTo>
                <a:lnTo>
                  <a:pt x="4952849" y="3347935"/>
                </a:lnTo>
                <a:lnTo>
                  <a:pt x="4952849" y="3405085"/>
                </a:lnTo>
                <a:lnTo>
                  <a:pt x="4894111" y="3405085"/>
                </a:lnTo>
                <a:close/>
                <a:moveTo>
                  <a:pt x="4814736" y="3347935"/>
                </a:moveTo>
                <a:lnTo>
                  <a:pt x="4873474" y="3347935"/>
                </a:lnTo>
                <a:lnTo>
                  <a:pt x="4873474" y="3405085"/>
                </a:lnTo>
                <a:lnTo>
                  <a:pt x="4814736" y="3405085"/>
                </a:lnTo>
                <a:close/>
                <a:moveTo>
                  <a:pt x="4736948" y="3347935"/>
                </a:moveTo>
                <a:lnTo>
                  <a:pt x="4794098" y="3347935"/>
                </a:lnTo>
                <a:lnTo>
                  <a:pt x="4794098" y="3405085"/>
                </a:lnTo>
                <a:lnTo>
                  <a:pt x="4736948" y="3405085"/>
                </a:lnTo>
                <a:close/>
                <a:moveTo>
                  <a:pt x="4657573" y="3347935"/>
                </a:moveTo>
                <a:lnTo>
                  <a:pt x="4716311" y="3347935"/>
                </a:lnTo>
                <a:lnTo>
                  <a:pt x="4716311" y="3405085"/>
                </a:lnTo>
                <a:lnTo>
                  <a:pt x="4657573" y="3405085"/>
                </a:lnTo>
                <a:close/>
                <a:moveTo>
                  <a:pt x="3236761" y="3347935"/>
                </a:moveTo>
                <a:lnTo>
                  <a:pt x="3293911" y="3347935"/>
                </a:lnTo>
                <a:lnTo>
                  <a:pt x="3293911" y="3405085"/>
                </a:lnTo>
                <a:lnTo>
                  <a:pt x="3236761" y="3405085"/>
                </a:lnTo>
                <a:close/>
                <a:moveTo>
                  <a:pt x="3157386" y="3347935"/>
                </a:moveTo>
                <a:lnTo>
                  <a:pt x="3216124" y="3347935"/>
                </a:lnTo>
                <a:lnTo>
                  <a:pt x="3216124" y="3405085"/>
                </a:lnTo>
                <a:lnTo>
                  <a:pt x="3157386" y="3405085"/>
                </a:lnTo>
                <a:close/>
                <a:moveTo>
                  <a:pt x="3078011" y="3347935"/>
                </a:moveTo>
                <a:lnTo>
                  <a:pt x="3136749" y="3347935"/>
                </a:lnTo>
                <a:lnTo>
                  <a:pt x="3136749" y="3405085"/>
                </a:lnTo>
                <a:lnTo>
                  <a:pt x="3078011" y="3405085"/>
                </a:lnTo>
                <a:close/>
                <a:moveTo>
                  <a:pt x="3000223" y="3347935"/>
                </a:moveTo>
                <a:lnTo>
                  <a:pt x="3057373" y="3347935"/>
                </a:lnTo>
                <a:lnTo>
                  <a:pt x="3057373" y="3405085"/>
                </a:lnTo>
                <a:lnTo>
                  <a:pt x="3000223" y="3405085"/>
                </a:lnTo>
                <a:close/>
                <a:moveTo>
                  <a:pt x="2920848" y="3347935"/>
                </a:moveTo>
                <a:lnTo>
                  <a:pt x="2979586" y="3347935"/>
                </a:lnTo>
                <a:lnTo>
                  <a:pt x="2979586" y="3405085"/>
                </a:lnTo>
                <a:lnTo>
                  <a:pt x="2920848" y="3405085"/>
                </a:lnTo>
                <a:close/>
                <a:moveTo>
                  <a:pt x="2841473" y="3347935"/>
                </a:moveTo>
                <a:lnTo>
                  <a:pt x="2900211" y="3347935"/>
                </a:lnTo>
                <a:lnTo>
                  <a:pt x="2900211" y="3405085"/>
                </a:lnTo>
                <a:lnTo>
                  <a:pt x="2841473" y="3405085"/>
                </a:lnTo>
                <a:close/>
                <a:moveTo>
                  <a:pt x="2763686" y="3347935"/>
                </a:moveTo>
                <a:lnTo>
                  <a:pt x="2820836" y="3347935"/>
                </a:lnTo>
                <a:lnTo>
                  <a:pt x="2820836" y="3405085"/>
                </a:lnTo>
                <a:lnTo>
                  <a:pt x="2763686" y="3405085"/>
                </a:lnTo>
                <a:close/>
                <a:moveTo>
                  <a:pt x="2684311" y="3347935"/>
                </a:moveTo>
                <a:lnTo>
                  <a:pt x="2743049" y="3347935"/>
                </a:lnTo>
                <a:lnTo>
                  <a:pt x="2743049" y="3405085"/>
                </a:lnTo>
                <a:lnTo>
                  <a:pt x="2684311" y="3405085"/>
                </a:lnTo>
                <a:close/>
                <a:moveTo>
                  <a:pt x="2604936" y="3347935"/>
                </a:moveTo>
                <a:lnTo>
                  <a:pt x="2663674" y="3347935"/>
                </a:lnTo>
                <a:lnTo>
                  <a:pt x="2663674" y="3405085"/>
                </a:lnTo>
                <a:lnTo>
                  <a:pt x="2604936" y="3405085"/>
                </a:lnTo>
                <a:close/>
                <a:moveTo>
                  <a:pt x="2525608" y="3347935"/>
                </a:moveTo>
                <a:lnTo>
                  <a:pt x="2584346" y="3347935"/>
                </a:lnTo>
                <a:lnTo>
                  <a:pt x="2584346" y="3405085"/>
                </a:lnTo>
                <a:lnTo>
                  <a:pt x="2525608" y="3405085"/>
                </a:lnTo>
                <a:close/>
                <a:moveTo>
                  <a:pt x="2447818" y="3347935"/>
                </a:moveTo>
                <a:lnTo>
                  <a:pt x="2504971" y="3347935"/>
                </a:lnTo>
                <a:lnTo>
                  <a:pt x="2504971" y="3405085"/>
                </a:lnTo>
                <a:lnTo>
                  <a:pt x="2447818" y="3405085"/>
                </a:lnTo>
                <a:close/>
                <a:moveTo>
                  <a:pt x="2368446" y="3347935"/>
                </a:moveTo>
                <a:lnTo>
                  <a:pt x="2427183" y="3347935"/>
                </a:lnTo>
                <a:lnTo>
                  <a:pt x="2427183" y="3405085"/>
                </a:lnTo>
                <a:lnTo>
                  <a:pt x="2368446" y="3405085"/>
                </a:lnTo>
                <a:close/>
                <a:moveTo>
                  <a:pt x="8289773" y="3270148"/>
                </a:moveTo>
                <a:lnTo>
                  <a:pt x="8346923" y="3270148"/>
                </a:lnTo>
                <a:lnTo>
                  <a:pt x="8346923" y="3327298"/>
                </a:lnTo>
                <a:lnTo>
                  <a:pt x="8289773" y="3327298"/>
                </a:lnTo>
                <a:close/>
                <a:moveTo>
                  <a:pt x="8210398" y="3270148"/>
                </a:moveTo>
                <a:lnTo>
                  <a:pt x="8267548" y="3270148"/>
                </a:lnTo>
                <a:lnTo>
                  <a:pt x="8267548" y="3327298"/>
                </a:lnTo>
                <a:lnTo>
                  <a:pt x="8210398" y="3327298"/>
                </a:lnTo>
                <a:close/>
                <a:moveTo>
                  <a:pt x="8051648" y="3270148"/>
                </a:moveTo>
                <a:lnTo>
                  <a:pt x="8110386" y="3270148"/>
                </a:lnTo>
                <a:lnTo>
                  <a:pt x="8110386" y="3327298"/>
                </a:lnTo>
                <a:lnTo>
                  <a:pt x="8051648" y="3327298"/>
                </a:lnTo>
                <a:close/>
                <a:moveTo>
                  <a:pt x="7973861" y="3270148"/>
                </a:moveTo>
                <a:lnTo>
                  <a:pt x="8031011" y="3270148"/>
                </a:lnTo>
                <a:lnTo>
                  <a:pt x="8031011" y="3327298"/>
                </a:lnTo>
                <a:lnTo>
                  <a:pt x="7973861" y="3327298"/>
                </a:lnTo>
                <a:close/>
                <a:moveTo>
                  <a:pt x="7894486" y="3270148"/>
                </a:moveTo>
                <a:lnTo>
                  <a:pt x="7951636" y="3270148"/>
                </a:lnTo>
                <a:lnTo>
                  <a:pt x="7951636" y="3327298"/>
                </a:lnTo>
                <a:lnTo>
                  <a:pt x="7894486" y="3327298"/>
                </a:lnTo>
                <a:close/>
                <a:moveTo>
                  <a:pt x="7342036" y="3270148"/>
                </a:moveTo>
                <a:lnTo>
                  <a:pt x="7400774" y="3270148"/>
                </a:lnTo>
                <a:lnTo>
                  <a:pt x="7400774" y="3327298"/>
                </a:lnTo>
                <a:lnTo>
                  <a:pt x="7342036" y="3327298"/>
                </a:lnTo>
                <a:close/>
                <a:moveTo>
                  <a:pt x="7262661" y="3270148"/>
                </a:moveTo>
                <a:lnTo>
                  <a:pt x="7321399" y="3270148"/>
                </a:lnTo>
                <a:lnTo>
                  <a:pt x="7321399" y="3327298"/>
                </a:lnTo>
                <a:lnTo>
                  <a:pt x="7262661" y="3327298"/>
                </a:lnTo>
                <a:close/>
                <a:moveTo>
                  <a:pt x="7183286" y="3270148"/>
                </a:moveTo>
                <a:lnTo>
                  <a:pt x="7242024" y="3270148"/>
                </a:lnTo>
                <a:lnTo>
                  <a:pt x="7242024" y="3327298"/>
                </a:lnTo>
                <a:lnTo>
                  <a:pt x="7183286" y="3327298"/>
                </a:lnTo>
                <a:close/>
                <a:moveTo>
                  <a:pt x="5210023" y="3270148"/>
                </a:moveTo>
                <a:lnTo>
                  <a:pt x="5268761" y="3270148"/>
                </a:lnTo>
                <a:lnTo>
                  <a:pt x="5268761" y="3327298"/>
                </a:lnTo>
                <a:lnTo>
                  <a:pt x="5210023" y="3327298"/>
                </a:lnTo>
                <a:close/>
                <a:moveTo>
                  <a:pt x="5130648" y="3270148"/>
                </a:moveTo>
                <a:lnTo>
                  <a:pt x="5189386" y="3270148"/>
                </a:lnTo>
                <a:lnTo>
                  <a:pt x="5189386" y="3327298"/>
                </a:lnTo>
                <a:lnTo>
                  <a:pt x="5130648" y="3327298"/>
                </a:lnTo>
                <a:close/>
                <a:moveTo>
                  <a:pt x="5052861" y="3270148"/>
                </a:moveTo>
                <a:lnTo>
                  <a:pt x="5110011" y="3270148"/>
                </a:lnTo>
                <a:lnTo>
                  <a:pt x="5110011" y="3327298"/>
                </a:lnTo>
                <a:lnTo>
                  <a:pt x="5052861" y="3327298"/>
                </a:lnTo>
                <a:close/>
                <a:moveTo>
                  <a:pt x="4973486" y="3270148"/>
                </a:moveTo>
                <a:lnTo>
                  <a:pt x="5030636" y="3270148"/>
                </a:lnTo>
                <a:lnTo>
                  <a:pt x="5030636" y="3327298"/>
                </a:lnTo>
                <a:lnTo>
                  <a:pt x="4973486" y="3327298"/>
                </a:lnTo>
                <a:close/>
                <a:moveTo>
                  <a:pt x="4894111" y="3270148"/>
                </a:moveTo>
                <a:lnTo>
                  <a:pt x="4952849" y="3270148"/>
                </a:lnTo>
                <a:lnTo>
                  <a:pt x="4952849" y="3327298"/>
                </a:lnTo>
                <a:lnTo>
                  <a:pt x="4894111" y="3327298"/>
                </a:lnTo>
                <a:close/>
                <a:moveTo>
                  <a:pt x="4814736" y="3270148"/>
                </a:moveTo>
                <a:lnTo>
                  <a:pt x="4873474" y="3270148"/>
                </a:lnTo>
                <a:lnTo>
                  <a:pt x="4873474" y="3327298"/>
                </a:lnTo>
                <a:lnTo>
                  <a:pt x="4814736" y="3327298"/>
                </a:lnTo>
                <a:close/>
                <a:moveTo>
                  <a:pt x="4736948" y="3270148"/>
                </a:moveTo>
                <a:lnTo>
                  <a:pt x="4794098" y="3270148"/>
                </a:lnTo>
                <a:lnTo>
                  <a:pt x="4794098" y="3327298"/>
                </a:lnTo>
                <a:lnTo>
                  <a:pt x="4736948" y="3327298"/>
                </a:lnTo>
                <a:close/>
                <a:moveTo>
                  <a:pt x="4657573" y="3270148"/>
                </a:moveTo>
                <a:lnTo>
                  <a:pt x="4716311" y="3270148"/>
                </a:lnTo>
                <a:lnTo>
                  <a:pt x="4716311" y="3327298"/>
                </a:lnTo>
                <a:lnTo>
                  <a:pt x="4657573" y="3327298"/>
                </a:lnTo>
                <a:close/>
                <a:moveTo>
                  <a:pt x="4578198" y="3270148"/>
                </a:moveTo>
                <a:lnTo>
                  <a:pt x="4636936" y="3270148"/>
                </a:lnTo>
                <a:lnTo>
                  <a:pt x="4636936" y="3327298"/>
                </a:lnTo>
                <a:lnTo>
                  <a:pt x="4578198" y="3327298"/>
                </a:lnTo>
                <a:close/>
                <a:moveTo>
                  <a:pt x="3314548" y="3270148"/>
                </a:moveTo>
                <a:lnTo>
                  <a:pt x="3373286" y="3270148"/>
                </a:lnTo>
                <a:lnTo>
                  <a:pt x="3373286" y="3327298"/>
                </a:lnTo>
                <a:lnTo>
                  <a:pt x="3314548" y="3327298"/>
                </a:lnTo>
                <a:close/>
                <a:moveTo>
                  <a:pt x="3236761" y="3270148"/>
                </a:moveTo>
                <a:lnTo>
                  <a:pt x="3293911" y="3270148"/>
                </a:lnTo>
                <a:lnTo>
                  <a:pt x="3293911" y="3327298"/>
                </a:lnTo>
                <a:lnTo>
                  <a:pt x="3236761" y="3327298"/>
                </a:lnTo>
                <a:close/>
                <a:moveTo>
                  <a:pt x="3157386" y="3270148"/>
                </a:moveTo>
                <a:lnTo>
                  <a:pt x="3216124" y="3270148"/>
                </a:lnTo>
                <a:lnTo>
                  <a:pt x="3216124" y="3327298"/>
                </a:lnTo>
                <a:lnTo>
                  <a:pt x="3157386" y="3327298"/>
                </a:lnTo>
                <a:close/>
                <a:moveTo>
                  <a:pt x="3078011" y="3270148"/>
                </a:moveTo>
                <a:lnTo>
                  <a:pt x="3136749" y="3270148"/>
                </a:lnTo>
                <a:lnTo>
                  <a:pt x="3136749" y="3327298"/>
                </a:lnTo>
                <a:lnTo>
                  <a:pt x="3078011" y="3327298"/>
                </a:lnTo>
                <a:close/>
                <a:moveTo>
                  <a:pt x="3000223" y="3270148"/>
                </a:moveTo>
                <a:lnTo>
                  <a:pt x="3057373" y="3270148"/>
                </a:lnTo>
                <a:lnTo>
                  <a:pt x="3057373" y="3327298"/>
                </a:lnTo>
                <a:lnTo>
                  <a:pt x="3000223" y="3327298"/>
                </a:lnTo>
                <a:close/>
                <a:moveTo>
                  <a:pt x="2920848" y="3270148"/>
                </a:moveTo>
                <a:lnTo>
                  <a:pt x="2979586" y="3270148"/>
                </a:lnTo>
                <a:lnTo>
                  <a:pt x="2979586" y="3327298"/>
                </a:lnTo>
                <a:lnTo>
                  <a:pt x="2920848" y="3327298"/>
                </a:lnTo>
                <a:close/>
                <a:moveTo>
                  <a:pt x="2841473" y="3270148"/>
                </a:moveTo>
                <a:lnTo>
                  <a:pt x="2900211" y="3270148"/>
                </a:lnTo>
                <a:lnTo>
                  <a:pt x="2900211" y="3327298"/>
                </a:lnTo>
                <a:lnTo>
                  <a:pt x="2841473" y="3327298"/>
                </a:lnTo>
                <a:close/>
                <a:moveTo>
                  <a:pt x="2763686" y="3270148"/>
                </a:moveTo>
                <a:lnTo>
                  <a:pt x="2820836" y="3270148"/>
                </a:lnTo>
                <a:lnTo>
                  <a:pt x="2820836" y="3327298"/>
                </a:lnTo>
                <a:lnTo>
                  <a:pt x="2763686" y="3327298"/>
                </a:lnTo>
                <a:close/>
                <a:moveTo>
                  <a:pt x="2684311" y="3270148"/>
                </a:moveTo>
                <a:lnTo>
                  <a:pt x="2743049" y="3270148"/>
                </a:lnTo>
                <a:lnTo>
                  <a:pt x="2743049" y="3327298"/>
                </a:lnTo>
                <a:lnTo>
                  <a:pt x="2684311" y="3327298"/>
                </a:lnTo>
                <a:close/>
                <a:moveTo>
                  <a:pt x="2604936" y="3270148"/>
                </a:moveTo>
                <a:lnTo>
                  <a:pt x="2663674" y="3270148"/>
                </a:lnTo>
                <a:lnTo>
                  <a:pt x="2663674" y="3327298"/>
                </a:lnTo>
                <a:lnTo>
                  <a:pt x="2604936" y="3327298"/>
                </a:lnTo>
                <a:close/>
                <a:moveTo>
                  <a:pt x="2525613" y="3270148"/>
                </a:moveTo>
                <a:lnTo>
                  <a:pt x="2584350" y="3270148"/>
                </a:lnTo>
                <a:lnTo>
                  <a:pt x="2584350" y="3327298"/>
                </a:lnTo>
                <a:lnTo>
                  <a:pt x="2525613" y="3327298"/>
                </a:lnTo>
                <a:close/>
                <a:moveTo>
                  <a:pt x="2447823" y="3270148"/>
                </a:moveTo>
                <a:lnTo>
                  <a:pt x="2504976" y="3270148"/>
                </a:lnTo>
                <a:lnTo>
                  <a:pt x="2504976" y="3327298"/>
                </a:lnTo>
                <a:lnTo>
                  <a:pt x="2447823" y="3327298"/>
                </a:lnTo>
                <a:close/>
                <a:moveTo>
                  <a:pt x="2368452" y="3270148"/>
                </a:moveTo>
                <a:lnTo>
                  <a:pt x="2427187" y="3270148"/>
                </a:lnTo>
                <a:lnTo>
                  <a:pt x="2427187" y="3327298"/>
                </a:lnTo>
                <a:lnTo>
                  <a:pt x="2368452" y="3327298"/>
                </a:lnTo>
                <a:close/>
                <a:moveTo>
                  <a:pt x="2289075" y="3270148"/>
                </a:moveTo>
                <a:lnTo>
                  <a:pt x="2347814" y="3270148"/>
                </a:lnTo>
                <a:lnTo>
                  <a:pt x="2347814" y="3327298"/>
                </a:lnTo>
                <a:lnTo>
                  <a:pt x="2289075" y="3327298"/>
                </a:lnTo>
                <a:close/>
                <a:moveTo>
                  <a:pt x="8210398" y="3192360"/>
                </a:moveTo>
                <a:lnTo>
                  <a:pt x="8267548" y="3192360"/>
                </a:lnTo>
                <a:lnTo>
                  <a:pt x="8267548" y="3249510"/>
                </a:lnTo>
                <a:lnTo>
                  <a:pt x="8210398" y="3249510"/>
                </a:lnTo>
                <a:close/>
                <a:moveTo>
                  <a:pt x="8131023" y="3192360"/>
                </a:moveTo>
                <a:lnTo>
                  <a:pt x="8189761" y="3192360"/>
                </a:lnTo>
                <a:lnTo>
                  <a:pt x="8189761" y="3249510"/>
                </a:lnTo>
                <a:lnTo>
                  <a:pt x="8131023" y="3249510"/>
                </a:lnTo>
                <a:close/>
                <a:moveTo>
                  <a:pt x="7894486" y="3192360"/>
                </a:moveTo>
                <a:lnTo>
                  <a:pt x="7951636" y="3192360"/>
                </a:lnTo>
                <a:lnTo>
                  <a:pt x="7951636" y="3249510"/>
                </a:lnTo>
                <a:lnTo>
                  <a:pt x="7894486" y="3249510"/>
                </a:lnTo>
                <a:close/>
                <a:moveTo>
                  <a:pt x="7815111" y="3192360"/>
                </a:moveTo>
                <a:lnTo>
                  <a:pt x="7873849" y="3192360"/>
                </a:lnTo>
                <a:lnTo>
                  <a:pt x="7873849" y="3249510"/>
                </a:lnTo>
                <a:lnTo>
                  <a:pt x="7815111" y="3249510"/>
                </a:lnTo>
                <a:close/>
                <a:moveTo>
                  <a:pt x="7735736" y="3192360"/>
                </a:moveTo>
                <a:lnTo>
                  <a:pt x="7794474" y="3192360"/>
                </a:lnTo>
                <a:lnTo>
                  <a:pt x="7794474" y="3249510"/>
                </a:lnTo>
                <a:lnTo>
                  <a:pt x="7735736" y="3249510"/>
                </a:lnTo>
                <a:close/>
                <a:moveTo>
                  <a:pt x="7419823" y="3192360"/>
                </a:moveTo>
                <a:lnTo>
                  <a:pt x="7478561" y="3192360"/>
                </a:lnTo>
                <a:lnTo>
                  <a:pt x="7478561" y="3249510"/>
                </a:lnTo>
                <a:lnTo>
                  <a:pt x="7419823" y="3249510"/>
                </a:lnTo>
                <a:close/>
                <a:moveTo>
                  <a:pt x="7105498" y="3192360"/>
                </a:moveTo>
                <a:lnTo>
                  <a:pt x="7162648" y="3192360"/>
                </a:lnTo>
                <a:lnTo>
                  <a:pt x="7162648" y="3249510"/>
                </a:lnTo>
                <a:lnTo>
                  <a:pt x="7105498" y="3249510"/>
                </a:lnTo>
                <a:close/>
                <a:moveTo>
                  <a:pt x="7026123" y="3192360"/>
                </a:moveTo>
                <a:lnTo>
                  <a:pt x="7084861" y="3192360"/>
                </a:lnTo>
                <a:lnTo>
                  <a:pt x="7084861" y="3249510"/>
                </a:lnTo>
                <a:lnTo>
                  <a:pt x="7026123" y="3249510"/>
                </a:lnTo>
                <a:close/>
                <a:moveTo>
                  <a:pt x="6946748" y="3192360"/>
                </a:moveTo>
                <a:lnTo>
                  <a:pt x="7005486" y="3192360"/>
                </a:lnTo>
                <a:lnTo>
                  <a:pt x="7005486" y="3249510"/>
                </a:lnTo>
                <a:lnTo>
                  <a:pt x="6946748" y="3249510"/>
                </a:lnTo>
                <a:close/>
                <a:moveTo>
                  <a:pt x="6867373" y="3192360"/>
                </a:moveTo>
                <a:lnTo>
                  <a:pt x="6926111" y="3192360"/>
                </a:lnTo>
                <a:lnTo>
                  <a:pt x="6926111" y="3249510"/>
                </a:lnTo>
                <a:lnTo>
                  <a:pt x="6867373" y="3249510"/>
                </a:lnTo>
                <a:close/>
                <a:moveTo>
                  <a:pt x="5605311" y="3192360"/>
                </a:moveTo>
                <a:lnTo>
                  <a:pt x="5664049" y="3192360"/>
                </a:lnTo>
                <a:lnTo>
                  <a:pt x="5664049" y="3249510"/>
                </a:lnTo>
                <a:lnTo>
                  <a:pt x="5605311" y="3249510"/>
                </a:lnTo>
                <a:close/>
                <a:moveTo>
                  <a:pt x="5210023" y="3192360"/>
                </a:moveTo>
                <a:lnTo>
                  <a:pt x="5268761" y="3192360"/>
                </a:lnTo>
                <a:lnTo>
                  <a:pt x="5268761" y="3249510"/>
                </a:lnTo>
                <a:lnTo>
                  <a:pt x="5210023" y="3249510"/>
                </a:lnTo>
                <a:close/>
                <a:moveTo>
                  <a:pt x="5130648" y="3192360"/>
                </a:moveTo>
                <a:lnTo>
                  <a:pt x="5189386" y="3192360"/>
                </a:lnTo>
                <a:lnTo>
                  <a:pt x="5189386" y="3249510"/>
                </a:lnTo>
                <a:lnTo>
                  <a:pt x="5130648" y="3249510"/>
                </a:lnTo>
                <a:close/>
                <a:moveTo>
                  <a:pt x="5052861" y="3192360"/>
                </a:moveTo>
                <a:lnTo>
                  <a:pt x="5110011" y="3192360"/>
                </a:lnTo>
                <a:lnTo>
                  <a:pt x="5110011" y="3249510"/>
                </a:lnTo>
                <a:lnTo>
                  <a:pt x="5052861" y="3249510"/>
                </a:lnTo>
                <a:close/>
                <a:moveTo>
                  <a:pt x="4973486" y="3192360"/>
                </a:moveTo>
                <a:lnTo>
                  <a:pt x="5030636" y="3192360"/>
                </a:lnTo>
                <a:lnTo>
                  <a:pt x="5030636" y="3249510"/>
                </a:lnTo>
                <a:lnTo>
                  <a:pt x="4973486" y="3249510"/>
                </a:lnTo>
                <a:close/>
                <a:moveTo>
                  <a:pt x="4894111" y="3192360"/>
                </a:moveTo>
                <a:lnTo>
                  <a:pt x="4952849" y="3192360"/>
                </a:lnTo>
                <a:lnTo>
                  <a:pt x="4952849" y="3249510"/>
                </a:lnTo>
                <a:lnTo>
                  <a:pt x="4894111" y="3249510"/>
                </a:lnTo>
                <a:close/>
                <a:moveTo>
                  <a:pt x="4814736" y="3192360"/>
                </a:moveTo>
                <a:lnTo>
                  <a:pt x="4873474" y="3192360"/>
                </a:lnTo>
                <a:lnTo>
                  <a:pt x="4873474" y="3249510"/>
                </a:lnTo>
                <a:lnTo>
                  <a:pt x="4814736" y="3249510"/>
                </a:lnTo>
                <a:close/>
                <a:moveTo>
                  <a:pt x="4736948" y="3192360"/>
                </a:moveTo>
                <a:lnTo>
                  <a:pt x="4794098" y="3192360"/>
                </a:lnTo>
                <a:lnTo>
                  <a:pt x="4794098" y="3249510"/>
                </a:lnTo>
                <a:lnTo>
                  <a:pt x="4736948" y="3249510"/>
                </a:lnTo>
                <a:close/>
                <a:moveTo>
                  <a:pt x="4657573" y="3192360"/>
                </a:moveTo>
                <a:lnTo>
                  <a:pt x="4716311" y="3192360"/>
                </a:lnTo>
                <a:lnTo>
                  <a:pt x="4716311" y="3249510"/>
                </a:lnTo>
                <a:lnTo>
                  <a:pt x="4657573" y="3249510"/>
                </a:lnTo>
                <a:close/>
                <a:moveTo>
                  <a:pt x="4578198" y="3192360"/>
                </a:moveTo>
                <a:lnTo>
                  <a:pt x="4636936" y="3192360"/>
                </a:lnTo>
                <a:lnTo>
                  <a:pt x="4636936" y="3249510"/>
                </a:lnTo>
                <a:lnTo>
                  <a:pt x="4578198" y="3249510"/>
                </a:lnTo>
                <a:close/>
                <a:moveTo>
                  <a:pt x="3314548" y="3192360"/>
                </a:moveTo>
                <a:lnTo>
                  <a:pt x="3373286" y="3192360"/>
                </a:lnTo>
                <a:lnTo>
                  <a:pt x="3373286" y="3249510"/>
                </a:lnTo>
                <a:lnTo>
                  <a:pt x="3314548" y="3249510"/>
                </a:lnTo>
                <a:close/>
                <a:moveTo>
                  <a:pt x="3236761" y="3192360"/>
                </a:moveTo>
                <a:lnTo>
                  <a:pt x="3293911" y="3192360"/>
                </a:lnTo>
                <a:lnTo>
                  <a:pt x="3293911" y="3249510"/>
                </a:lnTo>
                <a:lnTo>
                  <a:pt x="3236761" y="3249510"/>
                </a:lnTo>
                <a:close/>
                <a:moveTo>
                  <a:pt x="3157386" y="3192360"/>
                </a:moveTo>
                <a:lnTo>
                  <a:pt x="3216124" y="3192360"/>
                </a:lnTo>
                <a:lnTo>
                  <a:pt x="3216124" y="3249510"/>
                </a:lnTo>
                <a:lnTo>
                  <a:pt x="3157386" y="3249510"/>
                </a:lnTo>
                <a:close/>
                <a:moveTo>
                  <a:pt x="3078011" y="3192360"/>
                </a:moveTo>
                <a:lnTo>
                  <a:pt x="3136749" y="3192360"/>
                </a:lnTo>
                <a:lnTo>
                  <a:pt x="3136749" y="3249510"/>
                </a:lnTo>
                <a:lnTo>
                  <a:pt x="3078011" y="3249510"/>
                </a:lnTo>
                <a:close/>
                <a:moveTo>
                  <a:pt x="3000223" y="3192360"/>
                </a:moveTo>
                <a:lnTo>
                  <a:pt x="3057373" y="3192360"/>
                </a:lnTo>
                <a:lnTo>
                  <a:pt x="3057373" y="3249510"/>
                </a:lnTo>
                <a:lnTo>
                  <a:pt x="3000223" y="3249510"/>
                </a:lnTo>
                <a:close/>
                <a:moveTo>
                  <a:pt x="2920848" y="3192360"/>
                </a:moveTo>
                <a:lnTo>
                  <a:pt x="2979586" y="3192360"/>
                </a:lnTo>
                <a:lnTo>
                  <a:pt x="2979586" y="3249510"/>
                </a:lnTo>
                <a:lnTo>
                  <a:pt x="2920848" y="3249510"/>
                </a:lnTo>
                <a:close/>
                <a:moveTo>
                  <a:pt x="2841473" y="3192360"/>
                </a:moveTo>
                <a:lnTo>
                  <a:pt x="2900211" y="3192360"/>
                </a:lnTo>
                <a:lnTo>
                  <a:pt x="2900211" y="3249510"/>
                </a:lnTo>
                <a:lnTo>
                  <a:pt x="2841473" y="3249510"/>
                </a:lnTo>
                <a:close/>
                <a:moveTo>
                  <a:pt x="2763686" y="3192360"/>
                </a:moveTo>
                <a:lnTo>
                  <a:pt x="2820836" y="3192360"/>
                </a:lnTo>
                <a:lnTo>
                  <a:pt x="2820836" y="3249510"/>
                </a:lnTo>
                <a:lnTo>
                  <a:pt x="2763686" y="3249510"/>
                </a:lnTo>
                <a:close/>
                <a:moveTo>
                  <a:pt x="2684311" y="3192360"/>
                </a:moveTo>
                <a:lnTo>
                  <a:pt x="2743049" y="3192360"/>
                </a:lnTo>
                <a:lnTo>
                  <a:pt x="2743049" y="3249510"/>
                </a:lnTo>
                <a:lnTo>
                  <a:pt x="2684311" y="3249510"/>
                </a:lnTo>
                <a:close/>
                <a:moveTo>
                  <a:pt x="2604936" y="3192360"/>
                </a:moveTo>
                <a:lnTo>
                  <a:pt x="2663674" y="3192360"/>
                </a:lnTo>
                <a:lnTo>
                  <a:pt x="2663674" y="3249510"/>
                </a:lnTo>
                <a:lnTo>
                  <a:pt x="2604936" y="3249510"/>
                </a:lnTo>
                <a:close/>
                <a:moveTo>
                  <a:pt x="2525618" y="3192360"/>
                </a:moveTo>
                <a:lnTo>
                  <a:pt x="2584356" y="3192360"/>
                </a:lnTo>
                <a:lnTo>
                  <a:pt x="2584356" y="3249510"/>
                </a:lnTo>
                <a:lnTo>
                  <a:pt x="2525618" y="3249510"/>
                </a:lnTo>
                <a:close/>
                <a:moveTo>
                  <a:pt x="2447828" y="3192360"/>
                </a:moveTo>
                <a:lnTo>
                  <a:pt x="2504982" y="3192360"/>
                </a:lnTo>
                <a:lnTo>
                  <a:pt x="2504982" y="3249510"/>
                </a:lnTo>
                <a:lnTo>
                  <a:pt x="2447828" y="3249510"/>
                </a:lnTo>
                <a:close/>
                <a:moveTo>
                  <a:pt x="2368456" y="3192360"/>
                </a:moveTo>
                <a:lnTo>
                  <a:pt x="2427194" y="3192360"/>
                </a:lnTo>
                <a:lnTo>
                  <a:pt x="2427194" y="3249510"/>
                </a:lnTo>
                <a:lnTo>
                  <a:pt x="2368456" y="3249510"/>
                </a:lnTo>
                <a:close/>
                <a:moveTo>
                  <a:pt x="2289079" y="3192360"/>
                </a:moveTo>
                <a:lnTo>
                  <a:pt x="2347819" y="3192360"/>
                </a:lnTo>
                <a:lnTo>
                  <a:pt x="2347819" y="3249510"/>
                </a:lnTo>
                <a:lnTo>
                  <a:pt x="2289079" y="3249510"/>
                </a:lnTo>
                <a:close/>
                <a:moveTo>
                  <a:pt x="8051648" y="3114573"/>
                </a:moveTo>
                <a:lnTo>
                  <a:pt x="8110386" y="3114573"/>
                </a:lnTo>
                <a:lnTo>
                  <a:pt x="8110386" y="3171723"/>
                </a:lnTo>
                <a:lnTo>
                  <a:pt x="8051648" y="3171723"/>
                </a:lnTo>
                <a:close/>
                <a:moveTo>
                  <a:pt x="7973861" y="3114573"/>
                </a:moveTo>
                <a:lnTo>
                  <a:pt x="8031011" y="3114573"/>
                </a:lnTo>
                <a:lnTo>
                  <a:pt x="8031011" y="3171723"/>
                </a:lnTo>
                <a:lnTo>
                  <a:pt x="7973861" y="3171723"/>
                </a:lnTo>
                <a:close/>
                <a:moveTo>
                  <a:pt x="7894486" y="3114573"/>
                </a:moveTo>
                <a:lnTo>
                  <a:pt x="7951636" y="3114573"/>
                </a:lnTo>
                <a:lnTo>
                  <a:pt x="7951636" y="3171723"/>
                </a:lnTo>
                <a:lnTo>
                  <a:pt x="7894486" y="3171723"/>
                </a:lnTo>
                <a:close/>
                <a:moveTo>
                  <a:pt x="7815111" y="3114573"/>
                </a:moveTo>
                <a:lnTo>
                  <a:pt x="7873849" y="3114573"/>
                </a:lnTo>
                <a:lnTo>
                  <a:pt x="7873849" y="3171723"/>
                </a:lnTo>
                <a:lnTo>
                  <a:pt x="7815111" y="3171723"/>
                </a:lnTo>
                <a:close/>
                <a:moveTo>
                  <a:pt x="7735736" y="3114573"/>
                </a:moveTo>
                <a:lnTo>
                  <a:pt x="7794474" y="3114573"/>
                </a:lnTo>
                <a:lnTo>
                  <a:pt x="7794474" y="3171723"/>
                </a:lnTo>
                <a:lnTo>
                  <a:pt x="7735736" y="3171723"/>
                </a:lnTo>
                <a:close/>
                <a:moveTo>
                  <a:pt x="7657948" y="3114573"/>
                </a:moveTo>
                <a:lnTo>
                  <a:pt x="7715098" y="3114573"/>
                </a:lnTo>
                <a:lnTo>
                  <a:pt x="7715098" y="3171723"/>
                </a:lnTo>
                <a:lnTo>
                  <a:pt x="7657948" y="3171723"/>
                </a:lnTo>
                <a:close/>
                <a:moveTo>
                  <a:pt x="7578573" y="3114573"/>
                </a:moveTo>
                <a:lnTo>
                  <a:pt x="7637311" y="3114573"/>
                </a:lnTo>
                <a:lnTo>
                  <a:pt x="7637311" y="3171723"/>
                </a:lnTo>
                <a:lnTo>
                  <a:pt x="7578573" y="3171723"/>
                </a:lnTo>
                <a:close/>
                <a:moveTo>
                  <a:pt x="7419823" y="3114573"/>
                </a:moveTo>
                <a:lnTo>
                  <a:pt x="7478561" y="3114573"/>
                </a:lnTo>
                <a:lnTo>
                  <a:pt x="7478561" y="3171723"/>
                </a:lnTo>
                <a:lnTo>
                  <a:pt x="7419823" y="3171723"/>
                </a:lnTo>
                <a:close/>
                <a:moveTo>
                  <a:pt x="7262661" y="3114573"/>
                </a:moveTo>
                <a:lnTo>
                  <a:pt x="7321399" y="3114573"/>
                </a:lnTo>
                <a:lnTo>
                  <a:pt x="7321399" y="3171723"/>
                </a:lnTo>
                <a:lnTo>
                  <a:pt x="7262661" y="3171723"/>
                </a:lnTo>
                <a:close/>
                <a:moveTo>
                  <a:pt x="7183286" y="3114573"/>
                </a:moveTo>
                <a:lnTo>
                  <a:pt x="7242024" y="3114573"/>
                </a:lnTo>
                <a:lnTo>
                  <a:pt x="7242024" y="3171723"/>
                </a:lnTo>
                <a:lnTo>
                  <a:pt x="7183286" y="3171723"/>
                </a:lnTo>
                <a:close/>
                <a:moveTo>
                  <a:pt x="6867373" y="3114573"/>
                </a:moveTo>
                <a:lnTo>
                  <a:pt x="6926111" y="3114573"/>
                </a:lnTo>
                <a:lnTo>
                  <a:pt x="6926111" y="3171723"/>
                </a:lnTo>
                <a:lnTo>
                  <a:pt x="6867373" y="3171723"/>
                </a:lnTo>
                <a:close/>
                <a:moveTo>
                  <a:pt x="6789586" y="3114573"/>
                </a:moveTo>
                <a:lnTo>
                  <a:pt x="6846736" y="3114573"/>
                </a:lnTo>
                <a:lnTo>
                  <a:pt x="6846736" y="3171723"/>
                </a:lnTo>
                <a:lnTo>
                  <a:pt x="6789586" y="3171723"/>
                </a:lnTo>
                <a:close/>
                <a:moveTo>
                  <a:pt x="5210023" y="3114573"/>
                </a:moveTo>
                <a:lnTo>
                  <a:pt x="5268761" y="3114573"/>
                </a:lnTo>
                <a:lnTo>
                  <a:pt x="5268761" y="3171723"/>
                </a:lnTo>
                <a:lnTo>
                  <a:pt x="5210023" y="3171723"/>
                </a:lnTo>
                <a:close/>
                <a:moveTo>
                  <a:pt x="5130648" y="3114573"/>
                </a:moveTo>
                <a:lnTo>
                  <a:pt x="5189386" y="3114573"/>
                </a:lnTo>
                <a:lnTo>
                  <a:pt x="5189386" y="3171723"/>
                </a:lnTo>
                <a:lnTo>
                  <a:pt x="5130648" y="3171723"/>
                </a:lnTo>
                <a:close/>
                <a:moveTo>
                  <a:pt x="5052861" y="3114573"/>
                </a:moveTo>
                <a:lnTo>
                  <a:pt x="5110011" y="3114573"/>
                </a:lnTo>
                <a:lnTo>
                  <a:pt x="5110011" y="3171723"/>
                </a:lnTo>
                <a:lnTo>
                  <a:pt x="5052861" y="3171723"/>
                </a:lnTo>
                <a:close/>
                <a:moveTo>
                  <a:pt x="4973486" y="3114573"/>
                </a:moveTo>
                <a:lnTo>
                  <a:pt x="5030636" y="3114573"/>
                </a:lnTo>
                <a:lnTo>
                  <a:pt x="5030636" y="3171723"/>
                </a:lnTo>
                <a:lnTo>
                  <a:pt x="4973486" y="3171723"/>
                </a:lnTo>
                <a:close/>
                <a:moveTo>
                  <a:pt x="4894111" y="3114573"/>
                </a:moveTo>
                <a:lnTo>
                  <a:pt x="4952849" y="3114573"/>
                </a:lnTo>
                <a:lnTo>
                  <a:pt x="4952849" y="3171723"/>
                </a:lnTo>
                <a:lnTo>
                  <a:pt x="4894111" y="3171723"/>
                </a:lnTo>
                <a:close/>
                <a:moveTo>
                  <a:pt x="4814736" y="3114573"/>
                </a:moveTo>
                <a:lnTo>
                  <a:pt x="4873474" y="3114573"/>
                </a:lnTo>
                <a:lnTo>
                  <a:pt x="4873474" y="3171723"/>
                </a:lnTo>
                <a:lnTo>
                  <a:pt x="4814736" y="3171723"/>
                </a:lnTo>
                <a:close/>
                <a:moveTo>
                  <a:pt x="4736948" y="3114573"/>
                </a:moveTo>
                <a:lnTo>
                  <a:pt x="4794098" y="3114573"/>
                </a:lnTo>
                <a:lnTo>
                  <a:pt x="4794098" y="3171723"/>
                </a:lnTo>
                <a:lnTo>
                  <a:pt x="4736948" y="3171723"/>
                </a:lnTo>
                <a:close/>
                <a:moveTo>
                  <a:pt x="4657573" y="3114573"/>
                </a:moveTo>
                <a:lnTo>
                  <a:pt x="4716311" y="3114573"/>
                </a:lnTo>
                <a:lnTo>
                  <a:pt x="4716311" y="3171723"/>
                </a:lnTo>
                <a:lnTo>
                  <a:pt x="4657573" y="3171723"/>
                </a:lnTo>
                <a:close/>
                <a:moveTo>
                  <a:pt x="4578198" y="3114573"/>
                </a:moveTo>
                <a:lnTo>
                  <a:pt x="4636936" y="3114573"/>
                </a:lnTo>
                <a:lnTo>
                  <a:pt x="4636936" y="3171723"/>
                </a:lnTo>
                <a:lnTo>
                  <a:pt x="4578198" y="3171723"/>
                </a:lnTo>
                <a:close/>
                <a:moveTo>
                  <a:pt x="3236761" y="3114573"/>
                </a:moveTo>
                <a:lnTo>
                  <a:pt x="3293911" y="3114573"/>
                </a:lnTo>
                <a:lnTo>
                  <a:pt x="3293911" y="3171723"/>
                </a:lnTo>
                <a:lnTo>
                  <a:pt x="3236761" y="3171723"/>
                </a:lnTo>
                <a:close/>
                <a:moveTo>
                  <a:pt x="3157386" y="3114573"/>
                </a:moveTo>
                <a:lnTo>
                  <a:pt x="3216124" y="3114573"/>
                </a:lnTo>
                <a:lnTo>
                  <a:pt x="3216124" y="3171723"/>
                </a:lnTo>
                <a:lnTo>
                  <a:pt x="3157386" y="3171723"/>
                </a:lnTo>
                <a:close/>
                <a:moveTo>
                  <a:pt x="3078011" y="3114573"/>
                </a:moveTo>
                <a:lnTo>
                  <a:pt x="3136749" y="3114573"/>
                </a:lnTo>
                <a:lnTo>
                  <a:pt x="3136749" y="3171723"/>
                </a:lnTo>
                <a:lnTo>
                  <a:pt x="3078011" y="3171723"/>
                </a:lnTo>
                <a:close/>
                <a:moveTo>
                  <a:pt x="3000223" y="3114573"/>
                </a:moveTo>
                <a:lnTo>
                  <a:pt x="3057373" y="3114573"/>
                </a:lnTo>
                <a:lnTo>
                  <a:pt x="3057373" y="3171723"/>
                </a:lnTo>
                <a:lnTo>
                  <a:pt x="3000223" y="3171723"/>
                </a:lnTo>
                <a:close/>
                <a:moveTo>
                  <a:pt x="2920848" y="3114573"/>
                </a:moveTo>
                <a:lnTo>
                  <a:pt x="2979586" y="3114573"/>
                </a:lnTo>
                <a:lnTo>
                  <a:pt x="2979586" y="3171723"/>
                </a:lnTo>
                <a:lnTo>
                  <a:pt x="2920848" y="3171723"/>
                </a:lnTo>
                <a:close/>
                <a:moveTo>
                  <a:pt x="2841473" y="3114573"/>
                </a:moveTo>
                <a:lnTo>
                  <a:pt x="2900211" y="3114573"/>
                </a:lnTo>
                <a:lnTo>
                  <a:pt x="2900211" y="3171723"/>
                </a:lnTo>
                <a:lnTo>
                  <a:pt x="2841473" y="3171723"/>
                </a:lnTo>
                <a:close/>
                <a:moveTo>
                  <a:pt x="2763686" y="3114573"/>
                </a:moveTo>
                <a:lnTo>
                  <a:pt x="2820836" y="3114573"/>
                </a:lnTo>
                <a:lnTo>
                  <a:pt x="2820836" y="3171723"/>
                </a:lnTo>
                <a:lnTo>
                  <a:pt x="2763686" y="3171723"/>
                </a:lnTo>
                <a:close/>
                <a:moveTo>
                  <a:pt x="2684311" y="3114573"/>
                </a:moveTo>
                <a:lnTo>
                  <a:pt x="2743049" y="3114573"/>
                </a:lnTo>
                <a:lnTo>
                  <a:pt x="2743049" y="3171723"/>
                </a:lnTo>
                <a:lnTo>
                  <a:pt x="2684311" y="3171723"/>
                </a:lnTo>
                <a:close/>
                <a:moveTo>
                  <a:pt x="2604936" y="3114573"/>
                </a:moveTo>
                <a:lnTo>
                  <a:pt x="2663674" y="3114573"/>
                </a:lnTo>
                <a:lnTo>
                  <a:pt x="2663674" y="3171723"/>
                </a:lnTo>
                <a:lnTo>
                  <a:pt x="2604936" y="3171723"/>
                </a:lnTo>
                <a:close/>
                <a:moveTo>
                  <a:pt x="2525624" y="3114573"/>
                </a:moveTo>
                <a:lnTo>
                  <a:pt x="2584362" y="3114573"/>
                </a:lnTo>
                <a:lnTo>
                  <a:pt x="2584362" y="3171723"/>
                </a:lnTo>
                <a:lnTo>
                  <a:pt x="2525624" y="3171723"/>
                </a:lnTo>
                <a:close/>
                <a:moveTo>
                  <a:pt x="2447833" y="3114573"/>
                </a:moveTo>
                <a:lnTo>
                  <a:pt x="2504987" y="3114573"/>
                </a:lnTo>
                <a:lnTo>
                  <a:pt x="2504987" y="3171723"/>
                </a:lnTo>
                <a:lnTo>
                  <a:pt x="2447833" y="3171723"/>
                </a:lnTo>
                <a:close/>
                <a:moveTo>
                  <a:pt x="2368462" y="3114573"/>
                </a:moveTo>
                <a:lnTo>
                  <a:pt x="2427198" y="3114573"/>
                </a:lnTo>
                <a:lnTo>
                  <a:pt x="2427198" y="3171723"/>
                </a:lnTo>
                <a:lnTo>
                  <a:pt x="2368462" y="3171723"/>
                </a:lnTo>
                <a:close/>
                <a:moveTo>
                  <a:pt x="2289086" y="3114573"/>
                </a:moveTo>
                <a:lnTo>
                  <a:pt x="2347825" y="3114573"/>
                </a:lnTo>
                <a:lnTo>
                  <a:pt x="2347825" y="3171723"/>
                </a:lnTo>
                <a:lnTo>
                  <a:pt x="2289086" y="3171723"/>
                </a:lnTo>
                <a:close/>
                <a:moveTo>
                  <a:pt x="2209710" y="3114573"/>
                </a:moveTo>
                <a:lnTo>
                  <a:pt x="2268448" y="3114573"/>
                </a:lnTo>
                <a:lnTo>
                  <a:pt x="2268448" y="3171723"/>
                </a:lnTo>
                <a:lnTo>
                  <a:pt x="2209710" y="3171723"/>
                </a:lnTo>
                <a:close/>
                <a:moveTo>
                  <a:pt x="8526311" y="3035198"/>
                </a:moveTo>
                <a:lnTo>
                  <a:pt x="8583461" y="3035198"/>
                </a:lnTo>
                <a:lnTo>
                  <a:pt x="8583461" y="3093936"/>
                </a:lnTo>
                <a:lnTo>
                  <a:pt x="8526311" y="3093936"/>
                </a:lnTo>
                <a:close/>
                <a:moveTo>
                  <a:pt x="7815111" y="3035198"/>
                </a:moveTo>
                <a:lnTo>
                  <a:pt x="7873849" y="3035198"/>
                </a:lnTo>
                <a:lnTo>
                  <a:pt x="7873849" y="3093936"/>
                </a:lnTo>
                <a:lnTo>
                  <a:pt x="7815111" y="3093936"/>
                </a:lnTo>
                <a:close/>
                <a:moveTo>
                  <a:pt x="7657948" y="3035198"/>
                </a:moveTo>
                <a:lnTo>
                  <a:pt x="7715098" y="3035198"/>
                </a:lnTo>
                <a:lnTo>
                  <a:pt x="7715098" y="3093936"/>
                </a:lnTo>
                <a:lnTo>
                  <a:pt x="7657948" y="3093936"/>
                </a:lnTo>
                <a:close/>
                <a:moveTo>
                  <a:pt x="7578573" y="3035198"/>
                </a:moveTo>
                <a:lnTo>
                  <a:pt x="7637311" y="3035198"/>
                </a:lnTo>
                <a:lnTo>
                  <a:pt x="7637311" y="3093936"/>
                </a:lnTo>
                <a:lnTo>
                  <a:pt x="7578573" y="3093936"/>
                </a:lnTo>
                <a:close/>
                <a:moveTo>
                  <a:pt x="7499198" y="3035198"/>
                </a:moveTo>
                <a:lnTo>
                  <a:pt x="7557936" y="3035198"/>
                </a:lnTo>
                <a:lnTo>
                  <a:pt x="7557936" y="3093936"/>
                </a:lnTo>
                <a:lnTo>
                  <a:pt x="7499198" y="3093936"/>
                </a:lnTo>
                <a:close/>
                <a:moveTo>
                  <a:pt x="7419823" y="3035198"/>
                </a:moveTo>
                <a:lnTo>
                  <a:pt x="7478561" y="3035198"/>
                </a:lnTo>
                <a:lnTo>
                  <a:pt x="7478561" y="3093936"/>
                </a:lnTo>
                <a:lnTo>
                  <a:pt x="7419823" y="3093936"/>
                </a:lnTo>
                <a:close/>
                <a:moveTo>
                  <a:pt x="7262661" y="3035198"/>
                </a:moveTo>
                <a:lnTo>
                  <a:pt x="7321399" y="3035198"/>
                </a:lnTo>
                <a:lnTo>
                  <a:pt x="7321399" y="3093936"/>
                </a:lnTo>
                <a:lnTo>
                  <a:pt x="7262661" y="3093936"/>
                </a:lnTo>
                <a:close/>
                <a:moveTo>
                  <a:pt x="7183286" y="3035198"/>
                </a:moveTo>
                <a:lnTo>
                  <a:pt x="7242024" y="3035198"/>
                </a:lnTo>
                <a:lnTo>
                  <a:pt x="7242024" y="3093936"/>
                </a:lnTo>
                <a:lnTo>
                  <a:pt x="7183286" y="3093936"/>
                </a:lnTo>
                <a:close/>
                <a:moveTo>
                  <a:pt x="7105498" y="3035198"/>
                </a:moveTo>
                <a:lnTo>
                  <a:pt x="7162648" y="3035198"/>
                </a:lnTo>
                <a:lnTo>
                  <a:pt x="7162648" y="3093936"/>
                </a:lnTo>
                <a:lnTo>
                  <a:pt x="7105498" y="3093936"/>
                </a:lnTo>
                <a:close/>
                <a:moveTo>
                  <a:pt x="7026123" y="3035198"/>
                </a:moveTo>
                <a:lnTo>
                  <a:pt x="7084861" y="3035198"/>
                </a:lnTo>
                <a:lnTo>
                  <a:pt x="7084861" y="3093936"/>
                </a:lnTo>
                <a:lnTo>
                  <a:pt x="7026123" y="3093936"/>
                </a:lnTo>
                <a:close/>
                <a:moveTo>
                  <a:pt x="6946748" y="3035198"/>
                </a:moveTo>
                <a:lnTo>
                  <a:pt x="7005486" y="3035198"/>
                </a:lnTo>
                <a:lnTo>
                  <a:pt x="7005486" y="3093936"/>
                </a:lnTo>
                <a:lnTo>
                  <a:pt x="6946748" y="3093936"/>
                </a:lnTo>
                <a:close/>
                <a:moveTo>
                  <a:pt x="6789586" y="3035198"/>
                </a:moveTo>
                <a:lnTo>
                  <a:pt x="6846736" y="3035198"/>
                </a:lnTo>
                <a:lnTo>
                  <a:pt x="6846736" y="3093936"/>
                </a:lnTo>
                <a:lnTo>
                  <a:pt x="6789586" y="3093936"/>
                </a:lnTo>
                <a:close/>
                <a:moveTo>
                  <a:pt x="6710211" y="3035198"/>
                </a:moveTo>
                <a:lnTo>
                  <a:pt x="6768949" y="3035198"/>
                </a:lnTo>
                <a:lnTo>
                  <a:pt x="6768949" y="3093936"/>
                </a:lnTo>
                <a:lnTo>
                  <a:pt x="6710211" y="3093936"/>
                </a:lnTo>
                <a:close/>
                <a:moveTo>
                  <a:pt x="5210023" y="3035198"/>
                </a:moveTo>
                <a:lnTo>
                  <a:pt x="5268761" y="3035198"/>
                </a:lnTo>
                <a:lnTo>
                  <a:pt x="5268761" y="3093936"/>
                </a:lnTo>
                <a:lnTo>
                  <a:pt x="5210023" y="3093936"/>
                </a:lnTo>
                <a:close/>
                <a:moveTo>
                  <a:pt x="5130648" y="3035198"/>
                </a:moveTo>
                <a:lnTo>
                  <a:pt x="5189386" y="3035198"/>
                </a:lnTo>
                <a:lnTo>
                  <a:pt x="5189386" y="3093936"/>
                </a:lnTo>
                <a:lnTo>
                  <a:pt x="5130648" y="3093936"/>
                </a:lnTo>
                <a:close/>
                <a:moveTo>
                  <a:pt x="5052861" y="3035198"/>
                </a:moveTo>
                <a:lnTo>
                  <a:pt x="5110011" y="3035198"/>
                </a:lnTo>
                <a:lnTo>
                  <a:pt x="5110011" y="3093936"/>
                </a:lnTo>
                <a:lnTo>
                  <a:pt x="5052861" y="3093936"/>
                </a:lnTo>
                <a:close/>
                <a:moveTo>
                  <a:pt x="4973486" y="3035198"/>
                </a:moveTo>
                <a:lnTo>
                  <a:pt x="5030636" y="3035198"/>
                </a:lnTo>
                <a:lnTo>
                  <a:pt x="5030636" y="3093936"/>
                </a:lnTo>
                <a:lnTo>
                  <a:pt x="4973486" y="3093936"/>
                </a:lnTo>
                <a:close/>
                <a:moveTo>
                  <a:pt x="4894111" y="3035198"/>
                </a:moveTo>
                <a:lnTo>
                  <a:pt x="4952849" y="3035198"/>
                </a:lnTo>
                <a:lnTo>
                  <a:pt x="4952849" y="3093936"/>
                </a:lnTo>
                <a:lnTo>
                  <a:pt x="4894111" y="3093936"/>
                </a:lnTo>
                <a:close/>
                <a:moveTo>
                  <a:pt x="4814736" y="3035198"/>
                </a:moveTo>
                <a:lnTo>
                  <a:pt x="4873474" y="3035198"/>
                </a:lnTo>
                <a:lnTo>
                  <a:pt x="4873474" y="3093936"/>
                </a:lnTo>
                <a:lnTo>
                  <a:pt x="4814736" y="3093936"/>
                </a:lnTo>
                <a:close/>
                <a:moveTo>
                  <a:pt x="4736948" y="3035198"/>
                </a:moveTo>
                <a:lnTo>
                  <a:pt x="4794098" y="3035198"/>
                </a:lnTo>
                <a:lnTo>
                  <a:pt x="4794098" y="3093936"/>
                </a:lnTo>
                <a:lnTo>
                  <a:pt x="4736948" y="3093936"/>
                </a:lnTo>
                <a:close/>
                <a:moveTo>
                  <a:pt x="4657573" y="3035198"/>
                </a:moveTo>
                <a:lnTo>
                  <a:pt x="4716311" y="3035198"/>
                </a:lnTo>
                <a:lnTo>
                  <a:pt x="4716311" y="3093936"/>
                </a:lnTo>
                <a:lnTo>
                  <a:pt x="4657573" y="3093936"/>
                </a:lnTo>
                <a:close/>
                <a:moveTo>
                  <a:pt x="4578198" y="3035198"/>
                </a:moveTo>
                <a:lnTo>
                  <a:pt x="4636936" y="3035198"/>
                </a:lnTo>
                <a:lnTo>
                  <a:pt x="4636936" y="3093936"/>
                </a:lnTo>
                <a:lnTo>
                  <a:pt x="4578198" y="3093936"/>
                </a:lnTo>
                <a:close/>
                <a:moveTo>
                  <a:pt x="4498823" y="3035198"/>
                </a:moveTo>
                <a:lnTo>
                  <a:pt x="4557561" y="3035198"/>
                </a:lnTo>
                <a:lnTo>
                  <a:pt x="4557561" y="3093936"/>
                </a:lnTo>
                <a:lnTo>
                  <a:pt x="4498823" y="3093936"/>
                </a:lnTo>
                <a:close/>
                <a:moveTo>
                  <a:pt x="3078011" y="3035198"/>
                </a:moveTo>
                <a:lnTo>
                  <a:pt x="3136749" y="3035198"/>
                </a:lnTo>
                <a:lnTo>
                  <a:pt x="3136749" y="3093936"/>
                </a:lnTo>
                <a:lnTo>
                  <a:pt x="3078011" y="3093936"/>
                </a:lnTo>
                <a:close/>
                <a:moveTo>
                  <a:pt x="3000223" y="3035198"/>
                </a:moveTo>
                <a:lnTo>
                  <a:pt x="3057373" y="3035198"/>
                </a:lnTo>
                <a:lnTo>
                  <a:pt x="3057373" y="3093936"/>
                </a:lnTo>
                <a:lnTo>
                  <a:pt x="3000223" y="3093936"/>
                </a:lnTo>
                <a:close/>
                <a:moveTo>
                  <a:pt x="2920848" y="3035198"/>
                </a:moveTo>
                <a:lnTo>
                  <a:pt x="2979586" y="3035198"/>
                </a:lnTo>
                <a:lnTo>
                  <a:pt x="2979586" y="3093936"/>
                </a:lnTo>
                <a:lnTo>
                  <a:pt x="2920848" y="3093936"/>
                </a:lnTo>
                <a:close/>
                <a:moveTo>
                  <a:pt x="2841473" y="3035198"/>
                </a:moveTo>
                <a:lnTo>
                  <a:pt x="2900211" y="3035198"/>
                </a:lnTo>
                <a:lnTo>
                  <a:pt x="2900211" y="3093936"/>
                </a:lnTo>
                <a:lnTo>
                  <a:pt x="2841473" y="3093936"/>
                </a:lnTo>
                <a:close/>
                <a:moveTo>
                  <a:pt x="2763686" y="3035198"/>
                </a:moveTo>
                <a:lnTo>
                  <a:pt x="2820836" y="3035198"/>
                </a:lnTo>
                <a:lnTo>
                  <a:pt x="2820836" y="3093936"/>
                </a:lnTo>
                <a:lnTo>
                  <a:pt x="2763686" y="3093936"/>
                </a:lnTo>
                <a:close/>
                <a:moveTo>
                  <a:pt x="2684311" y="3035198"/>
                </a:moveTo>
                <a:lnTo>
                  <a:pt x="2743049" y="3035198"/>
                </a:lnTo>
                <a:lnTo>
                  <a:pt x="2743049" y="3093936"/>
                </a:lnTo>
                <a:lnTo>
                  <a:pt x="2684311" y="3093936"/>
                </a:lnTo>
                <a:close/>
                <a:moveTo>
                  <a:pt x="2604936" y="3035198"/>
                </a:moveTo>
                <a:lnTo>
                  <a:pt x="2663674" y="3035198"/>
                </a:lnTo>
                <a:lnTo>
                  <a:pt x="2663674" y="3093936"/>
                </a:lnTo>
                <a:lnTo>
                  <a:pt x="2604936" y="3093936"/>
                </a:lnTo>
                <a:close/>
                <a:moveTo>
                  <a:pt x="2525630" y="3035198"/>
                </a:moveTo>
                <a:lnTo>
                  <a:pt x="2584367" y="3035198"/>
                </a:lnTo>
                <a:lnTo>
                  <a:pt x="2584367" y="3093936"/>
                </a:lnTo>
                <a:lnTo>
                  <a:pt x="2525630" y="3093936"/>
                </a:lnTo>
                <a:close/>
                <a:moveTo>
                  <a:pt x="2447839" y="3035198"/>
                </a:moveTo>
                <a:lnTo>
                  <a:pt x="2504993" y="3035198"/>
                </a:lnTo>
                <a:lnTo>
                  <a:pt x="2504993" y="3093936"/>
                </a:lnTo>
                <a:lnTo>
                  <a:pt x="2447839" y="3093936"/>
                </a:lnTo>
                <a:close/>
                <a:moveTo>
                  <a:pt x="2368468" y="3035198"/>
                </a:moveTo>
                <a:lnTo>
                  <a:pt x="2427204" y="3035198"/>
                </a:lnTo>
                <a:lnTo>
                  <a:pt x="2427204" y="3093936"/>
                </a:lnTo>
                <a:lnTo>
                  <a:pt x="2368468" y="3093936"/>
                </a:lnTo>
                <a:close/>
                <a:moveTo>
                  <a:pt x="2289091" y="3035198"/>
                </a:moveTo>
                <a:lnTo>
                  <a:pt x="2347831" y="3035198"/>
                </a:lnTo>
                <a:lnTo>
                  <a:pt x="2347831" y="3093936"/>
                </a:lnTo>
                <a:lnTo>
                  <a:pt x="2289091" y="3093936"/>
                </a:lnTo>
                <a:close/>
                <a:moveTo>
                  <a:pt x="2209714" y="3035198"/>
                </a:moveTo>
                <a:lnTo>
                  <a:pt x="2268453" y="3035198"/>
                </a:lnTo>
                <a:lnTo>
                  <a:pt x="2268453" y="3093936"/>
                </a:lnTo>
                <a:lnTo>
                  <a:pt x="2209714" y="3093936"/>
                </a:lnTo>
                <a:close/>
                <a:moveTo>
                  <a:pt x="8367561" y="2957410"/>
                </a:moveTo>
                <a:lnTo>
                  <a:pt x="8426299" y="2957410"/>
                </a:lnTo>
                <a:lnTo>
                  <a:pt x="8426299" y="3016148"/>
                </a:lnTo>
                <a:lnTo>
                  <a:pt x="8367561" y="3016148"/>
                </a:lnTo>
                <a:close/>
                <a:moveTo>
                  <a:pt x="7499198" y="2957410"/>
                </a:moveTo>
                <a:lnTo>
                  <a:pt x="7557936" y="2957410"/>
                </a:lnTo>
                <a:lnTo>
                  <a:pt x="7557936" y="3016148"/>
                </a:lnTo>
                <a:lnTo>
                  <a:pt x="7499198" y="3016148"/>
                </a:lnTo>
                <a:close/>
                <a:moveTo>
                  <a:pt x="7419823" y="2957410"/>
                </a:moveTo>
                <a:lnTo>
                  <a:pt x="7478561" y="2957410"/>
                </a:lnTo>
                <a:lnTo>
                  <a:pt x="7478561" y="3016148"/>
                </a:lnTo>
                <a:lnTo>
                  <a:pt x="7419823" y="3016148"/>
                </a:lnTo>
                <a:close/>
                <a:moveTo>
                  <a:pt x="7342036" y="2957410"/>
                </a:moveTo>
                <a:lnTo>
                  <a:pt x="7400774" y="2957410"/>
                </a:lnTo>
                <a:lnTo>
                  <a:pt x="7400774" y="3016148"/>
                </a:lnTo>
                <a:lnTo>
                  <a:pt x="7342036" y="3016148"/>
                </a:lnTo>
                <a:close/>
                <a:moveTo>
                  <a:pt x="7262661" y="2957410"/>
                </a:moveTo>
                <a:lnTo>
                  <a:pt x="7321399" y="2957410"/>
                </a:lnTo>
                <a:lnTo>
                  <a:pt x="7321399" y="3016148"/>
                </a:lnTo>
                <a:lnTo>
                  <a:pt x="7262661" y="3016148"/>
                </a:lnTo>
                <a:close/>
                <a:moveTo>
                  <a:pt x="7183286" y="2957410"/>
                </a:moveTo>
                <a:lnTo>
                  <a:pt x="7242024" y="2957410"/>
                </a:lnTo>
                <a:lnTo>
                  <a:pt x="7242024" y="3016148"/>
                </a:lnTo>
                <a:lnTo>
                  <a:pt x="7183286" y="3016148"/>
                </a:lnTo>
                <a:close/>
                <a:moveTo>
                  <a:pt x="7105498" y="2957410"/>
                </a:moveTo>
                <a:lnTo>
                  <a:pt x="7162648" y="2957410"/>
                </a:lnTo>
                <a:lnTo>
                  <a:pt x="7162648" y="3016148"/>
                </a:lnTo>
                <a:lnTo>
                  <a:pt x="7105498" y="3016148"/>
                </a:lnTo>
                <a:close/>
                <a:moveTo>
                  <a:pt x="7026123" y="2957410"/>
                </a:moveTo>
                <a:lnTo>
                  <a:pt x="7084861" y="2957410"/>
                </a:lnTo>
                <a:lnTo>
                  <a:pt x="7084861" y="3016148"/>
                </a:lnTo>
                <a:lnTo>
                  <a:pt x="7026123" y="3016148"/>
                </a:lnTo>
                <a:close/>
                <a:moveTo>
                  <a:pt x="6946748" y="2957410"/>
                </a:moveTo>
                <a:lnTo>
                  <a:pt x="7005486" y="2957410"/>
                </a:lnTo>
                <a:lnTo>
                  <a:pt x="7005486" y="3016148"/>
                </a:lnTo>
                <a:lnTo>
                  <a:pt x="6946748" y="3016148"/>
                </a:lnTo>
                <a:close/>
                <a:moveTo>
                  <a:pt x="6710211" y="2957410"/>
                </a:moveTo>
                <a:lnTo>
                  <a:pt x="6768949" y="2957410"/>
                </a:lnTo>
                <a:lnTo>
                  <a:pt x="6768949" y="3016148"/>
                </a:lnTo>
                <a:lnTo>
                  <a:pt x="6710211" y="3016148"/>
                </a:lnTo>
                <a:close/>
                <a:moveTo>
                  <a:pt x="5289398" y="2957410"/>
                </a:moveTo>
                <a:lnTo>
                  <a:pt x="5348136" y="2957410"/>
                </a:lnTo>
                <a:lnTo>
                  <a:pt x="5348136" y="3016148"/>
                </a:lnTo>
                <a:lnTo>
                  <a:pt x="5289398" y="3016148"/>
                </a:lnTo>
                <a:close/>
                <a:moveTo>
                  <a:pt x="5210023" y="2957410"/>
                </a:moveTo>
                <a:lnTo>
                  <a:pt x="5268761" y="2957410"/>
                </a:lnTo>
                <a:lnTo>
                  <a:pt x="5268761" y="3016148"/>
                </a:lnTo>
                <a:lnTo>
                  <a:pt x="5210023" y="3016148"/>
                </a:lnTo>
                <a:close/>
                <a:moveTo>
                  <a:pt x="5130648" y="2957410"/>
                </a:moveTo>
                <a:lnTo>
                  <a:pt x="5189386" y="2957410"/>
                </a:lnTo>
                <a:lnTo>
                  <a:pt x="5189386" y="3016148"/>
                </a:lnTo>
                <a:lnTo>
                  <a:pt x="5130648" y="3016148"/>
                </a:lnTo>
                <a:close/>
                <a:moveTo>
                  <a:pt x="5052861" y="2957410"/>
                </a:moveTo>
                <a:lnTo>
                  <a:pt x="5110011" y="2957410"/>
                </a:lnTo>
                <a:lnTo>
                  <a:pt x="5110011" y="3016148"/>
                </a:lnTo>
                <a:lnTo>
                  <a:pt x="5052861" y="3016148"/>
                </a:lnTo>
                <a:close/>
                <a:moveTo>
                  <a:pt x="4973486" y="2957410"/>
                </a:moveTo>
                <a:lnTo>
                  <a:pt x="5030636" y="2957410"/>
                </a:lnTo>
                <a:lnTo>
                  <a:pt x="5030636" y="3016148"/>
                </a:lnTo>
                <a:lnTo>
                  <a:pt x="4973486" y="3016148"/>
                </a:lnTo>
                <a:close/>
                <a:moveTo>
                  <a:pt x="4894111" y="2957410"/>
                </a:moveTo>
                <a:lnTo>
                  <a:pt x="4952849" y="2957410"/>
                </a:lnTo>
                <a:lnTo>
                  <a:pt x="4952849" y="3016148"/>
                </a:lnTo>
                <a:lnTo>
                  <a:pt x="4894111" y="3016148"/>
                </a:lnTo>
                <a:close/>
                <a:moveTo>
                  <a:pt x="4814736" y="2957410"/>
                </a:moveTo>
                <a:lnTo>
                  <a:pt x="4873474" y="2957410"/>
                </a:lnTo>
                <a:lnTo>
                  <a:pt x="4873474" y="3016148"/>
                </a:lnTo>
                <a:lnTo>
                  <a:pt x="4814736" y="3016148"/>
                </a:lnTo>
                <a:close/>
                <a:moveTo>
                  <a:pt x="4736949" y="2957410"/>
                </a:moveTo>
                <a:lnTo>
                  <a:pt x="4794099" y="2957410"/>
                </a:lnTo>
                <a:lnTo>
                  <a:pt x="4794099" y="3016148"/>
                </a:lnTo>
                <a:lnTo>
                  <a:pt x="4736949" y="3016148"/>
                </a:lnTo>
                <a:close/>
                <a:moveTo>
                  <a:pt x="4657574" y="2957410"/>
                </a:moveTo>
                <a:lnTo>
                  <a:pt x="4716312" y="2957410"/>
                </a:lnTo>
                <a:lnTo>
                  <a:pt x="4716312" y="3016148"/>
                </a:lnTo>
                <a:lnTo>
                  <a:pt x="4657574" y="3016148"/>
                </a:lnTo>
                <a:close/>
                <a:moveTo>
                  <a:pt x="4578199" y="2957410"/>
                </a:moveTo>
                <a:lnTo>
                  <a:pt x="4636937" y="2957410"/>
                </a:lnTo>
                <a:lnTo>
                  <a:pt x="4636937" y="3016148"/>
                </a:lnTo>
                <a:lnTo>
                  <a:pt x="4578199" y="3016148"/>
                </a:lnTo>
                <a:close/>
                <a:moveTo>
                  <a:pt x="4498824" y="2957410"/>
                </a:moveTo>
                <a:lnTo>
                  <a:pt x="4557562" y="2957410"/>
                </a:lnTo>
                <a:lnTo>
                  <a:pt x="4557562" y="3016148"/>
                </a:lnTo>
                <a:lnTo>
                  <a:pt x="4498824" y="3016148"/>
                </a:lnTo>
                <a:close/>
                <a:moveTo>
                  <a:pt x="4421036" y="2957410"/>
                </a:moveTo>
                <a:lnTo>
                  <a:pt x="4479774" y="2957410"/>
                </a:lnTo>
                <a:lnTo>
                  <a:pt x="4479774" y="3016148"/>
                </a:lnTo>
                <a:lnTo>
                  <a:pt x="4421036" y="3016148"/>
                </a:lnTo>
                <a:close/>
                <a:moveTo>
                  <a:pt x="3000224" y="2957410"/>
                </a:moveTo>
                <a:lnTo>
                  <a:pt x="3057374" y="2957410"/>
                </a:lnTo>
                <a:lnTo>
                  <a:pt x="3057374" y="3016148"/>
                </a:lnTo>
                <a:lnTo>
                  <a:pt x="3000224" y="3016148"/>
                </a:lnTo>
                <a:close/>
                <a:moveTo>
                  <a:pt x="2920849" y="2957410"/>
                </a:moveTo>
                <a:lnTo>
                  <a:pt x="2979587" y="2957410"/>
                </a:lnTo>
                <a:lnTo>
                  <a:pt x="2979587" y="3016148"/>
                </a:lnTo>
                <a:lnTo>
                  <a:pt x="2920849" y="3016148"/>
                </a:lnTo>
                <a:close/>
                <a:moveTo>
                  <a:pt x="2841474" y="2957410"/>
                </a:moveTo>
                <a:lnTo>
                  <a:pt x="2900212" y="2957410"/>
                </a:lnTo>
                <a:lnTo>
                  <a:pt x="2900212" y="3016148"/>
                </a:lnTo>
                <a:lnTo>
                  <a:pt x="2841474" y="3016148"/>
                </a:lnTo>
                <a:close/>
                <a:moveTo>
                  <a:pt x="2763686" y="2957410"/>
                </a:moveTo>
                <a:lnTo>
                  <a:pt x="2820836" y="2957410"/>
                </a:lnTo>
                <a:lnTo>
                  <a:pt x="2820836" y="3016148"/>
                </a:lnTo>
                <a:lnTo>
                  <a:pt x="2763686" y="3016148"/>
                </a:lnTo>
                <a:close/>
                <a:moveTo>
                  <a:pt x="2684311" y="2957410"/>
                </a:moveTo>
                <a:lnTo>
                  <a:pt x="2743049" y="2957410"/>
                </a:lnTo>
                <a:lnTo>
                  <a:pt x="2743049" y="3016148"/>
                </a:lnTo>
                <a:lnTo>
                  <a:pt x="2684311" y="3016148"/>
                </a:lnTo>
                <a:close/>
                <a:moveTo>
                  <a:pt x="2604936" y="2957410"/>
                </a:moveTo>
                <a:lnTo>
                  <a:pt x="2663674" y="2957410"/>
                </a:lnTo>
                <a:lnTo>
                  <a:pt x="2663674" y="3016148"/>
                </a:lnTo>
                <a:lnTo>
                  <a:pt x="2604936" y="3016148"/>
                </a:lnTo>
                <a:close/>
                <a:moveTo>
                  <a:pt x="2525635" y="2957410"/>
                </a:moveTo>
                <a:lnTo>
                  <a:pt x="2584372" y="2957410"/>
                </a:lnTo>
                <a:lnTo>
                  <a:pt x="2584372" y="3016148"/>
                </a:lnTo>
                <a:lnTo>
                  <a:pt x="2525635" y="3016148"/>
                </a:lnTo>
                <a:close/>
                <a:moveTo>
                  <a:pt x="2447845" y="2957410"/>
                </a:moveTo>
                <a:lnTo>
                  <a:pt x="2505000" y="2957410"/>
                </a:lnTo>
                <a:lnTo>
                  <a:pt x="2505000" y="3016148"/>
                </a:lnTo>
                <a:lnTo>
                  <a:pt x="2447845" y="3016148"/>
                </a:lnTo>
                <a:close/>
                <a:moveTo>
                  <a:pt x="2368474" y="2957410"/>
                </a:moveTo>
                <a:lnTo>
                  <a:pt x="2427211" y="2957410"/>
                </a:lnTo>
                <a:lnTo>
                  <a:pt x="2427211" y="3016148"/>
                </a:lnTo>
                <a:lnTo>
                  <a:pt x="2368474" y="3016148"/>
                </a:lnTo>
                <a:close/>
                <a:moveTo>
                  <a:pt x="2289099" y="2957410"/>
                </a:moveTo>
                <a:lnTo>
                  <a:pt x="2347837" y="2957410"/>
                </a:lnTo>
                <a:lnTo>
                  <a:pt x="2347837" y="3016148"/>
                </a:lnTo>
                <a:lnTo>
                  <a:pt x="2289099" y="3016148"/>
                </a:lnTo>
                <a:close/>
                <a:moveTo>
                  <a:pt x="1893802" y="2957410"/>
                </a:moveTo>
                <a:lnTo>
                  <a:pt x="1952541" y="2957410"/>
                </a:lnTo>
                <a:lnTo>
                  <a:pt x="1952541" y="3016148"/>
                </a:lnTo>
                <a:lnTo>
                  <a:pt x="1893802" y="3016148"/>
                </a:lnTo>
                <a:close/>
                <a:moveTo>
                  <a:pt x="7183286" y="2879622"/>
                </a:moveTo>
                <a:lnTo>
                  <a:pt x="7242024" y="2879622"/>
                </a:lnTo>
                <a:lnTo>
                  <a:pt x="7242024" y="2938360"/>
                </a:lnTo>
                <a:lnTo>
                  <a:pt x="7183286" y="2938360"/>
                </a:lnTo>
                <a:close/>
                <a:moveTo>
                  <a:pt x="7105499" y="2879622"/>
                </a:moveTo>
                <a:lnTo>
                  <a:pt x="7162649" y="2879622"/>
                </a:lnTo>
                <a:lnTo>
                  <a:pt x="7162649" y="2938360"/>
                </a:lnTo>
                <a:lnTo>
                  <a:pt x="7105499" y="2938360"/>
                </a:lnTo>
                <a:close/>
                <a:moveTo>
                  <a:pt x="7026124" y="2879622"/>
                </a:moveTo>
                <a:lnTo>
                  <a:pt x="7084862" y="2879622"/>
                </a:lnTo>
                <a:lnTo>
                  <a:pt x="7084862" y="2938360"/>
                </a:lnTo>
                <a:lnTo>
                  <a:pt x="7026124" y="2938360"/>
                </a:lnTo>
                <a:close/>
                <a:moveTo>
                  <a:pt x="6789586" y="2879622"/>
                </a:moveTo>
                <a:lnTo>
                  <a:pt x="6846736" y="2879622"/>
                </a:lnTo>
                <a:lnTo>
                  <a:pt x="6846736" y="2938360"/>
                </a:lnTo>
                <a:lnTo>
                  <a:pt x="6789586" y="2938360"/>
                </a:lnTo>
                <a:close/>
                <a:moveTo>
                  <a:pt x="6710211" y="2879622"/>
                </a:moveTo>
                <a:lnTo>
                  <a:pt x="6768949" y="2879622"/>
                </a:lnTo>
                <a:lnTo>
                  <a:pt x="6768949" y="2938360"/>
                </a:lnTo>
                <a:lnTo>
                  <a:pt x="6710211" y="2938360"/>
                </a:lnTo>
                <a:close/>
                <a:moveTo>
                  <a:pt x="6630836" y="2879622"/>
                </a:moveTo>
                <a:lnTo>
                  <a:pt x="6689574" y="2879622"/>
                </a:lnTo>
                <a:lnTo>
                  <a:pt x="6689574" y="2938360"/>
                </a:lnTo>
                <a:lnTo>
                  <a:pt x="6630836" y="2938360"/>
                </a:lnTo>
                <a:close/>
                <a:moveTo>
                  <a:pt x="5368774" y="2879622"/>
                </a:moveTo>
                <a:lnTo>
                  <a:pt x="5425924" y="2879622"/>
                </a:lnTo>
                <a:lnTo>
                  <a:pt x="5425924" y="2938360"/>
                </a:lnTo>
                <a:lnTo>
                  <a:pt x="5368774" y="2938360"/>
                </a:lnTo>
                <a:close/>
                <a:moveTo>
                  <a:pt x="5289399" y="2879622"/>
                </a:moveTo>
                <a:lnTo>
                  <a:pt x="5348137" y="2879622"/>
                </a:lnTo>
                <a:lnTo>
                  <a:pt x="5348137" y="2938360"/>
                </a:lnTo>
                <a:lnTo>
                  <a:pt x="5289399" y="2938360"/>
                </a:lnTo>
                <a:close/>
                <a:moveTo>
                  <a:pt x="5210024" y="2879622"/>
                </a:moveTo>
                <a:lnTo>
                  <a:pt x="5268762" y="2879622"/>
                </a:lnTo>
                <a:lnTo>
                  <a:pt x="5268762" y="2938360"/>
                </a:lnTo>
                <a:lnTo>
                  <a:pt x="5210024" y="2938360"/>
                </a:lnTo>
                <a:close/>
                <a:moveTo>
                  <a:pt x="5130649" y="2879622"/>
                </a:moveTo>
                <a:lnTo>
                  <a:pt x="5189387" y="2879622"/>
                </a:lnTo>
                <a:lnTo>
                  <a:pt x="5189387" y="2938360"/>
                </a:lnTo>
                <a:lnTo>
                  <a:pt x="5130649" y="2938360"/>
                </a:lnTo>
                <a:close/>
                <a:moveTo>
                  <a:pt x="5052861" y="2879622"/>
                </a:moveTo>
                <a:lnTo>
                  <a:pt x="5110011" y="2879622"/>
                </a:lnTo>
                <a:lnTo>
                  <a:pt x="5110011" y="2938360"/>
                </a:lnTo>
                <a:lnTo>
                  <a:pt x="5052861" y="2938360"/>
                </a:lnTo>
                <a:close/>
                <a:moveTo>
                  <a:pt x="4973486" y="2879622"/>
                </a:moveTo>
                <a:lnTo>
                  <a:pt x="5030636" y="2879622"/>
                </a:lnTo>
                <a:lnTo>
                  <a:pt x="5030636" y="2938360"/>
                </a:lnTo>
                <a:lnTo>
                  <a:pt x="4973486" y="2938360"/>
                </a:lnTo>
                <a:close/>
                <a:moveTo>
                  <a:pt x="4894111" y="2879622"/>
                </a:moveTo>
                <a:lnTo>
                  <a:pt x="4952849" y="2879622"/>
                </a:lnTo>
                <a:lnTo>
                  <a:pt x="4952849" y="2938360"/>
                </a:lnTo>
                <a:lnTo>
                  <a:pt x="4894111" y="2938360"/>
                </a:lnTo>
                <a:close/>
                <a:moveTo>
                  <a:pt x="4814736" y="2879622"/>
                </a:moveTo>
                <a:lnTo>
                  <a:pt x="4873474" y="2879622"/>
                </a:lnTo>
                <a:lnTo>
                  <a:pt x="4873474" y="2938360"/>
                </a:lnTo>
                <a:lnTo>
                  <a:pt x="4814736" y="2938360"/>
                </a:lnTo>
                <a:close/>
                <a:moveTo>
                  <a:pt x="4736949" y="2879622"/>
                </a:moveTo>
                <a:lnTo>
                  <a:pt x="4794099" y="2879622"/>
                </a:lnTo>
                <a:lnTo>
                  <a:pt x="4794099" y="2938360"/>
                </a:lnTo>
                <a:lnTo>
                  <a:pt x="4736949" y="2938360"/>
                </a:lnTo>
                <a:close/>
                <a:moveTo>
                  <a:pt x="4657574" y="2879622"/>
                </a:moveTo>
                <a:lnTo>
                  <a:pt x="4716312" y="2879622"/>
                </a:lnTo>
                <a:lnTo>
                  <a:pt x="4716312" y="2938360"/>
                </a:lnTo>
                <a:lnTo>
                  <a:pt x="4657574" y="2938360"/>
                </a:lnTo>
                <a:close/>
                <a:moveTo>
                  <a:pt x="4578199" y="2879622"/>
                </a:moveTo>
                <a:lnTo>
                  <a:pt x="4636937" y="2879622"/>
                </a:lnTo>
                <a:lnTo>
                  <a:pt x="4636937" y="2938360"/>
                </a:lnTo>
                <a:lnTo>
                  <a:pt x="4578199" y="2938360"/>
                </a:lnTo>
                <a:close/>
                <a:moveTo>
                  <a:pt x="4498824" y="2879622"/>
                </a:moveTo>
                <a:lnTo>
                  <a:pt x="4557562" y="2879622"/>
                </a:lnTo>
                <a:lnTo>
                  <a:pt x="4557562" y="2938360"/>
                </a:lnTo>
                <a:lnTo>
                  <a:pt x="4498824" y="2938360"/>
                </a:lnTo>
                <a:close/>
                <a:moveTo>
                  <a:pt x="2920849" y="2879622"/>
                </a:moveTo>
                <a:lnTo>
                  <a:pt x="2979587" y="2879622"/>
                </a:lnTo>
                <a:lnTo>
                  <a:pt x="2979587" y="2938360"/>
                </a:lnTo>
                <a:lnTo>
                  <a:pt x="2920849" y="2938360"/>
                </a:lnTo>
                <a:close/>
                <a:moveTo>
                  <a:pt x="2841474" y="2879622"/>
                </a:moveTo>
                <a:lnTo>
                  <a:pt x="2900212" y="2879622"/>
                </a:lnTo>
                <a:lnTo>
                  <a:pt x="2900212" y="2938360"/>
                </a:lnTo>
                <a:lnTo>
                  <a:pt x="2841474" y="2938360"/>
                </a:lnTo>
                <a:close/>
                <a:moveTo>
                  <a:pt x="2763686" y="2879622"/>
                </a:moveTo>
                <a:lnTo>
                  <a:pt x="2820836" y="2879622"/>
                </a:lnTo>
                <a:lnTo>
                  <a:pt x="2820836" y="2938360"/>
                </a:lnTo>
                <a:lnTo>
                  <a:pt x="2763686" y="2938360"/>
                </a:lnTo>
                <a:close/>
                <a:moveTo>
                  <a:pt x="2684311" y="2879622"/>
                </a:moveTo>
                <a:lnTo>
                  <a:pt x="2743049" y="2879622"/>
                </a:lnTo>
                <a:lnTo>
                  <a:pt x="2743049" y="2938360"/>
                </a:lnTo>
                <a:lnTo>
                  <a:pt x="2684311" y="2938360"/>
                </a:lnTo>
                <a:close/>
                <a:moveTo>
                  <a:pt x="2604936" y="2879622"/>
                </a:moveTo>
                <a:lnTo>
                  <a:pt x="2663674" y="2879622"/>
                </a:lnTo>
                <a:lnTo>
                  <a:pt x="2663674" y="2938360"/>
                </a:lnTo>
                <a:lnTo>
                  <a:pt x="2604936" y="2938360"/>
                </a:lnTo>
                <a:close/>
                <a:moveTo>
                  <a:pt x="2525639" y="2879622"/>
                </a:moveTo>
                <a:lnTo>
                  <a:pt x="2584377" y="2879622"/>
                </a:lnTo>
                <a:lnTo>
                  <a:pt x="2584377" y="2938360"/>
                </a:lnTo>
                <a:lnTo>
                  <a:pt x="2525639" y="2938360"/>
                </a:lnTo>
                <a:close/>
                <a:moveTo>
                  <a:pt x="2447849" y="2879622"/>
                </a:moveTo>
                <a:lnTo>
                  <a:pt x="2505004" y="2879622"/>
                </a:lnTo>
                <a:lnTo>
                  <a:pt x="2505004" y="2938360"/>
                </a:lnTo>
                <a:lnTo>
                  <a:pt x="2447849" y="2938360"/>
                </a:lnTo>
                <a:close/>
                <a:moveTo>
                  <a:pt x="2368479" y="2879622"/>
                </a:moveTo>
                <a:lnTo>
                  <a:pt x="2427214" y="2879622"/>
                </a:lnTo>
                <a:lnTo>
                  <a:pt x="2427214" y="2938360"/>
                </a:lnTo>
                <a:lnTo>
                  <a:pt x="2368479" y="2938360"/>
                </a:lnTo>
                <a:close/>
                <a:moveTo>
                  <a:pt x="2289103" y="2879622"/>
                </a:moveTo>
                <a:lnTo>
                  <a:pt x="2347841" y="2879622"/>
                </a:lnTo>
                <a:lnTo>
                  <a:pt x="2347841" y="2938360"/>
                </a:lnTo>
                <a:lnTo>
                  <a:pt x="2289103" y="2938360"/>
                </a:lnTo>
                <a:close/>
                <a:moveTo>
                  <a:pt x="8289774" y="2803422"/>
                </a:moveTo>
                <a:lnTo>
                  <a:pt x="8346924" y="2803422"/>
                </a:lnTo>
                <a:lnTo>
                  <a:pt x="8346924" y="2860572"/>
                </a:lnTo>
                <a:lnTo>
                  <a:pt x="8289774" y="2860572"/>
                </a:lnTo>
                <a:close/>
                <a:moveTo>
                  <a:pt x="7894486" y="2803422"/>
                </a:moveTo>
                <a:lnTo>
                  <a:pt x="7951636" y="2803422"/>
                </a:lnTo>
                <a:lnTo>
                  <a:pt x="7951636" y="2860572"/>
                </a:lnTo>
                <a:lnTo>
                  <a:pt x="7894486" y="2860572"/>
                </a:lnTo>
                <a:close/>
                <a:moveTo>
                  <a:pt x="7262661" y="2803422"/>
                </a:moveTo>
                <a:lnTo>
                  <a:pt x="7321399" y="2803422"/>
                </a:lnTo>
                <a:lnTo>
                  <a:pt x="7321399" y="2860572"/>
                </a:lnTo>
                <a:lnTo>
                  <a:pt x="7262661" y="2860572"/>
                </a:lnTo>
                <a:close/>
                <a:moveTo>
                  <a:pt x="7183286" y="2803422"/>
                </a:moveTo>
                <a:lnTo>
                  <a:pt x="7242024" y="2803422"/>
                </a:lnTo>
                <a:lnTo>
                  <a:pt x="7242024" y="2860572"/>
                </a:lnTo>
                <a:lnTo>
                  <a:pt x="7183286" y="2860572"/>
                </a:lnTo>
                <a:close/>
                <a:moveTo>
                  <a:pt x="7105499" y="2803422"/>
                </a:moveTo>
                <a:lnTo>
                  <a:pt x="7162649" y="2803422"/>
                </a:lnTo>
                <a:lnTo>
                  <a:pt x="7162649" y="2860572"/>
                </a:lnTo>
                <a:lnTo>
                  <a:pt x="7105499" y="2860572"/>
                </a:lnTo>
                <a:close/>
                <a:moveTo>
                  <a:pt x="6789586" y="2803422"/>
                </a:moveTo>
                <a:lnTo>
                  <a:pt x="6846736" y="2803422"/>
                </a:lnTo>
                <a:lnTo>
                  <a:pt x="6846736" y="2860572"/>
                </a:lnTo>
                <a:lnTo>
                  <a:pt x="6789586" y="2860572"/>
                </a:lnTo>
                <a:close/>
                <a:moveTo>
                  <a:pt x="6710211" y="2803422"/>
                </a:moveTo>
                <a:lnTo>
                  <a:pt x="6768949" y="2803422"/>
                </a:lnTo>
                <a:lnTo>
                  <a:pt x="6768949" y="2860572"/>
                </a:lnTo>
                <a:lnTo>
                  <a:pt x="6710211" y="2860572"/>
                </a:lnTo>
                <a:close/>
                <a:moveTo>
                  <a:pt x="6235549" y="2803422"/>
                </a:moveTo>
                <a:lnTo>
                  <a:pt x="6294287" y="2803422"/>
                </a:lnTo>
                <a:lnTo>
                  <a:pt x="6294287" y="2860572"/>
                </a:lnTo>
                <a:lnTo>
                  <a:pt x="6235549" y="2860572"/>
                </a:lnTo>
                <a:close/>
                <a:moveTo>
                  <a:pt x="5446561" y="2803422"/>
                </a:moveTo>
                <a:lnTo>
                  <a:pt x="5505299" y="2803422"/>
                </a:lnTo>
                <a:lnTo>
                  <a:pt x="5505299" y="2860572"/>
                </a:lnTo>
                <a:lnTo>
                  <a:pt x="5446561" y="2860572"/>
                </a:lnTo>
                <a:close/>
                <a:moveTo>
                  <a:pt x="5368774" y="2803422"/>
                </a:moveTo>
                <a:lnTo>
                  <a:pt x="5425924" y="2803422"/>
                </a:lnTo>
                <a:lnTo>
                  <a:pt x="5425924" y="2860572"/>
                </a:lnTo>
                <a:lnTo>
                  <a:pt x="5368774" y="2860572"/>
                </a:lnTo>
                <a:close/>
                <a:moveTo>
                  <a:pt x="5289399" y="2803422"/>
                </a:moveTo>
                <a:lnTo>
                  <a:pt x="5348137" y="2803422"/>
                </a:lnTo>
                <a:lnTo>
                  <a:pt x="5348137" y="2860572"/>
                </a:lnTo>
                <a:lnTo>
                  <a:pt x="5289399" y="2860572"/>
                </a:lnTo>
                <a:close/>
                <a:moveTo>
                  <a:pt x="5210024" y="2803422"/>
                </a:moveTo>
                <a:lnTo>
                  <a:pt x="5268762" y="2803422"/>
                </a:lnTo>
                <a:lnTo>
                  <a:pt x="5268762" y="2860572"/>
                </a:lnTo>
                <a:lnTo>
                  <a:pt x="5210024" y="2860572"/>
                </a:lnTo>
                <a:close/>
                <a:moveTo>
                  <a:pt x="5130649" y="2803422"/>
                </a:moveTo>
                <a:lnTo>
                  <a:pt x="5189387" y="2803422"/>
                </a:lnTo>
                <a:lnTo>
                  <a:pt x="5189387" y="2860572"/>
                </a:lnTo>
                <a:lnTo>
                  <a:pt x="5130649" y="2860572"/>
                </a:lnTo>
                <a:close/>
                <a:moveTo>
                  <a:pt x="5052861" y="2803422"/>
                </a:moveTo>
                <a:lnTo>
                  <a:pt x="5110011" y="2803422"/>
                </a:lnTo>
                <a:lnTo>
                  <a:pt x="5110011" y="2860572"/>
                </a:lnTo>
                <a:lnTo>
                  <a:pt x="5052861" y="2860572"/>
                </a:lnTo>
                <a:close/>
                <a:moveTo>
                  <a:pt x="4973486" y="2803422"/>
                </a:moveTo>
                <a:lnTo>
                  <a:pt x="5030636" y="2803422"/>
                </a:lnTo>
                <a:lnTo>
                  <a:pt x="5030636" y="2860572"/>
                </a:lnTo>
                <a:lnTo>
                  <a:pt x="4973486" y="2860572"/>
                </a:lnTo>
                <a:close/>
                <a:moveTo>
                  <a:pt x="4894111" y="2803422"/>
                </a:moveTo>
                <a:lnTo>
                  <a:pt x="4952849" y="2803422"/>
                </a:lnTo>
                <a:lnTo>
                  <a:pt x="4952849" y="2860572"/>
                </a:lnTo>
                <a:lnTo>
                  <a:pt x="4894111" y="2860572"/>
                </a:lnTo>
                <a:close/>
                <a:moveTo>
                  <a:pt x="4814736" y="2803422"/>
                </a:moveTo>
                <a:lnTo>
                  <a:pt x="4873474" y="2803422"/>
                </a:lnTo>
                <a:lnTo>
                  <a:pt x="4873474" y="2860572"/>
                </a:lnTo>
                <a:lnTo>
                  <a:pt x="4814736" y="2860572"/>
                </a:lnTo>
                <a:close/>
                <a:moveTo>
                  <a:pt x="4736949" y="2803422"/>
                </a:moveTo>
                <a:lnTo>
                  <a:pt x="4794099" y="2803422"/>
                </a:lnTo>
                <a:lnTo>
                  <a:pt x="4794099" y="2860572"/>
                </a:lnTo>
                <a:lnTo>
                  <a:pt x="4736949" y="2860572"/>
                </a:lnTo>
                <a:close/>
                <a:moveTo>
                  <a:pt x="4657574" y="2803422"/>
                </a:moveTo>
                <a:lnTo>
                  <a:pt x="4716312" y="2803422"/>
                </a:lnTo>
                <a:lnTo>
                  <a:pt x="4716312" y="2860572"/>
                </a:lnTo>
                <a:lnTo>
                  <a:pt x="4657574" y="2860572"/>
                </a:lnTo>
                <a:close/>
                <a:moveTo>
                  <a:pt x="4578199" y="2803422"/>
                </a:moveTo>
                <a:lnTo>
                  <a:pt x="4636937" y="2803422"/>
                </a:lnTo>
                <a:lnTo>
                  <a:pt x="4636937" y="2860572"/>
                </a:lnTo>
                <a:lnTo>
                  <a:pt x="4578199" y="2860572"/>
                </a:lnTo>
                <a:close/>
                <a:moveTo>
                  <a:pt x="4498824" y="2803422"/>
                </a:moveTo>
                <a:lnTo>
                  <a:pt x="4557562" y="2803422"/>
                </a:lnTo>
                <a:lnTo>
                  <a:pt x="4557562" y="2860572"/>
                </a:lnTo>
                <a:lnTo>
                  <a:pt x="4498824" y="2860572"/>
                </a:lnTo>
                <a:close/>
                <a:moveTo>
                  <a:pt x="4421036" y="2803422"/>
                </a:moveTo>
                <a:lnTo>
                  <a:pt x="4479774" y="2803422"/>
                </a:lnTo>
                <a:lnTo>
                  <a:pt x="4479774" y="2860572"/>
                </a:lnTo>
                <a:lnTo>
                  <a:pt x="4421036" y="2860572"/>
                </a:lnTo>
                <a:close/>
                <a:moveTo>
                  <a:pt x="4184499" y="2803422"/>
                </a:moveTo>
                <a:lnTo>
                  <a:pt x="4241649" y="2803422"/>
                </a:lnTo>
                <a:lnTo>
                  <a:pt x="4241649" y="2860572"/>
                </a:lnTo>
                <a:lnTo>
                  <a:pt x="4184499" y="2860572"/>
                </a:lnTo>
                <a:close/>
                <a:moveTo>
                  <a:pt x="4105124" y="2803422"/>
                </a:moveTo>
                <a:lnTo>
                  <a:pt x="4163862" y="2803422"/>
                </a:lnTo>
                <a:lnTo>
                  <a:pt x="4163862" y="2860572"/>
                </a:lnTo>
                <a:lnTo>
                  <a:pt x="4105124" y="2860572"/>
                </a:lnTo>
                <a:close/>
                <a:moveTo>
                  <a:pt x="4025749" y="2803422"/>
                </a:moveTo>
                <a:lnTo>
                  <a:pt x="4084487" y="2803422"/>
                </a:lnTo>
                <a:lnTo>
                  <a:pt x="4084487" y="2860572"/>
                </a:lnTo>
                <a:lnTo>
                  <a:pt x="4025749" y="2860572"/>
                </a:lnTo>
                <a:close/>
                <a:moveTo>
                  <a:pt x="2763686" y="2803422"/>
                </a:moveTo>
                <a:lnTo>
                  <a:pt x="2820836" y="2803422"/>
                </a:lnTo>
                <a:lnTo>
                  <a:pt x="2820836" y="2860572"/>
                </a:lnTo>
                <a:lnTo>
                  <a:pt x="2763686" y="2860572"/>
                </a:lnTo>
                <a:close/>
                <a:moveTo>
                  <a:pt x="2684311" y="2803422"/>
                </a:moveTo>
                <a:lnTo>
                  <a:pt x="2743049" y="2803422"/>
                </a:lnTo>
                <a:lnTo>
                  <a:pt x="2743049" y="2860572"/>
                </a:lnTo>
                <a:lnTo>
                  <a:pt x="2684311" y="2860572"/>
                </a:lnTo>
                <a:close/>
                <a:moveTo>
                  <a:pt x="2604936" y="2803422"/>
                </a:moveTo>
                <a:lnTo>
                  <a:pt x="2663674" y="2803422"/>
                </a:lnTo>
                <a:lnTo>
                  <a:pt x="2663674" y="2860572"/>
                </a:lnTo>
                <a:lnTo>
                  <a:pt x="2604936" y="2860572"/>
                </a:lnTo>
                <a:close/>
                <a:moveTo>
                  <a:pt x="2525642" y="2803422"/>
                </a:moveTo>
                <a:lnTo>
                  <a:pt x="2584380" y="2803422"/>
                </a:lnTo>
                <a:lnTo>
                  <a:pt x="2584380" y="2860572"/>
                </a:lnTo>
                <a:lnTo>
                  <a:pt x="2525642" y="2860572"/>
                </a:lnTo>
                <a:close/>
                <a:moveTo>
                  <a:pt x="2447852" y="2803422"/>
                </a:moveTo>
                <a:lnTo>
                  <a:pt x="2505007" y="2803422"/>
                </a:lnTo>
                <a:lnTo>
                  <a:pt x="2505007" y="2860572"/>
                </a:lnTo>
                <a:lnTo>
                  <a:pt x="2447852" y="2860572"/>
                </a:lnTo>
                <a:close/>
                <a:moveTo>
                  <a:pt x="2368481" y="2803422"/>
                </a:moveTo>
                <a:lnTo>
                  <a:pt x="2427217" y="2803422"/>
                </a:lnTo>
                <a:lnTo>
                  <a:pt x="2427217" y="2860572"/>
                </a:lnTo>
                <a:lnTo>
                  <a:pt x="2368481" y="2860572"/>
                </a:lnTo>
                <a:close/>
                <a:moveTo>
                  <a:pt x="8526311" y="2724047"/>
                </a:moveTo>
                <a:lnTo>
                  <a:pt x="8583461" y="2724047"/>
                </a:lnTo>
                <a:lnTo>
                  <a:pt x="8583461" y="2782785"/>
                </a:lnTo>
                <a:lnTo>
                  <a:pt x="8526311" y="2782785"/>
                </a:lnTo>
                <a:close/>
                <a:moveTo>
                  <a:pt x="8051649" y="2724047"/>
                </a:moveTo>
                <a:lnTo>
                  <a:pt x="8110387" y="2724047"/>
                </a:lnTo>
                <a:lnTo>
                  <a:pt x="8110387" y="2782785"/>
                </a:lnTo>
                <a:lnTo>
                  <a:pt x="8051649" y="2782785"/>
                </a:lnTo>
                <a:close/>
                <a:moveTo>
                  <a:pt x="7973861" y="2724047"/>
                </a:moveTo>
                <a:lnTo>
                  <a:pt x="8031011" y="2724047"/>
                </a:lnTo>
                <a:lnTo>
                  <a:pt x="8031011" y="2782785"/>
                </a:lnTo>
                <a:lnTo>
                  <a:pt x="7973861" y="2782785"/>
                </a:lnTo>
                <a:close/>
                <a:moveTo>
                  <a:pt x="7342036" y="2724047"/>
                </a:moveTo>
                <a:lnTo>
                  <a:pt x="7400774" y="2724047"/>
                </a:lnTo>
                <a:lnTo>
                  <a:pt x="7400774" y="2782785"/>
                </a:lnTo>
                <a:lnTo>
                  <a:pt x="7342036" y="2782785"/>
                </a:lnTo>
                <a:close/>
                <a:moveTo>
                  <a:pt x="6710211" y="2724047"/>
                </a:moveTo>
                <a:lnTo>
                  <a:pt x="6768949" y="2724047"/>
                </a:lnTo>
                <a:lnTo>
                  <a:pt x="6768949" y="2782785"/>
                </a:lnTo>
                <a:lnTo>
                  <a:pt x="6710211" y="2782785"/>
                </a:lnTo>
                <a:close/>
                <a:moveTo>
                  <a:pt x="6235549" y="2724047"/>
                </a:moveTo>
                <a:lnTo>
                  <a:pt x="6294287" y="2724047"/>
                </a:lnTo>
                <a:lnTo>
                  <a:pt x="6294287" y="2782785"/>
                </a:lnTo>
                <a:lnTo>
                  <a:pt x="6235549" y="2782785"/>
                </a:lnTo>
                <a:close/>
                <a:moveTo>
                  <a:pt x="6157761" y="2724047"/>
                </a:moveTo>
                <a:lnTo>
                  <a:pt x="6214911" y="2724047"/>
                </a:lnTo>
                <a:lnTo>
                  <a:pt x="6214911" y="2782785"/>
                </a:lnTo>
                <a:lnTo>
                  <a:pt x="6157761" y="2782785"/>
                </a:lnTo>
                <a:close/>
                <a:moveTo>
                  <a:pt x="6078386" y="2724047"/>
                </a:moveTo>
                <a:lnTo>
                  <a:pt x="6137124" y="2724047"/>
                </a:lnTo>
                <a:lnTo>
                  <a:pt x="6137124" y="2782785"/>
                </a:lnTo>
                <a:lnTo>
                  <a:pt x="6078386" y="2782785"/>
                </a:lnTo>
                <a:close/>
                <a:moveTo>
                  <a:pt x="5446561" y="2724047"/>
                </a:moveTo>
                <a:lnTo>
                  <a:pt x="5505299" y="2724047"/>
                </a:lnTo>
                <a:lnTo>
                  <a:pt x="5505299" y="2782785"/>
                </a:lnTo>
                <a:lnTo>
                  <a:pt x="5446561" y="2782785"/>
                </a:lnTo>
                <a:close/>
                <a:moveTo>
                  <a:pt x="5368774" y="2724047"/>
                </a:moveTo>
                <a:lnTo>
                  <a:pt x="5425924" y="2724047"/>
                </a:lnTo>
                <a:lnTo>
                  <a:pt x="5425924" y="2782785"/>
                </a:lnTo>
                <a:lnTo>
                  <a:pt x="5368774" y="2782785"/>
                </a:lnTo>
                <a:close/>
                <a:moveTo>
                  <a:pt x="5289399" y="2724047"/>
                </a:moveTo>
                <a:lnTo>
                  <a:pt x="5348137" y="2724047"/>
                </a:lnTo>
                <a:lnTo>
                  <a:pt x="5348137" y="2782785"/>
                </a:lnTo>
                <a:lnTo>
                  <a:pt x="5289399" y="2782785"/>
                </a:lnTo>
                <a:close/>
                <a:moveTo>
                  <a:pt x="5210024" y="2724047"/>
                </a:moveTo>
                <a:lnTo>
                  <a:pt x="5268762" y="2724047"/>
                </a:lnTo>
                <a:lnTo>
                  <a:pt x="5268762" y="2782785"/>
                </a:lnTo>
                <a:lnTo>
                  <a:pt x="5210024" y="2782785"/>
                </a:lnTo>
                <a:close/>
                <a:moveTo>
                  <a:pt x="5130649" y="2724047"/>
                </a:moveTo>
                <a:lnTo>
                  <a:pt x="5189387" y="2724047"/>
                </a:lnTo>
                <a:lnTo>
                  <a:pt x="5189387" y="2782785"/>
                </a:lnTo>
                <a:lnTo>
                  <a:pt x="5130649" y="2782785"/>
                </a:lnTo>
                <a:close/>
                <a:moveTo>
                  <a:pt x="5052861" y="2724047"/>
                </a:moveTo>
                <a:lnTo>
                  <a:pt x="5110011" y="2724047"/>
                </a:lnTo>
                <a:lnTo>
                  <a:pt x="5110011" y="2782785"/>
                </a:lnTo>
                <a:lnTo>
                  <a:pt x="5052861" y="2782785"/>
                </a:lnTo>
                <a:close/>
                <a:moveTo>
                  <a:pt x="4973486" y="2724047"/>
                </a:moveTo>
                <a:lnTo>
                  <a:pt x="5030636" y="2724047"/>
                </a:lnTo>
                <a:lnTo>
                  <a:pt x="5030636" y="2782785"/>
                </a:lnTo>
                <a:lnTo>
                  <a:pt x="4973486" y="2782785"/>
                </a:lnTo>
                <a:close/>
                <a:moveTo>
                  <a:pt x="4894111" y="2724047"/>
                </a:moveTo>
                <a:lnTo>
                  <a:pt x="4952849" y="2724047"/>
                </a:lnTo>
                <a:lnTo>
                  <a:pt x="4952849" y="2782785"/>
                </a:lnTo>
                <a:lnTo>
                  <a:pt x="4894111" y="2782785"/>
                </a:lnTo>
                <a:close/>
                <a:moveTo>
                  <a:pt x="4814736" y="2724047"/>
                </a:moveTo>
                <a:lnTo>
                  <a:pt x="4873474" y="2724047"/>
                </a:lnTo>
                <a:lnTo>
                  <a:pt x="4873474" y="2782785"/>
                </a:lnTo>
                <a:lnTo>
                  <a:pt x="4814736" y="2782785"/>
                </a:lnTo>
                <a:close/>
                <a:moveTo>
                  <a:pt x="4736949" y="2724047"/>
                </a:moveTo>
                <a:lnTo>
                  <a:pt x="4794099" y="2724047"/>
                </a:lnTo>
                <a:lnTo>
                  <a:pt x="4794099" y="2782785"/>
                </a:lnTo>
                <a:lnTo>
                  <a:pt x="4736949" y="2782785"/>
                </a:lnTo>
                <a:close/>
                <a:moveTo>
                  <a:pt x="4657574" y="2724047"/>
                </a:moveTo>
                <a:lnTo>
                  <a:pt x="4716312" y="2724047"/>
                </a:lnTo>
                <a:lnTo>
                  <a:pt x="4716312" y="2782785"/>
                </a:lnTo>
                <a:lnTo>
                  <a:pt x="4657574" y="2782785"/>
                </a:lnTo>
                <a:close/>
                <a:moveTo>
                  <a:pt x="4578199" y="2724047"/>
                </a:moveTo>
                <a:lnTo>
                  <a:pt x="4636937" y="2724047"/>
                </a:lnTo>
                <a:lnTo>
                  <a:pt x="4636937" y="2782785"/>
                </a:lnTo>
                <a:lnTo>
                  <a:pt x="4578199" y="2782785"/>
                </a:lnTo>
                <a:close/>
                <a:moveTo>
                  <a:pt x="4498824" y="2724047"/>
                </a:moveTo>
                <a:lnTo>
                  <a:pt x="4557562" y="2724047"/>
                </a:lnTo>
                <a:lnTo>
                  <a:pt x="4557562" y="2782785"/>
                </a:lnTo>
                <a:lnTo>
                  <a:pt x="4498824" y="2782785"/>
                </a:lnTo>
                <a:close/>
                <a:moveTo>
                  <a:pt x="4421036" y="2724047"/>
                </a:moveTo>
                <a:lnTo>
                  <a:pt x="4479774" y="2724047"/>
                </a:lnTo>
                <a:lnTo>
                  <a:pt x="4479774" y="2782785"/>
                </a:lnTo>
                <a:lnTo>
                  <a:pt x="4421036" y="2782785"/>
                </a:lnTo>
                <a:close/>
                <a:moveTo>
                  <a:pt x="4341661" y="2724047"/>
                </a:moveTo>
                <a:lnTo>
                  <a:pt x="4400399" y="2724047"/>
                </a:lnTo>
                <a:lnTo>
                  <a:pt x="4400399" y="2782785"/>
                </a:lnTo>
                <a:lnTo>
                  <a:pt x="4341661" y="2782785"/>
                </a:lnTo>
                <a:close/>
                <a:moveTo>
                  <a:pt x="4262286" y="2724047"/>
                </a:moveTo>
                <a:lnTo>
                  <a:pt x="4321024" y="2724047"/>
                </a:lnTo>
                <a:lnTo>
                  <a:pt x="4321024" y="2782785"/>
                </a:lnTo>
                <a:lnTo>
                  <a:pt x="4262286" y="2782785"/>
                </a:lnTo>
                <a:close/>
                <a:moveTo>
                  <a:pt x="4184499" y="2724047"/>
                </a:moveTo>
                <a:lnTo>
                  <a:pt x="4241649" y="2724047"/>
                </a:lnTo>
                <a:lnTo>
                  <a:pt x="4241649" y="2782785"/>
                </a:lnTo>
                <a:lnTo>
                  <a:pt x="4184499" y="2782785"/>
                </a:lnTo>
                <a:close/>
                <a:moveTo>
                  <a:pt x="4105124" y="2724047"/>
                </a:moveTo>
                <a:lnTo>
                  <a:pt x="4163862" y="2724047"/>
                </a:lnTo>
                <a:lnTo>
                  <a:pt x="4163862" y="2782785"/>
                </a:lnTo>
                <a:lnTo>
                  <a:pt x="4105124" y="2782785"/>
                </a:lnTo>
                <a:close/>
                <a:moveTo>
                  <a:pt x="4025749" y="2724047"/>
                </a:moveTo>
                <a:lnTo>
                  <a:pt x="4084487" y="2724047"/>
                </a:lnTo>
                <a:lnTo>
                  <a:pt x="4084487" y="2782785"/>
                </a:lnTo>
                <a:lnTo>
                  <a:pt x="4025749" y="2782785"/>
                </a:lnTo>
                <a:close/>
                <a:moveTo>
                  <a:pt x="3947961" y="2724047"/>
                </a:moveTo>
                <a:lnTo>
                  <a:pt x="4005111" y="2724047"/>
                </a:lnTo>
                <a:lnTo>
                  <a:pt x="4005111" y="2782785"/>
                </a:lnTo>
                <a:lnTo>
                  <a:pt x="3947961" y="2782785"/>
                </a:lnTo>
                <a:close/>
                <a:moveTo>
                  <a:pt x="2684311" y="2724047"/>
                </a:moveTo>
                <a:lnTo>
                  <a:pt x="2743049" y="2724047"/>
                </a:lnTo>
                <a:lnTo>
                  <a:pt x="2743049" y="2782785"/>
                </a:lnTo>
                <a:lnTo>
                  <a:pt x="2684311" y="2782785"/>
                </a:lnTo>
                <a:close/>
                <a:moveTo>
                  <a:pt x="2604936" y="2724047"/>
                </a:moveTo>
                <a:lnTo>
                  <a:pt x="2663674" y="2724047"/>
                </a:lnTo>
                <a:lnTo>
                  <a:pt x="2663674" y="2782785"/>
                </a:lnTo>
                <a:lnTo>
                  <a:pt x="2604936" y="2782785"/>
                </a:lnTo>
                <a:close/>
                <a:moveTo>
                  <a:pt x="2525645" y="2724047"/>
                </a:moveTo>
                <a:lnTo>
                  <a:pt x="2584383" y="2724047"/>
                </a:lnTo>
                <a:lnTo>
                  <a:pt x="2584383" y="2782785"/>
                </a:lnTo>
                <a:lnTo>
                  <a:pt x="2525645" y="2782785"/>
                </a:lnTo>
                <a:close/>
                <a:moveTo>
                  <a:pt x="2447854" y="2724047"/>
                </a:moveTo>
                <a:lnTo>
                  <a:pt x="2505010" y="2724047"/>
                </a:lnTo>
                <a:lnTo>
                  <a:pt x="2505010" y="2782785"/>
                </a:lnTo>
                <a:lnTo>
                  <a:pt x="2447854" y="2782785"/>
                </a:lnTo>
                <a:close/>
                <a:moveTo>
                  <a:pt x="2368485" y="2724047"/>
                </a:moveTo>
                <a:lnTo>
                  <a:pt x="2427219" y="2724047"/>
                </a:lnTo>
                <a:lnTo>
                  <a:pt x="2427219" y="2782785"/>
                </a:lnTo>
                <a:lnTo>
                  <a:pt x="2368485" y="2782785"/>
                </a:lnTo>
                <a:close/>
                <a:moveTo>
                  <a:pt x="2289109" y="2724047"/>
                </a:moveTo>
                <a:lnTo>
                  <a:pt x="2347847" y="2724047"/>
                </a:lnTo>
                <a:lnTo>
                  <a:pt x="2347847" y="2782785"/>
                </a:lnTo>
                <a:lnTo>
                  <a:pt x="2289109" y="2782785"/>
                </a:lnTo>
                <a:close/>
                <a:moveTo>
                  <a:pt x="2209732" y="2724047"/>
                </a:moveTo>
                <a:lnTo>
                  <a:pt x="2268470" y="2724047"/>
                </a:lnTo>
                <a:lnTo>
                  <a:pt x="2268470" y="2782785"/>
                </a:lnTo>
                <a:lnTo>
                  <a:pt x="2209732" y="2782785"/>
                </a:lnTo>
                <a:close/>
                <a:moveTo>
                  <a:pt x="7342036" y="2646260"/>
                </a:moveTo>
                <a:lnTo>
                  <a:pt x="7400774" y="2646260"/>
                </a:lnTo>
                <a:lnTo>
                  <a:pt x="7400774" y="2704998"/>
                </a:lnTo>
                <a:lnTo>
                  <a:pt x="7342036" y="2704998"/>
                </a:lnTo>
                <a:close/>
                <a:moveTo>
                  <a:pt x="7183286" y="2646260"/>
                </a:moveTo>
                <a:lnTo>
                  <a:pt x="7242024" y="2646260"/>
                </a:lnTo>
                <a:lnTo>
                  <a:pt x="7242024" y="2704998"/>
                </a:lnTo>
                <a:lnTo>
                  <a:pt x="7183286" y="2704998"/>
                </a:lnTo>
                <a:close/>
                <a:moveTo>
                  <a:pt x="6946749" y="2646260"/>
                </a:moveTo>
                <a:lnTo>
                  <a:pt x="7005487" y="2646260"/>
                </a:lnTo>
                <a:lnTo>
                  <a:pt x="7005487" y="2704998"/>
                </a:lnTo>
                <a:lnTo>
                  <a:pt x="6946749" y="2704998"/>
                </a:lnTo>
                <a:close/>
                <a:moveTo>
                  <a:pt x="6867374" y="2646260"/>
                </a:moveTo>
                <a:lnTo>
                  <a:pt x="6926112" y="2646260"/>
                </a:lnTo>
                <a:lnTo>
                  <a:pt x="6926112" y="2704998"/>
                </a:lnTo>
                <a:lnTo>
                  <a:pt x="6867374" y="2704998"/>
                </a:lnTo>
                <a:close/>
                <a:moveTo>
                  <a:pt x="6710211" y="2646260"/>
                </a:moveTo>
                <a:lnTo>
                  <a:pt x="6768949" y="2646260"/>
                </a:lnTo>
                <a:lnTo>
                  <a:pt x="6768949" y="2704998"/>
                </a:lnTo>
                <a:lnTo>
                  <a:pt x="6710211" y="2704998"/>
                </a:lnTo>
                <a:close/>
                <a:moveTo>
                  <a:pt x="6235549" y="2646260"/>
                </a:moveTo>
                <a:lnTo>
                  <a:pt x="6294287" y="2646260"/>
                </a:lnTo>
                <a:lnTo>
                  <a:pt x="6294287" y="2704998"/>
                </a:lnTo>
                <a:lnTo>
                  <a:pt x="6235549" y="2704998"/>
                </a:lnTo>
                <a:close/>
                <a:moveTo>
                  <a:pt x="6157761" y="2646260"/>
                </a:moveTo>
                <a:lnTo>
                  <a:pt x="6214911" y="2646260"/>
                </a:lnTo>
                <a:lnTo>
                  <a:pt x="6214911" y="2704998"/>
                </a:lnTo>
                <a:lnTo>
                  <a:pt x="6157761" y="2704998"/>
                </a:lnTo>
                <a:close/>
                <a:moveTo>
                  <a:pt x="5605311" y="2646260"/>
                </a:moveTo>
                <a:lnTo>
                  <a:pt x="5664049" y="2646260"/>
                </a:lnTo>
                <a:lnTo>
                  <a:pt x="5664049" y="2704998"/>
                </a:lnTo>
                <a:lnTo>
                  <a:pt x="5605311" y="2704998"/>
                </a:lnTo>
                <a:close/>
                <a:moveTo>
                  <a:pt x="5525936" y="2646260"/>
                </a:moveTo>
                <a:lnTo>
                  <a:pt x="5584674" y="2646260"/>
                </a:lnTo>
                <a:lnTo>
                  <a:pt x="5584674" y="2704998"/>
                </a:lnTo>
                <a:lnTo>
                  <a:pt x="5525936" y="2704998"/>
                </a:lnTo>
                <a:close/>
                <a:moveTo>
                  <a:pt x="5446561" y="2646260"/>
                </a:moveTo>
                <a:lnTo>
                  <a:pt x="5505299" y="2646260"/>
                </a:lnTo>
                <a:lnTo>
                  <a:pt x="5505299" y="2704998"/>
                </a:lnTo>
                <a:lnTo>
                  <a:pt x="5446561" y="2704998"/>
                </a:lnTo>
                <a:close/>
                <a:moveTo>
                  <a:pt x="5289399" y="2646260"/>
                </a:moveTo>
                <a:lnTo>
                  <a:pt x="5348137" y="2646260"/>
                </a:lnTo>
                <a:lnTo>
                  <a:pt x="5348137" y="2704998"/>
                </a:lnTo>
                <a:lnTo>
                  <a:pt x="5289399" y="2704998"/>
                </a:lnTo>
                <a:close/>
                <a:moveTo>
                  <a:pt x="5210024" y="2646260"/>
                </a:moveTo>
                <a:lnTo>
                  <a:pt x="5268762" y="2646260"/>
                </a:lnTo>
                <a:lnTo>
                  <a:pt x="5268762" y="2704998"/>
                </a:lnTo>
                <a:lnTo>
                  <a:pt x="5210024" y="2704998"/>
                </a:lnTo>
                <a:close/>
                <a:moveTo>
                  <a:pt x="5130649" y="2646260"/>
                </a:moveTo>
                <a:lnTo>
                  <a:pt x="5189387" y="2646260"/>
                </a:lnTo>
                <a:lnTo>
                  <a:pt x="5189387" y="2704998"/>
                </a:lnTo>
                <a:lnTo>
                  <a:pt x="5130649" y="2704998"/>
                </a:lnTo>
                <a:close/>
                <a:moveTo>
                  <a:pt x="5052861" y="2646260"/>
                </a:moveTo>
                <a:lnTo>
                  <a:pt x="5110011" y="2646260"/>
                </a:lnTo>
                <a:lnTo>
                  <a:pt x="5110011" y="2704998"/>
                </a:lnTo>
                <a:lnTo>
                  <a:pt x="5052861" y="2704998"/>
                </a:lnTo>
                <a:close/>
                <a:moveTo>
                  <a:pt x="4973486" y="2646260"/>
                </a:moveTo>
                <a:lnTo>
                  <a:pt x="5030636" y="2646260"/>
                </a:lnTo>
                <a:lnTo>
                  <a:pt x="5030636" y="2704998"/>
                </a:lnTo>
                <a:lnTo>
                  <a:pt x="4973486" y="2704998"/>
                </a:lnTo>
                <a:close/>
                <a:moveTo>
                  <a:pt x="4894111" y="2646260"/>
                </a:moveTo>
                <a:lnTo>
                  <a:pt x="4952849" y="2646260"/>
                </a:lnTo>
                <a:lnTo>
                  <a:pt x="4952849" y="2704998"/>
                </a:lnTo>
                <a:lnTo>
                  <a:pt x="4894111" y="2704998"/>
                </a:lnTo>
                <a:close/>
                <a:moveTo>
                  <a:pt x="4814736" y="2646260"/>
                </a:moveTo>
                <a:lnTo>
                  <a:pt x="4873474" y="2646260"/>
                </a:lnTo>
                <a:lnTo>
                  <a:pt x="4873474" y="2704998"/>
                </a:lnTo>
                <a:lnTo>
                  <a:pt x="4814736" y="2704998"/>
                </a:lnTo>
                <a:close/>
                <a:moveTo>
                  <a:pt x="4736949" y="2646260"/>
                </a:moveTo>
                <a:lnTo>
                  <a:pt x="4794099" y="2646260"/>
                </a:lnTo>
                <a:lnTo>
                  <a:pt x="4794099" y="2704998"/>
                </a:lnTo>
                <a:lnTo>
                  <a:pt x="4736949" y="2704998"/>
                </a:lnTo>
                <a:close/>
                <a:moveTo>
                  <a:pt x="4657574" y="2646260"/>
                </a:moveTo>
                <a:lnTo>
                  <a:pt x="4716312" y="2646260"/>
                </a:lnTo>
                <a:lnTo>
                  <a:pt x="4716312" y="2704998"/>
                </a:lnTo>
                <a:lnTo>
                  <a:pt x="4657574" y="2704998"/>
                </a:lnTo>
                <a:close/>
                <a:moveTo>
                  <a:pt x="4578199" y="2646260"/>
                </a:moveTo>
                <a:lnTo>
                  <a:pt x="4636937" y="2646260"/>
                </a:lnTo>
                <a:lnTo>
                  <a:pt x="4636937" y="2704998"/>
                </a:lnTo>
                <a:lnTo>
                  <a:pt x="4578199" y="2704998"/>
                </a:lnTo>
                <a:close/>
                <a:moveTo>
                  <a:pt x="4498824" y="2646260"/>
                </a:moveTo>
                <a:lnTo>
                  <a:pt x="4557562" y="2646260"/>
                </a:lnTo>
                <a:lnTo>
                  <a:pt x="4557562" y="2704998"/>
                </a:lnTo>
                <a:lnTo>
                  <a:pt x="4498824" y="2704998"/>
                </a:lnTo>
                <a:close/>
                <a:moveTo>
                  <a:pt x="4421036" y="2646260"/>
                </a:moveTo>
                <a:lnTo>
                  <a:pt x="4479774" y="2646260"/>
                </a:lnTo>
                <a:lnTo>
                  <a:pt x="4479774" y="2704998"/>
                </a:lnTo>
                <a:lnTo>
                  <a:pt x="4421036" y="2704998"/>
                </a:lnTo>
                <a:close/>
                <a:moveTo>
                  <a:pt x="4341661" y="2646260"/>
                </a:moveTo>
                <a:lnTo>
                  <a:pt x="4400399" y="2646260"/>
                </a:lnTo>
                <a:lnTo>
                  <a:pt x="4400399" y="2704998"/>
                </a:lnTo>
                <a:lnTo>
                  <a:pt x="4341661" y="2704998"/>
                </a:lnTo>
                <a:close/>
                <a:moveTo>
                  <a:pt x="4262286" y="2646260"/>
                </a:moveTo>
                <a:lnTo>
                  <a:pt x="4321024" y="2646260"/>
                </a:lnTo>
                <a:lnTo>
                  <a:pt x="4321024" y="2704998"/>
                </a:lnTo>
                <a:lnTo>
                  <a:pt x="4262286" y="2704998"/>
                </a:lnTo>
                <a:close/>
                <a:moveTo>
                  <a:pt x="4184499" y="2646260"/>
                </a:moveTo>
                <a:lnTo>
                  <a:pt x="4241649" y="2646260"/>
                </a:lnTo>
                <a:lnTo>
                  <a:pt x="4241649" y="2704998"/>
                </a:lnTo>
                <a:lnTo>
                  <a:pt x="4184499" y="2704998"/>
                </a:lnTo>
                <a:close/>
                <a:moveTo>
                  <a:pt x="4105124" y="2646260"/>
                </a:moveTo>
                <a:lnTo>
                  <a:pt x="4163862" y="2646260"/>
                </a:lnTo>
                <a:lnTo>
                  <a:pt x="4163862" y="2704998"/>
                </a:lnTo>
                <a:lnTo>
                  <a:pt x="4105124" y="2704998"/>
                </a:lnTo>
                <a:close/>
                <a:moveTo>
                  <a:pt x="4025749" y="2646260"/>
                </a:moveTo>
                <a:lnTo>
                  <a:pt x="4084487" y="2646260"/>
                </a:lnTo>
                <a:lnTo>
                  <a:pt x="4084487" y="2704998"/>
                </a:lnTo>
                <a:lnTo>
                  <a:pt x="4025749" y="2704998"/>
                </a:lnTo>
                <a:close/>
                <a:moveTo>
                  <a:pt x="3947961" y="2646260"/>
                </a:moveTo>
                <a:lnTo>
                  <a:pt x="4005111" y="2646260"/>
                </a:lnTo>
                <a:lnTo>
                  <a:pt x="4005111" y="2704998"/>
                </a:lnTo>
                <a:lnTo>
                  <a:pt x="3947961" y="2704998"/>
                </a:lnTo>
                <a:close/>
                <a:moveTo>
                  <a:pt x="2604936" y="2646260"/>
                </a:moveTo>
                <a:lnTo>
                  <a:pt x="2663674" y="2646260"/>
                </a:lnTo>
                <a:lnTo>
                  <a:pt x="2663674" y="2704998"/>
                </a:lnTo>
                <a:lnTo>
                  <a:pt x="2604936" y="2704998"/>
                </a:lnTo>
                <a:close/>
                <a:moveTo>
                  <a:pt x="2525648" y="2646260"/>
                </a:moveTo>
                <a:lnTo>
                  <a:pt x="2584385" y="2646260"/>
                </a:lnTo>
                <a:lnTo>
                  <a:pt x="2584385" y="2704998"/>
                </a:lnTo>
                <a:lnTo>
                  <a:pt x="2525648" y="2704998"/>
                </a:lnTo>
                <a:close/>
                <a:moveTo>
                  <a:pt x="2447857" y="2646260"/>
                </a:moveTo>
                <a:lnTo>
                  <a:pt x="2505013" y="2646260"/>
                </a:lnTo>
                <a:lnTo>
                  <a:pt x="2505013" y="2704998"/>
                </a:lnTo>
                <a:lnTo>
                  <a:pt x="2447857" y="2704998"/>
                </a:lnTo>
                <a:close/>
                <a:moveTo>
                  <a:pt x="2131947" y="2646260"/>
                </a:moveTo>
                <a:lnTo>
                  <a:pt x="2189097" y="2646260"/>
                </a:lnTo>
                <a:lnTo>
                  <a:pt x="2189097" y="2704998"/>
                </a:lnTo>
                <a:lnTo>
                  <a:pt x="2131947" y="2704998"/>
                </a:lnTo>
                <a:close/>
                <a:moveTo>
                  <a:pt x="8446936" y="2568472"/>
                </a:moveTo>
                <a:lnTo>
                  <a:pt x="8505674" y="2568472"/>
                </a:lnTo>
                <a:lnTo>
                  <a:pt x="8505674" y="2627210"/>
                </a:lnTo>
                <a:lnTo>
                  <a:pt x="8446936" y="2627210"/>
                </a:lnTo>
                <a:close/>
                <a:moveTo>
                  <a:pt x="7815111" y="2568472"/>
                </a:moveTo>
                <a:lnTo>
                  <a:pt x="7873849" y="2568472"/>
                </a:lnTo>
                <a:lnTo>
                  <a:pt x="7873849" y="2627210"/>
                </a:lnTo>
                <a:lnTo>
                  <a:pt x="7815111" y="2627210"/>
                </a:lnTo>
                <a:close/>
                <a:moveTo>
                  <a:pt x="7342036" y="2568472"/>
                </a:moveTo>
                <a:lnTo>
                  <a:pt x="7400774" y="2568472"/>
                </a:lnTo>
                <a:lnTo>
                  <a:pt x="7400774" y="2627210"/>
                </a:lnTo>
                <a:lnTo>
                  <a:pt x="7342036" y="2627210"/>
                </a:lnTo>
                <a:close/>
                <a:moveTo>
                  <a:pt x="7262661" y="2568472"/>
                </a:moveTo>
                <a:lnTo>
                  <a:pt x="7321399" y="2568472"/>
                </a:lnTo>
                <a:lnTo>
                  <a:pt x="7321399" y="2627210"/>
                </a:lnTo>
                <a:lnTo>
                  <a:pt x="7262661" y="2627210"/>
                </a:lnTo>
                <a:close/>
                <a:moveTo>
                  <a:pt x="6946749" y="2568472"/>
                </a:moveTo>
                <a:lnTo>
                  <a:pt x="7005487" y="2568472"/>
                </a:lnTo>
                <a:lnTo>
                  <a:pt x="7005487" y="2627210"/>
                </a:lnTo>
                <a:lnTo>
                  <a:pt x="6946749" y="2627210"/>
                </a:lnTo>
                <a:close/>
                <a:moveTo>
                  <a:pt x="6867374" y="2568472"/>
                </a:moveTo>
                <a:lnTo>
                  <a:pt x="6926112" y="2568472"/>
                </a:lnTo>
                <a:lnTo>
                  <a:pt x="6926112" y="2627210"/>
                </a:lnTo>
                <a:lnTo>
                  <a:pt x="6867374" y="2627210"/>
                </a:lnTo>
                <a:close/>
                <a:moveTo>
                  <a:pt x="6789586" y="2568472"/>
                </a:moveTo>
                <a:lnTo>
                  <a:pt x="6846736" y="2568472"/>
                </a:lnTo>
                <a:lnTo>
                  <a:pt x="6846736" y="2627210"/>
                </a:lnTo>
                <a:lnTo>
                  <a:pt x="6789586" y="2627210"/>
                </a:lnTo>
                <a:close/>
                <a:moveTo>
                  <a:pt x="6710211" y="2568472"/>
                </a:moveTo>
                <a:lnTo>
                  <a:pt x="6768949" y="2568472"/>
                </a:lnTo>
                <a:lnTo>
                  <a:pt x="6768949" y="2627210"/>
                </a:lnTo>
                <a:lnTo>
                  <a:pt x="6710211" y="2627210"/>
                </a:lnTo>
                <a:close/>
                <a:moveTo>
                  <a:pt x="6551461" y="2568472"/>
                </a:moveTo>
                <a:lnTo>
                  <a:pt x="6610199" y="2568472"/>
                </a:lnTo>
                <a:lnTo>
                  <a:pt x="6610199" y="2627210"/>
                </a:lnTo>
                <a:lnTo>
                  <a:pt x="6551461" y="2627210"/>
                </a:lnTo>
                <a:close/>
                <a:moveTo>
                  <a:pt x="6235549" y="2568472"/>
                </a:moveTo>
                <a:lnTo>
                  <a:pt x="6294287" y="2568472"/>
                </a:lnTo>
                <a:lnTo>
                  <a:pt x="6294287" y="2627210"/>
                </a:lnTo>
                <a:lnTo>
                  <a:pt x="6235549" y="2627210"/>
                </a:lnTo>
                <a:close/>
                <a:moveTo>
                  <a:pt x="6157761" y="2568472"/>
                </a:moveTo>
                <a:lnTo>
                  <a:pt x="6214911" y="2568472"/>
                </a:lnTo>
                <a:lnTo>
                  <a:pt x="6214911" y="2627210"/>
                </a:lnTo>
                <a:lnTo>
                  <a:pt x="6157761" y="2627210"/>
                </a:lnTo>
                <a:close/>
                <a:moveTo>
                  <a:pt x="5368774" y="2568472"/>
                </a:moveTo>
                <a:lnTo>
                  <a:pt x="5425924" y="2568472"/>
                </a:lnTo>
                <a:lnTo>
                  <a:pt x="5425924" y="2627210"/>
                </a:lnTo>
                <a:lnTo>
                  <a:pt x="5368774" y="2627210"/>
                </a:lnTo>
                <a:close/>
                <a:moveTo>
                  <a:pt x="5210024" y="2568472"/>
                </a:moveTo>
                <a:lnTo>
                  <a:pt x="5268762" y="2568472"/>
                </a:lnTo>
                <a:lnTo>
                  <a:pt x="5268762" y="2627210"/>
                </a:lnTo>
                <a:lnTo>
                  <a:pt x="5210024" y="2627210"/>
                </a:lnTo>
                <a:close/>
                <a:moveTo>
                  <a:pt x="5130649" y="2568472"/>
                </a:moveTo>
                <a:lnTo>
                  <a:pt x="5189387" y="2568472"/>
                </a:lnTo>
                <a:lnTo>
                  <a:pt x="5189387" y="2627210"/>
                </a:lnTo>
                <a:lnTo>
                  <a:pt x="5130649" y="2627210"/>
                </a:lnTo>
                <a:close/>
                <a:moveTo>
                  <a:pt x="5052861" y="2568472"/>
                </a:moveTo>
                <a:lnTo>
                  <a:pt x="5110011" y="2568472"/>
                </a:lnTo>
                <a:lnTo>
                  <a:pt x="5110011" y="2627210"/>
                </a:lnTo>
                <a:lnTo>
                  <a:pt x="5052861" y="2627210"/>
                </a:lnTo>
                <a:close/>
                <a:moveTo>
                  <a:pt x="4973486" y="2568472"/>
                </a:moveTo>
                <a:lnTo>
                  <a:pt x="5030636" y="2568472"/>
                </a:lnTo>
                <a:lnTo>
                  <a:pt x="5030636" y="2627210"/>
                </a:lnTo>
                <a:lnTo>
                  <a:pt x="4973486" y="2627210"/>
                </a:lnTo>
                <a:close/>
                <a:moveTo>
                  <a:pt x="4894111" y="2568472"/>
                </a:moveTo>
                <a:lnTo>
                  <a:pt x="4952849" y="2568472"/>
                </a:lnTo>
                <a:lnTo>
                  <a:pt x="4952849" y="2627210"/>
                </a:lnTo>
                <a:lnTo>
                  <a:pt x="4894111" y="2627210"/>
                </a:lnTo>
                <a:close/>
                <a:moveTo>
                  <a:pt x="4814736" y="2568472"/>
                </a:moveTo>
                <a:lnTo>
                  <a:pt x="4873474" y="2568472"/>
                </a:lnTo>
                <a:lnTo>
                  <a:pt x="4873474" y="2627210"/>
                </a:lnTo>
                <a:lnTo>
                  <a:pt x="4814736" y="2627210"/>
                </a:lnTo>
                <a:close/>
                <a:moveTo>
                  <a:pt x="4736949" y="2568472"/>
                </a:moveTo>
                <a:lnTo>
                  <a:pt x="4794099" y="2568472"/>
                </a:lnTo>
                <a:lnTo>
                  <a:pt x="4794099" y="2627210"/>
                </a:lnTo>
                <a:lnTo>
                  <a:pt x="4736949" y="2627210"/>
                </a:lnTo>
                <a:close/>
                <a:moveTo>
                  <a:pt x="4657574" y="2568472"/>
                </a:moveTo>
                <a:lnTo>
                  <a:pt x="4716312" y="2568472"/>
                </a:lnTo>
                <a:lnTo>
                  <a:pt x="4716312" y="2627210"/>
                </a:lnTo>
                <a:lnTo>
                  <a:pt x="4657574" y="2627210"/>
                </a:lnTo>
                <a:close/>
                <a:moveTo>
                  <a:pt x="4578199" y="2568472"/>
                </a:moveTo>
                <a:lnTo>
                  <a:pt x="4636937" y="2568472"/>
                </a:lnTo>
                <a:lnTo>
                  <a:pt x="4636937" y="2627210"/>
                </a:lnTo>
                <a:lnTo>
                  <a:pt x="4578199" y="2627210"/>
                </a:lnTo>
                <a:close/>
                <a:moveTo>
                  <a:pt x="4498824" y="2568472"/>
                </a:moveTo>
                <a:lnTo>
                  <a:pt x="4557562" y="2568472"/>
                </a:lnTo>
                <a:lnTo>
                  <a:pt x="4557562" y="2627210"/>
                </a:lnTo>
                <a:lnTo>
                  <a:pt x="4498824" y="2627210"/>
                </a:lnTo>
                <a:close/>
                <a:moveTo>
                  <a:pt x="4421036" y="2568472"/>
                </a:moveTo>
                <a:lnTo>
                  <a:pt x="4479774" y="2568472"/>
                </a:lnTo>
                <a:lnTo>
                  <a:pt x="4479774" y="2627210"/>
                </a:lnTo>
                <a:lnTo>
                  <a:pt x="4421036" y="2627210"/>
                </a:lnTo>
                <a:close/>
                <a:moveTo>
                  <a:pt x="4341661" y="2568472"/>
                </a:moveTo>
                <a:lnTo>
                  <a:pt x="4400399" y="2568472"/>
                </a:lnTo>
                <a:lnTo>
                  <a:pt x="4400399" y="2627210"/>
                </a:lnTo>
                <a:lnTo>
                  <a:pt x="4341661" y="2627210"/>
                </a:lnTo>
                <a:close/>
                <a:moveTo>
                  <a:pt x="4262286" y="2568472"/>
                </a:moveTo>
                <a:lnTo>
                  <a:pt x="4321024" y="2568472"/>
                </a:lnTo>
                <a:lnTo>
                  <a:pt x="4321024" y="2627210"/>
                </a:lnTo>
                <a:lnTo>
                  <a:pt x="4262286" y="2627210"/>
                </a:lnTo>
                <a:close/>
                <a:moveTo>
                  <a:pt x="4184499" y="2568472"/>
                </a:moveTo>
                <a:lnTo>
                  <a:pt x="4241649" y="2568472"/>
                </a:lnTo>
                <a:lnTo>
                  <a:pt x="4241649" y="2627210"/>
                </a:lnTo>
                <a:lnTo>
                  <a:pt x="4184499" y="2627210"/>
                </a:lnTo>
                <a:close/>
                <a:moveTo>
                  <a:pt x="4105124" y="2568472"/>
                </a:moveTo>
                <a:lnTo>
                  <a:pt x="4163862" y="2568472"/>
                </a:lnTo>
                <a:lnTo>
                  <a:pt x="4163862" y="2627210"/>
                </a:lnTo>
                <a:lnTo>
                  <a:pt x="4105124" y="2627210"/>
                </a:lnTo>
                <a:close/>
                <a:moveTo>
                  <a:pt x="4025749" y="2568472"/>
                </a:moveTo>
                <a:lnTo>
                  <a:pt x="4084487" y="2568472"/>
                </a:lnTo>
                <a:lnTo>
                  <a:pt x="4084487" y="2627210"/>
                </a:lnTo>
                <a:lnTo>
                  <a:pt x="4025749" y="2627210"/>
                </a:lnTo>
                <a:close/>
                <a:moveTo>
                  <a:pt x="3947961" y="2568472"/>
                </a:moveTo>
                <a:lnTo>
                  <a:pt x="4005111" y="2568472"/>
                </a:lnTo>
                <a:lnTo>
                  <a:pt x="4005111" y="2627210"/>
                </a:lnTo>
                <a:lnTo>
                  <a:pt x="3947961" y="2627210"/>
                </a:lnTo>
                <a:close/>
                <a:moveTo>
                  <a:pt x="3868586" y="2568472"/>
                </a:moveTo>
                <a:lnTo>
                  <a:pt x="3925736" y="2568472"/>
                </a:lnTo>
                <a:lnTo>
                  <a:pt x="3925736" y="2627210"/>
                </a:lnTo>
                <a:lnTo>
                  <a:pt x="3868586" y="2627210"/>
                </a:lnTo>
                <a:close/>
                <a:moveTo>
                  <a:pt x="3709836" y="2568472"/>
                </a:moveTo>
                <a:lnTo>
                  <a:pt x="3768574" y="2568472"/>
                </a:lnTo>
                <a:lnTo>
                  <a:pt x="3768574" y="2627210"/>
                </a:lnTo>
                <a:lnTo>
                  <a:pt x="3709836" y="2627210"/>
                </a:lnTo>
                <a:close/>
                <a:moveTo>
                  <a:pt x="2763686" y="2568472"/>
                </a:moveTo>
                <a:lnTo>
                  <a:pt x="2820836" y="2568472"/>
                </a:lnTo>
                <a:lnTo>
                  <a:pt x="2820836" y="2627210"/>
                </a:lnTo>
                <a:lnTo>
                  <a:pt x="2763686" y="2627210"/>
                </a:lnTo>
                <a:close/>
                <a:moveTo>
                  <a:pt x="2131949" y="2568472"/>
                </a:moveTo>
                <a:lnTo>
                  <a:pt x="2189100" y="2568472"/>
                </a:lnTo>
                <a:lnTo>
                  <a:pt x="2189100" y="2627210"/>
                </a:lnTo>
                <a:lnTo>
                  <a:pt x="2131949" y="2627210"/>
                </a:lnTo>
                <a:close/>
                <a:moveTo>
                  <a:pt x="2052571" y="2568472"/>
                </a:moveTo>
                <a:lnTo>
                  <a:pt x="2111311" y="2568472"/>
                </a:lnTo>
                <a:lnTo>
                  <a:pt x="2111311" y="2627210"/>
                </a:lnTo>
                <a:lnTo>
                  <a:pt x="2052571" y="2627210"/>
                </a:lnTo>
                <a:close/>
                <a:moveTo>
                  <a:pt x="7894486" y="2490685"/>
                </a:moveTo>
                <a:lnTo>
                  <a:pt x="7951636" y="2490685"/>
                </a:lnTo>
                <a:lnTo>
                  <a:pt x="7951636" y="2549423"/>
                </a:lnTo>
                <a:lnTo>
                  <a:pt x="7894486" y="2549423"/>
                </a:lnTo>
                <a:close/>
                <a:moveTo>
                  <a:pt x="7262661" y="2490685"/>
                </a:moveTo>
                <a:lnTo>
                  <a:pt x="7321399" y="2490685"/>
                </a:lnTo>
                <a:lnTo>
                  <a:pt x="7321399" y="2549423"/>
                </a:lnTo>
                <a:lnTo>
                  <a:pt x="7262661" y="2549423"/>
                </a:lnTo>
                <a:close/>
                <a:moveTo>
                  <a:pt x="6946749" y="2490685"/>
                </a:moveTo>
                <a:lnTo>
                  <a:pt x="7005487" y="2490685"/>
                </a:lnTo>
                <a:lnTo>
                  <a:pt x="7005487" y="2549423"/>
                </a:lnTo>
                <a:lnTo>
                  <a:pt x="6946749" y="2549423"/>
                </a:lnTo>
                <a:close/>
                <a:moveTo>
                  <a:pt x="6867374" y="2490685"/>
                </a:moveTo>
                <a:lnTo>
                  <a:pt x="6926112" y="2490685"/>
                </a:lnTo>
                <a:lnTo>
                  <a:pt x="6926112" y="2549423"/>
                </a:lnTo>
                <a:lnTo>
                  <a:pt x="6867374" y="2549423"/>
                </a:lnTo>
                <a:close/>
                <a:moveTo>
                  <a:pt x="6789586" y="2490685"/>
                </a:moveTo>
                <a:lnTo>
                  <a:pt x="6846736" y="2490685"/>
                </a:lnTo>
                <a:lnTo>
                  <a:pt x="6846736" y="2549423"/>
                </a:lnTo>
                <a:lnTo>
                  <a:pt x="6789586" y="2549423"/>
                </a:lnTo>
                <a:close/>
                <a:moveTo>
                  <a:pt x="6710211" y="2490685"/>
                </a:moveTo>
                <a:lnTo>
                  <a:pt x="6768949" y="2490685"/>
                </a:lnTo>
                <a:lnTo>
                  <a:pt x="6768949" y="2549423"/>
                </a:lnTo>
                <a:lnTo>
                  <a:pt x="6710211" y="2549423"/>
                </a:lnTo>
                <a:close/>
                <a:moveTo>
                  <a:pt x="6630836" y="2490685"/>
                </a:moveTo>
                <a:lnTo>
                  <a:pt x="6689574" y="2490685"/>
                </a:lnTo>
                <a:lnTo>
                  <a:pt x="6689574" y="2549423"/>
                </a:lnTo>
                <a:lnTo>
                  <a:pt x="6630836" y="2549423"/>
                </a:lnTo>
                <a:close/>
                <a:moveTo>
                  <a:pt x="6235549" y="2490685"/>
                </a:moveTo>
                <a:lnTo>
                  <a:pt x="6294287" y="2490685"/>
                </a:lnTo>
                <a:lnTo>
                  <a:pt x="6294287" y="2549423"/>
                </a:lnTo>
                <a:lnTo>
                  <a:pt x="6235549" y="2549423"/>
                </a:lnTo>
                <a:close/>
                <a:moveTo>
                  <a:pt x="6157761" y="2490685"/>
                </a:moveTo>
                <a:lnTo>
                  <a:pt x="6214911" y="2490685"/>
                </a:lnTo>
                <a:lnTo>
                  <a:pt x="6214911" y="2549423"/>
                </a:lnTo>
                <a:lnTo>
                  <a:pt x="6157761" y="2549423"/>
                </a:lnTo>
                <a:close/>
                <a:moveTo>
                  <a:pt x="6078386" y="2490685"/>
                </a:moveTo>
                <a:lnTo>
                  <a:pt x="6137124" y="2490685"/>
                </a:lnTo>
                <a:lnTo>
                  <a:pt x="6137124" y="2549423"/>
                </a:lnTo>
                <a:lnTo>
                  <a:pt x="6078386" y="2549423"/>
                </a:lnTo>
                <a:close/>
                <a:moveTo>
                  <a:pt x="5525936" y="2490685"/>
                </a:moveTo>
                <a:lnTo>
                  <a:pt x="5584674" y="2490685"/>
                </a:lnTo>
                <a:lnTo>
                  <a:pt x="5584674" y="2549423"/>
                </a:lnTo>
                <a:lnTo>
                  <a:pt x="5525936" y="2549423"/>
                </a:lnTo>
                <a:close/>
                <a:moveTo>
                  <a:pt x="5446561" y="2490685"/>
                </a:moveTo>
                <a:lnTo>
                  <a:pt x="5505299" y="2490685"/>
                </a:lnTo>
                <a:lnTo>
                  <a:pt x="5505299" y="2549423"/>
                </a:lnTo>
                <a:lnTo>
                  <a:pt x="5446561" y="2549423"/>
                </a:lnTo>
                <a:close/>
                <a:moveTo>
                  <a:pt x="5368774" y="2490685"/>
                </a:moveTo>
                <a:lnTo>
                  <a:pt x="5425924" y="2490685"/>
                </a:lnTo>
                <a:lnTo>
                  <a:pt x="5425924" y="2549423"/>
                </a:lnTo>
                <a:lnTo>
                  <a:pt x="5368774" y="2549423"/>
                </a:lnTo>
                <a:close/>
                <a:moveTo>
                  <a:pt x="5289399" y="2490685"/>
                </a:moveTo>
                <a:lnTo>
                  <a:pt x="5348137" y="2490685"/>
                </a:lnTo>
                <a:lnTo>
                  <a:pt x="5348137" y="2549423"/>
                </a:lnTo>
                <a:lnTo>
                  <a:pt x="5289399" y="2549423"/>
                </a:lnTo>
                <a:close/>
                <a:moveTo>
                  <a:pt x="5130649" y="2490685"/>
                </a:moveTo>
                <a:lnTo>
                  <a:pt x="5189387" y="2490685"/>
                </a:lnTo>
                <a:lnTo>
                  <a:pt x="5189387" y="2549423"/>
                </a:lnTo>
                <a:lnTo>
                  <a:pt x="5130649" y="2549423"/>
                </a:lnTo>
                <a:close/>
                <a:moveTo>
                  <a:pt x="5052861" y="2490685"/>
                </a:moveTo>
                <a:lnTo>
                  <a:pt x="5110011" y="2490685"/>
                </a:lnTo>
                <a:lnTo>
                  <a:pt x="5110011" y="2549423"/>
                </a:lnTo>
                <a:lnTo>
                  <a:pt x="5052861" y="2549423"/>
                </a:lnTo>
                <a:close/>
                <a:moveTo>
                  <a:pt x="4973486" y="2490685"/>
                </a:moveTo>
                <a:lnTo>
                  <a:pt x="5030636" y="2490685"/>
                </a:lnTo>
                <a:lnTo>
                  <a:pt x="5030636" y="2549423"/>
                </a:lnTo>
                <a:lnTo>
                  <a:pt x="4973486" y="2549423"/>
                </a:lnTo>
                <a:close/>
                <a:moveTo>
                  <a:pt x="4894111" y="2490685"/>
                </a:moveTo>
                <a:lnTo>
                  <a:pt x="4952849" y="2490685"/>
                </a:lnTo>
                <a:lnTo>
                  <a:pt x="4952849" y="2549423"/>
                </a:lnTo>
                <a:lnTo>
                  <a:pt x="4894111" y="2549423"/>
                </a:lnTo>
                <a:close/>
                <a:moveTo>
                  <a:pt x="4814736" y="2490685"/>
                </a:moveTo>
                <a:lnTo>
                  <a:pt x="4873474" y="2490685"/>
                </a:lnTo>
                <a:lnTo>
                  <a:pt x="4873474" y="2549423"/>
                </a:lnTo>
                <a:lnTo>
                  <a:pt x="4814736" y="2549423"/>
                </a:lnTo>
                <a:close/>
                <a:moveTo>
                  <a:pt x="4736949" y="2490685"/>
                </a:moveTo>
                <a:lnTo>
                  <a:pt x="4794099" y="2490685"/>
                </a:lnTo>
                <a:lnTo>
                  <a:pt x="4794099" y="2549423"/>
                </a:lnTo>
                <a:lnTo>
                  <a:pt x="4736949" y="2549423"/>
                </a:lnTo>
                <a:close/>
                <a:moveTo>
                  <a:pt x="4657574" y="2490685"/>
                </a:moveTo>
                <a:lnTo>
                  <a:pt x="4716312" y="2490685"/>
                </a:lnTo>
                <a:lnTo>
                  <a:pt x="4716312" y="2549423"/>
                </a:lnTo>
                <a:lnTo>
                  <a:pt x="4657574" y="2549423"/>
                </a:lnTo>
                <a:close/>
                <a:moveTo>
                  <a:pt x="4578199" y="2490685"/>
                </a:moveTo>
                <a:lnTo>
                  <a:pt x="4636937" y="2490685"/>
                </a:lnTo>
                <a:lnTo>
                  <a:pt x="4636937" y="2549423"/>
                </a:lnTo>
                <a:lnTo>
                  <a:pt x="4578199" y="2549423"/>
                </a:lnTo>
                <a:close/>
                <a:moveTo>
                  <a:pt x="4498824" y="2490685"/>
                </a:moveTo>
                <a:lnTo>
                  <a:pt x="4557562" y="2490685"/>
                </a:lnTo>
                <a:lnTo>
                  <a:pt x="4557562" y="2549423"/>
                </a:lnTo>
                <a:lnTo>
                  <a:pt x="4498824" y="2549423"/>
                </a:lnTo>
                <a:close/>
                <a:moveTo>
                  <a:pt x="4421036" y="2490685"/>
                </a:moveTo>
                <a:lnTo>
                  <a:pt x="4479774" y="2490685"/>
                </a:lnTo>
                <a:lnTo>
                  <a:pt x="4479774" y="2549423"/>
                </a:lnTo>
                <a:lnTo>
                  <a:pt x="4421036" y="2549423"/>
                </a:lnTo>
                <a:close/>
                <a:moveTo>
                  <a:pt x="4341661" y="2490685"/>
                </a:moveTo>
                <a:lnTo>
                  <a:pt x="4400399" y="2490685"/>
                </a:lnTo>
                <a:lnTo>
                  <a:pt x="4400399" y="2549423"/>
                </a:lnTo>
                <a:lnTo>
                  <a:pt x="4341661" y="2549423"/>
                </a:lnTo>
                <a:close/>
                <a:moveTo>
                  <a:pt x="4262286" y="2490685"/>
                </a:moveTo>
                <a:lnTo>
                  <a:pt x="4321024" y="2490685"/>
                </a:lnTo>
                <a:lnTo>
                  <a:pt x="4321024" y="2549423"/>
                </a:lnTo>
                <a:lnTo>
                  <a:pt x="4262286" y="2549423"/>
                </a:lnTo>
                <a:close/>
                <a:moveTo>
                  <a:pt x="4184499" y="2490685"/>
                </a:moveTo>
                <a:lnTo>
                  <a:pt x="4241649" y="2490685"/>
                </a:lnTo>
                <a:lnTo>
                  <a:pt x="4241649" y="2549423"/>
                </a:lnTo>
                <a:lnTo>
                  <a:pt x="4184499" y="2549423"/>
                </a:lnTo>
                <a:close/>
                <a:moveTo>
                  <a:pt x="4105124" y="2490685"/>
                </a:moveTo>
                <a:lnTo>
                  <a:pt x="4163862" y="2490685"/>
                </a:lnTo>
                <a:lnTo>
                  <a:pt x="4163862" y="2549423"/>
                </a:lnTo>
                <a:lnTo>
                  <a:pt x="4105124" y="2549423"/>
                </a:lnTo>
                <a:close/>
                <a:moveTo>
                  <a:pt x="4025749" y="2490685"/>
                </a:moveTo>
                <a:lnTo>
                  <a:pt x="4084487" y="2490685"/>
                </a:lnTo>
                <a:lnTo>
                  <a:pt x="4084487" y="2549423"/>
                </a:lnTo>
                <a:lnTo>
                  <a:pt x="4025749" y="2549423"/>
                </a:lnTo>
                <a:close/>
                <a:moveTo>
                  <a:pt x="3947961" y="2490685"/>
                </a:moveTo>
                <a:lnTo>
                  <a:pt x="4005111" y="2490685"/>
                </a:lnTo>
                <a:lnTo>
                  <a:pt x="4005111" y="2549423"/>
                </a:lnTo>
                <a:lnTo>
                  <a:pt x="3947961" y="2549423"/>
                </a:lnTo>
                <a:close/>
                <a:moveTo>
                  <a:pt x="3868586" y="2490685"/>
                </a:moveTo>
                <a:lnTo>
                  <a:pt x="3925736" y="2490685"/>
                </a:lnTo>
                <a:lnTo>
                  <a:pt x="3925736" y="2549423"/>
                </a:lnTo>
                <a:lnTo>
                  <a:pt x="3868586" y="2549423"/>
                </a:lnTo>
                <a:close/>
                <a:moveTo>
                  <a:pt x="3630461" y="2490685"/>
                </a:moveTo>
                <a:lnTo>
                  <a:pt x="3689199" y="2490685"/>
                </a:lnTo>
                <a:lnTo>
                  <a:pt x="3689199" y="2549423"/>
                </a:lnTo>
                <a:lnTo>
                  <a:pt x="3630461" y="2549423"/>
                </a:lnTo>
                <a:close/>
                <a:moveTo>
                  <a:pt x="2684311" y="2490685"/>
                </a:moveTo>
                <a:lnTo>
                  <a:pt x="2743049" y="2490685"/>
                </a:lnTo>
                <a:lnTo>
                  <a:pt x="2743049" y="2549423"/>
                </a:lnTo>
                <a:lnTo>
                  <a:pt x="2684311" y="2549423"/>
                </a:lnTo>
                <a:close/>
                <a:moveTo>
                  <a:pt x="2131954" y="2490685"/>
                </a:moveTo>
                <a:lnTo>
                  <a:pt x="2189103" y="2490685"/>
                </a:lnTo>
                <a:lnTo>
                  <a:pt x="2189103" y="2549423"/>
                </a:lnTo>
                <a:lnTo>
                  <a:pt x="2131954" y="2549423"/>
                </a:lnTo>
                <a:close/>
                <a:moveTo>
                  <a:pt x="2052575" y="2490685"/>
                </a:moveTo>
                <a:lnTo>
                  <a:pt x="2111315" y="2490685"/>
                </a:lnTo>
                <a:lnTo>
                  <a:pt x="2111315" y="2549423"/>
                </a:lnTo>
                <a:lnTo>
                  <a:pt x="2052575" y="2549423"/>
                </a:lnTo>
                <a:close/>
                <a:moveTo>
                  <a:pt x="1973196" y="2490685"/>
                </a:moveTo>
                <a:lnTo>
                  <a:pt x="2031936" y="2490685"/>
                </a:lnTo>
                <a:lnTo>
                  <a:pt x="2031936" y="2549423"/>
                </a:lnTo>
                <a:lnTo>
                  <a:pt x="1973196" y="2549423"/>
                </a:lnTo>
                <a:close/>
                <a:moveTo>
                  <a:pt x="1893819" y="2490685"/>
                </a:moveTo>
                <a:lnTo>
                  <a:pt x="1952558" y="2490685"/>
                </a:lnTo>
                <a:lnTo>
                  <a:pt x="1952558" y="2549423"/>
                </a:lnTo>
                <a:lnTo>
                  <a:pt x="1893819" y="2549423"/>
                </a:lnTo>
                <a:close/>
                <a:moveTo>
                  <a:pt x="1816050" y="2490685"/>
                </a:moveTo>
                <a:lnTo>
                  <a:pt x="1873187" y="2490685"/>
                </a:lnTo>
                <a:lnTo>
                  <a:pt x="1873187" y="2549423"/>
                </a:lnTo>
                <a:lnTo>
                  <a:pt x="1816050" y="2549423"/>
                </a:lnTo>
                <a:close/>
                <a:moveTo>
                  <a:pt x="7262661" y="2412897"/>
                </a:moveTo>
                <a:lnTo>
                  <a:pt x="7321399" y="2412897"/>
                </a:lnTo>
                <a:lnTo>
                  <a:pt x="7321399" y="2471635"/>
                </a:lnTo>
                <a:lnTo>
                  <a:pt x="7262661" y="2471635"/>
                </a:lnTo>
                <a:close/>
                <a:moveTo>
                  <a:pt x="6946749" y="2412897"/>
                </a:moveTo>
                <a:lnTo>
                  <a:pt x="7005487" y="2412897"/>
                </a:lnTo>
                <a:lnTo>
                  <a:pt x="7005487" y="2471635"/>
                </a:lnTo>
                <a:lnTo>
                  <a:pt x="6946749" y="2471635"/>
                </a:lnTo>
                <a:close/>
                <a:moveTo>
                  <a:pt x="6867374" y="2412897"/>
                </a:moveTo>
                <a:lnTo>
                  <a:pt x="6926112" y="2412897"/>
                </a:lnTo>
                <a:lnTo>
                  <a:pt x="6926112" y="2471635"/>
                </a:lnTo>
                <a:lnTo>
                  <a:pt x="6867374" y="2471635"/>
                </a:lnTo>
                <a:close/>
                <a:moveTo>
                  <a:pt x="6789586" y="2412897"/>
                </a:moveTo>
                <a:lnTo>
                  <a:pt x="6846736" y="2412897"/>
                </a:lnTo>
                <a:lnTo>
                  <a:pt x="6846736" y="2471635"/>
                </a:lnTo>
                <a:lnTo>
                  <a:pt x="6789586" y="2471635"/>
                </a:lnTo>
                <a:close/>
                <a:moveTo>
                  <a:pt x="6710211" y="2412897"/>
                </a:moveTo>
                <a:lnTo>
                  <a:pt x="6768949" y="2412897"/>
                </a:lnTo>
                <a:lnTo>
                  <a:pt x="6768949" y="2471635"/>
                </a:lnTo>
                <a:lnTo>
                  <a:pt x="6710211" y="2471635"/>
                </a:lnTo>
                <a:close/>
                <a:moveTo>
                  <a:pt x="6630836" y="2412897"/>
                </a:moveTo>
                <a:lnTo>
                  <a:pt x="6689574" y="2412897"/>
                </a:lnTo>
                <a:lnTo>
                  <a:pt x="6689574" y="2471635"/>
                </a:lnTo>
                <a:lnTo>
                  <a:pt x="6630836" y="2471635"/>
                </a:lnTo>
                <a:close/>
                <a:moveTo>
                  <a:pt x="6314924" y="2412897"/>
                </a:moveTo>
                <a:lnTo>
                  <a:pt x="6373662" y="2412897"/>
                </a:lnTo>
                <a:lnTo>
                  <a:pt x="6373662" y="2471635"/>
                </a:lnTo>
                <a:lnTo>
                  <a:pt x="6314924" y="2471635"/>
                </a:lnTo>
                <a:close/>
                <a:moveTo>
                  <a:pt x="6235549" y="2412897"/>
                </a:moveTo>
                <a:lnTo>
                  <a:pt x="6294287" y="2412897"/>
                </a:lnTo>
                <a:lnTo>
                  <a:pt x="6294287" y="2471635"/>
                </a:lnTo>
                <a:lnTo>
                  <a:pt x="6235549" y="2471635"/>
                </a:lnTo>
                <a:close/>
                <a:moveTo>
                  <a:pt x="6157761" y="2412897"/>
                </a:moveTo>
                <a:lnTo>
                  <a:pt x="6214911" y="2412897"/>
                </a:lnTo>
                <a:lnTo>
                  <a:pt x="6214911" y="2471635"/>
                </a:lnTo>
                <a:lnTo>
                  <a:pt x="6157761" y="2471635"/>
                </a:lnTo>
                <a:close/>
                <a:moveTo>
                  <a:pt x="6078386" y="2412897"/>
                </a:moveTo>
                <a:lnTo>
                  <a:pt x="6137124" y="2412897"/>
                </a:lnTo>
                <a:lnTo>
                  <a:pt x="6137124" y="2471635"/>
                </a:lnTo>
                <a:lnTo>
                  <a:pt x="6078386" y="2471635"/>
                </a:lnTo>
                <a:close/>
                <a:moveTo>
                  <a:pt x="5605311" y="2412897"/>
                </a:moveTo>
                <a:lnTo>
                  <a:pt x="5664049" y="2412897"/>
                </a:lnTo>
                <a:lnTo>
                  <a:pt x="5664049" y="2471635"/>
                </a:lnTo>
                <a:lnTo>
                  <a:pt x="5605311" y="2471635"/>
                </a:lnTo>
                <a:close/>
                <a:moveTo>
                  <a:pt x="5525936" y="2412897"/>
                </a:moveTo>
                <a:lnTo>
                  <a:pt x="5584674" y="2412897"/>
                </a:lnTo>
                <a:lnTo>
                  <a:pt x="5584674" y="2471635"/>
                </a:lnTo>
                <a:lnTo>
                  <a:pt x="5525936" y="2471635"/>
                </a:lnTo>
                <a:close/>
                <a:moveTo>
                  <a:pt x="5446561" y="2412897"/>
                </a:moveTo>
                <a:lnTo>
                  <a:pt x="5505299" y="2412897"/>
                </a:lnTo>
                <a:lnTo>
                  <a:pt x="5505299" y="2471635"/>
                </a:lnTo>
                <a:lnTo>
                  <a:pt x="5446561" y="2471635"/>
                </a:lnTo>
                <a:close/>
                <a:moveTo>
                  <a:pt x="5368774" y="2412897"/>
                </a:moveTo>
                <a:lnTo>
                  <a:pt x="5425924" y="2412897"/>
                </a:lnTo>
                <a:lnTo>
                  <a:pt x="5425924" y="2471635"/>
                </a:lnTo>
                <a:lnTo>
                  <a:pt x="5368774" y="2471635"/>
                </a:lnTo>
                <a:close/>
                <a:moveTo>
                  <a:pt x="5289399" y="2412897"/>
                </a:moveTo>
                <a:lnTo>
                  <a:pt x="5348137" y="2412897"/>
                </a:lnTo>
                <a:lnTo>
                  <a:pt x="5348137" y="2471635"/>
                </a:lnTo>
                <a:lnTo>
                  <a:pt x="5289399" y="2471635"/>
                </a:lnTo>
                <a:close/>
                <a:moveTo>
                  <a:pt x="5130649" y="2412897"/>
                </a:moveTo>
                <a:lnTo>
                  <a:pt x="5189387" y="2412897"/>
                </a:lnTo>
                <a:lnTo>
                  <a:pt x="5189387" y="2471635"/>
                </a:lnTo>
                <a:lnTo>
                  <a:pt x="5130649" y="2471635"/>
                </a:lnTo>
                <a:close/>
                <a:moveTo>
                  <a:pt x="5052861" y="2412897"/>
                </a:moveTo>
                <a:lnTo>
                  <a:pt x="5110011" y="2412897"/>
                </a:lnTo>
                <a:lnTo>
                  <a:pt x="5110011" y="2471635"/>
                </a:lnTo>
                <a:lnTo>
                  <a:pt x="5052861" y="2471635"/>
                </a:lnTo>
                <a:close/>
                <a:moveTo>
                  <a:pt x="4973486" y="2412897"/>
                </a:moveTo>
                <a:lnTo>
                  <a:pt x="5030636" y="2412897"/>
                </a:lnTo>
                <a:lnTo>
                  <a:pt x="5030636" y="2471635"/>
                </a:lnTo>
                <a:lnTo>
                  <a:pt x="4973486" y="2471635"/>
                </a:lnTo>
                <a:close/>
                <a:moveTo>
                  <a:pt x="4894111" y="2412897"/>
                </a:moveTo>
                <a:lnTo>
                  <a:pt x="4952849" y="2412897"/>
                </a:lnTo>
                <a:lnTo>
                  <a:pt x="4952849" y="2471635"/>
                </a:lnTo>
                <a:lnTo>
                  <a:pt x="4894111" y="2471635"/>
                </a:lnTo>
                <a:close/>
                <a:moveTo>
                  <a:pt x="4814736" y="2412897"/>
                </a:moveTo>
                <a:lnTo>
                  <a:pt x="4873474" y="2412897"/>
                </a:lnTo>
                <a:lnTo>
                  <a:pt x="4873474" y="2471635"/>
                </a:lnTo>
                <a:lnTo>
                  <a:pt x="4814736" y="2471635"/>
                </a:lnTo>
                <a:close/>
                <a:moveTo>
                  <a:pt x="4736949" y="2412897"/>
                </a:moveTo>
                <a:lnTo>
                  <a:pt x="4794099" y="2412897"/>
                </a:lnTo>
                <a:lnTo>
                  <a:pt x="4794099" y="2471635"/>
                </a:lnTo>
                <a:lnTo>
                  <a:pt x="4736949" y="2471635"/>
                </a:lnTo>
                <a:close/>
                <a:moveTo>
                  <a:pt x="4657574" y="2412897"/>
                </a:moveTo>
                <a:lnTo>
                  <a:pt x="4716312" y="2412897"/>
                </a:lnTo>
                <a:lnTo>
                  <a:pt x="4716312" y="2471635"/>
                </a:lnTo>
                <a:lnTo>
                  <a:pt x="4657574" y="2471635"/>
                </a:lnTo>
                <a:close/>
                <a:moveTo>
                  <a:pt x="4578199" y="2412897"/>
                </a:moveTo>
                <a:lnTo>
                  <a:pt x="4636937" y="2412897"/>
                </a:lnTo>
                <a:lnTo>
                  <a:pt x="4636937" y="2471635"/>
                </a:lnTo>
                <a:lnTo>
                  <a:pt x="4578199" y="2471635"/>
                </a:lnTo>
                <a:close/>
                <a:moveTo>
                  <a:pt x="4498824" y="2412897"/>
                </a:moveTo>
                <a:lnTo>
                  <a:pt x="4557562" y="2412897"/>
                </a:lnTo>
                <a:lnTo>
                  <a:pt x="4557562" y="2471635"/>
                </a:lnTo>
                <a:lnTo>
                  <a:pt x="4498824" y="2471635"/>
                </a:lnTo>
                <a:close/>
                <a:moveTo>
                  <a:pt x="4421036" y="2412897"/>
                </a:moveTo>
                <a:lnTo>
                  <a:pt x="4479774" y="2412897"/>
                </a:lnTo>
                <a:lnTo>
                  <a:pt x="4479774" y="2471635"/>
                </a:lnTo>
                <a:lnTo>
                  <a:pt x="4421036" y="2471635"/>
                </a:lnTo>
                <a:close/>
                <a:moveTo>
                  <a:pt x="4341661" y="2412897"/>
                </a:moveTo>
                <a:lnTo>
                  <a:pt x="4400399" y="2412897"/>
                </a:lnTo>
                <a:lnTo>
                  <a:pt x="4400399" y="2471635"/>
                </a:lnTo>
                <a:lnTo>
                  <a:pt x="4341661" y="2471635"/>
                </a:lnTo>
                <a:close/>
                <a:moveTo>
                  <a:pt x="4262286" y="2412897"/>
                </a:moveTo>
                <a:lnTo>
                  <a:pt x="4321024" y="2412897"/>
                </a:lnTo>
                <a:lnTo>
                  <a:pt x="4321024" y="2471635"/>
                </a:lnTo>
                <a:lnTo>
                  <a:pt x="4262286" y="2471635"/>
                </a:lnTo>
                <a:close/>
                <a:moveTo>
                  <a:pt x="4184499" y="2412897"/>
                </a:moveTo>
                <a:lnTo>
                  <a:pt x="4241649" y="2412897"/>
                </a:lnTo>
                <a:lnTo>
                  <a:pt x="4241649" y="2471635"/>
                </a:lnTo>
                <a:lnTo>
                  <a:pt x="4184499" y="2471635"/>
                </a:lnTo>
                <a:close/>
                <a:moveTo>
                  <a:pt x="4105124" y="2412897"/>
                </a:moveTo>
                <a:lnTo>
                  <a:pt x="4163862" y="2412897"/>
                </a:lnTo>
                <a:lnTo>
                  <a:pt x="4163862" y="2471635"/>
                </a:lnTo>
                <a:lnTo>
                  <a:pt x="4105124" y="2471635"/>
                </a:lnTo>
                <a:close/>
                <a:moveTo>
                  <a:pt x="4025749" y="2412897"/>
                </a:moveTo>
                <a:lnTo>
                  <a:pt x="4084487" y="2412897"/>
                </a:lnTo>
                <a:lnTo>
                  <a:pt x="4084487" y="2471635"/>
                </a:lnTo>
                <a:lnTo>
                  <a:pt x="4025749" y="2471635"/>
                </a:lnTo>
                <a:close/>
                <a:moveTo>
                  <a:pt x="3947961" y="2412897"/>
                </a:moveTo>
                <a:lnTo>
                  <a:pt x="4005111" y="2412897"/>
                </a:lnTo>
                <a:lnTo>
                  <a:pt x="4005111" y="2471635"/>
                </a:lnTo>
                <a:lnTo>
                  <a:pt x="3947961" y="2471635"/>
                </a:lnTo>
                <a:close/>
                <a:moveTo>
                  <a:pt x="3868586" y="2412897"/>
                </a:moveTo>
                <a:lnTo>
                  <a:pt x="3925736" y="2412897"/>
                </a:lnTo>
                <a:lnTo>
                  <a:pt x="3925736" y="2471635"/>
                </a:lnTo>
                <a:lnTo>
                  <a:pt x="3868586" y="2471635"/>
                </a:lnTo>
                <a:close/>
                <a:moveTo>
                  <a:pt x="2604936" y="2412897"/>
                </a:moveTo>
                <a:lnTo>
                  <a:pt x="2663674" y="2412897"/>
                </a:lnTo>
                <a:lnTo>
                  <a:pt x="2663674" y="2471635"/>
                </a:lnTo>
                <a:lnTo>
                  <a:pt x="2604936" y="2471635"/>
                </a:lnTo>
                <a:close/>
                <a:moveTo>
                  <a:pt x="2447867" y="2412897"/>
                </a:moveTo>
                <a:lnTo>
                  <a:pt x="2505023" y="2412897"/>
                </a:lnTo>
                <a:lnTo>
                  <a:pt x="2505023" y="2471635"/>
                </a:lnTo>
                <a:lnTo>
                  <a:pt x="2447867" y="2471635"/>
                </a:lnTo>
                <a:close/>
                <a:moveTo>
                  <a:pt x="2368497" y="2412897"/>
                </a:moveTo>
                <a:lnTo>
                  <a:pt x="2427232" y="2412897"/>
                </a:lnTo>
                <a:lnTo>
                  <a:pt x="2427232" y="2471635"/>
                </a:lnTo>
                <a:lnTo>
                  <a:pt x="2368497" y="2471635"/>
                </a:lnTo>
                <a:close/>
                <a:moveTo>
                  <a:pt x="2289122" y="2412897"/>
                </a:moveTo>
                <a:lnTo>
                  <a:pt x="2347859" y="2412897"/>
                </a:lnTo>
                <a:lnTo>
                  <a:pt x="2347859" y="2471635"/>
                </a:lnTo>
                <a:lnTo>
                  <a:pt x="2289122" y="2471635"/>
                </a:lnTo>
                <a:close/>
                <a:moveTo>
                  <a:pt x="1973199" y="2412897"/>
                </a:moveTo>
                <a:lnTo>
                  <a:pt x="2031941" y="2412897"/>
                </a:lnTo>
                <a:lnTo>
                  <a:pt x="2031941" y="2471635"/>
                </a:lnTo>
                <a:lnTo>
                  <a:pt x="1973199" y="2471635"/>
                </a:lnTo>
                <a:close/>
                <a:moveTo>
                  <a:pt x="1893822" y="2412897"/>
                </a:moveTo>
                <a:lnTo>
                  <a:pt x="1952558" y="2412897"/>
                </a:lnTo>
                <a:lnTo>
                  <a:pt x="1952558" y="2471635"/>
                </a:lnTo>
                <a:lnTo>
                  <a:pt x="1893822" y="2471635"/>
                </a:lnTo>
                <a:close/>
                <a:moveTo>
                  <a:pt x="1816053" y="2412897"/>
                </a:moveTo>
                <a:lnTo>
                  <a:pt x="1873190" y="2412897"/>
                </a:lnTo>
                <a:lnTo>
                  <a:pt x="1873190" y="2471635"/>
                </a:lnTo>
                <a:lnTo>
                  <a:pt x="1816053" y="2471635"/>
                </a:lnTo>
                <a:close/>
                <a:moveTo>
                  <a:pt x="1736676" y="2412897"/>
                </a:moveTo>
                <a:lnTo>
                  <a:pt x="1795421" y="2412897"/>
                </a:lnTo>
                <a:lnTo>
                  <a:pt x="1795421" y="2471635"/>
                </a:lnTo>
                <a:lnTo>
                  <a:pt x="1736676" y="2471635"/>
                </a:lnTo>
                <a:close/>
                <a:moveTo>
                  <a:pt x="1657297" y="2412897"/>
                </a:moveTo>
                <a:lnTo>
                  <a:pt x="1716038" y="2412897"/>
                </a:lnTo>
                <a:lnTo>
                  <a:pt x="1716038" y="2471635"/>
                </a:lnTo>
                <a:lnTo>
                  <a:pt x="1657297" y="2471635"/>
                </a:lnTo>
                <a:close/>
                <a:moveTo>
                  <a:pt x="395223" y="2412897"/>
                </a:moveTo>
                <a:lnTo>
                  <a:pt x="452369" y="2412897"/>
                </a:lnTo>
                <a:lnTo>
                  <a:pt x="452369" y="2471635"/>
                </a:lnTo>
                <a:lnTo>
                  <a:pt x="395223" y="2471635"/>
                </a:lnTo>
                <a:close/>
                <a:moveTo>
                  <a:pt x="6946749" y="2335110"/>
                </a:moveTo>
                <a:lnTo>
                  <a:pt x="7005487" y="2335110"/>
                </a:lnTo>
                <a:lnTo>
                  <a:pt x="7005487" y="2393848"/>
                </a:lnTo>
                <a:lnTo>
                  <a:pt x="6946749" y="2393848"/>
                </a:lnTo>
                <a:close/>
                <a:moveTo>
                  <a:pt x="6867374" y="2335110"/>
                </a:moveTo>
                <a:lnTo>
                  <a:pt x="6926112" y="2335110"/>
                </a:lnTo>
                <a:lnTo>
                  <a:pt x="6926112" y="2393848"/>
                </a:lnTo>
                <a:lnTo>
                  <a:pt x="6867374" y="2393848"/>
                </a:lnTo>
                <a:close/>
                <a:moveTo>
                  <a:pt x="6789586" y="2335110"/>
                </a:moveTo>
                <a:lnTo>
                  <a:pt x="6846736" y="2335110"/>
                </a:lnTo>
                <a:lnTo>
                  <a:pt x="6846736" y="2393848"/>
                </a:lnTo>
                <a:lnTo>
                  <a:pt x="6789586" y="2393848"/>
                </a:lnTo>
                <a:close/>
                <a:moveTo>
                  <a:pt x="6710211" y="2335110"/>
                </a:moveTo>
                <a:lnTo>
                  <a:pt x="6768949" y="2335110"/>
                </a:lnTo>
                <a:lnTo>
                  <a:pt x="6768949" y="2393848"/>
                </a:lnTo>
                <a:lnTo>
                  <a:pt x="6710211" y="2393848"/>
                </a:lnTo>
                <a:close/>
                <a:moveTo>
                  <a:pt x="6630836" y="2335110"/>
                </a:moveTo>
                <a:lnTo>
                  <a:pt x="6689574" y="2335110"/>
                </a:lnTo>
                <a:lnTo>
                  <a:pt x="6689574" y="2393848"/>
                </a:lnTo>
                <a:lnTo>
                  <a:pt x="6630836" y="2393848"/>
                </a:lnTo>
                <a:close/>
                <a:moveTo>
                  <a:pt x="6551461" y="2335110"/>
                </a:moveTo>
                <a:lnTo>
                  <a:pt x="6610199" y="2335110"/>
                </a:lnTo>
                <a:lnTo>
                  <a:pt x="6610199" y="2393848"/>
                </a:lnTo>
                <a:lnTo>
                  <a:pt x="6551461" y="2393848"/>
                </a:lnTo>
                <a:close/>
                <a:moveTo>
                  <a:pt x="6394299" y="2335110"/>
                </a:moveTo>
                <a:lnTo>
                  <a:pt x="6453037" y="2335110"/>
                </a:lnTo>
                <a:lnTo>
                  <a:pt x="6453037" y="2393848"/>
                </a:lnTo>
                <a:lnTo>
                  <a:pt x="6394299" y="2393848"/>
                </a:lnTo>
                <a:close/>
                <a:moveTo>
                  <a:pt x="6314924" y="2335110"/>
                </a:moveTo>
                <a:lnTo>
                  <a:pt x="6373662" y="2335110"/>
                </a:lnTo>
                <a:lnTo>
                  <a:pt x="6373662" y="2393848"/>
                </a:lnTo>
                <a:lnTo>
                  <a:pt x="6314924" y="2393848"/>
                </a:lnTo>
                <a:close/>
                <a:moveTo>
                  <a:pt x="6235549" y="2335110"/>
                </a:moveTo>
                <a:lnTo>
                  <a:pt x="6294287" y="2335110"/>
                </a:lnTo>
                <a:lnTo>
                  <a:pt x="6294287" y="2393848"/>
                </a:lnTo>
                <a:lnTo>
                  <a:pt x="6235549" y="2393848"/>
                </a:lnTo>
                <a:close/>
                <a:moveTo>
                  <a:pt x="6157761" y="2335110"/>
                </a:moveTo>
                <a:lnTo>
                  <a:pt x="6214911" y="2335110"/>
                </a:lnTo>
                <a:lnTo>
                  <a:pt x="6214911" y="2393848"/>
                </a:lnTo>
                <a:lnTo>
                  <a:pt x="6157761" y="2393848"/>
                </a:lnTo>
                <a:close/>
                <a:moveTo>
                  <a:pt x="6078386" y="2335110"/>
                </a:moveTo>
                <a:lnTo>
                  <a:pt x="6137124" y="2335110"/>
                </a:lnTo>
                <a:lnTo>
                  <a:pt x="6137124" y="2393848"/>
                </a:lnTo>
                <a:lnTo>
                  <a:pt x="6078386" y="2393848"/>
                </a:lnTo>
                <a:close/>
                <a:moveTo>
                  <a:pt x="5684686" y="2335110"/>
                </a:moveTo>
                <a:lnTo>
                  <a:pt x="5741836" y="2335110"/>
                </a:lnTo>
                <a:lnTo>
                  <a:pt x="5741836" y="2393848"/>
                </a:lnTo>
                <a:lnTo>
                  <a:pt x="5684686" y="2393848"/>
                </a:lnTo>
                <a:close/>
                <a:moveTo>
                  <a:pt x="5605311" y="2335110"/>
                </a:moveTo>
                <a:lnTo>
                  <a:pt x="5664049" y="2335110"/>
                </a:lnTo>
                <a:lnTo>
                  <a:pt x="5664049" y="2393848"/>
                </a:lnTo>
                <a:lnTo>
                  <a:pt x="5605311" y="2393848"/>
                </a:lnTo>
                <a:close/>
                <a:moveTo>
                  <a:pt x="5525936" y="2335110"/>
                </a:moveTo>
                <a:lnTo>
                  <a:pt x="5584674" y="2335110"/>
                </a:lnTo>
                <a:lnTo>
                  <a:pt x="5584674" y="2393848"/>
                </a:lnTo>
                <a:lnTo>
                  <a:pt x="5525936" y="2393848"/>
                </a:lnTo>
                <a:close/>
                <a:moveTo>
                  <a:pt x="5446561" y="2335110"/>
                </a:moveTo>
                <a:lnTo>
                  <a:pt x="5505299" y="2335110"/>
                </a:lnTo>
                <a:lnTo>
                  <a:pt x="5505299" y="2393848"/>
                </a:lnTo>
                <a:lnTo>
                  <a:pt x="5446561" y="2393848"/>
                </a:lnTo>
                <a:close/>
                <a:moveTo>
                  <a:pt x="5368774" y="2335110"/>
                </a:moveTo>
                <a:lnTo>
                  <a:pt x="5425924" y="2335110"/>
                </a:lnTo>
                <a:lnTo>
                  <a:pt x="5425924" y="2393848"/>
                </a:lnTo>
                <a:lnTo>
                  <a:pt x="5368774" y="2393848"/>
                </a:lnTo>
                <a:close/>
                <a:moveTo>
                  <a:pt x="5289399" y="2335110"/>
                </a:moveTo>
                <a:lnTo>
                  <a:pt x="5348137" y="2335110"/>
                </a:lnTo>
                <a:lnTo>
                  <a:pt x="5348137" y="2393848"/>
                </a:lnTo>
                <a:lnTo>
                  <a:pt x="5289399" y="2393848"/>
                </a:lnTo>
                <a:close/>
                <a:moveTo>
                  <a:pt x="5130649" y="2335110"/>
                </a:moveTo>
                <a:lnTo>
                  <a:pt x="5189387" y="2335110"/>
                </a:lnTo>
                <a:lnTo>
                  <a:pt x="5189387" y="2393848"/>
                </a:lnTo>
                <a:lnTo>
                  <a:pt x="5130649" y="2393848"/>
                </a:lnTo>
                <a:close/>
                <a:moveTo>
                  <a:pt x="5052861" y="2335110"/>
                </a:moveTo>
                <a:lnTo>
                  <a:pt x="5110011" y="2335110"/>
                </a:lnTo>
                <a:lnTo>
                  <a:pt x="5110011" y="2393848"/>
                </a:lnTo>
                <a:lnTo>
                  <a:pt x="5052861" y="2393848"/>
                </a:lnTo>
                <a:close/>
                <a:moveTo>
                  <a:pt x="4973486" y="2335110"/>
                </a:moveTo>
                <a:lnTo>
                  <a:pt x="5030636" y="2335110"/>
                </a:lnTo>
                <a:lnTo>
                  <a:pt x="5030636" y="2393848"/>
                </a:lnTo>
                <a:lnTo>
                  <a:pt x="4973486" y="2393848"/>
                </a:lnTo>
                <a:close/>
                <a:moveTo>
                  <a:pt x="4894111" y="2335110"/>
                </a:moveTo>
                <a:lnTo>
                  <a:pt x="4952849" y="2335110"/>
                </a:lnTo>
                <a:lnTo>
                  <a:pt x="4952849" y="2393848"/>
                </a:lnTo>
                <a:lnTo>
                  <a:pt x="4894111" y="2393848"/>
                </a:lnTo>
                <a:close/>
                <a:moveTo>
                  <a:pt x="4814736" y="2335110"/>
                </a:moveTo>
                <a:lnTo>
                  <a:pt x="4873474" y="2335110"/>
                </a:lnTo>
                <a:lnTo>
                  <a:pt x="4873474" y="2393848"/>
                </a:lnTo>
                <a:lnTo>
                  <a:pt x="4814736" y="2393848"/>
                </a:lnTo>
                <a:close/>
                <a:moveTo>
                  <a:pt x="4736949" y="2335110"/>
                </a:moveTo>
                <a:lnTo>
                  <a:pt x="4794099" y="2335110"/>
                </a:lnTo>
                <a:lnTo>
                  <a:pt x="4794099" y="2393848"/>
                </a:lnTo>
                <a:lnTo>
                  <a:pt x="4736949" y="2393848"/>
                </a:lnTo>
                <a:close/>
                <a:moveTo>
                  <a:pt x="4657574" y="2335110"/>
                </a:moveTo>
                <a:lnTo>
                  <a:pt x="4716312" y="2335110"/>
                </a:lnTo>
                <a:lnTo>
                  <a:pt x="4716312" y="2393848"/>
                </a:lnTo>
                <a:lnTo>
                  <a:pt x="4657574" y="2393848"/>
                </a:lnTo>
                <a:close/>
                <a:moveTo>
                  <a:pt x="4578199" y="2335110"/>
                </a:moveTo>
                <a:lnTo>
                  <a:pt x="4636937" y="2335110"/>
                </a:lnTo>
                <a:lnTo>
                  <a:pt x="4636937" y="2393848"/>
                </a:lnTo>
                <a:lnTo>
                  <a:pt x="4578199" y="2393848"/>
                </a:lnTo>
                <a:close/>
                <a:moveTo>
                  <a:pt x="4498824" y="2335110"/>
                </a:moveTo>
                <a:lnTo>
                  <a:pt x="4557562" y="2335110"/>
                </a:lnTo>
                <a:lnTo>
                  <a:pt x="4557562" y="2393848"/>
                </a:lnTo>
                <a:lnTo>
                  <a:pt x="4498824" y="2393848"/>
                </a:lnTo>
                <a:close/>
                <a:moveTo>
                  <a:pt x="4421036" y="2335110"/>
                </a:moveTo>
                <a:lnTo>
                  <a:pt x="4479774" y="2335110"/>
                </a:lnTo>
                <a:lnTo>
                  <a:pt x="4479774" y="2393848"/>
                </a:lnTo>
                <a:lnTo>
                  <a:pt x="4421036" y="2393848"/>
                </a:lnTo>
                <a:close/>
                <a:moveTo>
                  <a:pt x="4341661" y="2335110"/>
                </a:moveTo>
                <a:lnTo>
                  <a:pt x="4400399" y="2335110"/>
                </a:lnTo>
                <a:lnTo>
                  <a:pt x="4400399" y="2393848"/>
                </a:lnTo>
                <a:lnTo>
                  <a:pt x="4341661" y="2393848"/>
                </a:lnTo>
                <a:close/>
                <a:moveTo>
                  <a:pt x="4262286" y="2335110"/>
                </a:moveTo>
                <a:lnTo>
                  <a:pt x="4321024" y="2335110"/>
                </a:lnTo>
                <a:lnTo>
                  <a:pt x="4321024" y="2393848"/>
                </a:lnTo>
                <a:lnTo>
                  <a:pt x="4262286" y="2393848"/>
                </a:lnTo>
                <a:close/>
                <a:moveTo>
                  <a:pt x="4184499" y="2335110"/>
                </a:moveTo>
                <a:lnTo>
                  <a:pt x="4241649" y="2335110"/>
                </a:lnTo>
                <a:lnTo>
                  <a:pt x="4241649" y="2393848"/>
                </a:lnTo>
                <a:lnTo>
                  <a:pt x="4184499" y="2393848"/>
                </a:lnTo>
                <a:close/>
                <a:moveTo>
                  <a:pt x="4105124" y="2335110"/>
                </a:moveTo>
                <a:lnTo>
                  <a:pt x="4163862" y="2335110"/>
                </a:lnTo>
                <a:lnTo>
                  <a:pt x="4163862" y="2393848"/>
                </a:lnTo>
                <a:lnTo>
                  <a:pt x="4105124" y="2393848"/>
                </a:lnTo>
                <a:close/>
                <a:moveTo>
                  <a:pt x="4025749" y="2335110"/>
                </a:moveTo>
                <a:lnTo>
                  <a:pt x="4084487" y="2335110"/>
                </a:lnTo>
                <a:lnTo>
                  <a:pt x="4084487" y="2393848"/>
                </a:lnTo>
                <a:lnTo>
                  <a:pt x="4025749" y="2393848"/>
                </a:lnTo>
                <a:close/>
                <a:moveTo>
                  <a:pt x="3947961" y="2335110"/>
                </a:moveTo>
                <a:lnTo>
                  <a:pt x="4005111" y="2335110"/>
                </a:lnTo>
                <a:lnTo>
                  <a:pt x="4005111" y="2393848"/>
                </a:lnTo>
                <a:lnTo>
                  <a:pt x="3947961" y="2393848"/>
                </a:lnTo>
                <a:close/>
                <a:moveTo>
                  <a:pt x="3868586" y="2335110"/>
                </a:moveTo>
                <a:lnTo>
                  <a:pt x="3925736" y="2335110"/>
                </a:lnTo>
                <a:lnTo>
                  <a:pt x="3925736" y="2393848"/>
                </a:lnTo>
                <a:lnTo>
                  <a:pt x="3868586" y="2393848"/>
                </a:lnTo>
                <a:close/>
                <a:moveTo>
                  <a:pt x="2289125" y="2335110"/>
                </a:moveTo>
                <a:lnTo>
                  <a:pt x="2347863" y="2335110"/>
                </a:lnTo>
                <a:lnTo>
                  <a:pt x="2347863" y="2393848"/>
                </a:lnTo>
                <a:lnTo>
                  <a:pt x="2289125" y="2393848"/>
                </a:lnTo>
                <a:close/>
                <a:moveTo>
                  <a:pt x="2209746" y="2335110"/>
                </a:moveTo>
                <a:lnTo>
                  <a:pt x="2268485" y="2335110"/>
                </a:lnTo>
                <a:lnTo>
                  <a:pt x="2268485" y="2393848"/>
                </a:lnTo>
                <a:lnTo>
                  <a:pt x="2209746" y="2393848"/>
                </a:lnTo>
                <a:close/>
                <a:moveTo>
                  <a:pt x="2131960" y="2335110"/>
                </a:moveTo>
                <a:lnTo>
                  <a:pt x="2189109" y="2335110"/>
                </a:lnTo>
                <a:lnTo>
                  <a:pt x="2189109" y="2393848"/>
                </a:lnTo>
                <a:lnTo>
                  <a:pt x="2131960" y="2393848"/>
                </a:lnTo>
                <a:close/>
                <a:moveTo>
                  <a:pt x="2052581" y="2335110"/>
                </a:moveTo>
                <a:lnTo>
                  <a:pt x="2111322" y="2335110"/>
                </a:lnTo>
                <a:lnTo>
                  <a:pt x="2111322" y="2393848"/>
                </a:lnTo>
                <a:lnTo>
                  <a:pt x="2052581" y="2393848"/>
                </a:lnTo>
                <a:close/>
                <a:moveTo>
                  <a:pt x="1736681" y="2335110"/>
                </a:moveTo>
                <a:lnTo>
                  <a:pt x="1795425" y="2335110"/>
                </a:lnTo>
                <a:lnTo>
                  <a:pt x="1795425" y="2393848"/>
                </a:lnTo>
                <a:lnTo>
                  <a:pt x="1736681" y="2393848"/>
                </a:lnTo>
                <a:close/>
                <a:moveTo>
                  <a:pt x="1657301" y="2335110"/>
                </a:moveTo>
                <a:lnTo>
                  <a:pt x="1716041" y="2335110"/>
                </a:lnTo>
                <a:lnTo>
                  <a:pt x="1716041" y="2393848"/>
                </a:lnTo>
                <a:lnTo>
                  <a:pt x="1657301" y="2393848"/>
                </a:lnTo>
                <a:close/>
                <a:moveTo>
                  <a:pt x="315848" y="2335110"/>
                </a:moveTo>
                <a:lnTo>
                  <a:pt x="374589" y="2335110"/>
                </a:lnTo>
                <a:lnTo>
                  <a:pt x="374589" y="2393848"/>
                </a:lnTo>
                <a:lnTo>
                  <a:pt x="315848" y="2393848"/>
                </a:lnTo>
                <a:close/>
                <a:moveTo>
                  <a:pt x="236473" y="2335110"/>
                </a:moveTo>
                <a:lnTo>
                  <a:pt x="295212" y="2335110"/>
                </a:lnTo>
                <a:lnTo>
                  <a:pt x="295212" y="2393848"/>
                </a:lnTo>
                <a:lnTo>
                  <a:pt x="236473" y="2393848"/>
                </a:lnTo>
                <a:close/>
                <a:moveTo>
                  <a:pt x="1736683" y="2257323"/>
                </a:moveTo>
                <a:lnTo>
                  <a:pt x="1795425" y="2257323"/>
                </a:lnTo>
                <a:lnTo>
                  <a:pt x="1795425" y="2316061"/>
                </a:lnTo>
                <a:lnTo>
                  <a:pt x="1736683" y="2316061"/>
                </a:lnTo>
                <a:close/>
                <a:moveTo>
                  <a:pt x="1657303" y="2257323"/>
                </a:moveTo>
                <a:lnTo>
                  <a:pt x="1716044" y="2257323"/>
                </a:lnTo>
                <a:lnTo>
                  <a:pt x="1716044" y="2316061"/>
                </a:lnTo>
                <a:lnTo>
                  <a:pt x="1657303" y="2316061"/>
                </a:lnTo>
                <a:close/>
                <a:moveTo>
                  <a:pt x="1577920" y="2257323"/>
                </a:moveTo>
                <a:lnTo>
                  <a:pt x="1636667" y="2257323"/>
                </a:lnTo>
                <a:lnTo>
                  <a:pt x="1636667" y="2316061"/>
                </a:lnTo>
                <a:lnTo>
                  <a:pt x="1577920" y="2316061"/>
                </a:lnTo>
                <a:close/>
                <a:moveTo>
                  <a:pt x="1500131" y="2257323"/>
                </a:moveTo>
                <a:lnTo>
                  <a:pt x="1558871" y="2257323"/>
                </a:lnTo>
                <a:lnTo>
                  <a:pt x="1558871" y="2316061"/>
                </a:lnTo>
                <a:lnTo>
                  <a:pt x="1500131" y="2316061"/>
                </a:lnTo>
                <a:close/>
                <a:moveTo>
                  <a:pt x="7342036" y="2257322"/>
                </a:moveTo>
                <a:lnTo>
                  <a:pt x="7400774" y="2257322"/>
                </a:lnTo>
                <a:lnTo>
                  <a:pt x="7400774" y="2316060"/>
                </a:lnTo>
                <a:lnTo>
                  <a:pt x="7342036" y="2316060"/>
                </a:lnTo>
                <a:close/>
                <a:moveTo>
                  <a:pt x="7262661" y="2257322"/>
                </a:moveTo>
                <a:lnTo>
                  <a:pt x="7321399" y="2257322"/>
                </a:lnTo>
                <a:lnTo>
                  <a:pt x="7321399" y="2316060"/>
                </a:lnTo>
                <a:lnTo>
                  <a:pt x="7262661" y="2316060"/>
                </a:lnTo>
                <a:close/>
                <a:moveTo>
                  <a:pt x="7105499" y="2257322"/>
                </a:moveTo>
                <a:lnTo>
                  <a:pt x="7162649" y="2257322"/>
                </a:lnTo>
                <a:lnTo>
                  <a:pt x="7162649" y="2316060"/>
                </a:lnTo>
                <a:lnTo>
                  <a:pt x="7105499" y="2316060"/>
                </a:lnTo>
                <a:close/>
                <a:moveTo>
                  <a:pt x="7026124" y="2257322"/>
                </a:moveTo>
                <a:lnTo>
                  <a:pt x="7084862" y="2257322"/>
                </a:lnTo>
                <a:lnTo>
                  <a:pt x="7084862" y="2316060"/>
                </a:lnTo>
                <a:lnTo>
                  <a:pt x="7026124" y="2316060"/>
                </a:lnTo>
                <a:close/>
                <a:moveTo>
                  <a:pt x="6946749" y="2257322"/>
                </a:moveTo>
                <a:lnTo>
                  <a:pt x="7005487" y="2257322"/>
                </a:lnTo>
                <a:lnTo>
                  <a:pt x="7005487" y="2316060"/>
                </a:lnTo>
                <a:lnTo>
                  <a:pt x="6946749" y="2316060"/>
                </a:lnTo>
                <a:close/>
                <a:moveTo>
                  <a:pt x="6867374" y="2257322"/>
                </a:moveTo>
                <a:lnTo>
                  <a:pt x="6926112" y="2257322"/>
                </a:lnTo>
                <a:lnTo>
                  <a:pt x="6926112" y="2316060"/>
                </a:lnTo>
                <a:lnTo>
                  <a:pt x="6867374" y="2316060"/>
                </a:lnTo>
                <a:close/>
                <a:moveTo>
                  <a:pt x="6789586" y="2257322"/>
                </a:moveTo>
                <a:lnTo>
                  <a:pt x="6846736" y="2257322"/>
                </a:lnTo>
                <a:lnTo>
                  <a:pt x="6846736" y="2316060"/>
                </a:lnTo>
                <a:lnTo>
                  <a:pt x="6789586" y="2316060"/>
                </a:lnTo>
                <a:close/>
                <a:moveTo>
                  <a:pt x="6710211" y="2257322"/>
                </a:moveTo>
                <a:lnTo>
                  <a:pt x="6768949" y="2257322"/>
                </a:lnTo>
                <a:lnTo>
                  <a:pt x="6768949" y="2316060"/>
                </a:lnTo>
                <a:lnTo>
                  <a:pt x="6710211" y="2316060"/>
                </a:lnTo>
                <a:close/>
                <a:moveTo>
                  <a:pt x="6630836" y="2257322"/>
                </a:moveTo>
                <a:lnTo>
                  <a:pt x="6689574" y="2257322"/>
                </a:lnTo>
                <a:lnTo>
                  <a:pt x="6689574" y="2316060"/>
                </a:lnTo>
                <a:lnTo>
                  <a:pt x="6630836" y="2316060"/>
                </a:lnTo>
                <a:close/>
                <a:moveTo>
                  <a:pt x="6551461" y="2257322"/>
                </a:moveTo>
                <a:lnTo>
                  <a:pt x="6610199" y="2257322"/>
                </a:lnTo>
                <a:lnTo>
                  <a:pt x="6610199" y="2316060"/>
                </a:lnTo>
                <a:lnTo>
                  <a:pt x="6551461" y="2316060"/>
                </a:lnTo>
                <a:close/>
                <a:moveTo>
                  <a:pt x="6473674" y="2257322"/>
                </a:moveTo>
                <a:lnTo>
                  <a:pt x="6530824" y="2257322"/>
                </a:lnTo>
                <a:lnTo>
                  <a:pt x="6530824" y="2316060"/>
                </a:lnTo>
                <a:lnTo>
                  <a:pt x="6473674" y="2316060"/>
                </a:lnTo>
                <a:close/>
                <a:moveTo>
                  <a:pt x="6394299" y="2257322"/>
                </a:moveTo>
                <a:lnTo>
                  <a:pt x="6453037" y="2257322"/>
                </a:lnTo>
                <a:lnTo>
                  <a:pt x="6453037" y="2316060"/>
                </a:lnTo>
                <a:lnTo>
                  <a:pt x="6394299" y="2316060"/>
                </a:lnTo>
                <a:close/>
                <a:moveTo>
                  <a:pt x="6314924" y="2257322"/>
                </a:moveTo>
                <a:lnTo>
                  <a:pt x="6373662" y="2257322"/>
                </a:lnTo>
                <a:lnTo>
                  <a:pt x="6373662" y="2316060"/>
                </a:lnTo>
                <a:lnTo>
                  <a:pt x="6314924" y="2316060"/>
                </a:lnTo>
                <a:close/>
                <a:moveTo>
                  <a:pt x="6235549" y="2257322"/>
                </a:moveTo>
                <a:lnTo>
                  <a:pt x="6294287" y="2257322"/>
                </a:lnTo>
                <a:lnTo>
                  <a:pt x="6294287" y="2316060"/>
                </a:lnTo>
                <a:lnTo>
                  <a:pt x="6235549" y="2316060"/>
                </a:lnTo>
                <a:close/>
                <a:moveTo>
                  <a:pt x="6157761" y="2257322"/>
                </a:moveTo>
                <a:lnTo>
                  <a:pt x="6214911" y="2257322"/>
                </a:lnTo>
                <a:lnTo>
                  <a:pt x="6214911" y="2316060"/>
                </a:lnTo>
                <a:lnTo>
                  <a:pt x="6157761" y="2316060"/>
                </a:lnTo>
                <a:close/>
                <a:moveTo>
                  <a:pt x="6078386" y="2257322"/>
                </a:moveTo>
                <a:lnTo>
                  <a:pt x="6137124" y="2257322"/>
                </a:lnTo>
                <a:lnTo>
                  <a:pt x="6137124" y="2316060"/>
                </a:lnTo>
                <a:lnTo>
                  <a:pt x="6078386" y="2316060"/>
                </a:lnTo>
                <a:close/>
                <a:moveTo>
                  <a:pt x="5999011" y="2257322"/>
                </a:moveTo>
                <a:lnTo>
                  <a:pt x="6057749" y="2257322"/>
                </a:lnTo>
                <a:lnTo>
                  <a:pt x="6057749" y="2316060"/>
                </a:lnTo>
                <a:lnTo>
                  <a:pt x="5999011" y="2316060"/>
                </a:lnTo>
                <a:close/>
                <a:moveTo>
                  <a:pt x="5684686" y="2257322"/>
                </a:moveTo>
                <a:lnTo>
                  <a:pt x="5741836" y="2257322"/>
                </a:lnTo>
                <a:lnTo>
                  <a:pt x="5741836" y="2316060"/>
                </a:lnTo>
                <a:lnTo>
                  <a:pt x="5684686" y="2316060"/>
                </a:lnTo>
                <a:close/>
                <a:moveTo>
                  <a:pt x="5605311" y="2257322"/>
                </a:moveTo>
                <a:lnTo>
                  <a:pt x="5664049" y="2257322"/>
                </a:lnTo>
                <a:lnTo>
                  <a:pt x="5664049" y="2316060"/>
                </a:lnTo>
                <a:lnTo>
                  <a:pt x="5605311" y="2316060"/>
                </a:lnTo>
                <a:close/>
                <a:moveTo>
                  <a:pt x="5525936" y="2257322"/>
                </a:moveTo>
                <a:lnTo>
                  <a:pt x="5584674" y="2257322"/>
                </a:lnTo>
                <a:lnTo>
                  <a:pt x="5584674" y="2316060"/>
                </a:lnTo>
                <a:lnTo>
                  <a:pt x="5525936" y="2316060"/>
                </a:lnTo>
                <a:close/>
                <a:moveTo>
                  <a:pt x="5446561" y="2257322"/>
                </a:moveTo>
                <a:lnTo>
                  <a:pt x="5505299" y="2257322"/>
                </a:lnTo>
                <a:lnTo>
                  <a:pt x="5505299" y="2316060"/>
                </a:lnTo>
                <a:lnTo>
                  <a:pt x="5446561" y="2316060"/>
                </a:lnTo>
                <a:close/>
                <a:moveTo>
                  <a:pt x="5368774" y="2257322"/>
                </a:moveTo>
                <a:lnTo>
                  <a:pt x="5425924" y="2257322"/>
                </a:lnTo>
                <a:lnTo>
                  <a:pt x="5425924" y="2316060"/>
                </a:lnTo>
                <a:lnTo>
                  <a:pt x="5368774" y="2316060"/>
                </a:lnTo>
                <a:close/>
                <a:moveTo>
                  <a:pt x="5289399" y="2257322"/>
                </a:moveTo>
                <a:lnTo>
                  <a:pt x="5348137" y="2257322"/>
                </a:lnTo>
                <a:lnTo>
                  <a:pt x="5348137" y="2316060"/>
                </a:lnTo>
                <a:lnTo>
                  <a:pt x="5289399" y="2316060"/>
                </a:lnTo>
                <a:close/>
                <a:moveTo>
                  <a:pt x="5210024" y="2257322"/>
                </a:moveTo>
                <a:lnTo>
                  <a:pt x="5268762" y="2257322"/>
                </a:lnTo>
                <a:lnTo>
                  <a:pt x="5268762" y="2316060"/>
                </a:lnTo>
                <a:lnTo>
                  <a:pt x="5210024" y="2316060"/>
                </a:lnTo>
                <a:close/>
                <a:moveTo>
                  <a:pt x="5052861" y="2257322"/>
                </a:moveTo>
                <a:lnTo>
                  <a:pt x="5110011" y="2257322"/>
                </a:lnTo>
                <a:lnTo>
                  <a:pt x="5110011" y="2316060"/>
                </a:lnTo>
                <a:lnTo>
                  <a:pt x="5052861" y="2316060"/>
                </a:lnTo>
                <a:close/>
                <a:moveTo>
                  <a:pt x="4973486" y="2257322"/>
                </a:moveTo>
                <a:lnTo>
                  <a:pt x="5030636" y="2257322"/>
                </a:lnTo>
                <a:lnTo>
                  <a:pt x="5030636" y="2316060"/>
                </a:lnTo>
                <a:lnTo>
                  <a:pt x="4973486" y="2316060"/>
                </a:lnTo>
                <a:close/>
                <a:moveTo>
                  <a:pt x="4894111" y="2257322"/>
                </a:moveTo>
                <a:lnTo>
                  <a:pt x="4952849" y="2257322"/>
                </a:lnTo>
                <a:lnTo>
                  <a:pt x="4952849" y="2316060"/>
                </a:lnTo>
                <a:lnTo>
                  <a:pt x="4894111" y="2316060"/>
                </a:lnTo>
                <a:close/>
                <a:moveTo>
                  <a:pt x="4814736" y="2257322"/>
                </a:moveTo>
                <a:lnTo>
                  <a:pt x="4873474" y="2257322"/>
                </a:lnTo>
                <a:lnTo>
                  <a:pt x="4873474" y="2316060"/>
                </a:lnTo>
                <a:lnTo>
                  <a:pt x="4814736" y="2316060"/>
                </a:lnTo>
                <a:close/>
                <a:moveTo>
                  <a:pt x="4736949" y="2257322"/>
                </a:moveTo>
                <a:lnTo>
                  <a:pt x="4794099" y="2257322"/>
                </a:lnTo>
                <a:lnTo>
                  <a:pt x="4794099" y="2316060"/>
                </a:lnTo>
                <a:lnTo>
                  <a:pt x="4736949" y="2316060"/>
                </a:lnTo>
                <a:close/>
                <a:moveTo>
                  <a:pt x="4657574" y="2257322"/>
                </a:moveTo>
                <a:lnTo>
                  <a:pt x="4716312" y="2257322"/>
                </a:lnTo>
                <a:lnTo>
                  <a:pt x="4716312" y="2316060"/>
                </a:lnTo>
                <a:lnTo>
                  <a:pt x="4657574" y="2316060"/>
                </a:lnTo>
                <a:close/>
                <a:moveTo>
                  <a:pt x="4578199" y="2257322"/>
                </a:moveTo>
                <a:lnTo>
                  <a:pt x="4636937" y="2257322"/>
                </a:lnTo>
                <a:lnTo>
                  <a:pt x="4636937" y="2316060"/>
                </a:lnTo>
                <a:lnTo>
                  <a:pt x="4578199" y="2316060"/>
                </a:lnTo>
                <a:close/>
                <a:moveTo>
                  <a:pt x="4498824" y="2257322"/>
                </a:moveTo>
                <a:lnTo>
                  <a:pt x="4557562" y="2257322"/>
                </a:lnTo>
                <a:lnTo>
                  <a:pt x="4557562" y="2316060"/>
                </a:lnTo>
                <a:lnTo>
                  <a:pt x="4498824" y="2316060"/>
                </a:lnTo>
                <a:close/>
                <a:moveTo>
                  <a:pt x="4421036" y="2257322"/>
                </a:moveTo>
                <a:lnTo>
                  <a:pt x="4479774" y="2257322"/>
                </a:lnTo>
                <a:lnTo>
                  <a:pt x="4479774" y="2316060"/>
                </a:lnTo>
                <a:lnTo>
                  <a:pt x="4421036" y="2316060"/>
                </a:lnTo>
                <a:close/>
                <a:moveTo>
                  <a:pt x="4341661" y="2257322"/>
                </a:moveTo>
                <a:lnTo>
                  <a:pt x="4400399" y="2257322"/>
                </a:lnTo>
                <a:lnTo>
                  <a:pt x="4400399" y="2316060"/>
                </a:lnTo>
                <a:lnTo>
                  <a:pt x="4341661" y="2316060"/>
                </a:lnTo>
                <a:close/>
                <a:moveTo>
                  <a:pt x="4262286" y="2257322"/>
                </a:moveTo>
                <a:lnTo>
                  <a:pt x="4321024" y="2257322"/>
                </a:lnTo>
                <a:lnTo>
                  <a:pt x="4321024" y="2316060"/>
                </a:lnTo>
                <a:lnTo>
                  <a:pt x="4262286" y="2316060"/>
                </a:lnTo>
                <a:close/>
                <a:moveTo>
                  <a:pt x="4184499" y="2257322"/>
                </a:moveTo>
                <a:lnTo>
                  <a:pt x="4241649" y="2257322"/>
                </a:lnTo>
                <a:lnTo>
                  <a:pt x="4241649" y="2316060"/>
                </a:lnTo>
                <a:lnTo>
                  <a:pt x="4184499" y="2316060"/>
                </a:lnTo>
                <a:close/>
                <a:moveTo>
                  <a:pt x="4105124" y="2257322"/>
                </a:moveTo>
                <a:lnTo>
                  <a:pt x="4163862" y="2257322"/>
                </a:lnTo>
                <a:lnTo>
                  <a:pt x="4163862" y="2316060"/>
                </a:lnTo>
                <a:lnTo>
                  <a:pt x="4105124" y="2316060"/>
                </a:lnTo>
                <a:close/>
                <a:moveTo>
                  <a:pt x="4025749" y="2257322"/>
                </a:moveTo>
                <a:lnTo>
                  <a:pt x="4084487" y="2257322"/>
                </a:lnTo>
                <a:lnTo>
                  <a:pt x="4084487" y="2316060"/>
                </a:lnTo>
                <a:lnTo>
                  <a:pt x="4025749" y="2316060"/>
                </a:lnTo>
                <a:close/>
                <a:moveTo>
                  <a:pt x="3947961" y="2257322"/>
                </a:moveTo>
                <a:lnTo>
                  <a:pt x="4005111" y="2257322"/>
                </a:lnTo>
                <a:lnTo>
                  <a:pt x="4005111" y="2316060"/>
                </a:lnTo>
                <a:lnTo>
                  <a:pt x="3947961" y="2316060"/>
                </a:lnTo>
                <a:close/>
                <a:moveTo>
                  <a:pt x="3868586" y="2257322"/>
                </a:moveTo>
                <a:lnTo>
                  <a:pt x="3925736" y="2257322"/>
                </a:lnTo>
                <a:lnTo>
                  <a:pt x="3925736" y="2316060"/>
                </a:lnTo>
                <a:lnTo>
                  <a:pt x="3868586" y="2316060"/>
                </a:lnTo>
                <a:close/>
                <a:moveTo>
                  <a:pt x="2368502" y="2257322"/>
                </a:moveTo>
                <a:lnTo>
                  <a:pt x="2427240" y="2257322"/>
                </a:lnTo>
                <a:lnTo>
                  <a:pt x="2427240" y="2316060"/>
                </a:lnTo>
                <a:lnTo>
                  <a:pt x="2368502" y="2316060"/>
                </a:lnTo>
                <a:close/>
                <a:moveTo>
                  <a:pt x="7183286" y="2179535"/>
                </a:moveTo>
                <a:lnTo>
                  <a:pt x="7242024" y="2179535"/>
                </a:lnTo>
                <a:lnTo>
                  <a:pt x="7242024" y="2238273"/>
                </a:lnTo>
                <a:lnTo>
                  <a:pt x="7183286" y="2238273"/>
                </a:lnTo>
                <a:close/>
                <a:moveTo>
                  <a:pt x="7105499" y="2179535"/>
                </a:moveTo>
                <a:lnTo>
                  <a:pt x="7162649" y="2179535"/>
                </a:lnTo>
                <a:lnTo>
                  <a:pt x="7162649" y="2238273"/>
                </a:lnTo>
                <a:lnTo>
                  <a:pt x="7105499" y="2238273"/>
                </a:lnTo>
                <a:close/>
                <a:moveTo>
                  <a:pt x="7026124" y="2179535"/>
                </a:moveTo>
                <a:lnTo>
                  <a:pt x="7084862" y="2179535"/>
                </a:lnTo>
                <a:lnTo>
                  <a:pt x="7084862" y="2238273"/>
                </a:lnTo>
                <a:lnTo>
                  <a:pt x="7026124" y="2238273"/>
                </a:lnTo>
                <a:close/>
                <a:moveTo>
                  <a:pt x="6946749" y="2179535"/>
                </a:moveTo>
                <a:lnTo>
                  <a:pt x="7005487" y="2179535"/>
                </a:lnTo>
                <a:lnTo>
                  <a:pt x="7005487" y="2238273"/>
                </a:lnTo>
                <a:lnTo>
                  <a:pt x="6946749" y="2238273"/>
                </a:lnTo>
                <a:close/>
                <a:moveTo>
                  <a:pt x="6867374" y="2179535"/>
                </a:moveTo>
                <a:lnTo>
                  <a:pt x="6926112" y="2179535"/>
                </a:lnTo>
                <a:lnTo>
                  <a:pt x="6926112" y="2238273"/>
                </a:lnTo>
                <a:lnTo>
                  <a:pt x="6867374" y="2238273"/>
                </a:lnTo>
                <a:close/>
                <a:moveTo>
                  <a:pt x="6789586" y="2179535"/>
                </a:moveTo>
                <a:lnTo>
                  <a:pt x="6846736" y="2179535"/>
                </a:lnTo>
                <a:lnTo>
                  <a:pt x="6846736" y="2238273"/>
                </a:lnTo>
                <a:lnTo>
                  <a:pt x="6789586" y="2238273"/>
                </a:lnTo>
                <a:close/>
                <a:moveTo>
                  <a:pt x="6710211" y="2179535"/>
                </a:moveTo>
                <a:lnTo>
                  <a:pt x="6768949" y="2179535"/>
                </a:lnTo>
                <a:lnTo>
                  <a:pt x="6768949" y="2238273"/>
                </a:lnTo>
                <a:lnTo>
                  <a:pt x="6710211" y="2238273"/>
                </a:lnTo>
                <a:close/>
                <a:moveTo>
                  <a:pt x="6630836" y="2179535"/>
                </a:moveTo>
                <a:lnTo>
                  <a:pt x="6689574" y="2179535"/>
                </a:lnTo>
                <a:lnTo>
                  <a:pt x="6689574" y="2238273"/>
                </a:lnTo>
                <a:lnTo>
                  <a:pt x="6630836" y="2238273"/>
                </a:lnTo>
                <a:close/>
                <a:moveTo>
                  <a:pt x="6551461" y="2179535"/>
                </a:moveTo>
                <a:lnTo>
                  <a:pt x="6610199" y="2179535"/>
                </a:lnTo>
                <a:lnTo>
                  <a:pt x="6610199" y="2238273"/>
                </a:lnTo>
                <a:lnTo>
                  <a:pt x="6551461" y="2238273"/>
                </a:lnTo>
                <a:close/>
                <a:moveTo>
                  <a:pt x="6473674" y="2179535"/>
                </a:moveTo>
                <a:lnTo>
                  <a:pt x="6530824" y="2179535"/>
                </a:lnTo>
                <a:lnTo>
                  <a:pt x="6530824" y="2238273"/>
                </a:lnTo>
                <a:lnTo>
                  <a:pt x="6473674" y="2238273"/>
                </a:lnTo>
                <a:close/>
                <a:moveTo>
                  <a:pt x="6394299" y="2179535"/>
                </a:moveTo>
                <a:lnTo>
                  <a:pt x="6453037" y="2179535"/>
                </a:lnTo>
                <a:lnTo>
                  <a:pt x="6453037" y="2238273"/>
                </a:lnTo>
                <a:lnTo>
                  <a:pt x="6394299" y="2238273"/>
                </a:lnTo>
                <a:close/>
                <a:moveTo>
                  <a:pt x="6314924" y="2179535"/>
                </a:moveTo>
                <a:lnTo>
                  <a:pt x="6373662" y="2179535"/>
                </a:lnTo>
                <a:lnTo>
                  <a:pt x="6373662" y="2238273"/>
                </a:lnTo>
                <a:lnTo>
                  <a:pt x="6314924" y="2238273"/>
                </a:lnTo>
                <a:close/>
                <a:moveTo>
                  <a:pt x="6235549" y="2179535"/>
                </a:moveTo>
                <a:lnTo>
                  <a:pt x="6294287" y="2179535"/>
                </a:lnTo>
                <a:lnTo>
                  <a:pt x="6294287" y="2238273"/>
                </a:lnTo>
                <a:lnTo>
                  <a:pt x="6235549" y="2238273"/>
                </a:lnTo>
                <a:close/>
                <a:moveTo>
                  <a:pt x="6157761" y="2179535"/>
                </a:moveTo>
                <a:lnTo>
                  <a:pt x="6214911" y="2179535"/>
                </a:lnTo>
                <a:lnTo>
                  <a:pt x="6214911" y="2238273"/>
                </a:lnTo>
                <a:lnTo>
                  <a:pt x="6157761" y="2238273"/>
                </a:lnTo>
                <a:close/>
                <a:moveTo>
                  <a:pt x="6078386" y="2179535"/>
                </a:moveTo>
                <a:lnTo>
                  <a:pt x="6137124" y="2179535"/>
                </a:lnTo>
                <a:lnTo>
                  <a:pt x="6137124" y="2238273"/>
                </a:lnTo>
                <a:lnTo>
                  <a:pt x="6078386" y="2238273"/>
                </a:lnTo>
                <a:close/>
                <a:moveTo>
                  <a:pt x="5999011" y="2179535"/>
                </a:moveTo>
                <a:lnTo>
                  <a:pt x="6057749" y="2179535"/>
                </a:lnTo>
                <a:lnTo>
                  <a:pt x="6057749" y="2238273"/>
                </a:lnTo>
                <a:lnTo>
                  <a:pt x="5999011" y="2238273"/>
                </a:lnTo>
                <a:close/>
                <a:moveTo>
                  <a:pt x="5921224" y="2179535"/>
                </a:moveTo>
                <a:lnTo>
                  <a:pt x="5978374" y="2179535"/>
                </a:lnTo>
                <a:lnTo>
                  <a:pt x="5978374" y="2238273"/>
                </a:lnTo>
                <a:lnTo>
                  <a:pt x="5921224" y="2238273"/>
                </a:lnTo>
                <a:close/>
                <a:moveTo>
                  <a:pt x="5841849" y="2179535"/>
                </a:moveTo>
                <a:lnTo>
                  <a:pt x="5900587" y="2179535"/>
                </a:lnTo>
                <a:lnTo>
                  <a:pt x="5900587" y="2238273"/>
                </a:lnTo>
                <a:lnTo>
                  <a:pt x="5841849" y="2238273"/>
                </a:lnTo>
                <a:close/>
                <a:moveTo>
                  <a:pt x="5762474" y="2179535"/>
                </a:moveTo>
                <a:lnTo>
                  <a:pt x="5821212" y="2179535"/>
                </a:lnTo>
                <a:lnTo>
                  <a:pt x="5821212" y="2238273"/>
                </a:lnTo>
                <a:lnTo>
                  <a:pt x="5762474" y="2238273"/>
                </a:lnTo>
                <a:close/>
                <a:moveTo>
                  <a:pt x="5684686" y="2179535"/>
                </a:moveTo>
                <a:lnTo>
                  <a:pt x="5741836" y="2179535"/>
                </a:lnTo>
                <a:lnTo>
                  <a:pt x="5741836" y="2238273"/>
                </a:lnTo>
                <a:lnTo>
                  <a:pt x="5684686" y="2238273"/>
                </a:lnTo>
                <a:close/>
                <a:moveTo>
                  <a:pt x="5605311" y="2179535"/>
                </a:moveTo>
                <a:lnTo>
                  <a:pt x="5664049" y="2179535"/>
                </a:lnTo>
                <a:lnTo>
                  <a:pt x="5664049" y="2238273"/>
                </a:lnTo>
                <a:lnTo>
                  <a:pt x="5605311" y="2238273"/>
                </a:lnTo>
                <a:close/>
                <a:moveTo>
                  <a:pt x="5446561" y="2179535"/>
                </a:moveTo>
                <a:lnTo>
                  <a:pt x="5505299" y="2179535"/>
                </a:lnTo>
                <a:lnTo>
                  <a:pt x="5505299" y="2238273"/>
                </a:lnTo>
                <a:lnTo>
                  <a:pt x="5446561" y="2238273"/>
                </a:lnTo>
                <a:close/>
                <a:moveTo>
                  <a:pt x="5368774" y="2179535"/>
                </a:moveTo>
                <a:lnTo>
                  <a:pt x="5425924" y="2179535"/>
                </a:lnTo>
                <a:lnTo>
                  <a:pt x="5425924" y="2238273"/>
                </a:lnTo>
                <a:lnTo>
                  <a:pt x="5368774" y="2238273"/>
                </a:lnTo>
                <a:close/>
                <a:moveTo>
                  <a:pt x="5289399" y="2179535"/>
                </a:moveTo>
                <a:lnTo>
                  <a:pt x="5348137" y="2179535"/>
                </a:lnTo>
                <a:lnTo>
                  <a:pt x="5348137" y="2238273"/>
                </a:lnTo>
                <a:lnTo>
                  <a:pt x="5289399" y="2238273"/>
                </a:lnTo>
                <a:close/>
                <a:moveTo>
                  <a:pt x="5210024" y="2179535"/>
                </a:moveTo>
                <a:lnTo>
                  <a:pt x="5268762" y="2179535"/>
                </a:lnTo>
                <a:lnTo>
                  <a:pt x="5268762" y="2238273"/>
                </a:lnTo>
                <a:lnTo>
                  <a:pt x="5210024" y="2238273"/>
                </a:lnTo>
                <a:close/>
                <a:moveTo>
                  <a:pt x="5052861" y="2179535"/>
                </a:moveTo>
                <a:lnTo>
                  <a:pt x="5110011" y="2179535"/>
                </a:lnTo>
                <a:lnTo>
                  <a:pt x="5110011" y="2238273"/>
                </a:lnTo>
                <a:lnTo>
                  <a:pt x="5052861" y="2238273"/>
                </a:lnTo>
                <a:close/>
                <a:moveTo>
                  <a:pt x="4973486" y="2179535"/>
                </a:moveTo>
                <a:lnTo>
                  <a:pt x="5030636" y="2179535"/>
                </a:lnTo>
                <a:lnTo>
                  <a:pt x="5030636" y="2238273"/>
                </a:lnTo>
                <a:lnTo>
                  <a:pt x="4973486" y="2238273"/>
                </a:lnTo>
                <a:close/>
                <a:moveTo>
                  <a:pt x="4894111" y="2179535"/>
                </a:moveTo>
                <a:lnTo>
                  <a:pt x="4952849" y="2179535"/>
                </a:lnTo>
                <a:lnTo>
                  <a:pt x="4952849" y="2238273"/>
                </a:lnTo>
                <a:lnTo>
                  <a:pt x="4894111" y="2238273"/>
                </a:lnTo>
                <a:close/>
                <a:moveTo>
                  <a:pt x="4814736" y="2179535"/>
                </a:moveTo>
                <a:lnTo>
                  <a:pt x="4873474" y="2179535"/>
                </a:lnTo>
                <a:lnTo>
                  <a:pt x="4873474" y="2238273"/>
                </a:lnTo>
                <a:lnTo>
                  <a:pt x="4814736" y="2238273"/>
                </a:lnTo>
                <a:close/>
                <a:moveTo>
                  <a:pt x="4736948" y="2179535"/>
                </a:moveTo>
                <a:lnTo>
                  <a:pt x="4794098" y="2179535"/>
                </a:lnTo>
                <a:lnTo>
                  <a:pt x="4794098" y="2238273"/>
                </a:lnTo>
                <a:lnTo>
                  <a:pt x="4736948" y="2238273"/>
                </a:lnTo>
                <a:close/>
                <a:moveTo>
                  <a:pt x="4657573" y="2179535"/>
                </a:moveTo>
                <a:lnTo>
                  <a:pt x="4716311" y="2179535"/>
                </a:lnTo>
                <a:lnTo>
                  <a:pt x="4716311" y="2238273"/>
                </a:lnTo>
                <a:lnTo>
                  <a:pt x="4657573" y="2238273"/>
                </a:lnTo>
                <a:close/>
                <a:moveTo>
                  <a:pt x="4578198" y="2179535"/>
                </a:moveTo>
                <a:lnTo>
                  <a:pt x="4636936" y="2179535"/>
                </a:lnTo>
                <a:lnTo>
                  <a:pt x="4636936" y="2238273"/>
                </a:lnTo>
                <a:lnTo>
                  <a:pt x="4578198" y="2238273"/>
                </a:lnTo>
                <a:close/>
                <a:moveTo>
                  <a:pt x="4498823" y="2179535"/>
                </a:moveTo>
                <a:lnTo>
                  <a:pt x="4557561" y="2179535"/>
                </a:lnTo>
                <a:lnTo>
                  <a:pt x="4557561" y="2238273"/>
                </a:lnTo>
                <a:lnTo>
                  <a:pt x="4498823" y="2238273"/>
                </a:lnTo>
                <a:close/>
                <a:moveTo>
                  <a:pt x="4421036" y="2179535"/>
                </a:moveTo>
                <a:lnTo>
                  <a:pt x="4479774" y="2179535"/>
                </a:lnTo>
                <a:lnTo>
                  <a:pt x="4479774" y="2238273"/>
                </a:lnTo>
                <a:lnTo>
                  <a:pt x="4421036" y="2238273"/>
                </a:lnTo>
                <a:close/>
                <a:moveTo>
                  <a:pt x="4341661" y="2179535"/>
                </a:moveTo>
                <a:lnTo>
                  <a:pt x="4400399" y="2179535"/>
                </a:lnTo>
                <a:lnTo>
                  <a:pt x="4400399" y="2238273"/>
                </a:lnTo>
                <a:lnTo>
                  <a:pt x="4341661" y="2238273"/>
                </a:lnTo>
                <a:close/>
                <a:moveTo>
                  <a:pt x="4262286" y="2179535"/>
                </a:moveTo>
                <a:lnTo>
                  <a:pt x="4321024" y="2179535"/>
                </a:lnTo>
                <a:lnTo>
                  <a:pt x="4321024" y="2238273"/>
                </a:lnTo>
                <a:lnTo>
                  <a:pt x="4262286" y="2238273"/>
                </a:lnTo>
                <a:close/>
                <a:moveTo>
                  <a:pt x="4184498" y="2179535"/>
                </a:moveTo>
                <a:lnTo>
                  <a:pt x="4241648" y="2179535"/>
                </a:lnTo>
                <a:lnTo>
                  <a:pt x="4241648" y="2238273"/>
                </a:lnTo>
                <a:lnTo>
                  <a:pt x="4184498" y="2238273"/>
                </a:lnTo>
                <a:close/>
                <a:moveTo>
                  <a:pt x="4105123" y="2179535"/>
                </a:moveTo>
                <a:lnTo>
                  <a:pt x="4163861" y="2179535"/>
                </a:lnTo>
                <a:lnTo>
                  <a:pt x="4163861" y="2238273"/>
                </a:lnTo>
                <a:lnTo>
                  <a:pt x="4105123" y="2238273"/>
                </a:lnTo>
                <a:close/>
                <a:moveTo>
                  <a:pt x="4025748" y="2179535"/>
                </a:moveTo>
                <a:lnTo>
                  <a:pt x="4084486" y="2179535"/>
                </a:lnTo>
                <a:lnTo>
                  <a:pt x="4084486" y="2238273"/>
                </a:lnTo>
                <a:lnTo>
                  <a:pt x="4025748" y="2238273"/>
                </a:lnTo>
                <a:close/>
                <a:moveTo>
                  <a:pt x="3947961" y="2179535"/>
                </a:moveTo>
                <a:lnTo>
                  <a:pt x="4005111" y="2179535"/>
                </a:lnTo>
                <a:lnTo>
                  <a:pt x="4005111" y="2238273"/>
                </a:lnTo>
                <a:lnTo>
                  <a:pt x="3947961" y="2238273"/>
                </a:lnTo>
                <a:close/>
                <a:moveTo>
                  <a:pt x="2289129" y="2179535"/>
                </a:moveTo>
                <a:lnTo>
                  <a:pt x="2347868" y="2179535"/>
                </a:lnTo>
                <a:lnTo>
                  <a:pt x="2347868" y="2238273"/>
                </a:lnTo>
                <a:lnTo>
                  <a:pt x="2289129" y="2238273"/>
                </a:lnTo>
                <a:close/>
                <a:moveTo>
                  <a:pt x="2209751" y="2179535"/>
                </a:moveTo>
                <a:lnTo>
                  <a:pt x="2268492" y="2179535"/>
                </a:lnTo>
                <a:lnTo>
                  <a:pt x="2268492" y="2238273"/>
                </a:lnTo>
                <a:lnTo>
                  <a:pt x="2209751" y="2238273"/>
                </a:lnTo>
                <a:close/>
                <a:moveTo>
                  <a:pt x="1736685" y="2179535"/>
                </a:moveTo>
                <a:lnTo>
                  <a:pt x="1795430" y="2179535"/>
                </a:lnTo>
                <a:lnTo>
                  <a:pt x="1795430" y="2238273"/>
                </a:lnTo>
                <a:lnTo>
                  <a:pt x="1736685" y="2238273"/>
                </a:lnTo>
                <a:close/>
                <a:moveTo>
                  <a:pt x="1657305" y="2179535"/>
                </a:moveTo>
                <a:lnTo>
                  <a:pt x="1716046" y="2179535"/>
                </a:lnTo>
                <a:lnTo>
                  <a:pt x="1716046" y="2238273"/>
                </a:lnTo>
                <a:lnTo>
                  <a:pt x="1657305" y="2238273"/>
                </a:lnTo>
                <a:close/>
                <a:moveTo>
                  <a:pt x="1577924" y="2179535"/>
                </a:moveTo>
                <a:lnTo>
                  <a:pt x="1636669" y="2179535"/>
                </a:lnTo>
                <a:lnTo>
                  <a:pt x="1636669" y="2238273"/>
                </a:lnTo>
                <a:lnTo>
                  <a:pt x="1577924" y="2238273"/>
                </a:lnTo>
                <a:close/>
                <a:moveTo>
                  <a:pt x="1420755" y="2179535"/>
                </a:moveTo>
                <a:lnTo>
                  <a:pt x="1479493" y="2179535"/>
                </a:lnTo>
                <a:lnTo>
                  <a:pt x="1479493" y="2238273"/>
                </a:lnTo>
                <a:lnTo>
                  <a:pt x="1420755" y="2238273"/>
                </a:lnTo>
                <a:close/>
                <a:moveTo>
                  <a:pt x="4894111" y="2101748"/>
                </a:moveTo>
                <a:lnTo>
                  <a:pt x="4952849" y="2101748"/>
                </a:lnTo>
                <a:lnTo>
                  <a:pt x="4952849" y="2160486"/>
                </a:lnTo>
                <a:lnTo>
                  <a:pt x="4894111" y="2160486"/>
                </a:lnTo>
                <a:close/>
                <a:moveTo>
                  <a:pt x="4814736" y="2101748"/>
                </a:moveTo>
                <a:lnTo>
                  <a:pt x="4873474" y="2101748"/>
                </a:lnTo>
                <a:lnTo>
                  <a:pt x="4873474" y="2160486"/>
                </a:lnTo>
                <a:lnTo>
                  <a:pt x="4814736" y="2160486"/>
                </a:lnTo>
                <a:close/>
                <a:moveTo>
                  <a:pt x="4736948" y="2101748"/>
                </a:moveTo>
                <a:lnTo>
                  <a:pt x="4794098" y="2101748"/>
                </a:lnTo>
                <a:lnTo>
                  <a:pt x="4794098" y="2160486"/>
                </a:lnTo>
                <a:lnTo>
                  <a:pt x="4736948" y="2160486"/>
                </a:lnTo>
                <a:close/>
                <a:moveTo>
                  <a:pt x="4657573" y="2101748"/>
                </a:moveTo>
                <a:lnTo>
                  <a:pt x="4716311" y="2101748"/>
                </a:lnTo>
                <a:lnTo>
                  <a:pt x="4716311" y="2160486"/>
                </a:lnTo>
                <a:lnTo>
                  <a:pt x="4657573" y="2160486"/>
                </a:lnTo>
                <a:close/>
                <a:moveTo>
                  <a:pt x="4578198" y="2101748"/>
                </a:moveTo>
                <a:lnTo>
                  <a:pt x="4636936" y="2101748"/>
                </a:lnTo>
                <a:lnTo>
                  <a:pt x="4636936" y="2160486"/>
                </a:lnTo>
                <a:lnTo>
                  <a:pt x="4578198" y="2160486"/>
                </a:lnTo>
                <a:close/>
                <a:moveTo>
                  <a:pt x="4498823" y="2101748"/>
                </a:moveTo>
                <a:lnTo>
                  <a:pt x="4557561" y="2101748"/>
                </a:lnTo>
                <a:lnTo>
                  <a:pt x="4557561" y="2160486"/>
                </a:lnTo>
                <a:lnTo>
                  <a:pt x="4498823" y="2160486"/>
                </a:lnTo>
                <a:close/>
                <a:moveTo>
                  <a:pt x="4421036" y="2101748"/>
                </a:moveTo>
                <a:lnTo>
                  <a:pt x="4479774" y="2101748"/>
                </a:lnTo>
                <a:lnTo>
                  <a:pt x="4479774" y="2160486"/>
                </a:lnTo>
                <a:lnTo>
                  <a:pt x="4421036" y="2160486"/>
                </a:lnTo>
                <a:close/>
                <a:moveTo>
                  <a:pt x="4341661" y="2101748"/>
                </a:moveTo>
                <a:lnTo>
                  <a:pt x="4400399" y="2101748"/>
                </a:lnTo>
                <a:lnTo>
                  <a:pt x="4400399" y="2160486"/>
                </a:lnTo>
                <a:lnTo>
                  <a:pt x="4341661" y="2160486"/>
                </a:lnTo>
                <a:close/>
                <a:moveTo>
                  <a:pt x="4262286" y="2101748"/>
                </a:moveTo>
                <a:lnTo>
                  <a:pt x="4321024" y="2101748"/>
                </a:lnTo>
                <a:lnTo>
                  <a:pt x="4321024" y="2160486"/>
                </a:lnTo>
                <a:lnTo>
                  <a:pt x="4262286" y="2160486"/>
                </a:lnTo>
                <a:close/>
                <a:moveTo>
                  <a:pt x="4184498" y="2101748"/>
                </a:moveTo>
                <a:lnTo>
                  <a:pt x="4241648" y="2101748"/>
                </a:lnTo>
                <a:lnTo>
                  <a:pt x="4241648" y="2160486"/>
                </a:lnTo>
                <a:lnTo>
                  <a:pt x="4184498" y="2160486"/>
                </a:lnTo>
                <a:close/>
                <a:moveTo>
                  <a:pt x="4105123" y="2101748"/>
                </a:moveTo>
                <a:lnTo>
                  <a:pt x="4163861" y="2101748"/>
                </a:lnTo>
                <a:lnTo>
                  <a:pt x="4163861" y="2160486"/>
                </a:lnTo>
                <a:lnTo>
                  <a:pt x="4105123" y="2160486"/>
                </a:lnTo>
                <a:close/>
                <a:moveTo>
                  <a:pt x="4025748" y="2101748"/>
                </a:moveTo>
                <a:lnTo>
                  <a:pt x="4084486" y="2101748"/>
                </a:lnTo>
                <a:lnTo>
                  <a:pt x="4084486" y="2160486"/>
                </a:lnTo>
                <a:lnTo>
                  <a:pt x="4025748" y="2160486"/>
                </a:lnTo>
                <a:close/>
                <a:moveTo>
                  <a:pt x="3868586" y="2101748"/>
                </a:moveTo>
                <a:lnTo>
                  <a:pt x="3925736" y="2101748"/>
                </a:lnTo>
                <a:lnTo>
                  <a:pt x="3925736" y="2160486"/>
                </a:lnTo>
                <a:lnTo>
                  <a:pt x="3868586" y="2160486"/>
                </a:lnTo>
                <a:close/>
                <a:moveTo>
                  <a:pt x="2209755" y="2101748"/>
                </a:moveTo>
                <a:lnTo>
                  <a:pt x="2268495" y="2101748"/>
                </a:lnTo>
                <a:lnTo>
                  <a:pt x="2268495" y="2160486"/>
                </a:lnTo>
                <a:lnTo>
                  <a:pt x="2209755" y="2160486"/>
                </a:lnTo>
                <a:close/>
                <a:moveTo>
                  <a:pt x="2131969" y="2101748"/>
                </a:moveTo>
                <a:lnTo>
                  <a:pt x="2189120" y="2101748"/>
                </a:lnTo>
                <a:lnTo>
                  <a:pt x="2189120" y="2160486"/>
                </a:lnTo>
                <a:lnTo>
                  <a:pt x="2131969" y="2160486"/>
                </a:lnTo>
                <a:close/>
                <a:moveTo>
                  <a:pt x="1973209" y="2101748"/>
                </a:moveTo>
                <a:lnTo>
                  <a:pt x="2031951" y="2101748"/>
                </a:lnTo>
                <a:lnTo>
                  <a:pt x="2031951" y="2160486"/>
                </a:lnTo>
                <a:lnTo>
                  <a:pt x="1973209" y="2160486"/>
                </a:lnTo>
                <a:close/>
                <a:moveTo>
                  <a:pt x="1893834" y="2101748"/>
                </a:moveTo>
                <a:lnTo>
                  <a:pt x="1952570" y="2101748"/>
                </a:lnTo>
                <a:lnTo>
                  <a:pt x="1952570" y="2160486"/>
                </a:lnTo>
                <a:lnTo>
                  <a:pt x="1893834" y="2160486"/>
                </a:lnTo>
                <a:close/>
                <a:moveTo>
                  <a:pt x="1816066" y="2101748"/>
                </a:moveTo>
                <a:lnTo>
                  <a:pt x="1873202" y="2101748"/>
                </a:lnTo>
                <a:lnTo>
                  <a:pt x="1873202" y="2160486"/>
                </a:lnTo>
                <a:lnTo>
                  <a:pt x="1816066" y="2160486"/>
                </a:lnTo>
                <a:close/>
                <a:moveTo>
                  <a:pt x="1736690" y="2101748"/>
                </a:moveTo>
                <a:lnTo>
                  <a:pt x="1795435" y="2101748"/>
                </a:lnTo>
                <a:lnTo>
                  <a:pt x="1795435" y="2160486"/>
                </a:lnTo>
                <a:lnTo>
                  <a:pt x="1736690" y="2160486"/>
                </a:lnTo>
                <a:close/>
                <a:moveTo>
                  <a:pt x="1657310" y="2101748"/>
                </a:moveTo>
                <a:lnTo>
                  <a:pt x="1716051" y="2101748"/>
                </a:lnTo>
                <a:lnTo>
                  <a:pt x="1716051" y="2160486"/>
                </a:lnTo>
                <a:lnTo>
                  <a:pt x="1657310" y="2160486"/>
                </a:lnTo>
                <a:close/>
                <a:moveTo>
                  <a:pt x="1577929" y="2101748"/>
                </a:moveTo>
                <a:lnTo>
                  <a:pt x="1636673" y="2101748"/>
                </a:lnTo>
                <a:lnTo>
                  <a:pt x="1636673" y="2160486"/>
                </a:lnTo>
                <a:lnTo>
                  <a:pt x="1577929" y="2160486"/>
                </a:lnTo>
                <a:close/>
                <a:moveTo>
                  <a:pt x="1500135" y="2101748"/>
                </a:moveTo>
                <a:lnTo>
                  <a:pt x="1558880" y="2101748"/>
                </a:lnTo>
                <a:lnTo>
                  <a:pt x="1558880" y="2160486"/>
                </a:lnTo>
                <a:lnTo>
                  <a:pt x="1500135" y="2160486"/>
                </a:lnTo>
                <a:close/>
                <a:moveTo>
                  <a:pt x="7499199" y="2101747"/>
                </a:moveTo>
                <a:lnTo>
                  <a:pt x="7557937" y="2101747"/>
                </a:lnTo>
                <a:lnTo>
                  <a:pt x="7557937" y="2160485"/>
                </a:lnTo>
                <a:lnTo>
                  <a:pt x="7499199" y="2160485"/>
                </a:lnTo>
                <a:close/>
                <a:moveTo>
                  <a:pt x="7262661" y="2101747"/>
                </a:moveTo>
                <a:lnTo>
                  <a:pt x="7321399" y="2101747"/>
                </a:lnTo>
                <a:lnTo>
                  <a:pt x="7321399" y="2160485"/>
                </a:lnTo>
                <a:lnTo>
                  <a:pt x="7262661" y="2160485"/>
                </a:lnTo>
                <a:close/>
                <a:moveTo>
                  <a:pt x="7183286" y="2101747"/>
                </a:moveTo>
                <a:lnTo>
                  <a:pt x="7242024" y="2101747"/>
                </a:lnTo>
                <a:lnTo>
                  <a:pt x="7242024" y="2160485"/>
                </a:lnTo>
                <a:lnTo>
                  <a:pt x="7183286" y="2160485"/>
                </a:lnTo>
                <a:close/>
                <a:moveTo>
                  <a:pt x="7105499" y="2101747"/>
                </a:moveTo>
                <a:lnTo>
                  <a:pt x="7162649" y="2101747"/>
                </a:lnTo>
                <a:lnTo>
                  <a:pt x="7162649" y="2160485"/>
                </a:lnTo>
                <a:lnTo>
                  <a:pt x="7105499" y="2160485"/>
                </a:lnTo>
                <a:close/>
                <a:moveTo>
                  <a:pt x="7026124" y="2101747"/>
                </a:moveTo>
                <a:lnTo>
                  <a:pt x="7084862" y="2101747"/>
                </a:lnTo>
                <a:lnTo>
                  <a:pt x="7084862" y="2160485"/>
                </a:lnTo>
                <a:lnTo>
                  <a:pt x="7026124" y="2160485"/>
                </a:lnTo>
                <a:close/>
                <a:moveTo>
                  <a:pt x="6946749" y="2101747"/>
                </a:moveTo>
                <a:lnTo>
                  <a:pt x="7005487" y="2101747"/>
                </a:lnTo>
                <a:lnTo>
                  <a:pt x="7005487" y="2160485"/>
                </a:lnTo>
                <a:lnTo>
                  <a:pt x="6946749" y="2160485"/>
                </a:lnTo>
                <a:close/>
                <a:moveTo>
                  <a:pt x="6867374" y="2101747"/>
                </a:moveTo>
                <a:lnTo>
                  <a:pt x="6926112" y="2101747"/>
                </a:lnTo>
                <a:lnTo>
                  <a:pt x="6926112" y="2160485"/>
                </a:lnTo>
                <a:lnTo>
                  <a:pt x="6867374" y="2160485"/>
                </a:lnTo>
                <a:close/>
                <a:moveTo>
                  <a:pt x="6789586" y="2101747"/>
                </a:moveTo>
                <a:lnTo>
                  <a:pt x="6846736" y="2101747"/>
                </a:lnTo>
                <a:lnTo>
                  <a:pt x="6846736" y="2160485"/>
                </a:lnTo>
                <a:lnTo>
                  <a:pt x="6789586" y="2160485"/>
                </a:lnTo>
                <a:close/>
                <a:moveTo>
                  <a:pt x="6710211" y="2101747"/>
                </a:moveTo>
                <a:lnTo>
                  <a:pt x="6768949" y="2101747"/>
                </a:lnTo>
                <a:lnTo>
                  <a:pt x="6768949" y="2160485"/>
                </a:lnTo>
                <a:lnTo>
                  <a:pt x="6710211" y="2160485"/>
                </a:lnTo>
                <a:close/>
                <a:moveTo>
                  <a:pt x="6630836" y="2101747"/>
                </a:moveTo>
                <a:lnTo>
                  <a:pt x="6689574" y="2101747"/>
                </a:lnTo>
                <a:lnTo>
                  <a:pt x="6689574" y="2160485"/>
                </a:lnTo>
                <a:lnTo>
                  <a:pt x="6630836" y="2160485"/>
                </a:lnTo>
                <a:close/>
                <a:moveTo>
                  <a:pt x="6551461" y="2101747"/>
                </a:moveTo>
                <a:lnTo>
                  <a:pt x="6610199" y="2101747"/>
                </a:lnTo>
                <a:lnTo>
                  <a:pt x="6610199" y="2160485"/>
                </a:lnTo>
                <a:lnTo>
                  <a:pt x="6551461" y="2160485"/>
                </a:lnTo>
                <a:close/>
                <a:moveTo>
                  <a:pt x="6473674" y="2101747"/>
                </a:moveTo>
                <a:lnTo>
                  <a:pt x="6530824" y="2101747"/>
                </a:lnTo>
                <a:lnTo>
                  <a:pt x="6530824" y="2160485"/>
                </a:lnTo>
                <a:lnTo>
                  <a:pt x="6473674" y="2160485"/>
                </a:lnTo>
                <a:close/>
                <a:moveTo>
                  <a:pt x="6394299" y="2101747"/>
                </a:moveTo>
                <a:lnTo>
                  <a:pt x="6453037" y="2101747"/>
                </a:lnTo>
                <a:lnTo>
                  <a:pt x="6453037" y="2160485"/>
                </a:lnTo>
                <a:lnTo>
                  <a:pt x="6394299" y="2160485"/>
                </a:lnTo>
                <a:close/>
                <a:moveTo>
                  <a:pt x="6314924" y="2101747"/>
                </a:moveTo>
                <a:lnTo>
                  <a:pt x="6373662" y="2101747"/>
                </a:lnTo>
                <a:lnTo>
                  <a:pt x="6373662" y="2160485"/>
                </a:lnTo>
                <a:lnTo>
                  <a:pt x="6314924" y="2160485"/>
                </a:lnTo>
                <a:close/>
                <a:moveTo>
                  <a:pt x="6235549" y="2101747"/>
                </a:moveTo>
                <a:lnTo>
                  <a:pt x="6294287" y="2101747"/>
                </a:lnTo>
                <a:lnTo>
                  <a:pt x="6294287" y="2160485"/>
                </a:lnTo>
                <a:lnTo>
                  <a:pt x="6235549" y="2160485"/>
                </a:lnTo>
                <a:close/>
                <a:moveTo>
                  <a:pt x="6157761" y="2101747"/>
                </a:moveTo>
                <a:lnTo>
                  <a:pt x="6214911" y="2101747"/>
                </a:lnTo>
                <a:lnTo>
                  <a:pt x="6214911" y="2160485"/>
                </a:lnTo>
                <a:lnTo>
                  <a:pt x="6157761" y="2160485"/>
                </a:lnTo>
                <a:close/>
                <a:moveTo>
                  <a:pt x="6078386" y="2101747"/>
                </a:moveTo>
                <a:lnTo>
                  <a:pt x="6137124" y="2101747"/>
                </a:lnTo>
                <a:lnTo>
                  <a:pt x="6137124" y="2160485"/>
                </a:lnTo>
                <a:lnTo>
                  <a:pt x="6078386" y="2160485"/>
                </a:lnTo>
                <a:close/>
                <a:moveTo>
                  <a:pt x="5999011" y="2101747"/>
                </a:moveTo>
                <a:lnTo>
                  <a:pt x="6057749" y="2101747"/>
                </a:lnTo>
                <a:lnTo>
                  <a:pt x="6057749" y="2160485"/>
                </a:lnTo>
                <a:lnTo>
                  <a:pt x="5999011" y="2160485"/>
                </a:lnTo>
                <a:close/>
                <a:moveTo>
                  <a:pt x="5921224" y="2101747"/>
                </a:moveTo>
                <a:lnTo>
                  <a:pt x="5978374" y="2101747"/>
                </a:lnTo>
                <a:lnTo>
                  <a:pt x="5978374" y="2160485"/>
                </a:lnTo>
                <a:lnTo>
                  <a:pt x="5921224" y="2160485"/>
                </a:lnTo>
                <a:close/>
                <a:moveTo>
                  <a:pt x="5841849" y="2101747"/>
                </a:moveTo>
                <a:lnTo>
                  <a:pt x="5900587" y="2101747"/>
                </a:lnTo>
                <a:lnTo>
                  <a:pt x="5900587" y="2160485"/>
                </a:lnTo>
                <a:lnTo>
                  <a:pt x="5841849" y="2160485"/>
                </a:lnTo>
                <a:close/>
                <a:moveTo>
                  <a:pt x="5762474" y="2101747"/>
                </a:moveTo>
                <a:lnTo>
                  <a:pt x="5821212" y="2101747"/>
                </a:lnTo>
                <a:lnTo>
                  <a:pt x="5821212" y="2160485"/>
                </a:lnTo>
                <a:lnTo>
                  <a:pt x="5762474" y="2160485"/>
                </a:lnTo>
                <a:close/>
                <a:moveTo>
                  <a:pt x="5684686" y="2101747"/>
                </a:moveTo>
                <a:lnTo>
                  <a:pt x="5741836" y="2101747"/>
                </a:lnTo>
                <a:lnTo>
                  <a:pt x="5741836" y="2160485"/>
                </a:lnTo>
                <a:lnTo>
                  <a:pt x="5684686" y="2160485"/>
                </a:lnTo>
                <a:close/>
                <a:moveTo>
                  <a:pt x="5605311" y="2101747"/>
                </a:moveTo>
                <a:lnTo>
                  <a:pt x="5664049" y="2101747"/>
                </a:lnTo>
                <a:lnTo>
                  <a:pt x="5664049" y="2160485"/>
                </a:lnTo>
                <a:lnTo>
                  <a:pt x="5605311" y="2160485"/>
                </a:lnTo>
                <a:close/>
                <a:moveTo>
                  <a:pt x="5525936" y="2101747"/>
                </a:moveTo>
                <a:lnTo>
                  <a:pt x="5584674" y="2101747"/>
                </a:lnTo>
                <a:lnTo>
                  <a:pt x="5584674" y="2160485"/>
                </a:lnTo>
                <a:lnTo>
                  <a:pt x="5525936" y="2160485"/>
                </a:lnTo>
                <a:close/>
                <a:moveTo>
                  <a:pt x="5368774" y="2101747"/>
                </a:moveTo>
                <a:lnTo>
                  <a:pt x="5425924" y="2101747"/>
                </a:lnTo>
                <a:lnTo>
                  <a:pt x="5425924" y="2160485"/>
                </a:lnTo>
                <a:lnTo>
                  <a:pt x="5368774" y="2160485"/>
                </a:lnTo>
                <a:close/>
                <a:moveTo>
                  <a:pt x="5289399" y="2101747"/>
                </a:moveTo>
                <a:lnTo>
                  <a:pt x="5348137" y="2101747"/>
                </a:lnTo>
                <a:lnTo>
                  <a:pt x="5348137" y="2160485"/>
                </a:lnTo>
                <a:lnTo>
                  <a:pt x="5289399" y="2160485"/>
                </a:lnTo>
                <a:close/>
                <a:moveTo>
                  <a:pt x="5210024" y="2101747"/>
                </a:moveTo>
                <a:lnTo>
                  <a:pt x="5268762" y="2101747"/>
                </a:lnTo>
                <a:lnTo>
                  <a:pt x="5268762" y="2160485"/>
                </a:lnTo>
                <a:lnTo>
                  <a:pt x="5210024" y="2160485"/>
                </a:lnTo>
                <a:close/>
                <a:moveTo>
                  <a:pt x="5130649" y="2101747"/>
                </a:moveTo>
                <a:lnTo>
                  <a:pt x="5189387" y="2101747"/>
                </a:lnTo>
                <a:lnTo>
                  <a:pt x="5189387" y="2160485"/>
                </a:lnTo>
                <a:lnTo>
                  <a:pt x="5130649" y="2160485"/>
                </a:lnTo>
                <a:close/>
                <a:moveTo>
                  <a:pt x="5052861" y="2101747"/>
                </a:moveTo>
                <a:lnTo>
                  <a:pt x="5110011" y="2101747"/>
                </a:lnTo>
                <a:lnTo>
                  <a:pt x="5110011" y="2160485"/>
                </a:lnTo>
                <a:lnTo>
                  <a:pt x="5052861" y="2160485"/>
                </a:lnTo>
                <a:close/>
                <a:moveTo>
                  <a:pt x="4973486" y="2101747"/>
                </a:moveTo>
                <a:lnTo>
                  <a:pt x="5030636" y="2101747"/>
                </a:lnTo>
                <a:lnTo>
                  <a:pt x="5030636" y="2160485"/>
                </a:lnTo>
                <a:lnTo>
                  <a:pt x="4973486" y="2160485"/>
                </a:lnTo>
                <a:close/>
                <a:moveTo>
                  <a:pt x="7499199" y="2023960"/>
                </a:moveTo>
                <a:lnTo>
                  <a:pt x="7557937" y="2023960"/>
                </a:lnTo>
                <a:lnTo>
                  <a:pt x="7557937" y="2082698"/>
                </a:lnTo>
                <a:lnTo>
                  <a:pt x="7499199" y="2082698"/>
                </a:lnTo>
                <a:close/>
                <a:moveTo>
                  <a:pt x="7262661" y="2023960"/>
                </a:moveTo>
                <a:lnTo>
                  <a:pt x="7321399" y="2023960"/>
                </a:lnTo>
                <a:lnTo>
                  <a:pt x="7321399" y="2082698"/>
                </a:lnTo>
                <a:lnTo>
                  <a:pt x="7262661" y="2082698"/>
                </a:lnTo>
                <a:close/>
                <a:moveTo>
                  <a:pt x="7183286" y="2023960"/>
                </a:moveTo>
                <a:lnTo>
                  <a:pt x="7242024" y="2023960"/>
                </a:lnTo>
                <a:lnTo>
                  <a:pt x="7242024" y="2082698"/>
                </a:lnTo>
                <a:lnTo>
                  <a:pt x="7183286" y="2082698"/>
                </a:lnTo>
                <a:close/>
                <a:moveTo>
                  <a:pt x="7105499" y="2023960"/>
                </a:moveTo>
                <a:lnTo>
                  <a:pt x="7162649" y="2023960"/>
                </a:lnTo>
                <a:lnTo>
                  <a:pt x="7162649" y="2082698"/>
                </a:lnTo>
                <a:lnTo>
                  <a:pt x="7105499" y="2082698"/>
                </a:lnTo>
                <a:close/>
                <a:moveTo>
                  <a:pt x="7026124" y="2023960"/>
                </a:moveTo>
                <a:lnTo>
                  <a:pt x="7084862" y="2023960"/>
                </a:lnTo>
                <a:lnTo>
                  <a:pt x="7084862" y="2082698"/>
                </a:lnTo>
                <a:lnTo>
                  <a:pt x="7026124" y="2082698"/>
                </a:lnTo>
                <a:close/>
                <a:moveTo>
                  <a:pt x="6946749" y="2023960"/>
                </a:moveTo>
                <a:lnTo>
                  <a:pt x="7005487" y="2023960"/>
                </a:lnTo>
                <a:lnTo>
                  <a:pt x="7005487" y="2082698"/>
                </a:lnTo>
                <a:lnTo>
                  <a:pt x="6946749" y="2082698"/>
                </a:lnTo>
                <a:close/>
                <a:moveTo>
                  <a:pt x="6867374" y="2023960"/>
                </a:moveTo>
                <a:lnTo>
                  <a:pt x="6926112" y="2023960"/>
                </a:lnTo>
                <a:lnTo>
                  <a:pt x="6926112" y="2082698"/>
                </a:lnTo>
                <a:lnTo>
                  <a:pt x="6867374" y="2082698"/>
                </a:lnTo>
                <a:close/>
                <a:moveTo>
                  <a:pt x="6789586" y="2023960"/>
                </a:moveTo>
                <a:lnTo>
                  <a:pt x="6846736" y="2023960"/>
                </a:lnTo>
                <a:lnTo>
                  <a:pt x="6846736" y="2082698"/>
                </a:lnTo>
                <a:lnTo>
                  <a:pt x="6789586" y="2082698"/>
                </a:lnTo>
                <a:close/>
                <a:moveTo>
                  <a:pt x="6710211" y="2023960"/>
                </a:moveTo>
                <a:lnTo>
                  <a:pt x="6768949" y="2023960"/>
                </a:lnTo>
                <a:lnTo>
                  <a:pt x="6768949" y="2082698"/>
                </a:lnTo>
                <a:lnTo>
                  <a:pt x="6710211" y="2082698"/>
                </a:lnTo>
                <a:close/>
                <a:moveTo>
                  <a:pt x="6630836" y="2023960"/>
                </a:moveTo>
                <a:lnTo>
                  <a:pt x="6689574" y="2023960"/>
                </a:lnTo>
                <a:lnTo>
                  <a:pt x="6689574" y="2082698"/>
                </a:lnTo>
                <a:lnTo>
                  <a:pt x="6630836" y="2082698"/>
                </a:lnTo>
                <a:close/>
                <a:moveTo>
                  <a:pt x="6551461" y="2023960"/>
                </a:moveTo>
                <a:lnTo>
                  <a:pt x="6610199" y="2023960"/>
                </a:lnTo>
                <a:lnTo>
                  <a:pt x="6610199" y="2082698"/>
                </a:lnTo>
                <a:lnTo>
                  <a:pt x="6551461" y="2082698"/>
                </a:lnTo>
                <a:close/>
                <a:moveTo>
                  <a:pt x="6473674" y="2023960"/>
                </a:moveTo>
                <a:lnTo>
                  <a:pt x="6530824" y="2023960"/>
                </a:lnTo>
                <a:lnTo>
                  <a:pt x="6530824" y="2082698"/>
                </a:lnTo>
                <a:lnTo>
                  <a:pt x="6473674" y="2082698"/>
                </a:lnTo>
                <a:close/>
                <a:moveTo>
                  <a:pt x="6394299" y="2023960"/>
                </a:moveTo>
                <a:lnTo>
                  <a:pt x="6453037" y="2023960"/>
                </a:lnTo>
                <a:lnTo>
                  <a:pt x="6453037" y="2082698"/>
                </a:lnTo>
                <a:lnTo>
                  <a:pt x="6394299" y="2082698"/>
                </a:lnTo>
                <a:close/>
                <a:moveTo>
                  <a:pt x="6314924" y="2023960"/>
                </a:moveTo>
                <a:lnTo>
                  <a:pt x="6373662" y="2023960"/>
                </a:lnTo>
                <a:lnTo>
                  <a:pt x="6373662" y="2082698"/>
                </a:lnTo>
                <a:lnTo>
                  <a:pt x="6314924" y="2082698"/>
                </a:lnTo>
                <a:close/>
                <a:moveTo>
                  <a:pt x="6235549" y="2023960"/>
                </a:moveTo>
                <a:lnTo>
                  <a:pt x="6294287" y="2023960"/>
                </a:lnTo>
                <a:lnTo>
                  <a:pt x="6294287" y="2082698"/>
                </a:lnTo>
                <a:lnTo>
                  <a:pt x="6235549" y="2082698"/>
                </a:lnTo>
                <a:close/>
                <a:moveTo>
                  <a:pt x="6157761" y="2023960"/>
                </a:moveTo>
                <a:lnTo>
                  <a:pt x="6214911" y="2023960"/>
                </a:lnTo>
                <a:lnTo>
                  <a:pt x="6214911" y="2082698"/>
                </a:lnTo>
                <a:lnTo>
                  <a:pt x="6157761" y="2082698"/>
                </a:lnTo>
                <a:close/>
                <a:moveTo>
                  <a:pt x="6078386" y="2023960"/>
                </a:moveTo>
                <a:lnTo>
                  <a:pt x="6137124" y="2023960"/>
                </a:lnTo>
                <a:lnTo>
                  <a:pt x="6137124" y="2082698"/>
                </a:lnTo>
                <a:lnTo>
                  <a:pt x="6078386" y="2082698"/>
                </a:lnTo>
                <a:close/>
                <a:moveTo>
                  <a:pt x="5999011" y="2023960"/>
                </a:moveTo>
                <a:lnTo>
                  <a:pt x="6057749" y="2023960"/>
                </a:lnTo>
                <a:lnTo>
                  <a:pt x="6057749" y="2082698"/>
                </a:lnTo>
                <a:lnTo>
                  <a:pt x="5999011" y="2082698"/>
                </a:lnTo>
                <a:close/>
                <a:moveTo>
                  <a:pt x="5921224" y="2023960"/>
                </a:moveTo>
                <a:lnTo>
                  <a:pt x="5978374" y="2023960"/>
                </a:lnTo>
                <a:lnTo>
                  <a:pt x="5978374" y="2082698"/>
                </a:lnTo>
                <a:lnTo>
                  <a:pt x="5921224" y="2082698"/>
                </a:lnTo>
                <a:close/>
                <a:moveTo>
                  <a:pt x="5841849" y="2023960"/>
                </a:moveTo>
                <a:lnTo>
                  <a:pt x="5900587" y="2023960"/>
                </a:lnTo>
                <a:lnTo>
                  <a:pt x="5900587" y="2082698"/>
                </a:lnTo>
                <a:lnTo>
                  <a:pt x="5841849" y="2082698"/>
                </a:lnTo>
                <a:close/>
                <a:moveTo>
                  <a:pt x="5762474" y="2023960"/>
                </a:moveTo>
                <a:lnTo>
                  <a:pt x="5821212" y="2023960"/>
                </a:lnTo>
                <a:lnTo>
                  <a:pt x="5821212" y="2082698"/>
                </a:lnTo>
                <a:lnTo>
                  <a:pt x="5762474" y="2082698"/>
                </a:lnTo>
                <a:close/>
                <a:moveTo>
                  <a:pt x="5684686" y="2023960"/>
                </a:moveTo>
                <a:lnTo>
                  <a:pt x="5741836" y="2023960"/>
                </a:lnTo>
                <a:lnTo>
                  <a:pt x="5741836" y="2082698"/>
                </a:lnTo>
                <a:lnTo>
                  <a:pt x="5684686" y="2082698"/>
                </a:lnTo>
                <a:close/>
                <a:moveTo>
                  <a:pt x="5605311" y="2023960"/>
                </a:moveTo>
                <a:lnTo>
                  <a:pt x="5664049" y="2023960"/>
                </a:lnTo>
                <a:lnTo>
                  <a:pt x="5664049" y="2082698"/>
                </a:lnTo>
                <a:lnTo>
                  <a:pt x="5605311" y="2082698"/>
                </a:lnTo>
                <a:close/>
                <a:moveTo>
                  <a:pt x="5525936" y="2023960"/>
                </a:moveTo>
                <a:lnTo>
                  <a:pt x="5584674" y="2023960"/>
                </a:lnTo>
                <a:lnTo>
                  <a:pt x="5584674" y="2082698"/>
                </a:lnTo>
                <a:lnTo>
                  <a:pt x="5525936" y="2082698"/>
                </a:lnTo>
                <a:close/>
                <a:moveTo>
                  <a:pt x="5446561" y="2023960"/>
                </a:moveTo>
                <a:lnTo>
                  <a:pt x="5505299" y="2023960"/>
                </a:lnTo>
                <a:lnTo>
                  <a:pt x="5505299" y="2082698"/>
                </a:lnTo>
                <a:lnTo>
                  <a:pt x="5446561" y="2082698"/>
                </a:lnTo>
                <a:close/>
                <a:moveTo>
                  <a:pt x="5368774" y="2023960"/>
                </a:moveTo>
                <a:lnTo>
                  <a:pt x="5425924" y="2023960"/>
                </a:lnTo>
                <a:lnTo>
                  <a:pt x="5425924" y="2082698"/>
                </a:lnTo>
                <a:lnTo>
                  <a:pt x="5368774" y="2082698"/>
                </a:lnTo>
                <a:close/>
                <a:moveTo>
                  <a:pt x="5289399" y="2023960"/>
                </a:moveTo>
                <a:lnTo>
                  <a:pt x="5348137" y="2023960"/>
                </a:lnTo>
                <a:lnTo>
                  <a:pt x="5348137" y="2082698"/>
                </a:lnTo>
                <a:lnTo>
                  <a:pt x="5289399" y="2082698"/>
                </a:lnTo>
                <a:close/>
                <a:moveTo>
                  <a:pt x="5210024" y="2023960"/>
                </a:moveTo>
                <a:lnTo>
                  <a:pt x="5268762" y="2023960"/>
                </a:lnTo>
                <a:lnTo>
                  <a:pt x="5268762" y="2082698"/>
                </a:lnTo>
                <a:lnTo>
                  <a:pt x="5210024" y="2082698"/>
                </a:lnTo>
                <a:close/>
                <a:moveTo>
                  <a:pt x="5130649" y="2023960"/>
                </a:moveTo>
                <a:lnTo>
                  <a:pt x="5189387" y="2023960"/>
                </a:lnTo>
                <a:lnTo>
                  <a:pt x="5189387" y="2082698"/>
                </a:lnTo>
                <a:lnTo>
                  <a:pt x="5130649" y="2082698"/>
                </a:lnTo>
                <a:close/>
                <a:moveTo>
                  <a:pt x="4814736" y="2023960"/>
                </a:moveTo>
                <a:lnTo>
                  <a:pt x="4873474" y="2023960"/>
                </a:lnTo>
                <a:lnTo>
                  <a:pt x="4873474" y="2082698"/>
                </a:lnTo>
                <a:lnTo>
                  <a:pt x="4814736" y="2082698"/>
                </a:lnTo>
                <a:close/>
                <a:moveTo>
                  <a:pt x="4578198" y="2023960"/>
                </a:moveTo>
                <a:lnTo>
                  <a:pt x="4636936" y="2023960"/>
                </a:lnTo>
                <a:lnTo>
                  <a:pt x="4636936" y="2082698"/>
                </a:lnTo>
                <a:lnTo>
                  <a:pt x="4578198" y="2082698"/>
                </a:lnTo>
                <a:close/>
                <a:moveTo>
                  <a:pt x="4498823" y="2023960"/>
                </a:moveTo>
                <a:lnTo>
                  <a:pt x="4557561" y="2023960"/>
                </a:lnTo>
                <a:lnTo>
                  <a:pt x="4557561" y="2082698"/>
                </a:lnTo>
                <a:lnTo>
                  <a:pt x="4498823" y="2082698"/>
                </a:lnTo>
                <a:close/>
                <a:moveTo>
                  <a:pt x="4421036" y="2023960"/>
                </a:moveTo>
                <a:lnTo>
                  <a:pt x="4479774" y="2023960"/>
                </a:lnTo>
                <a:lnTo>
                  <a:pt x="4479774" y="2082698"/>
                </a:lnTo>
                <a:lnTo>
                  <a:pt x="4421036" y="2082698"/>
                </a:lnTo>
                <a:close/>
                <a:moveTo>
                  <a:pt x="4341661" y="2023960"/>
                </a:moveTo>
                <a:lnTo>
                  <a:pt x="4400399" y="2023960"/>
                </a:lnTo>
                <a:lnTo>
                  <a:pt x="4400399" y="2082698"/>
                </a:lnTo>
                <a:lnTo>
                  <a:pt x="4341661" y="2082698"/>
                </a:lnTo>
                <a:close/>
                <a:moveTo>
                  <a:pt x="4262286" y="2023960"/>
                </a:moveTo>
                <a:lnTo>
                  <a:pt x="4321024" y="2023960"/>
                </a:lnTo>
                <a:lnTo>
                  <a:pt x="4321024" y="2082698"/>
                </a:lnTo>
                <a:lnTo>
                  <a:pt x="4262286" y="2082698"/>
                </a:lnTo>
                <a:close/>
                <a:moveTo>
                  <a:pt x="4184498" y="2023960"/>
                </a:moveTo>
                <a:lnTo>
                  <a:pt x="4241648" y="2023960"/>
                </a:lnTo>
                <a:lnTo>
                  <a:pt x="4241648" y="2082698"/>
                </a:lnTo>
                <a:lnTo>
                  <a:pt x="4184498" y="2082698"/>
                </a:lnTo>
                <a:close/>
                <a:moveTo>
                  <a:pt x="4105123" y="2023960"/>
                </a:moveTo>
                <a:lnTo>
                  <a:pt x="4163861" y="2023960"/>
                </a:lnTo>
                <a:lnTo>
                  <a:pt x="4163861" y="2082698"/>
                </a:lnTo>
                <a:lnTo>
                  <a:pt x="4105123" y="2082698"/>
                </a:lnTo>
                <a:close/>
                <a:moveTo>
                  <a:pt x="4025748" y="2023960"/>
                </a:moveTo>
                <a:lnTo>
                  <a:pt x="4084486" y="2023960"/>
                </a:lnTo>
                <a:lnTo>
                  <a:pt x="4084486" y="2082698"/>
                </a:lnTo>
                <a:lnTo>
                  <a:pt x="4025748" y="2082698"/>
                </a:lnTo>
                <a:close/>
                <a:moveTo>
                  <a:pt x="2209757" y="2023960"/>
                </a:moveTo>
                <a:lnTo>
                  <a:pt x="2268496" y="2023960"/>
                </a:lnTo>
                <a:lnTo>
                  <a:pt x="2268496" y="2082698"/>
                </a:lnTo>
                <a:lnTo>
                  <a:pt x="2209757" y="2082698"/>
                </a:lnTo>
                <a:close/>
                <a:moveTo>
                  <a:pt x="2131971" y="2023960"/>
                </a:moveTo>
                <a:lnTo>
                  <a:pt x="2189122" y="2023960"/>
                </a:lnTo>
                <a:lnTo>
                  <a:pt x="2189122" y="2082698"/>
                </a:lnTo>
                <a:lnTo>
                  <a:pt x="2131971" y="2082698"/>
                </a:lnTo>
                <a:close/>
                <a:moveTo>
                  <a:pt x="2052592" y="2023960"/>
                </a:moveTo>
                <a:lnTo>
                  <a:pt x="2111333" y="2023960"/>
                </a:lnTo>
                <a:lnTo>
                  <a:pt x="2111333" y="2082698"/>
                </a:lnTo>
                <a:lnTo>
                  <a:pt x="2052592" y="2082698"/>
                </a:lnTo>
                <a:close/>
                <a:moveTo>
                  <a:pt x="1973212" y="2023960"/>
                </a:moveTo>
                <a:lnTo>
                  <a:pt x="2031956" y="2023960"/>
                </a:lnTo>
                <a:lnTo>
                  <a:pt x="2031956" y="2082698"/>
                </a:lnTo>
                <a:lnTo>
                  <a:pt x="1973212" y="2082698"/>
                </a:lnTo>
                <a:close/>
                <a:moveTo>
                  <a:pt x="1893836" y="2023960"/>
                </a:moveTo>
                <a:lnTo>
                  <a:pt x="1952571" y="2023960"/>
                </a:lnTo>
                <a:lnTo>
                  <a:pt x="1952571" y="2082698"/>
                </a:lnTo>
                <a:lnTo>
                  <a:pt x="1893836" y="2082698"/>
                </a:lnTo>
                <a:close/>
                <a:moveTo>
                  <a:pt x="1816068" y="2023960"/>
                </a:moveTo>
                <a:lnTo>
                  <a:pt x="1873205" y="2023960"/>
                </a:lnTo>
                <a:lnTo>
                  <a:pt x="1873205" y="2082698"/>
                </a:lnTo>
                <a:lnTo>
                  <a:pt x="1816068" y="2082698"/>
                </a:lnTo>
                <a:close/>
                <a:moveTo>
                  <a:pt x="1736692" y="2023960"/>
                </a:moveTo>
                <a:lnTo>
                  <a:pt x="1795435" y="2023960"/>
                </a:lnTo>
                <a:lnTo>
                  <a:pt x="1795435" y="2082698"/>
                </a:lnTo>
                <a:lnTo>
                  <a:pt x="1736692" y="2082698"/>
                </a:lnTo>
                <a:close/>
                <a:moveTo>
                  <a:pt x="1657312" y="2023960"/>
                </a:moveTo>
                <a:lnTo>
                  <a:pt x="1716053" y="2023960"/>
                </a:lnTo>
                <a:lnTo>
                  <a:pt x="1716053" y="2082698"/>
                </a:lnTo>
                <a:lnTo>
                  <a:pt x="1657312" y="2082698"/>
                </a:lnTo>
                <a:close/>
                <a:moveTo>
                  <a:pt x="1577929" y="2023960"/>
                </a:moveTo>
                <a:lnTo>
                  <a:pt x="1636677" y="2023960"/>
                </a:lnTo>
                <a:lnTo>
                  <a:pt x="1636677" y="2082698"/>
                </a:lnTo>
                <a:lnTo>
                  <a:pt x="1577929" y="2082698"/>
                </a:lnTo>
                <a:close/>
                <a:moveTo>
                  <a:pt x="1500138" y="2023960"/>
                </a:moveTo>
                <a:lnTo>
                  <a:pt x="1558880" y="2023960"/>
                </a:lnTo>
                <a:lnTo>
                  <a:pt x="1558880" y="2082698"/>
                </a:lnTo>
                <a:lnTo>
                  <a:pt x="1500138" y="2082698"/>
                </a:lnTo>
                <a:close/>
                <a:moveTo>
                  <a:pt x="1420761" y="2023960"/>
                </a:moveTo>
                <a:lnTo>
                  <a:pt x="1479499" y="2023960"/>
                </a:lnTo>
                <a:lnTo>
                  <a:pt x="1479499" y="2082698"/>
                </a:lnTo>
                <a:lnTo>
                  <a:pt x="1420761" y="2082698"/>
                </a:lnTo>
                <a:close/>
                <a:moveTo>
                  <a:pt x="1341416" y="2023960"/>
                </a:moveTo>
                <a:lnTo>
                  <a:pt x="1400136" y="2023960"/>
                </a:lnTo>
                <a:lnTo>
                  <a:pt x="1400136" y="2082698"/>
                </a:lnTo>
                <a:lnTo>
                  <a:pt x="1341416" y="2082698"/>
                </a:lnTo>
                <a:close/>
                <a:moveTo>
                  <a:pt x="4498823" y="1946173"/>
                </a:moveTo>
                <a:lnTo>
                  <a:pt x="4557561" y="1946173"/>
                </a:lnTo>
                <a:lnTo>
                  <a:pt x="4557561" y="2003323"/>
                </a:lnTo>
                <a:lnTo>
                  <a:pt x="4498823" y="2003323"/>
                </a:lnTo>
                <a:close/>
                <a:moveTo>
                  <a:pt x="4421036" y="1946173"/>
                </a:moveTo>
                <a:lnTo>
                  <a:pt x="4479774" y="1946173"/>
                </a:lnTo>
                <a:lnTo>
                  <a:pt x="4479774" y="2003323"/>
                </a:lnTo>
                <a:lnTo>
                  <a:pt x="4421036" y="2003323"/>
                </a:lnTo>
                <a:close/>
                <a:moveTo>
                  <a:pt x="4341661" y="1946173"/>
                </a:moveTo>
                <a:lnTo>
                  <a:pt x="4400399" y="1946173"/>
                </a:lnTo>
                <a:lnTo>
                  <a:pt x="4400399" y="2003323"/>
                </a:lnTo>
                <a:lnTo>
                  <a:pt x="4341661" y="2003323"/>
                </a:lnTo>
                <a:close/>
                <a:moveTo>
                  <a:pt x="4262286" y="1946173"/>
                </a:moveTo>
                <a:lnTo>
                  <a:pt x="4321024" y="1946173"/>
                </a:lnTo>
                <a:lnTo>
                  <a:pt x="4321024" y="2003323"/>
                </a:lnTo>
                <a:lnTo>
                  <a:pt x="4262286" y="2003323"/>
                </a:lnTo>
                <a:close/>
                <a:moveTo>
                  <a:pt x="4184498" y="1946173"/>
                </a:moveTo>
                <a:lnTo>
                  <a:pt x="4241648" y="1946173"/>
                </a:lnTo>
                <a:lnTo>
                  <a:pt x="4241648" y="2003323"/>
                </a:lnTo>
                <a:lnTo>
                  <a:pt x="4184498" y="2003323"/>
                </a:lnTo>
                <a:close/>
                <a:moveTo>
                  <a:pt x="4105123" y="1946173"/>
                </a:moveTo>
                <a:lnTo>
                  <a:pt x="4163861" y="1946173"/>
                </a:lnTo>
                <a:lnTo>
                  <a:pt x="4163861" y="2003323"/>
                </a:lnTo>
                <a:lnTo>
                  <a:pt x="4105123" y="2003323"/>
                </a:lnTo>
                <a:close/>
                <a:moveTo>
                  <a:pt x="2209762" y="1946173"/>
                </a:moveTo>
                <a:lnTo>
                  <a:pt x="2268500" y="1946173"/>
                </a:lnTo>
                <a:lnTo>
                  <a:pt x="2268500" y="2003323"/>
                </a:lnTo>
                <a:lnTo>
                  <a:pt x="2209762" y="2003323"/>
                </a:lnTo>
                <a:close/>
                <a:moveTo>
                  <a:pt x="2131973" y="1946173"/>
                </a:moveTo>
                <a:lnTo>
                  <a:pt x="2189126" y="1946173"/>
                </a:lnTo>
                <a:lnTo>
                  <a:pt x="2189126" y="2003323"/>
                </a:lnTo>
                <a:lnTo>
                  <a:pt x="2131973" y="2003323"/>
                </a:lnTo>
                <a:close/>
                <a:moveTo>
                  <a:pt x="2052594" y="1946173"/>
                </a:moveTo>
                <a:lnTo>
                  <a:pt x="2111338" y="1946173"/>
                </a:lnTo>
                <a:lnTo>
                  <a:pt x="2111338" y="2003323"/>
                </a:lnTo>
                <a:lnTo>
                  <a:pt x="2052594" y="2003323"/>
                </a:lnTo>
                <a:close/>
                <a:moveTo>
                  <a:pt x="1973215" y="1946173"/>
                </a:moveTo>
                <a:lnTo>
                  <a:pt x="2031961" y="1946173"/>
                </a:lnTo>
                <a:lnTo>
                  <a:pt x="2031961" y="2003323"/>
                </a:lnTo>
                <a:lnTo>
                  <a:pt x="1973215" y="2003323"/>
                </a:lnTo>
                <a:close/>
                <a:moveTo>
                  <a:pt x="1893839" y="1946173"/>
                </a:moveTo>
                <a:lnTo>
                  <a:pt x="1952577" y="1946173"/>
                </a:lnTo>
                <a:lnTo>
                  <a:pt x="1952577" y="2003323"/>
                </a:lnTo>
                <a:lnTo>
                  <a:pt x="1893839" y="2003323"/>
                </a:lnTo>
                <a:close/>
                <a:moveTo>
                  <a:pt x="1816069" y="1946173"/>
                </a:moveTo>
                <a:lnTo>
                  <a:pt x="1873208" y="1946173"/>
                </a:lnTo>
                <a:lnTo>
                  <a:pt x="1873208" y="2003323"/>
                </a:lnTo>
                <a:lnTo>
                  <a:pt x="1816069" y="2003323"/>
                </a:lnTo>
                <a:close/>
                <a:moveTo>
                  <a:pt x="1736695" y="1946173"/>
                </a:moveTo>
                <a:lnTo>
                  <a:pt x="1795440" y="1946173"/>
                </a:lnTo>
                <a:lnTo>
                  <a:pt x="1795440" y="2003323"/>
                </a:lnTo>
                <a:lnTo>
                  <a:pt x="1736695" y="2003323"/>
                </a:lnTo>
                <a:close/>
                <a:moveTo>
                  <a:pt x="1657316" y="1946173"/>
                </a:moveTo>
                <a:lnTo>
                  <a:pt x="1716056" y="1946173"/>
                </a:lnTo>
                <a:lnTo>
                  <a:pt x="1716056" y="2003323"/>
                </a:lnTo>
                <a:lnTo>
                  <a:pt x="1657316" y="2003323"/>
                </a:lnTo>
                <a:close/>
                <a:moveTo>
                  <a:pt x="1577933" y="1946173"/>
                </a:moveTo>
                <a:lnTo>
                  <a:pt x="1636679" y="1946173"/>
                </a:lnTo>
                <a:lnTo>
                  <a:pt x="1636679" y="2003323"/>
                </a:lnTo>
                <a:lnTo>
                  <a:pt x="1577933" y="2003323"/>
                </a:lnTo>
                <a:close/>
                <a:moveTo>
                  <a:pt x="1500141" y="1946173"/>
                </a:moveTo>
                <a:lnTo>
                  <a:pt x="1558885" y="1946173"/>
                </a:lnTo>
                <a:lnTo>
                  <a:pt x="1558885" y="2003323"/>
                </a:lnTo>
                <a:lnTo>
                  <a:pt x="1500141" y="2003323"/>
                </a:lnTo>
                <a:close/>
                <a:moveTo>
                  <a:pt x="1420765" y="1946173"/>
                </a:moveTo>
                <a:lnTo>
                  <a:pt x="1479502" y="1946173"/>
                </a:lnTo>
                <a:lnTo>
                  <a:pt x="1479502" y="2003323"/>
                </a:lnTo>
                <a:lnTo>
                  <a:pt x="1420765" y="2003323"/>
                </a:lnTo>
                <a:close/>
                <a:moveTo>
                  <a:pt x="1341416" y="1946173"/>
                </a:moveTo>
                <a:lnTo>
                  <a:pt x="1400138" y="1946173"/>
                </a:lnTo>
                <a:lnTo>
                  <a:pt x="1400138" y="2003323"/>
                </a:lnTo>
                <a:lnTo>
                  <a:pt x="1341416" y="2003323"/>
                </a:lnTo>
                <a:close/>
                <a:moveTo>
                  <a:pt x="1263610" y="1946173"/>
                </a:moveTo>
                <a:lnTo>
                  <a:pt x="1320768" y="1946173"/>
                </a:lnTo>
                <a:lnTo>
                  <a:pt x="1320768" y="2003323"/>
                </a:lnTo>
                <a:lnTo>
                  <a:pt x="1263610" y="2003323"/>
                </a:lnTo>
                <a:close/>
                <a:moveTo>
                  <a:pt x="7657949" y="1946172"/>
                </a:moveTo>
                <a:lnTo>
                  <a:pt x="7715099" y="1946172"/>
                </a:lnTo>
                <a:lnTo>
                  <a:pt x="7715099" y="2003322"/>
                </a:lnTo>
                <a:lnTo>
                  <a:pt x="7657949" y="2003322"/>
                </a:lnTo>
                <a:close/>
                <a:moveTo>
                  <a:pt x="7578574" y="1946172"/>
                </a:moveTo>
                <a:lnTo>
                  <a:pt x="7637312" y="1946172"/>
                </a:lnTo>
                <a:lnTo>
                  <a:pt x="7637312" y="2003322"/>
                </a:lnTo>
                <a:lnTo>
                  <a:pt x="7578574" y="2003322"/>
                </a:lnTo>
                <a:close/>
                <a:moveTo>
                  <a:pt x="7499199" y="1946172"/>
                </a:moveTo>
                <a:lnTo>
                  <a:pt x="7557937" y="1946172"/>
                </a:lnTo>
                <a:lnTo>
                  <a:pt x="7557937" y="2003322"/>
                </a:lnTo>
                <a:lnTo>
                  <a:pt x="7499199" y="2003322"/>
                </a:lnTo>
                <a:close/>
                <a:moveTo>
                  <a:pt x="7419824" y="1946172"/>
                </a:moveTo>
                <a:lnTo>
                  <a:pt x="7478562" y="1946172"/>
                </a:lnTo>
                <a:lnTo>
                  <a:pt x="7478562" y="2003322"/>
                </a:lnTo>
                <a:lnTo>
                  <a:pt x="7419824" y="2003322"/>
                </a:lnTo>
                <a:close/>
                <a:moveTo>
                  <a:pt x="7183286" y="1946172"/>
                </a:moveTo>
                <a:lnTo>
                  <a:pt x="7242024" y="1946172"/>
                </a:lnTo>
                <a:lnTo>
                  <a:pt x="7242024" y="2003322"/>
                </a:lnTo>
                <a:lnTo>
                  <a:pt x="7183286" y="2003322"/>
                </a:lnTo>
                <a:close/>
                <a:moveTo>
                  <a:pt x="7105499" y="1946172"/>
                </a:moveTo>
                <a:lnTo>
                  <a:pt x="7162649" y="1946172"/>
                </a:lnTo>
                <a:lnTo>
                  <a:pt x="7162649" y="2003322"/>
                </a:lnTo>
                <a:lnTo>
                  <a:pt x="7105499" y="2003322"/>
                </a:lnTo>
                <a:close/>
                <a:moveTo>
                  <a:pt x="7026124" y="1946172"/>
                </a:moveTo>
                <a:lnTo>
                  <a:pt x="7084862" y="1946172"/>
                </a:lnTo>
                <a:lnTo>
                  <a:pt x="7084862" y="2003322"/>
                </a:lnTo>
                <a:lnTo>
                  <a:pt x="7026124" y="2003322"/>
                </a:lnTo>
                <a:close/>
                <a:moveTo>
                  <a:pt x="6946749" y="1946172"/>
                </a:moveTo>
                <a:lnTo>
                  <a:pt x="7005487" y="1946172"/>
                </a:lnTo>
                <a:lnTo>
                  <a:pt x="7005487" y="2003322"/>
                </a:lnTo>
                <a:lnTo>
                  <a:pt x="6946749" y="2003322"/>
                </a:lnTo>
                <a:close/>
                <a:moveTo>
                  <a:pt x="6867374" y="1946172"/>
                </a:moveTo>
                <a:lnTo>
                  <a:pt x="6926112" y="1946172"/>
                </a:lnTo>
                <a:lnTo>
                  <a:pt x="6926112" y="2003322"/>
                </a:lnTo>
                <a:lnTo>
                  <a:pt x="6867374" y="2003322"/>
                </a:lnTo>
                <a:close/>
                <a:moveTo>
                  <a:pt x="6789586" y="1946172"/>
                </a:moveTo>
                <a:lnTo>
                  <a:pt x="6846736" y="1946172"/>
                </a:lnTo>
                <a:lnTo>
                  <a:pt x="6846736" y="2003322"/>
                </a:lnTo>
                <a:lnTo>
                  <a:pt x="6789586" y="2003322"/>
                </a:lnTo>
                <a:close/>
                <a:moveTo>
                  <a:pt x="6710211" y="1946172"/>
                </a:moveTo>
                <a:lnTo>
                  <a:pt x="6768949" y="1946172"/>
                </a:lnTo>
                <a:lnTo>
                  <a:pt x="6768949" y="2003322"/>
                </a:lnTo>
                <a:lnTo>
                  <a:pt x="6710211" y="2003322"/>
                </a:lnTo>
                <a:close/>
                <a:moveTo>
                  <a:pt x="6630836" y="1946172"/>
                </a:moveTo>
                <a:lnTo>
                  <a:pt x="6689574" y="1946172"/>
                </a:lnTo>
                <a:lnTo>
                  <a:pt x="6689574" y="2003322"/>
                </a:lnTo>
                <a:lnTo>
                  <a:pt x="6630836" y="2003322"/>
                </a:lnTo>
                <a:close/>
                <a:moveTo>
                  <a:pt x="6551461" y="1946172"/>
                </a:moveTo>
                <a:lnTo>
                  <a:pt x="6610199" y="1946172"/>
                </a:lnTo>
                <a:lnTo>
                  <a:pt x="6610199" y="2003322"/>
                </a:lnTo>
                <a:lnTo>
                  <a:pt x="6551461" y="2003322"/>
                </a:lnTo>
                <a:close/>
                <a:moveTo>
                  <a:pt x="6473674" y="1946172"/>
                </a:moveTo>
                <a:lnTo>
                  <a:pt x="6530824" y="1946172"/>
                </a:lnTo>
                <a:lnTo>
                  <a:pt x="6530824" y="2003322"/>
                </a:lnTo>
                <a:lnTo>
                  <a:pt x="6473674" y="2003322"/>
                </a:lnTo>
                <a:close/>
                <a:moveTo>
                  <a:pt x="6394299" y="1946172"/>
                </a:moveTo>
                <a:lnTo>
                  <a:pt x="6453037" y="1946172"/>
                </a:lnTo>
                <a:lnTo>
                  <a:pt x="6453037" y="2003322"/>
                </a:lnTo>
                <a:lnTo>
                  <a:pt x="6394299" y="2003322"/>
                </a:lnTo>
                <a:close/>
                <a:moveTo>
                  <a:pt x="6314924" y="1946172"/>
                </a:moveTo>
                <a:lnTo>
                  <a:pt x="6373662" y="1946172"/>
                </a:lnTo>
                <a:lnTo>
                  <a:pt x="6373662" y="2003322"/>
                </a:lnTo>
                <a:lnTo>
                  <a:pt x="6314924" y="2003322"/>
                </a:lnTo>
                <a:close/>
                <a:moveTo>
                  <a:pt x="6235549" y="1946172"/>
                </a:moveTo>
                <a:lnTo>
                  <a:pt x="6294287" y="1946172"/>
                </a:lnTo>
                <a:lnTo>
                  <a:pt x="6294287" y="2003322"/>
                </a:lnTo>
                <a:lnTo>
                  <a:pt x="6235549" y="2003322"/>
                </a:lnTo>
                <a:close/>
                <a:moveTo>
                  <a:pt x="6157761" y="1946172"/>
                </a:moveTo>
                <a:lnTo>
                  <a:pt x="6214911" y="1946172"/>
                </a:lnTo>
                <a:lnTo>
                  <a:pt x="6214911" y="2003322"/>
                </a:lnTo>
                <a:lnTo>
                  <a:pt x="6157761" y="2003322"/>
                </a:lnTo>
                <a:close/>
                <a:moveTo>
                  <a:pt x="6078386" y="1946172"/>
                </a:moveTo>
                <a:lnTo>
                  <a:pt x="6137124" y="1946172"/>
                </a:lnTo>
                <a:lnTo>
                  <a:pt x="6137124" y="2003322"/>
                </a:lnTo>
                <a:lnTo>
                  <a:pt x="6078386" y="2003322"/>
                </a:lnTo>
                <a:close/>
                <a:moveTo>
                  <a:pt x="5999011" y="1946172"/>
                </a:moveTo>
                <a:lnTo>
                  <a:pt x="6057749" y="1946172"/>
                </a:lnTo>
                <a:lnTo>
                  <a:pt x="6057749" y="2003322"/>
                </a:lnTo>
                <a:lnTo>
                  <a:pt x="5999011" y="2003322"/>
                </a:lnTo>
                <a:close/>
                <a:moveTo>
                  <a:pt x="5921224" y="1946172"/>
                </a:moveTo>
                <a:lnTo>
                  <a:pt x="5978374" y="1946172"/>
                </a:lnTo>
                <a:lnTo>
                  <a:pt x="5978374" y="2003322"/>
                </a:lnTo>
                <a:lnTo>
                  <a:pt x="5921224" y="2003322"/>
                </a:lnTo>
                <a:close/>
                <a:moveTo>
                  <a:pt x="5841849" y="1946172"/>
                </a:moveTo>
                <a:lnTo>
                  <a:pt x="5900587" y="1946172"/>
                </a:lnTo>
                <a:lnTo>
                  <a:pt x="5900587" y="2003322"/>
                </a:lnTo>
                <a:lnTo>
                  <a:pt x="5841849" y="2003322"/>
                </a:lnTo>
                <a:close/>
                <a:moveTo>
                  <a:pt x="5762474" y="1946172"/>
                </a:moveTo>
                <a:lnTo>
                  <a:pt x="5821212" y="1946172"/>
                </a:lnTo>
                <a:lnTo>
                  <a:pt x="5821212" y="2003322"/>
                </a:lnTo>
                <a:lnTo>
                  <a:pt x="5762474" y="2003322"/>
                </a:lnTo>
                <a:close/>
                <a:moveTo>
                  <a:pt x="5684686" y="1946172"/>
                </a:moveTo>
                <a:lnTo>
                  <a:pt x="5741836" y="1946172"/>
                </a:lnTo>
                <a:lnTo>
                  <a:pt x="5741836" y="2003322"/>
                </a:lnTo>
                <a:lnTo>
                  <a:pt x="5684686" y="2003322"/>
                </a:lnTo>
                <a:close/>
                <a:moveTo>
                  <a:pt x="5605311" y="1946172"/>
                </a:moveTo>
                <a:lnTo>
                  <a:pt x="5664049" y="1946172"/>
                </a:lnTo>
                <a:lnTo>
                  <a:pt x="5664049" y="2003322"/>
                </a:lnTo>
                <a:lnTo>
                  <a:pt x="5605311" y="2003322"/>
                </a:lnTo>
                <a:close/>
                <a:moveTo>
                  <a:pt x="5525936" y="1946172"/>
                </a:moveTo>
                <a:lnTo>
                  <a:pt x="5584674" y="1946172"/>
                </a:lnTo>
                <a:lnTo>
                  <a:pt x="5584674" y="2003322"/>
                </a:lnTo>
                <a:lnTo>
                  <a:pt x="5525936" y="2003322"/>
                </a:lnTo>
                <a:close/>
                <a:moveTo>
                  <a:pt x="5446561" y="1946172"/>
                </a:moveTo>
                <a:lnTo>
                  <a:pt x="5505299" y="1946172"/>
                </a:lnTo>
                <a:lnTo>
                  <a:pt x="5505299" y="2003322"/>
                </a:lnTo>
                <a:lnTo>
                  <a:pt x="5446561" y="2003322"/>
                </a:lnTo>
                <a:close/>
                <a:moveTo>
                  <a:pt x="5368774" y="1946172"/>
                </a:moveTo>
                <a:lnTo>
                  <a:pt x="5425924" y="1946172"/>
                </a:lnTo>
                <a:lnTo>
                  <a:pt x="5425924" y="2003322"/>
                </a:lnTo>
                <a:lnTo>
                  <a:pt x="5368774" y="2003322"/>
                </a:lnTo>
                <a:close/>
                <a:moveTo>
                  <a:pt x="5289399" y="1946172"/>
                </a:moveTo>
                <a:lnTo>
                  <a:pt x="5348137" y="1946172"/>
                </a:lnTo>
                <a:lnTo>
                  <a:pt x="5348137" y="2003322"/>
                </a:lnTo>
                <a:lnTo>
                  <a:pt x="5289399" y="2003322"/>
                </a:lnTo>
                <a:close/>
                <a:moveTo>
                  <a:pt x="5210024" y="1946172"/>
                </a:moveTo>
                <a:lnTo>
                  <a:pt x="5268762" y="1946172"/>
                </a:lnTo>
                <a:lnTo>
                  <a:pt x="5268762" y="2003322"/>
                </a:lnTo>
                <a:lnTo>
                  <a:pt x="5210024" y="2003322"/>
                </a:lnTo>
                <a:close/>
                <a:moveTo>
                  <a:pt x="5130649" y="1946172"/>
                </a:moveTo>
                <a:lnTo>
                  <a:pt x="5189387" y="1946172"/>
                </a:lnTo>
                <a:lnTo>
                  <a:pt x="5189387" y="2003322"/>
                </a:lnTo>
                <a:lnTo>
                  <a:pt x="5130649" y="2003322"/>
                </a:lnTo>
                <a:close/>
                <a:moveTo>
                  <a:pt x="7735736" y="1868385"/>
                </a:moveTo>
                <a:lnTo>
                  <a:pt x="7794474" y="1868385"/>
                </a:lnTo>
                <a:lnTo>
                  <a:pt x="7794474" y="1927123"/>
                </a:lnTo>
                <a:lnTo>
                  <a:pt x="7735736" y="1927123"/>
                </a:lnTo>
                <a:close/>
                <a:moveTo>
                  <a:pt x="7657949" y="1868385"/>
                </a:moveTo>
                <a:lnTo>
                  <a:pt x="7715099" y="1868385"/>
                </a:lnTo>
                <a:lnTo>
                  <a:pt x="7715099" y="1927123"/>
                </a:lnTo>
                <a:lnTo>
                  <a:pt x="7657949" y="1927123"/>
                </a:lnTo>
                <a:close/>
                <a:moveTo>
                  <a:pt x="7578574" y="1868385"/>
                </a:moveTo>
                <a:lnTo>
                  <a:pt x="7637312" y="1868385"/>
                </a:lnTo>
                <a:lnTo>
                  <a:pt x="7637312" y="1927123"/>
                </a:lnTo>
                <a:lnTo>
                  <a:pt x="7578574" y="1927123"/>
                </a:lnTo>
                <a:close/>
                <a:moveTo>
                  <a:pt x="7419824" y="1868385"/>
                </a:moveTo>
                <a:lnTo>
                  <a:pt x="7478562" y="1868385"/>
                </a:lnTo>
                <a:lnTo>
                  <a:pt x="7478562" y="1927123"/>
                </a:lnTo>
                <a:lnTo>
                  <a:pt x="7419824" y="1927123"/>
                </a:lnTo>
                <a:close/>
                <a:moveTo>
                  <a:pt x="7262661" y="1868385"/>
                </a:moveTo>
                <a:lnTo>
                  <a:pt x="7321399" y="1868385"/>
                </a:lnTo>
                <a:lnTo>
                  <a:pt x="7321399" y="1927123"/>
                </a:lnTo>
                <a:lnTo>
                  <a:pt x="7262661" y="1927123"/>
                </a:lnTo>
                <a:close/>
                <a:moveTo>
                  <a:pt x="7183286" y="1868385"/>
                </a:moveTo>
                <a:lnTo>
                  <a:pt x="7242024" y="1868385"/>
                </a:lnTo>
                <a:lnTo>
                  <a:pt x="7242024" y="1927123"/>
                </a:lnTo>
                <a:lnTo>
                  <a:pt x="7183286" y="1927123"/>
                </a:lnTo>
                <a:close/>
                <a:moveTo>
                  <a:pt x="7105499" y="1868385"/>
                </a:moveTo>
                <a:lnTo>
                  <a:pt x="7162649" y="1868385"/>
                </a:lnTo>
                <a:lnTo>
                  <a:pt x="7162649" y="1927123"/>
                </a:lnTo>
                <a:lnTo>
                  <a:pt x="7105499" y="1927123"/>
                </a:lnTo>
                <a:close/>
                <a:moveTo>
                  <a:pt x="7026124" y="1868385"/>
                </a:moveTo>
                <a:lnTo>
                  <a:pt x="7084862" y="1868385"/>
                </a:lnTo>
                <a:lnTo>
                  <a:pt x="7084862" y="1927123"/>
                </a:lnTo>
                <a:lnTo>
                  <a:pt x="7026124" y="1927123"/>
                </a:lnTo>
                <a:close/>
                <a:moveTo>
                  <a:pt x="6946749" y="1868385"/>
                </a:moveTo>
                <a:lnTo>
                  <a:pt x="7005487" y="1868385"/>
                </a:lnTo>
                <a:lnTo>
                  <a:pt x="7005487" y="1927123"/>
                </a:lnTo>
                <a:lnTo>
                  <a:pt x="6946749" y="1927123"/>
                </a:lnTo>
                <a:close/>
                <a:moveTo>
                  <a:pt x="6867374" y="1868385"/>
                </a:moveTo>
                <a:lnTo>
                  <a:pt x="6926112" y="1868385"/>
                </a:lnTo>
                <a:lnTo>
                  <a:pt x="6926112" y="1927123"/>
                </a:lnTo>
                <a:lnTo>
                  <a:pt x="6867374" y="1927123"/>
                </a:lnTo>
                <a:close/>
                <a:moveTo>
                  <a:pt x="6789586" y="1868385"/>
                </a:moveTo>
                <a:lnTo>
                  <a:pt x="6846736" y="1868385"/>
                </a:lnTo>
                <a:lnTo>
                  <a:pt x="6846736" y="1927123"/>
                </a:lnTo>
                <a:lnTo>
                  <a:pt x="6789586" y="1927123"/>
                </a:lnTo>
                <a:close/>
                <a:moveTo>
                  <a:pt x="6710211" y="1868385"/>
                </a:moveTo>
                <a:lnTo>
                  <a:pt x="6768949" y="1868385"/>
                </a:lnTo>
                <a:lnTo>
                  <a:pt x="6768949" y="1927123"/>
                </a:lnTo>
                <a:lnTo>
                  <a:pt x="6710211" y="1927123"/>
                </a:lnTo>
                <a:close/>
                <a:moveTo>
                  <a:pt x="6630836" y="1868385"/>
                </a:moveTo>
                <a:lnTo>
                  <a:pt x="6689574" y="1868385"/>
                </a:lnTo>
                <a:lnTo>
                  <a:pt x="6689574" y="1927123"/>
                </a:lnTo>
                <a:lnTo>
                  <a:pt x="6630836" y="1927123"/>
                </a:lnTo>
                <a:close/>
                <a:moveTo>
                  <a:pt x="6551461" y="1868385"/>
                </a:moveTo>
                <a:lnTo>
                  <a:pt x="6610199" y="1868385"/>
                </a:lnTo>
                <a:lnTo>
                  <a:pt x="6610199" y="1927123"/>
                </a:lnTo>
                <a:lnTo>
                  <a:pt x="6551461" y="1927123"/>
                </a:lnTo>
                <a:close/>
                <a:moveTo>
                  <a:pt x="6473674" y="1868385"/>
                </a:moveTo>
                <a:lnTo>
                  <a:pt x="6530824" y="1868385"/>
                </a:lnTo>
                <a:lnTo>
                  <a:pt x="6530824" y="1927123"/>
                </a:lnTo>
                <a:lnTo>
                  <a:pt x="6473674" y="1927123"/>
                </a:lnTo>
                <a:close/>
                <a:moveTo>
                  <a:pt x="6394299" y="1868385"/>
                </a:moveTo>
                <a:lnTo>
                  <a:pt x="6453037" y="1868385"/>
                </a:lnTo>
                <a:lnTo>
                  <a:pt x="6453037" y="1927123"/>
                </a:lnTo>
                <a:lnTo>
                  <a:pt x="6394299" y="1927123"/>
                </a:lnTo>
                <a:close/>
                <a:moveTo>
                  <a:pt x="6314924" y="1868385"/>
                </a:moveTo>
                <a:lnTo>
                  <a:pt x="6373662" y="1868385"/>
                </a:lnTo>
                <a:lnTo>
                  <a:pt x="6373662" y="1927123"/>
                </a:lnTo>
                <a:lnTo>
                  <a:pt x="6314924" y="1927123"/>
                </a:lnTo>
                <a:close/>
                <a:moveTo>
                  <a:pt x="6235549" y="1868385"/>
                </a:moveTo>
                <a:lnTo>
                  <a:pt x="6294287" y="1868385"/>
                </a:lnTo>
                <a:lnTo>
                  <a:pt x="6294287" y="1927123"/>
                </a:lnTo>
                <a:lnTo>
                  <a:pt x="6235549" y="1927123"/>
                </a:lnTo>
                <a:close/>
                <a:moveTo>
                  <a:pt x="6157761" y="1868385"/>
                </a:moveTo>
                <a:lnTo>
                  <a:pt x="6214911" y="1868385"/>
                </a:lnTo>
                <a:lnTo>
                  <a:pt x="6214911" y="1927123"/>
                </a:lnTo>
                <a:lnTo>
                  <a:pt x="6157761" y="1927123"/>
                </a:lnTo>
                <a:close/>
                <a:moveTo>
                  <a:pt x="6078386" y="1868385"/>
                </a:moveTo>
                <a:lnTo>
                  <a:pt x="6137124" y="1868385"/>
                </a:lnTo>
                <a:lnTo>
                  <a:pt x="6137124" y="1927123"/>
                </a:lnTo>
                <a:lnTo>
                  <a:pt x="6078386" y="1927123"/>
                </a:lnTo>
                <a:close/>
                <a:moveTo>
                  <a:pt x="5999011" y="1868385"/>
                </a:moveTo>
                <a:lnTo>
                  <a:pt x="6057749" y="1868385"/>
                </a:lnTo>
                <a:lnTo>
                  <a:pt x="6057749" y="1927123"/>
                </a:lnTo>
                <a:lnTo>
                  <a:pt x="5999011" y="1927123"/>
                </a:lnTo>
                <a:close/>
                <a:moveTo>
                  <a:pt x="5921224" y="1868385"/>
                </a:moveTo>
                <a:lnTo>
                  <a:pt x="5978374" y="1868385"/>
                </a:lnTo>
                <a:lnTo>
                  <a:pt x="5978374" y="1927123"/>
                </a:lnTo>
                <a:lnTo>
                  <a:pt x="5921224" y="1927123"/>
                </a:lnTo>
                <a:close/>
                <a:moveTo>
                  <a:pt x="5841849" y="1868385"/>
                </a:moveTo>
                <a:lnTo>
                  <a:pt x="5900587" y="1868385"/>
                </a:lnTo>
                <a:lnTo>
                  <a:pt x="5900587" y="1927123"/>
                </a:lnTo>
                <a:lnTo>
                  <a:pt x="5841849" y="1927123"/>
                </a:lnTo>
                <a:close/>
                <a:moveTo>
                  <a:pt x="5762474" y="1868385"/>
                </a:moveTo>
                <a:lnTo>
                  <a:pt x="5821212" y="1868385"/>
                </a:lnTo>
                <a:lnTo>
                  <a:pt x="5821212" y="1927123"/>
                </a:lnTo>
                <a:lnTo>
                  <a:pt x="5762474" y="1927123"/>
                </a:lnTo>
                <a:close/>
                <a:moveTo>
                  <a:pt x="5684686" y="1868385"/>
                </a:moveTo>
                <a:lnTo>
                  <a:pt x="5741836" y="1868385"/>
                </a:lnTo>
                <a:lnTo>
                  <a:pt x="5741836" y="1927123"/>
                </a:lnTo>
                <a:lnTo>
                  <a:pt x="5684686" y="1927123"/>
                </a:lnTo>
                <a:close/>
                <a:moveTo>
                  <a:pt x="5605311" y="1868385"/>
                </a:moveTo>
                <a:lnTo>
                  <a:pt x="5664049" y="1868385"/>
                </a:lnTo>
                <a:lnTo>
                  <a:pt x="5664049" y="1927123"/>
                </a:lnTo>
                <a:lnTo>
                  <a:pt x="5605311" y="1927123"/>
                </a:lnTo>
                <a:close/>
                <a:moveTo>
                  <a:pt x="5525936" y="1868385"/>
                </a:moveTo>
                <a:lnTo>
                  <a:pt x="5584674" y="1868385"/>
                </a:lnTo>
                <a:lnTo>
                  <a:pt x="5584674" y="1927123"/>
                </a:lnTo>
                <a:lnTo>
                  <a:pt x="5525936" y="1927123"/>
                </a:lnTo>
                <a:close/>
                <a:moveTo>
                  <a:pt x="5446561" y="1868385"/>
                </a:moveTo>
                <a:lnTo>
                  <a:pt x="5505299" y="1868385"/>
                </a:lnTo>
                <a:lnTo>
                  <a:pt x="5505299" y="1927123"/>
                </a:lnTo>
                <a:lnTo>
                  <a:pt x="5446561" y="1927123"/>
                </a:lnTo>
                <a:close/>
                <a:moveTo>
                  <a:pt x="5368774" y="1868385"/>
                </a:moveTo>
                <a:lnTo>
                  <a:pt x="5425924" y="1868385"/>
                </a:lnTo>
                <a:lnTo>
                  <a:pt x="5425924" y="1927123"/>
                </a:lnTo>
                <a:lnTo>
                  <a:pt x="5368774" y="1927123"/>
                </a:lnTo>
                <a:close/>
                <a:moveTo>
                  <a:pt x="5289399" y="1868385"/>
                </a:moveTo>
                <a:lnTo>
                  <a:pt x="5348137" y="1868385"/>
                </a:lnTo>
                <a:lnTo>
                  <a:pt x="5348137" y="1927123"/>
                </a:lnTo>
                <a:lnTo>
                  <a:pt x="5289399" y="1927123"/>
                </a:lnTo>
                <a:close/>
                <a:moveTo>
                  <a:pt x="5210024" y="1868385"/>
                </a:moveTo>
                <a:lnTo>
                  <a:pt x="5268762" y="1868385"/>
                </a:lnTo>
                <a:lnTo>
                  <a:pt x="5268762" y="1927123"/>
                </a:lnTo>
                <a:lnTo>
                  <a:pt x="5210024" y="1927123"/>
                </a:lnTo>
                <a:close/>
                <a:moveTo>
                  <a:pt x="5130649" y="1868385"/>
                </a:moveTo>
                <a:lnTo>
                  <a:pt x="5189387" y="1868385"/>
                </a:lnTo>
                <a:lnTo>
                  <a:pt x="5189387" y="1927123"/>
                </a:lnTo>
                <a:lnTo>
                  <a:pt x="5130649" y="1927123"/>
                </a:lnTo>
                <a:close/>
                <a:moveTo>
                  <a:pt x="5052861" y="1868385"/>
                </a:moveTo>
                <a:lnTo>
                  <a:pt x="5110011" y="1868385"/>
                </a:lnTo>
                <a:lnTo>
                  <a:pt x="5110011" y="1927123"/>
                </a:lnTo>
                <a:lnTo>
                  <a:pt x="5052861" y="1927123"/>
                </a:lnTo>
                <a:close/>
                <a:moveTo>
                  <a:pt x="4973486" y="1868385"/>
                </a:moveTo>
                <a:lnTo>
                  <a:pt x="5030636" y="1868385"/>
                </a:lnTo>
                <a:lnTo>
                  <a:pt x="5030636" y="1927123"/>
                </a:lnTo>
                <a:lnTo>
                  <a:pt x="4973486" y="1927123"/>
                </a:lnTo>
                <a:close/>
                <a:moveTo>
                  <a:pt x="4814736" y="1868385"/>
                </a:moveTo>
                <a:lnTo>
                  <a:pt x="4873474" y="1868385"/>
                </a:lnTo>
                <a:lnTo>
                  <a:pt x="4873474" y="1927123"/>
                </a:lnTo>
                <a:lnTo>
                  <a:pt x="4814736" y="1927123"/>
                </a:lnTo>
                <a:close/>
                <a:moveTo>
                  <a:pt x="4578198" y="1868385"/>
                </a:moveTo>
                <a:lnTo>
                  <a:pt x="4636936" y="1868385"/>
                </a:lnTo>
                <a:lnTo>
                  <a:pt x="4636936" y="1927123"/>
                </a:lnTo>
                <a:lnTo>
                  <a:pt x="4578198" y="1927123"/>
                </a:lnTo>
                <a:close/>
                <a:moveTo>
                  <a:pt x="4421036" y="1868385"/>
                </a:moveTo>
                <a:lnTo>
                  <a:pt x="4479774" y="1868385"/>
                </a:lnTo>
                <a:lnTo>
                  <a:pt x="4479774" y="1927123"/>
                </a:lnTo>
                <a:lnTo>
                  <a:pt x="4421036" y="1927123"/>
                </a:lnTo>
                <a:close/>
                <a:moveTo>
                  <a:pt x="4341661" y="1868385"/>
                </a:moveTo>
                <a:lnTo>
                  <a:pt x="4400399" y="1868385"/>
                </a:lnTo>
                <a:lnTo>
                  <a:pt x="4400399" y="1927123"/>
                </a:lnTo>
                <a:lnTo>
                  <a:pt x="4341661" y="1927123"/>
                </a:lnTo>
                <a:close/>
                <a:moveTo>
                  <a:pt x="4262286" y="1868385"/>
                </a:moveTo>
                <a:lnTo>
                  <a:pt x="4321024" y="1868385"/>
                </a:lnTo>
                <a:lnTo>
                  <a:pt x="4321024" y="1927123"/>
                </a:lnTo>
                <a:lnTo>
                  <a:pt x="4262286" y="1927123"/>
                </a:lnTo>
                <a:close/>
                <a:moveTo>
                  <a:pt x="4105123" y="1868385"/>
                </a:moveTo>
                <a:lnTo>
                  <a:pt x="4163861" y="1868385"/>
                </a:lnTo>
                <a:lnTo>
                  <a:pt x="4163861" y="1927123"/>
                </a:lnTo>
                <a:lnTo>
                  <a:pt x="4105123" y="1927123"/>
                </a:lnTo>
                <a:close/>
                <a:moveTo>
                  <a:pt x="2289139" y="1868385"/>
                </a:moveTo>
                <a:lnTo>
                  <a:pt x="2347881" y="1868385"/>
                </a:lnTo>
                <a:lnTo>
                  <a:pt x="2347881" y="1927123"/>
                </a:lnTo>
                <a:lnTo>
                  <a:pt x="2289139" y="1927123"/>
                </a:lnTo>
                <a:close/>
                <a:moveTo>
                  <a:pt x="2209764" y="1868385"/>
                </a:moveTo>
                <a:lnTo>
                  <a:pt x="2268504" y="1868385"/>
                </a:lnTo>
                <a:lnTo>
                  <a:pt x="2268504" y="1927123"/>
                </a:lnTo>
                <a:lnTo>
                  <a:pt x="2209764" y="1927123"/>
                </a:lnTo>
                <a:close/>
                <a:moveTo>
                  <a:pt x="2131978" y="1868385"/>
                </a:moveTo>
                <a:lnTo>
                  <a:pt x="2189128" y="1868385"/>
                </a:lnTo>
                <a:lnTo>
                  <a:pt x="2189128" y="1927123"/>
                </a:lnTo>
                <a:lnTo>
                  <a:pt x="2131978" y="1927123"/>
                </a:lnTo>
                <a:close/>
                <a:moveTo>
                  <a:pt x="2052597" y="1868385"/>
                </a:moveTo>
                <a:lnTo>
                  <a:pt x="2111340" y="1868385"/>
                </a:lnTo>
                <a:lnTo>
                  <a:pt x="2111340" y="1927123"/>
                </a:lnTo>
                <a:lnTo>
                  <a:pt x="2052597" y="1927123"/>
                </a:lnTo>
                <a:close/>
                <a:moveTo>
                  <a:pt x="1973219" y="1868385"/>
                </a:moveTo>
                <a:lnTo>
                  <a:pt x="2031961" y="1868385"/>
                </a:lnTo>
                <a:lnTo>
                  <a:pt x="2031961" y="1927123"/>
                </a:lnTo>
                <a:lnTo>
                  <a:pt x="1973219" y="1927123"/>
                </a:lnTo>
                <a:close/>
                <a:moveTo>
                  <a:pt x="1893842" y="1868385"/>
                </a:moveTo>
                <a:lnTo>
                  <a:pt x="1952581" y="1868385"/>
                </a:lnTo>
                <a:lnTo>
                  <a:pt x="1952581" y="1927123"/>
                </a:lnTo>
                <a:lnTo>
                  <a:pt x="1893842" y="1927123"/>
                </a:lnTo>
                <a:close/>
                <a:moveTo>
                  <a:pt x="1816076" y="1868385"/>
                </a:moveTo>
                <a:lnTo>
                  <a:pt x="1873210" y="1868385"/>
                </a:lnTo>
                <a:lnTo>
                  <a:pt x="1873210" y="1927123"/>
                </a:lnTo>
                <a:lnTo>
                  <a:pt x="1816076" y="1927123"/>
                </a:lnTo>
                <a:close/>
                <a:moveTo>
                  <a:pt x="1736700" y="1868385"/>
                </a:moveTo>
                <a:lnTo>
                  <a:pt x="1795444" y="1868385"/>
                </a:lnTo>
                <a:lnTo>
                  <a:pt x="1795444" y="1927123"/>
                </a:lnTo>
                <a:lnTo>
                  <a:pt x="1736700" y="1927123"/>
                </a:lnTo>
                <a:close/>
                <a:moveTo>
                  <a:pt x="1657317" y="1868385"/>
                </a:moveTo>
                <a:lnTo>
                  <a:pt x="1716060" y="1868385"/>
                </a:lnTo>
                <a:lnTo>
                  <a:pt x="1716060" y="1927123"/>
                </a:lnTo>
                <a:lnTo>
                  <a:pt x="1657317" y="1927123"/>
                </a:lnTo>
                <a:close/>
                <a:moveTo>
                  <a:pt x="1577933" y="1868385"/>
                </a:moveTo>
                <a:lnTo>
                  <a:pt x="1636683" y="1868385"/>
                </a:lnTo>
                <a:lnTo>
                  <a:pt x="1636683" y="1927123"/>
                </a:lnTo>
                <a:lnTo>
                  <a:pt x="1577933" y="1927123"/>
                </a:lnTo>
                <a:close/>
                <a:moveTo>
                  <a:pt x="1500145" y="1868385"/>
                </a:moveTo>
                <a:lnTo>
                  <a:pt x="1558889" y="1868385"/>
                </a:lnTo>
                <a:lnTo>
                  <a:pt x="1558889" y="1927123"/>
                </a:lnTo>
                <a:lnTo>
                  <a:pt x="1500145" y="1927123"/>
                </a:lnTo>
                <a:close/>
                <a:moveTo>
                  <a:pt x="1420767" y="1868385"/>
                </a:moveTo>
                <a:lnTo>
                  <a:pt x="1479504" y="1868385"/>
                </a:lnTo>
                <a:lnTo>
                  <a:pt x="1479504" y="1927123"/>
                </a:lnTo>
                <a:lnTo>
                  <a:pt x="1420767" y="1927123"/>
                </a:lnTo>
                <a:close/>
                <a:moveTo>
                  <a:pt x="1341416" y="1868385"/>
                </a:moveTo>
                <a:lnTo>
                  <a:pt x="1400143" y="1868385"/>
                </a:lnTo>
                <a:lnTo>
                  <a:pt x="1400143" y="1927123"/>
                </a:lnTo>
                <a:lnTo>
                  <a:pt x="1341416" y="1927123"/>
                </a:lnTo>
                <a:close/>
                <a:moveTo>
                  <a:pt x="1263610" y="1868385"/>
                </a:moveTo>
                <a:lnTo>
                  <a:pt x="1320774" y="1868385"/>
                </a:lnTo>
                <a:lnTo>
                  <a:pt x="1320774" y="1927123"/>
                </a:lnTo>
                <a:lnTo>
                  <a:pt x="1263610" y="1927123"/>
                </a:lnTo>
                <a:close/>
                <a:moveTo>
                  <a:pt x="4814736" y="1790598"/>
                </a:moveTo>
                <a:lnTo>
                  <a:pt x="4873474" y="1790598"/>
                </a:lnTo>
                <a:lnTo>
                  <a:pt x="4873474" y="1849336"/>
                </a:lnTo>
                <a:lnTo>
                  <a:pt x="4814736" y="1849336"/>
                </a:lnTo>
                <a:close/>
                <a:moveTo>
                  <a:pt x="4341661" y="1790598"/>
                </a:moveTo>
                <a:lnTo>
                  <a:pt x="4400399" y="1790598"/>
                </a:lnTo>
                <a:lnTo>
                  <a:pt x="4400399" y="1849336"/>
                </a:lnTo>
                <a:lnTo>
                  <a:pt x="4341661" y="1849336"/>
                </a:lnTo>
                <a:close/>
                <a:moveTo>
                  <a:pt x="4184498" y="1790598"/>
                </a:moveTo>
                <a:lnTo>
                  <a:pt x="4241648" y="1790598"/>
                </a:lnTo>
                <a:lnTo>
                  <a:pt x="4241648" y="1849336"/>
                </a:lnTo>
                <a:lnTo>
                  <a:pt x="4184498" y="1849336"/>
                </a:lnTo>
                <a:close/>
                <a:moveTo>
                  <a:pt x="4105123" y="1790598"/>
                </a:moveTo>
                <a:lnTo>
                  <a:pt x="4163861" y="1790598"/>
                </a:lnTo>
                <a:lnTo>
                  <a:pt x="4163861" y="1849336"/>
                </a:lnTo>
                <a:lnTo>
                  <a:pt x="4105123" y="1849336"/>
                </a:lnTo>
                <a:close/>
                <a:moveTo>
                  <a:pt x="4025748" y="1790598"/>
                </a:moveTo>
                <a:lnTo>
                  <a:pt x="4084486" y="1790598"/>
                </a:lnTo>
                <a:lnTo>
                  <a:pt x="4084486" y="1849336"/>
                </a:lnTo>
                <a:lnTo>
                  <a:pt x="4025748" y="1849336"/>
                </a:lnTo>
                <a:close/>
                <a:moveTo>
                  <a:pt x="2289143" y="1790598"/>
                </a:moveTo>
                <a:lnTo>
                  <a:pt x="2347883" y="1790598"/>
                </a:lnTo>
                <a:lnTo>
                  <a:pt x="2347883" y="1849336"/>
                </a:lnTo>
                <a:lnTo>
                  <a:pt x="2289143" y="1849336"/>
                </a:lnTo>
                <a:close/>
                <a:moveTo>
                  <a:pt x="2209768" y="1790598"/>
                </a:moveTo>
                <a:lnTo>
                  <a:pt x="2268507" y="1790598"/>
                </a:lnTo>
                <a:lnTo>
                  <a:pt x="2268507" y="1849336"/>
                </a:lnTo>
                <a:lnTo>
                  <a:pt x="2209768" y="1849336"/>
                </a:lnTo>
                <a:close/>
                <a:moveTo>
                  <a:pt x="2131979" y="1790598"/>
                </a:moveTo>
                <a:lnTo>
                  <a:pt x="2189132" y="1790598"/>
                </a:lnTo>
                <a:lnTo>
                  <a:pt x="2189132" y="1849336"/>
                </a:lnTo>
                <a:lnTo>
                  <a:pt x="2131979" y="1849336"/>
                </a:lnTo>
                <a:close/>
                <a:moveTo>
                  <a:pt x="2052600" y="1790598"/>
                </a:moveTo>
                <a:lnTo>
                  <a:pt x="2111343" y="1790598"/>
                </a:lnTo>
                <a:lnTo>
                  <a:pt x="2111343" y="1849336"/>
                </a:lnTo>
                <a:lnTo>
                  <a:pt x="2052600" y="1849336"/>
                </a:lnTo>
                <a:close/>
                <a:moveTo>
                  <a:pt x="1973223" y="1790598"/>
                </a:moveTo>
                <a:lnTo>
                  <a:pt x="2031966" y="1790598"/>
                </a:lnTo>
                <a:lnTo>
                  <a:pt x="2031966" y="1849336"/>
                </a:lnTo>
                <a:lnTo>
                  <a:pt x="1973223" y="1849336"/>
                </a:lnTo>
                <a:close/>
                <a:moveTo>
                  <a:pt x="1893845" y="1790598"/>
                </a:moveTo>
                <a:lnTo>
                  <a:pt x="1952581" y="1790598"/>
                </a:lnTo>
                <a:lnTo>
                  <a:pt x="1952581" y="1849336"/>
                </a:lnTo>
                <a:lnTo>
                  <a:pt x="1893845" y="1849336"/>
                </a:lnTo>
                <a:close/>
                <a:moveTo>
                  <a:pt x="1816077" y="1790598"/>
                </a:moveTo>
                <a:lnTo>
                  <a:pt x="1873213" y="1790598"/>
                </a:lnTo>
                <a:lnTo>
                  <a:pt x="1873213" y="1849336"/>
                </a:lnTo>
                <a:lnTo>
                  <a:pt x="1816077" y="1849336"/>
                </a:lnTo>
                <a:close/>
                <a:moveTo>
                  <a:pt x="1736703" y="1790598"/>
                </a:moveTo>
                <a:lnTo>
                  <a:pt x="1795445" y="1790598"/>
                </a:lnTo>
                <a:lnTo>
                  <a:pt x="1795445" y="1849336"/>
                </a:lnTo>
                <a:lnTo>
                  <a:pt x="1736703" y="1849336"/>
                </a:lnTo>
                <a:close/>
                <a:moveTo>
                  <a:pt x="1657322" y="1790598"/>
                </a:moveTo>
                <a:lnTo>
                  <a:pt x="1716063" y="1790598"/>
                </a:lnTo>
                <a:lnTo>
                  <a:pt x="1716063" y="1849336"/>
                </a:lnTo>
                <a:lnTo>
                  <a:pt x="1657322" y="1849336"/>
                </a:lnTo>
                <a:close/>
                <a:moveTo>
                  <a:pt x="1577938" y="1790598"/>
                </a:moveTo>
                <a:lnTo>
                  <a:pt x="1636685" y="1790598"/>
                </a:lnTo>
                <a:lnTo>
                  <a:pt x="1636685" y="1849336"/>
                </a:lnTo>
                <a:lnTo>
                  <a:pt x="1577938" y="1849336"/>
                </a:lnTo>
                <a:close/>
                <a:moveTo>
                  <a:pt x="1500148" y="1790598"/>
                </a:moveTo>
                <a:lnTo>
                  <a:pt x="1558889" y="1790598"/>
                </a:lnTo>
                <a:lnTo>
                  <a:pt x="1558889" y="1849336"/>
                </a:lnTo>
                <a:lnTo>
                  <a:pt x="1500148" y="1849336"/>
                </a:lnTo>
                <a:close/>
                <a:moveTo>
                  <a:pt x="1420770" y="1790598"/>
                </a:moveTo>
                <a:lnTo>
                  <a:pt x="1479507" y="1790598"/>
                </a:lnTo>
                <a:lnTo>
                  <a:pt x="1479507" y="1849336"/>
                </a:lnTo>
                <a:lnTo>
                  <a:pt x="1420770" y="1849336"/>
                </a:lnTo>
                <a:close/>
                <a:moveTo>
                  <a:pt x="1341419" y="1790598"/>
                </a:moveTo>
                <a:lnTo>
                  <a:pt x="1400145" y="1790598"/>
                </a:lnTo>
                <a:lnTo>
                  <a:pt x="1400145" y="1849336"/>
                </a:lnTo>
                <a:lnTo>
                  <a:pt x="1341419" y="1849336"/>
                </a:lnTo>
                <a:close/>
                <a:moveTo>
                  <a:pt x="1263613" y="1790598"/>
                </a:moveTo>
                <a:lnTo>
                  <a:pt x="1320774" y="1790598"/>
                </a:lnTo>
                <a:lnTo>
                  <a:pt x="1320774" y="1849336"/>
                </a:lnTo>
                <a:lnTo>
                  <a:pt x="1263613" y="1849336"/>
                </a:lnTo>
                <a:close/>
                <a:moveTo>
                  <a:pt x="1184242" y="1790598"/>
                </a:moveTo>
                <a:lnTo>
                  <a:pt x="1242975" y="1790598"/>
                </a:lnTo>
                <a:lnTo>
                  <a:pt x="1242975" y="1849336"/>
                </a:lnTo>
                <a:lnTo>
                  <a:pt x="1184242" y="1849336"/>
                </a:lnTo>
                <a:close/>
                <a:moveTo>
                  <a:pt x="7735736" y="1790597"/>
                </a:moveTo>
                <a:lnTo>
                  <a:pt x="7794474" y="1790597"/>
                </a:lnTo>
                <a:lnTo>
                  <a:pt x="7794474" y="1849335"/>
                </a:lnTo>
                <a:lnTo>
                  <a:pt x="7735736" y="1849335"/>
                </a:lnTo>
                <a:close/>
                <a:moveTo>
                  <a:pt x="7657949" y="1790597"/>
                </a:moveTo>
                <a:lnTo>
                  <a:pt x="7715099" y="1790597"/>
                </a:lnTo>
                <a:lnTo>
                  <a:pt x="7715099" y="1849335"/>
                </a:lnTo>
                <a:lnTo>
                  <a:pt x="7657949" y="1849335"/>
                </a:lnTo>
                <a:close/>
                <a:moveTo>
                  <a:pt x="7419824" y="1790597"/>
                </a:moveTo>
                <a:lnTo>
                  <a:pt x="7478562" y="1790597"/>
                </a:lnTo>
                <a:lnTo>
                  <a:pt x="7478562" y="1849335"/>
                </a:lnTo>
                <a:lnTo>
                  <a:pt x="7419824" y="1849335"/>
                </a:lnTo>
                <a:close/>
                <a:moveTo>
                  <a:pt x="7342036" y="1790597"/>
                </a:moveTo>
                <a:lnTo>
                  <a:pt x="7400774" y="1790597"/>
                </a:lnTo>
                <a:lnTo>
                  <a:pt x="7400774" y="1849335"/>
                </a:lnTo>
                <a:lnTo>
                  <a:pt x="7342036" y="1849335"/>
                </a:lnTo>
                <a:close/>
                <a:moveTo>
                  <a:pt x="7183286" y="1790597"/>
                </a:moveTo>
                <a:lnTo>
                  <a:pt x="7242024" y="1790597"/>
                </a:lnTo>
                <a:lnTo>
                  <a:pt x="7242024" y="1849335"/>
                </a:lnTo>
                <a:lnTo>
                  <a:pt x="7183286" y="1849335"/>
                </a:lnTo>
                <a:close/>
                <a:moveTo>
                  <a:pt x="7105499" y="1790597"/>
                </a:moveTo>
                <a:lnTo>
                  <a:pt x="7162649" y="1790597"/>
                </a:lnTo>
                <a:lnTo>
                  <a:pt x="7162649" y="1849335"/>
                </a:lnTo>
                <a:lnTo>
                  <a:pt x="7105499" y="1849335"/>
                </a:lnTo>
                <a:close/>
                <a:moveTo>
                  <a:pt x="7026124" y="1790597"/>
                </a:moveTo>
                <a:lnTo>
                  <a:pt x="7084862" y="1790597"/>
                </a:lnTo>
                <a:lnTo>
                  <a:pt x="7084862" y="1849335"/>
                </a:lnTo>
                <a:lnTo>
                  <a:pt x="7026124" y="1849335"/>
                </a:lnTo>
                <a:close/>
                <a:moveTo>
                  <a:pt x="6946749" y="1790597"/>
                </a:moveTo>
                <a:lnTo>
                  <a:pt x="7005487" y="1790597"/>
                </a:lnTo>
                <a:lnTo>
                  <a:pt x="7005487" y="1849335"/>
                </a:lnTo>
                <a:lnTo>
                  <a:pt x="6946749" y="1849335"/>
                </a:lnTo>
                <a:close/>
                <a:moveTo>
                  <a:pt x="6867374" y="1790597"/>
                </a:moveTo>
                <a:lnTo>
                  <a:pt x="6926112" y="1790597"/>
                </a:lnTo>
                <a:lnTo>
                  <a:pt x="6926112" y="1849335"/>
                </a:lnTo>
                <a:lnTo>
                  <a:pt x="6867374" y="1849335"/>
                </a:lnTo>
                <a:close/>
                <a:moveTo>
                  <a:pt x="6789586" y="1790597"/>
                </a:moveTo>
                <a:lnTo>
                  <a:pt x="6846736" y="1790597"/>
                </a:lnTo>
                <a:lnTo>
                  <a:pt x="6846736" y="1849335"/>
                </a:lnTo>
                <a:lnTo>
                  <a:pt x="6789586" y="1849335"/>
                </a:lnTo>
                <a:close/>
                <a:moveTo>
                  <a:pt x="6710211" y="1790597"/>
                </a:moveTo>
                <a:lnTo>
                  <a:pt x="6768949" y="1790597"/>
                </a:lnTo>
                <a:lnTo>
                  <a:pt x="6768949" y="1849335"/>
                </a:lnTo>
                <a:lnTo>
                  <a:pt x="6710211" y="1849335"/>
                </a:lnTo>
                <a:close/>
                <a:moveTo>
                  <a:pt x="6630836" y="1790597"/>
                </a:moveTo>
                <a:lnTo>
                  <a:pt x="6689574" y="1790597"/>
                </a:lnTo>
                <a:lnTo>
                  <a:pt x="6689574" y="1849335"/>
                </a:lnTo>
                <a:lnTo>
                  <a:pt x="6630836" y="1849335"/>
                </a:lnTo>
                <a:close/>
                <a:moveTo>
                  <a:pt x="6551461" y="1790597"/>
                </a:moveTo>
                <a:lnTo>
                  <a:pt x="6610199" y="1790597"/>
                </a:lnTo>
                <a:lnTo>
                  <a:pt x="6610199" y="1849335"/>
                </a:lnTo>
                <a:lnTo>
                  <a:pt x="6551461" y="1849335"/>
                </a:lnTo>
                <a:close/>
                <a:moveTo>
                  <a:pt x="6473674" y="1790597"/>
                </a:moveTo>
                <a:lnTo>
                  <a:pt x="6530824" y="1790597"/>
                </a:lnTo>
                <a:lnTo>
                  <a:pt x="6530824" y="1849335"/>
                </a:lnTo>
                <a:lnTo>
                  <a:pt x="6473674" y="1849335"/>
                </a:lnTo>
                <a:close/>
                <a:moveTo>
                  <a:pt x="6394299" y="1790597"/>
                </a:moveTo>
                <a:lnTo>
                  <a:pt x="6453037" y="1790597"/>
                </a:lnTo>
                <a:lnTo>
                  <a:pt x="6453037" y="1849335"/>
                </a:lnTo>
                <a:lnTo>
                  <a:pt x="6394299" y="1849335"/>
                </a:lnTo>
                <a:close/>
                <a:moveTo>
                  <a:pt x="6314924" y="1790597"/>
                </a:moveTo>
                <a:lnTo>
                  <a:pt x="6373662" y="1790597"/>
                </a:lnTo>
                <a:lnTo>
                  <a:pt x="6373662" y="1849335"/>
                </a:lnTo>
                <a:lnTo>
                  <a:pt x="6314924" y="1849335"/>
                </a:lnTo>
                <a:close/>
                <a:moveTo>
                  <a:pt x="6235549" y="1790597"/>
                </a:moveTo>
                <a:lnTo>
                  <a:pt x="6294287" y="1790597"/>
                </a:lnTo>
                <a:lnTo>
                  <a:pt x="6294287" y="1849335"/>
                </a:lnTo>
                <a:lnTo>
                  <a:pt x="6235549" y="1849335"/>
                </a:lnTo>
                <a:close/>
                <a:moveTo>
                  <a:pt x="6157761" y="1790597"/>
                </a:moveTo>
                <a:lnTo>
                  <a:pt x="6214911" y="1790597"/>
                </a:lnTo>
                <a:lnTo>
                  <a:pt x="6214911" y="1849335"/>
                </a:lnTo>
                <a:lnTo>
                  <a:pt x="6157761" y="1849335"/>
                </a:lnTo>
                <a:close/>
                <a:moveTo>
                  <a:pt x="6078386" y="1790597"/>
                </a:moveTo>
                <a:lnTo>
                  <a:pt x="6137124" y="1790597"/>
                </a:lnTo>
                <a:lnTo>
                  <a:pt x="6137124" y="1849335"/>
                </a:lnTo>
                <a:lnTo>
                  <a:pt x="6078386" y="1849335"/>
                </a:lnTo>
                <a:close/>
                <a:moveTo>
                  <a:pt x="5999011" y="1790597"/>
                </a:moveTo>
                <a:lnTo>
                  <a:pt x="6057749" y="1790597"/>
                </a:lnTo>
                <a:lnTo>
                  <a:pt x="6057749" y="1849335"/>
                </a:lnTo>
                <a:lnTo>
                  <a:pt x="5999011" y="1849335"/>
                </a:lnTo>
                <a:close/>
                <a:moveTo>
                  <a:pt x="5921224" y="1790597"/>
                </a:moveTo>
                <a:lnTo>
                  <a:pt x="5978374" y="1790597"/>
                </a:lnTo>
                <a:lnTo>
                  <a:pt x="5978374" y="1849335"/>
                </a:lnTo>
                <a:lnTo>
                  <a:pt x="5921224" y="1849335"/>
                </a:lnTo>
                <a:close/>
                <a:moveTo>
                  <a:pt x="5841849" y="1790597"/>
                </a:moveTo>
                <a:lnTo>
                  <a:pt x="5900587" y="1790597"/>
                </a:lnTo>
                <a:lnTo>
                  <a:pt x="5900587" y="1849335"/>
                </a:lnTo>
                <a:lnTo>
                  <a:pt x="5841849" y="1849335"/>
                </a:lnTo>
                <a:close/>
                <a:moveTo>
                  <a:pt x="5762474" y="1790597"/>
                </a:moveTo>
                <a:lnTo>
                  <a:pt x="5821212" y="1790597"/>
                </a:lnTo>
                <a:lnTo>
                  <a:pt x="5821212" y="1849335"/>
                </a:lnTo>
                <a:lnTo>
                  <a:pt x="5762474" y="1849335"/>
                </a:lnTo>
                <a:close/>
                <a:moveTo>
                  <a:pt x="5684686" y="1790597"/>
                </a:moveTo>
                <a:lnTo>
                  <a:pt x="5741836" y="1790597"/>
                </a:lnTo>
                <a:lnTo>
                  <a:pt x="5741836" y="1849335"/>
                </a:lnTo>
                <a:lnTo>
                  <a:pt x="5684686" y="1849335"/>
                </a:lnTo>
                <a:close/>
                <a:moveTo>
                  <a:pt x="5605311" y="1790597"/>
                </a:moveTo>
                <a:lnTo>
                  <a:pt x="5664049" y="1790597"/>
                </a:lnTo>
                <a:lnTo>
                  <a:pt x="5664049" y="1849335"/>
                </a:lnTo>
                <a:lnTo>
                  <a:pt x="5605311" y="1849335"/>
                </a:lnTo>
                <a:close/>
                <a:moveTo>
                  <a:pt x="5446561" y="1790597"/>
                </a:moveTo>
                <a:lnTo>
                  <a:pt x="5505299" y="1790597"/>
                </a:lnTo>
                <a:lnTo>
                  <a:pt x="5505299" y="1849335"/>
                </a:lnTo>
                <a:lnTo>
                  <a:pt x="5446561" y="1849335"/>
                </a:lnTo>
                <a:close/>
                <a:moveTo>
                  <a:pt x="5368774" y="1790597"/>
                </a:moveTo>
                <a:lnTo>
                  <a:pt x="5425924" y="1790597"/>
                </a:lnTo>
                <a:lnTo>
                  <a:pt x="5425924" y="1849335"/>
                </a:lnTo>
                <a:lnTo>
                  <a:pt x="5368774" y="1849335"/>
                </a:lnTo>
                <a:close/>
                <a:moveTo>
                  <a:pt x="5289399" y="1790597"/>
                </a:moveTo>
                <a:lnTo>
                  <a:pt x="5348137" y="1790597"/>
                </a:lnTo>
                <a:lnTo>
                  <a:pt x="5348137" y="1849335"/>
                </a:lnTo>
                <a:lnTo>
                  <a:pt x="5289399" y="1849335"/>
                </a:lnTo>
                <a:close/>
                <a:moveTo>
                  <a:pt x="5210024" y="1790597"/>
                </a:moveTo>
                <a:lnTo>
                  <a:pt x="5268762" y="1790597"/>
                </a:lnTo>
                <a:lnTo>
                  <a:pt x="5268762" y="1849335"/>
                </a:lnTo>
                <a:lnTo>
                  <a:pt x="5210024" y="1849335"/>
                </a:lnTo>
                <a:close/>
                <a:moveTo>
                  <a:pt x="5130649" y="1790597"/>
                </a:moveTo>
                <a:lnTo>
                  <a:pt x="5189387" y="1790597"/>
                </a:lnTo>
                <a:lnTo>
                  <a:pt x="5189387" y="1849335"/>
                </a:lnTo>
                <a:lnTo>
                  <a:pt x="5130649" y="1849335"/>
                </a:lnTo>
                <a:close/>
                <a:moveTo>
                  <a:pt x="5052861" y="1790597"/>
                </a:moveTo>
                <a:lnTo>
                  <a:pt x="5110011" y="1790597"/>
                </a:lnTo>
                <a:lnTo>
                  <a:pt x="5110011" y="1849335"/>
                </a:lnTo>
                <a:lnTo>
                  <a:pt x="5052861" y="1849335"/>
                </a:lnTo>
                <a:close/>
                <a:moveTo>
                  <a:pt x="4973486" y="1790597"/>
                </a:moveTo>
                <a:lnTo>
                  <a:pt x="5030636" y="1790597"/>
                </a:lnTo>
                <a:lnTo>
                  <a:pt x="5030636" y="1849335"/>
                </a:lnTo>
                <a:lnTo>
                  <a:pt x="4973486" y="1849335"/>
                </a:lnTo>
                <a:close/>
                <a:moveTo>
                  <a:pt x="7735736" y="1712810"/>
                </a:moveTo>
                <a:lnTo>
                  <a:pt x="7794474" y="1712810"/>
                </a:lnTo>
                <a:lnTo>
                  <a:pt x="7794474" y="1771548"/>
                </a:lnTo>
                <a:lnTo>
                  <a:pt x="7735736" y="1771548"/>
                </a:lnTo>
                <a:close/>
                <a:moveTo>
                  <a:pt x="7419824" y="1712810"/>
                </a:moveTo>
                <a:lnTo>
                  <a:pt x="7478562" y="1712810"/>
                </a:lnTo>
                <a:lnTo>
                  <a:pt x="7478562" y="1771548"/>
                </a:lnTo>
                <a:lnTo>
                  <a:pt x="7419824" y="1771548"/>
                </a:lnTo>
                <a:close/>
                <a:moveTo>
                  <a:pt x="7342036" y="1712810"/>
                </a:moveTo>
                <a:lnTo>
                  <a:pt x="7400774" y="1712810"/>
                </a:lnTo>
                <a:lnTo>
                  <a:pt x="7400774" y="1771548"/>
                </a:lnTo>
                <a:lnTo>
                  <a:pt x="7342036" y="1771548"/>
                </a:lnTo>
                <a:close/>
                <a:moveTo>
                  <a:pt x="7262661" y="1712810"/>
                </a:moveTo>
                <a:lnTo>
                  <a:pt x="7321399" y="1712810"/>
                </a:lnTo>
                <a:lnTo>
                  <a:pt x="7321399" y="1771548"/>
                </a:lnTo>
                <a:lnTo>
                  <a:pt x="7262661" y="1771548"/>
                </a:lnTo>
                <a:close/>
                <a:moveTo>
                  <a:pt x="7183286" y="1712810"/>
                </a:moveTo>
                <a:lnTo>
                  <a:pt x="7242024" y="1712810"/>
                </a:lnTo>
                <a:lnTo>
                  <a:pt x="7242024" y="1771548"/>
                </a:lnTo>
                <a:lnTo>
                  <a:pt x="7183286" y="1771548"/>
                </a:lnTo>
                <a:close/>
                <a:moveTo>
                  <a:pt x="7105499" y="1712810"/>
                </a:moveTo>
                <a:lnTo>
                  <a:pt x="7162649" y="1712810"/>
                </a:lnTo>
                <a:lnTo>
                  <a:pt x="7162649" y="1771548"/>
                </a:lnTo>
                <a:lnTo>
                  <a:pt x="7105499" y="1771548"/>
                </a:lnTo>
                <a:close/>
                <a:moveTo>
                  <a:pt x="7026124" y="1712810"/>
                </a:moveTo>
                <a:lnTo>
                  <a:pt x="7084862" y="1712810"/>
                </a:lnTo>
                <a:lnTo>
                  <a:pt x="7084862" y="1771548"/>
                </a:lnTo>
                <a:lnTo>
                  <a:pt x="7026124" y="1771548"/>
                </a:lnTo>
                <a:close/>
                <a:moveTo>
                  <a:pt x="6946749" y="1712810"/>
                </a:moveTo>
                <a:lnTo>
                  <a:pt x="7005487" y="1712810"/>
                </a:lnTo>
                <a:lnTo>
                  <a:pt x="7005487" y="1771548"/>
                </a:lnTo>
                <a:lnTo>
                  <a:pt x="6946749" y="1771548"/>
                </a:lnTo>
                <a:close/>
                <a:moveTo>
                  <a:pt x="6867374" y="1712810"/>
                </a:moveTo>
                <a:lnTo>
                  <a:pt x="6926112" y="1712810"/>
                </a:lnTo>
                <a:lnTo>
                  <a:pt x="6926112" y="1771548"/>
                </a:lnTo>
                <a:lnTo>
                  <a:pt x="6867374" y="1771548"/>
                </a:lnTo>
                <a:close/>
                <a:moveTo>
                  <a:pt x="6789586" y="1712810"/>
                </a:moveTo>
                <a:lnTo>
                  <a:pt x="6846736" y="1712810"/>
                </a:lnTo>
                <a:lnTo>
                  <a:pt x="6846736" y="1771548"/>
                </a:lnTo>
                <a:lnTo>
                  <a:pt x="6789586" y="1771548"/>
                </a:lnTo>
                <a:close/>
                <a:moveTo>
                  <a:pt x="6710211" y="1712810"/>
                </a:moveTo>
                <a:lnTo>
                  <a:pt x="6768949" y="1712810"/>
                </a:lnTo>
                <a:lnTo>
                  <a:pt x="6768949" y="1771548"/>
                </a:lnTo>
                <a:lnTo>
                  <a:pt x="6710211" y="1771548"/>
                </a:lnTo>
                <a:close/>
                <a:moveTo>
                  <a:pt x="6630836" y="1712810"/>
                </a:moveTo>
                <a:lnTo>
                  <a:pt x="6689574" y="1712810"/>
                </a:lnTo>
                <a:lnTo>
                  <a:pt x="6689574" y="1771548"/>
                </a:lnTo>
                <a:lnTo>
                  <a:pt x="6630836" y="1771548"/>
                </a:lnTo>
                <a:close/>
                <a:moveTo>
                  <a:pt x="6551461" y="1712810"/>
                </a:moveTo>
                <a:lnTo>
                  <a:pt x="6610199" y="1712810"/>
                </a:lnTo>
                <a:lnTo>
                  <a:pt x="6610199" y="1771548"/>
                </a:lnTo>
                <a:lnTo>
                  <a:pt x="6551461" y="1771548"/>
                </a:lnTo>
                <a:close/>
                <a:moveTo>
                  <a:pt x="6473674" y="1712810"/>
                </a:moveTo>
                <a:lnTo>
                  <a:pt x="6530824" y="1712810"/>
                </a:lnTo>
                <a:lnTo>
                  <a:pt x="6530824" y="1771548"/>
                </a:lnTo>
                <a:lnTo>
                  <a:pt x="6473674" y="1771548"/>
                </a:lnTo>
                <a:close/>
                <a:moveTo>
                  <a:pt x="6394299" y="1712810"/>
                </a:moveTo>
                <a:lnTo>
                  <a:pt x="6453037" y="1712810"/>
                </a:lnTo>
                <a:lnTo>
                  <a:pt x="6453037" y="1771548"/>
                </a:lnTo>
                <a:lnTo>
                  <a:pt x="6394299" y="1771548"/>
                </a:lnTo>
                <a:close/>
                <a:moveTo>
                  <a:pt x="6314924" y="1712810"/>
                </a:moveTo>
                <a:lnTo>
                  <a:pt x="6373662" y="1712810"/>
                </a:lnTo>
                <a:lnTo>
                  <a:pt x="6373662" y="1771548"/>
                </a:lnTo>
                <a:lnTo>
                  <a:pt x="6314924" y="1771548"/>
                </a:lnTo>
                <a:close/>
                <a:moveTo>
                  <a:pt x="6235549" y="1712810"/>
                </a:moveTo>
                <a:lnTo>
                  <a:pt x="6294287" y="1712810"/>
                </a:lnTo>
                <a:lnTo>
                  <a:pt x="6294287" y="1771548"/>
                </a:lnTo>
                <a:lnTo>
                  <a:pt x="6235549" y="1771548"/>
                </a:lnTo>
                <a:close/>
                <a:moveTo>
                  <a:pt x="6157761" y="1712810"/>
                </a:moveTo>
                <a:lnTo>
                  <a:pt x="6214911" y="1712810"/>
                </a:lnTo>
                <a:lnTo>
                  <a:pt x="6214911" y="1771548"/>
                </a:lnTo>
                <a:lnTo>
                  <a:pt x="6157761" y="1771548"/>
                </a:lnTo>
                <a:close/>
                <a:moveTo>
                  <a:pt x="6078386" y="1712810"/>
                </a:moveTo>
                <a:lnTo>
                  <a:pt x="6137124" y="1712810"/>
                </a:lnTo>
                <a:lnTo>
                  <a:pt x="6137124" y="1771548"/>
                </a:lnTo>
                <a:lnTo>
                  <a:pt x="6078386" y="1771548"/>
                </a:lnTo>
                <a:close/>
                <a:moveTo>
                  <a:pt x="5999011" y="1712810"/>
                </a:moveTo>
                <a:lnTo>
                  <a:pt x="6057749" y="1712810"/>
                </a:lnTo>
                <a:lnTo>
                  <a:pt x="6057749" y="1771548"/>
                </a:lnTo>
                <a:lnTo>
                  <a:pt x="5999011" y="1771548"/>
                </a:lnTo>
                <a:close/>
                <a:moveTo>
                  <a:pt x="5921224" y="1712810"/>
                </a:moveTo>
                <a:lnTo>
                  <a:pt x="5978374" y="1712810"/>
                </a:lnTo>
                <a:lnTo>
                  <a:pt x="5978374" y="1771548"/>
                </a:lnTo>
                <a:lnTo>
                  <a:pt x="5921224" y="1771548"/>
                </a:lnTo>
                <a:close/>
                <a:moveTo>
                  <a:pt x="5841849" y="1712810"/>
                </a:moveTo>
                <a:lnTo>
                  <a:pt x="5900587" y="1712810"/>
                </a:lnTo>
                <a:lnTo>
                  <a:pt x="5900587" y="1771548"/>
                </a:lnTo>
                <a:lnTo>
                  <a:pt x="5841849" y="1771548"/>
                </a:lnTo>
                <a:close/>
                <a:moveTo>
                  <a:pt x="5762474" y="1712810"/>
                </a:moveTo>
                <a:lnTo>
                  <a:pt x="5821212" y="1712810"/>
                </a:lnTo>
                <a:lnTo>
                  <a:pt x="5821212" y="1771548"/>
                </a:lnTo>
                <a:lnTo>
                  <a:pt x="5762474" y="1771548"/>
                </a:lnTo>
                <a:close/>
                <a:moveTo>
                  <a:pt x="5684686" y="1712810"/>
                </a:moveTo>
                <a:lnTo>
                  <a:pt x="5741836" y="1712810"/>
                </a:lnTo>
                <a:lnTo>
                  <a:pt x="5741836" y="1771548"/>
                </a:lnTo>
                <a:lnTo>
                  <a:pt x="5684686" y="1771548"/>
                </a:lnTo>
                <a:close/>
                <a:moveTo>
                  <a:pt x="5446561" y="1712810"/>
                </a:moveTo>
                <a:lnTo>
                  <a:pt x="5505299" y="1712810"/>
                </a:lnTo>
                <a:lnTo>
                  <a:pt x="5505299" y="1771548"/>
                </a:lnTo>
                <a:lnTo>
                  <a:pt x="5446561" y="1771548"/>
                </a:lnTo>
                <a:close/>
                <a:moveTo>
                  <a:pt x="5368774" y="1712810"/>
                </a:moveTo>
                <a:lnTo>
                  <a:pt x="5425924" y="1712810"/>
                </a:lnTo>
                <a:lnTo>
                  <a:pt x="5425924" y="1771548"/>
                </a:lnTo>
                <a:lnTo>
                  <a:pt x="5368774" y="1771548"/>
                </a:lnTo>
                <a:close/>
                <a:moveTo>
                  <a:pt x="5289399" y="1712810"/>
                </a:moveTo>
                <a:lnTo>
                  <a:pt x="5348137" y="1712810"/>
                </a:lnTo>
                <a:lnTo>
                  <a:pt x="5348137" y="1771548"/>
                </a:lnTo>
                <a:lnTo>
                  <a:pt x="5289399" y="1771548"/>
                </a:lnTo>
                <a:close/>
                <a:moveTo>
                  <a:pt x="5210024" y="1712810"/>
                </a:moveTo>
                <a:lnTo>
                  <a:pt x="5268762" y="1712810"/>
                </a:lnTo>
                <a:lnTo>
                  <a:pt x="5268762" y="1771548"/>
                </a:lnTo>
                <a:lnTo>
                  <a:pt x="5210024" y="1771548"/>
                </a:lnTo>
                <a:close/>
                <a:moveTo>
                  <a:pt x="5130649" y="1712810"/>
                </a:moveTo>
                <a:lnTo>
                  <a:pt x="5189387" y="1712810"/>
                </a:lnTo>
                <a:lnTo>
                  <a:pt x="5189387" y="1771548"/>
                </a:lnTo>
                <a:lnTo>
                  <a:pt x="5130649" y="1771548"/>
                </a:lnTo>
                <a:close/>
                <a:moveTo>
                  <a:pt x="5052861" y="1712810"/>
                </a:moveTo>
                <a:lnTo>
                  <a:pt x="5110011" y="1712810"/>
                </a:lnTo>
                <a:lnTo>
                  <a:pt x="5110011" y="1771548"/>
                </a:lnTo>
                <a:lnTo>
                  <a:pt x="5052861" y="1771548"/>
                </a:lnTo>
                <a:close/>
                <a:moveTo>
                  <a:pt x="4894111" y="1712810"/>
                </a:moveTo>
                <a:lnTo>
                  <a:pt x="4952849" y="1712810"/>
                </a:lnTo>
                <a:lnTo>
                  <a:pt x="4952849" y="1771548"/>
                </a:lnTo>
                <a:lnTo>
                  <a:pt x="4894111" y="1771548"/>
                </a:lnTo>
                <a:close/>
                <a:moveTo>
                  <a:pt x="4814736" y="1712810"/>
                </a:moveTo>
                <a:lnTo>
                  <a:pt x="4873474" y="1712810"/>
                </a:lnTo>
                <a:lnTo>
                  <a:pt x="4873474" y="1771548"/>
                </a:lnTo>
                <a:lnTo>
                  <a:pt x="4814736" y="1771548"/>
                </a:lnTo>
                <a:close/>
                <a:moveTo>
                  <a:pt x="4736948" y="1712810"/>
                </a:moveTo>
                <a:lnTo>
                  <a:pt x="4794098" y="1712810"/>
                </a:lnTo>
                <a:lnTo>
                  <a:pt x="4794098" y="1771548"/>
                </a:lnTo>
                <a:lnTo>
                  <a:pt x="4736948" y="1771548"/>
                </a:lnTo>
                <a:close/>
                <a:moveTo>
                  <a:pt x="4578198" y="1712810"/>
                </a:moveTo>
                <a:lnTo>
                  <a:pt x="4636936" y="1712810"/>
                </a:lnTo>
                <a:lnTo>
                  <a:pt x="4636936" y="1771548"/>
                </a:lnTo>
                <a:lnTo>
                  <a:pt x="4578198" y="1771548"/>
                </a:lnTo>
                <a:close/>
                <a:moveTo>
                  <a:pt x="4498823" y="1712810"/>
                </a:moveTo>
                <a:lnTo>
                  <a:pt x="4557561" y="1712810"/>
                </a:lnTo>
                <a:lnTo>
                  <a:pt x="4557561" y="1771548"/>
                </a:lnTo>
                <a:lnTo>
                  <a:pt x="4498823" y="1771548"/>
                </a:lnTo>
                <a:close/>
                <a:moveTo>
                  <a:pt x="4262286" y="1712810"/>
                </a:moveTo>
                <a:lnTo>
                  <a:pt x="4321024" y="1712810"/>
                </a:lnTo>
                <a:lnTo>
                  <a:pt x="4321024" y="1771548"/>
                </a:lnTo>
                <a:lnTo>
                  <a:pt x="4262286" y="1771548"/>
                </a:lnTo>
                <a:close/>
                <a:moveTo>
                  <a:pt x="4184498" y="1712810"/>
                </a:moveTo>
                <a:lnTo>
                  <a:pt x="4241648" y="1712810"/>
                </a:lnTo>
                <a:lnTo>
                  <a:pt x="4241648" y="1771548"/>
                </a:lnTo>
                <a:lnTo>
                  <a:pt x="4184498" y="1771548"/>
                </a:lnTo>
                <a:close/>
                <a:moveTo>
                  <a:pt x="4105123" y="1712810"/>
                </a:moveTo>
                <a:lnTo>
                  <a:pt x="4163861" y="1712810"/>
                </a:lnTo>
                <a:lnTo>
                  <a:pt x="4163861" y="1771548"/>
                </a:lnTo>
                <a:lnTo>
                  <a:pt x="4105123" y="1771548"/>
                </a:lnTo>
                <a:close/>
                <a:moveTo>
                  <a:pt x="4025748" y="1712810"/>
                </a:moveTo>
                <a:lnTo>
                  <a:pt x="4084486" y="1712810"/>
                </a:lnTo>
                <a:lnTo>
                  <a:pt x="4084486" y="1771548"/>
                </a:lnTo>
                <a:lnTo>
                  <a:pt x="4025748" y="1771548"/>
                </a:lnTo>
                <a:close/>
                <a:moveTo>
                  <a:pt x="2447893" y="1712810"/>
                </a:moveTo>
                <a:lnTo>
                  <a:pt x="2505051" y="1712810"/>
                </a:lnTo>
                <a:lnTo>
                  <a:pt x="2505051" y="1771548"/>
                </a:lnTo>
                <a:lnTo>
                  <a:pt x="2447893" y="1771548"/>
                </a:lnTo>
                <a:close/>
                <a:moveTo>
                  <a:pt x="2368525" y="1712810"/>
                </a:moveTo>
                <a:lnTo>
                  <a:pt x="2427260" y="1712810"/>
                </a:lnTo>
                <a:lnTo>
                  <a:pt x="2427260" y="1771548"/>
                </a:lnTo>
                <a:lnTo>
                  <a:pt x="2368525" y="1771548"/>
                </a:lnTo>
                <a:close/>
                <a:moveTo>
                  <a:pt x="2289146" y="1712810"/>
                </a:moveTo>
                <a:lnTo>
                  <a:pt x="2347888" y="1712810"/>
                </a:lnTo>
                <a:lnTo>
                  <a:pt x="2347888" y="1771548"/>
                </a:lnTo>
                <a:lnTo>
                  <a:pt x="2289146" y="1771548"/>
                </a:lnTo>
                <a:close/>
                <a:moveTo>
                  <a:pt x="2209770" y="1712810"/>
                </a:moveTo>
                <a:lnTo>
                  <a:pt x="2268511" y="1712810"/>
                </a:lnTo>
                <a:lnTo>
                  <a:pt x="2268511" y="1771548"/>
                </a:lnTo>
                <a:lnTo>
                  <a:pt x="2209770" y="1771548"/>
                </a:lnTo>
                <a:close/>
                <a:moveTo>
                  <a:pt x="2131984" y="1712810"/>
                </a:moveTo>
                <a:lnTo>
                  <a:pt x="2189137" y="1712810"/>
                </a:lnTo>
                <a:lnTo>
                  <a:pt x="2189137" y="1771548"/>
                </a:lnTo>
                <a:lnTo>
                  <a:pt x="2131984" y="1771548"/>
                </a:lnTo>
                <a:close/>
                <a:moveTo>
                  <a:pt x="2052605" y="1712810"/>
                </a:moveTo>
                <a:lnTo>
                  <a:pt x="2111346" y="1712810"/>
                </a:lnTo>
                <a:lnTo>
                  <a:pt x="2111346" y="1771548"/>
                </a:lnTo>
                <a:lnTo>
                  <a:pt x="2052605" y="1771548"/>
                </a:lnTo>
                <a:close/>
                <a:moveTo>
                  <a:pt x="1973225" y="1712810"/>
                </a:moveTo>
                <a:lnTo>
                  <a:pt x="2031970" y="1712810"/>
                </a:lnTo>
                <a:lnTo>
                  <a:pt x="2031970" y="1771548"/>
                </a:lnTo>
                <a:lnTo>
                  <a:pt x="1973225" y="1771548"/>
                </a:lnTo>
                <a:close/>
                <a:moveTo>
                  <a:pt x="1893848" y="1712810"/>
                </a:moveTo>
                <a:lnTo>
                  <a:pt x="1952583" y="1712810"/>
                </a:lnTo>
                <a:lnTo>
                  <a:pt x="1952583" y="1771548"/>
                </a:lnTo>
                <a:lnTo>
                  <a:pt x="1893848" y="1771548"/>
                </a:lnTo>
                <a:close/>
                <a:moveTo>
                  <a:pt x="1816083" y="1712810"/>
                </a:moveTo>
                <a:lnTo>
                  <a:pt x="1873218" y="1712810"/>
                </a:lnTo>
                <a:lnTo>
                  <a:pt x="1873218" y="1771548"/>
                </a:lnTo>
                <a:lnTo>
                  <a:pt x="1816083" y="1771548"/>
                </a:lnTo>
                <a:close/>
                <a:moveTo>
                  <a:pt x="1736708" y="1712810"/>
                </a:moveTo>
                <a:lnTo>
                  <a:pt x="1795451" y="1712810"/>
                </a:lnTo>
                <a:lnTo>
                  <a:pt x="1795451" y="1771548"/>
                </a:lnTo>
                <a:lnTo>
                  <a:pt x="1736708" y="1771548"/>
                </a:lnTo>
                <a:close/>
                <a:moveTo>
                  <a:pt x="1657326" y="1712810"/>
                </a:moveTo>
                <a:lnTo>
                  <a:pt x="1716069" y="1712810"/>
                </a:lnTo>
                <a:lnTo>
                  <a:pt x="1716069" y="1771548"/>
                </a:lnTo>
                <a:lnTo>
                  <a:pt x="1657326" y="1771548"/>
                </a:lnTo>
                <a:close/>
                <a:moveTo>
                  <a:pt x="1577939" y="1712810"/>
                </a:moveTo>
                <a:lnTo>
                  <a:pt x="1636691" y="1712810"/>
                </a:lnTo>
                <a:lnTo>
                  <a:pt x="1636691" y="1771548"/>
                </a:lnTo>
                <a:lnTo>
                  <a:pt x="1577939" y="1771548"/>
                </a:lnTo>
                <a:close/>
                <a:moveTo>
                  <a:pt x="1500153" y="1712810"/>
                </a:moveTo>
                <a:lnTo>
                  <a:pt x="1558894" y="1712810"/>
                </a:lnTo>
                <a:lnTo>
                  <a:pt x="1558894" y="1771548"/>
                </a:lnTo>
                <a:lnTo>
                  <a:pt x="1500153" y="1771548"/>
                </a:lnTo>
                <a:close/>
                <a:moveTo>
                  <a:pt x="1420774" y="1712810"/>
                </a:moveTo>
                <a:lnTo>
                  <a:pt x="1479511" y="1712810"/>
                </a:lnTo>
                <a:lnTo>
                  <a:pt x="1479511" y="1771548"/>
                </a:lnTo>
                <a:lnTo>
                  <a:pt x="1420774" y="1771548"/>
                </a:lnTo>
                <a:close/>
                <a:moveTo>
                  <a:pt x="1341419" y="1712810"/>
                </a:moveTo>
                <a:lnTo>
                  <a:pt x="1400147" y="1712810"/>
                </a:lnTo>
                <a:lnTo>
                  <a:pt x="1400147" y="1771548"/>
                </a:lnTo>
                <a:lnTo>
                  <a:pt x="1341419" y="1771548"/>
                </a:lnTo>
                <a:close/>
                <a:moveTo>
                  <a:pt x="1263620" y="1712810"/>
                </a:moveTo>
                <a:lnTo>
                  <a:pt x="1320779" y="1712810"/>
                </a:lnTo>
                <a:lnTo>
                  <a:pt x="1320779" y="1771548"/>
                </a:lnTo>
                <a:lnTo>
                  <a:pt x="1263620" y="1771548"/>
                </a:lnTo>
                <a:close/>
                <a:moveTo>
                  <a:pt x="1184249" y="1712810"/>
                </a:moveTo>
                <a:lnTo>
                  <a:pt x="1242977" y="1712810"/>
                </a:lnTo>
                <a:lnTo>
                  <a:pt x="1242977" y="1771548"/>
                </a:lnTo>
                <a:lnTo>
                  <a:pt x="1184249" y="1771548"/>
                </a:lnTo>
                <a:close/>
                <a:moveTo>
                  <a:pt x="6314924" y="1635023"/>
                </a:moveTo>
                <a:lnTo>
                  <a:pt x="6373662" y="1635023"/>
                </a:lnTo>
                <a:lnTo>
                  <a:pt x="6373662" y="1692173"/>
                </a:lnTo>
                <a:lnTo>
                  <a:pt x="6314924" y="1692173"/>
                </a:lnTo>
                <a:close/>
                <a:moveTo>
                  <a:pt x="6235549" y="1635023"/>
                </a:moveTo>
                <a:lnTo>
                  <a:pt x="6294287" y="1635023"/>
                </a:lnTo>
                <a:lnTo>
                  <a:pt x="6294287" y="1692173"/>
                </a:lnTo>
                <a:lnTo>
                  <a:pt x="6235549" y="1692173"/>
                </a:lnTo>
                <a:close/>
                <a:moveTo>
                  <a:pt x="6157761" y="1635023"/>
                </a:moveTo>
                <a:lnTo>
                  <a:pt x="6214911" y="1635023"/>
                </a:lnTo>
                <a:lnTo>
                  <a:pt x="6214911" y="1692173"/>
                </a:lnTo>
                <a:lnTo>
                  <a:pt x="6157761" y="1692173"/>
                </a:lnTo>
                <a:close/>
                <a:moveTo>
                  <a:pt x="6078386" y="1635023"/>
                </a:moveTo>
                <a:lnTo>
                  <a:pt x="6137124" y="1635023"/>
                </a:lnTo>
                <a:lnTo>
                  <a:pt x="6137124" y="1692173"/>
                </a:lnTo>
                <a:lnTo>
                  <a:pt x="6078386" y="1692173"/>
                </a:lnTo>
                <a:close/>
                <a:moveTo>
                  <a:pt x="5999011" y="1635023"/>
                </a:moveTo>
                <a:lnTo>
                  <a:pt x="6057749" y="1635023"/>
                </a:lnTo>
                <a:lnTo>
                  <a:pt x="6057749" y="1692173"/>
                </a:lnTo>
                <a:lnTo>
                  <a:pt x="5999011" y="1692173"/>
                </a:lnTo>
                <a:close/>
                <a:moveTo>
                  <a:pt x="5921224" y="1635023"/>
                </a:moveTo>
                <a:lnTo>
                  <a:pt x="5978374" y="1635023"/>
                </a:lnTo>
                <a:lnTo>
                  <a:pt x="5978374" y="1692173"/>
                </a:lnTo>
                <a:lnTo>
                  <a:pt x="5921224" y="1692173"/>
                </a:lnTo>
                <a:close/>
                <a:moveTo>
                  <a:pt x="5841849" y="1635023"/>
                </a:moveTo>
                <a:lnTo>
                  <a:pt x="5900587" y="1635023"/>
                </a:lnTo>
                <a:lnTo>
                  <a:pt x="5900587" y="1692173"/>
                </a:lnTo>
                <a:lnTo>
                  <a:pt x="5841849" y="1692173"/>
                </a:lnTo>
                <a:close/>
                <a:moveTo>
                  <a:pt x="5684686" y="1635023"/>
                </a:moveTo>
                <a:lnTo>
                  <a:pt x="5741836" y="1635023"/>
                </a:lnTo>
                <a:lnTo>
                  <a:pt x="5741836" y="1692173"/>
                </a:lnTo>
                <a:lnTo>
                  <a:pt x="5684686" y="1692173"/>
                </a:lnTo>
                <a:close/>
                <a:moveTo>
                  <a:pt x="5605311" y="1635023"/>
                </a:moveTo>
                <a:lnTo>
                  <a:pt x="5664049" y="1635023"/>
                </a:lnTo>
                <a:lnTo>
                  <a:pt x="5664049" y="1692173"/>
                </a:lnTo>
                <a:lnTo>
                  <a:pt x="5605311" y="1692173"/>
                </a:lnTo>
                <a:close/>
                <a:moveTo>
                  <a:pt x="5525936" y="1635023"/>
                </a:moveTo>
                <a:lnTo>
                  <a:pt x="5584674" y="1635023"/>
                </a:lnTo>
                <a:lnTo>
                  <a:pt x="5584674" y="1692173"/>
                </a:lnTo>
                <a:lnTo>
                  <a:pt x="5525936" y="1692173"/>
                </a:lnTo>
                <a:close/>
                <a:moveTo>
                  <a:pt x="5368774" y="1635023"/>
                </a:moveTo>
                <a:lnTo>
                  <a:pt x="5425924" y="1635023"/>
                </a:lnTo>
                <a:lnTo>
                  <a:pt x="5425924" y="1692173"/>
                </a:lnTo>
                <a:lnTo>
                  <a:pt x="5368774" y="1692173"/>
                </a:lnTo>
                <a:close/>
                <a:moveTo>
                  <a:pt x="5289399" y="1635023"/>
                </a:moveTo>
                <a:lnTo>
                  <a:pt x="5348137" y="1635023"/>
                </a:lnTo>
                <a:lnTo>
                  <a:pt x="5348137" y="1692173"/>
                </a:lnTo>
                <a:lnTo>
                  <a:pt x="5289399" y="1692173"/>
                </a:lnTo>
                <a:close/>
                <a:moveTo>
                  <a:pt x="4894111" y="1635023"/>
                </a:moveTo>
                <a:lnTo>
                  <a:pt x="4952849" y="1635023"/>
                </a:lnTo>
                <a:lnTo>
                  <a:pt x="4952849" y="1692173"/>
                </a:lnTo>
                <a:lnTo>
                  <a:pt x="4894111" y="1692173"/>
                </a:lnTo>
                <a:close/>
                <a:moveTo>
                  <a:pt x="4814736" y="1635023"/>
                </a:moveTo>
                <a:lnTo>
                  <a:pt x="4873474" y="1635023"/>
                </a:lnTo>
                <a:lnTo>
                  <a:pt x="4873474" y="1692173"/>
                </a:lnTo>
                <a:lnTo>
                  <a:pt x="4814736" y="1692173"/>
                </a:lnTo>
                <a:close/>
                <a:moveTo>
                  <a:pt x="4736948" y="1635023"/>
                </a:moveTo>
                <a:lnTo>
                  <a:pt x="4794098" y="1635023"/>
                </a:lnTo>
                <a:lnTo>
                  <a:pt x="4794098" y="1692173"/>
                </a:lnTo>
                <a:lnTo>
                  <a:pt x="4736948" y="1692173"/>
                </a:lnTo>
                <a:close/>
                <a:moveTo>
                  <a:pt x="4657573" y="1635023"/>
                </a:moveTo>
                <a:lnTo>
                  <a:pt x="4716311" y="1635023"/>
                </a:lnTo>
                <a:lnTo>
                  <a:pt x="4716311" y="1692173"/>
                </a:lnTo>
                <a:lnTo>
                  <a:pt x="4657573" y="1692173"/>
                </a:lnTo>
                <a:close/>
                <a:moveTo>
                  <a:pt x="4498823" y="1635023"/>
                </a:moveTo>
                <a:lnTo>
                  <a:pt x="4557561" y="1635023"/>
                </a:lnTo>
                <a:lnTo>
                  <a:pt x="4557561" y="1692173"/>
                </a:lnTo>
                <a:lnTo>
                  <a:pt x="4498823" y="1692173"/>
                </a:lnTo>
                <a:close/>
                <a:moveTo>
                  <a:pt x="4421036" y="1635023"/>
                </a:moveTo>
                <a:lnTo>
                  <a:pt x="4479774" y="1635023"/>
                </a:lnTo>
                <a:lnTo>
                  <a:pt x="4479774" y="1692173"/>
                </a:lnTo>
                <a:lnTo>
                  <a:pt x="4421036" y="1692173"/>
                </a:lnTo>
                <a:close/>
                <a:moveTo>
                  <a:pt x="4341661" y="1635023"/>
                </a:moveTo>
                <a:lnTo>
                  <a:pt x="4400399" y="1635023"/>
                </a:lnTo>
                <a:lnTo>
                  <a:pt x="4400399" y="1692173"/>
                </a:lnTo>
                <a:lnTo>
                  <a:pt x="4341661" y="1692173"/>
                </a:lnTo>
                <a:close/>
                <a:moveTo>
                  <a:pt x="4262286" y="1635023"/>
                </a:moveTo>
                <a:lnTo>
                  <a:pt x="4321024" y="1635023"/>
                </a:lnTo>
                <a:lnTo>
                  <a:pt x="4321024" y="1692173"/>
                </a:lnTo>
                <a:lnTo>
                  <a:pt x="4262286" y="1692173"/>
                </a:lnTo>
                <a:close/>
                <a:moveTo>
                  <a:pt x="4184498" y="1635023"/>
                </a:moveTo>
                <a:lnTo>
                  <a:pt x="4241648" y="1635023"/>
                </a:lnTo>
                <a:lnTo>
                  <a:pt x="4241648" y="1692173"/>
                </a:lnTo>
                <a:lnTo>
                  <a:pt x="4184498" y="1692173"/>
                </a:lnTo>
                <a:close/>
                <a:moveTo>
                  <a:pt x="4105123" y="1635023"/>
                </a:moveTo>
                <a:lnTo>
                  <a:pt x="4163861" y="1635023"/>
                </a:lnTo>
                <a:lnTo>
                  <a:pt x="4163861" y="1692173"/>
                </a:lnTo>
                <a:lnTo>
                  <a:pt x="4105123" y="1692173"/>
                </a:lnTo>
                <a:close/>
                <a:moveTo>
                  <a:pt x="4025748" y="1635023"/>
                </a:moveTo>
                <a:lnTo>
                  <a:pt x="4084486" y="1635023"/>
                </a:lnTo>
                <a:lnTo>
                  <a:pt x="4084486" y="1692173"/>
                </a:lnTo>
                <a:lnTo>
                  <a:pt x="4025748" y="1692173"/>
                </a:lnTo>
                <a:close/>
                <a:moveTo>
                  <a:pt x="2447898" y="1635023"/>
                </a:moveTo>
                <a:lnTo>
                  <a:pt x="2505057" y="1635023"/>
                </a:lnTo>
                <a:lnTo>
                  <a:pt x="2505057" y="1692173"/>
                </a:lnTo>
                <a:lnTo>
                  <a:pt x="2447898" y="1692173"/>
                </a:lnTo>
                <a:close/>
                <a:moveTo>
                  <a:pt x="2368531" y="1635023"/>
                </a:moveTo>
                <a:lnTo>
                  <a:pt x="2427264" y="1635023"/>
                </a:lnTo>
                <a:lnTo>
                  <a:pt x="2427264" y="1692173"/>
                </a:lnTo>
                <a:lnTo>
                  <a:pt x="2368531" y="1692173"/>
                </a:lnTo>
                <a:close/>
                <a:moveTo>
                  <a:pt x="2289151" y="1635023"/>
                </a:moveTo>
                <a:lnTo>
                  <a:pt x="2347892" y="1635023"/>
                </a:lnTo>
                <a:lnTo>
                  <a:pt x="2347892" y="1692173"/>
                </a:lnTo>
                <a:lnTo>
                  <a:pt x="2289151" y="1692173"/>
                </a:lnTo>
                <a:close/>
                <a:moveTo>
                  <a:pt x="2209773" y="1635023"/>
                </a:moveTo>
                <a:lnTo>
                  <a:pt x="2268513" y="1635023"/>
                </a:lnTo>
                <a:lnTo>
                  <a:pt x="2268513" y="1692173"/>
                </a:lnTo>
                <a:lnTo>
                  <a:pt x="2209773" y="1692173"/>
                </a:lnTo>
                <a:close/>
                <a:moveTo>
                  <a:pt x="2131987" y="1635023"/>
                </a:moveTo>
                <a:lnTo>
                  <a:pt x="2189140" y="1635023"/>
                </a:lnTo>
                <a:lnTo>
                  <a:pt x="2189140" y="1692173"/>
                </a:lnTo>
                <a:lnTo>
                  <a:pt x="2131987" y="1692173"/>
                </a:lnTo>
                <a:close/>
                <a:moveTo>
                  <a:pt x="1973229" y="1635023"/>
                </a:moveTo>
                <a:lnTo>
                  <a:pt x="2031975" y="1635023"/>
                </a:lnTo>
                <a:lnTo>
                  <a:pt x="2031975" y="1692173"/>
                </a:lnTo>
                <a:lnTo>
                  <a:pt x="1973229" y="1692173"/>
                </a:lnTo>
                <a:close/>
                <a:moveTo>
                  <a:pt x="1893852" y="1635023"/>
                </a:moveTo>
                <a:lnTo>
                  <a:pt x="1952588" y="1635023"/>
                </a:lnTo>
                <a:lnTo>
                  <a:pt x="1952588" y="1692173"/>
                </a:lnTo>
                <a:lnTo>
                  <a:pt x="1893852" y="1692173"/>
                </a:lnTo>
                <a:close/>
                <a:moveTo>
                  <a:pt x="1816085" y="1635023"/>
                </a:moveTo>
                <a:lnTo>
                  <a:pt x="1873221" y="1635023"/>
                </a:lnTo>
                <a:lnTo>
                  <a:pt x="1873221" y="1692173"/>
                </a:lnTo>
                <a:lnTo>
                  <a:pt x="1816085" y="1692173"/>
                </a:lnTo>
                <a:close/>
                <a:moveTo>
                  <a:pt x="1736712" y="1635023"/>
                </a:moveTo>
                <a:lnTo>
                  <a:pt x="1795459" y="1635023"/>
                </a:lnTo>
                <a:lnTo>
                  <a:pt x="1795459" y="1692173"/>
                </a:lnTo>
                <a:lnTo>
                  <a:pt x="1736712" y="1692173"/>
                </a:lnTo>
                <a:close/>
                <a:moveTo>
                  <a:pt x="1657331" y="1635023"/>
                </a:moveTo>
                <a:lnTo>
                  <a:pt x="1716071" y="1635023"/>
                </a:lnTo>
                <a:lnTo>
                  <a:pt x="1716071" y="1692173"/>
                </a:lnTo>
                <a:lnTo>
                  <a:pt x="1657331" y="1692173"/>
                </a:lnTo>
                <a:close/>
                <a:moveTo>
                  <a:pt x="1577943" y="1635023"/>
                </a:moveTo>
                <a:lnTo>
                  <a:pt x="1636695" y="1635023"/>
                </a:lnTo>
                <a:lnTo>
                  <a:pt x="1636695" y="1692173"/>
                </a:lnTo>
                <a:lnTo>
                  <a:pt x="1577943" y="1692173"/>
                </a:lnTo>
                <a:close/>
                <a:moveTo>
                  <a:pt x="1500154" y="1635023"/>
                </a:moveTo>
                <a:lnTo>
                  <a:pt x="1558898" y="1635023"/>
                </a:lnTo>
                <a:lnTo>
                  <a:pt x="1558898" y="1692173"/>
                </a:lnTo>
                <a:lnTo>
                  <a:pt x="1500154" y="1692173"/>
                </a:lnTo>
                <a:close/>
                <a:moveTo>
                  <a:pt x="1420778" y="1635023"/>
                </a:moveTo>
                <a:lnTo>
                  <a:pt x="1479516" y="1635023"/>
                </a:lnTo>
                <a:lnTo>
                  <a:pt x="1479516" y="1692173"/>
                </a:lnTo>
                <a:lnTo>
                  <a:pt x="1420778" y="1692173"/>
                </a:lnTo>
                <a:close/>
                <a:moveTo>
                  <a:pt x="1341429" y="1635023"/>
                </a:moveTo>
                <a:lnTo>
                  <a:pt x="1400153" y="1635023"/>
                </a:lnTo>
                <a:lnTo>
                  <a:pt x="1400153" y="1692173"/>
                </a:lnTo>
                <a:lnTo>
                  <a:pt x="1341429" y="1692173"/>
                </a:lnTo>
                <a:close/>
                <a:moveTo>
                  <a:pt x="1263620" y="1635023"/>
                </a:moveTo>
                <a:lnTo>
                  <a:pt x="1320784" y="1635023"/>
                </a:lnTo>
                <a:lnTo>
                  <a:pt x="1320784" y="1692173"/>
                </a:lnTo>
                <a:lnTo>
                  <a:pt x="1263620" y="1692173"/>
                </a:lnTo>
                <a:close/>
                <a:moveTo>
                  <a:pt x="1184251" y="1635023"/>
                </a:moveTo>
                <a:lnTo>
                  <a:pt x="1242983" y="1635023"/>
                </a:lnTo>
                <a:lnTo>
                  <a:pt x="1242983" y="1692173"/>
                </a:lnTo>
                <a:lnTo>
                  <a:pt x="1184251" y="1692173"/>
                </a:lnTo>
                <a:close/>
                <a:moveTo>
                  <a:pt x="7894486" y="1635022"/>
                </a:moveTo>
                <a:lnTo>
                  <a:pt x="7951636" y="1635022"/>
                </a:lnTo>
                <a:lnTo>
                  <a:pt x="7951636" y="1692172"/>
                </a:lnTo>
                <a:lnTo>
                  <a:pt x="7894486" y="1692172"/>
                </a:lnTo>
                <a:close/>
                <a:moveTo>
                  <a:pt x="7815111" y="1635022"/>
                </a:moveTo>
                <a:lnTo>
                  <a:pt x="7873849" y="1635022"/>
                </a:lnTo>
                <a:lnTo>
                  <a:pt x="7873849" y="1692172"/>
                </a:lnTo>
                <a:lnTo>
                  <a:pt x="7815111" y="1692172"/>
                </a:lnTo>
                <a:close/>
                <a:moveTo>
                  <a:pt x="7735736" y="1635022"/>
                </a:moveTo>
                <a:lnTo>
                  <a:pt x="7794474" y="1635022"/>
                </a:lnTo>
                <a:lnTo>
                  <a:pt x="7794474" y="1692172"/>
                </a:lnTo>
                <a:lnTo>
                  <a:pt x="7735736" y="1692172"/>
                </a:lnTo>
                <a:close/>
                <a:moveTo>
                  <a:pt x="7578574" y="1635022"/>
                </a:moveTo>
                <a:lnTo>
                  <a:pt x="7637312" y="1635022"/>
                </a:lnTo>
                <a:lnTo>
                  <a:pt x="7637312" y="1692172"/>
                </a:lnTo>
                <a:lnTo>
                  <a:pt x="7578574" y="1692172"/>
                </a:lnTo>
                <a:close/>
                <a:moveTo>
                  <a:pt x="7499199" y="1635022"/>
                </a:moveTo>
                <a:lnTo>
                  <a:pt x="7557937" y="1635022"/>
                </a:lnTo>
                <a:lnTo>
                  <a:pt x="7557937" y="1692172"/>
                </a:lnTo>
                <a:lnTo>
                  <a:pt x="7499199" y="1692172"/>
                </a:lnTo>
                <a:close/>
                <a:moveTo>
                  <a:pt x="7419824" y="1635022"/>
                </a:moveTo>
                <a:lnTo>
                  <a:pt x="7478562" y="1635022"/>
                </a:lnTo>
                <a:lnTo>
                  <a:pt x="7478562" y="1692172"/>
                </a:lnTo>
                <a:lnTo>
                  <a:pt x="7419824" y="1692172"/>
                </a:lnTo>
                <a:close/>
                <a:moveTo>
                  <a:pt x="7342036" y="1635022"/>
                </a:moveTo>
                <a:lnTo>
                  <a:pt x="7400774" y="1635022"/>
                </a:lnTo>
                <a:lnTo>
                  <a:pt x="7400774" y="1692172"/>
                </a:lnTo>
                <a:lnTo>
                  <a:pt x="7342036" y="1692172"/>
                </a:lnTo>
                <a:close/>
                <a:moveTo>
                  <a:pt x="7262661" y="1635022"/>
                </a:moveTo>
                <a:lnTo>
                  <a:pt x="7321399" y="1635022"/>
                </a:lnTo>
                <a:lnTo>
                  <a:pt x="7321399" y="1692172"/>
                </a:lnTo>
                <a:lnTo>
                  <a:pt x="7262661" y="1692172"/>
                </a:lnTo>
                <a:close/>
                <a:moveTo>
                  <a:pt x="7183286" y="1635022"/>
                </a:moveTo>
                <a:lnTo>
                  <a:pt x="7242024" y="1635022"/>
                </a:lnTo>
                <a:lnTo>
                  <a:pt x="7242024" y="1692172"/>
                </a:lnTo>
                <a:lnTo>
                  <a:pt x="7183286" y="1692172"/>
                </a:lnTo>
                <a:close/>
                <a:moveTo>
                  <a:pt x="7105499" y="1635022"/>
                </a:moveTo>
                <a:lnTo>
                  <a:pt x="7162649" y="1635022"/>
                </a:lnTo>
                <a:lnTo>
                  <a:pt x="7162649" y="1692172"/>
                </a:lnTo>
                <a:lnTo>
                  <a:pt x="7105499" y="1692172"/>
                </a:lnTo>
                <a:close/>
                <a:moveTo>
                  <a:pt x="7026124" y="1635022"/>
                </a:moveTo>
                <a:lnTo>
                  <a:pt x="7084862" y="1635022"/>
                </a:lnTo>
                <a:lnTo>
                  <a:pt x="7084862" y="1692172"/>
                </a:lnTo>
                <a:lnTo>
                  <a:pt x="7026124" y="1692172"/>
                </a:lnTo>
                <a:close/>
                <a:moveTo>
                  <a:pt x="6946749" y="1635022"/>
                </a:moveTo>
                <a:lnTo>
                  <a:pt x="7005487" y="1635022"/>
                </a:lnTo>
                <a:lnTo>
                  <a:pt x="7005487" y="1692172"/>
                </a:lnTo>
                <a:lnTo>
                  <a:pt x="6946749" y="1692172"/>
                </a:lnTo>
                <a:close/>
                <a:moveTo>
                  <a:pt x="6867374" y="1635022"/>
                </a:moveTo>
                <a:lnTo>
                  <a:pt x="6926112" y="1635022"/>
                </a:lnTo>
                <a:lnTo>
                  <a:pt x="6926112" y="1692172"/>
                </a:lnTo>
                <a:lnTo>
                  <a:pt x="6867374" y="1692172"/>
                </a:lnTo>
                <a:close/>
                <a:moveTo>
                  <a:pt x="6789586" y="1635022"/>
                </a:moveTo>
                <a:lnTo>
                  <a:pt x="6846736" y="1635022"/>
                </a:lnTo>
                <a:lnTo>
                  <a:pt x="6846736" y="1692172"/>
                </a:lnTo>
                <a:lnTo>
                  <a:pt x="6789586" y="1692172"/>
                </a:lnTo>
                <a:close/>
                <a:moveTo>
                  <a:pt x="6710211" y="1635022"/>
                </a:moveTo>
                <a:lnTo>
                  <a:pt x="6768949" y="1635022"/>
                </a:lnTo>
                <a:lnTo>
                  <a:pt x="6768949" y="1692172"/>
                </a:lnTo>
                <a:lnTo>
                  <a:pt x="6710211" y="1692172"/>
                </a:lnTo>
                <a:close/>
                <a:moveTo>
                  <a:pt x="6630836" y="1635022"/>
                </a:moveTo>
                <a:lnTo>
                  <a:pt x="6689574" y="1635022"/>
                </a:lnTo>
                <a:lnTo>
                  <a:pt x="6689574" y="1692172"/>
                </a:lnTo>
                <a:lnTo>
                  <a:pt x="6630836" y="1692172"/>
                </a:lnTo>
                <a:close/>
                <a:moveTo>
                  <a:pt x="6551461" y="1635022"/>
                </a:moveTo>
                <a:lnTo>
                  <a:pt x="6610199" y="1635022"/>
                </a:lnTo>
                <a:lnTo>
                  <a:pt x="6610199" y="1692172"/>
                </a:lnTo>
                <a:lnTo>
                  <a:pt x="6551461" y="1692172"/>
                </a:lnTo>
                <a:close/>
                <a:moveTo>
                  <a:pt x="6473674" y="1635022"/>
                </a:moveTo>
                <a:lnTo>
                  <a:pt x="6530824" y="1635022"/>
                </a:lnTo>
                <a:lnTo>
                  <a:pt x="6530824" y="1692172"/>
                </a:lnTo>
                <a:lnTo>
                  <a:pt x="6473674" y="1692172"/>
                </a:lnTo>
                <a:close/>
                <a:moveTo>
                  <a:pt x="6394299" y="1635022"/>
                </a:moveTo>
                <a:lnTo>
                  <a:pt x="6453037" y="1635022"/>
                </a:lnTo>
                <a:lnTo>
                  <a:pt x="6453037" y="1692172"/>
                </a:lnTo>
                <a:lnTo>
                  <a:pt x="6394299" y="1692172"/>
                </a:lnTo>
                <a:close/>
                <a:moveTo>
                  <a:pt x="7973861" y="1557235"/>
                </a:moveTo>
                <a:lnTo>
                  <a:pt x="8031011" y="1557235"/>
                </a:lnTo>
                <a:lnTo>
                  <a:pt x="8031011" y="1614385"/>
                </a:lnTo>
                <a:lnTo>
                  <a:pt x="7973861" y="1614385"/>
                </a:lnTo>
                <a:close/>
                <a:moveTo>
                  <a:pt x="7815111" y="1557235"/>
                </a:moveTo>
                <a:lnTo>
                  <a:pt x="7873849" y="1557235"/>
                </a:lnTo>
                <a:lnTo>
                  <a:pt x="7873849" y="1614385"/>
                </a:lnTo>
                <a:lnTo>
                  <a:pt x="7815111" y="1614385"/>
                </a:lnTo>
                <a:close/>
                <a:moveTo>
                  <a:pt x="7657949" y="1557235"/>
                </a:moveTo>
                <a:lnTo>
                  <a:pt x="7715099" y="1557235"/>
                </a:lnTo>
                <a:lnTo>
                  <a:pt x="7715099" y="1614385"/>
                </a:lnTo>
                <a:lnTo>
                  <a:pt x="7657949" y="1614385"/>
                </a:lnTo>
                <a:close/>
                <a:moveTo>
                  <a:pt x="7578574" y="1557235"/>
                </a:moveTo>
                <a:lnTo>
                  <a:pt x="7637312" y="1557235"/>
                </a:lnTo>
                <a:lnTo>
                  <a:pt x="7637312" y="1614385"/>
                </a:lnTo>
                <a:lnTo>
                  <a:pt x="7578574" y="1614385"/>
                </a:lnTo>
                <a:close/>
                <a:moveTo>
                  <a:pt x="7499199" y="1557235"/>
                </a:moveTo>
                <a:lnTo>
                  <a:pt x="7557937" y="1557235"/>
                </a:lnTo>
                <a:lnTo>
                  <a:pt x="7557937" y="1614385"/>
                </a:lnTo>
                <a:lnTo>
                  <a:pt x="7499199" y="1614385"/>
                </a:lnTo>
                <a:close/>
                <a:moveTo>
                  <a:pt x="7419824" y="1557235"/>
                </a:moveTo>
                <a:lnTo>
                  <a:pt x="7478562" y="1557235"/>
                </a:lnTo>
                <a:lnTo>
                  <a:pt x="7478562" y="1614385"/>
                </a:lnTo>
                <a:lnTo>
                  <a:pt x="7419824" y="1614385"/>
                </a:lnTo>
                <a:close/>
                <a:moveTo>
                  <a:pt x="7342036" y="1557235"/>
                </a:moveTo>
                <a:lnTo>
                  <a:pt x="7400774" y="1557235"/>
                </a:lnTo>
                <a:lnTo>
                  <a:pt x="7400774" y="1614385"/>
                </a:lnTo>
                <a:lnTo>
                  <a:pt x="7342036" y="1614385"/>
                </a:lnTo>
                <a:close/>
                <a:moveTo>
                  <a:pt x="7262661" y="1557235"/>
                </a:moveTo>
                <a:lnTo>
                  <a:pt x="7321399" y="1557235"/>
                </a:lnTo>
                <a:lnTo>
                  <a:pt x="7321399" y="1614385"/>
                </a:lnTo>
                <a:lnTo>
                  <a:pt x="7262661" y="1614385"/>
                </a:lnTo>
                <a:close/>
                <a:moveTo>
                  <a:pt x="7183286" y="1557235"/>
                </a:moveTo>
                <a:lnTo>
                  <a:pt x="7242024" y="1557235"/>
                </a:lnTo>
                <a:lnTo>
                  <a:pt x="7242024" y="1614385"/>
                </a:lnTo>
                <a:lnTo>
                  <a:pt x="7183286" y="1614385"/>
                </a:lnTo>
                <a:close/>
                <a:moveTo>
                  <a:pt x="7105499" y="1557235"/>
                </a:moveTo>
                <a:lnTo>
                  <a:pt x="7162649" y="1557235"/>
                </a:lnTo>
                <a:lnTo>
                  <a:pt x="7162649" y="1614385"/>
                </a:lnTo>
                <a:lnTo>
                  <a:pt x="7105499" y="1614385"/>
                </a:lnTo>
                <a:close/>
                <a:moveTo>
                  <a:pt x="7026124" y="1557235"/>
                </a:moveTo>
                <a:lnTo>
                  <a:pt x="7084862" y="1557235"/>
                </a:lnTo>
                <a:lnTo>
                  <a:pt x="7084862" y="1614385"/>
                </a:lnTo>
                <a:lnTo>
                  <a:pt x="7026124" y="1614385"/>
                </a:lnTo>
                <a:close/>
                <a:moveTo>
                  <a:pt x="6946749" y="1557235"/>
                </a:moveTo>
                <a:lnTo>
                  <a:pt x="7005487" y="1557235"/>
                </a:lnTo>
                <a:lnTo>
                  <a:pt x="7005487" y="1614385"/>
                </a:lnTo>
                <a:lnTo>
                  <a:pt x="6946749" y="1614385"/>
                </a:lnTo>
                <a:close/>
                <a:moveTo>
                  <a:pt x="6867374" y="1557235"/>
                </a:moveTo>
                <a:lnTo>
                  <a:pt x="6926112" y="1557235"/>
                </a:lnTo>
                <a:lnTo>
                  <a:pt x="6926112" y="1614385"/>
                </a:lnTo>
                <a:lnTo>
                  <a:pt x="6867374" y="1614385"/>
                </a:lnTo>
                <a:close/>
                <a:moveTo>
                  <a:pt x="6789586" y="1557235"/>
                </a:moveTo>
                <a:lnTo>
                  <a:pt x="6846736" y="1557235"/>
                </a:lnTo>
                <a:lnTo>
                  <a:pt x="6846736" y="1614385"/>
                </a:lnTo>
                <a:lnTo>
                  <a:pt x="6789586" y="1614385"/>
                </a:lnTo>
                <a:close/>
                <a:moveTo>
                  <a:pt x="6710211" y="1557235"/>
                </a:moveTo>
                <a:lnTo>
                  <a:pt x="6768949" y="1557235"/>
                </a:lnTo>
                <a:lnTo>
                  <a:pt x="6768949" y="1614385"/>
                </a:lnTo>
                <a:lnTo>
                  <a:pt x="6710211" y="1614385"/>
                </a:lnTo>
                <a:close/>
                <a:moveTo>
                  <a:pt x="6630836" y="1557235"/>
                </a:moveTo>
                <a:lnTo>
                  <a:pt x="6689574" y="1557235"/>
                </a:lnTo>
                <a:lnTo>
                  <a:pt x="6689574" y="1614385"/>
                </a:lnTo>
                <a:lnTo>
                  <a:pt x="6630836" y="1614385"/>
                </a:lnTo>
                <a:close/>
                <a:moveTo>
                  <a:pt x="6551461" y="1557235"/>
                </a:moveTo>
                <a:lnTo>
                  <a:pt x="6610199" y="1557235"/>
                </a:lnTo>
                <a:lnTo>
                  <a:pt x="6610199" y="1614385"/>
                </a:lnTo>
                <a:lnTo>
                  <a:pt x="6551461" y="1614385"/>
                </a:lnTo>
                <a:close/>
                <a:moveTo>
                  <a:pt x="6473674" y="1557235"/>
                </a:moveTo>
                <a:lnTo>
                  <a:pt x="6530824" y="1557235"/>
                </a:lnTo>
                <a:lnTo>
                  <a:pt x="6530824" y="1614385"/>
                </a:lnTo>
                <a:lnTo>
                  <a:pt x="6473674" y="1614385"/>
                </a:lnTo>
                <a:close/>
                <a:moveTo>
                  <a:pt x="6394299" y="1557235"/>
                </a:moveTo>
                <a:lnTo>
                  <a:pt x="6453037" y="1557235"/>
                </a:lnTo>
                <a:lnTo>
                  <a:pt x="6453037" y="1614385"/>
                </a:lnTo>
                <a:lnTo>
                  <a:pt x="6394299" y="1614385"/>
                </a:lnTo>
                <a:close/>
                <a:moveTo>
                  <a:pt x="6314924" y="1557235"/>
                </a:moveTo>
                <a:lnTo>
                  <a:pt x="6373662" y="1557235"/>
                </a:lnTo>
                <a:lnTo>
                  <a:pt x="6373662" y="1614385"/>
                </a:lnTo>
                <a:lnTo>
                  <a:pt x="6314924" y="1614385"/>
                </a:lnTo>
                <a:close/>
                <a:moveTo>
                  <a:pt x="6235549" y="1557235"/>
                </a:moveTo>
                <a:lnTo>
                  <a:pt x="6294287" y="1557235"/>
                </a:lnTo>
                <a:lnTo>
                  <a:pt x="6294287" y="1614385"/>
                </a:lnTo>
                <a:lnTo>
                  <a:pt x="6235549" y="1614385"/>
                </a:lnTo>
                <a:close/>
                <a:moveTo>
                  <a:pt x="6157761" y="1557235"/>
                </a:moveTo>
                <a:lnTo>
                  <a:pt x="6214911" y="1557235"/>
                </a:lnTo>
                <a:lnTo>
                  <a:pt x="6214911" y="1614385"/>
                </a:lnTo>
                <a:lnTo>
                  <a:pt x="6157761" y="1614385"/>
                </a:lnTo>
                <a:close/>
                <a:moveTo>
                  <a:pt x="6078386" y="1557235"/>
                </a:moveTo>
                <a:lnTo>
                  <a:pt x="6137124" y="1557235"/>
                </a:lnTo>
                <a:lnTo>
                  <a:pt x="6137124" y="1614385"/>
                </a:lnTo>
                <a:lnTo>
                  <a:pt x="6078386" y="1614385"/>
                </a:lnTo>
                <a:close/>
                <a:moveTo>
                  <a:pt x="5999011" y="1557235"/>
                </a:moveTo>
                <a:lnTo>
                  <a:pt x="6057749" y="1557235"/>
                </a:lnTo>
                <a:lnTo>
                  <a:pt x="6057749" y="1614385"/>
                </a:lnTo>
                <a:lnTo>
                  <a:pt x="5999011" y="1614385"/>
                </a:lnTo>
                <a:close/>
                <a:moveTo>
                  <a:pt x="5921224" y="1557235"/>
                </a:moveTo>
                <a:lnTo>
                  <a:pt x="5978374" y="1557235"/>
                </a:lnTo>
                <a:lnTo>
                  <a:pt x="5978374" y="1614385"/>
                </a:lnTo>
                <a:lnTo>
                  <a:pt x="5921224" y="1614385"/>
                </a:lnTo>
                <a:close/>
                <a:moveTo>
                  <a:pt x="5841849" y="1557235"/>
                </a:moveTo>
                <a:lnTo>
                  <a:pt x="5900587" y="1557235"/>
                </a:lnTo>
                <a:lnTo>
                  <a:pt x="5900587" y="1614385"/>
                </a:lnTo>
                <a:lnTo>
                  <a:pt x="5841849" y="1614385"/>
                </a:lnTo>
                <a:close/>
                <a:moveTo>
                  <a:pt x="5762474" y="1557235"/>
                </a:moveTo>
                <a:lnTo>
                  <a:pt x="5821212" y="1557235"/>
                </a:lnTo>
                <a:lnTo>
                  <a:pt x="5821212" y="1614385"/>
                </a:lnTo>
                <a:lnTo>
                  <a:pt x="5762474" y="1614385"/>
                </a:lnTo>
                <a:close/>
                <a:moveTo>
                  <a:pt x="5684686" y="1557235"/>
                </a:moveTo>
                <a:lnTo>
                  <a:pt x="5741836" y="1557235"/>
                </a:lnTo>
                <a:lnTo>
                  <a:pt x="5741836" y="1614385"/>
                </a:lnTo>
                <a:lnTo>
                  <a:pt x="5684686" y="1614385"/>
                </a:lnTo>
                <a:close/>
                <a:moveTo>
                  <a:pt x="5605311" y="1557235"/>
                </a:moveTo>
                <a:lnTo>
                  <a:pt x="5664049" y="1557235"/>
                </a:lnTo>
                <a:lnTo>
                  <a:pt x="5664049" y="1614385"/>
                </a:lnTo>
                <a:lnTo>
                  <a:pt x="5605311" y="1614385"/>
                </a:lnTo>
                <a:close/>
                <a:moveTo>
                  <a:pt x="5368774" y="1557235"/>
                </a:moveTo>
                <a:lnTo>
                  <a:pt x="5425924" y="1557235"/>
                </a:lnTo>
                <a:lnTo>
                  <a:pt x="5425924" y="1614385"/>
                </a:lnTo>
                <a:lnTo>
                  <a:pt x="5368774" y="1614385"/>
                </a:lnTo>
                <a:close/>
                <a:moveTo>
                  <a:pt x="5289399" y="1557235"/>
                </a:moveTo>
                <a:lnTo>
                  <a:pt x="5348137" y="1557235"/>
                </a:lnTo>
                <a:lnTo>
                  <a:pt x="5348137" y="1614385"/>
                </a:lnTo>
                <a:lnTo>
                  <a:pt x="5289399" y="1614385"/>
                </a:lnTo>
                <a:close/>
                <a:moveTo>
                  <a:pt x="5210024" y="1557235"/>
                </a:moveTo>
                <a:lnTo>
                  <a:pt x="5268762" y="1557235"/>
                </a:lnTo>
                <a:lnTo>
                  <a:pt x="5268762" y="1614385"/>
                </a:lnTo>
                <a:lnTo>
                  <a:pt x="5210024" y="1614385"/>
                </a:lnTo>
                <a:close/>
                <a:moveTo>
                  <a:pt x="5130649" y="1557235"/>
                </a:moveTo>
                <a:lnTo>
                  <a:pt x="5189387" y="1557235"/>
                </a:lnTo>
                <a:lnTo>
                  <a:pt x="5189387" y="1614385"/>
                </a:lnTo>
                <a:lnTo>
                  <a:pt x="5130649" y="1614385"/>
                </a:lnTo>
                <a:close/>
                <a:moveTo>
                  <a:pt x="4973486" y="1557235"/>
                </a:moveTo>
                <a:lnTo>
                  <a:pt x="5030636" y="1557235"/>
                </a:lnTo>
                <a:lnTo>
                  <a:pt x="5030636" y="1614385"/>
                </a:lnTo>
                <a:lnTo>
                  <a:pt x="4973486" y="1614385"/>
                </a:lnTo>
                <a:close/>
                <a:moveTo>
                  <a:pt x="4894111" y="1557235"/>
                </a:moveTo>
                <a:lnTo>
                  <a:pt x="4952849" y="1557235"/>
                </a:lnTo>
                <a:lnTo>
                  <a:pt x="4952849" y="1614385"/>
                </a:lnTo>
                <a:lnTo>
                  <a:pt x="4894111" y="1614385"/>
                </a:lnTo>
                <a:close/>
                <a:moveTo>
                  <a:pt x="4814736" y="1557235"/>
                </a:moveTo>
                <a:lnTo>
                  <a:pt x="4873474" y="1557235"/>
                </a:lnTo>
                <a:lnTo>
                  <a:pt x="4873474" y="1614385"/>
                </a:lnTo>
                <a:lnTo>
                  <a:pt x="4814736" y="1614385"/>
                </a:lnTo>
                <a:close/>
                <a:moveTo>
                  <a:pt x="4736948" y="1557235"/>
                </a:moveTo>
                <a:lnTo>
                  <a:pt x="4794098" y="1557235"/>
                </a:lnTo>
                <a:lnTo>
                  <a:pt x="4794098" y="1614385"/>
                </a:lnTo>
                <a:lnTo>
                  <a:pt x="4736948" y="1614385"/>
                </a:lnTo>
                <a:close/>
                <a:moveTo>
                  <a:pt x="4657573" y="1557235"/>
                </a:moveTo>
                <a:lnTo>
                  <a:pt x="4716311" y="1557235"/>
                </a:lnTo>
                <a:lnTo>
                  <a:pt x="4716311" y="1614385"/>
                </a:lnTo>
                <a:lnTo>
                  <a:pt x="4657573" y="1614385"/>
                </a:lnTo>
                <a:close/>
                <a:moveTo>
                  <a:pt x="4578198" y="1557235"/>
                </a:moveTo>
                <a:lnTo>
                  <a:pt x="4636936" y="1557235"/>
                </a:lnTo>
                <a:lnTo>
                  <a:pt x="4636936" y="1614385"/>
                </a:lnTo>
                <a:lnTo>
                  <a:pt x="4578198" y="1614385"/>
                </a:lnTo>
                <a:close/>
                <a:moveTo>
                  <a:pt x="4498823" y="1557235"/>
                </a:moveTo>
                <a:lnTo>
                  <a:pt x="4557561" y="1557235"/>
                </a:lnTo>
                <a:lnTo>
                  <a:pt x="4557561" y="1614385"/>
                </a:lnTo>
                <a:lnTo>
                  <a:pt x="4498823" y="1614385"/>
                </a:lnTo>
                <a:close/>
                <a:moveTo>
                  <a:pt x="4421036" y="1557235"/>
                </a:moveTo>
                <a:lnTo>
                  <a:pt x="4479774" y="1557235"/>
                </a:lnTo>
                <a:lnTo>
                  <a:pt x="4479774" y="1614385"/>
                </a:lnTo>
                <a:lnTo>
                  <a:pt x="4421036" y="1614385"/>
                </a:lnTo>
                <a:close/>
                <a:moveTo>
                  <a:pt x="4341661" y="1557235"/>
                </a:moveTo>
                <a:lnTo>
                  <a:pt x="4400399" y="1557235"/>
                </a:lnTo>
                <a:lnTo>
                  <a:pt x="4400399" y="1614385"/>
                </a:lnTo>
                <a:lnTo>
                  <a:pt x="4341661" y="1614385"/>
                </a:lnTo>
                <a:close/>
                <a:moveTo>
                  <a:pt x="4262286" y="1557235"/>
                </a:moveTo>
                <a:lnTo>
                  <a:pt x="4321024" y="1557235"/>
                </a:lnTo>
                <a:lnTo>
                  <a:pt x="4321024" y="1614385"/>
                </a:lnTo>
                <a:lnTo>
                  <a:pt x="4262286" y="1614385"/>
                </a:lnTo>
                <a:close/>
                <a:moveTo>
                  <a:pt x="2763686" y="1557235"/>
                </a:moveTo>
                <a:lnTo>
                  <a:pt x="2820836" y="1557235"/>
                </a:lnTo>
                <a:lnTo>
                  <a:pt x="2820836" y="1614385"/>
                </a:lnTo>
                <a:lnTo>
                  <a:pt x="2763686" y="1614385"/>
                </a:lnTo>
                <a:close/>
                <a:moveTo>
                  <a:pt x="2684311" y="1557235"/>
                </a:moveTo>
                <a:lnTo>
                  <a:pt x="2743049" y="1557235"/>
                </a:lnTo>
                <a:lnTo>
                  <a:pt x="2743049" y="1614385"/>
                </a:lnTo>
                <a:lnTo>
                  <a:pt x="2684311" y="1614385"/>
                </a:lnTo>
                <a:close/>
                <a:moveTo>
                  <a:pt x="2604936" y="1557235"/>
                </a:moveTo>
                <a:lnTo>
                  <a:pt x="2663674" y="1557235"/>
                </a:lnTo>
                <a:lnTo>
                  <a:pt x="2663674" y="1614385"/>
                </a:lnTo>
                <a:lnTo>
                  <a:pt x="2604936" y="1614385"/>
                </a:lnTo>
                <a:close/>
                <a:moveTo>
                  <a:pt x="2525695" y="1557235"/>
                </a:moveTo>
                <a:lnTo>
                  <a:pt x="2584432" y="1557235"/>
                </a:lnTo>
                <a:lnTo>
                  <a:pt x="2584432" y="1614385"/>
                </a:lnTo>
                <a:lnTo>
                  <a:pt x="2525695" y="1614385"/>
                </a:lnTo>
                <a:close/>
                <a:moveTo>
                  <a:pt x="2447903" y="1557235"/>
                </a:moveTo>
                <a:lnTo>
                  <a:pt x="2505061" y="1557235"/>
                </a:lnTo>
                <a:lnTo>
                  <a:pt x="2505061" y="1614385"/>
                </a:lnTo>
                <a:lnTo>
                  <a:pt x="2447903" y="1614385"/>
                </a:lnTo>
                <a:close/>
                <a:moveTo>
                  <a:pt x="2368534" y="1557235"/>
                </a:moveTo>
                <a:lnTo>
                  <a:pt x="2427269" y="1557235"/>
                </a:lnTo>
                <a:lnTo>
                  <a:pt x="2427269" y="1614385"/>
                </a:lnTo>
                <a:lnTo>
                  <a:pt x="2368534" y="1614385"/>
                </a:lnTo>
                <a:close/>
                <a:moveTo>
                  <a:pt x="2289157" y="1557235"/>
                </a:moveTo>
                <a:lnTo>
                  <a:pt x="2347898" y="1557235"/>
                </a:lnTo>
                <a:lnTo>
                  <a:pt x="2347898" y="1614385"/>
                </a:lnTo>
                <a:lnTo>
                  <a:pt x="2289157" y="1614385"/>
                </a:lnTo>
                <a:close/>
                <a:moveTo>
                  <a:pt x="2209780" y="1557235"/>
                </a:moveTo>
                <a:lnTo>
                  <a:pt x="2268521" y="1557235"/>
                </a:lnTo>
                <a:lnTo>
                  <a:pt x="2268521" y="1614385"/>
                </a:lnTo>
                <a:lnTo>
                  <a:pt x="2209780" y="1614385"/>
                </a:lnTo>
                <a:close/>
                <a:moveTo>
                  <a:pt x="2052613" y="1557235"/>
                </a:moveTo>
                <a:lnTo>
                  <a:pt x="2111356" y="1557235"/>
                </a:lnTo>
                <a:lnTo>
                  <a:pt x="2111356" y="1614385"/>
                </a:lnTo>
                <a:lnTo>
                  <a:pt x="2052613" y="1614385"/>
                </a:lnTo>
                <a:close/>
                <a:moveTo>
                  <a:pt x="1973233" y="1557235"/>
                </a:moveTo>
                <a:lnTo>
                  <a:pt x="2031980" y="1557235"/>
                </a:lnTo>
                <a:lnTo>
                  <a:pt x="2031980" y="1614385"/>
                </a:lnTo>
                <a:lnTo>
                  <a:pt x="1973233" y="1614385"/>
                </a:lnTo>
                <a:close/>
                <a:moveTo>
                  <a:pt x="1893857" y="1557235"/>
                </a:moveTo>
                <a:lnTo>
                  <a:pt x="1952594" y="1557235"/>
                </a:lnTo>
                <a:lnTo>
                  <a:pt x="1952594" y="1614385"/>
                </a:lnTo>
                <a:lnTo>
                  <a:pt x="1893857" y="1614385"/>
                </a:lnTo>
                <a:close/>
                <a:moveTo>
                  <a:pt x="1816090" y="1557235"/>
                </a:moveTo>
                <a:lnTo>
                  <a:pt x="1873226" y="1557235"/>
                </a:lnTo>
                <a:lnTo>
                  <a:pt x="1873226" y="1614385"/>
                </a:lnTo>
                <a:lnTo>
                  <a:pt x="1816090" y="1614385"/>
                </a:lnTo>
                <a:close/>
                <a:moveTo>
                  <a:pt x="1736716" y="1557235"/>
                </a:moveTo>
                <a:lnTo>
                  <a:pt x="1795459" y="1557235"/>
                </a:lnTo>
                <a:lnTo>
                  <a:pt x="1795459" y="1614385"/>
                </a:lnTo>
                <a:lnTo>
                  <a:pt x="1736716" y="1614385"/>
                </a:lnTo>
                <a:close/>
                <a:moveTo>
                  <a:pt x="1657336" y="1557235"/>
                </a:moveTo>
                <a:lnTo>
                  <a:pt x="1716077" y="1557235"/>
                </a:lnTo>
                <a:lnTo>
                  <a:pt x="1716077" y="1614385"/>
                </a:lnTo>
                <a:lnTo>
                  <a:pt x="1657336" y="1614385"/>
                </a:lnTo>
                <a:close/>
                <a:moveTo>
                  <a:pt x="1577947" y="1557235"/>
                </a:moveTo>
                <a:lnTo>
                  <a:pt x="1636700" y="1557235"/>
                </a:lnTo>
                <a:lnTo>
                  <a:pt x="1636700" y="1614385"/>
                </a:lnTo>
                <a:lnTo>
                  <a:pt x="1577947" y="1614385"/>
                </a:lnTo>
                <a:close/>
                <a:moveTo>
                  <a:pt x="1500160" y="1557235"/>
                </a:moveTo>
                <a:lnTo>
                  <a:pt x="1558903" y="1557235"/>
                </a:lnTo>
                <a:lnTo>
                  <a:pt x="1558903" y="1614385"/>
                </a:lnTo>
                <a:lnTo>
                  <a:pt x="1500160" y="1614385"/>
                </a:lnTo>
                <a:close/>
                <a:moveTo>
                  <a:pt x="1420782" y="1557235"/>
                </a:moveTo>
                <a:lnTo>
                  <a:pt x="1479519" y="1557235"/>
                </a:lnTo>
                <a:lnTo>
                  <a:pt x="1479519" y="1614385"/>
                </a:lnTo>
                <a:lnTo>
                  <a:pt x="1420782" y="1614385"/>
                </a:lnTo>
                <a:close/>
                <a:moveTo>
                  <a:pt x="1341438" y="1557235"/>
                </a:moveTo>
                <a:lnTo>
                  <a:pt x="1400157" y="1557235"/>
                </a:lnTo>
                <a:lnTo>
                  <a:pt x="1400157" y="1614385"/>
                </a:lnTo>
                <a:lnTo>
                  <a:pt x="1341438" y="1614385"/>
                </a:lnTo>
                <a:close/>
                <a:moveTo>
                  <a:pt x="1263625" y="1557235"/>
                </a:moveTo>
                <a:lnTo>
                  <a:pt x="1320789" y="1557235"/>
                </a:lnTo>
                <a:lnTo>
                  <a:pt x="1320789" y="1614385"/>
                </a:lnTo>
                <a:lnTo>
                  <a:pt x="1263625" y="1614385"/>
                </a:lnTo>
                <a:close/>
                <a:moveTo>
                  <a:pt x="1184258" y="1557235"/>
                </a:moveTo>
                <a:lnTo>
                  <a:pt x="1242986" y="1557235"/>
                </a:lnTo>
                <a:lnTo>
                  <a:pt x="1242986" y="1614385"/>
                </a:lnTo>
                <a:lnTo>
                  <a:pt x="1184258" y="1614385"/>
                </a:lnTo>
                <a:close/>
                <a:moveTo>
                  <a:pt x="8051649" y="1479448"/>
                </a:moveTo>
                <a:lnTo>
                  <a:pt x="8110387" y="1479448"/>
                </a:lnTo>
                <a:lnTo>
                  <a:pt x="8110387" y="1536598"/>
                </a:lnTo>
                <a:lnTo>
                  <a:pt x="8051649" y="1536598"/>
                </a:lnTo>
                <a:close/>
                <a:moveTo>
                  <a:pt x="7815111" y="1479448"/>
                </a:moveTo>
                <a:lnTo>
                  <a:pt x="7873849" y="1479448"/>
                </a:lnTo>
                <a:lnTo>
                  <a:pt x="7873849" y="1536598"/>
                </a:lnTo>
                <a:lnTo>
                  <a:pt x="7815111" y="1536598"/>
                </a:lnTo>
                <a:close/>
                <a:moveTo>
                  <a:pt x="7657949" y="1479448"/>
                </a:moveTo>
                <a:lnTo>
                  <a:pt x="7715099" y="1479448"/>
                </a:lnTo>
                <a:lnTo>
                  <a:pt x="7715099" y="1536598"/>
                </a:lnTo>
                <a:lnTo>
                  <a:pt x="7657949" y="1536598"/>
                </a:lnTo>
                <a:close/>
                <a:moveTo>
                  <a:pt x="7578574" y="1479448"/>
                </a:moveTo>
                <a:lnTo>
                  <a:pt x="7637312" y="1479448"/>
                </a:lnTo>
                <a:lnTo>
                  <a:pt x="7637312" y="1536598"/>
                </a:lnTo>
                <a:lnTo>
                  <a:pt x="7578574" y="1536598"/>
                </a:lnTo>
                <a:close/>
                <a:moveTo>
                  <a:pt x="7499199" y="1479448"/>
                </a:moveTo>
                <a:lnTo>
                  <a:pt x="7557937" y="1479448"/>
                </a:lnTo>
                <a:lnTo>
                  <a:pt x="7557937" y="1536598"/>
                </a:lnTo>
                <a:lnTo>
                  <a:pt x="7499199" y="1536598"/>
                </a:lnTo>
                <a:close/>
                <a:moveTo>
                  <a:pt x="7419824" y="1479448"/>
                </a:moveTo>
                <a:lnTo>
                  <a:pt x="7478562" y="1479448"/>
                </a:lnTo>
                <a:lnTo>
                  <a:pt x="7478562" y="1536598"/>
                </a:lnTo>
                <a:lnTo>
                  <a:pt x="7419824" y="1536598"/>
                </a:lnTo>
                <a:close/>
                <a:moveTo>
                  <a:pt x="7342036" y="1479448"/>
                </a:moveTo>
                <a:lnTo>
                  <a:pt x="7400774" y="1479448"/>
                </a:lnTo>
                <a:lnTo>
                  <a:pt x="7400774" y="1536598"/>
                </a:lnTo>
                <a:lnTo>
                  <a:pt x="7342036" y="1536598"/>
                </a:lnTo>
                <a:close/>
                <a:moveTo>
                  <a:pt x="7262661" y="1479448"/>
                </a:moveTo>
                <a:lnTo>
                  <a:pt x="7321399" y="1479448"/>
                </a:lnTo>
                <a:lnTo>
                  <a:pt x="7321399" y="1536598"/>
                </a:lnTo>
                <a:lnTo>
                  <a:pt x="7262661" y="1536598"/>
                </a:lnTo>
                <a:close/>
                <a:moveTo>
                  <a:pt x="7183286" y="1479448"/>
                </a:moveTo>
                <a:lnTo>
                  <a:pt x="7242024" y="1479448"/>
                </a:lnTo>
                <a:lnTo>
                  <a:pt x="7242024" y="1536598"/>
                </a:lnTo>
                <a:lnTo>
                  <a:pt x="7183286" y="1536598"/>
                </a:lnTo>
                <a:close/>
                <a:moveTo>
                  <a:pt x="7105499" y="1479448"/>
                </a:moveTo>
                <a:lnTo>
                  <a:pt x="7162649" y="1479448"/>
                </a:lnTo>
                <a:lnTo>
                  <a:pt x="7162649" y="1536598"/>
                </a:lnTo>
                <a:lnTo>
                  <a:pt x="7105499" y="1536598"/>
                </a:lnTo>
                <a:close/>
                <a:moveTo>
                  <a:pt x="7026124" y="1479448"/>
                </a:moveTo>
                <a:lnTo>
                  <a:pt x="7084862" y="1479448"/>
                </a:lnTo>
                <a:lnTo>
                  <a:pt x="7084862" y="1536598"/>
                </a:lnTo>
                <a:lnTo>
                  <a:pt x="7026124" y="1536598"/>
                </a:lnTo>
                <a:close/>
                <a:moveTo>
                  <a:pt x="6946749" y="1479448"/>
                </a:moveTo>
                <a:lnTo>
                  <a:pt x="7005487" y="1479448"/>
                </a:lnTo>
                <a:lnTo>
                  <a:pt x="7005487" y="1536598"/>
                </a:lnTo>
                <a:lnTo>
                  <a:pt x="6946749" y="1536598"/>
                </a:lnTo>
                <a:close/>
                <a:moveTo>
                  <a:pt x="6867374" y="1479448"/>
                </a:moveTo>
                <a:lnTo>
                  <a:pt x="6926112" y="1479448"/>
                </a:lnTo>
                <a:lnTo>
                  <a:pt x="6926112" y="1536598"/>
                </a:lnTo>
                <a:lnTo>
                  <a:pt x="6867374" y="1536598"/>
                </a:lnTo>
                <a:close/>
                <a:moveTo>
                  <a:pt x="6789586" y="1479448"/>
                </a:moveTo>
                <a:lnTo>
                  <a:pt x="6846736" y="1479448"/>
                </a:lnTo>
                <a:lnTo>
                  <a:pt x="6846736" y="1536598"/>
                </a:lnTo>
                <a:lnTo>
                  <a:pt x="6789586" y="1536598"/>
                </a:lnTo>
                <a:close/>
                <a:moveTo>
                  <a:pt x="6710211" y="1479448"/>
                </a:moveTo>
                <a:lnTo>
                  <a:pt x="6768949" y="1479448"/>
                </a:lnTo>
                <a:lnTo>
                  <a:pt x="6768949" y="1536598"/>
                </a:lnTo>
                <a:lnTo>
                  <a:pt x="6710211" y="1536598"/>
                </a:lnTo>
                <a:close/>
                <a:moveTo>
                  <a:pt x="6630836" y="1479448"/>
                </a:moveTo>
                <a:lnTo>
                  <a:pt x="6689574" y="1479448"/>
                </a:lnTo>
                <a:lnTo>
                  <a:pt x="6689574" y="1536598"/>
                </a:lnTo>
                <a:lnTo>
                  <a:pt x="6630836" y="1536598"/>
                </a:lnTo>
                <a:close/>
                <a:moveTo>
                  <a:pt x="6551461" y="1479448"/>
                </a:moveTo>
                <a:lnTo>
                  <a:pt x="6610199" y="1479448"/>
                </a:lnTo>
                <a:lnTo>
                  <a:pt x="6610199" y="1536598"/>
                </a:lnTo>
                <a:lnTo>
                  <a:pt x="6551461" y="1536598"/>
                </a:lnTo>
                <a:close/>
                <a:moveTo>
                  <a:pt x="6473674" y="1479448"/>
                </a:moveTo>
                <a:lnTo>
                  <a:pt x="6530824" y="1479448"/>
                </a:lnTo>
                <a:lnTo>
                  <a:pt x="6530824" y="1536598"/>
                </a:lnTo>
                <a:lnTo>
                  <a:pt x="6473674" y="1536598"/>
                </a:lnTo>
                <a:close/>
                <a:moveTo>
                  <a:pt x="6394299" y="1479448"/>
                </a:moveTo>
                <a:lnTo>
                  <a:pt x="6453037" y="1479448"/>
                </a:lnTo>
                <a:lnTo>
                  <a:pt x="6453037" y="1536598"/>
                </a:lnTo>
                <a:lnTo>
                  <a:pt x="6394299" y="1536598"/>
                </a:lnTo>
                <a:close/>
                <a:moveTo>
                  <a:pt x="6314924" y="1479448"/>
                </a:moveTo>
                <a:lnTo>
                  <a:pt x="6373662" y="1479448"/>
                </a:lnTo>
                <a:lnTo>
                  <a:pt x="6373662" y="1536598"/>
                </a:lnTo>
                <a:lnTo>
                  <a:pt x="6314924" y="1536598"/>
                </a:lnTo>
                <a:close/>
                <a:moveTo>
                  <a:pt x="6235549" y="1479448"/>
                </a:moveTo>
                <a:lnTo>
                  <a:pt x="6294287" y="1479448"/>
                </a:lnTo>
                <a:lnTo>
                  <a:pt x="6294287" y="1536598"/>
                </a:lnTo>
                <a:lnTo>
                  <a:pt x="6235549" y="1536598"/>
                </a:lnTo>
                <a:close/>
                <a:moveTo>
                  <a:pt x="6157761" y="1479448"/>
                </a:moveTo>
                <a:lnTo>
                  <a:pt x="6214911" y="1479448"/>
                </a:lnTo>
                <a:lnTo>
                  <a:pt x="6214911" y="1536598"/>
                </a:lnTo>
                <a:lnTo>
                  <a:pt x="6157761" y="1536598"/>
                </a:lnTo>
                <a:close/>
                <a:moveTo>
                  <a:pt x="6078386" y="1479448"/>
                </a:moveTo>
                <a:lnTo>
                  <a:pt x="6137124" y="1479448"/>
                </a:lnTo>
                <a:lnTo>
                  <a:pt x="6137124" y="1536598"/>
                </a:lnTo>
                <a:lnTo>
                  <a:pt x="6078386" y="1536598"/>
                </a:lnTo>
                <a:close/>
                <a:moveTo>
                  <a:pt x="5999011" y="1479448"/>
                </a:moveTo>
                <a:lnTo>
                  <a:pt x="6057749" y="1479448"/>
                </a:lnTo>
                <a:lnTo>
                  <a:pt x="6057749" y="1536598"/>
                </a:lnTo>
                <a:lnTo>
                  <a:pt x="5999011" y="1536598"/>
                </a:lnTo>
                <a:close/>
                <a:moveTo>
                  <a:pt x="5921224" y="1479448"/>
                </a:moveTo>
                <a:lnTo>
                  <a:pt x="5978374" y="1479448"/>
                </a:lnTo>
                <a:lnTo>
                  <a:pt x="5978374" y="1536598"/>
                </a:lnTo>
                <a:lnTo>
                  <a:pt x="5921224" y="1536598"/>
                </a:lnTo>
                <a:close/>
                <a:moveTo>
                  <a:pt x="5841849" y="1479448"/>
                </a:moveTo>
                <a:lnTo>
                  <a:pt x="5900587" y="1479448"/>
                </a:lnTo>
                <a:lnTo>
                  <a:pt x="5900587" y="1536598"/>
                </a:lnTo>
                <a:lnTo>
                  <a:pt x="5841849" y="1536598"/>
                </a:lnTo>
                <a:close/>
                <a:moveTo>
                  <a:pt x="5762474" y="1479448"/>
                </a:moveTo>
                <a:lnTo>
                  <a:pt x="5821212" y="1479448"/>
                </a:lnTo>
                <a:lnTo>
                  <a:pt x="5821212" y="1536598"/>
                </a:lnTo>
                <a:lnTo>
                  <a:pt x="5762474" y="1536598"/>
                </a:lnTo>
                <a:close/>
                <a:moveTo>
                  <a:pt x="5684686" y="1479448"/>
                </a:moveTo>
                <a:lnTo>
                  <a:pt x="5741836" y="1479448"/>
                </a:lnTo>
                <a:lnTo>
                  <a:pt x="5741836" y="1536598"/>
                </a:lnTo>
                <a:lnTo>
                  <a:pt x="5684686" y="1536598"/>
                </a:lnTo>
                <a:close/>
                <a:moveTo>
                  <a:pt x="5605311" y="1479448"/>
                </a:moveTo>
                <a:lnTo>
                  <a:pt x="5664049" y="1479448"/>
                </a:lnTo>
                <a:lnTo>
                  <a:pt x="5664049" y="1536598"/>
                </a:lnTo>
                <a:lnTo>
                  <a:pt x="5605311" y="1536598"/>
                </a:lnTo>
                <a:close/>
                <a:moveTo>
                  <a:pt x="5525936" y="1479448"/>
                </a:moveTo>
                <a:lnTo>
                  <a:pt x="5584674" y="1479448"/>
                </a:lnTo>
                <a:lnTo>
                  <a:pt x="5584674" y="1536598"/>
                </a:lnTo>
                <a:lnTo>
                  <a:pt x="5525936" y="1536598"/>
                </a:lnTo>
                <a:close/>
                <a:moveTo>
                  <a:pt x="5446561" y="1479448"/>
                </a:moveTo>
                <a:lnTo>
                  <a:pt x="5505299" y="1479448"/>
                </a:lnTo>
                <a:lnTo>
                  <a:pt x="5505299" y="1536598"/>
                </a:lnTo>
                <a:lnTo>
                  <a:pt x="5446561" y="1536598"/>
                </a:lnTo>
                <a:close/>
                <a:moveTo>
                  <a:pt x="5368774" y="1479448"/>
                </a:moveTo>
                <a:lnTo>
                  <a:pt x="5425924" y="1479448"/>
                </a:lnTo>
                <a:lnTo>
                  <a:pt x="5425924" y="1536598"/>
                </a:lnTo>
                <a:lnTo>
                  <a:pt x="5368774" y="1536598"/>
                </a:lnTo>
                <a:close/>
                <a:moveTo>
                  <a:pt x="5289399" y="1479448"/>
                </a:moveTo>
                <a:lnTo>
                  <a:pt x="5348137" y="1479448"/>
                </a:lnTo>
                <a:lnTo>
                  <a:pt x="5348137" y="1536598"/>
                </a:lnTo>
                <a:lnTo>
                  <a:pt x="5289399" y="1536598"/>
                </a:lnTo>
                <a:close/>
                <a:moveTo>
                  <a:pt x="5210024" y="1479448"/>
                </a:moveTo>
                <a:lnTo>
                  <a:pt x="5268762" y="1479448"/>
                </a:lnTo>
                <a:lnTo>
                  <a:pt x="5268762" y="1536598"/>
                </a:lnTo>
                <a:lnTo>
                  <a:pt x="5210024" y="1536598"/>
                </a:lnTo>
                <a:close/>
                <a:moveTo>
                  <a:pt x="5130649" y="1479448"/>
                </a:moveTo>
                <a:lnTo>
                  <a:pt x="5189387" y="1479448"/>
                </a:lnTo>
                <a:lnTo>
                  <a:pt x="5189387" y="1536598"/>
                </a:lnTo>
                <a:lnTo>
                  <a:pt x="5130649" y="1536598"/>
                </a:lnTo>
                <a:close/>
                <a:moveTo>
                  <a:pt x="5052861" y="1479448"/>
                </a:moveTo>
                <a:lnTo>
                  <a:pt x="5110011" y="1479448"/>
                </a:lnTo>
                <a:lnTo>
                  <a:pt x="5110011" y="1536598"/>
                </a:lnTo>
                <a:lnTo>
                  <a:pt x="5052861" y="1536598"/>
                </a:lnTo>
                <a:close/>
                <a:moveTo>
                  <a:pt x="4973486" y="1479448"/>
                </a:moveTo>
                <a:lnTo>
                  <a:pt x="5030636" y="1479448"/>
                </a:lnTo>
                <a:lnTo>
                  <a:pt x="5030636" y="1536598"/>
                </a:lnTo>
                <a:lnTo>
                  <a:pt x="4973486" y="1536598"/>
                </a:lnTo>
                <a:close/>
                <a:moveTo>
                  <a:pt x="4894111" y="1479447"/>
                </a:moveTo>
                <a:lnTo>
                  <a:pt x="4952849" y="1479447"/>
                </a:lnTo>
                <a:lnTo>
                  <a:pt x="4952849" y="1536597"/>
                </a:lnTo>
                <a:lnTo>
                  <a:pt x="4894111" y="1536597"/>
                </a:lnTo>
                <a:close/>
                <a:moveTo>
                  <a:pt x="4814736" y="1479447"/>
                </a:moveTo>
                <a:lnTo>
                  <a:pt x="4873474" y="1479447"/>
                </a:lnTo>
                <a:lnTo>
                  <a:pt x="4873474" y="1536597"/>
                </a:lnTo>
                <a:lnTo>
                  <a:pt x="4814736" y="1536597"/>
                </a:lnTo>
                <a:close/>
                <a:moveTo>
                  <a:pt x="4736948" y="1479447"/>
                </a:moveTo>
                <a:lnTo>
                  <a:pt x="4794098" y="1479447"/>
                </a:lnTo>
                <a:lnTo>
                  <a:pt x="4794098" y="1536597"/>
                </a:lnTo>
                <a:lnTo>
                  <a:pt x="4736948" y="1536597"/>
                </a:lnTo>
                <a:close/>
                <a:moveTo>
                  <a:pt x="4657573" y="1479447"/>
                </a:moveTo>
                <a:lnTo>
                  <a:pt x="4716311" y="1479447"/>
                </a:lnTo>
                <a:lnTo>
                  <a:pt x="4716311" y="1536597"/>
                </a:lnTo>
                <a:lnTo>
                  <a:pt x="4657573" y="1536597"/>
                </a:lnTo>
                <a:close/>
                <a:moveTo>
                  <a:pt x="4578198" y="1479447"/>
                </a:moveTo>
                <a:lnTo>
                  <a:pt x="4636936" y="1479447"/>
                </a:lnTo>
                <a:lnTo>
                  <a:pt x="4636936" y="1536597"/>
                </a:lnTo>
                <a:lnTo>
                  <a:pt x="4578198" y="1536597"/>
                </a:lnTo>
                <a:close/>
                <a:moveTo>
                  <a:pt x="4498823" y="1479447"/>
                </a:moveTo>
                <a:lnTo>
                  <a:pt x="4557561" y="1479447"/>
                </a:lnTo>
                <a:lnTo>
                  <a:pt x="4557561" y="1536597"/>
                </a:lnTo>
                <a:lnTo>
                  <a:pt x="4498823" y="1536597"/>
                </a:lnTo>
                <a:close/>
                <a:moveTo>
                  <a:pt x="4421036" y="1479447"/>
                </a:moveTo>
                <a:lnTo>
                  <a:pt x="4479774" y="1479447"/>
                </a:lnTo>
                <a:lnTo>
                  <a:pt x="4479774" y="1536597"/>
                </a:lnTo>
                <a:lnTo>
                  <a:pt x="4421036" y="1536597"/>
                </a:lnTo>
                <a:close/>
                <a:moveTo>
                  <a:pt x="4341661" y="1479447"/>
                </a:moveTo>
                <a:lnTo>
                  <a:pt x="4400399" y="1479447"/>
                </a:lnTo>
                <a:lnTo>
                  <a:pt x="4400399" y="1536597"/>
                </a:lnTo>
                <a:lnTo>
                  <a:pt x="4341661" y="1536597"/>
                </a:lnTo>
                <a:close/>
                <a:moveTo>
                  <a:pt x="4262286" y="1479447"/>
                </a:moveTo>
                <a:lnTo>
                  <a:pt x="4321024" y="1479447"/>
                </a:lnTo>
                <a:lnTo>
                  <a:pt x="4321024" y="1536597"/>
                </a:lnTo>
                <a:lnTo>
                  <a:pt x="4262286" y="1536597"/>
                </a:lnTo>
                <a:close/>
                <a:moveTo>
                  <a:pt x="4184498" y="1479447"/>
                </a:moveTo>
                <a:lnTo>
                  <a:pt x="4241648" y="1479447"/>
                </a:lnTo>
                <a:lnTo>
                  <a:pt x="4241648" y="1536597"/>
                </a:lnTo>
                <a:lnTo>
                  <a:pt x="4184498" y="1536597"/>
                </a:lnTo>
                <a:close/>
                <a:moveTo>
                  <a:pt x="2920848" y="1479447"/>
                </a:moveTo>
                <a:lnTo>
                  <a:pt x="2979586" y="1479447"/>
                </a:lnTo>
                <a:lnTo>
                  <a:pt x="2979586" y="1536597"/>
                </a:lnTo>
                <a:lnTo>
                  <a:pt x="2920848" y="1536597"/>
                </a:lnTo>
                <a:close/>
                <a:moveTo>
                  <a:pt x="2841473" y="1479447"/>
                </a:moveTo>
                <a:lnTo>
                  <a:pt x="2900211" y="1479447"/>
                </a:lnTo>
                <a:lnTo>
                  <a:pt x="2900211" y="1536597"/>
                </a:lnTo>
                <a:lnTo>
                  <a:pt x="2841473" y="1536597"/>
                </a:lnTo>
                <a:close/>
                <a:moveTo>
                  <a:pt x="2763686" y="1479447"/>
                </a:moveTo>
                <a:lnTo>
                  <a:pt x="2820836" y="1479447"/>
                </a:lnTo>
                <a:lnTo>
                  <a:pt x="2820836" y="1536597"/>
                </a:lnTo>
                <a:lnTo>
                  <a:pt x="2763686" y="1536597"/>
                </a:lnTo>
                <a:close/>
                <a:moveTo>
                  <a:pt x="2684311" y="1479447"/>
                </a:moveTo>
                <a:lnTo>
                  <a:pt x="2743049" y="1479447"/>
                </a:lnTo>
                <a:lnTo>
                  <a:pt x="2743049" y="1536597"/>
                </a:lnTo>
                <a:lnTo>
                  <a:pt x="2684311" y="1536597"/>
                </a:lnTo>
                <a:close/>
                <a:moveTo>
                  <a:pt x="2604936" y="1479447"/>
                </a:moveTo>
                <a:lnTo>
                  <a:pt x="2663674" y="1479447"/>
                </a:lnTo>
                <a:lnTo>
                  <a:pt x="2663674" y="1536597"/>
                </a:lnTo>
                <a:lnTo>
                  <a:pt x="2604936" y="1536597"/>
                </a:lnTo>
                <a:close/>
                <a:moveTo>
                  <a:pt x="2525701" y="1479447"/>
                </a:moveTo>
                <a:lnTo>
                  <a:pt x="2584437" y="1479447"/>
                </a:lnTo>
                <a:lnTo>
                  <a:pt x="2584437" y="1536597"/>
                </a:lnTo>
                <a:lnTo>
                  <a:pt x="2525701" y="1536597"/>
                </a:lnTo>
                <a:close/>
                <a:moveTo>
                  <a:pt x="2447907" y="1479447"/>
                </a:moveTo>
                <a:lnTo>
                  <a:pt x="2505066" y="1479447"/>
                </a:lnTo>
                <a:lnTo>
                  <a:pt x="2505066" y="1536597"/>
                </a:lnTo>
                <a:lnTo>
                  <a:pt x="2447907" y="1536597"/>
                </a:lnTo>
                <a:close/>
                <a:moveTo>
                  <a:pt x="2368540" y="1479447"/>
                </a:moveTo>
                <a:lnTo>
                  <a:pt x="2427273" y="1479447"/>
                </a:lnTo>
                <a:lnTo>
                  <a:pt x="2427273" y="1536597"/>
                </a:lnTo>
                <a:lnTo>
                  <a:pt x="2368540" y="1536597"/>
                </a:lnTo>
                <a:close/>
                <a:moveTo>
                  <a:pt x="2289165" y="1479447"/>
                </a:moveTo>
                <a:lnTo>
                  <a:pt x="2347903" y="1479447"/>
                </a:lnTo>
                <a:lnTo>
                  <a:pt x="2347903" y="1536597"/>
                </a:lnTo>
                <a:lnTo>
                  <a:pt x="2289165" y="1536597"/>
                </a:lnTo>
                <a:close/>
                <a:moveTo>
                  <a:pt x="2209783" y="1479447"/>
                </a:moveTo>
                <a:lnTo>
                  <a:pt x="2268524" y="1479447"/>
                </a:lnTo>
                <a:lnTo>
                  <a:pt x="2268524" y="1536597"/>
                </a:lnTo>
                <a:lnTo>
                  <a:pt x="2209783" y="1536597"/>
                </a:lnTo>
                <a:close/>
                <a:moveTo>
                  <a:pt x="2131998" y="1479447"/>
                </a:moveTo>
                <a:lnTo>
                  <a:pt x="2189151" y="1479447"/>
                </a:lnTo>
                <a:lnTo>
                  <a:pt x="2189151" y="1536597"/>
                </a:lnTo>
                <a:lnTo>
                  <a:pt x="2131998" y="1536597"/>
                </a:lnTo>
                <a:close/>
                <a:moveTo>
                  <a:pt x="1973239" y="1479447"/>
                </a:moveTo>
                <a:lnTo>
                  <a:pt x="2031985" y="1479447"/>
                </a:lnTo>
                <a:lnTo>
                  <a:pt x="2031985" y="1536597"/>
                </a:lnTo>
                <a:lnTo>
                  <a:pt x="1973239" y="1536597"/>
                </a:lnTo>
                <a:close/>
                <a:moveTo>
                  <a:pt x="1893861" y="1479447"/>
                </a:moveTo>
                <a:lnTo>
                  <a:pt x="1952594" y="1479447"/>
                </a:lnTo>
                <a:lnTo>
                  <a:pt x="1952594" y="1536597"/>
                </a:lnTo>
                <a:lnTo>
                  <a:pt x="1893861" y="1536597"/>
                </a:lnTo>
                <a:close/>
                <a:moveTo>
                  <a:pt x="1816095" y="1479447"/>
                </a:moveTo>
                <a:lnTo>
                  <a:pt x="1873231" y="1479447"/>
                </a:lnTo>
                <a:lnTo>
                  <a:pt x="1873231" y="1536597"/>
                </a:lnTo>
                <a:lnTo>
                  <a:pt x="1816095" y="1536597"/>
                </a:lnTo>
                <a:close/>
                <a:moveTo>
                  <a:pt x="1736723" y="1479447"/>
                </a:moveTo>
                <a:lnTo>
                  <a:pt x="1795467" y="1479447"/>
                </a:lnTo>
                <a:lnTo>
                  <a:pt x="1795467" y="1536597"/>
                </a:lnTo>
                <a:lnTo>
                  <a:pt x="1736723" y="1536597"/>
                </a:lnTo>
                <a:close/>
                <a:moveTo>
                  <a:pt x="1657340" y="1479447"/>
                </a:moveTo>
                <a:lnTo>
                  <a:pt x="1716080" y="1479447"/>
                </a:lnTo>
                <a:lnTo>
                  <a:pt x="1716080" y="1536597"/>
                </a:lnTo>
                <a:lnTo>
                  <a:pt x="1657340" y="1536597"/>
                </a:lnTo>
                <a:close/>
                <a:moveTo>
                  <a:pt x="1577953" y="1479447"/>
                </a:moveTo>
                <a:lnTo>
                  <a:pt x="1636706" y="1479447"/>
                </a:lnTo>
                <a:lnTo>
                  <a:pt x="1636706" y="1536597"/>
                </a:lnTo>
                <a:lnTo>
                  <a:pt x="1577953" y="1536597"/>
                </a:lnTo>
                <a:close/>
                <a:moveTo>
                  <a:pt x="1500165" y="1479447"/>
                </a:moveTo>
                <a:lnTo>
                  <a:pt x="1558906" y="1479447"/>
                </a:lnTo>
                <a:lnTo>
                  <a:pt x="1558906" y="1536597"/>
                </a:lnTo>
                <a:lnTo>
                  <a:pt x="1500165" y="1536597"/>
                </a:lnTo>
                <a:close/>
                <a:moveTo>
                  <a:pt x="1420786" y="1479447"/>
                </a:moveTo>
                <a:lnTo>
                  <a:pt x="1479523" y="1479447"/>
                </a:lnTo>
                <a:lnTo>
                  <a:pt x="1479523" y="1536597"/>
                </a:lnTo>
                <a:lnTo>
                  <a:pt x="1420786" y="1536597"/>
                </a:lnTo>
                <a:close/>
                <a:moveTo>
                  <a:pt x="1341444" y="1479447"/>
                </a:moveTo>
                <a:lnTo>
                  <a:pt x="1400162" y="1479447"/>
                </a:lnTo>
                <a:lnTo>
                  <a:pt x="1400162" y="1536597"/>
                </a:lnTo>
                <a:lnTo>
                  <a:pt x="1341444" y="1536597"/>
                </a:lnTo>
                <a:close/>
                <a:moveTo>
                  <a:pt x="1263630" y="1479447"/>
                </a:moveTo>
                <a:lnTo>
                  <a:pt x="1320794" y="1479447"/>
                </a:lnTo>
                <a:lnTo>
                  <a:pt x="1320794" y="1536597"/>
                </a:lnTo>
                <a:lnTo>
                  <a:pt x="1263630" y="1536597"/>
                </a:lnTo>
                <a:close/>
                <a:moveTo>
                  <a:pt x="8131024" y="1401660"/>
                </a:moveTo>
                <a:lnTo>
                  <a:pt x="8189762" y="1401660"/>
                </a:lnTo>
                <a:lnTo>
                  <a:pt x="8189762" y="1458810"/>
                </a:lnTo>
                <a:lnTo>
                  <a:pt x="8131024" y="1458810"/>
                </a:lnTo>
                <a:close/>
                <a:moveTo>
                  <a:pt x="7815111" y="1401660"/>
                </a:moveTo>
                <a:lnTo>
                  <a:pt x="7873849" y="1401660"/>
                </a:lnTo>
                <a:lnTo>
                  <a:pt x="7873849" y="1458810"/>
                </a:lnTo>
                <a:lnTo>
                  <a:pt x="7815111" y="1458810"/>
                </a:lnTo>
                <a:close/>
                <a:moveTo>
                  <a:pt x="7735736" y="1401660"/>
                </a:moveTo>
                <a:lnTo>
                  <a:pt x="7794474" y="1401660"/>
                </a:lnTo>
                <a:lnTo>
                  <a:pt x="7794474" y="1458810"/>
                </a:lnTo>
                <a:lnTo>
                  <a:pt x="7735736" y="1458810"/>
                </a:lnTo>
                <a:close/>
                <a:moveTo>
                  <a:pt x="7657949" y="1401660"/>
                </a:moveTo>
                <a:lnTo>
                  <a:pt x="7715099" y="1401660"/>
                </a:lnTo>
                <a:lnTo>
                  <a:pt x="7715099" y="1458810"/>
                </a:lnTo>
                <a:lnTo>
                  <a:pt x="7657949" y="1458810"/>
                </a:lnTo>
                <a:close/>
                <a:moveTo>
                  <a:pt x="7578574" y="1401660"/>
                </a:moveTo>
                <a:lnTo>
                  <a:pt x="7637312" y="1401660"/>
                </a:lnTo>
                <a:lnTo>
                  <a:pt x="7637312" y="1458810"/>
                </a:lnTo>
                <a:lnTo>
                  <a:pt x="7578574" y="1458810"/>
                </a:lnTo>
                <a:close/>
                <a:moveTo>
                  <a:pt x="7499199" y="1401660"/>
                </a:moveTo>
                <a:lnTo>
                  <a:pt x="7557937" y="1401660"/>
                </a:lnTo>
                <a:lnTo>
                  <a:pt x="7557937" y="1458810"/>
                </a:lnTo>
                <a:lnTo>
                  <a:pt x="7499199" y="1458810"/>
                </a:lnTo>
                <a:close/>
                <a:moveTo>
                  <a:pt x="7419824" y="1401660"/>
                </a:moveTo>
                <a:lnTo>
                  <a:pt x="7478562" y="1401660"/>
                </a:lnTo>
                <a:lnTo>
                  <a:pt x="7478562" y="1458810"/>
                </a:lnTo>
                <a:lnTo>
                  <a:pt x="7419824" y="1458810"/>
                </a:lnTo>
                <a:close/>
                <a:moveTo>
                  <a:pt x="7342036" y="1401660"/>
                </a:moveTo>
                <a:lnTo>
                  <a:pt x="7400774" y="1401660"/>
                </a:lnTo>
                <a:lnTo>
                  <a:pt x="7400774" y="1458810"/>
                </a:lnTo>
                <a:lnTo>
                  <a:pt x="7342036" y="1458810"/>
                </a:lnTo>
                <a:close/>
                <a:moveTo>
                  <a:pt x="7262661" y="1401660"/>
                </a:moveTo>
                <a:lnTo>
                  <a:pt x="7321399" y="1401660"/>
                </a:lnTo>
                <a:lnTo>
                  <a:pt x="7321399" y="1458810"/>
                </a:lnTo>
                <a:lnTo>
                  <a:pt x="7262661" y="1458810"/>
                </a:lnTo>
                <a:close/>
                <a:moveTo>
                  <a:pt x="7183286" y="1401660"/>
                </a:moveTo>
                <a:lnTo>
                  <a:pt x="7242024" y="1401660"/>
                </a:lnTo>
                <a:lnTo>
                  <a:pt x="7242024" y="1458810"/>
                </a:lnTo>
                <a:lnTo>
                  <a:pt x="7183286" y="1458810"/>
                </a:lnTo>
                <a:close/>
                <a:moveTo>
                  <a:pt x="7105499" y="1401660"/>
                </a:moveTo>
                <a:lnTo>
                  <a:pt x="7162649" y="1401660"/>
                </a:lnTo>
                <a:lnTo>
                  <a:pt x="7162649" y="1458810"/>
                </a:lnTo>
                <a:lnTo>
                  <a:pt x="7105499" y="1458810"/>
                </a:lnTo>
                <a:close/>
                <a:moveTo>
                  <a:pt x="7026124" y="1401660"/>
                </a:moveTo>
                <a:lnTo>
                  <a:pt x="7084862" y="1401660"/>
                </a:lnTo>
                <a:lnTo>
                  <a:pt x="7084862" y="1458810"/>
                </a:lnTo>
                <a:lnTo>
                  <a:pt x="7026124" y="1458810"/>
                </a:lnTo>
                <a:close/>
                <a:moveTo>
                  <a:pt x="6946749" y="1401660"/>
                </a:moveTo>
                <a:lnTo>
                  <a:pt x="7005487" y="1401660"/>
                </a:lnTo>
                <a:lnTo>
                  <a:pt x="7005487" y="1458810"/>
                </a:lnTo>
                <a:lnTo>
                  <a:pt x="6946749" y="1458810"/>
                </a:lnTo>
                <a:close/>
                <a:moveTo>
                  <a:pt x="6867374" y="1401660"/>
                </a:moveTo>
                <a:lnTo>
                  <a:pt x="6926112" y="1401660"/>
                </a:lnTo>
                <a:lnTo>
                  <a:pt x="6926112" y="1458810"/>
                </a:lnTo>
                <a:lnTo>
                  <a:pt x="6867374" y="1458810"/>
                </a:lnTo>
                <a:close/>
                <a:moveTo>
                  <a:pt x="6789586" y="1401660"/>
                </a:moveTo>
                <a:lnTo>
                  <a:pt x="6846736" y="1401660"/>
                </a:lnTo>
                <a:lnTo>
                  <a:pt x="6846736" y="1458810"/>
                </a:lnTo>
                <a:lnTo>
                  <a:pt x="6789586" y="1458810"/>
                </a:lnTo>
                <a:close/>
                <a:moveTo>
                  <a:pt x="6710211" y="1401660"/>
                </a:moveTo>
                <a:lnTo>
                  <a:pt x="6768949" y="1401660"/>
                </a:lnTo>
                <a:lnTo>
                  <a:pt x="6768949" y="1458810"/>
                </a:lnTo>
                <a:lnTo>
                  <a:pt x="6710211" y="1458810"/>
                </a:lnTo>
                <a:close/>
                <a:moveTo>
                  <a:pt x="6630836" y="1401660"/>
                </a:moveTo>
                <a:lnTo>
                  <a:pt x="6689574" y="1401660"/>
                </a:lnTo>
                <a:lnTo>
                  <a:pt x="6689574" y="1458810"/>
                </a:lnTo>
                <a:lnTo>
                  <a:pt x="6630836" y="1458810"/>
                </a:lnTo>
                <a:close/>
                <a:moveTo>
                  <a:pt x="6551461" y="1401660"/>
                </a:moveTo>
                <a:lnTo>
                  <a:pt x="6610199" y="1401660"/>
                </a:lnTo>
                <a:lnTo>
                  <a:pt x="6610199" y="1458810"/>
                </a:lnTo>
                <a:lnTo>
                  <a:pt x="6551461" y="1458810"/>
                </a:lnTo>
                <a:close/>
                <a:moveTo>
                  <a:pt x="6473674" y="1401660"/>
                </a:moveTo>
                <a:lnTo>
                  <a:pt x="6530824" y="1401660"/>
                </a:lnTo>
                <a:lnTo>
                  <a:pt x="6530824" y="1458810"/>
                </a:lnTo>
                <a:lnTo>
                  <a:pt x="6473674" y="1458810"/>
                </a:lnTo>
                <a:close/>
                <a:moveTo>
                  <a:pt x="6394299" y="1401660"/>
                </a:moveTo>
                <a:lnTo>
                  <a:pt x="6453037" y="1401660"/>
                </a:lnTo>
                <a:lnTo>
                  <a:pt x="6453037" y="1458810"/>
                </a:lnTo>
                <a:lnTo>
                  <a:pt x="6394299" y="1458810"/>
                </a:lnTo>
                <a:close/>
                <a:moveTo>
                  <a:pt x="6314924" y="1401660"/>
                </a:moveTo>
                <a:lnTo>
                  <a:pt x="6373662" y="1401660"/>
                </a:lnTo>
                <a:lnTo>
                  <a:pt x="6373662" y="1458810"/>
                </a:lnTo>
                <a:lnTo>
                  <a:pt x="6314924" y="1458810"/>
                </a:lnTo>
                <a:close/>
                <a:moveTo>
                  <a:pt x="6235549" y="1401660"/>
                </a:moveTo>
                <a:lnTo>
                  <a:pt x="6294287" y="1401660"/>
                </a:lnTo>
                <a:lnTo>
                  <a:pt x="6294287" y="1458810"/>
                </a:lnTo>
                <a:lnTo>
                  <a:pt x="6235549" y="1458810"/>
                </a:lnTo>
                <a:close/>
                <a:moveTo>
                  <a:pt x="6157761" y="1401660"/>
                </a:moveTo>
                <a:lnTo>
                  <a:pt x="6214911" y="1401660"/>
                </a:lnTo>
                <a:lnTo>
                  <a:pt x="6214911" y="1458810"/>
                </a:lnTo>
                <a:lnTo>
                  <a:pt x="6157761" y="1458810"/>
                </a:lnTo>
                <a:close/>
                <a:moveTo>
                  <a:pt x="6078386" y="1401660"/>
                </a:moveTo>
                <a:lnTo>
                  <a:pt x="6137124" y="1401660"/>
                </a:lnTo>
                <a:lnTo>
                  <a:pt x="6137124" y="1458810"/>
                </a:lnTo>
                <a:lnTo>
                  <a:pt x="6078386" y="1458810"/>
                </a:lnTo>
                <a:close/>
                <a:moveTo>
                  <a:pt x="5999011" y="1401660"/>
                </a:moveTo>
                <a:lnTo>
                  <a:pt x="6057749" y="1401660"/>
                </a:lnTo>
                <a:lnTo>
                  <a:pt x="6057749" y="1458810"/>
                </a:lnTo>
                <a:lnTo>
                  <a:pt x="5999011" y="1458810"/>
                </a:lnTo>
                <a:close/>
                <a:moveTo>
                  <a:pt x="5921224" y="1401660"/>
                </a:moveTo>
                <a:lnTo>
                  <a:pt x="5978374" y="1401660"/>
                </a:lnTo>
                <a:lnTo>
                  <a:pt x="5978374" y="1458810"/>
                </a:lnTo>
                <a:lnTo>
                  <a:pt x="5921224" y="1458810"/>
                </a:lnTo>
                <a:close/>
                <a:moveTo>
                  <a:pt x="5841849" y="1401660"/>
                </a:moveTo>
                <a:lnTo>
                  <a:pt x="5900587" y="1401660"/>
                </a:lnTo>
                <a:lnTo>
                  <a:pt x="5900587" y="1458810"/>
                </a:lnTo>
                <a:lnTo>
                  <a:pt x="5841849" y="1458810"/>
                </a:lnTo>
                <a:close/>
                <a:moveTo>
                  <a:pt x="5762474" y="1401660"/>
                </a:moveTo>
                <a:lnTo>
                  <a:pt x="5821212" y="1401660"/>
                </a:lnTo>
                <a:lnTo>
                  <a:pt x="5821212" y="1458810"/>
                </a:lnTo>
                <a:lnTo>
                  <a:pt x="5762474" y="1458810"/>
                </a:lnTo>
                <a:close/>
                <a:moveTo>
                  <a:pt x="5684686" y="1401660"/>
                </a:moveTo>
                <a:lnTo>
                  <a:pt x="5741836" y="1401660"/>
                </a:lnTo>
                <a:lnTo>
                  <a:pt x="5741836" y="1458810"/>
                </a:lnTo>
                <a:lnTo>
                  <a:pt x="5684686" y="1458810"/>
                </a:lnTo>
                <a:close/>
                <a:moveTo>
                  <a:pt x="5605311" y="1401660"/>
                </a:moveTo>
                <a:lnTo>
                  <a:pt x="5664049" y="1401660"/>
                </a:lnTo>
                <a:lnTo>
                  <a:pt x="5664049" y="1458810"/>
                </a:lnTo>
                <a:lnTo>
                  <a:pt x="5605311" y="1458810"/>
                </a:lnTo>
                <a:close/>
                <a:moveTo>
                  <a:pt x="5525936" y="1401660"/>
                </a:moveTo>
                <a:lnTo>
                  <a:pt x="5584674" y="1401660"/>
                </a:lnTo>
                <a:lnTo>
                  <a:pt x="5584674" y="1458810"/>
                </a:lnTo>
                <a:lnTo>
                  <a:pt x="5525936" y="1458810"/>
                </a:lnTo>
                <a:close/>
                <a:moveTo>
                  <a:pt x="5446561" y="1401660"/>
                </a:moveTo>
                <a:lnTo>
                  <a:pt x="5505299" y="1401660"/>
                </a:lnTo>
                <a:lnTo>
                  <a:pt x="5505299" y="1458810"/>
                </a:lnTo>
                <a:lnTo>
                  <a:pt x="5446561" y="1458810"/>
                </a:lnTo>
                <a:close/>
                <a:moveTo>
                  <a:pt x="5368774" y="1401660"/>
                </a:moveTo>
                <a:lnTo>
                  <a:pt x="5425924" y="1401660"/>
                </a:lnTo>
                <a:lnTo>
                  <a:pt x="5425924" y="1458810"/>
                </a:lnTo>
                <a:lnTo>
                  <a:pt x="5368774" y="1458810"/>
                </a:lnTo>
                <a:close/>
                <a:moveTo>
                  <a:pt x="5289399" y="1401660"/>
                </a:moveTo>
                <a:lnTo>
                  <a:pt x="5348137" y="1401660"/>
                </a:lnTo>
                <a:lnTo>
                  <a:pt x="5348137" y="1458810"/>
                </a:lnTo>
                <a:lnTo>
                  <a:pt x="5289399" y="1458810"/>
                </a:lnTo>
                <a:close/>
                <a:moveTo>
                  <a:pt x="5210024" y="1401660"/>
                </a:moveTo>
                <a:lnTo>
                  <a:pt x="5268762" y="1401660"/>
                </a:lnTo>
                <a:lnTo>
                  <a:pt x="5268762" y="1458810"/>
                </a:lnTo>
                <a:lnTo>
                  <a:pt x="5210024" y="1458810"/>
                </a:lnTo>
                <a:close/>
                <a:moveTo>
                  <a:pt x="5130649" y="1401660"/>
                </a:moveTo>
                <a:lnTo>
                  <a:pt x="5189387" y="1401660"/>
                </a:lnTo>
                <a:lnTo>
                  <a:pt x="5189387" y="1458810"/>
                </a:lnTo>
                <a:lnTo>
                  <a:pt x="5130649" y="1458810"/>
                </a:lnTo>
                <a:close/>
                <a:moveTo>
                  <a:pt x="5052861" y="1401660"/>
                </a:moveTo>
                <a:lnTo>
                  <a:pt x="5110011" y="1401660"/>
                </a:lnTo>
                <a:lnTo>
                  <a:pt x="5110011" y="1458810"/>
                </a:lnTo>
                <a:lnTo>
                  <a:pt x="5052861" y="1458810"/>
                </a:lnTo>
                <a:close/>
                <a:moveTo>
                  <a:pt x="4973486" y="1401660"/>
                </a:moveTo>
                <a:lnTo>
                  <a:pt x="5030636" y="1401660"/>
                </a:lnTo>
                <a:lnTo>
                  <a:pt x="5030636" y="1458810"/>
                </a:lnTo>
                <a:lnTo>
                  <a:pt x="4973486" y="1458810"/>
                </a:lnTo>
                <a:close/>
                <a:moveTo>
                  <a:pt x="4894111" y="1401660"/>
                </a:moveTo>
                <a:lnTo>
                  <a:pt x="4952849" y="1401660"/>
                </a:lnTo>
                <a:lnTo>
                  <a:pt x="4952849" y="1458810"/>
                </a:lnTo>
                <a:lnTo>
                  <a:pt x="4894111" y="1458810"/>
                </a:lnTo>
                <a:close/>
                <a:moveTo>
                  <a:pt x="4814736" y="1401660"/>
                </a:moveTo>
                <a:lnTo>
                  <a:pt x="4873474" y="1401660"/>
                </a:lnTo>
                <a:lnTo>
                  <a:pt x="4873474" y="1458810"/>
                </a:lnTo>
                <a:lnTo>
                  <a:pt x="4814736" y="1458810"/>
                </a:lnTo>
                <a:close/>
                <a:moveTo>
                  <a:pt x="4736948" y="1401660"/>
                </a:moveTo>
                <a:lnTo>
                  <a:pt x="4794098" y="1401660"/>
                </a:lnTo>
                <a:lnTo>
                  <a:pt x="4794098" y="1458810"/>
                </a:lnTo>
                <a:lnTo>
                  <a:pt x="4736948" y="1458810"/>
                </a:lnTo>
                <a:close/>
                <a:moveTo>
                  <a:pt x="4657573" y="1401660"/>
                </a:moveTo>
                <a:lnTo>
                  <a:pt x="4716311" y="1401660"/>
                </a:lnTo>
                <a:lnTo>
                  <a:pt x="4716311" y="1458810"/>
                </a:lnTo>
                <a:lnTo>
                  <a:pt x="4657573" y="1458810"/>
                </a:lnTo>
                <a:close/>
                <a:moveTo>
                  <a:pt x="4578198" y="1401660"/>
                </a:moveTo>
                <a:lnTo>
                  <a:pt x="4636936" y="1401660"/>
                </a:lnTo>
                <a:lnTo>
                  <a:pt x="4636936" y="1458810"/>
                </a:lnTo>
                <a:lnTo>
                  <a:pt x="4578198" y="1458810"/>
                </a:lnTo>
                <a:close/>
                <a:moveTo>
                  <a:pt x="4498823" y="1401660"/>
                </a:moveTo>
                <a:lnTo>
                  <a:pt x="4557561" y="1401660"/>
                </a:lnTo>
                <a:lnTo>
                  <a:pt x="4557561" y="1458810"/>
                </a:lnTo>
                <a:lnTo>
                  <a:pt x="4498823" y="1458810"/>
                </a:lnTo>
                <a:close/>
                <a:moveTo>
                  <a:pt x="4421036" y="1401660"/>
                </a:moveTo>
                <a:lnTo>
                  <a:pt x="4479774" y="1401660"/>
                </a:lnTo>
                <a:lnTo>
                  <a:pt x="4479774" y="1458810"/>
                </a:lnTo>
                <a:lnTo>
                  <a:pt x="4421036" y="1458810"/>
                </a:lnTo>
                <a:close/>
                <a:moveTo>
                  <a:pt x="4341661" y="1401660"/>
                </a:moveTo>
                <a:lnTo>
                  <a:pt x="4400399" y="1401660"/>
                </a:lnTo>
                <a:lnTo>
                  <a:pt x="4400399" y="1458810"/>
                </a:lnTo>
                <a:lnTo>
                  <a:pt x="4341661" y="1458810"/>
                </a:lnTo>
                <a:close/>
                <a:moveTo>
                  <a:pt x="4262286" y="1401660"/>
                </a:moveTo>
                <a:lnTo>
                  <a:pt x="4321024" y="1401660"/>
                </a:lnTo>
                <a:lnTo>
                  <a:pt x="4321024" y="1458810"/>
                </a:lnTo>
                <a:lnTo>
                  <a:pt x="4262286" y="1458810"/>
                </a:lnTo>
                <a:close/>
                <a:moveTo>
                  <a:pt x="4184498" y="1401660"/>
                </a:moveTo>
                <a:lnTo>
                  <a:pt x="4241648" y="1401660"/>
                </a:lnTo>
                <a:lnTo>
                  <a:pt x="4241648" y="1458810"/>
                </a:lnTo>
                <a:lnTo>
                  <a:pt x="4184498" y="1458810"/>
                </a:lnTo>
                <a:close/>
                <a:moveTo>
                  <a:pt x="2763686" y="1401660"/>
                </a:moveTo>
                <a:lnTo>
                  <a:pt x="2820836" y="1401660"/>
                </a:lnTo>
                <a:lnTo>
                  <a:pt x="2820836" y="1458810"/>
                </a:lnTo>
                <a:lnTo>
                  <a:pt x="2763686" y="1458810"/>
                </a:lnTo>
                <a:close/>
                <a:moveTo>
                  <a:pt x="2684311" y="1401660"/>
                </a:moveTo>
                <a:lnTo>
                  <a:pt x="2743049" y="1401660"/>
                </a:lnTo>
                <a:lnTo>
                  <a:pt x="2743049" y="1458810"/>
                </a:lnTo>
                <a:lnTo>
                  <a:pt x="2684311" y="1458810"/>
                </a:lnTo>
                <a:close/>
                <a:moveTo>
                  <a:pt x="2604936" y="1401660"/>
                </a:moveTo>
                <a:lnTo>
                  <a:pt x="2663674" y="1401660"/>
                </a:lnTo>
                <a:lnTo>
                  <a:pt x="2663674" y="1458810"/>
                </a:lnTo>
                <a:lnTo>
                  <a:pt x="2604936" y="1458810"/>
                </a:lnTo>
                <a:close/>
                <a:moveTo>
                  <a:pt x="2525706" y="1401660"/>
                </a:moveTo>
                <a:lnTo>
                  <a:pt x="2584442" y="1401660"/>
                </a:lnTo>
                <a:lnTo>
                  <a:pt x="2584442" y="1458810"/>
                </a:lnTo>
                <a:lnTo>
                  <a:pt x="2525706" y="1458810"/>
                </a:lnTo>
                <a:close/>
                <a:moveTo>
                  <a:pt x="2447912" y="1401660"/>
                </a:moveTo>
                <a:lnTo>
                  <a:pt x="2505071" y="1401660"/>
                </a:lnTo>
                <a:lnTo>
                  <a:pt x="2505071" y="1458810"/>
                </a:lnTo>
                <a:lnTo>
                  <a:pt x="2447912" y="1458810"/>
                </a:lnTo>
                <a:close/>
                <a:moveTo>
                  <a:pt x="2368544" y="1401660"/>
                </a:moveTo>
                <a:lnTo>
                  <a:pt x="2427279" y="1401660"/>
                </a:lnTo>
                <a:lnTo>
                  <a:pt x="2427279" y="1458810"/>
                </a:lnTo>
                <a:lnTo>
                  <a:pt x="2368544" y="1458810"/>
                </a:lnTo>
                <a:close/>
                <a:moveTo>
                  <a:pt x="2289165" y="1401660"/>
                </a:moveTo>
                <a:lnTo>
                  <a:pt x="2347909" y="1401660"/>
                </a:lnTo>
                <a:lnTo>
                  <a:pt x="2347909" y="1458810"/>
                </a:lnTo>
                <a:lnTo>
                  <a:pt x="2289165" y="1458810"/>
                </a:lnTo>
                <a:close/>
                <a:moveTo>
                  <a:pt x="2209788" y="1401660"/>
                </a:moveTo>
                <a:lnTo>
                  <a:pt x="2268531" y="1401660"/>
                </a:lnTo>
                <a:lnTo>
                  <a:pt x="2268531" y="1458810"/>
                </a:lnTo>
                <a:lnTo>
                  <a:pt x="2209788" y="1458810"/>
                </a:lnTo>
                <a:close/>
                <a:moveTo>
                  <a:pt x="2132002" y="1401660"/>
                </a:moveTo>
                <a:lnTo>
                  <a:pt x="2189155" y="1401660"/>
                </a:lnTo>
                <a:lnTo>
                  <a:pt x="2189155" y="1458810"/>
                </a:lnTo>
                <a:lnTo>
                  <a:pt x="2132002" y="1458810"/>
                </a:lnTo>
                <a:close/>
                <a:moveTo>
                  <a:pt x="2052622" y="1401660"/>
                </a:moveTo>
                <a:lnTo>
                  <a:pt x="2111365" y="1401660"/>
                </a:lnTo>
                <a:lnTo>
                  <a:pt x="2111365" y="1458810"/>
                </a:lnTo>
                <a:lnTo>
                  <a:pt x="2052622" y="1458810"/>
                </a:lnTo>
                <a:close/>
                <a:moveTo>
                  <a:pt x="1973242" y="1401660"/>
                </a:moveTo>
                <a:lnTo>
                  <a:pt x="2031990" y="1401660"/>
                </a:lnTo>
                <a:lnTo>
                  <a:pt x="2031990" y="1458810"/>
                </a:lnTo>
                <a:lnTo>
                  <a:pt x="1973242" y="1458810"/>
                </a:lnTo>
                <a:close/>
                <a:moveTo>
                  <a:pt x="1893866" y="1401660"/>
                </a:moveTo>
                <a:lnTo>
                  <a:pt x="1952601" y="1401660"/>
                </a:lnTo>
                <a:lnTo>
                  <a:pt x="1952601" y="1458810"/>
                </a:lnTo>
                <a:lnTo>
                  <a:pt x="1893866" y="1458810"/>
                </a:lnTo>
                <a:close/>
                <a:moveTo>
                  <a:pt x="1816102" y="1401660"/>
                </a:moveTo>
                <a:lnTo>
                  <a:pt x="1873235" y="1401660"/>
                </a:lnTo>
                <a:lnTo>
                  <a:pt x="1873235" y="1458810"/>
                </a:lnTo>
                <a:lnTo>
                  <a:pt x="1816102" y="1458810"/>
                </a:lnTo>
                <a:close/>
                <a:moveTo>
                  <a:pt x="1736727" y="1401660"/>
                </a:moveTo>
                <a:lnTo>
                  <a:pt x="1795469" y="1401660"/>
                </a:lnTo>
                <a:lnTo>
                  <a:pt x="1795469" y="1458810"/>
                </a:lnTo>
                <a:lnTo>
                  <a:pt x="1736727" y="1458810"/>
                </a:lnTo>
                <a:close/>
                <a:moveTo>
                  <a:pt x="1657345" y="1401660"/>
                </a:moveTo>
                <a:lnTo>
                  <a:pt x="1716086" y="1401660"/>
                </a:lnTo>
                <a:lnTo>
                  <a:pt x="1716086" y="1458810"/>
                </a:lnTo>
                <a:lnTo>
                  <a:pt x="1657345" y="1458810"/>
                </a:lnTo>
                <a:close/>
                <a:moveTo>
                  <a:pt x="1577956" y="1401660"/>
                </a:moveTo>
                <a:lnTo>
                  <a:pt x="1636710" y="1401660"/>
                </a:lnTo>
                <a:lnTo>
                  <a:pt x="1636710" y="1458810"/>
                </a:lnTo>
                <a:lnTo>
                  <a:pt x="1577956" y="1458810"/>
                </a:lnTo>
                <a:close/>
                <a:moveTo>
                  <a:pt x="1500168" y="1401660"/>
                </a:moveTo>
                <a:lnTo>
                  <a:pt x="1558911" y="1401660"/>
                </a:lnTo>
                <a:lnTo>
                  <a:pt x="1558911" y="1458810"/>
                </a:lnTo>
                <a:lnTo>
                  <a:pt x="1500168" y="1458810"/>
                </a:lnTo>
                <a:close/>
                <a:moveTo>
                  <a:pt x="1420791" y="1401660"/>
                </a:moveTo>
                <a:lnTo>
                  <a:pt x="1479529" y="1401660"/>
                </a:lnTo>
                <a:lnTo>
                  <a:pt x="1479529" y="1458810"/>
                </a:lnTo>
                <a:lnTo>
                  <a:pt x="1420791" y="1458810"/>
                </a:lnTo>
                <a:close/>
                <a:moveTo>
                  <a:pt x="1341444" y="1401660"/>
                </a:moveTo>
                <a:lnTo>
                  <a:pt x="1400166" y="1401660"/>
                </a:lnTo>
                <a:lnTo>
                  <a:pt x="1400166" y="1458810"/>
                </a:lnTo>
                <a:lnTo>
                  <a:pt x="1341444" y="1458810"/>
                </a:lnTo>
                <a:close/>
                <a:moveTo>
                  <a:pt x="1263635" y="1401660"/>
                </a:moveTo>
                <a:lnTo>
                  <a:pt x="1320799" y="1401660"/>
                </a:lnTo>
                <a:lnTo>
                  <a:pt x="1320799" y="1458810"/>
                </a:lnTo>
                <a:lnTo>
                  <a:pt x="1263635" y="1458810"/>
                </a:lnTo>
                <a:close/>
                <a:moveTo>
                  <a:pt x="1184266" y="1401660"/>
                </a:moveTo>
                <a:lnTo>
                  <a:pt x="1242995" y="1401660"/>
                </a:lnTo>
                <a:lnTo>
                  <a:pt x="1242995" y="1458810"/>
                </a:lnTo>
                <a:lnTo>
                  <a:pt x="1184266" y="1458810"/>
                </a:lnTo>
                <a:close/>
                <a:moveTo>
                  <a:pt x="1104893" y="1401660"/>
                </a:moveTo>
                <a:lnTo>
                  <a:pt x="1163627" y="1401660"/>
                </a:lnTo>
                <a:lnTo>
                  <a:pt x="1163627" y="1458810"/>
                </a:lnTo>
                <a:lnTo>
                  <a:pt x="1104893" y="1458810"/>
                </a:lnTo>
                <a:close/>
                <a:moveTo>
                  <a:pt x="8131024" y="1323873"/>
                </a:moveTo>
                <a:lnTo>
                  <a:pt x="8189762" y="1323873"/>
                </a:lnTo>
                <a:lnTo>
                  <a:pt x="8189762" y="1381023"/>
                </a:lnTo>
                <a:lnTo>
                  <a:pt x="8131024" y="1381023"/>
                </a:lnTo>
                <a:close/>
                <a:moveTo>
                  <a:pt x="7815111" y="1323873"/>
                </a:moveTo>
                <a:lnTo>
                  <a:pt x="7873849" y="1323873"/>
                </a:lnTo>
                <a:lnTo>
                  <a:pt x="7873849" y="1381023"/>
                </a:lnTo>
                <a:lnTo>
                  <a:pt x="7815111" y="1381023"/>
                </a:lnTo>
                <a:close/>
                <a:moveTo>
                  <a:pt x="7735736" y="1323873"/>
                </a:moveTo>
                <a:lnTo>
                  <a:pt x="7794474" y="1323873"/>
                </a:lnTo>
                <a:lnTo>
                  <a:pt x="7794474" y="1381023"/>
                </a:lnTo>
                <a:lnTo>
                  <a:pt x="7735736" y="1381023"/>
                </a:lnTo>
                <a:close/>
                <a:moveTo>
                  <a:pt x="7657949" y="1323873"/>
                </a:moveTo>
                <a:lnTo>
                  <a:pt x="7715099" y="1323873"/>
                </a:lnTo>
                <a:lnTo>
                  <a:pt x="7715099" y="1381023"/>
                </a:lnTo>
                <a:lnTo>
                  <a:pt x="7657949" y="1381023"/>
                </a:lnTo>
                <a:close/>
                <a:moveTo>
                  <a:pt x="7578574" y="1323873"/>
                </a:moveTo>
                <a:lnTo>
                  <a:pt x="7637312" y="1323873"/>
                </a:lnTo>
                <a:lnTo>
                  <a:pt x="7637312" y="1381023"/>
                </a:lnTo>
                <a:lnTo>
                  <a:pt x="7578574" y="1381023"/>
                </a:lnTo>
                <a:close/>
                <a:moveTo>
                  <a:pt x="7499199" y="1323873"/>
                </a:moveTo>
                <a:lnTo>
                  <a:pt x="7557937" y="1323873"/>
                </a:lnTo>
                <a:lnTo>
                  <a:pt x="7557937" y="1381023"/>
                </a:lnTo>
                <a:lnTo>
                  <a:pt x="7499199" y="1381023"/>
                </a:lnTo>
                <a:close/>
                <a:moveTo>
                  <a:pt x="7419824" y="1323873"/>
                </a:moveTo>
                <a:lnTo>
                  <a:pt x="7478562" y="1323873"/>
                </a:lnTo>
                <a:lnTo>
                  <a:pt x="7478562" y="1381023"/>
                </a:lnTo>
                <a:lnTo>
                  <a:pt x="7419824" y="1381023"/>
                </a:lnTo>
                <a:close/>
                <a:moveTo>
                  <a:pt x="7342036" y="1323873"/>
                </a:moveTo>
                <a:lnTo>
                  <a:pt x="7400774" y="1323873"/>
                </a:lnTo>
                <a:lnTo>
                  <a:pt x="7400774" y="1381023"/>
                </a:lnTo>
                <a:lnTo>
                  <a:pt x="7342036" y="1381023"/>
                </a:lnTo>
                <a:close/>
                <a:moveTo>
                  <a:pt x="7262661" y="1323873"/>
                </a:moveTo>
                <a:lnTo>
                  <a:pt x="7321399" y="1323873"/>
                </a:lnTo>
                <a:lnTo>
                  <a:pt x="7321399" y="1381023"/>
                </a:lnTo>
                <a:lnTo>
                  <a:pt x="7262661" y="1381023"/>
                </a:lnTo>
                <a:close/>
                <a:moveTo>
                  <a:pt x="7183286" y="1323873"/>
                </a:moveTo>
                <a:lnTo>
                  <a:pt x="7242024" y="1323873"/>
                </a:lnTo>
                <a:lnTo>
                  <a:pt x="7242024" y="1381023"/>
                </a:lnTo>
                <a:lnTo>
                  <a:pt x="7183286" y="1381023"/>
                </a:lnTo>
                <a:close/>
                <a:moveTo>
                  <a:pt x="7105499" y="1323873"/>
                </a:moveTo>
                <a:lnTo>
                  <a:pt x="7162649" y="1323873"/>
                </a:lnTo>
                <a:lnTo>
                  <a:pt x="7162649" y="1381023"/>
                </a:lnTo>
                <a:lnTo>
                  <a:pt x="7105499" y="1381023"/>
                </a:lnTo>
                <a:close/>
                <a:moveTo>
                  <a:pt x="7026124" y="1323873"/>
                </a:moveTo>
                <a:lnTo>
                  <a:pt x="7084862" y="1323873"/>
                </a:lnTo>
                <a:lnTo>
                  <a:pt x="7084862" y="1381023"/>
                </a:lnTo>
                <a:lnTo>
                  <a:pt x="7026124" y="1381023"/>
                </a:lnTo>
                <a:close/>
                <a:moveTo>
                  <a:pt x="6946749" y="1323873"/>
                </a:moveTo>
                <a:lnTo>
                  <a:pt x="7005487" y="1323873"/>
                </a:lnTo>
                <a:lnTo>
                  <a:pt x="7005487" y="1381023"/>
                </a:lnTo>
                <a:lnTo>
                  <a:pt x="6946749" y="1381023"/>
                </a:lnTo>
                <a:close/>
                <a:moveTo>
                  <a:pt x="6867374" y="1323873"/>
                </a:moveTo>
                <a:lnTo>
                  <a:pt x="6926112" y="1323873"/>
                </a:lnTo>
                <a:lnTo>
                  <a:pt x="6926112" y="1381023"/>
                </a:lnTo>
                <a:lnTo>
                  <a:pt x="6867374" y="1381023"/>
                </a:lnTo>
                <a:close/>
                <a:moveTo>
                  <a:pt x="6789586" y="1323873"/>
                </a:moveTo>
                <a:lnTo>
                  <a:pt x="6846736" y="1323873"/>
                </a:lnTo>
                <a:lnTo>
                  <a:pt x="6846736" y="1381023"/>
                </a:lnTo>
                <a:lnTo>
                  <a:pt x="6789586" y="1381023"/>
                </a:lnTo>
                <a:close/>
                <a:moveTo>
                  <a:pt x="6710211" y="1323873"/>
                </a:moveTo>
                <a:lnTo>
                  <a:pt x="6768949" y="1323873"/>
                </a:lnTo>
                <a:lnTo>
                  <a:pt x="6768949" y="1381023"/>
                </a:lnTo>
                <a:lnTo>
                  <a:pt x="6710211" y="1381023"/>
                </a:lnTo>
                <a:close/>
                <a:moveTo>
                  <a:pt x="6630836" y="1323873"/>
                </a:moveTo>
                <a:lnTo>
                  <a:pt x="6689574" y="1323873"/>
                </a:lnTo>
                <a:lnTo>
                  <a:pt x="6689574" y="1381023"/>
                </a:lnTo>
                <a:lnTo>
                  <a:pt x="6630836" y="1381023"/>
                </a:lnTo>
                <a:close/>
                <a:moveTo>
                  <a:pt x="6551461" y="1323873"/>
                </a:moveTo>
                <a:lnTo>
                  <a:pt x="6610199" y="1323873"/>
                </a:lnTo>
                <a:lnTo>
                  <a:pt x="6610199" y="1381023"/>
                </a:lnTo>
                <a:lnTo>
                  <a:pt x="6551461" y="1381023"/>
                </a:lnTo>
                <a:close/>
                <a:moveTo>
                  <a:pt x="6473674" y="1323873"/>
                </a:moveTo>
                <a:lnTo>
                  <a:pt x="6530824" y="1323873"/>
                </a:lnTo>
                <a:lnTo>
                  <a:pt x="6530824" y="1381023"/>
                </a:lnTo>
                <a:lnTo>
                  <a:pt x="6473674" y="1381023"/>
                </a:lnTo>
                <a:close/>
                <a:moveTo>
                  <a:pt x="6394299" y="1323873"/>
                </a:moveTo>
                <a:lnTo>
                  <a:pt x="6453037" y="1323873"/>
                </a:lnTo>
                <a:lnTo>
                  <a:pt x="6453037" y="1381023"/>
                </a:lnTo>
                <a:lnTo>
                  <a:pt x="6394299" y="1381023"/>
                </a:lnTo>
                <a:close/>
                <a:moveTo>
                  <a:pt x="6314924" y="1323873"/>
                </a:moveTo>
                <a:lnTo>
                  <a:pt x="6373662" y="1323873"/>
                </a:lnTo>
                <a:lnTo>
                  <a:pt x="6373662" y="1381023"/>
                </a:lnTo>
                <a:lnTo>
                  <a:pt x="6314924" y="1381023"/>
                </a:lnTo>
                <a:close/>
                <a:moveTo>
                  <a:pt x="6235549" y="1323873"/>
                </a:moveTo>
                <a:lnTo>
                  <a:pt x="6294287" y="1323873"/>
                </a:lnTo>
                <a:lnTo>
                  <a:pt x="6294287" y="1381023"/>
                </a:lnTo>
                <a:lnTo>
                  <a:pt x="6235549" y="1381023"/>
                </a:lnTo>
                <a:close/>
                <a:moveTo>
                  <a:pt x="6157761" y="1323873"/>
                </a:moveTo>
                <a:lnTo>
                  <a:pt x="6214911" y="1323873"/>
                </a:lnTo>
                <a:lnTo>
                  <a:pt x="6214911" y="1381023"/>
                </a:lnTo>
                <a:lnTo>
                  <a:pt x="6157761" y="1381023"/>
                </a:lnTo>
                <a:close/>
                <a:moveTo>
                  <a:pt x="6078386" y="1323873"/>
                </a:moveTo>
                <a:lnTo>
                  <a:pt x="6137124" y="1323873"/>
                </a:lnTo>
                <a:lnTo>
                  <a:pt x="6137124" y="1381023"/>
                </a:lnTo>
                <a:lnTo>
                  <a:pt x="6078386" y="1381023"/>
                </a:lnTo>
                <a:close/>
                <a:moveTo>
                  <a:pt x="5999011" y="1323873"/>
                </a:moveTo>
                <a:lnTo>
                  <a:pt x="6057749" y="1323873"/>
                </a:lnTo>
                <a:lnTo>
                  <a:pt x="6057749" y="1381023"/>
                </a:lnTo>
                <a:lnTo>
                  <a:pt x="5999011" y="1381023"/>
                </a:lnTo>
                <a:close/>
                <a:moveTo>
                  <a:pt x="5921224" y="1323873"/>
                </a:moveTo>
                <a:lnTo>
                  <a:pt x="5978374" y="1323873"/>
                </a:lnTo>
                <a:lnTo>
                  <a:pt x="5978374" y="1381023"/>
                </a:lnTo>
                <a:lnTo>
                  <a:pt x="5921224" y="1381023"/>
                </a:lnTo>
                <a:close/>
                <a:moveTo>
                  <a:pt x="5841849" y="1323873"/>
                </a:moveTo>
                <a:lnTo>
                  <a:pt x="5900587" y="1323873"/>
                </a:lnTo>
                <a:lnTo>
                  <a:pt x="5900587" y="1381023"/>
                </a:lnTo>
                <a:lnTo>
                  <a:pt x="5841849" y="1381023"/>
                </a:lnTo>
                <a:close/>
                <a:moveTo>
                  <a:pt x="5762474" y="1323873"/>
                </a:moveTo>
                <a:lnTo>
                  <a:pt x="5821212" y="1323873"/>
                </a:lnTo>
                <a:lnTo>
                  <a:pt x="5821212" y="1381023"/>
                </a:lnTo>
                <a:lnTo>
                  <a:pt x="5762474" y="1381023"/>
                </a:lnTo>
                <a:close/>
                <a:moveTo>
                  <a:pt x="5684686" y="1323873"/>
                </a:moveTo>
                <a:lnTo>
                  <a:pt x="5741836" y="1323873"/>
                </a:lnTo>
                <a:lnTo>
                  <a:pt x="5741836" y="1381023"/>
                </a:lnTo>
                <a:lnTo>
                  <a:pt x="5684686" y="1381023"/>
                </a:lnTo>
                <a:close/>
                <a:moveTo>
                  <a:pt x="5605311" y="1323873"/>
                </a:moveTo>
                <a:lnTo>
                  <a:pt x="5664049" y="1323873"/>
                </a:lnTo>
                <a:lnTo>
                  <a:pt x="5664049" y="1381023"/>
                </a:lnTo>
                <a:lnTo>
                  <a:pt x="5605311" y="1381023"/>
                </a:lnTo>
                <a:close/>
                <a:moveTo>
                  <a:pt x="5525936" y="1323873"/>
                </a:moveTo>
                <a:lnTo>
                  <a:pt x="5584674" y="1323873"/>
                </a:lnTo>
                <a:lnTo>
                  <a:pt x="5584674" y="1381023"/>
                </a:lnTo>
                <a:lnTo>
                  <a:pt x="5525936" y="1381023"/>
                </a:lnTo>
                <a:close/>
                <a:moveTo>
                  <a:pt x="5446561" y="1323873"/>
                </a:moveTo>
                <a:lnTo>
                  <a:pt x="5505299" y="1323873"/>
                </a:lnTo>
                <a:lnTo>
                  <a:pt x="5505299" y="1381023"/>
                </a:lnTo>
                <a:lnTo>
                  <a:pt x="5446561" y="1381023"/>
                </a:lnTo>
                <a:close/>
                <a:moveTo>
                  <a:pt x="5368774" y="1323873"/>
                </a:moveTo>
                <a:lnTo>
                  <a:pt x="5425924" y="1323873"/>
                </a:lnTo>
                <a:lnTo>
                  <a:pt x="5425924" y="1381023"/>
                </a:lnTo>
                <a:lnTo>
                  <a:pt x="5368774" y="1381023"/>
                </a:lnTo>
                <a:close/>
                <a:moveTo>
                  <a:pt x="5289399" y="1323873"/>
                </a:moveTo>
                <a:lnTo>
                  <a:pt x="5348137" y="1323873"/>
                </a:lnTo>
                <a:lnTo>
                  <a:pt x="5348137" y="1381023"/>
                </a:lnTo>
                <a:lnTo>
                  <a:pt x="5289399" y="1381023"/>
                </a:lnTo>
                <a:close/>
                <a:moveTo>
                  <a:pt x="5210024" y="1323873"/>
                </a:moveTo>
                <a:lnTo>
                  <a:pt x="5268762" y="1323873"/>
                </a:lnTo>
                <a:lnTo>
                  <a:pt x="5268762" y="1381023"/>
                </a:lnTo>
                <a:lnTo>
                  <a:pt x="5210024" y="1381023"/>
                </a:lnTo>
                <a:close/>
                <a:moveTo>
                  <a:pt x="5130649" y="1323873"/>
                </a:moveTo>
                <a:lnTo>
                  <a:pt x="5189387" y="1323873"/>
                </a:lnTo>
                <a:lnTo>
                  <a:pt x="5189387" y="1381023"/>
                </a:lnTo>
                <a:lnTo>
                  <a:pt x="5130649" y="1381023"/>
                </a:lnTo>
                <a:close/>
                <a:moveTo>
                  <a:pt x="5052861" y="1323873"/>
                </a:moveTo>
                <a:lnTo>
                  <a:pt x="5110011" y="1323873"/>
                </a:lnTo>
                <a:lnTo>
                  <a:pt x="5110011" y="1381023"/>
                </a:lnTo>
                <a:lnTo>
                  <a:pt x="5052861" y="1381023"/>
                </a:lnTo>
                <a:close/>
                <a:moveTo>
                  <a:pt x="4973486" y="1323873"/>
                </a:moveTo>
                <a:lnTo>
                  <a:pt x="5030636" y="1323873"/>
                </a:lnTo>
                <a:lnTo>
                  <a:pt x="5030636" y="1381023"/>
                </a:lnTo>
                <a:lnTo>
                  <a:pt x="4973486" y="1381023"/>
                </a:lnTo>
                <a:close/>
                <a:moveTo>
                  <a:pt x="4894111" y="1323872"/>
                </a:moveTo>
                <a:lnTo>
                  <a:pt x="4952849" y="1323872"/>
                </a:lnTo>
                <a:lnTo>
                  <a:pt x="4952849" y="1381022"/>
                </a:lnTo>
                <a:lnTo>
                  <a:pt x="4894111" y="1381022"/>
                </a:lnTo>
                <a:close/>
                <a:moveTo>
                  <a:pt x="4814736" y="1323872"/>
                </a:moveTo>
                <a:lnTo>
                  <a:pt x="4873474" y="1323872"/>
                </a:lnTo>
                <a:lnTo>
                  <a:pt x="4873474" y="1381022"/>
                </a:lnTo>
                <a:lnTo>
                  <a:pt x="4814736" y="1381022"/>
                </a:lnTo>
                <a:close/>
                <a:moveTo>
                  <a:pt x="4736948" y="1323872"/>
                </a:moveTo>
                <a:lnTo>
                  <a:pt x="4794098" y="1323872"/>
                </a:lnTo>
                <a:lnTo>
                  <a:pt x="4794098" y="1381022"/>
                </a:lnTo>
                <a:lnTo>
                  <a:pt x="4736948" y="1381022"/>
                </a:lnTo>
                <a:close/>
                <a:moveTo>
                  <a:pt x="4657573" y="1323872"/>
                </a:moveTo>
                <a:lnTo>
                  <a:pt x="4716311" y="1323872"/>
                </a:lnTo>
                <a:lnTo>
                  <a:pt x="4716311" y="1381022"/>
                </a:lnTo>
                <a:lnTo>
                  <a:pt x="4657573" y="1381022"/>
                </a:lnTo>
                <a:close/>
                <a:moveTo>
                  <a:pt x="4578198" y="1323872"/>
                </a:moveTo>
                <a:lnTo>
                  <a:pt x="4636936" y="1323872"/>
                </a:lnTo>
                <a:lnTo>
                  <a:pt x="4636936" y="1381022"/>
                </a:lnTo>
                <a:lnTo>
                  <a:pt x="4578198" y="1381022"/>
                </a:lnTo>
                <a:close/>
                <a:moveTo>
                  <a:pt x="4498823" y="1323872"/>
                </a:moveTo>
                <a:lnTo>
                  <a:pt x="4557561" y="1323872"/>
                </a:lnTo>
                <a:lnTo>
                  <a:pt x="4557561" y="1381022"/>
                </a:lnTo>
                <a:lnTo>
                  <a:pt x="4498823" y="1381022"/>
                </a:lnTo>
                <a:close/>
                <a:moveTo>
                  <a:pt x="4421036" y="1323872"/>
                </a:moveTo>
                <a:lnTo>
                  <a:pt x="4479774" y="1323872"/>
                </a:lnTo>
                <a:lnTo>
                  <a:pt x="4479774" y="1381022"/>
                </a:lnTo>
                <a:lnTo>
                  <a:pt x="4421036" y="1381022"/>
                </a:lnTo>
                <a:close/>
                <a:moveTo>
                  <a:pt x="4184498" y="1323872"/>
                </a:moveTo>
                <a:lnTo>
                  <a:pt x="4241648" y="1323872"/>
                </a:lnTo>
                <a:lnTo>
                  <a:pt x="4241648" y="1381022"/>
                </a:lnTo>
                <a:lnTo>
                  <a:pt x="4184498" y="1381022"/>
                </a:lnTo>
                <a:close/>
                <a:moveTo>
                  <a:pt x="4105123" y="1323872"/>
                </a:moveTo>
                <a:lnTo>
                  <a:pt x="4163861" y="1323872"/>
                </a:lnTo>
                <a:lnTo>
                  <a:pt x="4163861" y="1381022"/>
                </a:lnTo>
                <a:lnTo>
                  <a:pt x="4105123" y="1381022"/>
                </a:lnTo>
                <a:close/>
                <a:moveTo>
                  <a:pt x="4025748" y="1323872"/>
                </a:moveTo>
                <a:lnTo>
                  <a:pt x="4084486" y="1323872"/>
                </a:lnTo>
                <a:lnTo>
                  <a:pt x="4084486" y="1381022"/>
                </a:lnTo>
                <a:lnTo>
                  <a:pt x="4025748" y="1381022"/>
                </a:lnTo>
                <a:close/>
                <a:moveTo>
                  <a:pt x="2841473" y="1323872"/>
                </a:moveTo>
                <a:lnTo>
                  <a:pt x="2900211" y="1323872"/>
                </a:lnTo>
                <a:lnTo>
                  <a:pt x="2900211" y="1381022"/>
                </a:lnTo>
                <a:lnTo>
                  <a:pt x="2841473" y="1381022"/>
                </a:lnTo>
                <a:close/>
                <a:moveTo>
                  <a:pt x="2763686" y="1323872"/>
                </a:moveTo>
                <a:lnTo>
                  <a:pt x="2820836" y="1323872"/>
                </a:lnTo>
                <a:lnTo>
                  <a:pt x="2820836" y="1381022"/>
                </a:lnTo>
                <a:lnTo>
                  <a:pt x="2763686" y="1381022"/>
                </a:lnTo>
                <a:close/>
                <a:moveTo>
                  <a:pt x="2684311" y="1323872"/>
                </a:moveTo>
                <a:lnTo>
                  <a:pt x="2743049" y="1323872"/>
                </a:lnTo>
                <a:lnTo>
                  <a:pt x="2743049" y="1381022"/>
                </a:lnTo>
                <a:lnTo>
                  <a:pt x="2684311" y="1381022"/>
                </a:lnTo>
                <a:close/>
                <a:moveTo>
                  <a:pt x="2604936" y="1323872"/>
                </a:moveTo>
                <a:lnTo>
                  <a:pt x="2663674" y="1323872"/>
                </a:lnTo>
                <a:lnTo>
                  <a:pt x="2663674" y="1381022"/>
                </a:lnTo>
                <a:lnTo>
                  <a:pt x="2604936" y="1381022"/>
                </a:lnTo>
                <a:close/>
                <a:moveTo>
                  <a:pt x="2525711" y="1323872"/>
                </a:moveTo>
                <a:lnTo>
                  <a:pt x="2584447" y="1323872"/>
                </a:lnTo>
                <a:lnTo>
                  <a:pt x="2584447" y="1381022"/>
                </a:lnTo>
                <a:lnTo>
                  <a:pt x="2525711" y="1381022"/>
                </a:lnTo>
                <a:close/>
                <a:moveTo>
                  <a:pt x="2447917" y="1323872"/>
                </a:moveTo>
                <a:lnTo>
                  <a:pt x="2505076" y="1323872"/>
                </a:lnTo>
                <a:lnTo>
                  <a:pt x="2505076" y="1381022"/>
                </a:lnTo>
                <a:lnTo>
                  <a:pt x="2447917" y="1381022"/>
                </a:lnTo>
                <a:close/>
                <a:moveTo>
                  <a:pt x="2368550" y="1323872"/>
                </a:moveTo>
                <a:lnTo>
                  <a:pt x="2427282" y="1323872"/>
                </a:lnTo>
                <a:lnTo>
                  <a:pt x="2427282" y="1381022"/>
                </a:lnTo>
                <a:lnTo>
                  <a:pt x="2368550" y="1381022"/>
                </a:lnTo>
                <a:close/>
                <a:moveTo>
                  <a:pt x="2289173" y="1323872"/>
                </a:moveTo>
                <a:lnTo>
                  <a:pt x="2347913" y="1323872"/>
                </a:lnTo>
                <a:lnTo>
                  <a:pt x="2347913" y="1381022"/>
                </a:lnTo>
                <a:lnTo>
                  <a:pt x="2289173" y="1381022"/>
                </a:lnTo>
                <a:close/>
                <a:moveTo>
                  <a:pt x="2132004" y="1323872"/>
                </a:moveTo>
                <a:lnTo>
                  <a:pt x="2189160" y="1323872"/>
                </a:lnTo>
                <a:lnTo>
                  <a:pt x="2189160" y="1381022"/>
                </a:lnTo>
                <a:lnTo>
                  <a:pt x="2132004" y="1381022"/>
                </a:lnTo>
                <a:close/>
                <a:moveTo>
                  <a:pt x="2052628" y="1323872"/>
                </a:moveTo>
                <a:lnTo>
                  <a:pt x="2111370" y="1323872"/>
                </a:lnTo>
                <a:lnTo>
                  <a:pt x="2111370" y="1381022"/>
                </a:lnTo>
                <a:lnTo>
                  <a:pt x="2052628" y="1381022"/>
                </a:lnTo>
                <a:close/>
                <a:moveTo>
                  <a:pt x="1973249" y="1323872"/>
                </a:moveTo>
                <a:lnTo>
                  <a:pt x="2031995" y="1323872"/>
                </a:lnTo>
                <a:lnTo>
                  <a:pt x="2031995" y="1381022"/>
                </a:lnTo>
                <a:lnTo>
                  <a:pt x="1973249" y="1381022"/>
                </a:lnTo>
                <a:close/>
                <a:moveTo>
                  <a:pt x="1893871" y="1323872"/>
                </a:moveTo>
                <a:lnTo>
                  <a:pt x="1952607" y="1323872"/>
                </a:lnTo>
                <a:lnTo>
                  <a:pt x="1952607" y="1381022"/>
                </a:lnTo>
                <a:lnTo>
                  <a:pt x="1893871" y="1381022"/>
                </a:lnTo>
                <a:close/>
                <a:moveTo>
                  <a:pt x="1816107" y="1323872"/>
                </a:moveTo>
                <a:lnTo>
                  <a:pt x="1873240" y="1323872"/>
                </a:lnTo>
                <a:lnTo>
                  <a:pt x="1873240" y="1381022"/>
                </a:lnTo>
                <a:lnTo>
                  <a:pt x="1816107" y="1381022"/>
                </a:lnTo>
                <a:close/>
                <a:moveTo>
                  <a:pt x="1736732" y="1323872"/>
                </a:moveTo>
                <a:lnTo>
                  <a:pt x="1795478" y="1323872"/>
                </a:lnTo>
                <a:lnTo>
                  <a:pt x="1795478" y="1381022"/>
                </a:lnTo>
                <a:lnTo>
                  <a:pt x="1736732" y="1381022"/>
                </a:lnTo>
                <a:close/>
                <a:moveTo>
                  <a:pt x="1657352" y="1323872"/>
                </a:moveTo>
                <a:lnTo>
                  <a:pt x="1716093" y="1323872"/>
                </a:lnTo>
                <a:lnTo>
                  <a:pt x="1716093" y="1381022"/>
                </a:lnTo>
                <a:lnTo>
                  <a:pt x="1657352" y="1381022"/>
                </a:lnTo>
                <a:close/>
                <a:moveTo>
                  <a:pt x="1577963" y="1323872"/>
                </a:moveTo>
                <a:lnTo>
                  <a:pt x="1636714" y="1323872"/>
                </a:lnTo>
                <a:lnTo>
                  <a:pt x="1636714" y="1381022"/>
                </a:lnTo>
                <a:lnTo>
                  <a:pt x="1577963" y="1381022"/>
                </a:lnTo>
                <a:close/>
                <a:moveTo>
                  <a:pt x="1500174" y="1323872"/>
                </a:moveTo>
                <a:lnTo>
                  <a:pt x="1558915" y="1323872"/>
                </a:lnTo>
                <a:lnTo>
                  <a:pt x="1558915" y="1381022"/>
                </a:lnTo>
                <a:lnTo>
                  <a:pt x="1500174" y="1381022"/>
                </a:lnTo>
                <a:close/>
                <a:moveTo>
                  <a:pt x="1420796" y="1323872"/>
                </a:moveTo>
                <a:lnTo>
                  <a:pt x="1479533" y="1323872"/>
                </a:lnTo>
                <a:lnTo>
                  <a:pt x="1479533" y="1381022"/>
                </a:lnTo>
                <a:lnTo>
                  <a:pt x="1420796" y="1381022"/>
                </a:lnTo>
                <a:close/>
                <a:moveTo>
                  <a:pt x="1341450" y="1323872"/>
                </a:moveTo>
                <a:lnTo>
                  <a:pt x="1400173" y="1323872"/>
                </a:lnTo>
                <a:lnTo>
                  <a:pt x="1400173" y="1381022"/>
                </a:lnTo>
                <a:lnTo>
                  <a:pt x="1341450" y="1381022"/>
                </a:lnTo>
                <a:close/>
                <a:moveTo>
                  <a:pt x="1263640" y="1323872"/>
                </a:moveTo>
                <a:lnTo>
                  <a:pt x="1320804" y="1323872"/>
                </a:lnTo>
                <a:lnTo>
                  <a:pt x="1320804" y="1381022"/>
                </a:lnTo>
                <a:lnTo>
                  <a:pt x="1263640" y="1381022"/>
                </a:lnTo>
                <a:close/>
                <a:moveTo>
                  <a:pt x="1184271" y="1323872"/>
                </a:moveTo>
                <a:lnTo>
                  <a:pt x="1243000" y="1323872"/>
                </a:lnTo>
                <a:lnTo>
                  <a:pt x="1243000" y="1381022"/>
                </a:lnTo>
                <a:lnTo>
                  <a:pt x="1184271" y="1381022"/>
                </a:lnTo>
                <a:close/>
                <a:moveTo>
                  <a:pt x="1104898" y="1323872"/>
                </a:moveTo>
                <a:lnTo>
                  <a:pt x="1163631" y="1323872"/>
                </a:lnTo>
                <a:lnTo>
                  <a:pt x="1163631" y="1381022"/>
                </a:lnTo>
                <a:lnTo>
                  <a:pt x="1104898" y="1381022"/>
                </a:lnTo>
                <a:close/>
                <a:moveTo>
                  <a:pt x="947723" y="1323872"/>
                </a:moveTo>
                <a:lnTo>
                  <a:pt x="1004872" y="1323872"/>
                </a:lnTo>
                <a:lnTo>
                  <a:pt x="1004872" y="1381022"/>
                </a:lnTo>
                <a:lnTo>
                  <a:pt x="947723" y="1381022"/>
                </a:lnTo>
                <a:close/>
                <a:moveTo>
                  <a:pt x="79357" y="1323872"/>
                </a:moveTo>
                <a:lnTo>
                  <a:pt x="136502" y="1323872"/>
                </a:lnTo>
                <a:lnTo>
                  <a:pt x="136502" y="1381022"/>
                </a:lnTo>
                <a:lnTo>
                  <a:pt x="79357" y="1381022"/>
                </a:lnTo>
                <a:close/>
                <a:moveTo>
                  <a:pt x="8446936" y="1246085"/>
                </a:moveTo>
                <a:lnTo>
                  <a:pt x="8505674" y="1246085"/>
                </a:lnTo>
                <a:lnTo>
                  <a:pt x="8505674" y="1303235"/>
                </a:lnTo>
                <a:lnTo>
                  <a:pt x="8446936" y="1303235"/>
                </a:lnTo>
                <a:close/>
                <a:moveTo>
                  <a:pt x="8367561" y="1246085"/>
                </a:moveTo>
                <a:lnTo>
                  <a:pt x="8426299" y="1246085"/>
                </a:lnTo>
                <a:lnTo>
                  <a:pt x="8426299" y="1303235"/>
                </a:lnTo>
                <a:lnTo>
                  <a:pt x="8367561" y="1303235"/>
                </a:lnTo>
                <a:close/>
                <a:moveTo>
                  <a:pt x="8210399" y="1246085"/>
                </a:moveTo>
                <a:lnTo>
                  <a:pt x="8267549" y="1246085"/>
                </a:lnTo>
                <a:lnTo>
                  <a:pt x="8267549" y="1303235"/>
                </a:lnTo>
                <a:lnTo>
                  <a:pt x="8210399" y="1303235"/>
                </a:lnTo>
                <a:close/>
                <a:moveTo>
                  <a:pt x="8131024" y="1246085"/>
                </a:moveTo>
                <a:lnTo>
                  <a:pt x="8189762" y="1246085"/>
                </a:lnTo>
                <a:lnTo>
                  <a:pt x="8189762" y="1303235"/>
                </a:lnTo>
                <a:lnTo>
                  <a:pt x="8131024" y="1303235"/>
                </a:lnTo>
                <a:close/>
                <a:moveTo>
                  <a:pt x="7578574" y="1246085"/>
                </a:moveTo>
                <a:lnTo>
                  <a:pt x="7637312" y="1246085"/>
                </a:lnTo>
                <a:lnTo>
                  <a:pt x="7637312" y="1303235"/>
                </a:lnTo>
                <a:lnTo>
                  <a:pt x="7578574" y="1303235"/>
                </a:lnTo>
                <a:close/>
                <a:moveTo>
                  <a:pt x="7499199" y="1246085"/>
                </a:moveTo>
                <a:lnTo>
                  <a:pt x="7557937" y="1246085"/>
                </a:lnTo>
                <a:lnTo>
                  <a:pt x="7557937" y="1303235"/>
                </a:lnTo>
                <a:lnTo>
                  <a:pt x="7499199" y="1303235"/>
                </a:lnTo>
                <a:close/>
                <a:moveTo>
                  <a:pt x="7419824" y="1246085"/>
                </a:moveTo>
                <a:lnTo>
                  <a:pt x="7478562" y="1246085"/>
                </a:lnTo>
                <a:lnTo>
                  <a:pt x="7478562" y="1303235"/>
                </a:lnTo>
                <a:lnTo>
                  <a:pt x="7419824" y="1303235"/>
                </a:lnTo>
                <a:close/>
                <a:moveTo>
                  <a:pt x="7342036" y="1246085"/>
                </a:moveTo>
                <a:lnTo>
                  <a:pt x="7400774" y="1246085"/>
                </a:lnTo>
                <a:lnTo>
                  <a:pt x="7400774" y="1303235"/>
                </a:lnTo>
                <a:lnTo>
                  <a:pt x="7342036" y="1303235"/>
                </a:lnTo>
                <a:close/>
                <a:moveTo>
                  <a:pt x="7262661" y="1246085"/>
                </a:moveTo>
                <a:lnTo>
                  <a:pt x="7321399" y="1246085"/>
                </a:lnTo>
                <a:lnTo>
                  <a:pt x="7321399" y="1303235"/>
                </a:lnTo>
                <a:lnTo>
                  <a:pt x="7262661" y="1303235"/>
                </a:lnTo>
                <a:close/>
                <a:moveTo>
                  <a:pt x="7183286" y="1246085"/>
                </a:moveTo>
                <a:lnTo>
                  <a:pt x="7242024" y="1246085"/>
                </a:lnTo>
                <a:lnTo>
                  <a:pt x="7242024" y="1303235"/>
                </a:lnTo>
                <a:lnTo>
                  <a:pt x="7183286" y="1303235"/>
                </a:lnTo>
                <a:close/>
                <a:moveTo>
                  <a:pt x="7105499" y="1246085"/>
                </a:moveTo>
                <a:lnTo>
                  <a:pt x="7162649" y="1246085"/>
                </a:lnTo>
                <a:lnTo>
                  <a:pt x="7162649" y="1303235"/>
                </a:lnTo>
                <a:lnTo>
                  <a:pt x="7105499" y="1303235"/>
                </a:lnTo>
                <a:close/>
                <a:moveTo>
                  <a:pt x="7026124" y="1246085"/>
                </a:moveTo>
                <a:lnTo>
                  <a:pt x="7084862" y="1246085"/>
                </a:lnTo>
                <a:lnTo>
                  <a:pt x="7084862" y="1303235"/>
                </a:lnTo>
                <a:lnTo>
                  <a:pt x="7026124" y="1303235"/>
                </a:lnTo>
                <a:close/>
                <a:moveTo>
                  <a:pt x="6946749" y="1246085"/>
                </a:moveTo>
                <a:lnTo>
                  <a:pt x="7005487" y="1246085"/>
                </a:lnTo>
                <a:lnTo>
                  <a:pt x="7005487" y="1303235"/>
                </a:lnTo>
                <a:lnTo>
                  <a:pt x="6946749" y="1303235"/>
                </a:lnTo>
                <a:close/>
                <a:moveTo>
                  <a:pt x="6867374" y="1246085"/>
                </a:moveTo>
                <a:lnTo>
                  <a:pt x="6926112" y="1246085"/>
                </a:lnTo>
                <a:lnTo>
                  <a:pt x="6926112" y="1303235"/>
                </a:lnTo>
                <a:lnTo>
                  <a:pt x="6867374" y="1303235"/>
                </a:lnTo>
                <a:close/>
                <a:moveTo>
                  <a:pt x="6789586" y="1246085"/>
                </a:moveTo>
                <a:lnTo>
                  <a:pt x="6846736" y="1246085"/>
                </a:lnTo>
                <a:lnTo>
                  <a:pt x="6846736" y="1303235"/>
                </a:lnTo>
                <a:lnTo>
                  <a:pt x="6789586" y="1303235"/>
                </a:lnTo>
                <a:close/>
                <a:moveTo>
                  <a:pt x="6710211" y="1246085"/>
                </a:moveTo>
                <a:lnTo>
                  <a:pt x="6768949" y="1246085"/>
                </a:lnTo>
                <a:lnTo>
                  <a:pt x="6768949" y="1303235"/>
                </a:lnTo>
                <a:lnTo>
                  <a:pt x="6710211" y="1303235"/>
                </a:lnTo>
                <a:close/>
                <a:moveTo>
                  <a:pt x="6630836" y="1246085"/>
                </a:moveTo>
                <a:lnTo>
                  <a:pt x="6689574" y="1246085"/>
                </a:lnTo>
                <a:lnTo>
                  <a:pt x="6689574" y="1303235"/>
                </a:lnTo>
                <a:lnTo>
                  <a:pt x="6630836" y="1303235"/>
                </a:lnTo>
                <a:close/>
                <a:moveTo>
                  <a:pt x="6551461" y="1246085"/>
                </a:moveTo>
                <a:lnTo>
                  <a:pt x="6610199" y="1246085"/>
                </a:lnTo>
                <a:lnTo>
                  <a:pt x="6610199" y="1303235"/>
                </a:lnTo>
                <a:lnTo>
                  <a:pt x="6551461" y="1303235"/>
                </a:lnTo>
                <a:close/>
                <a:moveTo>
                  <a:pt x="6473674" y="1246085"/>
                </a:moveTo>
                <a:lnTo>
                  <a:pt x="6530824" y="1246085"/>
                </a:lnTo>
                <a:lnTo>
                  <a:pt x="6530824" y="1303235"/>
                </a:lnTo>
                <a:lnTo>
                  <a:pt x="6473674" y="1303235"/>
                </a:lnTo>
                <a:close/>
                <a:moveTo>
                  <a:pt x="6394299" y="1246085"/>
                </a:moveTo>
                <a:lnTo>
                  <a:pt x="6453037" y="1246085"/>
                </a:lnTo>
                <a:lnTo>
                  <a:pt x="6453037" y="1303235"/>
                </a:lnTo>
                <a:lnTo>
                  <a:pt x="6394299" y="1303235"/>
                </a:lnTo>
                <a:close/>
                <a:moveTo>
                  <a:pt x="6314924" y="1246085"/>
                </a:moveTo>
                <a:lnTo>
                  <a:pt x="6373662" y="1246085"/>
                </a:lnTo>
                <a:lnTo>
                  <a:pt x="6373662" y="1303235"/>
                </a:lnTo>
                <a:lnTo>
                  <a:pt x="6314924" y="1303235"/>
                </a:lnTo>
                <a:close/>
                <a:moveTo>
                  <a:pt x="6235549" y="1246085"/>
                </a:moveTo>
                <a:lnTo>
                  <a:pt x="6294287" y="1246085"/>
                </a:lnTo>
                <a:lnTo>
                  <a:pt x="6294287" y="1303235"/>
                </a:lnTo>
                <a:lnTo>
                  <a:pt x="6235549" y="1303235"/>
                </a:lnTo>
                <a:close/>
                <a:moveTo>
                  <a:pt x="6157761" y="1246085"/>
                </a:moveTo>
                <a:lnTo>
                  <a:pt x="6214911" y="1246085"/>
                </a:lnTo>
                <a:lnTo>
                  <a:pt x="6214911" y="1303235"/>
                </a:lnTo>
                <a:lnTo>
                  <a:pt x="6157761" y="1303235"/>
                </a:lnTo>
                <a:close/>
                <a:moveTo>
                  <a:pt x="6078386" y="1246085"/>
                </a:moveTo>
                <a:lnTo>
                  <a:pt x="6137124" y="1246085"/>
                </a:lnTo>
                <a:lnTo>
                  <a:pt x="6137124" y="1303235"/>
                </a:lnTo>
                <a:lnTo>
                  <a:pt x="6078386" y="1303235"/>
                </a:lnTo>
                <a:close/>
                <a:moveTo>
                  <a:pt x="5999011" y="1246085"/>
                </a:moveTo>
                <a:lnTo>
                  <a:pt x="6057749" y="1246085"/>
                </a:lnTo>
                <a:lnTo>
                  <a:pt x="6057749" y="1303235"/>
                </a:lnTo>
                <a:lnTo>
                  <a:pt x="5999011" y="1303235"/>
                </a:lnTo>
                <a:close/>
                <a:moveTo>
                  <a:pt x="5921224" y="1246085"/>
                </a:moveTo>
                <a:lnTo>
                  <a:pt x="5978374" y="1246085"/>
                </a:lnTo>
                <a:lnTo>
                  <a:pt x="5978374" y="1303235"/>
                </a:lnTo>
                <a:lnTo>
                  <a:pt x="5921224" y="1303235"/>
                </a:lnTo>
                <a:close/>
                <a:moveTo>
                  <a:pt x="5841849" y="1246085"/>
                </a:moveTo>
                <a:lnTo>
                  <a:pt x="5900587" y="1246085"/>
                </a:lnTo>
                <a:lnTo>
                  <a:pt x="5900587" y="1303235"/>
                </a:lnTo>
                <a:lnTo>
                  <a:pt x="5841849" y="1303235"/>
                </a:lnTo>
                <a:close/>
                <a:moveTo>
                  <a:pt x="5762474" y="1246085"/>
                </a:moveTo>
                <a:lnTo>
                  <a:pt x="5821212" y="1246085"/>
                </a:lnTo>
                <a:lnTo>
                  <a:pt x="5821212" y="1303235"/>
                </a:lnTo>
                <a:lnTo>
                  <a:pt x="5762474" y="1303235"/>
                </a:lnTo>
                <a:close/>
                <a:moveTo>
                  <a:pt x="5684686" y="1246085"/>
                </a:moveTo>
                <a:lnTo>
                  <a:pt x="5741836" y="1246085"/>
                </a:lnTo>
                <a:lnTo>
                  <a:pt x="5741836" y="1303235"/>
                </a:lnTo>
                <a:lnTo>
                  <a:pt x="5684686" y="1303235"/>
                </a:lnTo>
                <a:close/>
                <a:moveTo>
                  <a:pt x="5605311" y="1246085"/>
                </a:moveTo>
                <a:lnTo>
                  <a:pt x="5664049" y="1246085"/>
                </a:lnTo>
                <a:lnTo>
                  <a:pt x="5664049" y="1303235"/>
                </a:lnTo>
                <a:lnTo>
                  <a:pt x="5605311" y="1303235"/>
                </a:lnTo>
                <a:close/>
                <a:moveTo>
                  <a:pt x="5525936" y="1246085"/>
                </a:moveTo>
                <a:lnTo>
                  <a:pt x="5584674" y="1246085"/>
                </a:lnTo>
                <a:lnTo>
                  <a:pt x="5584674" y="1303235"/>
                </a:lnTo>
                <a:lnTo>
                  <a:pt x="5525936" y="1303235"/>
                </a:lnTo>
                <a:close/>
                <a:moveTo>
                  <a:pt x="5446561" y="1246085"/>
                </a:moveTo>
                <a:lnTo>
                  <a:pt x="5505299" y="1246085"/>
                </a:lnTo>
                <a:lnTo>
                  <a:pt x="5505299" y="1303235"/>
                </a:lnTo>
                <a:lnTo>
                  <a:pt x="5446561" y="1303235"/>
                </a:lnTo>
                <a:close/>
                <a:moveTo>
                  <a:pt x="5368774" y="1246085"/>
                </a:moveTo>
                <a:lnTo>
                  <a:pt x="5425924" y="1246085"/>
                </a:lnTo>
                <a:lnTo>
                  <a:pt x="5425924" y="1303235"/>
                </a:lnTo>
                <a:lnTo>
                  <a:pt x="5368774" y="1303235"/>
                </a:lnTo>
                <a:close/>
                <a:moveTo>
                  <a:pt x="5289399" y="1246085"/>
                </a:moveTo>
                <a:lnTo>
                  <a:pt x="5348137" y="1246085"/>
                </a:lnTo>
                <a:lnTo>
                  <a:pt x="5348137" y="1303235"/>
                </a:lnTo>
                <a:lnTo>
                  <a:pt x="5289399" y="1303235"/>
                </a:lnTo>
                <a:close/>
                <a:moveTo>
                  <a:pt x="5210024" y="1246085"/>
                </a:moveTo>
                <a:lnTo>
                  <a:pt x="5268762" y="1246085"/>
                </a:lnTo>
                <a:lnTo>
                  <a:pt x="5268762" y="1303235"/>
                </a:lnTo>
                <a:lnTo>
                  <a:pt x="5210024" y="1303235"/>
                </a:lnTo>
                <a:close/>
                <a:moveTo>
                  <a:pt x="5130649" y="1246085"/>
                </a:moveTo>
                <a:lnTo>
                  <a:pt x="5189387" y="1246085"/>
                </a:lnTo>
                <a:lnTo>
                  <a:pt x="5189387" y="1303235"/>
                </a:lnTo>
                <a:lnTo>
                  <a:pt x="5130649" y="1303235"/>
                </a:lnTo>
                <a:close/>
                <a:moveTo>
                  <a:pt x="5052861" y="1246085"/>
                </a:moveTo>
                <a:lnTo>
                  <a:pt x="5110011" y="1246085"/>
                </a:lnTo>
                <a:lnTo>
                  <a:pt x="5110011" y="1303235"/>
                </a:lnTo>
                <a:lnTo>
                  <a:pt x="5052861" y="1303235"/>
                </a:lnTo>
                <a:close/>
                <a:moveTo>
                  <a:pt x="4973486" y="1246085"/>
                </a:moveTo>
                <a:lnTo>
                  <a:pt x="5030636" y="1246085"/>
                </a:lnTo>
                <a:lnTo>
                  <a:pt x="5030636" y="1303235"/>
                </a:lnTo>
                <a:lnTo>
                  <a:pt x="4973486" y="1303235"/>
                </a:lnTo>
                <a:close/>
                <a:moveTo>
                  <a:pt x="4894111" y="1246085"/>
                </a:moveTo>
                <a:lnTo>
                  <a:pt x="4952849" y="1246085"/>
                </a:lnTo>
                <a:lnTo>
                  <a:pt x="4952849" y="1303235"/>
                </a:lnTo>
                <a:lnTo>
                  <a:pt x="4894111" y="1303235"/>
                </a:lnTo>
                <a:close/>
                <a:moveTo>
                  <a:pt x="4814736" y="1246085"/>
                </a:moveTo>
                <a:lnTo>
                  <a:pt x="4873474" y="1246085"/>
                </a:lnTo>
                <a:lnTo>
                  <a:pt x="4873474" y="1303235"/>
                </a:lnTo>
                <a:lnTo>
                  <a:pt x="4814736" y="1303235"/>
                </a:lnTo>
                <a:close/>
                <a:moveTo>
                  <a:pt x="4736948" y="1246085"/>
                </a:moveTo>
                <a:lnTo>
                  <a:pt x="4794098" y="1246085"/>
                </a:lnTo>
                <a:lnTo>
                  <a:pt x="4794098" y="1303235"/>
                </a:lnTo>
                <a:lnTo>
                  <a:pt x="4736948" y="1303235"/>
                </a:lnTo>
                <a:close/>
                <a:moveTo>
                  <a:pt x="4184498" y="1246085"/>
                </a:moveTo>
                <a:lnTo>
                  <a:pt x="4241648" y="1246085"/>
                </a:lnTo>
                <a:lnTo>
                  <a:pt x="4241648" y="1303235"/>
                </a:lnTo>
                <a:lnTo>
                  <a:pt x="4184498" y="1303235"/>
                </a:lnTo>
                <a:close/>
                <a:moveTo>
                  <a:pt x="4105123" y="1246085"/>
                </a:moveTo>
                <a:lnTo>
                  <a:pt x="4163861" y="1246085"/>
                </a:lnTo>
                <a:lnTo>
                  <a:pt x="4163861" y="1303235"/>
                </a:lnTo>
                <a:lnTo>
                  <a:pt x="4105123" y="1303235"/>
                </a:lnTo>
                <a:close/>
                <a:moveTo>
                  <a:pt x="4025748" y="1246085"/>
                </a:moveTo>
                <a:lnTo>
                  <a:pt x="4084486" y="1246085"/>
                </a:lnTo>
                <a:lnTo>
                  <a:pt x="4084486" y="1303235"/>
                </a:lnTo>
                <a:lnTo>
                  <a:pt x="4025748" y="1303235"/>
                </a:lnTo>
                <a:close/>
                <a:moveTo>
                  <a:pt x="2684311" y="1246085"/>
                </a:moveTo>
                <a:lnTo>
                  <a:pt x="2743049" y="1246085"/>
                </a:lnTo>
                <a:lnTo>
                  <a:pt x="2743049" y="1303235"/>
                </a:lnTo>
                <a:lnTo>
                  <a:pt x="2684311" y="1303235"/>
                </a:lnTo>
                <a:close/>
                <a:moveTo>
                  <a:pt x="2604936" y="1246085"/>
                </a:moveTo>
                <a:lnTo>
                  <a:pt x="2663674" y="1246085"/>
                </a:lnTo>
                <a:lnTo>
                  <a:pt x="2663674" y="1303235"/>
                </a:lnTo>
                <a:lnTo>
                  <a:pt x="2604936" y="1303235"/>
                </a:lnTo>
                <a:close/>
                <a:moveTo>
                  <a:pt x="2525715" y="1246085"/>
                </a:moveTo>
                <a:lnTo>
                  <a:pt x="2584451" y="1246085"/>
                </a:lnTo>
                <a:lnTo>
                  <a:pt x="2584451" y="1303235"/>
                </a:lnTo>
                <a:lnTo>
                  <a:pt x="2525715" y="1303235"/>
                </a:lnTo>
                <a:close/>
                <a:moveTo>
                  <a:pt x="2447922" y="1246085"/>
                </a:moveTo>
                <a:lnTo>
                  <a:pt x="2505083" y="1246085"/>
                </a:lnTo>
                <a:lnTo>
                  <a:pt x="2505083" y="1303235"/>
                </a:lnTo>
                <a:lnTo>
                  <a:pt x="2447922" y="1303235"/>
                </a:lnTo>
                <a:close/>
                <a:moveTo>
                  <a:pt x="2368556" y="1246085"/>
                </a:moveTo>
                <a:lnTo>
                  <a:pt x="2427286" y="1246085"/>
                </a:lnTo>
                <a:lnTo>
                  <a:pt x="2427286" y="1303235"/>
                </a:lnTo>
                <a:lnTo>
                  <a:pt x="2368556" y="1303235"/>
                </a:lnTo>
                <a:close/>
                <a:moveTo>
                  <a:pt x="2289178" y="1246085"/>
                </a:moveTo>
                <a:lnTo>
                  <a:pt x="2347918" y="1246085"/>
                </a:lnTo>
                <a:lnTo>
                  <a:pt x="2347918" y="1303235"/>
                </a:lnTo>
                <a:lnTo>
                  <a:pt x="2289178" y="1303235"/>
                </a:lnTo>
                <a:close/>
                <a:moveTo>
                  <a:pt x="2052634" y="1246085"/>
                </a:moveTo>
                <a:lnTo>
                  <a:pt x="2111375" y="1246085"/>
                </a:lnTo>
                <a:lnTo>
                  <a:pt x="2111375" y="1303235"/>
                </a:lnTo>
                <a:lnTo>
                  <a:pt x="2052634" y="1303235"/>
                </a:lnTo>
                <a:close/>
                <a:moveTo>
                  <a:pt x="1973253" y="1246085"/>
                </a:moveTo>
                <a:lnTo>
                  <a:pt x="2031995" y="1246085"/>
                </a:lnTo>
                <a:lnTo>
                  <a:pt x="2031995" y="1303235"/>
                </a:lnTo>
                <a:lnTo>
                  <a:pt x="1973253" y="1303235"/>
                </a:lnTo>
                <a:close/>
                <a:moveTo>
                  <a:pt x="1893874" y="1246085"/>
                </a:moveTo>
                <a:lnTo>
                  <a:pt x="1952611" y="1246085"/>
                </a:lnTo>
                <a:lnTo>
                  <a:pt x="1952611" y="1303235"/>
                </a:lnTo>
                <a:lnTo>
                  <a:pt x="1893874" y="1303235"/>
                </a:lnTo>
                <a:close/>
                <a:moveTo>
                  <a:pt x="1816112" y="1246085"/>
                </a:moveTo>
                <a:lnTo>
                  <a:pt x="1873245" y="1246085"/>
                </a:lnTo>
                <a:lnTo>
                  <a:pt x="1873245" y="1303235"/>
                </a:lnTo>
                <a:lnTo>
                  <a:pt x="1816112" y="1303235"/>
                </a:lnTo>
                <a:close/>
                <a:moveTo>
                  <a:pt x="1736736" y="1246085"/>
                </a:moveTo>
                <a:lnTo>
                  <a:pt x="1795483" y="1246085"/>
                </a:lnTo>
                <a:lnTo>
                  <a:pt x="1795483" y="1303235"/>
                </a:lnTo>
                <a:lnTo>
                  <a:pt x="1736736" y="1303235"/>
                </a:lnTo>
                <a:close/>
                <a:moveTo>
                  <a:pt x="1657354" y="1246085"/>
                </a:moveTo>
                <a:lnTo>
                  <a:pt x="1716098" y="1246085"/>
                </a:lnTo>
                <a:lnTo>
                  <a:pt x="1716098" y="1303235"/>
                </a:lnTo>
                <a:lnTo>
                  <a:pt x="1657354" y="1303235"/>
                </a:lnTo>
                <a:close/>
                <a:moveTo>
                  <a:pt x="1577967" y="1246085"/>
                </a:moveTo>
                <a:lnTo>
                  <a:pt x="1636720" y="1246085"/>
                </a:lnTo>
                <a:lnTo>
                  <a:pt x="1636720" y="1303235"/>
                </a:lnTo>
                <a:lnTo>
                  <a:pt x="1577967" y="1303235"/>
                </a:lnTo>
                <a:close/>
                <a:moveTo>
                  <a:pt x="1500178" y="1246085"/>
                </a:moveTo>
                <a:lnTo>
                  <a:pt x="1558924" y="1246085"/>
                </a:lnTo>
                <a:lnTo>
                  <a:pt x="1558924" y="1303235"/>
                </a:lnTo>
                <a:lnTo>
                  <a:pt x="1500178" y="1303235"/>
                </a:lnTo>
                <a:close/>
                <a:moveTo>
                  <a:pt x="1420799" y="1246085"/>
                </a:moveTo>
                <a:lnTo>
                  <a:pt x="1479536" y="1246085"/>
                </a:lnTo>
                <a:lnTo>
                  <a:pt x="1479536" y="1303235"/>
                </a:lnTo>
                <a:lnTo>
                  <a:pt x="1420799" y="1303235"/>
                </a:lnTo>
                <a:close/>
                <a:moveTo>
                  <a:pt x="1341460" y="1246085"/>
                </a:moveTo>
                <a:lnTo>
                  <a:pt x="1400178" y="1246085"/>
                </a:lnTo>
                <a:lnTo>
                  <a:pt x="1400178" y="1303235"/>
                </a:lnTo>
                <a:lnTo>
                  <a:pt x="1341460" y="1303235"/>
                </a:lnTo>
                <a:close/>
                <a:moveTo>
                  <a:pt x="1263642" y="1246085"/>
                </a:moveTo>
                <a:lnTo>
                  <a:pt x="1320809" y="1246085"/>
                </a:lnTo>
                <a:lnTo>
                  <a:pt x="1320809" y="1303235"/>
                </a:lnTo>
                <a:lnTo>
                  <a:pt x="1263642" y="1303235"/>
                </a:lnTo>
                <a:close/>
                <a:moveTo>
                  <a:pt x="1184274" y="1246085"/>
                </a:moveTo>
                <a:lnTo>
                  <a:pt x="1243006" y="1246085"/>
                </a:lnTo>
                <a:lnTo>
                  <a:pt x="1243006" y="1303235"/>
                </a:lnTo>
                <a:lnTo>
                  <a:pt x="1184274" y="1303235"/>
                </a:lnTo>
                <a:close/>
                <a:moveTo>
                  <a:pt x="1104902" y="1246085"/>
                </a:moveTo>
                <a:lnTo>
                  <a:pt x="1163638" y="1246085"/>
                </a:lnTo>
                <a:lnTo>
                  <a:pt x="1163638" y="1303235"/>
                </a:lnTo>
                <a:lnTo>
                  <a:pt x="1104902" y="1303235"/>
                </a:lnTo>
                <a:close/>
                <a:moveTo>
                  <a:pt x="1027107" y="1246085"/>
                </a:moveTo>
                <a:lnTo>
                  <a:pt x="1084268" y="1246085"/>
                </a:lnTo>
                <a:lnTo>
                  <a:pt x="1084268" y="1303235"/>
                </a:lnTo>
                <a:lnTo>
                  <a:pt x="1027107" y="1303235"/>
                </a:lnTo>
                <a:close/>
                <a:moveTo>
                  <a:pt x="947728" y="1246085"/>
                </a:moveTo>
                <a:lnTo>
                  <a:pt x="1004876" y="1246085"/>
                </a:lnTo>
                <a:lnTo>
                  <a:pt x="1004876" y="1303235"/>
                </a:lnTo>
                <a:lnTo>
                  <a:pt x="947728" y="1303235"/>
                </a:lnTo>
                <a:close/>
                <a:moveTo>
                  <a:pt x="236522" y="1246085"/>
                </a:moveTo>
                <a:lnTo>
                  <a:pt x="295260" y="1246085"/>
                </a:lnTo>
                <a:lnTo>
                  <a:pt x="295260" y="1303235"/>
                </a:lnTo>
                <a:lnTo>
                  <a:pt x="236522" y="1303235"/>
                </a:lnTo>
                <a:close/>
                <a:moveTo>
                  <a:pt x="8210399" y="1166710"/>
                </a:moveTo>
                <a:lnTo>
                  <a:pt x="8267549" y="1166710"/>
                </a:lnTo>
                <a:lnTo>
                  <a:pt x="8267549" y="1225448"/>
                </a:lnTo>
                <a:lnTo>
                  <a:pt x="8210399" y="1225448"/>
                </a:lnTo>
                <a:close/>
                <a:moveTo>
                  <a:pt x="8131024" y="1166710"/>
                </a:moveTo>
                <a:lnTo>
                  <a:pt x="8189762" y="1166710"/>
                </a:lnTo>
                <a:lnTo>
                  <a:pt x="8189762" y="1225448"/>
                </a:lnTo>
                <a:lnTo>
                  <a:pt x="8131024" y="1225448"/>
                </a:lnTo>
                <a:close/>
                <a:moveTo>
                  <a:pt x="7657949" y="1166710"/>
                </a:moveTo>
                <a:lnTo>
                  <a:pt x="7715099" y="1166710"/>
                </a:lnTo>
                <a:lnTo>
                  <a:pt x="7715099" y="1225448"/>
                </a:lnTo>
                <a:lnTo>
                  <a:pt x="7657949" y="1225448"/>
                </a:lnTo>
                <a:close/>
                <a:moveTo>
                  <a:pt x="7578574" y="1166710"/>
                </a:moveTo>
                <a:lnTo>
                  <a:pt x="7637312" y="1166710"/>
                </a:lnTo>
                <a:lnTo>
                  <a:pt x="7637312" y="1225448"/>
                </a:lnTo>
                <a:lnTo>
                  <a:pt x="7578574" y="1225448"/>
                </a:lnTo>
                <a:close/>
                <a:moveTo>
                  <a:pt x="7499199" y="1166710"/>
                </a:moveTo>
                <a:lnTo>
                  <a:pt x="7557937" y="1166710"/>
                </a:lnTo>
                <a:lnTo>
                  <a:pt x="7557937" y="1225448"/>
                </a:lnTo>
                <a:lnTo>
                  <a:pt x="7499199" y="1225448"/>
                </a:lnTo>
                <a:close/>
                <a:moveTo>
                  <a:pt x="7419824" y="1166710"/>
                </a:moveTo>
                <a:lnTo>
                  <a:pt x="7478562" y="1166710"/>
                </a:lnTo>
                <a:lnTo>
                  <a:pt x="7478562" y="1225448"/>
                </a:lnTo>
                <a:lnTo>
                  <a:pt x="7419824" y="1225448"/>
                </a:lnTo>
                <a:close/>
                <a:moveTo>
                  <a:pt x="7342036" y="1166710"/>
                </a:moveTo>
                <a:lnTo>
                  <a:pt x="7400774" y="1166710"/>
                </a:lnTo>
                <a:lnTo>
                  <a:pt x="7400774" y="1225448"/>
                </a:lnTo>
                <a:lnTo>
                  <a:pt x="7342036" y="1225448"/>
                </a:lnTo>
                <a:close/>
                <a:moveTo>
                  <a:pt x="7262661" y="1166710"/>
                </a:moveTo>
                <a:lnTo>
                  <a:pt x="7321399" y="1166710"/>
                </a:lnTo>
                <a:lnTo>
                  <a:pt x="7321399" y="1225448"/>
                </a:lnTo>
                <a:lnTo>
                  <a:pt x="7262661" y="1225448"/>
                </a:lnTo>
                <a:close/>
                <a:moveTo>
                  <a:pt x="7183286" y="1166710"/>
                </a:moveTo>
                <a:lnTo>
                  <a:pt x="7242024" y="1166710"/>
                </a:lnTo>
                <a:lnTo>
                  <a:pt x="7242024" y="1225448"/>
                </a:lnTo>
                <a:lnTo>
                  <a:pt x="7183286" y="1225448"/>
                </a:lnTo>
                <a:close/>
                <a:moveTo>
                  <a:pt x="7105499" y="1166710"/>
                </a:moveTo>
                <a:lnTo>
                  <a:pt x="7162649" y="1166710"/>
                </a:lnTo>
                <a:lnTo>
                  <a:pt x="7162649" y="1225448"/>
                </a:lnTo>
                <a:lnTo>
                  <a:pt x="7105499" y="1225448"/>
                </a:lnTo>
                <a:close/>
                <a:moveTo>
                  <a:pt x="7026124" y="1166710"/>
                </a:moveTo>
                <a:lnTo>
                  <a:pt x="7084862" y="1166710"/>
                </a:lnTo>
                <a:lnTo>
                  <a:pt x="7084862" y="1225448"/>
                </a:lnTo>
                <a:lnTo>
                  <a:pt x="7026124" y="1225448"/>
                </a:lnTo>
                <a:close/>
                <a:moveTo>
                  <a:pt x="6946749" y="1166710"/>
                </a:moveTo>
                <a:lnTo>
                  <a:pt x="7005487" y="1166710"/>
                </a:lnTo>
                <a:lnTo>
                  <a:pt x="7005487" y="1225448"/>
                </a:lnTo>
                <a:lnTo>
                  <a:pt x="6946749" y="1225448"/>
                </a:lnTo>
                <a:close/>
                <a:moveTo>
                  <a:pt x="6867374" y="1166710"/>
                </a:moveTo>
                <a:lnTo>
                  <a:pt x="6926112" y="1166710"/>
                </a:lnTo>
                <a:lnTo>
                  <a:pt x="6926112" y="1225448"/>
                </a:lnTo>
                <a:lnTo>
                  <a:pt x="6867374" y="1225448"/>
                </a:lnTo>
                <a:close/>
                <a:moveTo>
                  <a:pt x="6789586" y="1166710"/>
                </a:moveTo>
                <a:lnTo>
                  <a:pt x="6846736" y="1166710"/>
                </a:lnTo>
                <a:lnTo>
                  <a:pt x="6846736" y="1225448"/>
                </a:lnTo>
                <a:lnTo>
                  <a:pt x="6789586" y="1225448"/>
                </a:lnTo>
                <a:close/>
                <a:moveTo>
                  <a:pt x="6710211" y="1166710"/>
                </a:moveTo>
                <a:lnTo>
                  <a:pt x="6768949" y="1166710"/>
                </a:lnTo>
                <a:lnTo>
                  <a:pt x="6768949" y="1225448"/>
                </a:lnTo>
                <a:lnTo>
                  <a:pt x="6710211" y="1225448"/>
                </a:lnTo>
                <a:close/>
                <a:moveTo>
                  <a:pt x="6630836" y="1166710"/>
                </a:moveTo>
                <a:lnTo>
                  <a:pt x="6689574" y="1166710"/>
                </a:lnTo>
                <a:lnTo>
                  <a:pt x="6689574" y="1225448"/>
                </a:lnTo>
                <a:lnTo>
                  <a:pt x="6630836" y="1225448"/>
                </a:lnTo>
                <a:close/>
                <a:moveTo>
                  <a:pt x="6551461" y="1166710"/>
                </a:moveTo>
                <a:lnTo>
                  <a:pt x="6610199" y="1166710"/>
                </a:lnTo>
                <a:lnTo>
                  <a:pt x="6610199" y="1225448"/>
                </a:lnTo>
                <a:lnTo>
                  <a:pt x="6551461" y="1225448"/>
                </a:lnTo>
                <a:close/>
                <a:moveTo>
                  <a:pt x="6473674" y="1166710"/>
                </a:moveTo>
                <a:lnTo>
                  <a:pt x="6530824" y="1166710"/>
                </a:lnTo>
                <a:lnTo>
                  <a:pt x="6530824" y="1225448"/>
                </a:lnTo>
                <a:lnTo>
                  <a:pt x="6473674" y="1225448"/>
                </a:lnTo>
                <a:close/>
                <a:moveTo>
                  <a:pt x="6394299" y="1166710"/>
                </a:moveTo>
                <a:lnTo>
                  <a:pt x="6453037" y="1166710"/>
                </a:lnTo>
                <a:lnTo>
                  <a:pt x="6453037" y="1225448"/>
                </a:lnTo>
                <a:lnTo>
                  <a:pt x="6394299" y="1225448"/>
                </a:lnTo>
                <a:close/>
                <a:moveTo>
                  <a:pt x="6314924" y="1166710"/>
                </a:moveTo>
                <a:lnTo>
                  <a:pt x="6373662" y="1166710"/>
                </a:lnTo>
                <a:lnTo>
                  <a:pt x="6373662" y="1225448"/>
                </a:lnTo>
                <a:lnTo>
                  <a:pt x="6314924" y="1225448"/>
                </a:lnTo>
                <a:close/>
                <a:moveTo>
                  <a:pt x="6235549" y="1166710"/>
                </a:moveTo>
                <a:lnTo>
                  <a:pt x="6294287" y="1166710"/>
                </a:lnTo>
                <a:lnTo>
                  <a:pt x="6294287" y="1225448"/>
                </a:lnTo>
                <a:lnTo>
                  <a:pt x="6235549" y="1225448"/>
                </a:lnTo>
                <a:close/>
                <a:moveTo>
                  <a:pt x="6157761" y="1166710"/>
                </a:moveTo>
                <a:lnTo>
                  <a:pt x="6214911" y="1166710"/>
                </a:lnTo>
                <a:lnTo>
                  <a:pt x="6214911" y="1225448"/>
                </a:lnTo>
                <a:lnTo>
                  <a:pt x="6157761" y="1225448"/>
                </a:lnTo>
                <a:close/>
                <a:moveTo>
                  <a:pt x="6078386" y="1166710"/>
                </a:moveTo>
                <a:lnTo>
                  <a:pt x="6137124" y="1166710"/>
                </a:lnTo>
                <a:lnTo>
                  <a:pt x="6137124" y="1225448"/>
                </a:lnTo>
                <a:lnTo>
                  <a:pt x="6078386" y="1225448"/>
                </a:lnTo>
                <a:close/>
                <a:moveTo>
                  <a:pt x="5999011" y="1166710"/>
                </a:moveTo>
                <a:lnTo>
                  <a:pt x="6057749" y="1166710"/>
                </a:lnTo>
                <a:lnTo>
                  <a:pt x="6057749" y="1225448"/>
                </a:lnTo>
                <a:lnTo>
                  <a:pt x="5999011" y="1225448"/>
                </a:lnTo>
                <a:close/>
                <a:moveTo>
                  <a:pt x="5921224" y="1166710"/>
                </a:moveTo>
                <a:lnTo>
                  <a:pt x="5978374" y="1166710"/>
                </a:lnTo>
                <a:lnTo>
                  <a:pt x="5978374" y="1225448"/>
                </a:lnTo>
                <a:lnTo>
                  <a:pt x="5921224" y="1225448"/>
                </a:lnTo>
                <a:close/>
                <a:moveTo>
                  <a:pt x="5841849" y="1166710"/>
                </a:moveTo>
                <a:lnTo>
                  <a:pt x="5900587" y="1166710"/>
                </a:lnTo>
                <a:lnTo>
                  <a:pt x="5900587" y="1225448"/>
                </a:lnTo>
                <a:lnTo>
                  <a:pt x="5841849" y="1225448"/>
                </a:lnTo>
                <a:close/>
                <a:moveTo>
                  <a:pt x="5762474" y="1166710"/>
                </a:moveTo>
                <a:lnTo>
                  <a:pt x="5821212" y="1166710"/>
                </a:lnTo>
                <a:lnTo>
                  <a:pt x="5821212" y="1225448"/>
                </a:lnTo>
                <a:lnTo>
                  <a:pt x="5762474" y="1225448"/>
                </a:lnTo>
                <a:close/>
                <a:moveTo>
                  <a:pt x="5684686" y="1166710"/>
                </a:moveTo>
                <a:lnTo>
                  <a:pt x="5741836" y="1166710"/>
                </a:lnTo>
                <a:lnTo>
                  <a:pt x="5741836" y="1225448"/>
                </a:lnTo>
                <a:lnTo>
                  <a:pt x="5684686" y="1225448"/>
                </a:lnTo>
                <a:close/>
                <a:moveTo>
                  <a:pt x="5605311" y="1166710"/>
                </a:moveTo>
                <a:lnTo>
                  <a:pt x="5664049" y="1166710"/>
                </a:lnTo>
                <a:lnTo>
                  <a:pt x="5664049" y="1225448"/>
                </a:lnTo>
                <a:lnTo>
                  <a:pt x="5605311" y="1225448"/>
                </a:lnTo>
                <a:close/>
                <a:moveTo>
                  <a:pt x="5525936" y="1166710"/>
                </a:moveTo>
                <a:lnTo>
                  <a:pt x="5584674" y="1166710"/>
                </a:lnTo>
                <a:lnTo>
                  <a:pt x="5584674" y="1225448"/>
                </a:lnTo>
                <a:lnTo>
                  <a:pt x="5525936" y="1225448"/>
                </a:lnTo>
                <a:close/>
                <a:moveTo>
                  <a:pt x="5446561" y="1166710"/>
                </a:moveTo>
                <a:lnTo>
                  <a:pt x="5505299" y="1166710"/>
                </a:lnTo>
                <a:lnTo>
                  <a:pt x="5505299" y="1225448"/>
                </a:lnTo>
                <a:lnTo>
                  <a:pt x="5446561" y="1225448"/>
                </a:lnTo>
                <a:close/>
                <a:moveTo>
                  <a:pt x="5368774" y="1166710"/>
                </a:moveTo>
                <a:lnTo>
                  <a:pt x="5425924" y="1166710"/>
                </a:lnTo>
                <a:lnTo>
                  <a:pt x="5425924" y="1225448"/>
                </a:lnTo>
                <a:lnTo>
                  <a:pt x="5368774" y="1225448"/>
                </a:lnTo>
                <a:close/>
                <a:moveTo>
                  <a:pt x="5289399" y="1166710"/>
                </a:moveTo>
                <a:lnTo>
                  <a:pt x="5348137" y="1166710"/>
                </a:lnTo>
                <a:lnTo>
                  <a:pt x="5348137" y="1225448"/>
                </a:lnTo>
                <a:lnTo>
                  <a:pt x="5289399" y="1225448"/>
                </a:lnTo>
                <a:close/>
                <a:moveTo>
                  <a:pt x="5210024" y="1166710"/>
                </a:moveTo>
                <a:lnTo>
                  <a:pt x="5268762" y="1166710"/>
                </a:lnTo>
                <a:lnTo>
                  <a:pt x="5268762" y="1225448"/>
                </a:lnTo>
                <a:lnTo>
                  <a:pt x="5210024" y="1225448"/>
                </a:lnTo>
                <a:close/>
                <a:moveTo>
                  <a:pt x="5130649" y="1166710"/>
                </a:moveTo>
                <a:lnTo>
                  <a:pt x="5189387" y="1166710"/>
                </a:lnTo>
                <a:lnTo>
                  <a:pt x="5189387" y="1225448"/>
                </a:lnTo>
                <a:lnTo>
                  <a:pt x="5130649" y="1225448"/>
                </a:lnTo>
                <a:close/>
                <a:moveTo>
                  <a:pt x="5052861" y="1166710"/>
                </a:moveTo>
                <a:lnTo>
                  <a:pt x="5110011" y="1166710"/>
                </a:lnTo>
                <a:lnTo>
                  <a:pt x="5110011" y="1225448"/>
                </a:lnTo>
                <a:lnTo>
                  <a:pt x="5052861" y="1225448"/>
                </a:lnTo>
                <a:close/>
                <a:moveTo>
                  <a:pt x="4973486" y="1166710"/>
                </a:moveTo>
                <a:lnTo>
                  <a:pt x="5030636" y="1166710"/>
                </a:lnTo>
                <a:lnTo>
                  <a:pt x="5030636" y="1225448"/>
                </a:lnTo>
                <a:lnTo>
                  <a:pt x="4973486" y="1225448"/>
                </a:lnTo>
                <a:close/>
                <a:moveTo>
                  <a:pt x="4894111" y="1166710"/>
                </a:moveTo>
                <a:lnTo>
                  <a:pt x="4952849" y="1166710"/>
                </a:lnTo>
                <a:lnTo>
                  <a:pt x="4952849" y="1225448"/>
                </a:lnTo>
                <a:lnTo>
                  <a:pt x="4894111" y="1225448"/>
                </a:lnTo>
                <a:close/>
                <a:moveTo>
                  <a:pt x="4814736" y="1166710"/>
                </a:moveTo>
                <a:lnTo>
                  <a:pt x="4873474" y="1166710"/>
                </a:lnTo>
                <a:lnTo>
                  <a:pt x="4873474" y="1225448"/>
                </a:lnTo>
                <a:lnTo>
                  <a:pt x="4814736" y="1225448"/>
                </a:lnTo>
                <a:close/>
                <a:moveTo>
                  <a:pt x="4736948" y="1166710"/>
                </a:moveTo>
                <a:lnTo>
                  <a:pt x="4794098" y="1166710"/>
                </a:lnTo>
                <a:lnTo>
                  <a:pt x="4794098" y="1225448"/>
                </a:lnTo>
                <a:lnTo>
                  <a:pt x="4736948" y="1225448"/>
                </a:lnTo>
                <a:close/>
                <a:moveTo>
                  <a:pt x="4657573" y="1166710"/>
                </a:moveTo>
                <a:lnTo>
                  <a:pt x="4716311" y="1166710"/>
                </a:lnTo>
                <a:lnTo>
                  <a:pt x="4716311" y="1225448"/>
                </a:lnTo>
                <a:lnTo>
                  <a:pt x="4657573" y="1225448"/>
                </a:lnTo>
                <a:close/>
                <a:moveTo>
                  <a:pt x="4578198" y="1166710"/>
                </a:moveTo>
                <a:lnTo>
                  <a:pt x="4636936" y="1166710"/>
                </a:lnTo>
                <a:lnTo>
                  <a:pt x="4636936" y="1225448"/>
                </a:lnTo>
                <a:lnTo>
                  <a:pt x="4578198" y="1225448"/>
                </a:lnTo>
                <a:close/>
                <a:moveTo>
                  <a:pt x="4184498" y="1166710"/>
                </a:moveTo>
                <a:lnTo>
                  <a:pt x="4241648" y="1166710"/>
                </a:lnTo>
                <a:lnTo>
                  <a:pt x="4241648" y="1225448"/>
                </a:lnTo>
                <a:lnTo>
                  <a:pt x="4184498" y="1225448"/>
                </a:lnTo>
                <a:close/>
                <a:moveTo>
                  <a:pt x="2684311" y="1166710"/>
                </a:moveTo>
                <a:lnTo>
                  <a:pt x="2743049" y="1166710"/>
                </a:lnTo>
                <a:lnTo>
                  <a:pt x="2743049" y="1225448"/>
                </a:lnTo>
                <a:lnTo>
                  <a:pt x="2684311" y="1225448"/>
                </a:lnTo>
                <a:close/>
                <a:moveTo>
                  <a:pt x="2604936" y="1166710"/>
                </a:moveTo>
                <a:lnTo>
                  <a:pt x="2663674" y="1166710"/>
                </a:lnTo>
                <a:lnTo>
                  <a:pt x="2663674" y="1225448"/>
                </a:lnTo>
                <a:lnTo>
                  <a:pt x="2604936" y="1225448"/>
                </a:lnTo>
                <a:close/>
                <a:moveTo>
                  <a:pt x="2525721" y="1166710"/>
                </a:moveTo>
                <a:lnTo>
                  <a:pt x="2584456" y="1166710"/>
                </a:lnTo>
                <a:lnTo>
                  <a:pt x="2584456" y="1225448"/>
                </a:lnTo>
                <a:lnTo>
                  <a:pt x="2525721" y="1225448"/>
                </a:lnTo>
                <a:close/>
                <a:moveTo>
                  <a:pt x="2447925" y="1166710"/>
                </a:moveTo>
                <a:lnTo>
                  <a:pt x="2505086" y="1166710"/>
                </a:lnTo>
                <a:lnTo>
                  <a:pt x="2505086" y="1225448"/>
                </a:lnTo>
                <a:lnTo>
                  <a:pt x="2447925" y="1225448"/>
                </a:lnTo>
                <a:close/>
                <a:moveTo>
                  <a:pt x="2368559" y="1166710"/>
                </a:moveTo>
                <a:lnTo>
                  <a:pt x="2427293" y="1166710"/>
                </a:lnTo>
                <a:lnTo>
                  <a:pt x="2427293" y="1225448"/>
                </a:lnTo>
                <a:lnTo>
                  <a:pt x="2368559" y="1225448"/>
                </a:lnTo>
                <a:close/>
                <a:moveTo>
                  <a:pt x="1973255" y="1166710"/>
                </a:moveTo>
                <a:lnTo>
                  <a:pt x="2031999" y="1166710"/>
                </a:lnTo>
                <a:lnTo>
                  <a:pt x="2031999" y="1225448"/>
                </a:lnTo>
                <a:lnTo>
                  <a:pt x="1973255" y="1225448"/>
                </a:lnTo>
                <a:close/>
                <a:moveTo>
                  <a:pt x="1893878" y="1166710"/>
                </a:moveTo>
                <a:lnTo>
                  <a:pt x="1952617" y="1166710"/>
                </a:lnTo>
                <a:lnTo>
                  <a:pt x="1952617" y="1225448"/>
                </a:lnTo>
                <a:lnTo>
                  <a:pt x="1893878" y="1225448"/>
                </a:lnTo>
                <a:close/>
                <a:moveTo>
                  <a:pt x="1816117" y="1166710"/>
                </a:moveTo>
                <a:lnTo>
                  <a:pt x="1873248" y="1166710"/>
                </a:lnTo>
                <a:lnTo>
                  <a:pt x="1873248" y="1225448"/>
                </a:lnTo>
                <a:lnTo>
                  <a:pt x="1816117" y="1225448"/>
                </a:lnTo>
                <a:close/>
                <a:moveTo>
                  <a:pt x="1736741" y="1166710"/>
                </a:moveTo>
                <a:lnTo>
                  <a:pt x="1795488" y="1166710"/>
                </a:lnTo>
                <a:lnTo>
                  <a:pt x="1795488" y="1225448"/>
                </a:lnTo>
                <a:lnTo>
                  <a:pt x="1736741" y="1225448"/>
                </a:lnTo>
                <a:close/>
                <a:moveTo>
                  <a:pt x="1657358" y="1166710"/>
                </a:moveTo>
                <a:lnTo>
                  <a:pt x="1716103" y="1166710"/>
                </a:lnTo>
                <a:lnTo>
                  <a:pt x="1716103" y="1225448"/>
                </a:lnTo>
                <a:lnTo>
                  <a:pt x="1657358" y="1225448"/>
                </a:lnTo>
                <a:close/>
                <a:moveTo>
                  <a:pt x="1577973" y="1166710"/>
                </a:moveTo>
                <a:lnTo>
                  <a:pt x="1636724" y="1166710"/>
                </a:lnTo>
                <a:lnTo>
                  <a:pt x="1636724" y="1225448"/>
                </a:lnTo>
                <a:lnTo>
                  <a:pt x="1577973" y="1225448"/>
                </a:lnTo>
                <a:close/>
                <a:moveTo>
                  <a:pt x="1500181" y="1166710"/>
                </a:moveTo>
                <a:lnTo>
                  <a:pt x="1558924" y="1166710"/>
                </a:lnTo>
                <a:lnTo>
                  <a:pt x="1558924" y="1225448"/>
                </a:lnTo>
                <a:lnTo>
                  <a:pt x="1500181" y="1225448"/>
                </a:lnTo>
                <a:close/>
                <a:moveTo>
                  <a:pt x="1420803" y="1166710"/>
                </a:moveTo>
                <a:lnTo>
                  <a:pt x="1479542" y="1166710"/>
                </a:lnTo>
                <a:lnTo>
                  <a:pt x="1479542" y="1225448"/>
                </a:lnTo>
                <a:lnTo>
                  <a:pt x="1420803" y="1225448"/>
                </a:lnTo>
                <a:close/>
                <a:moveTo>
                  <a:pt x="1341462" y="1166710"/>
                </a:moveTo>
                <a:lnTo>
                  <a:pt x="1400182" y="1166710"/>
                </a:lnTo>
                <a:lnTo>
                  <a:pt x="1400182" y="1225448"/>
                </a:lnTo>
                <a:lnTo>
                  <a:pt x="1341462" y="1225448"/>
                </a:lnTo>
                <a:close/>
                <a:moveTo>
                  <a:pt x="1263649" y="1166710"/>
                </a:moveTo>
                <a:lnTo>
                  <a:pt x="1320812" y="1166710"/>
                </a:lnTo>
                <a:lnTo>
                  <a:pt x="1320812" y="1225448"/>
                </a:lnTo>
                <a:lnTo>
                  <a:pt x="1263649" y="1225448"/>
                </a:lnTo>
                <a:close/>
                <a:moveTo>
                  <a:pt x="1184282" y="1166710"/>
                </a:moveTo>
                <a:lnTo>
                  <a:pt x="1243008" y="1166710"/>
                </a:lnTo>
                <a:lnTo>
                  <a:pt x="1243008" y="1225448"/>
                </a:lnTo>
                <a:lnTo>
                  <a:pt x="1184282" y="1225448"/>
                </a:lnTo>
                <a:close/>
                <a:moveTo>
                  <a:pt x="1104907" y="1166710"/>
                </a:moveTo>
                <a:lnTo>
                  <a:pt x="1163642" y="1166710"/>
                </a:lnTo>
                <a:lnTo>
                  <a:pt x="1163642" y="1225448"/>
                </a:lnTo>
                <a:lnTo>
                  <a:pt x="1104907" y="1225448"/>
                </a:lnTo>
                <a:close/>
                <a:moveTo>
                  <a:pt x="1027110" y="1166710"/>
                </a:moveTo>
                <a:lnTo>
                  <a:pt x="1084271" y="1166710"/>
                </a:lnTo>
                <a:lnTo>
                  <a:pt x="1084271" y="1225448"/>
                </a:lnTo>
                <a:lnTo>
                  <a:pt x="1027110" y="1225448"/>
                </a:lnTo>
                <a:close/>
                <a:moveTo>
                  <a:pt x="947731" y="1166710"/>
                </a:moveTo>
                <a:lnTo>
                  <a:pt x="1004880" y="1166710"/>
                </a:lnTo>
                <a:lnTo>
                  <a:pt x="1004880" y="1225448"/>
                </a:lnTo>
                <a:lnTo>
                  <a:pt x="947731" y="1225448"/>
                </a:lnTo>
                <a:close/>
                <a:moveTo>
                  <a:pt x="395281" y="1166710"/>
                </a:moveTo>
                <a:lnTo>
                  <a:pt x="452422" y="1166710"/>
                </a:lnTo>
                <a:lnTo>
                  <a:pt x="452422" y="1225448"/>
                </a:lnTo>
                <a:lnTo>
                  <a:pt x="395281" y="1225448"/>
                </a:lnTo>
                <a:close/>
                <a:moveTo>
                  <a:pt x="315900" y="1166710"/>
                </a:moveTo>
                <a:lnTo>
                  <a:pt x="374643" y="1166710"/>
                </a:lnTo>
                <a:lnTo>
                  <a:pt x="374643" y="1225448"/>
                </a:lnTo>
                <a:lnTo>
                  <a:pt x="315900" y="1225448"/>
                </a:lnTo>
                <a:close/>
                <a:moveTo>
                  <a:pt x="8289774" y="1090510"/>
                </a:moveTo>
                <a:lnTo>
                  <a:pt x="8346924" y="1090510"/>
                </a:lnTo>
                <a:lnTo>
                  <a:pt x="8346924" y="1147660"/>
                </a:lnTo>
                <a:lnTo>
                  <a:pt x="8289774" y="1147660"/>
                </a:lnTo>
                <a:close/>
                <a:moveTo>
                  <a:pt x="8210399" y="1090510"/>
                </a:moveTo>
                <a:lnTo>
                  <a:pt x="8267549" y="1090510"/>
                </a:lnTo>
                <a:lnTo>
                  <a:pt x="8267549" y="1147660"/>
                </a:lnTo>
                <a:lnTo>
                  <a:pt x="8210399" y="1147660"/>
                </a:lnTo>
                <a:close/>
                <a:moveTo>
                  <a:pt x="7735736" y="1090510"/>
                </a:moveTo>
                <a:lnTo>
                  <a:pt x="7794474" y="1090510"/>
                </a:lnTo>
                <a:lnTo>
                  <a:pt x="7794474" y="1147660"/>
                </a:lnTo>
                <a:lnTo>
                  <a:pt x="7735736" y="1147660"/>
                </a:lnTo>
                <a:close/>
                <a:moveTo>
                  <a:pt x="7657949" y="1090510"/>
                </a:moveTo>
                <a:lnTo>
                  <a:pt x="7715099" y="1090510"/>
                </a:lnTo>
                <a:lnTo>
                  <a:pt x="7715099" y="1147660"/>
                </a:lnTo>
                <a:lnTo>
                  <a:pt x="7657949" y="1147660"/>
                </a:lnTo>
                <a:close/>
                <a:moveTo>
                  <a:pt x="7578574" y="1090510"/>
                </a:moveTo>
                <a:lnTo>
                  <a:pt x="7637312" y="1090510"/>
                </a:lnTo>
                <a:lnTo>
                  <a:pt x="7637312" y="1147660"/>
                </a:lnTo>
                <a:lnTo>
                  <a:pt x="7578574" y="1147660"/>
                </a:lnTo>
                <a:close/>
                <a:moveTo>
                  <a:pt x="7499199" y="1090510"/>
                </a:moveTo>
                <a:lnTo>
                  <a:pt x="7557937" y="1090510"/>
                </a:lnTo>
                <a:lnTo>
                  <a:pt x="7557937" y="1147660"/>
                </a:lnTo>
                <a:lnTo>
                  <a:pt x="7499199" y="1147660"/>
                </a:lnTo>
                <a:close/>
                <a:moveTo>
                  <a:pt x="7419824" y="1090510"/>
                </a:moveTo>
                <a:lnTo>
                  <a:pt x="7478562" y="1090510"/>
                </a:lnTo>
                <a:lnTo>
                  <a:pt x="7478562" y="1147660"/>
                </a:lnTo>
                <a:lnTo>
                  <a:pt x="7419824" y="1147660"/>
                </a:lnTo>
                <a:close/>
                <a:moveTo>
                  <a:pt x="7342036" y="1090510"/>
                </a:moveTo>
                <a:lnTo>
                  <a:pt x="7400774" y="1090510"/>
                </a:lnTo>
                <a:lnTo>
                  <a:pt x="7400774" y="1147660"/>
                </a:lnTo>
                <a:lnTo>
                  <a:pt x="7342036" y="1147660"/>
                </a:lnTo>
                <a:close/>
                <a:moveTo>
                  <a:pt x="7262661" y="1090510"/>
                </a:moveTo>
                <a:lnTo>
                  <a:pt x="7321399" y="1090510"/>
                </a:lnTo>
                <a:lnTo>
                  <a:pt x="7321399" y="1147660"/>
                </a:lnTo>
                <a:lnTo>
                  <a:pt x="7262661" y="1147660"/>
                </a:lnTo>
                <a:close/>
                <a:moveTo>
                  <a:pt x="7183286" y="1090510"/>
                </a:moveTo>
                <a:lnTo>
                  <a:pt x="7242024" y="1090510"/>
                </a:lnTo>
                <a:lnTo>
                  <a:pt x="7242024" y="1147660"/>
                </a:lnTo>
                <a:lnTo>
                  <a:pt x="7183286" y="1147660"/>
                </a:lnTo>
                <a:close/>
                <a:moveTo>
                  <a:pt x="7105499" y="1090510"/>
                </a:moveTo>
                <a:lnTo>
                  <a:pt x="7162649" y="1090510"/>
                </a:lnTo>
                <a:lnTo>
                  <a:pt x="7162649" y="1147660"/>
                </a:lnTo>
                <a:lnTo>
                  <a:pt x="7105499" y="1147660"/>
                </a:lnTo>
                <a:close/>
                <a:moveTo>
                  <a:pt x="7026124" y="1090510"/>
                </a:moveTo>
                <a:lnTo>
                  <a:pt x="7084862" y="1090510"/>
                </a:lnTo>
                <a:lnTo>
                  <a:pt x="7084862" y="1147660"/>
                </a:lnTo>
                <a:lnTo>
                  <a:pt x="7026124" y="1147660"/>
                </a:lnTo>
                <a:close/>
                <a:moveTo>
                  <a:pt x="6946749" y="1090510"/>
                </a:moveTo>
                <a:lnTo>
                  <a:pt x="7005487" y="1090510"/>
                </a:lnTo>
                <a:lnTo>
                  <a:pt x="7005487" y="1147660"/>
                </a:lnTo>
                <a:lnTo>
                  <a:pt x="6946749" y="1147660"/>
                </a:lnTo>
                <a:close/>
                <a:moveTo>
                  <a:pt x="6867374" y="1090510"/>
                </a:moveTo>
                <a:lnTo>
                  <a:pt x="6926112" y="1090510"/>
                </a:lnTo>
                <a:lnTo>
                  <a:pt x="6926112" y="1147660"/>
                </a:lnTo>
                <a:lnTo>
                  <a:pt x="6867374" y="1147660"/>
                </a:lnTo>
                <a:close/>
                <a:moveTo>
                  <a:pt x="6789586" y="1090510"/>
                </a:moveTo>
                <a:lnTo>
                  <a:pt x="6846736" y="1090510"/>
                </a:lnTo>
                <a:lnTo>
                  <a:pt x="6846736" y="1147660"/>
                </a:lnTo>
                <a:lnTo>
                  <a:pt x="6789586" y="1147660"/>
                </a:lnTo>
                <a:close/>
                <a:moveTo>
                  <a:pt x="6710211" y="1090510"/>
                </a:moveTo>
                <a:lnTo>
                  <a:pt x="6768949" y="1090510"/>
                </a:lnTo>
                <a:lnTo>
                  <a:pt x="6768949" y="1147660"/>
                </a:lnTo>
                <a:lnTo>
                  <a:pt x="6710211" y="1147660"/>
                </a:lnTo>
                <a:close/>
                <a:moveTo>
                  <a:pt x="6630836" y="1090510"/>
                </a:moveTo>
                <a:lnTo>
                  <a:pt x="6689574" y="1090510"/>
                </a:lnTo>
                <a:lnTo>
                  <a:pt x="6689574" y="1147660"/>
                </a:lnTo>
                <a:lnTo>
                  <a:pt x="6630836" y="1147660"/>
                </a:lnTo>
                <a:close/>
                <a:moveTo>
                  <a:pt x="6551461" y="1090510"/>
                </a:moveTo>
                <a:lnTo>
                  <a:pt x="6610199" y="1090510"/>
                </a:lnTo>
                <a:lnTo>
                  <a:pt x="6610199" y="1147660"/>
                </a:lnTo>
                <a:lnTo>
                  <a:pt x="6551461" y="1147660"/>
                </a:lnTo>
                <a:close/>
                <a:moveTo>
                  <a:pt x="6473674" y="1090510"/>
                </a:moveTo>
                <a:lnTo>
                  <a:pt x="6530824" y="1090510"/>
                </a:lnTo>
                <a:lnTo>
                  <a:pt x="6530824" y="1147660"/>
                </a:lnTo>
                <a:lnTo>
                  <a:pt x="6473674" y="1147660"/>
                </a:lnTo>
                <a:close/>
                <a:moveTo>
                  <a:pt x="6394299" y="1090510"/>
                </a:moveTo>
                <a:lnTo>
                  <a:pt x="6453037" y="1090510"/>
                </a:lnTo>
                <a:lnTo>
                  <a:pt x="6453037" y="1147660"/>
                </a:lnTo>
                <a:lnTo>
                  <a:pt x="6394299" y="1147660"/>
                </a:lnTo>
                <a:close/>
                <a:moveTo>
                  <a:pt x="6314924" y="1090510"/>
                </a:moveTo>
                <a:lnTo>
                  <a:pt x="6373662" y="1090510"/>
                </a:lnTo>
                <a:lnTo>
                  <a:pt x="6373662" y="1147660"/>
                </a:lnTo>
                <a:lnTo>
                  <a:pt x="6314924" y="1147660"/>
                </a:lnTo>
                <a:close/>
                <a:moveTo>
                  <a:pt x="6235549" y="1090510"/>
                </a:moveTo>
                <a:lnTo>
                  <a:pt x="6294287" y="1090510"/>
                </a:lnTo>
                <a:lnTo>
                  <a:pt x="6294287" y="1147660"/>
                </a:lnTo>
                <a:lnTo>
                  <a:pt x="6235549" y="1147660"/>
                </a:lnTo>
                <a:close/>
                <a:moveTo>
                  <a:pt x="6157761" y="1090510"/>
                </a:moveTo>
                <a:lnTo>
                  <a:pt x="6214911" y="1090510"/>
                </a:lnTo>
                <a:lnTo>
                  <a:pt x="6214911" y="1147660"/>
                </a:lnTo>
                <a:lnTo>
                  <a:pt x="6157761" y="1147660"/>
                </a:lnTo>
                <a:close/>
                <a:moveTo>
                  <a:pt x="6078386" y="1090510"/>
                </a:moveTo>
                <a:lnTo>
                  <a:pt x="6137124" y="1090510"/>
                </a:lnTo>
                <a:lnTo>
                  <a:pt x="6137124" y="1147660"/>
                </a:lnTo>
                <a:lnTo>
                  <a:pt x="6078386" y="1147660"/>
                </a:lnTo>
                <a:close/>
                <a:moveTo>
                  <a:pt x="5999011" y="1090510"/>
                </a:moveTo>
                <a:lnTo>
                  <a:pt x="6057749" y="1090510"/>
                </a:lnTo>
                <a:lnTo>
                  <a:pt x="6057749" y="1147660"/>
                </a:lnTo>
                <a:lnTo>
                  <a:pt x="5999011" y="1147660"/>
                </a:lnTo>
                <a:close/>
                <a:moveTo>
                  <a:pt x="5921224" y="1090510"/>
                </a:moveTo>
                <a:lnTo>
                  <a:pt x="5978374" y="1090510"/>
                </a:lnTo>
                <a:lnTo>
                  <a:pt x="5978374" y="1147660"/>
                </a:lnTo>
                <a:lnTo>
                  <a:pt x="5921224" y="1147660"/>
                </a:lnTo>
                <a:close/>
                <a:moveTo>
                  <a:pt x="5841849" y="1090510"/>
                </a:moveTo>
                <a:lnTo>
                  <a:pt x="5900587" y="1090510"/>
                </a:lnTo>
                <a:lnTo>
                  <a:pt x="5900587" y="1147660"/>
                </a:lnTo>
                <a:lnTo>
                  <a:pt x="5841849" y="1147660"/>
                </a:lnTo>
                <a:close/>
                <a:moveTo>
                  <a:pt x="5762474" y="1090510"/>
                </a:moveTo>
                <a:lnTo>
                  <a:pt x="5821212" y="1090510"/>
                </a:lnTo>
                <a:lnTo>
                  <a:pt x="5821212" y="1147660"/>
                </a:lnTo>
                <a:lnTo>
                  <a:pt x="5762474" y="1147660"/>
                </a:lnTo>
                <a:close/>
                <a:moveTo>
                  <a:pt x="5684686" y="1090510"/>
                </a:moveTo>
                <a:lnTo>
                  <a:pt x="5741836" y="1090510"/>
                </a:lnTo>
                <a:lnTo>
                  <a:pt x="5741836" y="1147660"/>
                </a:lnTo>
                <a:lnTo>
                  <a:pt x="5684686" y="1147660"/>
                </a:lnTo>
                <a:close/>
                <a:moveTo>
                  <a:pt x="5605311" y="1090510"/>
                </a:moveTo>
                <a:lnTo>
                  <a:pt x="5664049" y="1090510"/>
                </a:lnTo>
                <a:lnTo>
                  <a:pt x="5664049" y="1147660"/>
                </a:lnTo>
                <a:lnTo>
                  <a:pt x="5605311" y="1147660"/>
                </a:lnTo>
                <a:close/>
                <a:moveTo>
                  <a:pt x="5525936" y="1090510"/>
                </a:moveTo>
                <a:lnTo>
                  <a:pt x="5584674" y="1090510"/>
                </a:lnTo>
                <a:lnTo>
                  <a:pt x="5584674" y="1147660"/>
                </a:lnTo>
                <a:lnTo>
                  <a:pt x="5525936" y="1147660"/>
                </a:lnTo>
                <a:close/>
                <a:moveTo>
                  <a:pt x="5446561" y="1090510"/>
                </a:moveTo>
                <a:lnTo>
                  <a:pt x="5505299" y="1090510"/>
                </a:lnTo>
                <a:lnTo>
                  <a:pt x="5505299" y="1147660"/>
                </a:lnTo>
                <a:lnTo>
                  <a:pt x="5446561" y="1147660"/>
                </a:lnTo>
                <a:close/>
                <a:moveTo>
                  <a:pt x="5368774" y="1090510"/>
                </a:moveTo>
                <a:lnTo>
                  <a:pt x="5425924" y="1090510"/>
                </a:lnTo>
                <a:lnTo>
                  <a:pt x="5425924" y="1147660"/>
                </a:lnTo>
                <a:lnTo>
                  <a:pt x="5368774" y="1147660"/>
                </a:lnTo>
                <a:close/>
                <a:moveTo>
                  <a:pt x="5289399" y="1090510"/>
                </a:moveTo>
                <a:lnTo>
                  <a:pt x="5348137" y="1090510"/>
                </a:lnTo>
                <a:lnTo>
                  <a:pt x="5348137" y="1147660"/>
                </a:lnTo>
                <a:lnTo>
                  <a:pt x="5289399" y="1147660"/>
                </a:lnTo>
                <a:close/>
                <a:moveTo>
                  <a:pt x="5210024" y="1090510"/>
                </a:moveTo>
                <a:lnTo>
                  <a:pt x="5268762" y="1090510"/>
                </a:lnTo>
                <a:lnTo>
                  <a:pt x="5268762" y="1147660"/>
                </a:lnTo>
                <a:lnTo>
                  <a:pt x="5210024" y="1147660"/>
                </a:lnTo>
                <a:close/>
                <a:moveTo>
                  <a:pt x="5130649" y="1090510"/>
                </a:moveTo>
                <a:lnTo>
                  <a:pt x="5189387" y="1090510"/>
                </a:lnTo>
                <a:lnTo>
                  <a:pt x="5189387" y="1147660"/>
                </a:lnTo>
                <a:lnTo>
                  <a:pt x="5130649" y="1147660"/>
                </a:lnTo>
                <a:close/>
                <a:moveTo>
                  <a:pt x="5052861" y="1090510"/>
                </a:moveTo>
                <a:lnTo>
                  <a:pt x="5110011" y="1090510"/>
                </a:lnTo>
                <a:lnTo>
                  <a:pt x="5110011" y="1147660"/>
                </a:lnTo>
                <a:lnTo>
                  <a:pt x="5052861" y="1147660"/>
                </a:lnTo>
                <a:close/>
                <a:moveTo>
                  <a:pt x="4973486" y="1090510"/>
                </a:moveTo>
                <a:lnTo>
                  <a:pt x="5030636" y="1090510"/>
                </a:lnTo>
                <a:lnTo>
                  <a:pt x="5030636" y="1147660"/>
                </a:lnTo>
                <a:lnTo>
                  <a:pt x="4973486" y="1147660"/>
                </a:lnTo>
                <a:close/>
                <a:moveTo>
                  <a:pt x="4894111" y="1090510"/>
                </a:moveTo>
                <a:lnTo>
                  <a:pt x="4952849" y="1090510"/>
                </a:lnTo>
                <a:lnTo>
                  <a:pt x="4952849" y="1147660"/>
                </a:lnTo>
                <a:lnTo>
                  <a:pt x="4894111" y="1147660"/>
                </a:lnTo>
                <a:close/>
                <a:moveTo>
                  <a:pt x="4657573" y="1090510"/>
                </a:moveTo>
                <a:lnTo>
                  <a:pt x="4716311" y="1090510"/>
                </a:lnTo>
                <a:lnTo>
                  <a:pt x="4716311" y="1147660"/>
                </a:lnTo>
                <a:lnTo>
                  <a:pt x="4657573" y="1147660"/>
                </a:lnTo>
                <a:close/>
                <a:moveTo>
                  <a:pt x="4578198" y="1090510"/>
                </a:moveTo>
                <a:lnTo>
                  <a:pt x="4636936" y="1090510"/>
                </a:lnTo>
                <a:lnTo>
                  <a:pt x="4636936" y="1147660"/>
                </a:lnTo>
                <a:lnTo>
                  <a:pt x="4578198" y="1147660"/>
                </a:lnTo>
                <a:close/>
                <a:moveTo>
                  <a:pt x="4498823" y="1090510"/>
                </a:moveTo>
                <a:lnTo>
                  <a:pt x="4557561" y="1090510"/>
                </a:lnTo>
                <a:lnTo>
                  <a:pt x="4557561" y="1147660"/>
                </a:lnTo>
                <a:lnTo>
                  <a:pt x="4498823" y="1147660"/>
                </a:lnTo>
                <a:close/>
                <a:moveTo>
                  <a:pt x="4184498" y="1090510"/>
                </a:moveTo>
                <a:lnTo>
                  <a:pt x="4241648" y="1090510"/>
                </a:lnTo>
                <a:lnTo>
                  <a:pt x="4241648" y="1147660"/>
                </a:lnTo>
                <a:lnTo>
                  <a:pt x="4184498" y="1147660"/>
                </a:lnTo>
                <a:close/>
                <a:moveTo>
                  <a:pt x="4105123" y="1090510"/>
                </a:moveTo>
                <a:lnTo>
                  <a:pt x="4163861" y="1090510"/>
                </a:lnTo>
                <a:lnTo>
                  <a:pt x="4163861" y="1147660"/>
                </a:lnTo>
                <a:lnTo>
                  <a:pt x="4105123" y="1147660"/>
                </a:lnTo>
                <a:close/>
                <a:moveTo>
                  <a:pt x="2604936" y="1090510"/>
                </a:moveTo>
                <a:lnTo>
                  <a:pt x="2663674" y="1090510"/>
                </a:lnTo>
                <a:lnTo>
                  <a:pt x="2663674" y="1147660"/>
                </a:lnTo>
                <a:lnTo>
                  <a:pt x="2604936" y="1147660"/>
                </a:lnTo>
                <a:close/>
                <a:moveTo>
                  <a:pt x="2525724" y="1090510"/>
                </a:moveTo>
                <a:lnTo>
                  <a:pt x="2584459" y="1090510"/>
                </a:lnTo>
                <a:lnTo>
                  <a:pt x="2584459" y="1147660"/>
                </a:lnTo>
                <a:lnTo>
                  <a:pt x="2525724" y="1147660"/>
                </a:lnTo>
                <a:close/>
                <a:moveTo>
                  <a:pt x="2447930" y="1090510"/>
                </a:moveTo>
                <a:lnTo>
                  <a:pt x="2505091" y="1090510"/>
                </a:lnTo>
                <a:lnTo>
                  <a:pt x="2505091" y="1147660"/>
                </a:lnTo>
                <a:lnTo>
                  <a:pt x="2447930" y="1147660"/>
                </a:lnTo>
                <a:close/>
                <a:moveTo>
                  <a:pt x="2368563" y="1090510"/>
                </a:moveTo>
                <a:lnTo>
                  <a:pt x="2427295" y="1090510"/>
                </a:lnTo>
                <a:lnTo>
                  <a:pt x="2427295" y="1147660"/>
                </a:lnTo>
                <a:lnTo>
                  <a:pt x="2368563" y="1147660"/>
                </a:lnTo>
                <a:close/>
                <a:moveTo>
                  <a:pt x="2289186" y="1090510"/>
                </a:moveTo>
                <a:lnTo>
                  <a:pt x="2347927" y="1090510"/>
                </a:lnTo>
                <a:lnTo>
                  <a:pt x="2347927" y="1147660"/>
                </a:lnTo>
                <a:lnTo>
                  <a:pt x="2289186" y="1147660"/>
                </a:lnTo>
                <a:close/>
                <a:moveTo>
                  <a:pt x="1816121" y="1090510"/>
                </a:moveTo>
                <a:lnTo>
                  <a:pt x="1873253" y="1090510"/>
                </a:lnTo>
                <a:lnTo>
                  <a:pt x="1873253" y="1147660"/>
                </a:lnTo>
                <a:lnTo>
                  <a:pt x="1816121" y="1147660"/>
                </a:lnTo>
                <a:close/>
                <a:moveTo>
                  <a:pt x="1736746" y="1090510"/>
                </a:moveTo>
                <a:lnTo>
                  <a:pt x="1795493" y="1090510"/>
                </a:lnTo>
                <a:lnTo>
                  <a:pt x="1795493" y="1147660"/>
                </a:lnTo>
                <a:lnTo>
                  <a:pt x="1736746" y="1147660"/>
                </a:lnTo>
                <a:close/>
                <a:moveTo>
                  <a:pt x="1657364" y="1090510"/>
                </a:moveTo>
                <a:lnTo>
                  <a:pt x="1716107" y="1090510"/>
                </a:lnTo>
                <a:lnTo>
                  <a:pt x="1716107" y="1147660"/>
                </a:lnTo>
                <a:lnTo>
                  <a:pt x="1657364" y="1147660"/>
                </a:lnTo>
                <a:close/>
                <a:moveTo>
                  <a:pt x="1577977" y="1090510"/>
                </a:moveTo>
                <a:lnTo>
                  <a:pt x="1636728" y="1090510"/>
                </a:lnTo>
                <a:lnTo>
                  <a:pt x="1636728" y="1147660"/>
                </a:lnTo>
                <a:lnTo>
                  <a:pt x="1577977" y="1147660"/>
                </a:lnTo>
                <a:close/>
                <a:moveTo>
                  <a:pt x="1500185" y="1090510"/>
                </a:moveTo>
                <a:lnTo>
                  <a:pt x="1558929" y="1090510"/>
                </a:lnTo>
                <a:lnTo>
                  <a:pt x="1558929" y="1147660"/>
                </a:lnTo>
                <a:lnTo>
                  <a:pt x="1500185" y="1147660"/>
                </a:lnTo>
                <a:close/>
                <a:moveTo>
                  <a:pt x="1420806" y="1090510"/>
                </a:moveTo>
                <a:lnTo>
                  <a:pt x="1479543" y="1090510"/>
                </a:lnTo>
                <a:lnTo>
                  <a:pt x="1479543" y="1147660"/>
                </a:lnTo>
                <a:lnTo>
                  <a:pt x="1420806" y="1147660"/>
                </a:lnTo>
                <a:close/>
                <a:moveTo>
                  <a:pt x="1341469" y="1090510"/>
                </a:moveTo>
                <a:lnTo>
                  <a:pt x="1400187" y="1090510"/>
                </a:lnTo>
                <a:lnTo>
                  <a:pt x="1400187" y="1147660"/>
                </a:lnTo>
                <a:lnTo>
                  <a:pt x="1341469" y="1147660"/>
                </a:lnTo>
                <a:close/>
                <a:moveTo>
                  <a:pt x="1263653" y="1090510"/>
                </a:moveTo>
                <a:lnTo>
                  <a:pt x="1320817" y="1090510"/>
                </a:lnTo>
                <a:lnTo>
                  <a:pt x="1320817" y="1147660"/>
                </a:lnTo>
                <a:lnTo>
                  <a:pt x="1263653" y="1147660"/>
                </a:lnTo>
                <a:close/>
                <a:moveTo>
                  <a:pt x="1184282" y="1090510"/>
                </a:moveTo>
                <a:lnTo>
                  <a:pt x="1243012" y="1090510"/>
                </a:lnTo>
                <a:lnTo>
                  <a:pt x="1243012" y="1147660"/>
                </a:lnTo>
                <a:lnTo>
                  <a:pt x="1184282" y="1147660"/>
                </a:lnTo>
                <a:close/>
                <a:moveTo>
                  <a:pt x="1104911" y="1090510"/>
                </a:moveTo>
                <a:lnTo>
                  <a:pt x="1163645" y="1090510"/>
                </a:lnTo>
                <a:lnTo>
                  <a:pt x="1163645" y="1147660"/>
                </a:lnTo>
                <a:lnTo>
                  <a:pt x="1104911" y="1147660"/>
                </a:lnTo>
                <a:close/>
                <a:moveTo>
                  <a:pt x="1027114" y="1090510"/>
                </a:moveTo>
                <a:lnTo>
                  <a:pt x="1084277" y="1090510"/>
                </a:lnTo>
                <a:lnTo>
                  <a:pt x="1084277" y="1147660"/>
                </a:lnTo>
                <a:lnTo>
                  <a:pt x="1027114" y="1147660"/>
                </a:lnTo>
                <a:close/>
                <a:moveTo>
                  <a:pt x="947735" y="1090510"/>
                </a:moveTo>
                <a:lnTo>
                  <a:pt x="1004884" y="1090510"/>
                </a:lnTo>
                <a:lnTo>
                  <a:pt x="1004884" y="1147660"/>
                </a:lnTo>
                <a:lnTo>
                  <a:pt x="947735" y="1147660"/>
                </a:lnTo>
                <a:close/>
                <a:moveTo>
                  <a:pt x="868372" y="1090510"/>
                </a:moveTo>
                <a:lnTo>
                  <a:pt x="927105" y="1090510"/>
                </a:lnTo>
                <a:lnTo>
                  <a:pt x="927105" y="1147660"/>
                </a:lnTo>
                <a:lnTo>
                  <a:pt x="868372" y="1147660"/>
                </a:lnTo>
                <a:close/>
                <a:moveTo>
                  <a:pt x="473064" y="1090510"/>
                </a:moveTo>
                <a:lnTo>
                  <a:pt x="531846" y="1090510"/>
                </a:lnTo>
                <a:lnTo>
                  <a:pt x="531846" y="1147660"/>
                </a:lnTo>
                <a:lnTo>
                  <a:pt x="473064" y="1147660"/>
                </a:lnTo>
                <a:close/>
                <a:moveTo>
                  <a:pt x="395284" y="1090510"/>
                </a:moveTo>
                <a:lnTo>
                  <a:pt x="452426" y="1090510"/>
                </a:lnTo>
                <a:lnTo>
                  <a:pt x="452426" y="1147660"/>
                </a:lnTo>
                <a:lnTo>
                  <a:pt x="395284" y="1147660"/>
                </a:lnTo>
                <a:close/>
                <a:moveTo>
                  <a:pt x="315904" y="1090510"/>
                </a:moveTo>
                <a:lnTo>
                  <a:pt x="374644" y="1090510"/>
                </a:lnTo>
                <a:lnTo>
                  <a:pt x="374644" y="1147660"/>
                </a:lnTo>
                <a:lnTo>
                  <a:pt x="315904" y="1147660"/>
                </a:lnTo>
                <a:close/>
                <a:moveTo>
                  <a:pt x="236529" y="1090510"/>
                </a:moveTo>
                <a:lnTo>
                  <a:pt x="295267" y="1090510"/>
                </a:lnTo>
                <a:lnTo>
                  <a:pt x="295267" y="1147660"/>
                </a:lnTo>
                <a:lnTo>
                  <a:pt x="236529" y="1147660"/>
                </a:lnTo>
                <a:close/>
                <a:moveTo>
                  <a:pt x="8367561" y="1012870"/>
                </a:moveTo>
                <a:lnTo>
                  <a:pt x="8426299" y="1012870"/>
                </a:lnTo>
                <a:lnTo>
                  <a:pt x="8426299" y="1070020"/>
                </a:lnTo>
                <a:lnTo>
                  <a:pt x="8367561" y="1070020"/>
                </a:lnTo>
                <a:close/>
                <a:moveTo>
                  <a:pt x="8289774" y="1012870"/>
                </a:moveTo>
                <a:lnTo>
                  <a:pt x="8346924" y="1012870"/>
                </a:lnTo>
                <a:lnTo>
                  <a:pt x="8346924" y="1070020"/>
                </a:lnTo>
                <a:lnTo>
                  <a:pt x="8289774" y="1070020"/>
                </a:lnTo>
                <a:close/>
                <a:moveTo>
                  <a:pt x="8210399" y="1012870"/>
                </a:moveTo>
                <a:lnTo>
                  <a:pt x="8267549" y="1012870"/>
                </a:lnTo>
                <a:lnTo>
                  <a:pt x="8267549" y="1070020"/>
                </a:lnTo>
                <a:lnTo>
                  <a:pt x="8210399" y="1070020"/>
                </a:lnTo>
                <a:close/>
                <a:moveTo>
                  <a:pt x="8051649" y="1012870"/>
                </a:moveTo>
                <a:lnTo>
                  <a:pt x="8110387" y="1012870"/>
                </a:lnTo>
                <a:lnTo>
                  <a:pt x="8110387" y="1070020"/>
                </a:lnTo>
                <a:lnTo>
                  <a:pt x="8051649" y="1070020"/>
                </a:lnTo>
                <a:close/>
                <a:moveTo>
                  <a:pt x="7973861" y="1012870"/>
                </a:moveTo>
                <a:lnTo>
                  <a:pt x="8031011" y="1012870"/>
                </a:lnTo>
                <a:lnTo>
                  <a:pt x="8031011" y="1070020"/>
                </a:lnTo>
                <a:lnTo>
                  <a:pt x="7973861" y="1070020"/>
                </a:lnTo>
                <a:close/>
                <a:moveTo>
                  <a:pt x="7894486" y="1012870"/>
                </a:moveTo>
                <a:lnTo>
                  <a:pt x="7951636" y="1012870"/>
                </a:lnTo>
                <a:lnTo>
                  <a:pt x="7951636" y="1070020"/>
                </a:lnTo>
                <a:lnTo>
                  <a:pt x="7894486" y="1070020"/>
                </a:lnTo>
                <a:close/>
                <a:moveTo>
                  <a:pt x="7815111" y="1012870"/>
                </a:moveTo>
                <a:lnTo>
                  <a:pt x="7873849" y="1012870"/>
                </a:lnTo>
                <a:lnTo>
                  <a:pt x="7873849" y="1070020"/>
                </a:lnTo>
                <a:lnTo>
                  <a:pt x="7815111" y="1070020"/>
                </a:lnTo>
                <a:close/>
                <a:moveTo>
                  <a:pt x="7735736" y="1012870"/>
                </a:moveTo>
                <a:lnTo>
                  <a:pt x="7794474" y="1012870"/>
                </a:lnTo>
                <a:lnTo>
                  <a:pt x="7794474" y="1070020"/>
                </a:lnTo>
                <a:lnTo>
                  <a:pt x="7735736" y="1070020"/>
                </a:lnTo>
                <a:close/>
                <a:moveTo>
                  <a:pt x="7657949" y="1012870"/>
                </a:moveTo>
                <a:lnTo>
                  <a:pt x="7715099" y="1012870"/>
                </a:lnTo>
                <a:lnTo>
                  <a:pt x="7715099" y="1070020"/>
                </a:lnTo>
                <a:lnTo>
                  <a:pt x="7657949" y="1070020"/>
                </a:lnTo>
                <a:close/>
                <a:moveTo>
                  <a:pt x="7578574" y="1012870"/>
                </a:moveTo>
                <a:lnTo>
                  <a:pt x="7637312" y="1012870"/>
                </a:lnTo>
                <a:lnTo>
                  <a:pt x="7637312" y="1070020"/>
                </a:lnTo>
                <a:lnTo>
                  <a:pt x="7578574" y="1070020"/>
                </a:lnTo>
                <a:close/>
                <a:moveTo>
                  <a:pt x="7499199" y="1012870"/>
                </a:moveTo>
                <a:lnTo>
                  <a:pt x="7557937" y="1012870"/>
                </a:lnTo>
                <a:lnTo>
                  <a:pt x="7557937" y="1070020"/>
                </a:lnTo>
                <a:lnTo>
                  <a:pt x="7499199" y="1070020"/>
                </a:lnTo>
                <a:close/>
                <a:moveTo>
                  <a:pt x="7419824" y="1012870"/>
                </a:moveTo>
                <a:lnTo>
                  <a:pt x="7478562" y="1012870"/>
                </a:lnTo>
                <a:lnTo>
                  <a:pt x="7478562" y="1070020"/>
                </a:lnTo>
                <a:lnTo>
                  <a:pt x="7419824" y="1070020"/>
                </a:lnTo>
                <a:close/>
                <a:moveTo>
                  <a:pt x="7342036" y="1012870"/>
                </a:moveTo>
                <a:lnTo>
                  <a:pt x="7400774" y="1012870"/>
                </a:lnTo>
                <a:lnTo>
                  <a:pt x="7400774" y="1070020"/>
                </a:lnTo>
                <a:lnTo>
                  <a:pt x="7342036" y="1070020"/>
                </a:lnTo>
                <a:close/>
                <a:moveTo>
                  <a:pt x="7262661" y="1012870"/>
                </a:moveTo>
                <a:lnTo>
                  <a:pt x="7321399" y="1012870"/>
                </a:lnTo>
                <a:lnTo>
                  <a:pt x="7321399" y="1070020"/>
                </a:lnTo>
                <a:lnTo>
                  <a:pt x="7262661" y="1070020"/>
                </a:lnTo>
                <a:close/>
                <a:moveTo>
                  <a:pt x="7183286" y="1012870"/>
                </a:moveTo>
                <a:lnTo>
                  <a:pt x="7242024" y="1012870"/>
                </a:lnTo>
                <a:lnTo>
                  <a:pt x="7242024" y="1070020"/>
                </a:lnTo>
                <a:lnTo>
                  <a:pt x="7183286" y="1070020"/>
                </a:lnTo>
                <a:close/>
                <a:moveTo>
                  <a:pt x="7105499" y="1012870"/>
                </a:moveTo>
                <a:lnTo>
                  <a:pt x="7162649" y="1012870"/>
                </a:lnTo>
                <a:lnTo>
                  <a:pt x="7162649" y="1070020"/>
                </a:lnTo>
                <a:lnTo>
                  <a:pt x="7105499" y="1070020"/>
                </a:lnTo>
                <a:close/>
                <a:moveTo>
                  <a:pt x="7026124" y="1012870"/>
                </a:moveTo>
                <a:lnTo>
                  <a:pt x="7084862" y="1012870"/>
                </a:lnTo>
                <a:lnTo>
                  <a:pt x="7084862" y="1070020"/>
                </a:lnTo>
                <a:lnTo>
                  <a:pt x="7026124" y="1070020"/>
                </a:lnTo>
                <a:close/>
                <a:moveTo>
                  <a:pt x="6946749" y="1012870"/>
                </a:moveTo>
                <a:lnTo>
                  <a:pt x="7005487" y="1012870"/>
                </a:lnTo>
                <a:lnTo>
                  <a:pt x="7005487" y="1070020"/>
                </a:lnTo>
                <a:lnTo>
                  <a:pt x="6946749" y="1070020"/>
                </a:lnTo>
                <a:close/>
                <a:moveTo>
                  <a:pt x="6867374" y="1012870"/>
                </a:moveTo>
                <a:lnTo>
                  <a:pt x="6926112" y="1012870"/>
                </a:lnTo>
                <a:lnTo>
                  <a:pt x="6926112" y="1070020"/>
                </a:lnTo>
                <a:lnTo>
                  <a:pt x="6867374" y="1070020"/>
                </a:lnTo>
                <a:close/>
                <a:moveTo>
                  <a:pt x="6789586" y="1012870"/>
                </a:moveTo>
                <a:lnTo>
                  <a:pt x="6846736" y="1012870"/>
                </a:lnTo>
                <a:lnTo>
                  <a:pt x="6846736" y="1070020"/>
                </a:lnTo>
                <a:lnTo>
                  <a:pt x="6789586" y="1070020"/>
                </a:lnTo>
                <a:close/>
                <a:moveTo>
                  <a:pt x="6710211" y="1012870"/>
                </a:moveTo>
                <a:lnTo>
                  <a:pt x="6768949" y="1012870"/>
                </a:lnTo>
                <a:lnTo>
                  <a:pt x="6768949" y="1070020"/>
                </a:lnTo>
                <a:lnTo>
                  <a:pt x="6710211" y="1070020"/>
                </a:lnTo>
                <a:close/>
                <a:moveTo>
                  <a:pt x="6630836" y="1012870"/>
                </a:moveTo>
                <a:lnTo>
                  <a:pt x="6689574" y="1012870"/>
                </a:lnTo>
                <a:lnTo>
                  <a:pt x="6689574" y="1070020"/>
                </a:lnTo>
                <a:lnTo>
                  <a:pt x="6630836" y="1070020"/>
                </a:lnTo>
                <a:close/>
                <a:moveTo>
                  <a:pt x="6551461" y="1012870"/>
                </a:moveTo>
                <a:lnTo>
                  <a:pt x="6610199" y="1012870"/>
                </a:lnTo>
                <a:lnTo>
                  <a:pt x="6610199" y="1070020"/>
                </a:lnTo>
                <a:lnTo>
                  <a:pt x="6551461" y="1070020"/>
                </a:lnTo>
                <a:close/>
                <a:moveTo>
                  <a:pt x="6473674" y="1012870"/>
                </a:moveTo>
                <a:lnTo>
                  <a:pt x="6530824" y="1012870"/>
                </a:lnTo>
                <a:lnTo>
                  <a:pt x="6530824" y="1070020"/>
                </a:lnTo>
                <a:lnTo>
                  <a:pt x="6473674" y="1070020"/>
                </a:lnTo>
                <a:close/>
                <a:moveTo>
                  <a:pt x="6394299" y="1012870"/>
                </a:moveTo>
                <a:lnTo>
                  <a:pt x="6453037" y="1012870"/>
                </a:lnTo>
                <a:lnTo>
                  <a:pt x="6453037" y="1070020"/>
                </a:lnTo>
                <a:lnTo>
                  <a:pt x="6394299" y="1070020"/>
                </a:lnTo>
                <a:close/>
                <a:moveTo>
                  <a:pt x="6314924" y="1012870"/>
                </a:moveTo>
                <a:lnTo>
                  <a:pt x="6373662" y="1012870"/>
                </a:lnTo>
                <a:lnTo>
                  <a:pt x="6373662" y="1070020"/>
                </a:lnTo>
                <a:lnTo>
                  <a:pt x="6314924" y="1070020"/>
                </a:lnTo>
                <a:close/>
                <a:moveTo>
                  <a:pt x="6235549" y="1012870"/>
                </a:moveTo>
                <a:lnTo>
                  <a:pt x="6294287" y="1012870"/>
                </a:lnTo>
                <a:lnTo>
                  <a:pt x="6294287" y="1070020"/>
                </a:lnTo>
                <a:lnTo>
                  <a:pt x="6235549" y="1070020"/>
                </a:lnTo>
                <a:close/>
                <a:moveTo>
                  <a:pt x="6157761" y="1012870"/>
                </a:moveTo>
                <a:lnTo>
                  <a:pt x="6214911" y="1012870"/>
                </a:lnTo>
                <a:lnTo>
                  <a:pt x="6214911" y="1070020"/>
                </a:lnTo>
                <a:lnTo>
                  <a:pt x="6157761" y="1070020"/>
                </a:lnTo>
                <a:close/>
                <a:moveTo>
                  <a:pt x="6078386" y="1012870"/>
                </a:moveTo>
                <a:lnTo>
                  <a:pt x="6137124" y="1012870"/>
                </a:lnTo>
                <a:lnTo>
                  <a:pt x="6137124" y="1070020"/>
                </a:lnTo>
                <a:lnTo>
                  <a:pt x="6078386" y="1070020"/>
                </a:lnTo>
                <a:close/>
                <a:moveTo>
                  <a:pt x="5999011" y="1012870"/>
                </a:moveTo>
                <a:lnTo>
                  <a:pt x="6057749" y="1012870"/>
                </a:lnTo>
                <a:lnTo>
                  <a:pt x="6057749" y="1070020"/>
                </a:lnTo>
                <a:lnTo>
                  <a:pt x="5999011" y="1070020"/>
                </a:lnTo>
                <a:close/>
                <a:moveTo>
                  <a:pt x="5921224" y="1012870"/>
                </a:moveTo>
                <a:lnTo>
                  <a:pt x="5978374" y="1012870"/>
                </a:lnTo>
                <a:lnTo>
                  <a:pt x="5978374" y="1070020"/>
                </a:lnTo>
                <a:lnTo>
                  <a:pt x="5921224" y="1070020"/>
                </a:lnTo>
                <a:close/>
                <a:moveTo>
                  <a:pt x="5841849" y="1012870"/>
                </a:moveTo>
                <a:lnTo>
                  <a:pt x="5900587" y="1012870"/>
                </a:lnTo>
                <a:lnTo>
                  <a:pt x="5900587" y="1070020"/>
                </a:lnTo>
                <a:lnTo>
                  <a:pt x="5841849" y="1070020"/>
                </a:lnTo>
                <a:close/>
                <a:moveTo>
                  <a:pt x="5762474" y="1012870"/>
                </a:moveTo>
                <a:lnTo>
                  <a:pt x="5821212" y="1012870"/>
                </a:lnTo>
                <a:lnTo>
                  <a:pt x="5821212" y="1070020"/>
                </a:lnTo>
                <a:lnTo>
                  <a:pt x="5762474" y="1070020"/>
                </a:lnTo>
                <a:close/>
                <a:moveTo>
                  <a:pt x="5684686" y="1012870"/>
                </a:moveTo>
                <a:lnTo>
                  <a:pt x="5741836" y="1012870"/>
                </a:lnTo>
                <a:lnTo>
                  <a:pt x="5741836" y="1070020"/>
                </a:lnTo>
                <a:lnTo>
                  <a:pt x="5684686" y="1070020"/>
                </a:lnTo>
                <a:close/>
                <a:moveTo>
                  <a:pt x="5605311" y="1012870"/>
                </a:moveTo>
                <a:lnTo>
                  <a:pt x="5664049" y="1012870"/>
                </a:lnTo>
                <a:lnTo>
                  <a:pt x="5664049" y="1070020"/>
                </a:lnTo>
                <a:lnTo>
                  <a:pt x="5605311" y="1070020"/>
                </a:lnTo>
                <a:close/>
                <a:moveTo>
                  <a:pt x="5525936" y="1012870"/>
                </a:moveTo>
                <a:lnTo>
                  <a:pt x="5584674" y="1012870"/>
                </a:lnTo>
                <a:lnTo>
                  <a:pt x="5584674" y="1070020"/>
                </a:lnTo>
                <a:lnTo>
                  <a:pt x="5525936" y="1070020"/>
                </a:lnTo>
                <a:close/>
                <a:moveTo>
                  <a:pt x="5446561" y="1012870"/>
                </a:moveTo>
                <a:lnTo>
                  <a:pt x="5505299" y="1012870"/>
                </a:lnTo>
                <a:lnTo>
                  <a:pt x="5505299" y="1070020"/>
                </a:lnTo>
                <a:lnTo>
                  <a:pt x="5446561" y="1070020"/>
                </a:lnTo>
                <a:close/>
                <a:moveTo>
                  <a:pt x="5368774" y="1012870"/>
                </a:moveTo>
                <a:lnTo>
                  <a:pt x="5425924" y="1012870"/>
                </a:lnTo>
                <a:lnTo>
                  <a:pt x="5425924" y="1070020"/>
                </a:lnTo>
                <a:lnTo>
                  <a:pt x="5368774" y="1070020"/>
                </a:lnTo>
                <a:close/>
                <a:moveTo>
                  <a:pt x="5289399" y="1012870"/>
                </a:moveTo>
                <a:lnTo>
                  <a:pt x="5348137" y="1012870"/>
                </a:lnTo>
                <a:lnTo>
                  <a:pt x="5348137" y="1070020"/>
                </a:lnTo>
                <a:lnTo>
                  <a:pt x="5289399" y="1070020"/>
                </a:lnTo>
                <a:close/>
                <a:moveTo>
                  <a:pt x="5210024" y="1012870"/>
                </a:moveTo>
                <a:lnTo>
                  <a:pt x="5268762" y="1012870"/>
                </a:lnTo>
                <a:lnTo>
                  <a:pt x="5268762" y="1070020"/>
                </a:lnTo>
                <a:lnTo>
                  <a:pt x="5210024" y="1070020"/>
                </a:lnTo>
                <a:close/>
                <a:moveTo>
                  <a:pt x="5130649" y="1012870"/>
                </a:moveTo>
                <a:lnTo>
                  <a:pt x="5189387" y="1012870"/>
                </a:lnTo>
                <a:lnTo>
                  <a:pt x="5189387" y="1070020"/>
                </a:lnTo>
                <a:lnTo>
                  <a:pt x="5130649" y="1070020"/>
                </a:lnTo>
                <a:close/>
                <a:moveTo>
                  <a:pt x="5052861" y="1012870"/>
                </a:moveTo>
                <a:lnTo>
                  <a:pt x="5110011" y="1012870"/>
                </a:lnTo>
                <a:lnTo>
                  <a:pt x="5110011" y="1070020"/>
                </a:lnTo>
                <a:lnTo>
                  <a:pt x="5052861" y="1070020"/>
                </a:lnTo>
                <a:close/>
                <a:moveTo>
                  <a:pt x="4973486" y="1012870"/>
                </a:moveTo>
                <a:lnTo>
                  <a:pt x="5030636" y="1012870"/>
                </a:lnTo>
                <a:lnTo>
                  <a:pt x="5030636" y="1070020"/>
                </a:lnTo>
                <a:lnTo>
                  <a:pt x="4973486" y="1070020"/>
                </a:lnTo>
                <a:close/>
                <a:moveTo>
                  <a:pt x="395289" y="1012828"/>
                </a:moveTo>
                <a:lnTo>
                  <a:pt x="452431" y="1012828"/>
                </a:lnTo>
                <a:lnTo>
                  <a:pt x="452431" y="1069978"/>
                </a:lnTo>
                <a:lnTo>
                  <a:pt x="395289" y="1069978"/>
                </a:lnTo>
                <a:close/>
                <a:moveTo>
                  <a:pt x="315910" y="1012828"/>
                </a:moveTo>
                <a:lnTo>
                  <a:pt x="374649" y="1012828"/>
                </a:lnTo>
                <a:lnTo>
                  <a:pt x="374649" y="1069979"/>
                </a:lnTo>
                <a:lnTo>
                  <a:pt x="315910" y="1069979"/>
                </a:lnTo>
                <a:close/>
                <a:moveTo>
                  <a:pt x="236535" y="1012828"/>
                </a:moveTo>
                <a:lnTo>
                  <a:pt x="295273" y="1012828"/>
                </a:lnTo>
                <a:lnTo>
                  <a:pt x="295273" y="1069979"/>
                </a:lnTo>
                <a:lnTo>
                  <a:pt x="236535" y="1069979"/>
                </a:lnTo>
                <a:close/>
                <a:moveTo>
                  <a:pt x="157160" y="1012828"/>
                </a:moveTo>
                <a:lnTo>
                  <a:pt x="215900" y="1012828"/>
                </a:lnTo>
                <a:lnTo>
                  <a:pt x="215900" y="1069979"/>
                </a:lnTo>
                <a:lnTo>
                  <a:pt x="157160" y="1069979"/>
                </a:lnTo>
                <a:close/>
                <a:moveTo>
                  <a:pt x="79374" y="1012828"/>
                </a:moveTo>
                <a:lnTo>
                  <a:pt x="136520" y="1012828"/>
                </a:lnTo>
                <a:lnTo>
                  <a:pt x="136520" y="1069979"/>
                </a:lnTo>
                <a:lnTo>
                  <a:pt x="79374" y="1069979"/>
                </a:lnTo>
                <a:close/>
                <a:moveTo>
                  <a:pt x="2368569" y="1012828"/>
                </a:moveTo>
                <a:lnTo>
                  <a:pt x="2427300" y="1012828"/>
                </a:lnTo>
                <a:lnTo>
                  <a:pt x="2427300" y="1069977"/>
                </a:lnTo>
                <a:lnTo>
                  <a:pt x="2368569" y="1069977"/>
                </a:lnTo>
                <a:close/>
                <a:moveTo>
                  <a:pt x="2289190" y="1012828"/>
                </a:moveTo>
                <a:lnTo>
                  <a:pt x="2347931" y="1012828"/>
                </a:lnTo>
                <a:lnTo>
                  <a:pt x="2347931" y="1069977"/>
                </a:lnTo>
                <a:lnTo>
                  <a:pt x="2289190" y="1069977"/>
                </a:lnTo>
                <a:close/>
                <a:moveTo>
                  <a:pt x="1816125" y="1012828"/>
                </a:moveTo>
                <a:lnTo>
                  <a:pt x="1873257" y="1012828"/>
                </a:lnTo>
                <a:lnTo>
                  <a:pt x="1873257" y="1069977"/>
                </a:lnTo>
                <a:lnTo>
                  <a:pt x="1816125" y="1069977"/>
                </a:lnTo>
                <a:close/>
                <a:moveTo>
                  <a:pt x="1736750" y="1012828"/>
                </a:moveTo>
                <a:lnTo>
                  <a:pt x="1795497" y="1012828"/>
                </a:lnTo>
                <a:lnTo>
                  <a:pt x="1795497" y="1069977"/>
                </a:lnTo>
                <a:lnTo>
                  <a:pt x="1736750" y="1069977"/>
                </a:lnTo>
                <a:close/>
                <a:moveTo>
                  <a:pt x="1657368" y="1012828"/>
                </a:moveTo>
                <a:lnTo>
                  <a:pt x="1716111" y="1012828"/>
                </a:lnTo>
                <a:lnTo>
                  <a:pt x="1716111" y="1069977"/>
                </a:lnTo>
                <a:lnTo>
                  <a:pt x="1657368" y="1069977"/>
                </a:lnTo>
                <a:close/>
                <a:moveTo>
                  <a:pt x="1577982" y="1012828"/>
                </a:moveTo>
                <a:lnTo>
                  <a:pt x="1636735" y="1012828"/>
                </a:lnTo>
                <a:lnTo>
                  <a:pt x="1636735" y="1069977"/>
                </a:lnTo>
                <a:lnTo>
                  <a:pt x="1577982" y="1069977"/>
                </a:lnTo>
                <a:close/>
                <a:moveTo>
                  <a:pt x="1500191" y="1012828"/>
                </a:moveTo>
                <a:lnTo>
                  <a:pt x="1558934" y="1012828"/>
                </a:lnTo>
                <a:lnTo>
                  <a:pt x="1558934" y="1069977"/>
                </a:lnTo>
                <a:lnTo>
                  <a:pt x="1500191" y="1069977"/>
                </a:lnTo>
                <a:close/>
                <a:moveTo>
                  <a:pt x="1420811" y="1012828"/>
                </a:moveTo>
                <a:lnTo>
                  <a:pt x="1479548" y="1012828"/>
                </a:lnTo>
                <a:lnTo>
                  <a:pt x="1479548" y="1069977"/>
                </a:lnTo>
                <a:lnTo>
                  <a:pt x="1420811" y="1069977"/>
                </a:lnTo>
                <a:close/>
                <a:moveTo>
                  <a:pt x="1341473" y="1012828"/>
                </a:moveTo>
                <a:lnTo>
                  <a:pt x="1400192" y="1012828"/>
                </a:lnTo>
                <a:lnTo>
                  <a:pt x="1400192" y="1069978"/>
                </a:lnTo>
                <a:lnTo>
                  <a:pt x="1341473" y="1069978"/>
                </a:lnTo>
                <a:close/>
                <a:moveTo>
                  <a:pt x="1263656" y="1012828"/>
                </a:moveTo>
                <a:lnTo>
                  <a:pt x="1320823" y="1012828"/>
                </a:lnTo>
                <a:lnTo>
                  <a:pt x="1320823" y="1069978"/>
                </a:lnTo>
                <a:lnTo>
                  <a:pt x="1263656" y="1069978"/>
                </a:lnTo>
                <a:close/>
                <a:moveTo>
                  <a:pt x="1184291" y="1012828"/>
                </a:moveTo>
                <a:lnTo>
                  <a:pt x="1243018" y="1012828"/>
                </a:lnTo>
                <a:lnTo>
                  <a:pt x="1243018" y="1069978"/>
                </a:lnTo>
                <a:lnTo>
                  <a:pt x="1184291" y="1069978"/>
                </a:lnTo>
                <a:close/>
                <a:moveTo>
                  <a:pt x="1104915" y="1012828"/>
                </a:moveTo>
                <a:lnTo>
                  <a:pt x="1163648" y="1012828"/>
                </a:lnTo>
                <a:lnTo>
                  <a:pt x="1163648" y="1069978"/>
                </a:lnTo>
                <a:lnTo>
                  <a:pt x="1104915" y="1069978"/>
                </a:lnTo>
                <a:close/>
                <a:moveTo>
                  <a:pt x="1027118" y="1012828"/>
                </a:moveTo>
                <a:lnTo>
                  <a:pt x="1084281" y="1012828"/>
                </a:lnTo>
                <a:lnTo>
                  <a:pt x="1084281" y="1069978"/>
                </a:lnTo>
                <a:lnTo>
                  <a:pt x="1027118" y="1069978"/>
                </a:lnTo>
                <a:close/>
                <a:moveTo>
                  <a:pt x="947740" y="1012828"/>
                </a:moveTo>
                <a:lnTo>
                  <a:pt x="1004888" y="1012828"/>
                </a:lnTo>
                <a:lnTo>
                  <a:pt x="1004888" y="1069978"/>
                </a:lnTo>
                <a:lnTo>
                  <a:pt x="947740" y="1069978"/>
                </a:lnTo>
                <a:close/>
                <a:moveTo>
                  <a:pt x="868377" y="1012828"/>
                </a:moveTo>
                <a:lnTo>
                  <a:pt x="927111" y="1012828"/>
                </a:lnTo>
                <a:lnTo>
                  <a:pt x="927111" y="1069978"/>
                </a:lnTo>
                <a:lnTo>
                  <a:pt x="868377" y="1069978"/>
                </a:lnTo>
                <a:close/>
                <a:moveTo>
                  <a:pt x="789007" y="1012828"/>
                </a:moveTo>
                <a:lnTo>
                  <a:pt x="847743" y="1012828"/>
                </a:lnTo>
                <a:lnTo>
                  <a:pt x="847743" y="1069978"/>
                </a:lnTo>
                <a:lnTo>
                  <a:pt x="789007" y="1069978"/>
                </a:lnTo>
                <a:close/>
                <a:moveTo>
                  <a:pt x="711229" y="1012828"/>
                </a:moveTo>
                <a:lnTo>
                  <a:pt x="768372" y="1012828"/>
                </a:lnTo>
                <a:lnTo>
                  <a:pt x="768372" y="1069978"/>
                </a:lnTo>
                <a:lnTo>
                  <a:pt x="711229" y="1069978"/>
                </a:lnTo>
                <a:close/>
                <a:moveTo>
                  <a:pt x="631857" y="1012828"/>
                </a:moveTo>
                <a:lnTo>
                  <a:pt x="689007" y="1012828"/>
                </a:lnTo>
                <a:lnTo>
                  <a:pt x="689007" y="1069978"/>
                </a:lnTo>
                <a:lnTo>
                  <a:pt x="631857" y="1069978"/>
                </a:lnTo>
                <a:close/>
                <a:moveTo>
                  <a:pt x="473068" y="1012828"/>
                </a:moveTo>
                <a:lnTo>
                  <a:pt x="531853" y="1012828"/>
                </a:lnTo>
                <a:lnTo>
                  <a:pt x="531853" y="1069978"/>
                </a:lnTo>
                <a:lnTo>
                  <a:pt x="473068" y="1069978"/>
                </a:lnTo>
                <a:close/>
                <a:moveTo>
                  <a:pt x="4814736" y="1012827"/>
                </a:moveTo>
                <a:lnTo>
                  <a:pt x="4873474" y="1012827"/>
                </a:lnTo>
                <a:lnTo>
                  <a:pt x="4873474" y="1069976"/>
                </a:lnTo>
                <a:lnTo>
                  <a:pt x="4814736" y="1069976"/>
                </a:lnTo>
                <a:close/>
                <a:moveTo>
                  <a:pt x="4657573" y="1012827"/>
                </a:moveTo>
                <a:lnTo>
                  <a:pt x="4716311" y="1012827"/>
                </a:lnTo>
                <a:lnTo>
                  <a:pt x="4716311" y="1069976"/>
                </a:lnTo>
                <a:lnTo>
                  <a:pt x="4657573" y="1069976"/>
                </a:lnTo>
                <a:close/>
                <a:moveTo>
                  <a:pt x="4578198" y="1012827"/>
                </a:moveTo>
                <a:lnTo>
                  <a:pt x="4636936" y="1012827"/>
                </a:lnTo>
                <a:lnTo>
                  <a:pt x="4636936" y="1069976"/>
                </a:lnTo>
                <a:lnTo>
                  <a:pt x="4578198" y="1069976"/>
                </a:lnTo>
                <a:close/>
                <a:moveTo>
                  <a:pt x="4498823" y="1012827"/>
                </a:moveTo>
                <a:lnTo>
                  <a:pt x="4557561" y="1012827"/>
                </a:lnTo>
                <a:lnTo>
                  <a:pt x="4557561" y="1069976"/>
                </a:lnTo>
                <a:lnTo>
                  <a:pt x="4498823" y="1069976"/>
                </a:lnTo>
                <a:close/>
                <a:moveTo>
                  <a:pt x="4421036" y="1012827"/>
                </a:moveTo>
                <a:lnTo>
                  <a:pt x="4479774" y="1012827"/>
                </a:lnTo>
                <a:lnTo>
                  <a:pt x="4479774" y="1069976"/>
                </a:lnTo>
                <a:lnTo>
                  <a:pt x="4421036" y="1069976"/>
                </a:lnTo>
                <a:close/>
                <a:moveTo>
                  <a:pt x="4184498" y="1012827"/>
                </a:moveTo>
                <a:lnTo>
                  <a:pt x="4241648" y="1012827"/>
                </a:lnTo>
                <a:lnTo>
                  <a:pt x="4241648" y="1069976"/>
                </a:lnTo>
                <a:lnTo>
                  <a:pt x="4184498" y="1069976"/>
                </a:lnTo>
                <a:close/>
                <a:moveTo>
                  <a:pt x="3157386" y="1012827"/>
                </a:moveTo>
                <a:lnTo>
                  <a:pt x="3216124" y="1012827"/>
                </a:lnTo>
                <a:lnTo>
                  <a:pt x="3216124" y="1069976"/>
                </a:lnTo>
                <a:lnTo>
                  <a:pt x="3157386" y="1069976"/>
                </a:lnTo>
                <a:close/>
                <a:moveTo>
                  <a:pt x="3078011" y="1012827"/>
                </a:moveTo>
                <a:lnTo>
                  <a:pt x="3136749" y="1012827"/>
                </a:lnTo>
                <a:lnTo>
                  <a:pt x="3136749" y="1069977"/>
                </a:lnTo>
                <a:lnTo>
                  <a:pt x="3078011" y="1069977"/>
                </a:lnTo>
                <a:close/>
                <a:moveTo>
                  <a:pt x="2447935" y="1012827"/>
                </a:moveTo>
                <a:lnTo>
                  <a:pt x="2505095" y="1012827"/>
                </a:lnTo>
                <a:lnTo>
                  <a:pt x="2505095" y="1069977"/>
                </a:lnTo>
                <a:lnTo>
                  <a:pt x="2447935" y="1069977"/>
                </a:lnTo>
                <a:close/>
                <a:moveTo>
                  <a:pt x="4894111" y="1012826"/>
                </a:moveTo>
                <a:lnTo>
                  <a:pt x="4952849" y="1012826"/>
                </a:lnTo>
                <a:lnTo>
                  <a:pt x="4952849" y="1069976"/>
                </a:lnTo>
                <a:lnTo>
                  <a:pt x="4894111" y="1069976"/>
                </a:lnTo>
                <a:close/>
                <a:moveTo>
                  <a:pt x="8683474" y="935079"/>
                </a:moveTo>
                <a:lnTo>
                  <a:pt x="8742212" y="935079"/>
                </a:lnTo>
                <a:lnTo>
                  <a:pt x="8742212" y="992232"/>
                </a:lnTo>
                <a:lnTo>
                  <a:pt x="8683474" y="992232"/>
                </a:lnTo>
                <a:close/>
                <a:moveTo>
                  <a:pt x="8604099" y="935079"/>
                </a:moveTo>
                <a:lnTo>
                  <a:pt x="8662837" y="935079"/>
                </a:lnTo>
                <a:lnTo>
                  <a:pt x="8662837" y="992232"/>
                </a:lnTo>
                <a:lnTo>
                  <a:pt x="8604099" y="992232"/>
                </a:lnTo>
                <a:close/>
                <a:moveTo>
                  <a:pt x="8526311" y="935079"/>
                </a:moveTo>
                <a:lnTo>
                  <a:pt x="8583461" y="935079"/>
                </a:lnTo>
                <a:lnTo>
                  <a:pt x="8583461" y="992232"/>
                </a:lnTo>
                <a:lnTo>
                  <a:pt x="8526311" y="992232"/>
                </a:lnTo>
                <a:close/>
                <a:moveTo>
                  <a:pt x="8446936" y="935079"/>
                </a:moveTo>
                <a:lnTo>
                  <a:pt x="8505674" y="935079"/>
                </a:lnTo>
                <a:lnTo>
                  <a:pt x="8505674" y="992232"/>
                </a:lnTo>
                <a:lnTo>
                  <a:pt x="8446936" y="992232"/>
                </a:lnTo>
                <a:close/>
                <a:moveTo>
                  <a:pt x="8367561" y="935079"/>
                </a:moveTo>
                <a:lnTo>
                  <a:pt x="8426299" y="935079"/>
                </a:lnTo>
                <a:lnTo>
                  <a:pt x="8426299" y="992232"/>
                </a:lnTo>
                <a:lnTo>
                  <a:pt x="8367561" y="992232"/>
                </a:lnTo>
                <a:close/>
                <a:moveTo>
                  <a:pt x="8289774" y="935079"/>
                </a:moveTo>
                <a:lnTo>
                  <a:pt x="8346924" y="935079"/>
                </a:lnTo>
                <a:lnTo>
                  <a:pt x="8346924" y="992232"/>
                </a:lnTo>
                <a:lnTo>
                  <a:pt x="8289774" y="992232"/>
                </a:lnTo>
                <a:close/>
                <a:moveTo>
                  <a:pt x="8210399" y="935079"/>
                </a:moveTo>
                <a:lnTo>
                  <a:pt x="8267549" y="935079"/>
                </a:lnTo>
                <a:lnTo>
                  <a:pt x="8267549" y="992232"/>
                </a:lnTo>
                <a:lnTo>
                  <a:pt x="8210399" y="992232"/>
                </a:lnTo>
                <a:close/>
                <a:moveTo>
                  <a:pt x="8131024" y="935079"/>
                </a:moveTo>
                <a:lnTo>
                  <a:pt x="8189762" y="935079"/>
                </a:lnTo>
                <a:lnTo>
                  <a:pt x="8189762" y="992232"/>
                </a:lnTo>
                <a:lnTo>
                  <a:pt x="8131024" y="992232"/>
                </a:lnTo>
                <a:close/>
                <a:moveTo>
                  <a:pt x="8051649" y="935079"/>
                </a:moveTo>
                <a:lnTo>
                  <a:pt x="8110387" y="935079"/>
                </a:lnTo>
                <a:lnTo>
                  <a:pt x="8110387" y="992232"/>
                </a:lnTo>
                <a:lnTo>
                  <a:pt x="8051649" y="992232"/>
                </a:lnTo>
                <a:close/>
                <a:moveTo>
                  <a:pt x="7973861" y="935079"/>
                </a:moveTo>
                <a:lnTo>
                  <a:pt x="8031011" y="935079"/>
                </a:lnTo>
                <a:lnTo>
                  <a:pt x="8031011" y="992232"/>
                </a:lnTo>
                <a:lnTo>
                  <a:pt x="7973861" y="992232"/>
                </a:lnTo>
                <a:close/>
                <a:moveTo>
                  <a:pt x="7894486" y="935079"/>
                </a:moveTo>
                <a:lnTo>
                  <a:pt x="7951636" y="935079"/>
                </a:lnTo>
                <a:lnTo>
                  <a:pt x="7951636" y="992232"/>
                </a:lnTo>
                <a:lnTo>
                  <a:pt x="7894486" y="992232"/>
                </a:lnTo>
                <a:close/>
                <a:moveTo>
                  <a:pt x="7815111" y="935079"/>
                </a:moveTo>
                <a:lnTo>
                  <a:pt x="7873849" y="935079"/>
                </a:lnTo>
                <a:lnTo>
                  <a:pt x="7873849" y="992232"/>
                </a:lnTo>
                <a:lnTo>
                  <a:pt x="7815111" y="992232"/>
                </a:lnTo>
                <a:close/>
                <a:moveTo>
                  <a:pt x="7735736" y="935079"/>
                </a:moveTo>
                <a:lnTo>
                  <a:pt x="7794474" y="935079"/>
                </a:lnTo>
                <a:lnTo>
                  <a:pt x="7794474" y="992232"/>
                </a:lnTo>
                <a:lnTo>
                  <a:pt x="7735736" y="992232"/>
                </a:lnTo>
                <a:close/>
                <a:moveTo>
                  <a:pt x="7657949" y="935079"/>
                </a:moveTo>
                <a:lnTo>
                  <a:pt x="7715099" y="935079"/>
                </a:lnTo>
                <a:lnTo>
                  <a:pt x="7715099" y="992232"/>
                </a:lnTo>
                <a:lnTo>
                  <a:pt x="7657949" y="992232"/>
                </a:lnTo>
                <a:close/>
                <a:moveTo>
                  <a:pt x="7578574" y="935079"/>
                </a:moveTo>
                <a:lnTo>
                  <a:pt x="7637312" y="935079"/>
                </a:lnTo>
                <a:lnTo>
                  <a:pt x="7637312" y="992232"/>
                </a:lnTo>
                <a:lnTo>
                  <a:pt x="7578574" y="992232"/>
                </a:lnTo>
                <a:close/>
                <a:moveTo>
                  <a:pt x="7499199" y="935079"/>
                </a:moveTo>
                <a:lnTo>
                  <a:pt x="7557937" y="935079"/>
                </a:lnTo>
                <a:lnTo>
                  <a:pt x="7557937" y="992232"/>
                </a:lnTo>
                <a:lnTo>
                  <a:pt x="7499199" y="992232"/>
                </a:lnTo>
                <a:close/>
                <a:moveTo>
                  <a:pt x="7419824" y="935079"/>
                </a:moveTo>
                <a:lnTo>
                  <a:pt x="7478562" y="935079"/>
                </a:lnTo>
                <a:lnTo>
                  <a:pt x="7478562" y="992232"/>
                </a:lnTo>
                <a:lnTo>
                  <a:pt x="7419824" y="992232"/>
                </a:lnTo>
                <a:close/>
                <a:moveTo>
                  <a:pt x="7342036" y="935079"/>
                </a:moveTo>
                <a:lnTo>
                  <a:pt x="7400774" y="935079"/>
                </a:lnTo>
                <a:lnTo>
                  <a:pt x="7400774" y="992232"/>
                </a:lnTo>
                <a:lnTo>
                  <a:pt x="7342036" y="992232"/>
                </a:lnTo>
                <a:close/>
                <a:moveTo>
                  <a:pt x="7262661" y="935079"/>
                </a:moveTo>
                <a:lnTo>
                  <a:pt x="7321399" y="935079"/>
                </a:lnTo>
                <a:lnTo>
                  <a:pt x="7321399" y="992232"/>
                </a:lnTo>
                <a:lnTo>
                  <a:pt x="7262661" y="992232"/>
                </a:lnTo>
                <a:close/>
                <a:moveTo>
                  <a:pt x="7183286" y="935079"/>
                </a:moveTo>
                <a:lnTo>
                  <a:pt x="7242024" y="935079"/>
                </a:lnTo>
                <a:lnTo>
                  <a:pt x="7242024" y="992232"/>
                </a:lnTo>
                <a:lnTo>
                  <a:pt x="7183286" y="992232"/>
                </a:lnTo>
                <a:close/>
                <a:moveTo>
                  <a:pt x="7105499" y="935079"/>
                </a:moveTo>
                <a:lnTo>
                  <a:pt x="7162649" y="935079"/>
                </a:lnTo>
                <a:lnTo>
                  <a:pt x="7162649" y="992232"/>
                </a:lnTo>
                <a:lnTo>
                  <a:pt x="7105499" y="992232"/>
                </a:lnTo>
                <a:close/>
                <a:moveTo>
                  <a:pt x="7026124" y="935079"/>
                </a:moveTo>
                <a:lnTo>
                  <a:pt x="7084862" y="935079"/>
                </a:lnTo>
                <a:lnTo>
                  <a:pt x="7084862" y="992232"/>
                </a:lnTo>
                <a:lnTo>
                  <a:pt x="7026124" y="992232"/>
                </a:lnTo>
                <a:close/>
                <a:moveTo>
                  <a:pt x="6946749" y="935079"/>
                </a:moveTo>
                <a:lnTo>
                  <a:pt x="7005487" y="935079"/>
                </a:lnTo>
                <a:lnTo>
                  <a:pt x="7005487" y="992232"/>
                </a:lnTo>
                <a:lnTo>
                  <a:pt x="6946749" y="992232"/>
                </a:lnTo>
                <a:close/>
                <a:moveTo>
                  <a:pt x="6867374" y="935079"/>
                </a:moveTo>
                <a:lnTo>
                  <a:pt x="6926112" y="935079"/>
                </a:lnTo>
                <a:lnTo>
                  <a:pt x="6926112" y="992232"/>
                </a:lnTo>
                <a:lnTo>
                  <a:pt x="6867374" y="992232"/>
                </a:lnTo>
                <a:close/>
                <a:moveTo>
                  <a:pt x="6789586" y="935079"/>
                </a:moveTo>
                <a:lnTo>
                  <a:pt x="6846736" y="935079"/>
                </a:lnTo>
                <a:lnTo>
                  <a:pt x="6846736" y="992232"/>
                </a:lnTo>
                <a:lnTo>
                  <a:pt x="6789586" y="992232"/>
                </a:lnTo>
                <a:close/>
                <a:moveTo>
                  <a:pt x="6710211" y="935079"/>
                </a:moveTo>
                <a:lnTo>
                  <a:pt x="6768949" y="935079"/>
                </a:lnTo>
                <a:lnTo>
                  <a:pt x="6768949" y="992232"/>
                </a:lnTo>
                <a:lnTo>
                  <a:pt x="6710211" y="992232"/>
                </a:lnTo>
                <a:close/>
                <a:moveTo>
                  <a:pt x="6630836" y="935079"/>
                </a:moveTo>
                <a:lnTo>
                  <a:pt x="6689574" y="935079"/>
                </a:lnTo>
                <a:lnTo>
                  <a:pt x="6689574" y="992232"/>
                </a:lnTo>
                <a:lnTo>
                  <a:pt x="6630836" y="992232"/>
                </a:lnTo>
                <a:close/>
                <a:moveTo>
                  <a:pt x="6551461" y="935079"/>
                </a:moveTo>
                <a:lnTo>
                  <a:pt x="6610199" y="935079"/>
                </a:lnTo>
                <a:lnTo>
                  <a:pt x="6610199" y="992232"/>
                </a:lnTo>
                <a:lnTo>
                  <a:pt x="6551461" y="992232"/>
                </a:lnTo>
                <a:close/>
                <a:moveTo>
                  <a:pt x="6473674" y="935079"/>
                </a:moveTo>
                <a:lnTo>
                  <a:pt x="6530824" y="935079"/>
                </a:lnTo>
                <a:lnTo>
                  <a:pt x="6530824" y="992232"/>
                </a:lnTo>
                <a:lnTo>
                  <a:pt x="6473674" y="992232"/>
                </a:lnTo>
                <a:close/>
                <a:moveTo>
                  <a:pt x="6394299" y="935079"/>
                </a:moveTo>
                <a:lnTo>
                  <a:pt x="6453037" y="935079"/>
                </a:lnTo>
                <a:lnTo>
                  <a:pt x="6453037" y="992232"/>
                </a:lnTo>
                <a:lnTo>
                  <a:pt x="6394299" y="992232"/>
                </a:lnTo>
                <a:close/>
                <a:moveTo>
                  <a:pt x="6314924" y="935079"/>
                </a:moveTo>
                <a:lnTo>
                  <a:pt x="6373662" y="935079"/>
                </a:lnTo>
                <a:lnTo>
                  <a:pt x="6373662" y="992232"/>
                </a:lnTo>
                <a:lnTo>
                  <a:pt x="6314924" y="992232"/>
                </a:lnTo>
                <a:close/>
                <a:moveTo>
                  <a:pt x="6235549" y="935079"/>
                </a:moveTo>
                <a:lnTo>
                  <a:pt x="6294287" y="935079"/>
                </a:lnTo>
                <a:lnTo>
                  <a:pt x="6294287" y="992232"/>
                </a:lnTo>
                <a:lnTo>
                  <a:pt x="6235549" y="992232"/>
                </a:lnTo>
                <a:close/>
                <a:moveTo>
                  <a:pt x="6157761" y="935079"/>
                </a:moveTo>
                <a:lnTo>
                  <a:pt x="6214911" y="935079"/>
                </a:lnTo>
                <a:lnTo>
                  <a:pt x="6214911" y="992232"/>
                </a:lnTo>
                <a:lnTo>
                  <a:pt x="6157761" y="992232"/>
                </a:lnTo>
                <a:close/>
                <a:moveTo>
                  <a:pt x="6078386" y="935079"/>
                </a:moveTo>
                <a:lnTo>
                  <a:pt x="6137124" y="935079"/>
                </a:lnTo>
                <a:lnTo>
                  <a:pt x="6137124" y="992232"/>
                </a:lnTo>
                <a:lnTo>
                  <a:pt x="6078386" y="992232"/>
                </a:lnTo>
                <a:close/>
                <a:moveTo>
                  <a:pt x="5999011" y="935079"/>
                </a:moveTo>
                <a:lnTo>
                  <a:pt x="6057749" y="935079"/>
                </a:lnTo>
                <a:lnTo>
                  <a:pt x="6057749" y="992232"/>
                </a:lnTo>
                <a:lnTo>
                  <a:pt x="5999011" y="992232"/>
                </a:lnTo>
                <a:close/>
                <a:moveTo>
                  <a:pt x="5921224" y="935079"/>
                </a:moveTo>
                <a:lnTo>
                  <a:pt x="5978374" y="935079"/>
                </a:lnTo>
                <a:lnTo>
                  <a:pt x="5978374" y="992232"/>
                </a:lnTo>
                <a:lnTo>
                  <a:pt x="5921224" y="992232"/>
                </a:lnTo>
                <a:close/>
                <a:moveTo>
                  <a:pt x="5841849" y="935079"/>
                </a:moveTo>
                <a:lnTo>
                  <a:pt x="5900587" y="935079"/>
                </a:lnTo>
                <a:lnTo>
                  <a:pt x="5900587" y="992232"/>
                </a:lnTo>
                <a:lnTo>
                  <a:pt x="5841849" y="992232"/>
                </a:lnTo>
                <a:close/>
                <a:moveTo>
                  <a:pt x="5762474" y="935079"/>
                </a:moveTo>
                <a:lnTo>
                  <a:pt x="5821212" y="935079"/>
                </a:lnTo>
                <a:lnTo>
                  <a:pt x="5821212" y="992232"/>
                </a:lnTo>
                <a:lnTo>
                  <a:pt x="5762474" y="992232"/>
                </a:lnTo>
                <a:close/>
                <a:moveTo>
                  <a:pt x="5684686" y="935079"/>
                </a:moveTo>
                <a:lnTo>
                  <a:pt x="5741836" y="935079"/>
                </a:lnTo>
                <a:lnTo>
                  <a:pt x="5741836" y="992232"/>
                </a:lnTo>
                <a:lnTo>
                  <a:pt x="5684686" y="992232"/>
                </a:lnTo>
                <a:close/>
                <a:moveTo>
                  <a:pt x="5605311" y="935079"/>
                </a:moveTo>
                <a:lnTo>
                  <a:pt x="5664049" y="935079"/>
                </a:lnTo>
                <a:lnTo>
                  <a:pt x="5664049" y="992232"/>
                </a:lnTo>
                <a:lnTo>
                  <a:pt x="5605311" y="992232"/>
                </a:lnTo>
                <a:close/>
                <a:moveTo>
                  <a:pt x="5525936" y="935079"/>
                </a:moveTo>
                <a:lnTo>
                  <a:pt x="5584674" y="935079"/>
                </a:lnTo>
                <a:lnTo>
                  <a:pt x="5584674" y="992232"/>
                </a:lnTo>
                <a:lnTo>
                  <a:pt x="5525936" y="992232"/>
                </a:lnTo>
                <a:close/>
                <a:moveTo>
                  <a:pt x="5446561" y="935079"/>
                </a:moveTo>
                <a:lnTo>
                  <a:pt x="5505299" y="935079"/>
                </a:lnTo>
                <a:lnTo>
                  <a:pt x="5505299" y="992232"/>
                </a:lnTo>
                <a:lnTo>
                  <a:pt x="5446561" y="992232"/>
                </a:lnTo>
                <a:close/>
                <a:moveTo>
                  <a:pt x="5368774" y="935079"/>
                </a:moveTo>
                <a:lnTo>
                  <a:pt x="5425924" y="935079"/>
                </a:lnTo>
                <a:lnTo>
                  <a:pt x="5425924" y="992232"/>
                </a:lnTo>
                <a:lnTo>
                  <a:pt x="5368774" y="992232"/>
                </a:lnTo>
                <a:close/>
                <a:moveTo>
                  <a:pt x="5289399" y="935079"/>
                </a:moveTo>
                <a:lnTo>
                  <a:pt x="5348137" y="935079"/>
                </a:lnTo>
                <a:lnTo>
                  <a:pt x="5348137" y="992232"/>
                </a:lnTo>
                <a:lnTo>
                  <a:pt x="5289399" y="992232"/>
                </a:lnTo>
                <a:close/>
                <a:moveTo>
                  <a:pt x="5210024" y="935079"/>
                </a:moveTo>
                <a:lnTo>
                  <a:pt x="5268762" y="935079"/>
                </a:lnTo>
                <a:lnTo>
                  <a:pt x="5268762" y="992232"/>
                </a:lnTo>
                <a:lnTo>
                  <a:pt x="5210024" y="992232"/>
                </a:lnTo>
                <a:close/>
                <a:moveTo>
                  <a:pt x="5130649" y="935079"/>
                </a:moveTo>
                <a:lnTo>
                  <a:pt x="5189387" y="935079"/>
                </a:lnTo>
                <a:lnTo>
                  <a:pt x="5189387" y="992232"/>
                </a:lnTo>
                <a:lnTo>
                  <a:pt x="5130649" y="992232"/>
                </a:lnTo>
                <a:close/>
                <a:moveTo>
                  <a:pt x="5052861" y="935079"/>
                </a:moveTo>
                <a:lnTo>
                  <a:pt x="5110011" y="935079"/>
                </a:lnTo>
                <a:lnTo>
                  <a:pt x="5110011" y="992232"/>
                </a:lnTo>
                <a:lnTo>
                  <a:pt x="5052861" y="992232"/>
                </a:lnTo>
                <a:close/>
                <a:moveTo>
                  <a:pt x="4973486" y="935079"/>
                </a:moveTo>
                <a:lnTo>
                  <a:pt x="5030636" y="935079"/>
                </a:lnTo>
                <a:lnTo>
                  <a:pt x="5030636" y="992232"/>
                </a:lnTo>
                <a:lnTo>
                  <a:pt x="4973486" y="992232"/>
                </a:lnTo>
                <a:close/>
                <a:moveTo>
                  <a:pt x="157166" y="935043"/>
                </a:moveTo>
                <a:lnTo>
                  <a:pt x="215904" y="935043"/>
                </a:lnTo>
                <a:lnTo>
                  <a:pt x="215904" y="992195"/>
                </a:lnTo>
                <a:lnTo>
                  <a:pt x="157166" y="992195"/>
                </a:lnTo>
                <a:close/>
                <a:moveTo>
                  <a:pt x="0" y="935043"/>
                </a:moveTo>
                <a:lnTo>
                  <a:pt x="58749" y="935043"/>
                </a:lnTo>
                <a:lnTo>
                  <a:pt x="58749" y="992195"/>
                </a:lnTo>
                <a:lnTo>
                  <a:pt x="0" y="992195"/>
                </a:lnTo>
                <a:close/>
                <a:moveTo>
                  <a:pt x="631864" y="935043"/>
                </a:moveTo>
                <a:lnTo>
                  <a:pt x="689013" y="935043"/>
                </a:lnTo>
                <a:lnTo>
                  <a:pt x="689013" y="992195"/>
                </a:lnTo>
                <a:lnTo>
                  <a:pt x="631864" y="992195"/>
                </a:lnTo>
                <a:close/>
                <a:moveTo>
                  <a:pt x="552493" y="935043"/>
                </a:moveTo>
                <a:lnTo>
                  <a:pt x="611230" y="935043"/>
                </a:lnTo>
                <a:lnTo>
                  <a:pt x="611230" y="992195"/>
                </a:lnTo>
                <a:lnTo>
                  <a:pt x="552493" y="992195"/>
                </a:lnTo>
                <a:close/>
                <a:moveTo>
                  <a:pt x="473073" y="935043"/>
                </a:moveTo>
                <a:lnTo>
                  <a:pt x="531859" y="935043"/>
                </a:lnTo>
                <a:lnTo>
                  <a:pt x="531859" y="992195"/>
                </a:lnTo>
                <a:lnTo>
                  <a:pt x="473073" y="992195"/>
                </a:lnTo>
                <a:close/>
                <a:moveTo>
                  <a:pt x="395294" y="935043"/>
                </a:moveTo>
                <a:lnTo>
                  <a:pt x="452436" y="935043"/>
                </a:lnTo>
                <a:lnTo>
                  <a:pt x="452436" y="992195"/>
                </a:lnTo>
                <a:lnTo>
                  <a:pt x="395294" y="992195"/>
                </a:lnTo>
                <a:close/>
                <a:moveTo>
                  <a:pt x="315914" y="935043"/>
                </a:moveTo>
                <a:lnTo>
                  <a:pt x="374655" y="935043"/>
                </a:lnTo>
                <a:lnTo>
                  <a:pt x="374655" y="992195"/>
                </a:lnTo>
                <a:lnTo>
                  <a:pt x="315914" y="992195"/>
                </a:lnTo>
                <a:close/>
                <a:moveTo>
                  <a:pt x="236538" y="935043"/>
                </a:moveTo>
                <a:lnTo>
                  <a:pt x="295278" y="935043"/>
                </a:lnTo>
                <a:lnTo>
                  <a:pt x="295278" y="992195"/>
                </a:lnTo>
                <a:lnTo>
                  <a:pt x="236538" y="992195"/>
                </a:lnTo>
                <a:close/>
                <a:moveTo>
                  <a:pt x="947746" y="935042"/>
                </a:moveTo>
                <a:lnTo>
                  <a:pt x="1004893" y="935042"/>
                </a:lnTo>
                <a:lnTo>
                  <a:pt x="1004893" y="992193"/>
                </a:lnTo>
                <a:lnTo>
                  <a:pt x="947746" y="992193"/>
                </a:lnTo>
                <a:close/>
                <a:moveTo>
                  <a:pt x="868383" y="935042"/>
                </a:moveTo>
                <a:lnTo>
                  <a:pt x="927115" y="935042"/>
                </a:lnTo>
                <a:lnTo>
                  <a:pt x="927115" y="992195"/>
                </a:lnTo>
                <a:lnTo>
                  <a:pt x="868383" y="992195"/>
                </a:lnTo>
                <a:close/>
                <a:moveTo>
                  <a:pt x="789013" y="935042"/>
                </a:moveTo>
                <a:lnTo>
                  <a:pt x="847751" y="935042"/>
                </a:lnTo>
                <a:lnTo>
                  <a:pt x="847751" y="992195"/>
                </a:lnTo>
                <a:lnTo>
                  <a:pt x="789013" y="992195"/>
                </a:lnTo>
                <a:close/>
                <a:moveTo>
                  <a:pt x="711236" y="935042"/>
                </a:moveTo>
                <a:lnTo>
                  <a:pt x="768379" y="935042"/>
                </a:lnTo>
                <a:lnTo>
                  <a:pt x="768379" y="992195"/>
                </a:lnTo>
                <a:lnTo>
                  <a:pt x="711236" y="992195"/>
                </a:lnTo>
                <a:close/>
                <a:moveTo>
                  <a:pt x="1263663" y="935042"/>
                </a:moveTo>
                <a:lnTo>
                  <a:pt x="1320827" y="935042"/>
                </a:lnTo>
                <a:lnTo>
                  <a:pt x="1320827" y="992193"/>
                </a:lnTo>
                <a:lnTo>
                  <a:pt x="1263663" y="992193"/>
                </a:lnTo>
                <a:close/>
                <a:moveTo>
                  <a:pt x="1184292" y="935042"/>
                </a:moveTo>
                <a:lnTo>
                  <a:pt x="1243021" y="935042"/>
                </a:lnTo>
                <a:lnTo>
                  <a:pt x="1243021" y="992193"/>
                </a:lnTo>
                <a:lnTo>
                  <a:pt x="1184292" y="992193"/>
                </a:lnTo>
                <a:close/>
                <a:moveTo>
                  <a:pt x="1104921" y="935042"/>
                </a:moveTo>
                <a:lnTo>
                  <a:pt x="1163657" y="935042"/>
                </a:lnTo>
                <a:lnTo>
                  <a:pt x="1163657" y="992193"/>
                </a:lnTo>
                <a:lnTo>
                  <a:pt x="1104921" y="992193"/>
                </a:lnTo>
                <a:close/>
                <a:moveTo>
                  <a:pt x="1027124" y="935042"/>
                </a:moveTo>
                <a:lnTo>
                  <a:pt x="1084287" y="935042"/>
                </a:lnTo>
                <a:lnTo>
                  <a:pt x="1084287" y="992193"/>
                </a:lnTo>
                <a:lnTo>
                  <a:pt x="1027124" y="992193"/>
                </a:lnTo>
                <a:close/>
                <a:moveTo>
                  <a:pt x="2209817" y="935042"/>
                </a:moveTo>
                <a:lnTo>
                  <a:pt x="2268557" y="935042"/>
                </a:lnTo>
                <a:lnTo>
                  <a:pt x="2268557" y="992193"/>
                </a:lnTo>
                <a:lnTo>
                  <a:pt x="2209817" y="992193"/>
                </a:lnTo>
                <a:close/>
                <a:moveTo>
                  <a:pt x="2132029" y="935042"/>
                </a:moveTo>
                <a:lnTo>
                  <a:pt x="2189184" y="935042"/>
                </a:lnTo>
                <a:lnTo>
                  <a:pt x="2189184" y="992193"/>
                </a:lnTo>
                <a:lnTo>
                  <a:pt x="2132029" y="992193"/>
                </a:lnTo>
                <a:close/>
                <a:moveTo>
                  <a:pt x="1893891" y="935042"/>
                </a:moveTo>
                <a:lnTo>
                  <a:pt x="1952628" y="935042"/>
                </a:lnTo>
                <a:lnTo>
                  <a:pt x="1952628" y="992193"/>
                </a:lnTo>
                <a:lnTo>
                  <a:pt x="1893891" y="992193"/>
                </a:lnTo>
                <a:close/>
                <a:moveTo>
                  <a:pt x="1816131" y="935042"/>
                </a:moveTo>
                <a:lnTo>
                  <a:pt x="1873262" y="935042"/>
                </a:lnTo>
                <a:lnTo>
                  <a:pt x="1873262" y="992193"/>
                </a:lnTo>
                <a:lnTo>
                  <a:pt x="1816131" y="992193"/>
                </a:lnTo>
                <a:close/>
                <a:moveTo>
                  <a:pt x="1736756" y="935042"/>
                </a:moveTo>
                <a:lnTo>
                  <a:pt x="1795502" y="935042"/>
                </a:lnTo>
                <a:lnTo>
                  <a:pt x="1795502" y="992193"/>
                </a:lnTo>
                <a:lnTo>
                  <a:pt x="1736756" y="992193"/>
                </a:lnTo>
                <a:close/>
                <a:moveTo>
                  <a:pt x="1657373" y="935042"/>
                </a:moveTo>
                <a:lnTo>
                  <a:pt x="1716116" y="935042"/>
                </a:lnTo>
                <a:lnTo>
                  <a:pt x="1716116" y="992193"/>
                </a:lnTo>
                <a:lnTo>
                  <a:pt x="1657373" y="992193"/>
                </a:lnTo>
                <a:close/>
                <a:moveTo>
                  <a:pt x="1577986" y="935042"/>
                </a:moveTo>
                <a:lnTo>
                  <a:pt x="1636738" y="935042"/>
                </a:lnTo>
                <a:lnTo>
                  <a:pt x="1636738" y="992193"/>
                </a:lnTo>
                <a:lnTo>
                  <a:pt x="1577986" y="992193"/>
                </a:lnTo>
                <a:close/>
                <a:moveTo>
                  <a:pt x="1500193" y="935042"/>
                </a:moveTo>
                <a:lnTo>
                  <a:pt x="1558943" y="935042"/>
                </a:lnTo>
                <a:lnTo>
                  <a:pt x="1558943" y="992193"/>
                </a:lnTo>
                <a:lnTo>
                  <a:pt x="1500193" y="992193"/>
                </a:lnTo>
                <a:close/>
                <a:moveTo>
                  <a:pt x="1420816" y="935042"/>
                </a:moveTo>
                <a:lnTo>
                  <a:pt x="1479552" y="935042"/>
                </a:lnTo>
                <a:lnTo>
                  <a:pt x="1479552" y="992193"/>
                </a:lnTo>
                <a:lnTo>
                  <a:pt x="1420816" y="992193"/>
                </a:lnTo>
                <a:close/>
                <a:moveTo>
                  <a:pt x="1341478" y="935042"/>
                </a:moveTo>
                <a:lnTo>
                  <a:pt x="1400196" y="935042"/>
                </a:lnTo>
                <a:lnTo>
                  <a:pt x="1400196" y="992193"/>
                </a:lnTo>
                <a:lnTo>
                  <a:pt x="1341478" y="992193"/>
                </a:lnTo>
                <a:close/>
                <a:moveTo>
                  <a:pt x="4025748" y="935041"/>
                </a:moveTo>
                <a:lnTo>
                  <a:pt x="4084486" y="935041"/>
                </a:lnTo>
                <a:lnTo>
                  <a:pt x="4084486" y="992191"/>
                </a:lnTo>
                <a:lnTo>
                  <a:pt x="4025748" y="992191"/>
                </a:lnTo>
                <a:close/>
                <a:moveTo>
                  <a:pt x="3157386" y="935041"/>
                </a:moveTo>
                <a:lnTo>
                  <a:pt x="3216124" y="935041"/>
                </a:lnTo>
                <a:lnTo>
                  <a:pt x="3216124" y="992193"/>
                </a:lnTo>
                <a:lnTo>
                  <a:pt x="3157386" y="992193"/>
                </a:lnTo>
                <a:close/>
                <a:moveTo>
                  <a:pt x="3078011" y="935041"/>
                </a:moveTo>
                <a:lnTo>
                  <a:pt x="3136749" y="935041"/>
                </a:lnTo>
                <a:lnTo>
                  <a:pt x="3136749" y="992193"/>
                </a:lnTo>
                <a:lnTo>
                  <a:pt x="3078011" y="992193"/>
                </a:lnTo>
                <a:close/>
                <a:moveTo>
                  <a:pt x="3000223" y="935041"/>
                </a:moveTo>
                <a:lnTo>
                  <a:pt x="3057373" y="935041"/>
                </a:lnTo>
                <a:lnTo>
                  <a:pt x="3057373" y="992193"/>
                </a:lnTo>
                <a:lnTo>
                  <a:pt x="3000223" y="992193"/>
                </a:lnTo>
                <a:close/>
                <a:moveTo>
                  <a:pt x="2604936" y="935041"/>
                </a:moveTo>
                <a:lnTo>
                  <a:pt x="2663674" y="935041"/>
                </a:lnTo>
                <a:lnTo>
                  <a:pt x="2663674" y="992193"/>
                </a:lnTo>
                <a:lnTo>
                  <a:pt x="2604936" y="992193"/>
                </a:lnTo>
                <a:close/>
                <a:moveTo>
                  <a:pt x="2525735" y="935041"/>
                </a:moveTo>
                <a:lnTo>
                  <a:pt x="2584471" y="935041"/>
                </a:lnTo>
                <a:lnTo>
                  <a:pt x="2584471" y="992193"/>
                </a:lnTo>
                <a:lnTo>
                  <a:pt x="2525735" y="992193"/>
                </a:lnTo>
                <a:close/>
                <a:moveTo>
                  <a:pt x="4894111" y="935040"/>
                </a:moveTo>
                <a:lnTo>
                  <a:pt x="4952849" y="935040"/>
                </a:lnTo>
                <a:lnTo>
                  <a:pt x="4952849" y="992191"/>
                </a:lnTo>
                <a:lnTo>
                  <a:pt x="4894111" y="992191"/>
                </a:lnTo>
                <a:close/>
                <a:moveTo>
                  <a:pt x="4814736" y="935040"/>
                </a:moveTo>
                <a:lnTo>
                  <a:pt x="4873474" y="935040"/>
                </a:lnTo>
                <a:lnTo>
                  <a:pt x="4873474" y="992191"/>
                </a:lnTo>
                <a:lnTo>
                  <a:pt x="4814736" y="992191"/>
                </a:lnTo>
                <a:close/>
                <a:moveTo>
                  <a:pt x="4657573" y="935040"/>
                </a:moveTo>
                <a:lnTo>
                  <a:pt x="4716311" y="935040"/>
                </a:lnTo>
                <a:lnTo>
                  <a:pt x="4716311" y="992191"/>
                </a:lnTo>
                <a:lnTo>
                  <a:pt x="4657573" y="992191"/>
                </a:lnTo>
                <a:close/>
                <a:moveTo>
                  <a:pt x="4578198" y="935040"/>
                </a:moveTo>
                <a:lnTo>
                  <a:pt x="4636936" y="935040"/>
                </a:lnTo>
                <a:lnTo>
                  <a:pt x="4636936" y="992191"/>
                </a:lnTo>
                <a:lnTo>
                  <a:pt x="4578198" y="992191"/>
                </a:lnTo>
                <a:close/>
                <a:moveTo>
                  <a:pt x="4498823" y="935040"/>
                </a:moveTo>
                <a:lnTo>
                  <a:pt x="4557561" y="935040"/>
                </a:lnTo>
                <a:lnTo>
                  <a:pt x="4557561" y="992191"/>
                </a:lnTo>
                <a:lnTo>
                  <a:pt x="4498823" y="992191"/>
                </a:lnTo>
                <a:close/>
                <a:moveTo>
                  <a:pt x="8920011" y="855698"/>
                </a:moveTo>
                <a:lnTo>
                  <a:pt x="8978749" y="855698"/>
                </a:lnTo>
                <a:lnTo>
                  <a:pt x="8978749" y="914434"/>
                </a:lnTo>
                <a:lnTo>
                  <a:pt x="8920011" y="914434"/>
                </a:lnTo>
                <a:close/>
                <a:moveTo>
                  <a:pt x="8604099" y="855698"/>
                </a:moveTo>
                <a:lnTo>
                  <a:pt x="8662837" y="855698"/>
                </a:lnTo>
                <a:lnTo>
                  <a:pt x="8662837" y="914434"/>
                </a:lnTo>
                <a:lnTo>
                  <a:pt x="8604099" y="914434"/>
                </a:lnTo>
                <a:close/>
                <a:moveTo>
                  <a:pt x="8526311" y="855698"/>
                </a:moveTo>
                <a:lnTo>
                  <a:pt x="8583461" y="855698"/>
                </a:lnTo>
                <a:lnTo>
                  <a:pt x="8583461" y="914434"/>
                </a:lnTo>
                <a:lnTo>
                  <a:pt x="8526311" y="914434"/>
                </a:lnTo>
                <a:close/>
                <a:moveTo>
                  <a:pt x="8446936" y="855698"/>
                </a:moveTo>
                <a:lnTo>
                  <a:pt x="8505674" y="855698"/>
                </a:lnTo>
                <a:lnTo>
                  <a:pt x="8505674" y="914434"/>
                </a:lnTo>
                <a:lnTo>
                  <a:pt x="8446936" y="914434"/>
                </a:lnTo>
                <a:close/>
                <a:moveTo>
                  <a:pt x="8367561" y="855698"/>
                </a:moveTo>
                <a:lnTo>
                  <a:pt x="8426299" y="855698"/>
                </a:lnTo>
                <a:lnTo>
                  <a:pt x="8426299" y="914434"/>
                </a:lnTo>
                <a:lnTo>
                  <a:pt x="8367561" y="914434"/>
                </a:lnTo>
                <a:close/>
                <a:moveTo>
                  <a:pt x="8289774" y="855698"/>
                </a:moveTo>
                <a:lnTo>
                  <a:pt x="8346924" y="855698"/>
                </a:lnTo>
                <a:lnTo>
                  <a:pt x="8346924" y="914434"/>
                </a:lnTo>
                <a:lnTo>
                  <a:pt x="8289774" y="914434"/>
                </a:lnTo>
                <a:close/>
                <a:moveTo>
                  <a:pt x="8210399" y="855698"/>
                </a:moveTo>
                <a:lnTo>
                  <a:pt x="8267549" y="855698"/>
                </a:lnTo>
                <a:lnTo>
                  <a:pt x="8267549" y="914434"/>
                </a:lnTo>
                <a:lnTo>
                  <a:pt x="8210399" y="914434"/>
                </a:lnTo>
                <a:close/>
                <a:moveTo>
                  <a:pt x="8131024" y="855698"/>
                </a:moveTo>
                <a:lnTo>
                  <a:pt x="8189762" y="855698"/>
                </a:lnTo>
                <a:lnTo>
                  <a:pt x="8189762" y="914434"/>
                </a:lnTo>
                <a:lnTo>
                  <a:pt x="8131024" y="914434"/>
                </a:lnTo>
                <a:close/>
                <a:moveTo>
                  <a:pt x="8051649" y="855698"/>
                </a:moveTo>
                <a:lnTo>
                  <a:pt x="8110387" y="855698"/>
                </a:lnTo>
                <a:lnTo>
                  <a:pt x="8110387" y="914434"/>
                </a:lnTo>
                <a:lnTo>
                  <a:pt x="8051649" y="914434"/>
                </a:lnTo>
                <a:close/>
                <a:moveTo>
                  <a:pt x="7973861" y="855698"/>
                </a:moveTo>
                <a:lnTo>
                  <a:pt x="8031011" y="855698"/>
                </a:lnTo>
                <a:lnTo>
                  <a:pt x="8031011" y="914434"/>
                </a:lnTo>
                <a:lnTo>
                  <a:pt x="7973861" y="914434"/>
                </a:lnTo>
                <a:close/>
                <a:moveTo>
                  <a:pt x="7894486" y="855698"/>
                </a:moveTo>
                <a:lnTo>
                  <a:pt x="7951636" y="855698"/>
                </a:lnTo>
                <a:lnTo>
                  <a:pt x="7951636" y="914434"/>
                </a:lnTo>
                <a:lnTo>
                  <a:pt x="7894486" y="914434"/>
                </a:lnTo>
                <a:close/>
                <a:moveTo>
                  <a:pt x="7815111" y="855698"/>
                </a:moveTo>
                <a:lnTo>
                  <a:pt x="7873849" y="855698"/>
                </a:lnTo>
                <a:lnTo>
                  <a:pt x="7873849" y="914434"/>
                </a:lnTo>
                <a:lnTo>
                  <a:pt x="7815111" y="914434"/>
                </a:lnTo>
                <a:close/>
                <a:moveTo>
                  <a:pt x="7735736" y="855698"/>
                </a:moveTo>
                <a:lnTo>
                  <a:pt x="7794474" y="855698"/>
                </a:lnTo>
                <a:lnTo>
                  <a:pt x="7794474" y="914434"/>
                </a:lnTo>
                <a:lnTo>
                  <a:pt x="7735736" y="914434"/>
                </a:lnTo>
                <a:close/>
                <a:moveTo>
                  <a:pt x="7657949" y="855698"/>
                </a:moveTo>
                <a:lnTo>
                  <a:pt x="7715099" y="855698"/>
                </a:lnTo>
                <a:lnTo>
                  <a:pt x="7715099" y="914434"/>
                </a:lnTo>
                <a:lnTo>
                  <a:pt x="7657949" y="914434"/>
                </a:lnTo>
                <a:close/>
                <a:moveTo>
                  <a:pt x="7578574" y="855698"/>
                </a:moveTo>
                <a:lnTo>
                  <a:pt x="7637312" y="855698"/>
                </a:lnTo>
                <a:lnTo>
                  <a:pt x="7637312" y="914434"/>
                </a:lnTo>
                <a:lnTo>
                  <a:pt x="7578574" y="914434"/>
                </a:lnTo>
                <a:close/>
                <a:moveTo>
                  <a:pt x="7499199" y="855698"/>
                </a:moveTo>
                <a:lnTo>
                  <a:pt x="7557937" y="855698"/>
                </a:lnTo>
                <a:lnTo>
                  <a:pt x="7557937" y="914434"/>
                </a:lnTo>
                <a:lnTo>
                  <a:pt x="7499199" y="914434"/>
                </a:lnTo>
                <a:close/>
                <a:moveTo>
                  <a:pt x="7419824" y="855698"/>
                </a:moveTo>
                <a:lnTo>
                  <a:pt x="7478562" y="855698"/>
                </a:lnTo>
                <a:lnTo>
                  <a:pt x="7478562" y="914434"/>
                </a:lnTo>
                <a:lnTo>
                  <a:pt x="7419824" y="914434"/>
                </a:lnTo>
                <a:close/>
                <a:moveTo>
                  <a:pt x="7342036" y="855698"/>
                </a:moveTo>
                <a:lnTo>
                  <a:pt x="7400774" y="855698"/>
                </a:lnTo>
                <a:lnTo>
                  <a:pt x="7400774" y="914434"/>
                </a:lnTo>
                <a:lnTo>
                  <a:pt x="7342036" y="914434"/>
                </a:lnTo>
                <a:close/>
                <a:moveTo>
                  <a:pt x="7262661" y="855698"/>
                </a:moveTo>
                <a:lnTo>
                  <a:pt x="7321399" y="855698"/>
                </a:lnTo>
                <a:lnTo>
                  <a:pt x="7321399" y="914434"/>
                </a:lnTo>
                <a:lnTo>
                  <a:pt x="7262661" y="914434"/>
                </a:lnTo>
                <a:close/>
                <a:moveTo>
                  <a:pt x="7183286" y="855698"/>
                </a:moveTo>
                <a:lnTo>
                  <a:pt x="7242024" y="855698"/>
                </a:lnTo>
                <a:lnTo>
                  <a:pt x="7242024" y="914434"/>
                </a:lnTo>
                <a:lnTo>
                  <a:pt x="7183286" y="914434"/>
                </a:lnTo>
                <a:close/>
                <a:moveTo>
                  <a:pt x="7105499" y="855698"/>
                </a:moveTo>
                <a:lnTo>
                  <a:pt x="7162649" y="855698"/>
                </a:lnTo>
                <a:lnTo>
                  <a:pt x="7162649" y="914434"/>
                </a:lnTo>
                <a:lnTo>
                  <a:pt x="7105499" y="914434"/>
                </a:lnTo>
                <a:close/>
                <a:moveTo>
                  <a:pt x="7026124" y="855698"/>
                </a:moveTo>
                <a:lnTo>
                  <a:pt x="7084862" y="855698"/>
                </a:lnTo>
                <a:lnTo>
                  <a:pt x="7084862" y="914434"/>
                </a:lnTo>
                <a:lnTo>
                  <a:pt x="7026124" y="914434"/>
                </a:lnTo>
                <a:close/>
                <a:moveTo>
                  <a:pt x="6946749" y="855698"/>
                </a:moveTo>
                <a:lnTo>
                  <a:pt x="7005487" y="855698"/>
                </a:lnTo>
                <a:lnTo>
                  <a:pt x="7005487" y="914434"/>
                </a:lnTo>
                <a:lnTo>
                  <a:pt x="6946749" y="914434"/>
                </a:lnTo>
                <a:close/>
                <a:moveTo>
                  <a:pt x="6867374" y="855698"/>
                </a:moveTo>
                <a:lnTo>
                  <a:pt x="6926112" y="855698"/>
                </a:lnTo>
                <a:lnTo>
                  <a:pt x="6926112" y="914434"/>
                </a:lnTo>
                <a:lnTo>
                  <a:pt x="6867374" y="914434"/>
                </a:lnTo>
                <a:close/>
                <a:moveTo>
                  <a:pt x="6789586" y="855698"/>
                </a:moveTo>
                <a:lnTo>
                  <a:pt x="6846736" y="855698"/>
                </a:lnTo>
                <a:lnTo>
                  <a:pt x="6846736" y="914434"/>
                </a:lnTo>
                <a:lnTo>
                  <a:pt x="6789586" y="914434"/>
                </a:lnTo>
                <a:close/>
                <a:moveTo>
                  <a:pt x="6710211" y="855698"/>
                </a:moveTo>
                <a:lnTo>
                  <a:pt x="6768949" y="855698"/>
                </a:lnTo>
                <a:lnTo>
                  <a:pt x="6768949" y="914434"/>
                </a:lnTo>
                <a:lnTo>
                  <a:pt x="6710211" y="914434"/>
                </a:lnTo>
                <a:close/>
                <a:moveTo>
                  <a:pt x="6630836" y="855698"/>
                </a:moveTo>
                <a:lnTo>
                  <a:pt x="6689574" y="855698"/>
                </a:lnTo>
                <a:lnTo>
                  <a:pt x="6689574" y="914434"/>
                </a:lnTo>
                <a:lnTo>
                  <a:pt x="6630836" y="914434"/>
                </a:lnTo>
                <a:close/>
                <a:moveTo>
                  <a:pt x="6551461" y="855698"/>
                </a:moveTo>
                <a:lnTo>
                  <a:pt x="6610199" y="855698"/>
                </a:lnTo>
                <a:lnTo>
                  <a:pt x="6610199" y="914434"/>
                </a:lnTo>
                <a:lnTo>
                  <a:pt x="6551461" y="914434"/>
                </a:lnTo>
                <a:close/>
                <a:moveTo>
                  <a:pt x="6473674" y="855698"/>
                </a:moveTo>
                <a:lnTo>
                  <a:pt x="6530824" y="855698"/>
                </a:lnTo>
                <a:lnTo>
                  <a:pt x="6530824" y="914434"/>
                </a:lnTo>
                <a:lnTo>
                  <a:pt x="6473674" y="914434"/>
                </a:lnTo>
                <a:close/>
                <a:moveTo>
                  <a:pt x="6394299" y="855698"/>
                </a:moveTo>
                <a:lnTo>
                  <a:pt x="6453037" y="855698"/>
                </a:lnTo>
                <a:lnTo>
                  <a:pt x="6453037" y="914434"/>
                </a:lnTo>
                <a:lnTo>
                  <a:pt x="6394299" y="914434"/>
                </a:lnTo>
                <a:close/>
                <a:moveTo>
                  <a:pt x="6314924" y="855698"/>
                </a:moveTo>
                <a:lnTo>
                  <a:pt x="6373662" y="855698"/>
                </a:lnTo>
                <a:lnTo>
                  <a:pt x="6373662" y="914434"/>
                </a:lnTo>
                <a:lnTo>
                  <a:pt x="6314924" y="914434"/>
                </a:lnTo>
                <a:close/>
                <a:moveTo>
                  <a:pt x="6235549" y="855698"/>
                </a:moveTo>
                <a:lnTo>
                  <a:pt x="6294287" y="855698"/>
                </a:lnTo>
                <a:lnTo>
                  <a:pt x="6294287" y="914434"/>
                </a:lnTo>
                <a:lnTo>
                  <a:pt x="6235549" y="914434"/>
                </a:lnTo>
                <a:close/>
                <a:moveTo>
                  <a:pt x="6157761" y="855698"/>
                </a:moveTo>
                <a:lnTo>
                  <a:pt x="6214911" y="855698"/>
                </a:lnTo>
                <a:lnTo>
                  <a:pt x="6214911" y="914434"/>
                </a:lnTo>
                <a:lnTo>
                  <a:pt x="6157761" y="914434"/>
                </a:lnTo>
                <a:close/>
                <a:moveTo>
                  <a:pt x="6078386" y="855698"/>
                </a:moveTo>
                <a:lnTo>
                  <a:pt x="6137124" y="855698"/>
                </a:lnTo>
                <a:lnTo>
                  <a:pt x="6137124" y="914434"/>
                </a:lnTo>
                <a:lnTo>
                  <a:pt x="6078386" y="914434"/>
                </a:lnTo>
                <a:close/>
                <a:moveTo>
                  <a:pt x="5999011" y="855698"/>
                </a:moveTo>
                <a:lnTo>
                  <a:pt x="6057749" y="855698"/>
                </a:lnTo>
                <a:lnTo>
                  <a:pt x="6057749" y="914434"/>
                </a:lnTo>
                <a:lnTo>
                  <a:pt x="5999011" y="914434"/>
                </a:lnTo>
                <a:close/>
                <a:moveTo>
                  <a:pt x="5921224" y="855698"/>
                </a:moveTo>
                <a:lnTo>
                  <a:pt x="5978374" y="855698"/>
                </a:lnTo>
                <a:lnTo>
                  <a:pt x="5978374" y="914434"/>
                </a:lnTo>
                <a:lnTo>
                  <a:pt x="5921224" y="914434"/>
                </a:lnTo>
                <a:close/>
                <a:moveTo>
                  <a:pt x="5841849" y="855698"/>
                </a:moveTo>
                <a:lnTo>
                  <a:pt x="5900587" y="855698"/>
                </a:lnTo>
                <a:lnTo>
                  <a:pt x="5900587" y="914434"/>
                </a:lnTo>
                <a:lnTo>
                  <a:pt x="5841849" y="914434"/>
                </a:lnTo>
                <a:close/>
                <a:moveTo>
                  <a:pt x="5762474" y="855698"/>
                </a:moveTo>
                <a:lnTo>
                  <a:pt x="5821212" y="855698"/>
                </a:lnTo>
                <a:lnTo>
                  <a:pt x="5821212" y="914434"/>
                </a:lnTo>
                <a:lnTo>
                  <a:pt x="5762474" y="914434"/>
                </a:lnTo>
                <a:close/>
                <a:moveTo>
                  <a:pt x="5684686" y="855698"/>
                </a:moveTo>
                <a:lnTo>
                  <a:pt x="5741836" y="855698"/>
                </a:lnTo>
                <a:lnTo>
                  <a:pt x="5741836" y="914434"/>
                </a:lnTo>
                <a:lnTo>
                  <a:pt x="5684686" y="914434"/>
                </a:lnTo>
                <a:close/>
                <a:moveTo>
                  <a:pt x="5605311" y="855698"/>
                </a:moveTo>
                <a:lnTo>
                  <a:pt x="5664049" y="855698"/>
                </a:lnTo>
                <a:lnTo>
                  <a:pt x="5664049" y="914434"/>
                </a:lnTo>
                <a:lnTo>
                  <a:pt x="5605311" y="914434"/>
                </a:lnTo>
                <a:close/>
                <a:moveTo>
                  <a:pt x="5525936" y="855698"/>
                </a:moveTo>
                <a:lnTo>
                  <a:pt x="5584674" y="855698"/>
                </a:lnTo>
                <a:lnTo>
                  <a:pt x="5584674" y="914434"/>
                </a:lnTo>
                <a:lnTo>
                  <a:pt x="5525936" y="914434"/>
                </a:lnTo>
                <a:close/>
                <a:moveTo>
                  <a:pt x="5446561" y="855698"/>
                </a:moveTo>
                <a:lnTo>
                  <a:pt x="5505299" y="855698"/>
                </a:lnTo>
                <a:lnTo>
                  <a:pt x="5505299" y="914434"/>
                </a:lnTo>
                <a:lnTo>
                  <a:pt x="5446561" y="914434"/>
                </a:lnTo>
                <a:close/>
                <a:moveTo>
                  <a:pt x="5368774" y="855698"/>
                </a:moveTo>
                <a:lnTo>
                  <a:pt x="5425924" y="855698"/>
                </a:lnTo>
                <a:lnTo>
                  <a:pt x="5425924" y="914434"/>
                </a:lnTo>
                <a:lnTo>
                  <a:pt x="5368774" y="914434"/>
                </a:lnTo>
                <a:close/>
                <a:moveTo>
                  <a:pt x="5289399" y="855698"/>
                </a:moveTo>
                <a:lnTo>
                  <a:pt x="5348137" y="855698"/>
                </a:lnTo>
                <a:lnTo>
                  <a:pt x="5348137" y="914434"/>
                </a:lnTo>
                <a:lnTo>
                  <a:pt x="5289399" y="914434"/>
                </a:lnTo>
                <a:close/>
                <a:moveTo>
                  <a:pt x="5210024" y="855698"/>
                </a:moveTo>
                <a:lnTo>
                  <a:pt x="5268762" y="855698"/>
                </a:lnTo>
                <a:lnTo>
                  <a:pt x="5268762" y="914434"/>
                </a:lnTo>
                <a:lnTo>
                  <a:pt x="5210024" y="914434"/>
                </a:lnTo>
                <a:close/>
                <a:moveTo>
                  <a:pt x="5130649" y="855698"/>
                </a:moveTo>
                <a:lnTo>
                  <a:pt x="5189387" y="855698"/>
                </a:lnTo>
                <a:lnTo>
                  <a:pt x="5189387" y="914434"/>
                </a:lnTo>
                <a:lnTo>
                  <a:pt x="5130649" y="914434"/>
                </a:lnTo>
                <a:close/>
                <a:moveTo>
                  <a:pt x="5052861" y="855698"/>
                </a:moveTo>
                <a:lnTo>
                  <a:pt x="5110011" y="855698"/>
                </a:lnTo>
                <a:lnTo>
                  <a:pt x="5110011" y="914434"/>
                </a:lnTo>
                <a:lnTo>
                  <a:pt x="5052861" y="914434"/>
                </a:lnTo>
                <a:close/>
                <a:moveTo>
                  <a:pt x="4973486" y="855698"/>
                </a:moveTo>
                <a:lnTo>
                  <a:pt x="5030636" y="855698"/>
                </a:lnTo>
                <a:lnTo>
                  <a:pt x="5030636" y="914434"/>
                </a:lnTo>
                <a:lnTo>
                  <a:pt x="4973486" y="914434"/>
                </a:lnTo>
                <a:close/>
                <a:moveTo>
                  <a:pt x="473079" y="855668"/>
                </a:moveTo>
                <a:lnTo>
                  <a:pt x="531865" y="855668"/>
                </a:lnTo>
                <a:lnTo>
                  <a:pt x="531865" y="914406"/>
                </a:lnTo>
                <a:lnTo>
                  <a:pt x="473079" y="914406"/>
                </a:lnTo>
                <a:close/>
                <a:moveTo>
                  <a:pt x="395300" y="855668"/>
                </a:moveTo>
                <a:lnTo>
                  <a:pt x="452441" y="855668"/>
                </a:lnTo>
                <a:lnTo>
                  <a:pt x="452441" y="914406"/>
                </a:lnTo>
                <a:lnTo>
                  <a:pt x="395300" y="914406"/>
                </a:lnTo>
                <a:close/>
                <a:moveTo>
                  <a:pt x="315920" y="855668"/>
                </a:moveTo>
                <a:lnTo>
                  <a:pt x="374661" y="855668"/>
                </a:lnTo>
                <a:lnTo>
                  <a:pt x="374661" y="914406"/>
                </a:lnTo>
                <a:lnTo>
                  <a:pt x="315920" y="914406"/>
                </a:lnTo>
                <a:close/>
                <a:moveTo>
                  <a:pt x="236544" y="855668"/>
                </a:moveTo>
                <a:lnTo>
                  <a:pt x="295282" y="855668"/>
                </a:lnTo>
                <a:lnTo>
                  <a:pt x="295282" y="914406"/>
                </a:lnTo>
                <a:lnTo>
                  <a:pt x="236544" y="914406"/>
                </a:lnTo>
                <a:close/>
                <a:moveTo>
                  <a:pt x="157171" y="855668"/>
                </a:moveTo>
                <a:lnTo>
                  <a:pt x="215910" y="855668"/>
                </a:lnTo>
                <a:lnTo>
                  <a:pt x="215910" y="914406"/>
                </a:lnTo>
                <a:lnTo>
                  <a:pt x="157171" y="914406"/>
                </a:lnTo>
                <a:close/>
                <a:moveTo>
                  <a:pt x="79385" y="855668"/>
                </a:moveTo>
                <a:lnTo>
                  <a:pt x="136531" y="855668"/>
                </a:lnTo>
                <a:lnTo>
                  <a:pt x="136531" y="914406"/>
                </a:lnTo>
                <a:lnTo>
                  <a:pt x="79385" y="914406"/>
                </a:lnTo>
                <a:close/>
                <a:moveTo>
                  <a:pt x="2368578" y="855666"/>
                </a:moveTo>
                <a:lnTo>
                  <a:pt x="2427314" y="855666"/>
                </a:lnTo>
                <a:lnTo>
                  <a:pt x="2427314" y="914403"/>
                </a:lnTo>
                <a:lnTo>
                  <a:pt x="2368578" y="914403"/>
                </a:lnTo>
                <a:close/>
                <a:moveTo>
                  <a:pt x="2132036" y="855666"/>
                </a:moveTo>
                <a:lnTo>
                  <a:pt x="2189190" y="855666"/>
                </a:lnTo>
                <a:lnTo>
                  <a:pt x="2189190" y="914403"/>
                </a:lnTo>
                <a:lnTo>
                  <a:pt x="2132036" y="914403"/>
                </a:lnTo>
                <a:close/>
                <a:moveTo>
                  <a:pt x="2052653" y="855666"/>
                </a:moveTo>
                <a:lnTo>
                  <a:pt x="2111401" y="855666"/>
                </a:lnTo>
                <a:lnTo>
                  <a:pt x="2111401" y="914403"/>
                </a:lnTo>
                <a:lnTo>
                  <a:pt x="2052653" y="914403"/>
                </a:lnTo>
                <a:close/>
                <a:moveTo>
                  <a:pt x="1973276" y="855666"/>
                </a:moveTo>
                <a:lnTo>
                  <a:pt x="2032019" y="855666"/>
                </a:lnTo>
                <a:lnTo>
                  <a:pt x="2032019" y="914403"/>
                </a:lnTo>
                <a:lnTo>
                  <a:pt x="1973276" y="914403"/>
                </a:lnTo>
                <a:close/>
                <a:moveTo>
                  <a:pt x="1893897" y="855666"/>
                </a:moveTo>
                <a:lnTo>
                  <a:pt x="1952630" y="855666"/>
                </a:lnTo>
                <a:lnTo>
                  <a:pt x="1952630" y="914403"/>
                </a:lnTo>
                <a:lnTo>
                  <a:pt x="1893897" y="914403"/>
                </a:lnTo>
                <a:close/>
                <a:moveTo>
                  <a:pt x="1816134" y="855666"/>
                </a:moveTo>
                <a:lnTo>
                  <a:pt x="1873269" y="855666"/>
                </a:lnTo>
                <a:lnTo>
                  <a:pt x="1873269" y="914403"/>
                </a:lnTo>
                <a:lnTo>
                  <a:pt x="1816134" y="914403"/>
                </a:lnTo>
                <a:close/>
                <a:moveTo>
                  <a:pt x="1736763" y="855666"/>
                </a:moveTo>
                <a:lnTo>
                  <a:pt x="1795512" y="855666"/>
                </a:lnTo>
                <a:lnTo>
                  <a:pt x="1795512" y="914403"/>
                </a:lnTo>
                <a:lnTo>
                  <a:pt x="1736763" y="914403"/>
                </a:lnTo>
                <a:close/>
                <a:moveTo>
                  <a:pt x="1657379" y="855666"/>
                </a:moveTo>
                <a:lnTo>
                  <a:pt x="1716122" y="855666"/>
                </a:lnTo>
                <a:lnTo>
                  <a:pt x="1716122" y="914403"/>
                </a:lnTo>
                <a:lnTo>
                  <a:pt x="1657379" y="914403"/>
                </a:lnTo>
                <a:close/>
                <a:moveTo>
                  <a:pt x="1577991" y="855666"/>
                </a:moveTo>
                <a:lnTo>
                  <a:pt x="1636746" y="855666"/>
                </a:lnTo>
                <a:lnTo>
                  <a:pt x="1636746" y="914403"/>
                </a:lnTo>
                <a:lnTo>
                  <a:pt x="1577991" y="914403"/>
                </a:lnTo>
                <a:close/>
                <a:moveTo>
                  <a:pt x="1500201" y="855666"/>
                </a:moveTo>
                <a:lnTo>
                  <a:pt x="1558943" y="855666"/>
                </a:lnTo>
                <a:lnTo>
                  <a:pt x="1558943" y="914403"/>
                </a:lnTo>
                <a:lnTo>
                  <a:pt x="1500201" y="914403"/>
                </a:lnTo>
                <a:close/>
                <a:moveTo>
                  <a:pt x="1420822" y="855666"/>
                </a:moveTo>
                <a:lnTo>
                  <a:pt x="1479559" y="855666"/>
                </a:lnTo>
                <a:lnTo>
                  <a:pt x="1479559" y="914403"/>
                </a:lnTo>
                <a:lnTo>
                  <a:pt x="1420822" y="914403"/>
                </a:lnTo>
                <a:close/>
                <a:moveTo>
                  <a:pt x="1341482" y="855666"/>
                </a:moveTo>
                <a:lnTo>
                  <a:pt x="1400204" y="855666"/>
                </a:lnTo>
                <a:lnTo>
                  <a:pt x="1400204" y="914403"/>
                </a:lnTo>
                <a:lnTo>
                  <a:pt x="1341482" y="914403"/>
                </a:lnTo>
                <a:close/>
                <a:moveTo>
                  <a:pt x="1263668" y="855666"/>
                </a:moveTo>
                <a:lnTo>
                  <a:pt x="1320832" y="855666"/>
                </a:lnTo>
                <a:lnTo>
                  <a:pt x="1320832" y="914403"/>
                </a:lnTo>
                <a:lnTo>
                  <a:pt x="1263668" y="914403"/>
                </a:lnTo>
                <a:close/>
                <a:moveTo>
                  <a:pt x="1184302" y="855666"/>
                </a:moveTo>
                <a:lnTo>
                  <a:pt x="1243027" y="855666"/>
                </a:lnTo>
                <a:lnTo>
                  <a:pt x="1243027" y="914403"/>
                </a:lnTo>
                <a:lnTo>
                  <a:pt x="1184302" y="914403"/>
                </a:lnTo>
                <a:close/>
                <a:moveTo>
                  <a:pt x="1104928" y="855666"/>
                </a:moveTo>
                <a:lnTo>
                  <a:pt x="1163664" y="855666"/>
                </a:lnTo>
                <a:lnTo>
                  <a:pt x="1163664" y="914406"/>
                </a:lnTo>
                <a:lnTo>
                  <a:pt x="1104928" y="914406"/>
                </a:lnTo>
                <a:close/>
                <a:moveTo>
                  <a:pt x="1027129" y="855666"/>
                </a:moveTo>
                <a:lnTo>
                  <a:pt x="1084292" y="855666"/>
                </a:lnTo>
                <a:lnTo>
                  <a:pt x="1084292" y="914406"/>
                </a:lnTo>
                <a:lnTo>
                  <a:pt x="1027129" y="914406"/>
                </a:lnTo>
                <a:close/>
                <a:moveTo>
                  <a:pt x="947750" y="855666"/>
                </a:moveTo>
                <a:lnTo>
                  <a:pt x="1004899" y="855666"/>
                </a:lnTo>
                <a:lnTo>
                  <a:pt x="1004899" y="914406"/>
                </a:lnTo>
                <a:lnTo>
                  <a:pt x="947750" y="914406"/>
                </a:lnTo>
                <a:close/>
                <a:moveTo>
                  <a:pt x="868388" y="855666"/>
                </a:moveTo>
                <a:lnTo>
                  <a:pt x="927120" y="855666"/>
                </a:lnTo>
                <a:lnTo>
                  <a:pt x="927120" y="914406"/>
                </a:lnTo>
                <a:lnTo>
                  <a:pt x="868388" y="914406"/>
                </a:lnTo>
                <a:close/>
                <a:moveTo>
                  <a:pt x="789020" y="855666"/>
                </a:moveTo>
                <a:lnTo>
                  <a:pt x="847758" y="855666"/>
                </a:lnTo>
                <a:lnTo>
                  <a:pt x="847758" y="914406"/>
                </a:lnTo>
                <a:lnTo>
                  <a:pt x="789020" y="914406"/>
                </a:lnTo>
                <a:close/>
                <a:moveTo>
                  <a:pt x="711243" y="855666"/>
                </a:moveTo>
                <a:lnTo>
                  <a:pt x="768385" y="855666"/>
                </a:lnTo>
                <a:lnTo>
                  <a:pt x="768385" y="914406"/>
                </a:lnTo>
                <a:lnTo>
                  <a:pt x="711243" y="914406"/>
                </a:lnTo>
                <a:close/>
                <a:moveTo>
                  <a:pt x="631873" y="855666"/>
                </a:moveTo>
                <a:lnTo>
                  <a:pt x="689020" y="855666"/>
                </a:lnTo>
                <a:lnTo>
                  <a:pt x="689020" y="914406"/>
                </a:lnTo>
                <a:lnTo>
                  <a:pt x="631873" y="914406"/>
                </a:lnTo>
                <a:close/>
                <a:moveTo>
                  <a:pt x="552501" y="855666"/>
                </a:moveTo>
                <a:lnTo>
                  <a:pt x="611236" y="855666"/>
                </a:lnTo>
                <a:lnTo>
                  <a:pt x="611236" y="914406"/>
                </a:lnTo>
                <a:lnTo>
                  <a:pt x="552501" y="914406"/>
                </a:lnTo>
                <a:close/>
                <a:moveTo>
                  <a:pt x="4894111" y="855664"/>
                </a:moveTo>
                <a:lnTo>
                  <a:pt x="4952849" y="855664"/>
                </a:lnTo>
                <a:lnTo>
                  <a:pt x="4952849" y="914403"/>
                </a:lnTo>
                <a:lnTo>
                  <a:pt x="4894111" y="914403"/>
                </a:lnTo>
                <a:close/>
                <a:moveTo>
                  <a:pt x="4736948" y="855664"/>
                </a:moveTo>
                <a:lnTo>
                  <a:pt x="4794098" y="855664"/>
                </a:lnTo>
                <a:lnTo>
                  <a:pt x="4794098" y="914403"/>
                </a:lnTo>
                <a:lnTo>
                  <a:pt x="4736948" y="914403"/>
                </a:lnTo>
                <a:close/>
                <a:moveTo>
                  <a:pt x="4657573" y="855664"/>
                </a:moveTo>
                <a:lnTo>
                  <a:pt x="4716311" y="855664"/>
                </a:lnTo>
                <a:lnTo>
                  <a:pt x="4716311" y="914403"/>
                </a:lnTo>
                <a:lnTo>
                  <a:pt x="4657573" y="914403"/>
                </a:lnTo>
                <a:close/>
                <a:moveTo>
                  <a:pt x="4578198" y="855664"/>
                </a:moveTo>
                <a:lnTo>
                  <a:pt x="4636936" y="855664"/>
                </a:lnTo>
                <a:lnTo>
                  <a:pt x="4636936" y="914403"/>
                </a:lnTo>
                <a:lnTo>
                  <a:pt x="4578198" y="914403"/>
                </a:lnTo>
                <a:close/>
                <a:moveTo>
                  <a:pt x="3868586" y="855664"/>
                </a:moveTo>
                <a:lnTo>
                  <a:pt x="3925736" y="855664"/>
                </a:lnTo>
                <a:lnTo>
                  <a:pt x="3925736" y="914403"/>
                </a:lnTo>
                <a:lnTo>
                  <a:pt x="3868586" y="914403"/>
                </a:lnTo>
                <a:close/>
                <a:moveTo>
                  <a:pt x="3789211" y="855664"/>
                </a:moveTo>
                <a:lnTo>
                  <a:pt x="3847949" y="855664"/>
                </a:lnTo>
                <a:lnTo>
                  <a:pt x="3847949" y="914403"/>
                </a:lnTo>
                <a:lnTo>
                  <a:pt x="3789211" y="914403"/>
                </a:lnTo>
                <a:close/>
                <a:moveTo>
                  <a:pt x="3709836" y="855664"/>
                </a:moveTo>
                <a:lnTo>
                  <a:pt x="3768574" y="855664"/>
                </a:lnTo>
                <a:lnTo>
                  <a:pt x="3768574" y="914403"/>
                </a:lnTo>
                <a:lnTo>
                  <a:pt x="3709836" y="914403"/>
                </a:lnTo>
                <a:close/>
                <a:moveTo>
                  <a:pt x="3157386" y="855664"/>
                </a:moveTo>
                <a:lnTo>
                  <a:pt x="3216124" y="855664"/>
                </a:lnTo>
                <a:lnTo>
                  <a:pt x="3216124" y="914403"/>
                </a:lnTo>
                <a:lnTo>
                  <a:pt x="3157386" y="914403"/>
                </a:lnTo>
                <a:close/>
                <a:moveTo>
                  <a:pt x="3078011" y="855664"/>
                </a:moveTo>
                <a:lnTo>
                  <a:pt x="3136749" y="855664"/>
                </a:lnTo>
                <a:lnTo>
                  <a:pt x="3136749" y="914403"/>
                </a:lnTo>
                <a:lnTo>
                  <a:pt x="3078011" y="914403"/>
                </a:lnTo>
                <a:close/>
                <a:moveTo>
                  <a:pt x="3000223" y="855664"/>
                </a:moveTo>
                <a:lnTo>
                  <a:pt x="3057373" y="855664"/>
                </a:lnTo>
                <a:lnTo>
                  <a:pt x="3057373" y="914403"/>
                </a:lnTo>
                <a:lnTo>
                  <a:pt x="3000223" y="914403"/>
                </a:lnTo>
                <a:close/>
                <a:moveTo>
                  <a:pt x="2604936" y="855664"/>
                </a:moveTo>
                <a:lnTo>
                  <a:pt x="2663674" y="855664"/>
                </a:lnTo>
                <a:lnTo>
                  <a:pt x="2663674" y="914403"/>
                </a:lnTo>
                <a:lnTo>
                  <a:pt x="2604936" y="914403"/>
                </a:lnTo>
                <a:close/>
                <a:moveTo>
                  <a:pt x="2525741" y="855664"/>
                </a:moveTo>
                <a:lnTo>
                  <a:pt x="2584476" y="855664"/>
                </a:lnTo>
                <a:lnTo>
                  <a:pt x="2584476" y="914403"/>
                </a:lnTo>
                <a:lnTo>
                  <a:pt x="2525741" y="914403"/>
                </a:lnTo>
                <a:close/>
                <a:moveTo>
                  <a:pt x="2447946" y="855664"/>
                </a:moveTo>
                <a:lnTo>
                  <a:pt x="2505108" y="855664"/>
                </a:lnTo>
                <a:lnTo>
                  <a:pt x="2505108" y="914403"/>
                </a:lnTo>
                <a:lnTo>
                  <a:pt x="2447946" y="914403"/>
                </a:lnTo>
                <a:close/>
                <a:moveTo>
                  <a:pt x="8920011" y="777907"/>
                </a:moveTo>
                <a:lnTo>
                  <a:pt x="8978749" y="777907"/>
                </a:lnTo>
                <a:lnTo>
                  <a:pt x="8978749" y="836652"/>
                </a:lnTo>
                <a:lnTo>
                  <a:pt x="8920011" y="836652"/>
                </a:lnTo>
                <a:close/>
                <a:moveTo>
                  <a:pt x="8842224" y="777907"/>
                </a:moveTo>
                <a:lnTo>
                  <a:pt x="8899374" y="777907"/>
                </a:lnTo>
                <a:lnTo>
                  <a:pt x="8899374" y="836652"/>
                </a:lnTo>
                <a:lnTo>
                  <a:pt x="8842224" y="836652"/>
                </a:lnTo>
                <a:close/>
                <a:moveTo>
                  <a:pt x="8762849" y="777907"/>
                </a:moveTo>
                <a:lnTo>
                  <a:pt x="8821587" y="777907"/>
                </a:lnTo>
                <a:lnTo>
                  <a:pt x="8821587" y="836652"/>
                </a:lnTo>
                <a:lnTo>
                  <a:pt x="8762849" y="836652"/>
                </a:lnTo>
                <a:close/>
                <a:moveTo>
                  <a:pt x="8683474" y="777907"/>
                </a:moveTo>
                <a:lnTo>
                  <a:pt x="8742212" y="777907"/>
                </a:lnTo>
                <a:lnTo>
                  <a:pt x="8742212" y="836652"/>
                </a:lnTo>
                <a:lnTo>
                  <a:pt x="8683474" y="836652"/>
                </a:lnTo>
                <a:close/>
                <a:moveTo>
                  <a:pt x="8604099" y="777907"/>
                </a:moveTo>
                <a:lnTo>
                  <a:pt x="8662837" y="777907"/>
                </a:lnTo>
                <a:lnTo>
                  <a:pt x="8662837" y="836652"/>
                </a:lnTo>
                <a:lnTo>
                  <a:pt x="8604099" y="836652"/>
                </a:lnTo>
                <a:close/>
                <a:moveTo>
                  <a:pt x="8526311" y="777907"/>
                </a:moveTo>
                <a:lnTo>
                  <a:pt x="8583461" y="777907"/>
                </a:lnTo>
                <a:lnTo>
                  <a:pt x="8583461" y="836652"/>
                </a:lnTo>
                <a:lnTo>
                  <a:pt x="8526311" y="836652"/>
                </a:lnTo>
                <a:close/>
                <a:moveTo>
                  <a:pt x="8446936" y="777907"/>
                </a:moveTo>
                <a:lnTo>
                  <a:pt x="8505674" y="777907"/>
                </a:lnTo>
                <a:lnTo>
                  <a:pt x="8505674" y="836652"/>
                </a:lnTo>
                <a:lnTo>
                  <a:pt x="8446936" y="836652"/>
                </a:lnTo>
                <a:close/>
                <a:moveTo>
                  <a:pt x="8367561" y="777907"/>
                </a:moveTo>
                <a:lnTo>
                  <a:pt x="8426299" y="777907"/>
                </a:lnTo>
                <a:lnTo>
                  <a:pt x="8426299" y="836652"/>
                </a:lnTo>
                <a:lnTo>
                  <a:pt x="8367561" y="836652"/>
                </a:lnTo>
                <a:close/>
                <a:moveTo>
                  <a:pt x="8289774" y="777907"/>
                </a:moveTo>
                <a:lnTo>
                  <a:pt x="8346924" y="777907"/>
                </a:lnTo>
                <a:lnTo>
                  <a:pt x="8346924" y="836652"/>
                </a:lnTo>
                <a:lnTo>
                  <a:pt x="8289774" y="836652"/>
                </a:lnTo>
                <a:close/>
                <a:moveTo>
                  <a:pt x="8210399" y="777907"/>
                </a:moveTo>
                <a:lnTo>
                  <a:pt x="8267549" y="777907"/>
                </a:lnTo>
                <a:lnTo>
                  <a:pt x="8267549" y="836652"/>
                </a:lnTo>
                <a:lnTo>
                  <a:pt x="8210399" y="836652"/>
                </a:lnTo>
                <a:close/>
                <a:moveTo>
                  <a:pt x="8131024" y="777907"/>
                </a:moveTo>
                <a:lnTo>
                  <a:pt x="8189762" y="777907"/>
                </a:lnTo>
                <a:lnTo>
                  <a:pt x="8189762" y="836652"/>
                </a:lnTo>
                <a:lnTo>
                  <a:pt x="8131024" y="836652"/>
                </a:lnTo>
                <a:close/>
                <a:moveTo>
                  <a:pt x="8051649" y="777907"/>
                </a:moveTo>
                <a:lnTo>
                  <a:pt x="8110387" y="777907"/>
                </a:lnTo>
                <a:lnTo>
                  <a:pt x="8110387" y="836652"/>
                </a:lnTo>
                <a:lnTo>
                  <a:pt x="8051649" y="836652"/>
                </a:lnTo>
                <a:close/>
                <a:moveTo>
                  <a:pt x="7973861" y="777907"/>
                </a:moveTo>
                <a:lnTo>
                  <a:pt x="8031011" y="777907"/>
                </a:lnTo>
                <a:lnTo>
                  <a:pt x="8031011" y="836652"/>
                </a:lnTo>
                <a:lnTo>
                  <a:pt x="7973861" y="836652"/>
                </a:lnTo>
                <a:close/>
                <a:moveTo>
                  <a:pt x="7894486" y="777907"/>
                </a:moveTo>
                <a:lnTo>
                  <a:pt x="7951636" y="777907"/>
                </a:lnTo>
                <a:lnTo>
                  <a:pt x="7951636" y="836652"/>
                </a:lnTo>
                <a:lnTo>
                  <a:pt x="7894486" y="836652"/>
                </a:lnTo>
                <a:close/>
                <a:moveTo>
                  <a:pt x="7815111" y="777907"/>
                </a:moveTo>
                <a:lnTo>
                  <a:pt x="7873849" y="777907"/>
                </a:lnTo>
                <a:lnTo>
                  <a:pt x="7873849" y="836652"/>
                </a:lnTo>
                <a:lnTo>
                  <a:pt x="7815111" y="836652"/>
                </a:lnTo>
                <a:close/>
                <a:moveTo>
                  <a:pt x="7735736" y="777907"/>
                </a:moveTo>
                <a:lnTo>
                  <a:pt x="7794474" y="777907"/>
                </a:lnTo>
                <a:lnTo>
                  <a:pt x="7794474" y="836652"/>
                </a:lnTo>
                <a:lnTo>
                  <a:pt x="7735736" y="836652"/>
                </a:lnTo>
                <a:close/>
                <a:moveTo>
                  <a:pt x="7657949" y="777907"/>
                </a:moveTo>
                <a:lnTo>
                  <a:pt x="7715099" y="777907"/>
                </a:lnTo>
                <a:lnTo>
                  <a:pt x="7715099" y="836652"/>
                </a:lnTo>
                <a:lnTo>
                  <a:pt x="7657949" y="836652"/>
                </a:lnTo>
                <a:close/>
                <a:moveTo>
                  <a:pt x="7578574" y="777907"/>
                </a:moveTo>
                <a:lnTo>
                  <a:pt x="7637312" y="777907"/>
                </a:lnTo>
                <a:lnTo>
                  <a:pt x="7637312" y="836652"/>
                </a:lnTo>
                <a:lnTo>
                  <a:pt x="7578574" y="836652"/>
                </a:lnTo>
                <a:close/>
                <a:moveTo>
                  <a:pt x="7499199" y="777907"/>
                </a:moveTo>
                <a:lnTo>
                  <a:pt x="7557937" y="777907"/>
                </a:lnTo>
                <a:lnTo>
                  <a:pt x="7557937" y="836652"/>
                </a:lnTo>
                <a:lnTo>
                  <a:pt x="7499199" y="836652"/>
                </a:lnTo>
                <a:close/>
                <a:moveTo>
                  <a:pt x="7419824" y="777907"/>
                </a:moveTo>
                <a:lnTo>
                  <a:pt x="7478562" y="777907"/>
                </a:lnTo>
                <a:lnTo>
                  <a:pt x="7478562" y="836652"/>
                </a:lnTo>
                <a:lnTo>
                  <a:pt x="7419824" y="836652"/>
                </a:lnTo>
                <a:close/>
                <a:moveTo>
                  <a:pt x="7342036" y="777907"/>
                </a:moveTo>
                <a:lnTo>
                  <a:pt x="7400774" y="777907"/>
                </a:lnTo>
                <a:lnTo>
                  <a:pt x="7400774" y="836652"/>
                </a:lnTo>
                <a:lnTo>
                  <a:pt x="7342036" y="836652"/>
                </a:lnTo>
                <a:close/>
                <a:moveTo>
                  <a:pt x="7262661" y="777907"/>
                </a:moveTo>
                <a:lnTo>
                  <a:pt x="7321399" y="777907"/>
                </a:lnTo>
                <a:lnTo>
                  <a:pt x="7321399" y="836652"/>
                </a:lnTo>
                <a:lnTo>
                  <a:pt x="7262661" y="836652"/>
                </a:lnTo>
                <a:close/>
                <a:moveTo>
                  <a:pt x="7183286" y="777907"/>
                </a:moveTo>
                <a:lnTo>
                  <a:pt x="7242024" y="777907"/>
                </a:lnTo>
                <a:lnTo>
                  <a:pt x="7242024" y="836652"/>
                </a:lnTo>
                <a:lnTo>
                  <a:pt x="7183286" y="836652"/>
                </a:lnTo>
                <a:close/>
                <a:moveTo>
                  <a:pt x="7105499" y="777907"/>
                </a:moveTo>
                <a:lnTo>
                  <a:pt x="7162649" y="777907"/>
                </a:lnTo>
                <a:lnTo>
                  <a:pt x="7162649" y="836652"/>
                </a:lnTo>
                <a:lnTo>
                  <a:pt x="7105499" y="836652"/>
                </a:lnTo>
                <a:close/>
                <a:moveTo>
                  <a:pt x="7026124" y="777907"/>
                </a:moveTo>
                <a:lnTo>
                  <a:pt x="7084862" y="777907"/>
                </a:lnTo>
                <a:lnTo>
                  <a:pt x="7084862" y="836652"/>
                </a:lnTo>
                <a:lnTo>
                  <a:pt x="7026124" y="836652"/>
                </a:lnTo>
                <a:close/>
                <a:moveTo>
                  <a:pt x="6946749" y="777907"/>
                </a:moveTo>
                <a:lnTo>
                  <a:pt x="7005487" y="777907"/>
                </a:lnTo>
                <a:lnTo>
                  <a:pt x="7005487" y="836652"/>
                </a:lnTo>
                <a:lnTo>
                  <a:pt x="6946749" y="836652"/>
                </a:lnTo>
                <a:close/>
                <a:moveTo>
                  <a:pt x="6867374" y="777907"/>
                </a:moveTo>
                <a:lnTo>
                  <a:pt x="6926112" y="777907"/>
                </a:lnTo>
                <a:lnTo>
                  <a:pt x="6926112" y="836652"/>
                </a:lnTo>
                <a:lnTo>
                  <a:pt x="6867374" y="836652"/>
                </a:lnTo>
                <a:close/>
                <a:moveTo>
                  <a:pt x="6789586" y="777907"/>
                </a:moveTo>
                <a:lnTo>
                  <a:pt x="6846736" y="777907"/>
                </a:lnTo>
                <a:lnTo>
                  <a:pt x="6846736" y="836652"/>
                </a:lnTo>
                <a:lnTo>
                  <a:pt x="6789586" y="836652"/>
                </a:lnTo>
                <a:close/>
                <a:moveTo>
                  <a:pt x="6710211" y="777907"/>
                </a:moveTo>
                <a:lnTo>
                  <a:pt x="6768949" y="777907"/>
                </a:lnTo>
                <a:lnTo>
                  <a:pt x="6768949" y="836652"/>
                </a:lnTo>
                <a:lnTo>
                  <a:pt x="6710211" y="836652"/>
                </a:lnTo>
                <a:close/>
                <a:moveTo>
                  <a:pt x="6630836" y="777907"/>
                </a:moveTo>
                <a:lnTo>
                  <a:pt x="6689574" y="777907"/>
                </a:lnTo>
                <a:lnTo>
                  <a:pt x="6689574" y="836652"/>
                </a:lnTo>
                <a:lnTo>
                  <a:pt x="6630836" y="836652"/>
                </a:lnTo>
                <a:close/>
                <a:moveTo>
                  <a:pt x="6551461" y="777907"/>
                </a:moveTo>
                <a:lnTo>
                  <a:pt x="6610199" y="777907"/>
                </a:lnTo>
                <a:lnTo>
                  <a:pt x="6610199" y="836652"/>
                </a:lnTo>
                <a:lnTo>
                  <a:pt x="6551461" y="836652"/>
                </a:lnTo>
                <a:close/>
                <a:moveTo>
                  <a:pt x="6473674" y="777907"/>
                </a:moveTo>
                <a:lnTo>
                  <a:pt x="6530824" y="777907"/>
                </a:lnTo>
                <a:lnTo>
                  <a:pt x="6530824" y="836652"/>
                </a:lnTo>
                <a:lnTo>
                  <a:pt x="6473674" y="836652"/>
                </a:lnTo>
                <a:close/>
                <a:moveTo>
                  <a:pt x="6394299" y="777907"/>
                </a:moveTo>
                <a:lnTo>
                  <a:pt x="6453037" y="777907"/>
                </a:lnTo>
                <a:lnTo>
                  <a:pt x="6453037" y="836652"/>
                </a:lnTo>
                <a:lnTo>
                  <a:pt x="6394299" y="836652"/>
                </a:lnTo>
                <a:close/>
                <a:moveTo>
                  <a:pt x="6314924" y="777907"/>
                </a:moveTo>
                <a:lnTo>
                  <a:pt x="6373662" y="777907"/>
                </a:lnTo>
                <a:lnTo>
                  <a:pt x="6373662" y="836652"/>
                </a:lnTo>
                <a:lnTo>
                  <a:pt x="6314924" y="836652"/>
                </a:lnTo>
                <a:close/>
                <a:moveTo>
                  <a:pt x="6235549" y="777907"/>
                </a:moveTo>
                <a:lnTo>
                  <a:pt x="6294287" y="777907"/>
                </a:lnTo>
                <a:lnTo>
                  <a:pt x="6294287" y="836652"/>
                </a:lnTo>
                <a:lnTo>
                  <a:pt x="6235549" y="836652"/>
                </a:lnTo>
                <a:close/>
                <a:moveTo>
                  <a:pt x="6157761" y="777907"/>
                </a:moveTo>
                <a:lnTo>
                  <a:pt x="6214911" y="777907"/>
                </a:lnTo>
                <a:lnTo>
                  <a:pt x="6214911" y="836652"/>
                </a:lnTo>
                <a:lnTo>
                  <a:pt x="6157761" y="836652"/>
                </a:lnTo>
                <a:close/>
                <a:moveTo>
                  <a:pt x="6078386" y="777907"/>
                </a:moveTo>
                <a:lnTo>
                  <a:pt x="6137124" y="777907"/>
                </a:lnTo>
                <a:lnTo>
                  <a:pt x="6137124" y="836652"/>
                </a:lnTo>
                <a:lnTo>
                  <a:pt x="6078386" y="836652"/>
                </a:lnTo>
                <a:close/>
                <a:moveTo>
                  <a:pt x="5999011" y="777907"/>
                </a:moveTo>
                <a:lnTo>
                  <a:pt x="6057749" y="777907"/>
                </a:lnTo>
                <a:lnTo>
                  <a:pt x="6057749" y="836652"/>
                </a:lnTo>
                <a:lnTo>
                  <a:pt x="5999011" y="836652"/>
                </a:lnTo>
                <a:close/>
                <a:moveTo>
                  <a:pt x="5921224" y="777907"/>
                </a:moveTo>
                <a:lnTo>
                  <a:pt x="5978374" y="777907"/>
                </a:lnTo>
                <a:lnTo>
                  <a:pt x="5978374" y="836652"/>
                </a:lnTo>
                <a:lnTo>
                  <a:pt x="5921224" y="836652"/>
                </a:lnTo>
                <a:close/>
                <a:moveTo>
                  <a:pt x="5841849" y="777907"/>
                </a:moveTo>
                <a:lnTo>
                  <a:pt x="5900587" y="777907"/>
                </a:lnTo>
                <a:lnTo>
                  <a:pt x="5900587" y="836652"/>
                </a:lnTo>
                <a:lnTo>
                  <a:pt x="5841849" y="836652"/>
                </a:lnTo>
                <a:close/>
                <a:moveTo>
                  <a:pt x="5762474" y="777907"/>
                </a:moveTo>
                <a:lnTo>
                  <a:pt x="5821212" y="777907"/>
                </a:lnTo>
                <a:lnTo>
                  <a:pt x="5821212" y="836652"/>
                </a:lnTo>
                <a:lnTo>
                  <a:pt x="5762474" y="836652"/>
                </a:lnTo>
                <a:close/>
                <a:moveTo>
                  <a:pt x="5684686" y="777907"/>
                </a:moveTo>
                <a:lnTo>
                  <a:pt x="5741836" y="777907"/>
                </a:lnTo>
                <a:lnTo>
                  <a:pt x="5741836" y="836652"/>
                </a:lnTo>
                <a:lnTo>
                  <a:pt x="5684686" y="836652"/>
                </a:lnTo>
                <a:close/>
                <a:moveTo>
                  <a:pt x="5605311" y="777907"/>
                </a:moveTo>
                <a:lnTo>
                  <a:pt x="5664049" y="777907"/>
                </a:lnTo>
                <a:lnTo>
                  <a:pt x="5664049" y="836652"/>
                </a:lnTo>
                <a:lnTo>
                  <a:pt x="5605311" y="836652"/>
                </a:lnTo>
                <a:close/>
                <a:moveTo>
                  <a:pt x="5525936" y="777907"/>
                </a:moveTo>
                <a:lnTo>
                  <a:pt x="5584674" y="777907"/>
                </a:lnTo>
                <a:lnTo>
                  <a:pt x="5584674" y="836652"/>
                </a:lnTo>
                <a:lnTo>
                  <a:pt x="5525936" y="836652"/>
                </a:lnTo>
                <a:close/>
                <a:moveTo>
                  <a:pt x="5446561" y="777907"/>
                </a:moveTo>
                <a:lnTo>
                  <a:pt x="5505299" y="777907"/>
                </a:lnTo>
                <a:lnTo>
                  <a:pt x="5505299" y="836652"/>
                </a:lnTo>
                <a:lnTo>
                  <a:pt x="5446561" y="836652"/>
                </a:lnTo>
                <a:close/>
                <a:moveTo>
                  <a:pt x="5368774" y="777907"/>
                </a:moveTo>
                <a:lnTo>
                  <a:pt x="5425924" y="777907"/>
                </a:lnTo>
                <a:lnTo>
                  <a:pt x="5425924" y="836652"/>
                </a:lnTo>
                <a:lnTo>
                  <a:pt x="5368774" y="836652"/>
                </a:lnTo>
                <a:close/>
                <a:moveTo>
                  <a:pt x="5210024" y="777907"/>
                </a:moveTo>
                <a:lnTo>
                  <a:pt x="5268762" y="777907"/>
                </a:lnTo>
                <a:lnTo>
                  <a:pt x="5268762" y="836652"/>
                </a:lnTo>
                <a:lnTo>
                  <a:pt x="5210024" y="836652"/>
                </a:lnTo>
                <a:close/>
                <a:moveTo>
                  <a:pt x="5130649" y="777907"/>
                </a:moveTo>
                <a:lnTo>
                  <a:pt x="5189387" y="777907"/>
                </a:lnTo>
                <a:lnTo>
                  <a:pt x="5189387" y="836652"/>
                </a:lnTo>
                <a:lnTo>
                  <a:pt x="5130649" y="836652"/>
                </a:lnTo>
                <a:close/>
                <a:moveTo>
                  <a:pt x="5052861" y="777907"/>
                </a:moveTo>
                <a:lnTo>
                  <a:pt x="5110011" y="777907"/>
                </a:lnTo>
                <a:lnTo>
                  <a:pt x="5110011" y="836652"/>
                </a:lnTo>
                <a:lnTo>
                  <a:pt x="5052861" y="836652"/>
                </a:lnTo>
                <a:close/>
                <a:moveTo>
                  <a:pt x="4973486" y="777907"/>
                </a:moveTo>
                <a:lnTo>
                  <a:pt x="5030636" y="777907"/>
                </a:lnTo>
                <a:lnTo>
                  <a:pt x="5030636" y="836652"/>
                </a:lnTo>
                <a:lnTo>
                  <a:pt x="4973486" y="836652"/>
                </a:lnTo>
                <a:close/>
                <a:moveTo>
                  <a:pt x="711249" y="777883"/>
                </a:moveTo>
                <a:lnTo>
                  <a:pt x="768391" y="777883"/>
                </a:lnTo>
                <a:lnTo>
                  <a:pt x="768391" y="836625"/>
                </a:lnTo>
                <a:lnTo>
                  <a:pt x="711249" y="836625"/>
                </a:lnTo>
                <a:close/>
                <a:moveTo>
                  <a:pt x="631883" y="777883"/>
                </a:moveTo>
                <a:lnTo>
                  <a:pt x="689027" y="777883"/>
                </a:lnTo>
                <a:lnTo>
                  <a:pt x="689027" y="836625"/>
                </a:lnTo>
                <a:lnTo>
                  <a:pt x="631883" y="836625"/>
                </a:lnTo>
                <a:close/>
                <a:moveTo>
                  <a:pt x="552507" y="777883"/>
                </a:moveTo>
                <a:lnTo>
                  <a:pt x="611245" y="777883"/>
                </a:lnTo>
                <a:lnTo>
                  <a:pt x="611245" y="836625"/>
                </a:lnTo>
                <a:lnTo>
                  <a:pt x="552507" y="836625"/>
                </a:lnTo>
                <a:close/>
                <a:moveTo>
                  <a:pt x="473086" y="777883"/>
                </a:moveTo>
                <a:lnTo>
                  <a:pt x="531875" y="777883"/>
                </a:lnTo>
                <a:lnTo>
                  <a:pt x="531875" y="836625"/>
                </a:lnTo>
                <a:lnTo>
                  <a:pt x="473086" y="836625"/>
                </a:lnTo>
                <a:close/>
                <a:moveTo>
                  <a:pt x="395306" y="777883"/>
                </a:moveTo>
                <a:lnTo>
                  <a:pt x="452449" y="777883"/>
                </a:lnTo>
                <a:lnTo>
                  <a:pt x="452449" y="836626"/>
                </a:lnTo>
                <a:lnTo>
                  <a:pt x="395306" y="836626"/>
                </a:lnTo>
                <a:close/>
                <a:moveTo>
                  <a:pt x="315926" y="777883"/>
                </a:moveTo>
                <a:lnTo>
                  <a:pt x="374668" y="777883"/>
                </a:lnTo>
                <a:lnTo>
                  <a:pt x="374668" y="836626"/>
                </a:lnTo>
                <a:lnTo>
                  <a:pt x="315926" y="836626"/>
                </a:lnTo>
                <a:close/>
                <a:moveTo>
                  <a:pt x="236550" y="777883"/>
                </a:moveTo>
                <a:lnTo>
                  <a:pt x="295288" y="777883"/>
                </a:lnTo>
                <a:lnTo>
                  <a:pt x="295288" y="836626"/>
                </a:lnTo>
                <a:lnTo>
                  <a:pt x="236550" y="836626"/>
                </a:lnTo>
                <a:close/>
                <a:moveTo>
                  <a:pt x="1500210" y="777881"/>
                </a:moveTo>
                <a:lnTo>
                  <a:pt x="1558955" y="777881"/>
                </a:lnTo>
                <a:lnTo>
                  <a:pt x="1558955" y="836624"/>
                </a:lnTo>
                <a:lnTo>
                  <a:pt x="1500210" y="836624"/>
                </a:lnTo>
                <a:close/>
                <a:moveTo>
                  <a:pt x="1420828" y="777881"/>
                </a:moveTo>
                <a:lnTo>
                  <a:pt x="1479564" y="777881"/>
                </a:lnTo>
                <a:lnTo>
                  <a:pt x="1479564" y="836624"/>
                </a:lnTo>
                <a:lnTo>
                  <a:pt x="1420828" y="836624"/>
                </a:lnTo>
                <a:close/>
                <a:moveTo>
                  <a:pt x="1341492" y="777881"/>
                </a:moveTo>
                <a:lnTo>
                  <a:pt x="1400210" y="777881"/>
                </a:lnTo>
                <a:lnTo>
                  <a:pt x="1400210" y="836624"/>
                </a:lnTo>
                <a:lnTo>
                  <a:pt x="1341492" y="836624"/>
                </a:lnTo>
                <a:close/>
                <a:moveTo>
                  <a:pt x="1263672" y="777881"/>
                </a:moveTo>
                <a:lnTo>
                  <a:pt x="1320842" y="777881"/>
                </a:lnTo>
                <a:lnTo>
                  <a:pt x="1320842" y="836624"/>
                </a:lnTo>
                <a:lnTo>
                  <a:pt x="1263672" y="836624"/>
                </a:lnTo>
                <a:close/>
                <a:moveTo>
                  <a:pt x="1184305" y="777881"/>
                </a:moveTo>
                <a:lnTo>
                  <a:pt x="1243037" y="777881"/>
                </a:lnTo>
                <a:lnTo>
                  <a:pt x="1243037" y="836624"/>
                </a:lnTo>
                <a:lnTo>
                  <a:pt x="1184305" y="836624"/>
                </a:lnTo>
                <a:close/>
                <a:moveTo>
                  <a:pt x="1104934" y="777881"/>
                </a:moveTo>
                <a:lnTo>
                  <a:pt x="1163668" y="777881"/>
                </a:lnTo>
                <a:lnTo>
                  <a:pt x="1163668" y="836624"/>
                </a:lnTo>
                <a:lnTo>
                  <a:pt x="1104934" y="836624"/>
                </a:lnTo>
                <a:close/>
                <a:moveTo>
                  <a:pt x="1027135" y="777881"/>
                </a:moveTo>
                <a:lnTo>
                  <a:pt x="1084300" y="777881"/>
                </a:lnTo>
                <a:lnTo>
                  <a:pt x="1084300" y="836624"/>
                </a:lnTo>
                <a:lnTo>
                  <a:pt x="1027135" y="836624"/>
                </a:lnTo>
                <a:close/>
                <a:moveTo>
                  <a:pt x="947757" y="777881"/>
                </a:moveTo>
                <a:lnTo>
                  <a:pt x="1004905" y="777881"/>
                </a:lnTo>
                <a:lnTo>
                  <a:pt x="1004905" y="836624"/>
                </a:lnTo>
                <a:lnTo>
                  <a:pt x="947757" y="836624"/>
                </a:lnTo>
                <a:close/>
                <a:moveTo>
                  <a:pt x="868396" y="777881"/>
                </a:moveTo>
                <a:lnTo>
                  <a:pt x="927126" y="777881"/>
                </a:lnTo>
                <a:lnTo>
                  <a:pt x="927126" y="836624"/>
                </a:lnTo>
                <a:lnTo>
                  <a:pt x="868396" y="836624"/>
                </a:lnTo>
                <a:close/>
                <a:moveTo>
                  <a:pt x="789027" y="777881"/>
                </a:moveTo>
                <a:lnTo>
                  <a:pt x="847762" y="777881"/>
                </a:lnTo>
                <a:lnTo>
                  <a:pt x="847762" y="836625"/>
                </a:lnTo>
                <a:lnTo>
                  <a:pt x="789027" y="836625"/>
                </a:lnTo>
                <a:close/>
                <a:moveTo>
                  <a:pt x="4894111" y="777878"/>
                </a:moveTo>
                <a:lnTo>
                  <a:pt x="4952849" y="777878"/>
                </a:lnTo>
                <a:lnTo>
                  <a:pt x="4952849" y="836621"/>
                </a:lnTo>
                <a:lnTo>
                  <a:pt x="4894111" y="836621"/>
                </a:lnTo>
                <a:close/>
                <a:moveTo>
                  <a:pt x="4814736" y="777878"/>
                </a:moveTo>
                <a:lnTo>
                  <a:pt x="4873474" y="777878"/>
                </a:lnTo>
                <a:lnTo>
                  <a:pt x="4873474" y="836621"/>
                </a:lnTo>
                <a:lnTo>
                  <a:pt x="4814736" y="836621"/>
                </a:lnTo>
                <a:close/>
                <a:moveTo>
                  <a:pt x="4736948" y="777878"/>
                </a:moveTo>
                <a:lnTo>
                  <a:pt x="4794098" y="777878"/>
                </a:lnTo>
                <a:lnTo>
                  <a:pt x="4794098" y="836621"/>
                </a:lnTo>
                <a:lnTo>
                  <a:pt x="4736948" y="836621"/>
                </a:lnTo>
                <a:close/>
                <a:moveTo>
                  <a:pt x="4657573" y="777878"/>
                </a:moveTo>
                <a:lnTo>
                  <a:pt x="4716311" y="777878"/>
                </a:lnTo>
                <a:lnTo>
                  <a:pt x="4716311" y="836622"/>
                </a:lnTo>
                <a:lnTo>
                  <a:pt x="4657573" y="836622"/>
                </a:lnTo>
                <a:close/>
                <a:moveTo>
                  <a:pt x="4578198" y="777878"/>
                </a:moveTo>
                <a:lnTo>
                  <a:pt x="4636936" y="777878"/>
                </a:lnTo>
                <a:lnTo>
                  <a:pt x="4636936" y="836622"/>
                </a:lnTo>
                <a:lnTo>
                  <a:pt x="4578198" y="836622"/>
                </a:lnTo>
                <a:close/>
                <a:moveTo>
                  <a:pt x="3868586" y="777878"/>
                </a:moveTo>
                <a:lnTo>
                  <a:pt x="3925736" y="777878"/>
                </a:lnTo>
                <a:lnTo>
                  <a:pt x="3925736" y="836622"/>
                </a:lnTo>
                <a:lnTo>
                  <a:pt x="3868586" y="836622"/>
                </a:lnTo>
                <a:close/>
                <a:moveTo>
                  <a:pt x="3789211" y="777878"/>
                </a:moveTo>
                <a:lnTo>
                  <a:pt x="3847949" y="777878"/>
                </a:lnTo>
                <a:lnTo>
                  <a:pt x="3847949" y="836622"/>
                </a:lnTo>
                <a:lnTo>
                  <a:pt x="3789211" y="836622"/>
                </a:lnTo>
                <a:close/>
                <a:moveTo>
                  <a:pt x="3314548" y="777878"/>
                </a:moveTo>
                <a:lnTo>
                  <a:pt x="3373286" y="777878"/>
                </a:lnTo>
                <a:lnTo>
                  <a:pt x="3373286" y="836622"/>
                </a:lnTo>
                <a:lnTo>
                  <a:pt x="3314548" y="836622"/>
                </a:lnTo>
                <a:close/>
                <a:moveTo>
                  <a:pt x="3236761" y="777878"/>
                </a:moveTo>
                <a:lnTo>
                  <a:pt x="3293911" y="777878"/>
                </a:lnTo>
                <a:lnTo>
                  <a:pt x="3293911" y="836622"/>
                </a:lnTo>
                <a:lnTo>
                  <a:pt x="3236761" y="836622"/>
                </a:lnTo>
                <a:close/>
                <a:moveTo>
                  <a:pt x="3157386" y="777878"/>
                </a:moveTo>
                <a:lnTo>
                  <a:pt x="3216124" y="777878"/>
                </a:lnTo>
                <a:lnTo>
                  <a:pt x="3216124" y="836622"/>
                </a:lnTo>
                <a:lnTo>
                  <a:pt x="3157386" y="836622"/>
                </a:lnTo>
                <a:close/>
                <a:moveTo>
                  <a:pt x="3078011" y="777878"/>
                </a:moveTo>
                <a:lnTo>
                  <a:pt x="3136749" y="777878"/>
                </a:lnTo>
                <a:lnTo>
                  <a:pt x="3136749" y="836622"/>
                </a:lnTo>
                <a:lnTo>
                  <a:pt x="3078011" y="836622"/>
                </a:lnTo>
                <a:close/>
                <a:moveTo>
                  <a:pt x="3000223" y="777878"/>
                </a:moveTo>
                <a:lnTo>
                  <a:pt x="3057373" y="777878"/>
                </a:lnTo>
                <a:lnTo>
                  <a:pt x="3057373" y="836622"/>
                </a:lnTo>
                <a:lnTo>
                  <a:pt x="3000223" y="836622"/>
                </a:lnTo>
                <a:close/>
                <a:moveTo>
                  <a:pt x="2920848" y="777878"/>
                </a:moveTo>
                <a:lnTo>
                  <a:pt x="2979586" y="777878"/>
                </a:lnTo>
                <a:lnTo>
                  <a:pt x="2979586" y="836622"/>
                </a:lnTo>
                <a:lnTo>
                  <a:pt x="2920848" y="836622"/>
                </a:lnTo>
                <a:close/>
                <a:moveTo>
                  <a:pt x="2684311" y="777878"/>
                </a:moveTo>
                <a:lnTo>
                  <a:pt x="2743049" y="777878"/>
                </a:lnTo>
                <a:lnTo>
                  <a:pt x="2743049" y="836623"/>
                </a:lnTo>
                <a:lnTo>
                  <a:pt x="2684311" y="836623"/>
                </a:lnTo>
                <a:close/>
                <a:moveTo>
                  <a:pt x="2604936" y="777878"/>
                </a:moveTo>
                <a:lnTo>
                  <a:pt x="2663674" y="777878"/>
                </a:lnTo>
                <a:lnTo>
                  <a:pt x="2663674" y="836623"/>
                </a:lnTo>
                <a:lnTo>
                  <a:pt x="2604936" y="836623"/>
                </a:lnTo>
                <a:close/>
                <a:moveTo>
                  <a:pt x="2525748" y="777878"/>
                </a:moveTo>
                <a:lnTo>
                  <a:pt x="2584483" y="777878"/>
                </a:lnTo>
                <a:lnTo>
                  <a:pt x="2584483" y="836623"/>
                </a:lnTo>
                <a:lnTo>
                  <a:pt x="2525748" y="836623"/>
                </a:lnTo>
                <a:close/>
                <a:moveTo>
                  <a:pt x="2447953" y="777878"/>
                </a:moveTo>
                <a:lnTo>
                  <a:pt x="2505114" y="777878"/>
                </a:lnTo>
                <a:lnTo>
                  <a:pt x="2505114" y="836623"/>
                </a:lnTo>
                <a:lnTo>
                  <a:pt x="2447953" y="836623"/>
                </a:lnTo>
                <a:close/>
                <a:moveTo>
                  <a:pt x="2209830" y="777878"/>
                </a:moveTo>
                <a:lnTo>
                  <a:pt x="2268572" y="777878"/>
                </a:lnTo>
                <a:lnTo>
                  <a:pt x="2268572" y="836623"/>
                </a:lnTo>
                <a:lnTo>
                  <a:pt x="2209830" y="836623"/>
                </a:lnTo>
                <a:close/>
                <a:moveTo>
                  <a:pt x="2132040" y="777878"/>
                </a:moveTo>
                <a:lnTo>
                  <a:pt x="2189196" y="777878"/>
                </a:lnTo>
                <a:lnTo>
                  <a:pt x="2189196" y="836623"/>
                </a:lnTo>
                <a:lnTo>
                  <a:pt x="2132040" y="836623"/>
                </a:lnTo>
                <a:close/>
                <a:moveTo>
                  <a:pt x="2052659" y="777878"/>
                </a:moveTo>
                <a:lnTo>
                  <a:pt x="2111406" y="777878"/>
                </a:lnTo>
                <a:lnTo>
                  <a:pt x="2111406" y="836623"/>
                </a:lnTo>
                <a:lnTo>
                  <a:pt x="2052659" y="836623"/>
                </a:lnTo>
                <a:close/>
                <a:moveTo>
                  <a:pt x="1973282" y="777878"/>
                </a:moveTo>
                <a:lnTo>
                  <a:pt x="2032028" y="777878"/>
                </a:lnTo>
                <a:lnTo>
                  <a:pt x="2032028" y="836623"/>
                </a:lnTo>
                <a:lnTo>
                  <a:pt x="1973282" y="836623"/>
                </a:lnTo>
                <a:close/>
                <a:moveTo>
                  <a:pt x="1893904" y="777878"/>
                </a:moveTo>
                <a:lnTo>
                  <a:pt x="1952641" y="777878"/>
                </a:lnTo>
                <a:lnTo>
                  <a:pt x="1952641" y="836623"/>
                </a:lnTo>
                <a:lnTo>
                  <a:pt x="1893904" y="836623"/>
                </a:lnTo>
                <a:close/>
                <a:moveTo>
                  <a:pt x="1816142" y="777878"/>
                </a:moveTo>
                <a:lnTo>
                  <a:pt x="1873275" y="777878"/>
                </a:lnTo>
                <a:lnTo>
                  <a:pt x="1873275" y="836623"/>
                </a:lnTo>
                <a:lnTo>
                  <a:pt x="1816142" y="836623"/>
                </a:lnTo>
                <a:close/>
                <a:moveTo>
                  <a:pt x="1736768" y="777878"/>
                </a:moveTo>
                <a:lnTo>
                  <a:pt x="1795513" y="777878"/>
                </a:lnTo>
                <a:lnTo>
                  <a:pt x="1795513" y="836623"/>
                </a:lnTo>
                <a:lnTo>
                  <a:pt x="1736768" y="836623"/>
                </a:lnTo>
                <a:close/>
                <a:moveTo>
                  <a:pt x="1657386" y="777878"/>
                </a:moveTo>
                <a:lnTo>
                  <a:pt x="1716130" y="777878"/>
                </a:lnTo>
                <a:lnTo>
                  <a:pt x="1716130" y="836624"/>
                </a:lnTo>
                <a:lnTo>
                  <a:pt x="1657386" y="836624"/>
                </a:lnTo>
                <a:close/>
                <a:moveTo>
                  <a:pt x="1577997" y="777878"/>
                </a:moveTo>
                <a:lnTo>
                  <a:pt x="1636754" y="777878"/>
                </a:lnTo>
                <a:lnTo>
                  <a:pt x="1636754" y="836624"/>
                </a:lnTo>
                <a:lnTo>
                  <a:pt x="1577997" y="836624"/>
                </a:lnTo>
                <a:close/>
                <a:moveTo>
                  <a:pt x="8762849" y="700117"/>
                </a:moveTo>
                <a:lnTo>
                  <a:pt x="8821587" y="700117"/>
                </a:lnTo>
                <a:lnTo>
                  <a:pt x="8821587" y="758866"/>
                </a:lnTo>
                <a:lnTo>
                  <a:pt x="8762849" y="758866"/>
                </a:lnTo>
                <a:close/>
                <a:moveTo>
                  <a:pt x="8683474" y="700117"/>
                </a:moveTo>
                <a:lnTo>
                  <a:pt x="8742212" y="700117"/>
                </a:lnTo>
                <a:lnTo>
                  <a:pt x="8742212" y="758866"/>
                </a:lnTo>
                <a:lnTo>
                  <a:pt x="8683474" y="758866"/>
                </a:lnTo>
                <a:close/>
                <a:moveTo>
                  <a:pt x="8604099" y="700117"/>
                </a:moveTo>
                <a:lnTo>
                  <a:pt x="8662837" y="700117"/>
                </a:lnTo>
                <a:lnTo>
                  <a:pt x="8662837" y="758866"/>
                </a:lnTo>
                <a:lnTo>
                  <a:pt x="8604099" y="758866"/>
                </a:lnTo>
                <a:close/>
                <a:moveTo>
                  <a:pt x="8526311" y="700117"/>
                </a:moveTo>
                <a:lnTo>
                  <a:pt x="8583461" y="700117"/>
                </a:lnTo>
                <a:lnTo>
                  <a:pt x="8583461" y="758866"/>
                </a:lnTo>
                <a:lnTo>
                  <a:pt x="8526311" y="758866"/>
                </a:lnTo>
                <a:close/>
                <a:moveTo>
                  <a:pt x="8446936" y="700117"/>
                </a:moveTo>
                <a:lnTo>
                  <a:pt x="8505674" y="700117"/>
                </a:lnTo>
                <a:lnTo>
                  <a:pt x="8505674" y="758866"/>
                </a:lnTo>
                <a:lnTo>
                  <a:pt x="8446936" y="758866"/>
                </a:lnTo>
                <a:close/>
                <a:moveTo>
                  <a:pt x="8367561" y="700117"/>
                </a:moveTo>
                <a:lnTo>
                  <a:pt x="8426299" y="700117"/>
                </a:lnTo>
                <a:lnTo>
                  <a:pt x="8426299" y="758866"/>
                </a:lnTo>
                <a:lnTo>
                  <a:pt x="8367561" y="758866"/>
                </a:lnTo>
                <a:close/>
                <a:moveTo>
                  <a:pt x="8289774" y="700117"/>
                </a:moveTo>
                <a:lnTo>
                  <a:pt x="8346924" y="700117"/>
                </a:lnTo>
                <a:lnTo>
                  <a:pt x="8346924" y="758866"/>
                </a:lnTo>
                <a:lnTo>
                  <a:pt x="8289774" y="758866"/>
                </a:lnTo>
                <a:close/>
                <a:moveTo>
                  <a:pt x="8210399" y="700117"/>
                </a:moveTo>
                <a:lnTo>
                  <a:pt x="8267549" y="700117"/>
                </a:lnTo>
                <a:lnTo>
                  <a:pt x="8267549" y="758866"/>
                </a:lnTo>
                <a:lnTo>
                  <a:pt x="8210399" y="758866"/>
                </a:lnTo>
                <a:close/>
                <a:moveTo>
                  <a:pt x="8131024" y="700117"/>
                </a:moveTo>
                <a:lnTo>
                  <a:pt x="8189762" y="700117"/>
                </a:lnTo>
                <a:lnTo>
                  <a:pt x="8189762" y="758866"/>
                </a:lnTo>
                <a:lnTo>
                  <a:pt x="8131024" y="758866"/>
                </a:lnTo>
                <a:close/>
                <a:moveTo>
                  <a:pt x="8051649" y="700117"/>
                </a:moveTo>
                <a:lnTo>
                  <a:pt x="8110387" y="700117"/>
                </a:lnTo>
                <a:lnTo>
                  <a:pt x="8110387" y="758866"/>
                </a:lnTo>
                <a:lnTo>
                  <a:pt x="8051649" y="758866"/>
                </a:lnTo>
                <a:close/>
                <a:moveTo>
                  <a:pt x="7973861" y="700117"/>
                </a:moveTo>
                <a:lnTo>
                  <a:pt x="8031011" y="700117"/>
                </a:lnTo>
                <a:lnTo>
                  <a:pt x="8031011" y="758866"/>
                </a:lnTo>
                <a:lnTo>
                  <a:pt x="7973861" y="758866"/>
                </a:lnTo>
                <a:close/>
                <a:moveTo>
                  <a:pt x="7894486" y="700117"/>
                </a:moveTo>
                <a:lnTo>
                  <a:pt x="7951636" y="700117"/>
                </a:lnTo>
                <a:lnTo>
                  <a:pt x="7951636" y="758866"/>
                </a:lnTo>
                <a:lnTo>
                  <a:pt x="7894486" y="758866"/>
                </a:lnTo>
                <a:close/>
                <a:moveTo>
                  <a:pt x="7815111" y="700117"/>
                </a:moveTo>
                <a:lnTo>
                  <a:pt x="7873849" y="700117"/>
                </a:lnTo>
                <a:lnTo>
                  <a:pt x="7873849" y="758866"/>
                </a:lnTo>
                <a:lnTo>
                  <a:pt x="7815111" y="758866"/>
                </a:lnTo>
                <a:close/>
                <a:moveTo>
                  <a:pt x="7735736" y="700117"/>
                </a:moveTo>
                <a:lnTo>
                  <a:pt x="7794474" y="700117"/>
                </a:lnTo>
                <a:lnTo>
                  <a:pt x="7794474" y="758866"/>
                </a:lnTo>
                <a:lnTo>
                  <a:pt x="7735736" y="758866"/>
                </a:lnTo>
                <a:close/>
                <a:moveTo>
                  <a:pt x="7657949" y="700117"/>
                </a:moveTo>
                <a:lnTo>
                  <a:pt x="7715099" y="700117"/>
                </a:lnTo>
                <a:lnTo>
                  <a:pt x="7715099" y="758866"/>
                </a:lnTo>
                <a:lnTo>
                  <a:pt x="7657949" y="758866"/>
                </a:lnTo>
                <a:close/>
                <a:moveTo>
                  <a:pt x="7578574" y="700117"/>
                </a:moveTo>
                <a:lnTo>
                  <a:pt x="7637312" y="700117"/>
                </a:lnTo>
                <a:lnTo>
                  <a:pt x="7637312" y="758866"/>
                </a:lnTo>
                <a:lnTo>
                  <a:pt x="7578574" y="758866"/>
                </a:lnTo>
                <a:close/>
                <a:moveTo>
                  <a:pt x="7499199" y="700117"/>
                </a:moveTo>
                <a:lnTo>
                  <a:pt x="7557937" y="700117"/>
                </a:lnTo>
                <a:lnTo>
                  <a:pt x="7557937" y="758866"/>
                </a:lnTo>
                <a:lnTo>
                  <a:pt x="7499199" y="758866"/>
                </a:lnTo>
                <a:close/>
                <a:moveTo>
                  <a:pt x="7419824" y="700117"/>
                </a:moveTo>
                <a:lnTo>
                  <a:pt x="7478562" y="700117"/>
                </a:lnTo>
                <a:lnTo>
                  <a:pt x="7478562" y="758866"/>
                </a:lnTo>
                <a:lnTo>
                  <a:pt x="7419824" y="758866"/>
                </a:lnTo>
                <a:close/>
                <a:moveTo>
                  <a:pt x="7342036" y="700117"/>
                </a:moveTo>
                <a:lnTo>
                  <a:pt x="7400774" y="700117"/>
                </a:lnTo>
                <a:lnTo>
                  <a:pt x="7400774" y="758866"/>
                </a:lnTo>
                <a:lnTo>
                  <a:pt x="7342036" y="758866"/>
                </a:lnTo>
                <a:close/>
                <a:moveTo>
                  <a:pt x="7262661" y="700117"/>
                </a:moveTo>
                <a:lnTo>
                  <a:pt x="7321399" y="700117"/>
                </a:lnTo>
                <a:lnTo>
                  <a:pt x="7321399" y="758866"/>
                </a:lnTo>
                <a:lnTo>
                  <a:pt x="7262661" y="758866"/>
                </a:lnTo>
                <a:close/>
                <a:moveTo>
                  <a:pt x="7183286" y="700117"/>
                </a:moveTo>
                <a:lnTo>
                  <a:pt x="7242024" y="700117"/>
                </a:lnTo>
                <a:lnTo>
                  <a:pt x="7242024" y="758866"/>
                </a:lnTo>
                <a:lnTo>
                  <a:pt x="7183286" y="758866"/>
                </a:lnTo>
                <a:close/>
                <a:moveTo>
                  <a:pt x="7105499" y="700117"/>
                </a:moveTo>
                <a:lnTo>
                  <a:pt x="7162649" y="700117"/>
                </a:lnTo>
                <a:lnTo>
                  <a:pt x="7162649" y="758866"/>
                </a:lnTo>
                <a:lnTo>
                  <a:pt x="7105499" y="758866"/>
                </a:lnTo>
                <a:close/>
                <a:moveTo>
                  <a:pt x="7026124" y="700117"/>
                </a:moveTo>
                <a:lnTo>
                  <a:pt x="7084862" y="700117"/>
                </a:lnTo>
                <a:lnTo>
                  <a:pt x="7084862" y="758866"/>
                </a:lnTo>
                <a:lnTo>
                  <a:pt x="7026124" y="758866"/>
                </a:lnTo>
                <a:close/>
                <a:moveTo>
                  <a:pt x="6946749" y="700117"/>
                </a:moveTo>
                <a:lnTo>
                  <a:pt x="7005487" y="700117"/>
                </a:lnTo>
                <a:lnTo>
                  <a:pt x="7005487" y="758866"/>
                </a:lnTo>
                <a:lnTo>
                  <a:pt x="6946749" y="758866"/>
                </a:lnTo>
                <a:close/>
                <a:moveTo>
                  <a:pt x="6867374" y="700117"/>
                </a:moveTo>
                <a:lnTo>
                  <a:pt x="6926112" y="700117"/>
                </a:lnTo>
                <a:lnTo>
                  <a:pt x="6926112" y="758866"/>
                </a:lnTo>
                <a:lnTo>
                  <a:pt x="6867374" y="758866"/>
                </a:lnTo>
                <a:close/>
                <a:moveTo>
                  <a:pt x="6789586" y="700117"/>
                </a:moveTo>
                <a:lnTo>
                  <a:pt x="6846736" y="700117"/>
                </a:lnTo>
                <a:lnTo>
                  <a:pt x="6846736" y="758866"/>
                </a:lnTo>
                <a:lnTo>
                  <a:pt x="6789586" y="758866"/>
                </a:lnTo>
                <a:close/>
                <a:moveTo>
                  <a:pt x="6710211" y="700117"/>
                </a:moveTo>
                <a:lnTo>
                  <a:pt x="6768949" y="700117"/>
                </a:lnTo>
                <a:lnTo>
                  <a:pt x="6768949" y="758866"/>
                </a:lnTo>
                <a:lnTo>
                  <a:pt x="6710211" y="758866"/>
                </a:lnTo>
                <a:close/>
                <a:moveTo>
                  <a:pt x="6630836" y="700117"/>
                </a:moveTo>
                <a:lnTo>
                  <a:pt x="6689574" y="700117"/>
                </a:lnTo>
                <a:lnTo>
                  <a:pt x="6689574" y="758866"/>
                </a:lnTo>
                <a:lnTo>
                  <a:pt x="6630836" y="758866"/>
                </a:lnTo>
                <a:close/>
                <a:moveTo>
                  <a:pt x="6551461" y="700117"/>
                </a:moveTo>
                <a:lnTo>
                  <a:pt x="6610199" y="700117"/>
                </a:lnTo>
                <a:lnTo>
                  <a:pt x="6610199" y="758866"/>
                </a:lnTo>
                <a:lnTo>
                  <a:pt x="6551461" y="758866"/>
                </a:lnTo>
                <a:close/>
                <a:moveTo>
                  <a:pt x="6473674" y="700117"/>
                </a:moveTo>
                <a:lnTo>
                  <a:pt x="6530824" y="700117"/>
                </a:lnTo>
                <a:lnTo>
                  <a:pt x="6530824" y="758866"/>
                </a:lnTo>
                <a:lnTo>
                  <a:pt x="6473674" y="758866"/>
                </a:lnTo>
                <a:close/>
                <a:moveTo>
                  <a:pt x="6394299" y="700117"/>
                </a:moveTo>
                <a:lnTo>
                  <a:pt x="6453037" y="700117"/>
                </a:lnTo>
                <a:lnTo>
                  <a:pt x="6453037" y="758866"/>
                </a:lnTo>
                <a:lnTo>
                  <a:pt x="6394299" y="758866"/>
                </a:lnTo>
                <a:close/>
                <a:moveTo>
                  <a:pt x="6314924" y="700117"/>
                </a:moveTo>
                <a:lnTo>
                  <a:pt x="6373662" y="700117"/>
                </a:lnTo>
                <a:lnTo>
                  <a:pt x="6373662" y="758866"/>
                </a:lnTo>
                <a:lnTo>
                  <a:pt x="6314924" y="758866"/>
                </a:lnTo>
                <a:close/>
                <a:moveTo>
                  <a:pt x="6235549" y="700117"/>
                </a:moveTo>
                <a:lnTo>
                  <a:pt x="6294287" y="700117"/>
                </a:lnTo>
                <a:lnTo>
                  <a:pt x="6294287" y="758866"/>
                </a:lnTo>
                <a:lnTo>
                  <a:pt x="6235549" y="758866"/>
                </a:lnTo>
                <a:close/>
                <a:moveTo>
                  <a:pt x="5999011" y="700117"/>
                </a:moveTo>
                <a:lnTo>
                  <a:pt x="6057749" y="700117"/>
                </a:lnTo>
                <a:lnTo>
                  <a:pt x="6057749" y="758866"/>
                </a:lnTo>
                <a:lnTo>
                  <a:pt x="5999011" y="758866"/>
                </a:lnTo>
                <a:close/>
                <a:moveTo>
                  <a:pt x="5921224" y="700117"/>
                </a:moveTo>
                <a:lnTo>
                  <a:pt x="5978374" y="700117"/>
                </a:lnTo>
                <a:lnTo>
                  <a:pt x="5978374" y="758866"/>
                </a:lnTo>
                <a:lnTo>
                  <a:pt x="5921224" y="758866"/>
                </a:lnTo>
                <a:close/>
                <a:moveTo>
                  <a:pt x="5841849" y="700117"/>
                </a:moveTo>
                <a:lnTo>
                  <a:pt x="5900587" y="700117"/>
                </a:lnTo>
                <a:lnTo>
                  <a:pt x="5900587" y="758866"/>
                </a:lnTo>
                <a:lnTo>
                  <a:pt x="5841849" y="758866"/>
                </a:lnTo>
                <a:close/>
                <a:moveTo>
                  <a:pt x="5762474" y="700117"/>
                </a:moveTo>
                <a:lnTo>
                  <a:pt x="5821212" y="700117"/>
                </a:lnTo>
                <a:lnTo>
                  <a:pt x="5821212" y="758866"/>
                </a:lnTo>
                <a:lnTo>
                  <a:pt x="5762474" y="758866"/>
                </a:lnTo>
                <a:close/>
                <a:moveTo>
                  <a:pt x="5684686" y="700117"/>
                </a:moveTo>
                <a:lnTo>
                  <a:pt x="5741836" y="700117"/>
                </a:lnTo>
                <a:lnTo>
                  <a:pt x="5741836" y="758866"/>
                </a:lnTo>
                <a:lnTo>
                  <a:pt x="5684686" y="758866"/>
                </a:lnTo>
                <a:close/>
                <a:moveTo>
                  <a:pt x="5605311" y="700117"/>
                </a:moveTo>
                <a:lnTo>
                  <a:pt x="5664049" y="700117"/>
                </a:lnTo>
                <a:lnTo>
                  <a:pt x="5664049" y="758866"/>
                </a:lnTo>
                <a:lnTo>
                  <a:pt x="5605311" y="758866"/>
                </a:lnTo>
                <a:close/>
                <a:moveTo>
                  <a:pt x="5446561" y="700117"/>
                </a:moveTo>
                <a:lnTo>
                  <a:pt x="5505299" y="700117"/>
                </a:lnTo>
                <a:lnTo>
                  <a:pt x="5505299" y="758866"/>
                </a:lnTo>
                <a:lnTo>
                  <a:pt x="5446561" y="758866"/>
                </a:lnTo>
                <a:close/>
                <a:moveTo>
                  <a:pt x="5368774" y="700117"/>
                </a:moveTo>
                <a:lnTo>
                  <a:pt x="5425924" y="700117"/>
                </a:lnTo>
                <a:lnTo>
                  <a:pt x="5425924" y="758866"/>
                </a:lnTo>
                <a:lnTo>
                  <a:pt x="5368774" y="758866"/>
                </a:lnTo>
                <a:close/>
                <a:moveTo>
                  <a:pt x="5210024" y="700117"/>
                </a:moveTo>
                <a:lnTo>
                  <a:pt x="5268762" y="700117"/>
                </a:lnTo>
                <a:lnTo>
                  <a:pt x="5268762" y="758866"/>
                </a:lnTo>
                <a:lnTo>
                  <a:pt x="5210024" y="758866"/>
                </a:lnTo>
                <a:close/>
                <a:moveTo>
                  <a:pt x="5130649" y="700117"/>
                </a:moveTo>
                <a:lnTo>
                  <a:pt x="5189387" y="700117"/>
                </a:lnTo>
                <a:lnTo>
                  <a:pt x="5189387" y="758866"/>
                </a:lnTo>
                <a:lnTo>
                  <a:pt x="5130649" y="758866"/>
                </a:lnTo>
                <a:close/>
                <a:moveTo>
                  <a:pt x="5052861" y="700117"/>
                </a:moveTo>
                <a:lnTo>
                  <a:pt x="5110011" y="700117"/>
                </a:lnTo>
                <a:lnTo>
                  <a:pt x="5110011" y="758866"/>
                </a:lnTo>
                <a:lnTo>
                  <a:pt x="5052861" y="758866"/>
                </a:lnTo>
                <a:close/>
                <a:moveTo>
                  <a:pt x="4973486" y="700117"/>
                </a:moveTo>
                <a:lnTo>
                  <a:pt x="5030636" y="700117"/>
                </a:lnTo>
                <a:lnTo>
                  <a:pt x="5030636" y="758866"/>
                </a:lnTo>
                <a:lnTo>
                  <a:pt x="4973486" y="758866"/>
                </a:lnTo>
                <a:close/>
                <a:moveTo>
                  <a:pt x="236555" y="700096"/>
                </a:moveTo>
                <a:lnTo>
                  <a:pt x="295294" y="700096"/>
                </a:lnTo>
                <a:lnTo>
                  <a:pt x="295294" y="758843"/>
                </a:lnTo>
                <a:lnTo>
                  <a:pt x="236555" y="758843"/>
                </a:lnTo>
                <a:close/>
                <a:moveTo>
                  <a:pt x="157183" y="700096"/>
                </a:moveTo>
                <a:lnTo>
                  <a:pt x="215922" y="700096"/>
                </a:lnTo>
                <a:lnTo>
                  <a:pt x="215922" y="758843"/>
                </a:lnTo>
                <a:lnTo>
                  <a:pt x="157183" y="758843"/>
                </a:lnTo>
                <a:close/>
                <a:moveTo>
                  <a:pt x="473090" y="700096"/>
                </a:moveTo>
                <a:lnTo>
                  <a:pt x="531880" y="700096"/>
                </a:lnTo>
                <a:lnTo>
                  <a:pt x="531880" y="758843"/>
                </a:lnTo>
                <a:lnTo>
                  <a:pt x="473090" y="758843"/>
                </a:lnTo>
                <a:close/>
                <a:moveTo>
                  <a:pt x="395311" y="700096"/>
                </a:moveTo>
                <a:lnTo>
                  <a:pt x="452453" y="700096"/>
                </a:lnTo>
                <a:lnTo>
                  <a:pt x="452453" y="758843"/>
                </a:lnTo>
                <a:lnTo>
                  <a:pt x="395311" y="758843"/>
                </a:lnTo>
                <a:close/>
                <a:moveTo>
                  <a:pt x="315929" y="700096"/>
                </a:moveTo>
                <a:lnTo>
                  <a:pt x="374672" y="700096"/>
                </a:lnTo>
                <a:lnTo>
                  <a:pt x="374672" y="758843"/>
                </a:lnTo>
                <a:lnTo>
                  <a:pt x="315929" y="758843"/>
                </a:lnTo>
                <a:close/>
                <a:moveTo>
                  <a:pt x="711256" y="700096"/>
                </a:moveTo>
                <a:lnTo>
                  <a:pt x="768398" y="700096"/>
                </a:lnTo>
                <a:lnTo>
                  <a:pt x="768398" y="758843"/>
                </a:lnTo>
                <a:lnTo>
                  <a:pt x="711256" y="758843"/>
                </a:lnTo>
                <a:close/>
                <a:moveTo>
                  <a:pt x="631889" y="700096"/>
                </a:moveTo>
                <a:lnTo>
                  <a:pt x="689033" y="700096"/>
                </a:lnTo>
                <a:lnTo>
                  <a:pt x="689033" y="758843"/>
                </a:lnTo>
                <a:lnTo>
                  <a:pt x="631889" y="758843"/>
                </a:lnTo>
                <a:close/>
                <a:moveTo>
                  <a:pt x="552514" y="700096"/>
                </a:moveTo>
                <a:lnTo>
                  <a:pt x="611253" y="700096"/>
                </a:lnTo>
                <a:lnTo>
                  <a:pt x="611253" y="758843"/>
                </a:lnTo>
                <a:lnTo>
                  <a:pt x="552514" y="758843"/>
                </a:lnTo>
                <a:close/>
                <a:moveTo>
                  <a:pt x="1104940" y="700095"/>
                </a:moveTo>
                <a:lnTo>
                  <a:pt x="1163673" y="700095"/>
                </a:lnTo>
                <a:lnTo>
                  <a:pt x="1163673" y="758841"/>
                </a:lnTo>
                <a:lnTo>
                  <a:pt x="1104940" y="758841"/>
                </a:lnTo>
                <a:close/>
                <a:moveTo>
                  <a:pt x="1027141" y="700095"/>
                </a:moveTo>
                <a:lnTo>
                  <a:pt x="1084306" y="700095"/>
                </a:lnTo>
                <a:lnTo>
                  <a:pt x="1084306" y="758841"/>
                </a:lnTo>
                <a:lnTo>
                  <a:pt x="1027141" y="758841"/>
                </a:lnTo>
                <a:close/>
                <a:moveTo>
                  <a:pt x="947763" y="700095"/>
                </a:moveTo>
                <a:lnTo>
                  <a:pt x="1004912" y="700095"/>
                </a:lnTo>
                <a:lnTo>
                  <a:pt x="1004912" y="758841"/>
                </a:lnTo>
                <a:lnTo>
                  <a:pt x="947763" y="758841"/>
                </a:lnTo>
                <a:close/>
                <a:moveTo>
                  <a:pt x="789033" y="700095"/>
                </a:moveTo>
                <a:lnTo>
                  <a:pt x="847769" y="700095"/>
                </a:lnTo>
                <a:lnTo>
                  <a:pt x="847769" y="758841"/>
                </a:lnTo>
                <a:lnTo>
                  <a:pt x="789033" y="758841"/>
                </a:lnTo>
                <a:close/>
                <a:moveTo>
                  <a:pt x="1184314" y="700095"/>
                </a:moveTo>
                <a:lnTo>
                  <a:pt x="1243039" y="700095"/>
                </a:lnTo>
                <a:lnTo>
                  <a:pt x="1243039" y="758841"/>
                </a:lnTo>
                <a:lnTo>
                  <a:pt x="1184314" y="758841"/>
                </a:lnTo>
                <a:close/>
                <a:moveTo>
                  <a:pt x="1578003" y="700095"/>
                </a:moveTo>
                <a:lnTo>
                  <a:pt x="1636759" y="700095"/>
                </a:lnTo>
                <a:lnTo>
                  <a:pt x="1636759" y="758841"/>
                </a:lnTo>
                <a:lnTo>
                  <a:pt x="1578003" y="758841"/>
                </a:lnTo>
                <a:close/>
                <a:moveTo>
                  <a:pt x="1341497" y="700095"/>
                </a:moveTo>
                <a:lnTo>
                  <a:pt x="1400214" y="700095"/>
                </a:lnTo>
                <a:lnTo>
                  <a:pt x="1400214" y="758841"/>
                </a:lnTo>
                <a:lnTo>
                  <a:pt x="1341497" y="758841"/>
                </a:lnTo>
                <a:close/>
                <a:moveTo>
                  <a:pt x="1263680" y="700095"/>
                </a:moveTo>
                <a:lnTo>
                  <a:pt x="1320847" y="700095"/>
                </a:lnTo>
                <a:lnTo>
                  <a:pt x="1320847" y="758841"/>
                </a:lnTo>
                <a:lnTo>
                  <a:pt x="1263680" y="758841"/>
                </a:lnTo>
                <a:close/>
                <a:moveTo>
                  <a:pt x="1816148" y="700095"/>
                </a:moveTo>
                <a:lnTo>
                  <a:pt x="1873279" y="700095"/>
                </a:lnTo>
                <a:lnTo>
                  <a:pt x="1873279" y="758841"/>
                </a:lnTo>
                <a:lnTo>
                  <a:pt x="1816148" y="758841"/>
                </a:lnTo>
                <a:close/>
                <a:moveTo>
                  <a:pt x="1736775" y="700095"/>
                </a:moveTo>
                <a:lnTo>
                  <a:pt x="1795521" y="700095"/>
                </a:lnTo>
                <a:lnTo>
                  <a:pt x="1795521" y="758841"/>
                </a:lnTo>
                <a:lnTo>
                  <a:pt x="1736775" y="758841"/>
                </a:lnTo>
                <a:close/>
                <a:moveTo>
                  <a:pt x="1657394" y="700095"/>
                </a:moveTo>
                <a:lnTo>
                  <a:pt x="1716138" y="700095"/>
                </a:lnTo>
                <a:lnTo>
                  <a:pt x="1716138" y="758841"/>
                </a:lnTo>
                <a:lnTo>
                  <a:pt x="1657394" y="758841"/>
                </a:lnTo>
                <a:close/>
                <a:moveTo>
                  <a:pt x="2052669" y="700094"/>
                </a:moveTo>
                <a:lnTo>
                  <a:pt x="2111413" y="700094"/>
                </a:lnTo>
                <a:lnTo>
                  <a:pt x="2111413" y="758841"/>
                </a:lnTo>
                <a:lnTo>
                  <a:pt x="2052669" y="758841"/>
                </a:lnTo>
                <a:close/>
                <a:moveTo>
                  <a:pt x="1973288" y="700094"/>
                </a:moveTo>
                <a:lnTo>
                  <a:pt x="2032033" y="700094"/>
                </a:lnTo>
                <a:lnTo>
                  <a:pt x="2032033" y="758841"/>
                </a:lnTo>
                <a:lnTo>
                  <a:pt x="1973288" y="758841"/>
                </a:lnTo>
                <a:close/>
                <a:moveTo>
                  <a:pt x="1893906" y="700094"/>
                </a:moveTo>
                <a:lnTo>
                  <a:pt x="1952647" y="700094"/>
                </a:lnTo>
                <a:lnTo>
                  <a:pt x="1952647" y="758841"/>
                </a:lnTo>
                <a:lnTo>
                  <a:pt x="1893906" y="758841"/>
                </a:lnTo>
                <a:close/>
                <a:moveTo>
                  <a:pt x="2368590" y="700094"/>
                </a:moveTo>
                <a:lnTo>
                  <a:pt x="2427326" y="700094"/>
                </a:lnTo>
                <a:lnTo>
                  <a:pt x="2427326" y="758841"/>
                </a:lnTo>
                <a:lnTo>
                  <a:pt x="2368590" y="758841"/>
                </a:lnTo>
                <a:close/>
                <a:moveTo>
                  <a:pt x="2209836" y="700094"/>
                </a:moveTo>
                <a:lnTo>
                  <a:pt x="2268577" y="700094"/>
                </a:lnTo>
                <a:lnTo>
                  <a:pt x="2268577" y="758841"/>
                </a:lnTo>
                <a:lnTo>
                  <a:pt x="2209836" y="758841"/>
                </a:lnTo>
                <a:close/>
                <a:moveTo>
                  <a:pt x="2132046" y="700094"/>
                </a:moveTo>
                <a:lnTo>
                  <a:pt x="2189203" y="700094"/>
                </a:lnTo>
                <a:lnTo>
                  <a:pt x="2189203" y="758841"/>
                </a:lnTo>
                <a:lnTo>
                  <a:pt x="2132046" y="758841"/>
                </a:lnTo>
                <a:close/>
                <a:moveTo>
                  <a:pt x="2525753" y="700094"/>
                </a:moveTo>
                <a:lnTo>
                  <a:pt x="2584490" y="700094"/>
                </a:lnTo>
                <a:lnTo>
                  <a:pt x="2584490" y="758841"/>
                </a:lnTo>
                <a:lnTo>
                  <a:pt x="2525753" y="758841"/>
                </a:lnTo>
                <a:close/>
                <a:moveTo>
                  <a:pt x="2447959" y="700094"/>
                </a:moveTo>
                <a:lnTo>
                  <a:pt x="2505120" y="700094"/>
                </a:lnTo>
                <a:lnTo>
                  <a:pt x="2505120" y="758841"/>
                </a:lnTo>
                <a:lnTo>
                  <a:pt x="2447959" y="758841"/>
                </a:lnTo>
                <a:close/>
                <a:moveTo>
                  <a:pt x="3000223" y="700094"/>
                </a:moveTo>
                <a:lnTo>
                  <a:pt x="3057373" y="700094"/>
                </a:lnTo>
                <a:lnTo>
                  <a:pt x="3057373" y="758841"/>
                </a:lnTo>
                <a:lnTo>
                  <a:pt x="3000223" y="758841"/>
                </a:lnTo>
                <a:close/>
                <a:moveTo>
                  <a:pt x="2920848" y="700094"/>
                </a:moveTo>
                <a:lnTo>
                  <a:pt x="2979586" y="700094"/>
                </a:lnTo>
                <a:lnTo>
                  <a:pt x="2979586" y="758841"/>
                </a:lnTo>
                <a:lnTo>
                  <a:pt x="2920848" y="758841"/>
                </a:lnTo>
                <a:close/>
                <a:moveTo>
                  <a:pt x="2604936" y="700094"/>
                </a:moveTo>
                <a:lnTo>
                  <a:pt x="2663674" y="700094"/>
                </a:lnTo>
                <a:lnTo>
                  <a:pt x="2663674" y="758841"/>
                </a:lnTo>
                <a:lnTo>
                  <a:pt x="2604936" y="758841"/>
                </a:lnTo>
                <a:close/>
                <a:moveTo>
                  <a:pt x="3236761" y="700093"/>
                </a:moveTo>
                <a:lnTo>
                  <a:pt x="3293911" y="700093"/>
                </a:lnTo>
                <a:lnTo>
                  <a:pt x="3293911" y="758841"/>
                </a:lnTo>
                <a:lnTo>
                  <a:pt x="3236761" y="758841"/>
                </a:lnTo>
                <a:close/>
                <a:moveTo>
                  <a:pt x="3157386" y="700093"/>
                </a:moveTo>
                <a:lnTo>
                  <a:pt x="3216124" y="700093"/>
                </a:lnTo>
                <a:lnTo>
                  <a:pt x="3216124" y="758841"/>
                </a:lnTo>
                <a:lnTo>
                  <a:pt x="3157386" y="758841"/>
                </a:lnTo>
                <a:close/>
                <a:moveTo>
                  <a:pt x="3078011" y="700093"/>
                </a:moveTo>
                <a:lnTo>
                  <a:pt x="3136749" y="700093"/>
                </a:lnTo>
                <a:lnTo>
                  <a:pt x="3136749" y="758841"/>
                </a:lnTo>
                <a:lnTo>
                  <a:pt x="3078011" y="758841"/>
                </a:lnTo>
                <a:close/>
                <a:moveTo>
                  <a:pt x="3473298" y="700093"/>
                </a:moveTo>
                <a:lnTo>
                  <a:pt x="3532036" y="700093"/>
                </a:lnTo>
                <a:lnTo>
                  <a:pt x="3532036" y="758840"/>
                </a:lnTo>
                <a:lnTo>
                  <a:pt x="3473298" y="758840"/>
                </a:lnTo>
                <a:close/>
                <a:moveTo>
                  <a:pt x="3393923" y="700093"/>
                </a:moveTo>
                <a:lnTo>
                  <a:pt x="3452661" y="700093"/>
                </a:lnTo>
                <a:lnTo>
                  <a:pt x="3452661" y="758841"/>
                </a:lnTo>
                <a:lnTo>
                  <a:pt x="3393923" y="758841"/>
                </a:lnTo>
                <a:close/>
                <a:moveTo>
                  <a:pt x="3314548" y="700093"/>
                </a:moveTo>
                <a:lnTo>
                  <a:pt x="3373286" y="700093"/>
                </a:lnTo>
                <a:lnTo>
                  <a:pt x="3373286" y="758841"/>
                </a:lnTo>
                <a:lnTo>
                  <a:pt x="3314548" y="758841"/>
                </a:lnTo>
                <a:close/>
                <a:moveTo>
                  <a:pt x="4814736" y="700093"/>
                </a:moveTo>
                <a:lnTo>
                  <a:pt x="4873474" y="700093"/>
                </a:lnTo>
                <a:lnTo>
                  <a:pt x="4873474" y="758840"/>
                </a:lnTo>
                <a:lnTo>
                  <a:pt x="4814736" y="758840"/>
                </a:lnTo>
                <a:close/>
                <a:moveTo>
                  <a:pt x="4736948" y="700093"/>
                </a:moveTo>
                <a:lnTo>
                  <a:pt x="4794098" y="700093"/>
                </a:lnTo>
                <a:lnTo>
                  <a:pt x="4794098" y="758840"/>
                </a:lnTo>
                <a:lnTo>
                  <a:pt x="4736948" y="758840"/>
                </a:lnTo>
                <a:close/>
                <a:moveTo>
                  <a:pt x="4657573" y="700093"/>
                </a:moveTo>
                <a:lnTo>
                  <a:pt x="4716311" y="700093"/>
                </a:lnTo>
                <a:lnTo>
                  <a:pt x="4716311" y="758840"/>
                </a:lnTo>
                <a:lnTo>
                  <a:pt x="4657573" y="758840"/>
                </a:lnTo>
                <a:close/>
                <a:moveTo>
                  <a:pt x="4894111" y="700093"/>
                </a:moveTo>
                <a:lnTo>
                  <a:pt x="4952849" y="700093"/>
                </a:lnTo>
                <a:lnTo>
                  <a:pt x="4952849" y="758840"/>
                </a:lnTo>
                <a:lnTo>
                  <a:pt x="4894111" y="758840"/>
                </a:lnTo>
                <a:close/>
                <a:moveTo>
                  <a:pt x="8683474" y="622341"/>
                </a:moveTo>
                <a:lnTo>
                  <a:pt x="8742212" y="622341"/>
                </a:lnTo>
                <a:lnTo>
                  <a:pt x="8742212" y="681070"/>
                </a:lnTo>
                <a:lnTo>
                  <a:pt x="8683474" y="681070"/>
                </a:lnTo>
                <a:close/>
                <a:moveTo>
                  <a:pt x="8526311" y="622341"/>
                </a:moveTo>
                <a:lnTo>
                  <a:pt x="8583461" y="622341"/>
                </a:lnTo>
                <a:lnTo>
                  <a:pt x="8583461" y="681070"/>
                </a:lnTo>
                <a:lnTo>
                  <a:pt x="8526311" y="681070"/>
                </a:lnTo>
                <a:close/>
                <a:moveTo>
                  <a:pt x="8210399" y="622341"/>
                </a:moveTo>
                <a:lnTo>
                  <a:pt x="8267549" y="622341"/>
                </a:lnTo>
                <a:lnTo>
                  <a:pt x="8267549" y="681070"/>
                </a:lnTo>
                <a:lnTo>
                  <a:pt x="8210399" y="681070"/>
                </a:lnTo>
                <a:close/>
                <a:moveTo>
                  <a:pt x="8131024" y="622341"/>
                </a:moveTo>
                <a:lnTo>
                  <a:pt x="8189762" y="622341"/>
                </a:lnTo>
                <a:lnTo>
                  <a:pt x="8189762" y="681070"/>
                </a:lnTo>
                <a:lnTo>
                  <a:pt x="8131024" y="681070"/>
                </a:lnTo>
                <a:close/>
                <a:moveTo>
                  <a:pt x="8051649" y="622341"/>
                </a:moveTo>
                <a:lnTo>
                  <a:pt x="8110387" y="622341"/>
                </a:lnTo>
                <a:lnTo>
                  <a:pt x="8110387" y="681070"/>
                </a:lnTo>
                <a:lnTo>
                  <a:pt x="8051649" y="681070"/>
                </a:lnTo>
                <a:close/>
                <a:moveTo>
                  <a:pt x="7973861" y="622341"/>
                </a:moveTo>
                <a:lnTo>
                  <a:pt x="8031011" y="622341"/>
                </a:lnTo>
                <a:lnTo>
                  <a:pt x="8031011" y="681070"/>
                </a:lnTo>
                <a:lnTo>
                  <a:pt x="7973861" y="681070"/>
                </a:lnTo>
                <a:close/>
                <a:moveTo>
                  <a:pt x="7894486" y="622341"/>
                </a:moveTo>
                <a:lnTo>
                  <a:pt x="7951636" y="622341"/>
                </a:lnTo>
                <a:lnTo>
                  <a:pt x="7951636" y="681070"/>
                </a:lnTo>
                <a:lnTo>
                  <a:pt x="7894486" y="681070"/>
                </a:lnTo>
                <a:close/>
                <a:moveTo>
                  <a:pt x="7815111" y="622341"/>
                </a:moveTo>
                <a:lnTo>
                  <a:pt x="7873849" y="622341"/>
                </a:lnTo>
                <a:lnTo>
                  <a:pt x="7873849" y="681070"/>
                </a:lnTo>
                <a:lnTo>
                  <a:pt x="7815111" y="681070"/>
                </a:lnTo>
                <a:close/>
                <a:moveTo>
                  <a:pt x="7735736" y="622341"/>
                </a:moveTo>
                <a:lnTo>
                  <a:pt x="7794474" y="622341"/>
                </a:lnTo>
                <a:lnTo>
                  <a:pt x="7794474" y="681070"/>
                </a:lnTo>
                <a:lnTo>
                  <a:pt x="7735736" y="681070"/>
                </a:lnTo>
                <a:close/>
                <a:moveTo>
                  <a:pt x="7657949" y="622341"/>
                </a:moveTo>
                <a:lnTo>
                  <a:pt x="7715099" y="622341"/>
                </a:lnTo>
                <a:lnTo>
                  <a:pt x="7715099" y="681070"/>
                </a:lnTo>
                <a:lnTo>
                  <a:pt x="7657949" y="681070"/>
                </a:lnTo>
                <a:close/>
                <a:moveTo>
                  <a:pt x="7578574" y="622341"/>
                </a:moveTo>
                <a:lnTo>
                  <a:pt x="7637312" y="622341"/>
                </a:lnTo>
                <a:lnTo>
                  <a:pt x="7637312" y="681070"/>
                </a:lnTo>
                <a:lnTo>
                  <a:pt x="7578574" y="681070"/>
                </a:lnTo>
                <a:close/>
                <a:moveTo>
                  <a:pt x="7499199" y="622341"/>
                </a:moveTo>
                <a:lnTo>
                  <a:pt x="7557937" y="622341"/>
                </a:lnTo>
                <a:lnTo>
                  <a:pt x="7557937" y="681070"/>
                </a:lnTo>
                <a:lnTo>
                  <a:pt x="7499199" y="681070"/>
                </a:lnTo>
                <a:close/>
                <a:moveTo>
                  <a:pt x="7419824" y="622341"/>
                </a:moveTo>
                <a:lnTo>
                  <a:pt x="7478562" y="622341"/>
                </a:lnTo>
                <a:lnTo>
                  <a:pt x="7478562" y="681070"/>
                </a:lnTo>
                <a:lnTo>
                  <a:pt x="7419824" y="681070"/>
                </a:lnTo>
                <a:close/>
                <a:moveTo>
                  <a:pt x="7342036" y="622341"/>
                </a:moveTo>
                <a:lnTo>
                  <a:pt x="7400774" y="622341"/>
                </a:lnTo>
                <a:lnTo>
                  <a:pt x="7400774" y="681070"/>
                </a:lnTo>
                <a:lnTo>
                  <a:pt x="7342036" y="681070"/>
                </a:lnTo>
                <a:close/>
                <a:moveTo>
                  <a:pt x="7262661" y="622341"/>
                </a:moveTo>
                <a:lnTo>
                  <a:pt x="7321399" y="622341"/>
                </a:lnTo>
                <a:lnTo>
                  <a:pt x="7321399" y="681070"/>
                </a:lnTo>
                <a:lnTo>
                  <a:pt x="7262661" y="681070"/>
                </a:lnTo>
                <a:close/>
                <a:moveTo>
                  <a:pt x="7183286" y="622341"/>
                </a:moveTo>
                <a:lnTo>
                  <a:pt x="7242024" y="622341"/>
                </a:lnTo>
                <a:lnTo>
                  <a:pt x="7242024" y="681070"/>
                </a:lnTo>
                <a:lnTo>
                  <a:pt x="7183286" y="681070"/>
                </a:lnTo>
                <a:close/>
                <a:moveTo>
                  <a:pt x="7105499" y="622341"/>
                </a:moveTo>
                <a:lnTo>
                  <a:pt x="7162649" y="622341"/>
                </a:lnTo>
                <a:lnTo>
                  <a:pt x="7162649" y="681070"/>
                </a:lnTo>
                <a:lnTo>
                  <a:pt x="7105499" y="681070"/>
                </a:lnTo>
                <a:close/>
                <a:moveTo>
                  <a:pt x="7026124" y="622341"/>
                </a:moveTo>
                <a:lnTo>
                  <a:pt x="7084862" y="622341"/>
                </a:lnTo>
                <a:lnTo>
                  <a:pt x="7084862" y="681070"/>
                </a:lnTo>
                <a:lnTo>
                  <a:pt x="7026124" y="681070"/>
                </a:lnTo>
                <a:close/>
                <a:moveTo>
                  <a:pt x="6946749" y="622341"/>
                </a:moveTo>
                <a:lnTo>
                  <a:pt x="7005487" y="622341"/>
                </a:lnTo>
                <a:lnTo>
                  <a:pt x="7005487" y="681070"/>
                </a:lnTo>
                <a:lnTo>
                  <a:pt x="6946749" y="681070"/>
                </a:lnTo>
                <a:close/>
                <a:moveTo>
                  <a:pt x="6867374" y="622341"/>
                </a:moveTo>
                <a:lnTo>
                  <a:pt x="6926112" y="622341"/>
                </a:lnTo>
                <a:lnTo>
                  <a:pt x="6926112" y="681070"/>
                </a:lnTo>
                <a:lnTo>
                  <a:pt x="6867374" y="681070"/>
                </a:lnTo>
                <a:close/>
                <a:moveTo>
                  <a:pt x="6789586" y="622341"/>
                </a:moveTo>
                <a:lnTo>
                  <a:pt x="6846736" y="622341"/>
                </a:lnTo>
                <a:lnTo>
                  <a:pt x="6846736" y="681070"/>
                </a:lnTo>
                <a:lnTo>
                  <a:pt x="6789586" y="681070"/>
                </a:lnTo>
                <a:close/>
                <a:moveTo>
                  <a:pt x="6710211" y="622341"/>
                </a:moveTo>
                <a:lnTo>
                  <a:pt x="6768949" y="622341"/>
                </a:lnTo>
                <a:lnTo>
                  <a:pt x="6768949" y="681070"/>
                </a:lnTo>
                <a:lnTo>
                  <a:pt x="6710211" y="681070"/>
                </a:lnTo>
                <a:close/>
                <a:moveTo>
                  <a:pt x="6630836" y="622341"/>
                </a:moveTo>
                <a:lnTo>
                  <a:pt x="6689574" y="622341"/>
                </a:lnTo>
                <a:lnTo>
                  <a:pt x="6689574" y="681070"/>
                </a:lnTo>
                <a:lnTo>
                  <a:pt x="6630836" y="681070"/>
                </a:lnTo>
                <a:close/>
                <a:moveTo>
                  <a:pt x="6551461" y="622341"/>
                </a:moveTo>
                <a:lnTo>
                  <a:pt x="6610199" y="622341"/>
                </a:lnTo>
                <a:lnTo>
                  <a:pt x="6610199" y="681070"/>
                </a:lnTo>
                <a:lnTo>
                  <a:pt x="6551461" y="681070"/>
                </a:lnTo>
                <a:close/>
                <a:moveTo>
                  <a:pt x="6473674" y="622341"/>
                </a:moveTo>
                <a:lnTo>
                  <a:pt x="6530824" y="622341"/>
                </a:lnTo>
                <a:lnTo>
                  <a:pt x="6530824" y="681070"/>
                </a:lnTo>
                <a:lnTo>
                  <a:pt x="6473674" y="681070"/>
                </a:lnTo>
                <a:close/>
                <a:moveTo>
                  <a:pt x="6394299" y="622341"/>
                </a:moveTo>
                <a:lnTo>
                  <a:pt x="6453037" y="622341"/>
                </a:lnTo>
                <a:lnTo>
                  <a:pt x="6453037" y="681070"/>
                </a:lnTo>
                <a:lnTo>
                  <a:pt x="6394299" y="681070"/>
                </a:lnTo>
                <a:close/>
                <a:moveTo>
                  <a:pt x="6314924" y="622341"/>
                </a:moveTo>
                <a:lnTo>
                  <a:pt x="6373662" y="622341"/>
                </a:lnTo>
                <a:lnTo>
                  <a:pt x="6373662" y="681070"/>
                </a:lnTo>
                <a:lnTo>
                  <a:pt x="6314924" y="681070"/>
                </a:lnTo>
                <a:close/>
                <a:moveTo>
                  <a:pt x="6235549" y="622341"/>
                </a:moveTo>
                <a:lnTo>
                  <a:pt x="6294287" y="622341"/>
                </a:lnTo>
                <a:lnTo>
                  <a:pt x="6294287" y="681070"/>
                </a:lnTo>
                <a:lnTo>
                  <a:pt x="6235549" y="681070"/>
                </a:lnTo>
                <a:close/>
                <a:moveTo>
                  <a:pt x="6157761" y="622341"/>
                </a:moveTo>
                <a:lnTo>
                  <a:pt x="6214911" y="622341"/>
                </a:lnTo>
                <a:lnTo>
                  <a:pt x="6214911" y="681070"/>
                </a:lnTo>
                <a:lnTo>
                  <a:pt x="6157761" y="681070"/>
                </a:lnTo>
                <a:close/>
                <a:moveTo>
                  <a:pt x="5999011" y="622341"/>
                </a:moveTo>
                <a:lnTo>
                  <a:pt x="6057749" y="622341"/>
                </a:lnTo>
                <a:lnTo>
                  <a:pt x="6057749" y="681070"/>
                </a:lnTo>
                <a:lnTo>
                  <a:pt x="5999011" y="681070"/>
                </a:lnTo>
                <a:close/>
                <a:moveTo>
                  <a:pt x="5921224" y="622341"/>
                </a:moveTo>
                <a:lnTo>
                  <a:pt x="5978374" y="622341"/>
                </a:lnTo>
                <a:lnTo>
                  <a:pt x="5978374" y="681070"/>
                </a:lnTo>
                <a:lnTo>
                  <a:pt x="5921224" y="681070"/>
                </a:lnTo>
                <a:close/>
                <a:moveTo>
                  <a:pt x="5762474" y="622341"/>
                </a:moveTo>
                <a:lnTo>
                  <a:pt x="5821212" y="622341"/>
                </a:lnTo>
                <a:lnTo>
                  <a:pt x="5821212" y="681070"/>
                </a:lnTo>
                <a:lnTo>
                  <a:pt x="5762474" y="681070"/>
                </a:lnTo>
                <a:close/>
                <a:moveTo>
                  <a:pt x="5684686" y="622341"/>
                </a:moveTo>
                <a:lnTo>
                  <a:pt x="5741836" y="622341"/>
                </a:lnTo>
                <a:lnTo>
                  <a:pt x="5741836" y="681070"/>
                </a:lnTo>
                <a:lnTo>
                  <a:pt x="5684686" y="681070"/>
                </a:lnTo>
                <a:close/>
                <a:moveTo>
                  <a:pt x="4973486" y="622341"/>
                </a:moveTo>
                <a:lnTo>
                  <a:pt x="5030636" y="622341"/>
                </a:lnTo>
                <a:lnTo>
                  <a:pt x="5030636" y="681070"/>
                </a:lnTo>
                <a:lnTo>
                  <a:pt x="4973486" y="681070"/>
                </a:lnTo>
                <a:close/>
                <a:moveTo>
                  <a:pt x="315936" y="622323"/>
                </a:moveTo>
                <a:lnTo>
                  <a:pt x="374676" y="622323"/>
                </a:lnTo>
                <a:lnTo>
                  <a:pt x="374676" y="681052"/>
                </a:lnTo>
                <a:lnTo>
                  <a:pt x="315936" y="681052"/>
                </a:lnTo>
                <a:close/>
                <a:moveTo>
                  <a:pt x="236562" y="622323"/>
                </a:moveTo>
                <a:lnTo>
                  <a:pt x="295298" y="622323"/>
                </a:lnTo>
                <a:lnTo>
                  <a:pt x="295298" y="681053"/>
                </a:lnTo>
                <a:lnTo>
                  <a:pt x="236562" y="681053"/>
                </a:lnTo>
                <a:close/>
                <a:moveTo>
                  <a:pt x="395316" y="622322"/>
                </a:moveTo>
                <a:lnTo>
                  <a:pt x="452458" y="622322"/>
                </a:lnTo>
                <a:lnTo>
                  <a:pt x="452458" y="681052"/>
                </a:lnTo>
                <a:lnTo>
                  <a:pt x="395316" y="681052"/>
                </a:lnTo>
                <a:close/>
                <a:moveTo>
                  <a:pt x="631894" y="622322"/>
                </a:moveTo>
                <a:lnTo>
                  <a:pt x="689040" y="622322"/>
                </a:lnTo>
                <a:lnTo>
                  <a:pt x="689040" y="681052"/>
                </a:lnTo>
                <a:lnTo>
                  <a:pt x="631894" y="681052"/>
                </a:lnTo>
                <a:close/>
                <a:moveTo>
                  <a:pt x="552521" y="622322"/>
                </a:moveTo>
                <a:lnTo>
                  <a:pt x="611255" y="622322"/>
                </a:lnTo>
                <a:lnTo>
                  <a:pt x="611255" y="681052"/>
                </a:lnTo>
                <a:lnTo>
                  <a:pt x="552521" y="681052"/>
                </a:lnTo>
                <a:close/>
                <a:moveTo>
                  <a:pt x="473096" y="622322"/>
                </a:moveTo>
                <a:lnTo>
                  <a:pt x="531887" y="622322"/>
                </a:lnTo>
                <a:lnTo>
                  <a:pt x="531887" y="681052"/>
                </a:lnTo>
                <a:lnTo>
                  <a:pt x="473096" y="681052"/>
                </a:lnTo>
                <a:close/>
                <a:moveTo>
                  <a:pt x="1420841" y="622322"/>
                </a:moveTo>
                <a:lnTo>
                  <a:pt x="1479576" y="622322"/>
                </a:lnTo>
                <a:lnTo>
                  <a:pt x="1479576" y="681052"/>
                </a:lnTo>
                <a:lnTo>
                  <a:pt x="1420841" y="681052"/>
                </a:lnTo>
                <a:close/>
                <a:moveTo>
                  <a:pt x="1027147" y="622322"/>
                </a:moveTo>
                <a:lnTo>
                  <a:pt x="1084311" y="622322"/>
                </a:lnTo>
                <a:lnTo>
                  <a:pt x="1084311" y="681052"/>
                </a:lnTo>
                <a:lnTo>
                  <a:pt x="1027147" y="681052"/>
                </a:lnTo>
                <a:close/>
                <a:moveTo>
                  <a:pt x="711262" y="622322"/>
                </a:moveTo>
                <a:lnTo>
                  <a:pt x="768404" y="622322"/>
                </a:lnTo>
                <a:lnTo>
                  <a:pt x="768404" y="681052"/>
                </a:lnTo>
                <a:lnTo>
                  <a:pt x="711262" y="681052"/>
                </a:lnTo>
                <a:close/>
                <a:moveTo>
                  <a:pt x="1657400" y="622321"/>
                </a:moveTo>
                <a:lnTo>
                  <a:pt x="1716143" y="622321"/>
                </a:lnTo>
                <a:lnTo>
                  <a:pt x="1716143" y="681052"/>
                </a:lnTo>
                <a:lnTo>
                  <a:pt x="1657400" y="681052"/>
                </a:lnTo>
                <a:close/>
                <a:moveTo>
                  <a:pt x="1578008" y="622321"/>
                </a:moveTo>
                <a:lnTo>
                  <a:pt x="1636763" y="622321"/>
                </a:lnTo>
                <a:lnTo>
                  <a:pt x="1636763" y="681052"/>
                </a:lnTo>
                <a:lnTo>
                  <a:pt x="1578008" y="681052"/>
                </a:lnTo>
                <a:close/>
                <a:moveTo>
                  <a:pt x="1500218" y="622321"/>
                </a:moveTo>
                <a:lnTo>
                  <a:pt x="1558964" y="622321"/>
                </a:lnTo>
                <a:lnTo>
                  <a:pt x="1558964" y="681052"/>
                </a:lnTo>
                <a:lnTo>
                  <a:pt x="1500218" y="681052"/>
                </a:lnTo>
                <a:close/>
                <a:moveTo>
                  <a:pt x="1893912" y="622321"/>
                </a:moveTo>
                <a:lnTo>
                  <a:pt x="1952647" y="622321"/>
                </a:lnTo>
                <a:lnTo>
                  <a:pt x="1952647" y="681052"/>
                </a:lnTo>
                <a:lnTo>
                  <a:pt x="1893912" y="681052"/>
                </a:lnTo>
                <a:close/>
                <a:moveTo>
                  <a:pt x="2132054" y="622321"/>
                </a:moveTo>
                <a:lnTo>
                  <a:pt x="2189209" y="622321"/>
                </a:lnTo>
                <a:lnTo>
                  <a:pt x="2189209" y="681051"/>
                </a:lnTo>
                <a:lnTo>
                  <a:pt x="2132054" y="681051"/>
                </a:lnTo>
                <a:close/>
                <a:moveTo>
                  <a:pt x="2052675" y="622321"/>
                </a:moveTo>
                <a:lnTo>
                  <a:pt x="2111420" y="622321"/>
                </a:lnTo>
                <a:lnTo>
                  <a:pt x="2111420" y="681051"/>
                </a:lnTo>
                <a:lnTo>
                  <a:pt x="2052675" y="681051"/>
                </a:lnTo>
                <a:close/>
                <a:moveTo>
                  <a:pt x="2289220" y="622320"/>
                </a:moveTo>
                <a:lnTo>
                  <a:pt x="2347962" y="622320"/>
                </a:lnTo>
                <a:lnTo>
                  <a:pt x="2347962" y="681050"/>
                </a:lnTo>
                <a:lnTo>
                  <a:pt x="2289220" y="681050"/>
                </a:lnTo>
                <a:close/>
                <a:moveTo>
                  <a:pt x="2209845" y="622320"/>
                </a:moveTo>
                <a:lnTo>
                  <a:pt x="2268584" y="622320"/>
                </a:lnTo>
                <a:lnTo>
                  <a:pt x="2268584" y="681050"/>
                </a:lnTo>
                <a:lnTo>
                  <a:pt x="2209845" y="681050"/>
                </a:lnTo>
                <a:close/>
                <a:moveTo>
                  <a:pt x="2525759" y="622320"/>
                </a:moveTo>
                <a:lnTo>
                  <a:pt x="2584495" y="622320"/>
                </a:lnTo>
                <a:lnTo>
                  <a:pt x="2584495" y="681050"/>
                </a:lnTo>
                <a:lnTo>
                  <a:pt x="2525759" y="681050"/>
                </a:lnTo>
                <a:close/>
                <a:moveTo>
                  <a:pt x="2447964" y="622320"/>
                </a:moveTo>
                <a:lnTo>
                  <a:pt x="2505127" y="622320"/>
                </a:lnTo>
                <a:lnTo>
                  <a:pt x="2505127" y="681050"/>
                </a:lnTo>
                <a:lnTo>
                  <a:pt x="2447964" y="681050"/>
                </a:lnTo>
                <a:close/>
                <a:moveTo>
                  <a:pt x="2368599" y="622320"/>
                </a:moveTo>
                <a:lnTo>
                  <a:pt x="2427333" y="622320"/>
                </a:lnTo>
                <a:lnTo>
                  <a:pt x="2427333" y="681050"/>
                </a:lnTo>
                <a:lnTo>
                  <a:pt x="2368599" y="681050"/>
                </a:lnTo>
                <a:close/>
                <a:moveTo>
                  <a:pt x="2920848" y="622319"/>
                </a:moveTo>
                <a:lnTo>
                  <a:pt x="2979586" y="622319"/>
                </a:lnTo>
                <a:lnTo>
                  <a:pt x="2979586" y="681050"/>
                </a:lnTo>
                <a:lnTo>
                  <a:pt x="2920848" y="681050"/>
                </a:lnTo>
                <a:close/>
                <a:moveTo>
                  <a:pt x="3157386" y="622319"/>
                </a:moveTo>
                <a:lnTo>
                  <a:pt x="3216124" y="622319"/>
                </a:lnTo>
                <a:lnTo>
                  <a:pt x="3216124" y="681050"/>
                </a:lnTo>
                <a:lnTo>
                  <a:pt x="3157386" y="681050"/>
                </a:lnTo>
                <a:close/>
                <a:moveTo>
                  <a:pt x="3078011" y="622319"/>
                </a:moveTo>
                <a:lnTo>
                  <a:pt x="3136749" y="622319"/>
                </a:lnTo>
                <a:lnTo>
                  <a:pt x="3136749" y="681050"/>
                </a:lnTo>
                <a:lnTo>
                  <a:pt x="3078011" y="681050"/>
                </a:lnTo>
                <a:close/>
                <a:moveTo>
                  <a:pt x="3000223" y="622319"/>
                </a:moveTo>
                <a:lnTo>
                  <a:pt x="3057373" y="622319"/>
                </a:lnTo>
                <a:lnTo>
                  <a:pt x="3057373" y="681050"/>
                </a:lnTo>
                <a:lnTo>
                  <a:pt x="3000223" y="681050"/>
                </a:lnTo>
                <a:close/>
                <a:moveTo>
                  <a:pt x="3393923" y="622319"/>
                </a:moveTo>
                <a:lnTo>
                  <a:pt x="3452661" y="622319"/>
                </a:lnTo>
                <a:lnTo>
                  <a:pt x="3452661" y="681049"/>
                </a:lnTo>
                <a:lnTo>
                  <a:pt x="3393923" y="681049"/>
                </a:lnTo>
                <a:close/>
                <a:moveTo>
                  <a:pt x="3314548" y="622319"/>
                </a:moveTo>
                <a:lnTo>
                  <a:pt x="3373286" y="622319"/>
                </a:lnTo>
                <a:lnTo>
                  <a:pt x="3373286" y="681049"/>
                </a:lnTo>
                <a:lnTo>
                  <a:pt x="3314548" y="681049"/>
                </a:lnTo>
                <a:close/>
                <a:moveTo>
                  <a:pt x="3236761" y="622319"/>
                </a:moveTo>
                <a:lnTo>
                  <a:pt x="3293911" y="622319"/>
                </a:lnTo>
                <a:lnTo>
                  <a:pt x="3293911" y="681049"/>
                </a:lnTo>
                <a:lnTo>
                  <a:pt x="3236761" y="681049"/>
                </a:lnTo>
                <a:close/>
                <a:moveTo>
                  <a:pt x="3552673" y="622319"/>
                </a:moveTo>
                <a:lnTo>
                  <a:pt x="3609823" y="622319"/>
                </a:lnTo>
                <a:lnTo>
                  <a:pt x="3609823" y="681049"/>
                </a:lnTo>
                <a:lnTo>
                  <a:pt x="3552673" y="681049"/>
                </a:lnTo>
                <a:close/>
                <a:moveTo>
                  <a:pt x="3473298" y="622319"/>
                </a:moveTo>
                <a:lnTo>
                  <a:pt x="3532036" y="622319"/>
                </a:lnTo>
                <a:lnTo>
                  <a:pt x="3532036" y="681049"/>
                </a:lnTo>
                <a:lnTo>
                  <a:pt x="3473298" y="681049"/>
                </a:lnTo>
                <a:close/>
                <a:moveTo>
                  <a:pt x="4814736" y="622318"/>
                </a:moveTo>
                <a:lnTo>
                  <a:pt x="4873474" y="622318"/>
                </a:lnTo>
                <a:lnTo>
                  <a:pt x="4873474" y="681049"/>
                </a:lnTo>
                <a:lnTo>
                  <a:pt x="4814736" y="681049"/>
                </a:lnTo>
                <a:close/>
                <a:moveTo>
                  <a:pt x="3709836" y="622318"/>
                </a:moveTo>
                <a:lnTo>
                  <a:pt x="3768574" y="622318"/>
                </a:lnTo>
                <a:lnTo>
                  <a:pt x="3768574" y="681049"/>
                </a:lnTo>
                <a:lnTo>
                  <a:pt x="3709836" y="681049"/>
                </a:lnTo>
                <a:close/>
                <a:moveTo>
                  <a:pt x="3630461" y="622318"/>
                </a:moveTo>
                <a:lnTo>
                  <a:pt x="3689199" y="622318"/>
                </a:lnTo>
                <a:lnTo>
                  <a:pt x="3689199" y="681049"/>
                </a:lnTo>
                <a:lnTo>
                  <a:pt x="3630461" y="681049"/>
                </a:lnTo>
                <a:close/>
                <a:moveTo>
                  <a:pt x="4894111" y="622318"/>
                </a:moveTo>
                <a:lnTo>
                  <a:pt x="4952849" y="622318"/>
                </a:lnTo>
                <a:lnTo>
                  <a:pt x="4952849" y="681049"/>
                </a:lnTo>
                <a:lnTo>
                  <a:pt x="4894111" y="681049"/>
                </a:lnTo>
                <a:close/>
                <a:moveTo>
                  <a:pt x="8842224" y="544566"/>
                </a:moveTo>
                <a:lnTo>
                  <a:pt x="8899374" y="544566"/>
                </a:lnTo>
                <a:lnTo>
                  <a:pt x="8899374" y="603295"/>
                </a:lnTo>
                <a:lnTo>
                  <a:pt x="8842224" y="603295"/>
                </a:lnTo>
                <a:close/>
                <a:moveTo>
                  <a:pt x="8762849" y="544566"/>
                </a:moveTo>
                <a:lnTo>
                  <a:pt x="8821587" y="544566"/>
                </a:lnTo>
                <a:lnTo>
                  <a:pt x="8821587" y="603295"/>
                </a:lnTo>
                <a:lnTo>
                  <a:pt x="8762849" y="603295"/>
                </a:lnTo>
                <a:close/>
                <a:moveTo>
                  <a:pt x="7973861" y="544566"/>
                </a:moveTo>
                <a:lnTo>
                  <a:pt x="8031011" y="544566"/>
                </a:lnTo>
                <a:lnTo>
                  <a:pt x="8031011" y="603295"/>
                </a:lnTo>
                <a:lnTo>
                  <a:pt x="7973861" y="603295"/>
                </a:lnTo>
                <a:close/>
                <a:moveTo>
                  <a:pt x="7815111" y="544566"/>
                </a:moveTo>
                <a:lnTo>
                  <a:pt x="7873849" y="544566"/>
                </a:lnTo>
                <a:lnTo>
                  <a:pt x="7873849" y="603295"/>
                </a:lnTo>
                <a:lnTo>
                  <a:pt x="7815111" y="603295"/>
                </a:lnTo>
                <a:close/>
                <a:moveTo>
                  <a:pt x="7735736" y="544566"/>
                </a:moveTo>
                <a:lnTo>
                  <a:pt x="7794474" y="544566"/>
                </a:lnTo>
                <a:lnTo>
                  <a:pt x="7794474" y="603295"/>
                </a:lnTo>
                <a:lnTo>
                  <a:pt x="7735736" y="603295"/>
                </a:lnTo>
                <a:close/>
                <a:moveTo>
                  <a:pt x="7342036" y="544566"/>
                </a:moveTo>
                <a:lnTo>
                  <a:pt x="7400774" y="544566"/>
                </a:lnTo>
                <a:lnTo>
                  <a:pt x="7400774" y="603295"/>
                </a:lnTo>
                <a:lnTo>
                  <a:pt x="7342036" y="603295"/>
                </a:lnTo>
                <a:close/>
                <a:moveTo>
                  <a:pt x="7262661" y="544566"/>
                </a:moveTo>
                <a:lnTo>
                  <a:pt x="7321399" y="544566"/>
                </a:lnTo>
                <a:lnTo>
                  <a:pt x="7321399" y="603295"/>
                </a:lnTo>
                <a:lnTo>
                  <a:pt x="7262661" y="603295"/>
                </a:lnTo>
                <a:close/>
                <a:moveTo>
                  <a:pt x="7183286" y="544566"/>
                </a:moveTo>
                <a:lnTo>
                  <a:pt x="7242024" y="544566"/>
                </a:lnTo>
                <a:lnTo>
                  <a:pt x="7242024" y="603295"/>
                </a:lnTo>
                <a:lnTo>
                  <a:pt x="7183286" y="603295"/>
                </a:lnTo>
                <a:close/>
                <a:moveTo>
                  <a:pt x="7105499" y="544566"/>
                </a:moveTo>
                <a:lnTo>
                  <a:pt x="7162649" y="544566"/>
                </a:lnTo>
                <a:lnTo>
                  <a:pt x="7162649" y="603295"/>
                </a:lnTo>
                <a:lnTo>
                  <a:pt x="7105499" y="603295"/>
                </a:lnTo>
                <a:close/>
                <a:moveTo>
                  <a:pt x="7026124" y="544566"/>
                </a:moveTo>
                <a:lnTo>
                  <a:pt x="7084862" y="544566"/>
                </a:lnTo>
                <a:lnTo>
                  <a:pt x="7084862" y="603295"/>
                </a:lnTo>
                <a:lnTo>
                  <a:pt x="7026124" y="603295"/>
                </a:lnTo>
                <a:close/>
                <a:moveTo>
                  <a:pt x="6946749" y="544566"/>
                </a:moveTo>
                <a:lnTo>
                  <a:pt x="7005487" y="544566"/>
                </a:lnTo>
                <a:lnTo>
                  <a:pt x="7005487" y="603295"/>
                </a:lnTo>
                <a:lnTo>
                  <a:pt x="6946749" y="603295"/>
                </a:lnTo>
                <a:close/>
                <a:moveTo>
                  <a:pt x="6867374" y="544566"/>
                </a:moveTo>
                <a:lnTo>
                  <a:pt x="6926112" y="544566"/>
                </a:lnTo>
                <a:lnTo>
                  <a:pt x="6926112" y="603295"/>
                </a:lnTo>
                <a:lnTo>
                  <a:pt x="6867374" y="603295"/>
                </a:lnTo>
                <a:close/>
                <a:moveTo>
                  <a:pt x="6789586" y="544566"/>
                </a:moveTo>
                <a:lnTo>
                  <a:pt x="6846736" y="544566"/>
                </a:lnTo>
                <a:lnTo>
                  <a:pt x="6846736" y="603295"/>
                </a:lnTo>
                <a:lnTo>
                  <a:pt x="6789586" y="603295"/>
                </a:lnTo>
                <a:close/>
                <a:moveTo>
                  <a:pt x="6710211" y="544566"/>
                </a:moveTo>
                <a:lnTo>
                  <a:pt x="6768949" y="544566"/>
                </a:lnTo>
                <a:lnTo>
                  <a:pt x="6768949" y="603295"/>
                </a:lnTo>
                <a:lnTo>
                  <a:pt x="6710211" y="603295"/>
                </a:lnTo>
                <a:close/>
                <a:moveTo>
                  <a:pt x="6630836" y="544566"/>
                </a:moveTo>
                <a:lnTo>
                  <a:pt x="6689574" y="544566"/>
                </a:lnTo>
                <a:lnTo>
                  <a:pt x="6689574" y="603295"/>
                </a:lnTo>
                <a:lnTo>
                  <a:pt x="6630836" y="603295"/>
                </a:lnTo>
                <a:close/>
                <a:moveTo>
                  <a:pt x="6551461" y="544566"/>
                </a:moveTo>
                <a:lnTo>
                  <a:pt x="6610199" y="544566"/>
                </a:lnTo>
                <a:lnTo>
                  <a:pt x="6610199" y="603295"/>
                </a:lnTo>
                <a:lnTo>
                  <a:pt x="6551461" y="603295"/>
                </a:lnTo>
                <a:close/>
                <a:moveTo>
                  <a:pt x="6473674" y="544566"/>
                </a:moveTo>
                <a:lnTo>
                  <a:pt x="6530824" y="544566"/>
                </a:lnTo>
                <a:lnTo>
                  <a:pt x="6530824" y="603295"/>
                </a:lnTo>
                <a:lnTo>
                  <a:pt x="6473674" y="603295"/>
                </a:lnTo>
                <a:close/>
                <a:moveTo>
                  <a:pt x="6394299" y="544566"/>
                </a:moveTo>
                <a:lnTo>
                  <a:pt x="6453037" y="544566"/>
                </a:lnTo>
                <a:lnTo>
                  <a:pt x="6453037" y="603295"/>
                </a:lnTo>
                <a:lnTo>
                  <a:pt x="6394299" y="603295"/>
                </a:lnTo>
                <a:close/>
                <a:moveTo>
                  <a:pt x="6235549" y="544566"/>
                </a:moveTo>
                <a:lnTo>
                  <a:pt x="6294287" y="544566"/>
                </a:lnTo>
                <a:lnTo>
                  <a:pt x="6294287" y="603295"/>
                </a:lnTo>
                <a:lnTo>
                  <a:pt x="6235549" y="603295"/>
                </a:lnTo>
                <a:close/>
                <a:moveTo>
                  <a:pt x="6078386" y="544566"/>
                </a:moveTo>
                <a:lnTo>
                  <a:pt x="6137124" y="544566"/>
                </a:lnTo>
                <a:lnTo>
                  <a:pt x="6137124" y="603295"/>
                </a:lnTo>
                <a:lnTo>
                  <a:pt x="6078386" y="603295"/>
                </a:lnTo>
                <a:close/>
                <a:moveTo>
                  <a:pt x="5999011" y="544566"/>
                </a:moveTo>
                <a:lnTo>
                  <a:pt x="6057749" y="544566"/>
                </a:lnTo>
                <a:lnTo>
                  <a:pt x="6057749" y="603295"/>
                </a:lnTo>
                <a:lnTo>
                  <a:pt x="5999011" y="603295"/>
                </a:lnTo>
                <a:close/>
                <a:moveTo>
                  <a:pt x="5921224" y="544566"/>
                </a:moveTo>
                <a:lnTo>
                  <a:pt x="5978374" y="544566"/>
                </a:lnTo>
                <a:lnTo>
                  <a:pt x="5978374" y="603295"/>
                </a:lnTo>
                <a:lnTo>
                  <a:pt x="5921224" y="603295"/>
                </a:lnTo>
                <a:close/>
                <a:moveTo>
                  <a:pt x="5605311" y="544566"/>
                </a:moveTo>
                <a:lnTo>
                  <a:pt x="5664049" y="544566"/>
                </a:lnTo>
                <a:lnTo>
                  <a:pt x="5664049" y="603295"/>
                </a:lnTo>
                <a:lnTo>
                  <a:pt x="5605311" y="603295"/>
                </a:lnTo>
                <a:close/>
                <a:moveTo>
                  <a:pt x="1420843" y="544547"/>
                </a:moveTo>
                <a:lnTo>
                  <a:pt x="1479579" y="544547"/>
                </a:lnTo>
                <a:lnTo>
                  <a:pt x="1479579" y="603277"/>
                </a:lnTo>
                <a:lnTo>
                  <a:pt x="1420843" y="603277"/>
                </a:lnTo>
                <a:close/>
                <a:moveTo>
                  <a:pt x="1341503" y="544547"/>
                </a:moveTo>
                <a:lnTo>
                  <a:pt x="1400224" y="544547"/>
                </a:lnTo>
                <a:lnTo>
                  <a:pt x="1400224" y="603277"/>
                </a:lnTo>
                <a:lnTo>
                  <a:pt x="1341503" y="603277"/>
                </a:lnTo>
                <a:close/>
                <a:moveTo>
                  <a:pt x="1184319" y="544547"/>
                </a:moveTo>
                <a:lnTo>
                  <a:pt x="1243051" y="544547"/>
                </a:lnTo>
                <a:lnTo>
                  <a:pt x="1243051" y="603277"/>
                </a:lnTo>
                <a:lnTo>
                  <a:pt x="1184319" y="603277"/>
                </a:lnTo>
                <a:close/>
                <a:moveTo>
                  <a:pt x="1500223" y="544547"/>
                </a:moveTo>
                <a:lnTo>
                  <a:pt x="1558968" y="544547"/>
                </a:lnTo>
                <a:lnTo>
                  <a:pt x="1558968" y="603277"/>
                </a:lnTo>
                <a:lnTo>
                  <a:pt x="1500223" y="603277"/>
                </a:lnTo>
                <a:close/>
                <a:moveTo>
                  <a:pt x="1816156" y="544547"/>
                </a:moveTo>
                <a:lnTo>
                  <a:pt x="1873288" y="544547"/>
                </a:lnTo>
                <a:lnTo>
                  <a:pt x="1873288" y="603277"/>
                </a:lnTo>
                <a:lnTo>
                  <a:pt x="1816156" y="603277"/>
                </a:lnTo>
                <a:close/>
                <a:moveTo>
                  <a:pt x="1736782" y="544547"/>
                </a:moveTo>
                <a:lnTo>
                  <a:pt x="1795522" y="544547"/>
                </a:lnTo>
                <a:lnTo>
                  <a:pt x="1795522" y="603277"/>
                </a:lnTo>
                <a:lnTo>
                  <a:pt x="1736782" y="603277"/>
                </a:lnTo>
                <a:close/>
                <a:moveTo>
                  <a:pt x="1578010" y="544547"/>
                </a:moveTo>
                <a:lnTo>
                  <a:pt x="1636764" y="544547"/>
                </a:lnTo>
                <a:lnTo>
                  <a:pt x="1636764" y="603277"/>
                </a:lnTo>
                <a:lnTo>
                  <a:pt x="1578010" y="603277"/>
                </a:lnTo>
                <a:close/>
                <a:moveTo>
                  <a:pt x="2052678" y="544546"/>
                </a:moveTo>
                <a:lnTo>
                  <a:pt x="2111420" y="544546"/>
                </a:lnTo>
                <a:lnTo>
                  <a:pt x="2111420" y="603277"/>
                </a:lnTo>
                <a:lnTo>
                  <a:pt x="2052678" y="603277"/>
                </a:lnTo>
                <a:close/>
                <a:moveTo>
                  <a:pt x="1893916" y="544546"/>
                </a:moveTo>
                <a:lnTo>
                  <a:pt x="1952655" y="544546"/>
                </a:lnTo>
                <a:lnTo>
                  <a:pt x="1952655" y="603277"/>
                </a:lnTo>
                <a:lnTo>
                  <a:pt x="1893916" y="603277"/>
                </a:lnTo>
                <a:close/>
                <a:moveTo>
                  <a:pt x="2289223" y="544546"/>
                </a:moveTo>
                <a:lnTo>
                  <a:pt x="2347965" y="544546"/>
                </a:lnTo>
                <a:lnTo>
                  <a:pt x="2347965" y="603276"/>
                </a:lnTo>
                <a:lnTo>
                  <a:pt x="2289223" y="603276"/>
                </a:lnTo>
                <a:close/>
                <a:moveTo>
                  <a:pt x="2209845" y="544546"/>
                </a:moveTo>
                <a:lnTo>
                  <a:pt x="2268586" y="544546"/>
                </a:lnTo>
                <a:lnTo>
                  <a:pt x="2268586" y="603276"/>
                </a:lnTo>
                <a:lnTo>
                  <a:pt x="2209845" y="603276"/>
                </a:lnTo>
                <a:close/>
                <a:moveTo>
                  <a:pt x="2132054" y="544546"/>
                </a:moveTo>
                <a:lnTo>
                  <a:pt x="2189212" y="544546"/>
                </a:lnTo>
                <a:lnTo>
                  <a:pt x="2189212" y="603277"/>
                </a:lnTo>
                <a:lnTo>
                  <a:pt x="2132054" y="603277"/>
                </a:lnTo>
                <a:close/>
                <a:moveTo>
                  <a:pt x="2368599" y="544546"/>
                </a:moveTo>
                <a:lnTo>
                  <a:pt x="2427335" y="544546"/>
                </a:lnTo>
                <a:lnTo>
                  <a:pt x="2427335" y="603276"/>
                </a:lnTo>
                <a:lnTo>
                  <a:pt x="2368599" y="603276"/>
                </a:lnTo>
                <a:close/>
                <a:moveTo>
                  <a:pt x="3078011" y="544546"/>
                </a:moveTo>
                <a:lnTo>
                  <a:pt x="3136749" y="544546"/>
                </a:lnTo>
                <a:lnTo>
                  <a:pt x="3136749" y="603276"/>
                </a:lnTo>
                <a:lnTo>
                  <a:pt x="3078011" y="603276"/>
                </a:lnTo>
                <a:close/>
                <a:moveTo>
                  <a:pt x="3000224" y="544546"/>
                </a:moveTo>
                <a:lnTo>
                  <a:pt x="3057374" y="544546"/>
                </a:lnTo>
                <a:lnTo>
                  <a:pt x="3057374" y="603276"/>
                </a:lnTo>
                <a:lnTo>
                  <a:pt x="3000224" y="603276"/>
                </a:lnTo>
                <a:close/>
                <a:moveTo>
                  <a:pt x="2920849" y="544546"/>
                </a:moveTo>
                <a:lnTo>
                  <a:pt x="2979587" y="544546"/>
                </a:lnTo>
                <a:lnTo>
                  <a:pt x="2979587" y="603276"/>
                </a:lnTo>
                <a:lnTo>
                  <a:pt x="2920849" y="603276"/>
                </a:lnTo>
                <a:close/>
                <a:moveTo>
                  <a:pt x="3314549" y="544545"/>
                </a:moveTo>
                <a:lnTo>
                  <a:pt x="3373287" y="544545"/>
                </a:lnTo>
                <a:lnTo>
                  <a:pt x="3373287" y="603275"/>
                </a:lnTo>
                <a:lnTo>
                  <a:pt x="3314549" y="603275"/>
                </a:lnTo>
                <a:close/>
                <a:moveTo>
                  <a:pt x="3236761" y="544545"/>
                </a:moveTo>
                <a:lnTo>
                  <a:pt x="3293911" y="544545"/>
                </a:lnTo>
                <a:lnTo>
                  <a:pt x="3293911" y="603275"/>
                </a:lnTo>
                <a:lnTo>
                  <a:pt x="3236761" y="603275"/>
                </a:lnTo>
                <a:close/>
                <a:moveTo>
                  <a:pt x="3157386" y="544545"/>
                </a:moveTo>
                <a:lnTo>
                  <a:pt x="3216124" y="544545"/>
                </a:lnTo>
                <a:lnTo>
                  <a:pt x="3216124" y="603276"/>
                </a:lnTo>
                <a:lnTo>
                  <a:pt x="3157386" y="603276"/>
                </a:lnTo>
                <a:close/>
                <a:moveTo>
                  <a:pt x="3393924" y="544545"/>
                </a:moveTo>
                <a:lnTo>
                  <a:pt x="3452662" y="544545"/>
                </a:lnTo>
                <a:lnTo>
                  <a:pt x="3452662" y="603275"/>
                </a:lnTo>
                <a:lnTo>
                  <a:pt x="3393924" y="603275"/>
                </a:lnTo>
                <a:close/>
                <a:moveTo>
                  <a:pt x="3630461" y="544545"/>
                </a:moveTo>
                <a:lnTo>
                  <a:pt x="3689199" y="544545"/>
                </a:lnTo>
                <a:lnTo>
                  <a:pt x="3689199" y="603275"/>
                </a:lnTo>
                <a:lnTo>
                  <a:pt x="3630461" y="603275"/>
                </a:lnTo>
                <a:close/>
                <a:moveTo>
                  <a:pt x="3552674" y="544545"/>
                </a:moveTo>
                <a:lnTo>
                  <a:pt x="3609824" y="544545"/>
                </a:lnTo>
                <a:lnTo>
                  <a:pt x="3609824" y="603275"/>
                </a:lnTo>
                <a:lnTo>
                  <a:pt x="3552674" y="603275"/>
                </a:lnTo>
                <a:close/>
                <a:moveTo>
                  <a:pt x="3473299" y="544545"/>
                </a:moveTo>
                <a:lnTo>
                  <a:pt x="3532037" y="544545"/>
                </a:lnTo>
                <a:lnTo>
                  <a:pt x="3532037" y="603275"/>
                </a:lnTo>
                <a:lnTo>
                  <a:pt x="3473299" y="603275"/>
                </a:lnTo>
                <a:close/>
                <a:moveTo>
                  <a:pt x="7815111" y="466789"/>
                </a:moveTo>
                <a:lnTo>
                  <a:pt x="7873849" y="466789"/>
                </a:lnTo>
                <a:lnTo>
                  <a:pt x="7873849" y="525519"/>
                </a:lnTo>
                <a:lnTo>
                  <a:pt x="7815111" y="525519"/>
                </a:lnTo>
                <a:close/>
                <a:moveTo>
                  <a:pt x="7735736" y="466789"/>
                </a:moveTo>
                <a:lnTo>
                  <a:pt x="7794474" y="466789"/>
                </a:lnTo>
                <a:lnTo>
                  <a:pt x="7794474" y="525519"/>
                </a:lnTo>
                <a:lnTo>
                  <a:pt x="7735736" y="525519"/>
                </a:lnTo>
                <a:close/>
                <a:moveTo>
                  <a:pt x="7419824" y="466789"/>
                </a:moveTo>
                <a:lnTo>
                  <a:pt x="7478562" y="466789"/>
                </a:lnTo>
                <a:lnTo>
                  <a:pt x="7478562" y="525519"/>
                </a:lnTo>
                <a:lnTo>
                  <a:pt x="7419824" y="525519"/>
                </a:lnTo>
                <a:close/>
                <a:moveTo>
                  <a:pt x="7342036" y="466789"/>
                </a:moveTo>
                <a:lnTo>
                  <a:pt x="7400774" y="466789"/>
                </a:lnTo>
                <a:lnTo>
                  <a:pt x="7400774" y="525519"/>
                </a:lnTo>
                <a:lnTo>
                  <a:pt x="7342036" y="525519"/>
                </a:lnTo>
                <a:close/>
                <a:moveTo>
                  <a:pt x="7105499" y="466789"/>
                </a:moveTo>
                <a:lnTo>
                  <a:pt x="7162649" y="466789"/>
                </a:lnTo>
                <a:lnTo>
                  <a:pt x="7162649" y="525519"/>
                </a:lnTo>
                <a:lnTo>
                  <a:pt x="7105499" y="525519"/>
                </a:lnTo>
                <a:close/>
                <a:moveTo>
                  <a:pt x="7026124" y="466789"/>
                </a:moveTo>
                <a:lnTo>
                  <a:pt x="7084862" y="466789"/>
                </a:lnTo>
                <a:lnTo>
                  <a:pt x="7084862" y="525519"/>
                </a:lnTo>
                <a:lnTo>
                  <a:pt x="7026124" y="525519"/>
                </a:lnTo>
                <a:close/>
                <a:moveTo>
                  <a:pt x="6946749" y="466789"/>
                </a:moveTo>
                <a:lnTo>
                  <a:pt x="7005487" y="466789"/>
                </a:lnTo>
                <a:lnTo>
                  <a:pt x="7005487" y="525519"/>
                </a:lnTo>
                <a:lnTo>
                  <a:pt x="6946749" y="525519"/>
                </a:lnTo>
                <a:close/>
                <a:moveTo>
                  <a:pt x="6867374" y="466789"/>
                </a:moveTo>
                <a:lnTo>
                  <a:pt x="6926112" y="466789"/>
                </a:lnTo>
                <a:lnTo>
                  <a:pt x="6926112" y="525519"/>
                </a:lnTo>
                <a:lnTo>
                  <a:pt x="6867374" y="525519"/>
                </a:lnTo>
                <a:close/>
                <a:moveTo>
                  <a:pt x="6789586" y="466789"/>
                </a:moveTo>
                <a:lnTo>
                  <a:pt x="6846736" y="466789"/>
                </a:lnTo>
                <a:lnTo>
                  <a:pt x="6846736" y="525519"/>
                </a:lnTo>
                <a:lnTo>
                  <a:pt x="6789586" y="525519"/>
                </a:lnTo>
                <a:close/>
                <a:moveTo>
                  <a:pt x="6710211" y="466789"/>
                </a:moveTo>
                <a:lnTo>
                  <a:pt x="6768949" y="466789"/>
                </a:lnTo>
                <a:lnTo>
                  <a:pt x="6768949" y="525519"/>
                </a:lnTo>
                <a:lnTo>
                  <a:pt x="6710211" y="525519"/>
                </a:lnTo>
                <a:close/>
                <a:moveTo>
                  <a:pt x="6630836" y="466789"/>
                </a:moveTo>
                <a:lnTo>
                  <a:pt x="6689574" y="466789"/>
                </a:lnTo>
                <a:lnTo>
                  <a:pt x="6689574" y="525519"/>
                </a:lnTo>
                <a:lnTo>
                  <a:pt x="6630836" y="525519"/>
                </a:lnTo>
                <a:close/>
                <a:moveTo>
                  <a:pt x="6551461" y="466789"/>
                </a:moveTo>
                <a:lnTo>
                  <a:pt x="6610199" y="466789"/>
                </a:lnTo>
                <a:lnTo>
                  <a:pt x="6610199" y="525519"/>
                </a:lnTo>
                <a:lnTo>
                  <a:pt x="6551461" y="525519"/>
                </a:lnTo>
                <a:close/>
                <a:moveTo>
                  <a:pt x="6473674" y="466789"/>
                </a:moveTo>
                <a:lnTo>
                  <a:pt x="6530824" y="466789"/>
                </a:lnTo>
                <a:lnTo>
                  <a:pt x="6530824" y="525519"/>
                </a:lnTo>
                <a:lnTo>
                  <a:pt x="6473674" y="525519"/>
                </a:lnTo>
                <a:close/>
                <a:moveTo>
                  <a:pt x="6394299" y="466789"/>
                </a:moveTo>
                <a:lnTo>
                  <a:pt x="6453037" y="466789"/>
                </a:lnTo>
                <a:lnTo>
                  <a:pt x="6453037" y="525519"/>
                </a:lnTo>
                <a:lnTo>
                  <a:pt x="6394299" y="525519"/>
                </a:lnTo>
                <a:close/>
                <a:moveTo>
                  <a:pt x="6314924" y="466789"/>
                </a:moveTo>
                <a:lnTo>
                  <a:pt x="6373662" y="466789"/>
                </a:lnTo>
                <a:lnTo>
                  <a:pt x="6373662" y="525519"/>
                </a:lnTo>
                <a:lnTo>
                  <a:pt x="6314924" y="525519"/>
                </a:lnTo>
                <a:close/>
                <a:moveTo>
                  <a:pt x="5684686" y="466789"/>
                </a:moveTo>
                <a:lnTo>
                  <a:pt x="5741836" y="466789"/>
                </a:lnTo>
                <a:lnTo>
                  <a:pt x="5741836" y="525519"/>
                </a:lnTo>
                <a:lnTo>
                  <a:pt x="5684686" y="525519"/>
                </a:lnTo>
                <a:close/>
                <a:moveTo>
                  <a:pt x="5605311" y="466789"/>
                </a:moveTo>
                <a:lnTo>
                  <a:pt x="5664049" y="466789"/>
                </a:lnTo>
                <a:lnTo>
                  <a:pt x="5664049" y="525519"/>
                </a:lnTo>
                <a:lnTo>
                  <a:pt x="5605311" y="525519"/>
                </a:lnTo>
                <a:close/>
                <a:moveTo>
                  <a:pt x="1184322" y="466773"/>
                </a:moveTo>
                <a:lnTo>
                  <a:pt x="1243051" y="466773"/>
                </a:lnTo>
                <a:lnTo>
                  <a:pt x="1243051" y="525503"/>
                </a:lnTo>
                <a:lnTo>
                  <a:pt x="1184322" y="525503"/>
                </a:lnTo>
                <a:close/>
                <a:moveTo>
                  <a:pt x="1263689" y="466773"/>
                </a:moveTo>
                <a:lnTo>
                  <a:pt x="1320857" y="466773"/>
                </a:lnTo>
                <a:lnTo>
                  <a:pt x="1320857" y="525503"/>
                </a:lnTo>
                <a:lnTo>
                  <a:pt x="1263689" y="525503"/>
                </a:lnTo>
                <a:close/>
                <a:moveTo>
                  <a:pt x="1736782" y="466773"/>
                </a:moveTo>
                <a:lnTo>
                  <a:pt x="1795522" y="466773"/>
                </a:lnTo>
                <a:lnTo>
                  <a:pt x="1795522" y="525502"/>
                </a:lnTo>
                <a:lnTo>
                  <a:pt x="1736782" y="525502"/>
                </a:lnTo>
                <a:close/>
                <a:moveTo>
                  <a:pt x="1578016" y="466773"/>
                </a:moveTo>
                <a:lnTo>
                  <a:pt x="1636764" y="466773"/>
                </a:lnTo>
                <a:lnTo>
                  <a:pt x="1636764" y="525503"/>
                </a:lnTo>
                <a:lnTo>
                  <a:pt x="1578016" y="525503"/>
                </a:lnTo>
                <a:close/>
                <a:moveTo>
                  <a:pt x="1341506" y="466773"/>
                </a:moveTo>
                <a:lnTo>
                  <a:pt x="1400224" y="466773"/>
                </a:lnTo>
                <a:lnTo>
                  <a:pt x="1400224" y="525503"/>
                </a:lnTo>
                <a:lnTo>
                  <a:pt x="1341506" y="525503"/>
                </a:lnTo>
                <a:close/>
                <a:moveTo>
                  <a:pt x="1973295" y="466772"/>
                </a:moveTo>
                <a:lnTo>
                  <a:pt x="2032043" y="466772"/>
                </a:lnTo>
                <a:lnTo>
                  <a:pt x="2032043" y="525502"/>
                </a:lnTo>
                <a:lnTo>
                  <a:pt x="1973295" y="525502"/>
                </a:lnTo>
                <a:close/>
                <a:moveTo>
                  <a:pt x="1893916" y="466772"/>
                </a:moveTo>
                <a:lnTo>
                  <a:pt x="1952655" y="466772"/>
                </a:lnTo>
                <a:lnTo>
                  <a:pt x="1952655" y="525502"/>
                </a:lnTo>
                <a:lnTo>
                  <a:pt x="1893916" y="525502"/>
                </a:lnTo>
                <a:close/>
                <a:moveTo>
                  <a:pt x="1816156" y="466772"/>
                </a:moveTo>
                <a:lnTo>
                  <a:pt x="1873288" y="466772"/>
                </a:lnTo>
                <a:lnTo>
                  <a:pt x="1873288" y="525502"/>
                </a:lnTo>
                <a:lnTo>
                  <a:pt x="1816156" y="525502"/>
                </a:lnTo>
                <a:close/>
                <a:moveTo>
                  <a:pt x="2289223" y="466772"/>
                </a:moveTo>
                <a:lnTo>
                  <a:pt x="2347967" y="466772"/>
                </a:lnTo>
                <a:lnTo>
                  <a:pt x="2347967" y="525502"/>
                </a:lnTo>
                <a:lnTo>
                  <a:pt x="2289223" y="525502"/>
                </a:lnTo>
                <a:close/>
                <a:moveTo>
                  <a:pt x="3157386" y="466771"/>
                </a:moveTo>
                <a:lnTo>
                  <a:pt x="3216124" y="466771"/>
                </a:lnTo>
                <a:lnTo>
                  <a:pt x="3216124" y="525502"/>
                </a:lnTo>
                <a:lnTo>
                  <a:pt x="3157386" y="525502"/>
                </a:lnTo>
                <a:close/>
                <a:moveTo>
                  <a:pt x="3078011" y="466771"/>
                </a:moveTo>
                <a:lnTo>
                  <a:pt x="3136749" y="466771"/>
                </a:lnTo>
                <a:lnTo>
                  <a:pt x="3136749" y="525502"/>
                </a:lnTo>
                <a:lnTo>
                  <a:pt x="3078011" y="525502"/>
                </a:lnTo>
                <a:close/>
                <a:moveTo>
                  <a:pt x="3000224" y="466771"/>
                </a:moveTo>
                <a:lnTo>
                  <a:pt x="3057374" y="466771"/>
                </a:lnTo>
                <a:lnTo>
                  <a:pt x="3057374" y="525502"/>
                </a:lnTo>
                <a:lnTo>
                  <a:pt x="3000224" y="525502"/>
                </a:lnTo>
                <a:close/>
                <a:moveTo>
                  <a:pt x="2920849" y="466771"/>
                </a:moveTo>
                <a:lnTo>
                  <a:pt x="2979587" y="466771"/>
                </a:lnTo>
                <a:lnTo>
                  <a:pt x="2979587" y="525502"/>
                </a:lnTo>
                <a:lnTo>
                  <a:pt x="2920849" y="525502"/>
                </a:lnTo>
                <a:close/>
                <a:moveTo>
                  <a:pt x="3709836" y="466771"/>
                </a:moveTo>
                <a:lnTo>
                  <a:pt x="3768574" y="466771"/>
                </a:lnTo>
                <a:lnTo>
                  <a:pt x="3768574" y="525501"/>
                </a:lnTo>
                <a:lnTo>
                  <a:pt x="3709836" y="525501"/>
                </a:lnTo>
                <a:close/>
                <a:moveTo>
                  <a:pt x="3630461" y="466771"/>
                </a:moveTo>
                <a:lnTo>
                  <a:pt x="3689199" y="466771"/>
                </a:lnTo>
                <a:lnTo>
                  <a:pt x="3689199" y="525501"/>
                </a:lnTo>
                <a:lnTo>
                  <a:pt x="3630461" y="525501"/>
                </a:lnTo>
                <a:close/>
                <a:moveTo>
                  <a:pt x="3552674" y="466771"/>
                </a:moveTo>
                <a:lnTo>
                  <a:pt x="3609824" y="466771"/>
                </a:lnTo>
                <a:lnTo>
                  <a:pt x="3609824" y="525501"/>
                </a:lnTo>
                <a:lnTo>
                  <a:pt x="3552674" y="525501"/>
                </a:lnTo>
                <a:close/>
                <a:moveTo>
                  <a:pt x="3473299" y="466771"/>
                </a:moveTo>
                <a:lnTo>
                  <a:pt x="3532037" y="466771"/>
                </a:lnTo>
                <a:lnTo>
                  <a:pt x="3532037" y="525501"/>
                </a:lnTo>
                <a:lnTo>
                  <a:pt x="3473299" y="525501"/>
                </a:lnTo>
                <a:close/>
                <a:moveTo>
                  <a:pt x="3393924" y="466771"/>
                </a:moveTo>
                <a:lnTo>
                  <a:pt x="3452662" y="466771"/>
                </a:lnTo>
                <a:lnTo>
                  <a:pt x="3452662" y="525501"/>
                </a:lnTo>
                <a:lnTo>
                  <a:pt x="3393924" y="525501"/>
                </a:lnTo>
                <a:close/>
                <a:moveTo>
                  <a:pt x="3314549" y="466771"/>
                </a:moveTo>
                <a:lnTo>
                  <a:pt x="3373287" y="466771"/>
                </a:lnTo>
                <a:lnTo>
                  <a:pt x="3373287" y="525501"/>
                </a:lnTo>
                <a:lnTo>
                  <a:pt x="3314549" y="525501"/>
                </a:lnTo>
                <a:close/>
                <a:moveTo>
                  <a:pt x="3236761" y="466771"/>
                </a:moveTo>
                <a:lnTo>
                  <a:pt x="3293911" y="466771"/>
                </a:lnTo>
                <a:lnTo>
                  <a:pt x="3293911" y="525501"/>
                </a:lnTo>
                <a:lnTo>
                  <a:pt x="3236761" y="525501"/>
                </a:lnTo>
                <a:close/>
                <a:moveTo>
                  <a:pt x="7973861" y="389004"/>
                </a:moveTo>
                <a:lnTo>
                  <a:pt x="8031011" y="389004"/>
                </a:lnTo>
                <a:lnTo>
                  <a:pt x="8031011" y="447741"/>
                </a:lnTo>
                <a:lnTo>
                  <a:pt x="7973861" y="447741"/>
                </a:lnTo>
                <a:close/>
                <a:moveTo>
                  <a:pt x="7894486" y="389004"/>
                </a:moveTo>
                <a:lnTo>
                  <a:pt x="7951636" y="389004"/>
                </a:lnTo>
                <a:lnTo>
                  <a:pt x="7951636" y="447741"/>
                </a:lnTo>
                <a:lnTo>
                  <a:pt x="7894486" y="447741"/>
                </a:lnTo>
                <a:close/>
                <a:moveTo>
                  <a:pt x="7815111" y="389004"/>
                </a:moveTo>
                <a:lnTo>
                  <a:pt x="7873849" y="389004"/>
                </a:lnTo>
                <a:lnTo>
                  <a:pt x="7873849" y="447741"/>
                </a:lnTo>
                <a:lnTo>
                  <a:pt x="7815111" y="447741"/>
                </a:lnTo>
                <a:close/>
                <a:moveTo>
                  <a:pt x="7735736" y="389004"/>
                </a:moveTo>
                <a:lnTo>
                  <a:pt x="7794474" y="389004"/>
                </a:lnTo>
                <a:lnTo>
                  <a:pt x="7794474" y="447741"/>
                </a:lnTo>
                <a:lnTo>
                  <a:pt x="7735736" y="447741"/>
                </a:lnTo>
                <a:close/>
                <a:moveTo>
                  <a:pt x="7657949" y="389004"/>
                </a:moveTo>
                <a:lnTo>
                  <a:pt x="7715099" y="389004"/>
                </a:lnTo>
                <a:lnTo>
                  <a:pt x="7715099" y="447741"/>
                </a:lnTo>
                <a:lnTo>
                  <a:pt x="7657949" y="447741"/>
                </a:lnTo>
                <a:close/>
                <a:moveTo>
                  <a:pt x="7026124" y="389004"/>
                </a:moveTo>
                <a:lnTo>
                  <a:pt x="7084862" y="389004"/>
                </a:lnTo>
                <a:lnTo>
                  <a:pt x="7084862" y="447741"/>
                </a:lnTo>
                <a:lnTo>
                  <a:pt x="7026124" y="447741"/>
                </a:lnTo>
                <a:close/>
                <a:moveTo>
                  <a:pt x="6946749" y="389004"/>
                </a:moveTo>
                <a:lnTo>
                  <a:pt x="7005487" y="389004"/>
                </a:lnTo>
                <a:lnTo>
                  <a:pt x="7005487" y="447741"/>
                </a:lnTo>
                <a:lnTo>
                  <a:pt x="6946749" y="447741"/>
                </a:lnTo>
                <a:close/>
                <a:moveTo>
                  <a:pt x="6867374" y="389004"/>
                </a:moveTo>
                <a:lnTo>
                  <a:pt x="6926112" y="389004"/>
                </a:lnTo>
                <a:lnTo>
                  <a:pt x="6926112" y="447741"/>
                </a:lnTo>
                <a:lnTo>
                  <a:pt x="6867374" y="447741"/>
                </a:lnTo>
                <a:close/>
                <a:moveTo>
                  <a:pt x="6789586" y="389004"/>
                </a:moveTo>
                <a:lnTo>
                  <a:pt x="6846736" y="389004"/>
                </a:lnTo>
                <a:lnTo>
                  <a:pt x="6846736" y="447741"/>
                </a:lnTo>
                <a:lnTo>
                  <a:pt x="6789586" y="447741"/>
                </a:lnTo>
                <a:close/>
                <a:moveTo>
                  <a:pt x="6710211" y="389004"/>
                </a:moveTo>
                <a:lnTo>
                  <a:pt x="6768949" y="389004"/>
                </a:lnTo>
                <a:lnTo>
                  <a:pt x="6768949" y="447741"/>
                </a:lnTo>
                <a:lnTo>
                  <a:pt x="6710211" y="447741"/>
                </a:lnTo>
                <a:close/>
                <a:moveTo>
                  <a:pt x="6630836" y="389004"/>
                </a:moveTo>
                <a:lnTo>
                  <a:pt x="6689574" y="389004"/>
                </a:lnTo>
                <a:lnTo>
                  <a:pt x="6689574" y="447741"/>
                </a:lnTo>
                <a:lnTo>
                  <a:pt x="6630836" y="447741"/>
                </a:lnTo>
                <a:close/>
                <a:moveTo>
                  <a:pt x="6551461" y="389004"/>
                </a:moveTo>
                <a:lnTo>
                  <a:pt x="6610199" y="389004"/>
                </a:lnTo>
                <a:lnTo>
                  <a:pt x="6610199" y="447741"/>
                </a:lnTo>
                <a:lnTo>
                  <a:pt x="6551461" y="447741"/>
                </a:lnTo>
                <a:close/>
                <a:moveTo>
                  <a:pt x="6473674" y="389004"/>
                </a:moveTo>
                <a:lnTo>
                  <a:pt x="6530824" y="389004"/>
                </a:lnTo>
                <a:lnTo>
                  <a:pt x="6530824" y="447741"/>
                </a:lnTo>
                <a:lnTo>
                  <a:pt x="6473674" y="447741"/>
                </a:lnTo>
                <a:close/>
                <a:moveTo>
                  <a:pt x="6314924" y="389004"/>
                </a:moveTo>
                <a:lnTo>
                  <a:pt x="6373662" y="389004"/>
                </a:lnTo>
                <a:lnTo>
                  <a:pt x="6373662" y="447741"/>
                </a:lnTo>
                <a:lnTo>
                  <a:pt x="6314924" y="447741"/>
                </a:lnTo>
                <a:close/>
                <a:moveTo>
                  <a:pt x="5841849" y="389004"/>
                </a:moveTo>
                <a:lnTo>
                  <a:pt x="5900587" y="389004"/>
                </a:lnTo>
                <a:lnTo>
                  <a:pt x="5900587" y="447741"/>
                </a:lnTo>
                <a:lnTo>
                  <a:pt x="5841849" y="447741"/>
                </a:lnTo>
                <a:close/>
                <a:moveTo>
                  <a:pt x="5762474" y="389004"/>
                </a:moveTo>
                <a:lnTo>
                  <a:pt x="5821212" y="389004"/>
                </a:lnTo>
                <a:lnTo>
                  <a:pt x="5821212" y="447741"/>
                </a:lnTo>
                <a:lnTo>
                  <a:pt x="5762474" y="447741"/>
                </a:lnTo>
                <a:close/>
                <a:moveTo>
                  <a:pt x="1420849" y="388988"/>
                </a:moveTo>
                <a:lnTo>
                  <a:pt x="1479583" y="388988"/>
                </a:lnTo>
                <a:lnTo>
                  <a:pt x="1479583" y="447726"/>
                </a:lnTo>
                <a:lnTo>
                  <a:pt x="1420849" y="447726"/>
                </a:lnTo>
                <a:close/>
                <a:moveTo>
                  <a:pt x="1263696" y="388988"/>
                </a:moveTo>
                <a:lnTo>
                  <a:pt x="1320862" y="388988"/>
                </a:lnTo>
                <a:lnTo>
                  <a:pt x="1320862" y="447726"/>
                </a:lnTo>
                <a:lnTo>
                  <a:pt x="1263696" y="447726"/>
                </a:lnTo>
                <a:close/>
                <a:moveTo>
                  <a:pt x="1973295" y="388988"/>
                </a:moveTo>
                <a:lnTo>
                  <a:pt x="2032043" y="388988"/>
                </a:lnTo>
                <a:lnTo>
                  <a:pt x="2032043" y="447726"/>
                </a:lnTo>
                <a:lnTo>
                  <a:pt x="1973295" y="447726"/>
                </a:lnTo>
                <a:close/>
                <a:moveTo>
                  <a:pt x="1893916" y="388988"/>
                </a:moveTo>
                <a:lnTo>
                  <a:pt x="1952655" y="388988"/>
                </a:lnTo>
                <a:lnTo>
                  <a:pt x="1952655" y="447726"/>
                </a:lnTo>
                <a:lnTo>
                  <a:pt x="1893916" y="447726"/>
                </a:lnTo>
                <a:close/>
                <a:moveTo>
                  <a:pt x="1736782" y="388988"/>
                </a:moveTo>
                <a:lnTo>
                  <a:pt x="1795527" y="388988"/>
                </a:lnTo>
                <a:lnTo>
                  <a:pt x="1795527" y="447726"/>
                </a:lnTo>
                <a:lnTo>
                  <a:pt x="1736782" y="447726"/>
                </a:lnTo>
                <a:close/>
                <a:moveTo>
                  <a:pt x="1657403" y="388988"/>
                </a:moveTo>
                <a:lnTo>
                  <a:pt x="1716147" y="388988"/>
                </a:lnTo>
                <a:lnTo>
                  <a:pt x="1716147" y="447726"/>
                </a:lnTo>
                <a:lnTo>
                  <a:pt x="1657403" y="447726"/>
                </a:lnTo>
                <a:close/>
                <a:moveTo>
                  <a:pt x="1578016" y="388988"/>
                </a:moveTo>
                <a:lnTo>
                  <a:pt x="1636768" y="388988"/>
                </a:lnTo>
                <a:lnTo>
                  <a:pt x="1636768" y="447726"/>
                </a:lnTo>
                <a:lnTo>
                  <a:pt x="1578016" y="447726"/>
                </a:lnTo>
                <a:close/>
                <a:moveTo>
                  <a:pt x="1500228" y="388988"/>
                </a:moveTo>
                <a:lnTo>
                  <a:pt x="1558974" y="388988"/>
                </a:lnTo>
                <a:lnTo>
                  <a:pt x="1558974" y="447726"/>
                </a:lnTo>
                <a:lnTo>
                  <a:pt x="1500228" y="447726"/>
                </a:lnTo>
                <a:close/>
                <a:moveTo>
                  <a:pt x="2841474" y="388988"/>
                </a:moveTo>
                <a:lnTo>
                  <a:pt x="2900212" y="388988"/>
                </a:lnTo>
                <a:lnTo>
                  <a:pt x="2900212" y="447725"/>
                </a:lnTo>
                <a:lnTo>
                  <a:pt x="2841474" y="447725"/>
                </a:lnTo>
                <a:close/>
                <a:moveTo>
                  <a:pt x="2209846" y="388988"/>
                </a:moveTo>
                <a:lnTo>
                  <a:pt x="2268586" y="388988"/>
                </a:lnTo>
                <a:lnTo>
                  <a:pt x="2268586" y="447725"/>
                </a:lnTo>
                <a:lnTo>
                  <a:pt x="2209846" y="447725"/>
                </a:lnTo>
                <a:close/>
                <a:moveTo>
                  <a:pt x="2132054" y="388988"/>
                </a:moveTo>
                <a:lnTo>
                  <a:pt x="2189215" y="388988"/>
                </a:lnTo>
                <a:lnTo>
                  <a:pt x="2189215" y="447725"/>
                </a:lnTo>
                <a:lnTo>
                  <a:pt x="2132054" y="447725"/>
                </a:lnTo>
                <a:close/>
                <a:moveTo>
                  <a:pt x="2052678" y="388988"/>
                </a:moveTo>
                <a:lnTo>
                  <a:pt x="2111420" y="388988"/>
                </a:lnTo>
                <a:lnTo>
                  <a:pt x="2111420" y="447725"/>
                </a:lnTo>
                <a:lnTo>
                  <a:pt x="2052678" y="447725"/>
                </a:lnTo>
                <a:close/>
                <a:moveTo>
                  <a:pt x="3157386" y="388987"/>
                </a:moveTo>
                <a:lnTo>
                  <a:pt x="3216124" y="388987"/>
                </a:lnTo>
                <a:lnTo>
                  <a:pt x="3216124" y="447725"/>
                </a:lnTo>
                <a:lnTo>
                  <a:pt x="3157386" y="447725"/>
                </a:lnTo>
                <a:close/>
                <a:moveTo>
                  <a:pt x="3078011" y="388987"/>
                </a:moveTo>
                <a:lnTo>
                  <a:pt x="3136749" y="388987"/>
                </a:lnTo>
                <a:lnTo>
                  <a:pt x="3136749" y="447725"/>
                </a:lnTo>
                <a:lnTo>
                  <a:pt x="3078011" y="447725"/>
                </a:lnTo>
                <a:close/>
                <a:moveTo>
                  <a:pt x="3000224" y="388987"/>
                </a:moveTo>
                <a:lnTo>
                  <a:pt x="3057374" y="388987"/>
                </a:lnTo>
                <a:lnTo>
                  <a:pt x="3057374" y="447725"/>
                </a:lnTo>
                <a:lnTo>
                  <a:pt x="3000224" y="447725"/>
                </a:lnTo>
                <a:close/>
                <a:moveTo>
                  <a:pt x="3473299" y="388987"/>
                </a:moveTo>
                <a:lnTo>
                  <a:pt x="3532037" y="388987"/>
                </a:lnTo>
                <a:lnTo>
                  <a:pt x="3532037" y="447724"/>
                </a:lnTo>
                <a:lnTo>
                  <a:pt x="3473299" y="447724"/>
                </a:lnTo>
                <a:close/>
                <a:moveTo>
                  <a:pt x="3393924" y="388987"/>
                </a:moveTo>
                <a:lnTo>
                  <a:pt x="3452662" y="388987"/>
                </a:lnTo>
                <a:lnTo>
                  <a:pt x="3452662" y="447724"/>
                </a:lnTo>
                <a:lnTo>
                  <a:pt x="3393924" y="447724"/>
                </a:lnTo>
                <a:close/>
                <a:moveTo>
                  <a:pt x="3314549" y="388987"/>
                </a:moveTo>
                <a:lnTo>
                  <a:pt x="3373287" y="388987"/>
                </a:lnTo>
                <a:lnTo>
                  <a:pt x="3373287" y="447724"/>
                </a:lnTo>
                <a:lnTo>
                  <a:pt x="3314549" y="447724"/>
                </a:lnTo>
                <a:close/>
                <a:moveTo>
                  <a:pt x="3236761" y="388987"/>
                </a:moveTo>
                <a:lnTo>
                  <a:pt x="3293911" y="388987"/>
                </a:lnTo>
                <a:lnTo>
                  <a:pt x="3293911" y="447725"/>
                </a:lnTo>
                <a:lnTo>
                  <a:pt x="3236761" y="447725"/>
                </a:lnTo>
                <a:close/>
                <a:moveTo>
                  <a:pt x="3709836" y="388986"/>
                </a:moveTo>
                <a:lnTo>
                  <a:pt x="3768574" y="388986"/>
                </a:lnTo>
                <a:lnTo>
                  <a:pt x="3768574" y="447724"/>
                </a:lnTo>
                <a:lnTo>
                  <a:pt x="3709836" y="447724"/>
                </a:lnTo>
                <a:close/>
                <a:moveTo>
                  <a:pt x="3630461" y="388986"/>
                </a:moveTo>
                <a:lnTo>
                  <a:pt x="3689199" y="388986"/>
                </a:lnTo>
                <a:lnTo>
                  <a:pt x="3689199" y="447724"/>
                </a:lnTo>
                <a:lnTo>
                  <a:pt x="3630461" y="447724"/>
                </a:lnTo>
                <a:close/>
                <a:moveTo>
                  <a:pt x="3552674" y="388986"/>
                </a:moveTo>
                <a:lnTo>
                  <a:pt x="3609824" y="388986"/>
                </a:lnTo>
                <a:lnTo>
                  <a:pt x="3609824" y="447724"/>
                </a:lnTo>
                <a:lnTo>
                  <a:pt x="3552674" y="447724"/>
                </a:lnTo>
                <a:close/>
                <a:moveTo>
                  <a:pt x="4736949" y="388986"/>
                </a:moveTo>
                <a:lnTo>
                  <a:pt x="4794099" y="388986"/>
                </a:lnTo>
                <a:lnTo>
                  <a:pt x="4794099" y="447724"/>
                </a:lnTo>
                <a:lnTo>
                  <a:pt x="4736949" y="447724"/>
                </a:lnTo>
                <a:close/>
                <a:moveTo>
                  <a:pt x="3789211" y="388986"/>
                </a:moveTo>
                <a:lnTo>
                  <a:pt x="3847949" y="388986"/>
                </a:lnTo>
                <a:lnTo>
                  <a:pt x="3847949" y="447724"/>
                </a:lnTo>
                <a:lnTo>
                  <a:pt x="3789211" y="447724"/>
                </a:lnTo>
                <a:close/>
                <a:moveTo>
                  <a:pt x="8051649" y="311214"/>
                </a:moveTo>
                <a:lnTo>
                  <a:pt x="8110387" y="311214"/>
                </a:lnTo>
                <a:lnTo>
                  <a:pt x="8110387" y="369949"/>
                </a:lnTo>
                <a:lnTo>
                  <a:pt x="8051649" y="369949"/>
                </a:lnTo>
                <a:close/>
                <a:moveTo>
                  <a:pt x="6867374" y="311214"/>
                </a:moveTo>
                <a:lnTo>
                  <a:pt x="6926112" y="311214"/>
                </a:lnTo>
                <a:lnTo>
                  <a:pt x="6926112" y="369949"/>
                </a:lnTo>
                <a:lnTo>
                  <a:pt x="6867374" y="369949"/>
                </a:lnTo>
                <a:close/>
                <a:moveTo>
                  <a:pt x="6789586" y="311214"/>
                </a:moveTo>
                <a:lnTo>
                  <a:pt x="6846736" y="311214"/>
                </a:lnTo>
                <a:lnTo>
                  <a:pt x="6846736" y="369949"/>
                </a:lnTo>
                <a:lnTo>
                  <a:pt x="6789586" y="369949"/>
                </a:lnTo>
                <a:close/>
                <a:moveTo>
                  <a:pt x="5921224" y="311214"/>
                </a:moveTo>
                <a:lnTo>
                  <a:pt x="5978374" y="311214"/>
                </a:lnTo>
                <a:lnTo>
                  <a:pt x="5978374" y="369949"/>
                </a:lnTo>
                <a:lnTo>
                  <a:pt x="5921224" y="369949"/>
                </a:lnTo>
                <a:close/>
                <a:moveTo>
                  <a:pt x="2209846" y="311203"/>
                </a:moveTo>
                <a:lnTo>
                  <a:pt x="2268588" y="311203"/>
                </a:lnTo>
                <a:lnTo>
                  <a:pt x="2268588" y="369937"/>
                </a:lnTo>
                <a:lnTo>
                  <a:pt x="2209846" y="369937"/>
                </a:lnTo>
                <a:close/>
                <a:moveTo>
                  <a:pt x="2132057" y="311203"/>
                </a:moveTo>
                <a:lnTo>
                  <a:pt x="2189215" y="311203"/>
                </a:lnTo>
                <a:lnTo>
                  <a:pt x="2189215" y="369937"/>
                </a:lnTo>
                <a:lnTo>
                  <a:pt x="2132057" y="369937"/>
                </a:lnTo>
                <a:close/>
                <a:moveTo>
                  <a:pt x="2052678" y="311203"/>
                </a:moveTo>
                <a:lnTo>
                  <a:pt x="2111423" y="311203"/>
                </a:lnTo>
                <a:lnTo>
                  <a:pt x="2111423" y="369937"/>
                </a:lnTo>
                <a:lnTo>
                  <a:pt x="2052678" y="369937"/>
                </a:lnTo>
                <a:close/>
                <a:moveTo>
                  <a:pt x="1893916" y="311203"/>
                </a:moveTo>
                <a:lnTo>
                  <a:pt x="1952655" y="311203"/>
                </a:lnTo>
                <a:lnTo>
                  <a:pt x="1952655" y="369937"/>
                </a:lnTo>
                <a:lnTo>
                  <a:pt x="1893916" y="369937"/>
                </a:lnTo>
                <a:close/>
                <a:moveTo>
                  <a:pt x="1420854" y="311203"/>
                </a:moveTo>
                <a:lnTo>
                  <a:pt x="1479589" y="311203"/>
                </a:lnTo>
                <a:lnTo>
                  <a:pt x="1479589" y="369937"/>
                </a:lnTo>
                <a:lnTo>
                  <a:pt x="1420854" y="369937"/>
                </a:lnTo>
                <a:close/>
                <a:moveTo>
                  <a:pt x="1341513" y="311203"/>
                </a:moveTo>
                <a:lnTo>
                  <a:pt x="1400233" y="311203"/>
                </a:lnTo>
                <a:lnTo>
                  <a:pt x="1400233" y="369937"/>
                </a:lnTo>
                <a:lnTo>
                  <a:pt x="1341513" y="369937"/>
                </a:lnTo>
                <a:close/>
                <a:moveTo>
                  <a:pt x="1263699" y="311203"/>
                </a:moveTo>
                <a:lnTo>
                  <a:pt x="1320862" y="311203"/>
                </a:lnTo>
                <a:lnTo>
                  <a:pt x="1320862" y="369937"/>
                </a:lnTo>
                <a:lnTo>
                  <a:pt x="1263699" y="369937"/>
                </a:lnTo>
                <a:close/>
                <a:moveTo>
                  <a:pt x="2763686" y="311202"/>
                </a:moveTo>
                <a:lnTo>
                  <a:pt x="2820836" y="311202"/>
                </a:lnTo>
                <a:lnTo>
                  <a:pt x="2820836" y="369937"/>
                </a:lnTo>
                <a:lnTo>
                  <a:pt x="2763686" y="369937"/>
                </a:lnTo>
                <a:close/>
                <a:moveTo>
                  <a:pt x="2684311" y="311202"/>
                </a:moveTo>
                <a:lnTo>
                  <a:pt x="2743049" y="311202"/>
                </a:lnTo>
                <a:lnTo>
                  <a:pt x="2743049" y="369937"/>
                </a:lnTo>
                <a:lnTo>
                  <a:pt x="2684311" y="369937"/>
                </a:lnTo>
                <a:close/>
                <a:moveTo>
                  <a:pt x="2604936" y="311202"/>
                </a:moveTo>
                <a:lnTo>
                  <a:pt x="2663674" y="311202"/>
                </a:lnTo>
                <a:lnTo>
                  <a:pt x="2663674" y="369937"/>
                </a:lnTo>
                <a:lnTo>
                  <a:pt x="2604936" y="369937"/>
                </a:lnTo>
                <a:close/>
                <a:moveTo>
                  <a:pt x="2525764" y="311202"/>
                </a:moveTo>
                <a:lnTo>
                  <a:pt x="2584501" y="311202"/>
                </a:lnTo>
                <a:lnTo>
                  <a:pt x="2584501" y="369937"/>
                </a:lnTo>
                <a:lnTo>
                  <a:pt x="2525764" y="369937"/>
                </a:lnTo>
                <a:close/>
                <a:moveTo>
                  <a:pt x="2289229" y="311202"/>
                </a:moveTo>
                <a:lnTo>
                  <a:pt x="2347967" y="311202"/>
                </a:lnTo>
                <a:lnTo>
                  <a:pt x="2347967" y="369937"/>
                </a:lnTo>
                <a:lnTo>
                  <a:pt x="2289229" y="369937"/>
                </a:lnTo>
                <a:close/>
                <a:moveTo>
                  <a:pt x="4657574" y="311201"/>
                </a:moveTo>
                <a:lnTo>
                  <a:pt x="4716312" y="311201"/>
                </a:lnTo>
                <a:lnTo>
                  <a:pt x="4716312" y="369934"/>
                </a:lnTo>
                <a:lnTo>
                  <a:pt x="4657574" y="369934"/>
                </a:lnTo>
                <a:close/>
                <a:moveTo>
                  <a:pt x="3709836" y="311201"/>
                </a:moveTo>
                <a:lnTo>
                  <a:pt x="3768574" y="311201"/>
                </a:lnTo>
                <a:lnTo>
                  <a:pt x="3768574" y="369934"/>
                </a:lnTo>
                <a:lnTo>
                  <a:pt x="3709836" y="369934"/>
                </a:lnTo>
                <a:close/>
                <a:moveTo>
                  <a:pt x="3630461" y="311201"/>
                </a:moveTo>
                <a:lnTo>
                  <a:pt x="3689199" y="311201"/>
                </a:lnTo>
                <a:lnTo>
                  <a:pt x="3689199" y="369935"/>
                </a:lnTo>
                <a:lnTo>
                  <a:pt x="3630461" y="369935"/>
                </a:lnTo>
                <a:close/>
                <a:moveTo>
                  <a:pt x="3552674" y="311201"/>
                </a:moveTo>
                <a:lnTo>
                  <a:pt x="3609824" y="311201"/>
                </a:lnTo>
                <a:lnTo>
                  <a:pt x="3609824" y="369935"/>
                </a:lnTo>
                <a:lnTo>
                  <a:pt x="3552674" y="369935"/>
                </a:lnTo>
                <a:close/>
                <a:moveTo>
                  <a:pt x="3473299" y="311201"/>
                </a:moveTo>
                <a:lnTo>
                  <a:pt x="3532037" y="311201"/>
                </a:lnTo>
                <a:lnTo>
                  <a:pt x="3532037" y="369935"/>
                </a:lnTo>
                <a:lnTo>
                  <a:pt x="3473299" y="369935"/>
                </a:lnTo>
                <a:close/>
                <a:moveTo>
                  <a:pt x="3393924" y="311201"/>
                </a:moveTo>
                <a:lnTo>
                  <a:pt x="3452662" y="311201"/>
                </a:lnTo>
                <a:lnTo>
                  <a:pt x="3452662" y="369935"/>
                </a:lnTo>
                <a:lnTo>
                  <a:pt x="3393924" y="369935"/>
                </a:lnTo>
                <a:close/>
                <a:moveTo>
                  <a:pt x="3314549" y="311201"/>
                </a:moveTo>
                <a:lnTo>
                  <a:pt x="3373287" y="311201"/>
                </a:lnTo>
                <a:lnTo>
                  <a:pt x="3373287" y="369936"/>
                </a:lnTo>
                <a:lnTo>
                  <a:pt x="3314549" y="369936"/>
                </a:lnTo>
                <a:close/>
                <a:moveTo>
                  <a:pt x="3236761" y="311201"/>
                </a:moveTo>
                <a:lnTo>
                  <a:pt x="3293911" y="311201"/>
                </a:lnTo>
                <a:lnTo>
                  <a:pt x="3293911" y="369936"/>
                </a:lnTo>
                <a:lnTo>
                  <a:pt x="3236761" y="369936"/>
                </a:lnTo>
                <a:close/>
                <a:moveTo>
                  <a:pt x="3157386" y="311201"/>
                </a:moveTo>
                <a:lnTo>
                  <a:pt x="3216124" y="311201"/>
                </a:lnTo>
                <a:lnTo>
                  <a:pt x="3216124" y="369936"/>
                </a:lnTo>
                <a:lnTo>
                  <a:pt x="3157386" y="369936"/>
                </a:lnTo>
                <a:close/>
                <a:moveTo>
                  <a:pt x="3078011" y="311201"/>
                </a:moveTo>
                <a:lnTo>
                  <a:pt x="3136749" y="311201"/>
                </a:lnTo>
                <a:lnTo>
                  <a:pt x="3136749" y="369936"/>
                </a:lnTo>
                <a:lnTo>
                  <a:pt x="3078011" y="369936"/>
                </a:lnTo>
                <a:close/>
                <a:moveTo>
                  <a:pt x="3000224" y="311201"/>
                </a:moveTo>
                <a:lnTo>
                  <a:pt x="3057374" y="311201"/>
                </a:lnTo>
                <a:lnTo>
                  <a:pt x="3057374" y="369936"/>
                </a:lnTo>
                <a:lnTo>
                  <a:pt x="3000224" y="369936"/>
                </a:lnTo>
                <a:close/>
                <a:moveTo>
                  <a:pt x="2920849" y="311201"/>
                </a:moveTo>
                <a:lnTo>
                  <a:pt x="2979587" y="311201"/>
                </a:lnTo>
                <a:lnTo>
                  <a:pt x="2979587" y="369937"/>
                </a:lnTo>
                <a:lnTo>
                  <a:pt x="2920849" y="369937"/>
                </a:lnTo>
                <a:close/>
                <a:moveTo>
                  <a:pt x="2841474" y="311201"/>
                </a:moveTo>
                <a:lnTo>
                  <a:pt x="2900212" y="311201"/>
                </a:lnTo>
                <a:lnTo>
                  <a:pt x="2900212" y="369937"/>
                </a:lnTo>
                <a:lnTo>
                  <a:pt x="2841474" y="369937"/>
                </a:lnTo>
                <a:close/>
                <a:moveTo>
                  <a:pt x="4814736" y="311200"/>
                </a:moveTo>
                <a:lnTo>
                  <a:pt x="4873474" y="311200"/>
                </a:lnTo>
                <a:lnTo>
                  <a:pt x="4873474" y="369934"/>
                </a:lnTo>
                <a:lnTo>
                  <a:pt x="4814736" y="369934"/>
                </a:lnTo>
                <a:close/>
                <a:moveTo>
                  <a:pt x="2052678" y="233423"/>
                </a:moveTo>
                <a:lnTo>
                  <a:pt x="2111423" y="233423"/>
                </a:lnTo>
                <a:lnTo>
                  <a:pt x="2111423" y="292156"/>
                </a:lnTo>
                <a:lnTo>
                  <a:pt x="2052678" y="292156"/>
                </a:lnTo>
                <a:close/>
                <a:moveTo>
                  <a:pt x="1973295" y="233423"/>
                </a:moveTo>
                <a:lnTo>
                  <a:pt x="2032043" y="233423"/>
                </a:lnTo>
                <a:lnTo>
                  <a:pt x="2032043" y="292156"/>
                </a:lnTo>
                <a:lnTo>
                  <a:pt x="1973295" y="292156"/>
                </a:lnTo>
                <a:close/>
                <a:moveTo>
                  <a:pt x="1736784" y="233423"/>
                </a:moveTo>
                <a:lnTo>
                  <a:pt x="1795527" y="233423"/>
                </a:lnTo>
                <a:lnTo>
                  <a:pt x="1795527" y="292156"/>
                </a:lnTo>
                <a:lnTo>
                  <a:pt x="1736784" y="292156"/>
                </a:lnTo>
                <a:close/>
                <a:moveTo>
                  <a:pt x="1657403" y="233423"/>
                </a:moveTo>
                <a:lnTo>
                  <a:pt x="1716149" y="233423"/>
                </a:lnTo>
                <a:lnTo>
                  <a:pt x="1716149" y="292156"/>
                </a:lnTo>
                <a:lnTo>
                  <a:pt x="1657403" y="292156"/>
                </a:lnTo>
                <a:close/>
                <a:moveTo>
                  <a:pt x="1500231" y="233423"/>
                </a:moveTo>
                <a:lnTo>
                  <a:pt x="1558977" y="233423"/>
                </a:lnTo>
                <a:lnTo>
                  <a:pt x="1558977" y="292156"/>
                </a:lnTo>
                <a:lnTo>
                  <a:pt x="1500231" y="292156"/>
                </a:lnTo>
                <a:close/>
                <a:moveTo>
                  <a:pt x="2368606" y="233423"/>
                </a:moveTo>
                <a:lnTo>
                  <a:pt x="2427339" y="233423"/>
                </a:lnTo>
                <a:lnTo>
                  <a:pt x="2427339" y="292156"/>
                </a:lnTo>
                <a:lnTo>
                  <a:pt x="2368606" y="292156"/>
                </a:lnTo>
                <a:close/>
                <a:moveTo>
                  <a:pt x="2289229" y="233423"/>
                </a:moveTo>
                <a:lnTo>
                  <a:pt x="2347969" y="233423"/>
                </a:lnTo>
                <a:lnTo>
                  <a:pt x="2347969" y="292156"/>
                </a:lnTo>
                <a:lnTo>
                  <a:pt x="2289229" y="292156"/>
                </a:lnTo>
                <a:close/>
                <a:moveTo>
                  <a:pt x="2209846" y="233423"/>
                </a:moveTo>
                <a:lnTo>
                  <a:pt x="2268592" y="233423"/>
                </a:lnTo>
                <a:lnTo>
                  <a:pt x="2268592" y="292156"/>
                </a:lnTo>
                <a:lnTo>
                  <a:pt x="2209846" y="292156"/>
                </a:lnTo>
                <a:close/>
                <a:moveTo>
                  <a:pt x="2132057" y="233423"/>
                </a:moveTo>
                <a:lnTo>
                  <a:pt x="2189215" y="233423"/>
                </a:lnTo>
                <a:lnTo>
                  <a:pt x="2189215" y="292156"/>
                </a:lnTo>
                <a:lnTo>
                  <a:pt x="2132057" y="292156"/>
                </a:lnTo>
                <a:close/>
                <a:moveTo>
                  <a:pt x="2763686" y="233422"/>
                </a:moveTo>
                <a:lnTo>
                  <a:pt x="2820836" y="233422"/>
                </a:lnTo>
                <a:lnTo>
                  <a:pt x="2820836" y="292156"/>
                </a:lnTo>
                <a:lnTo>
                  <a:pt x="2763686" y="292156"/>
                </a:lnTo>
                <a:close/>
                <a:moveTo>
                  <a:pt x="2684311" y="233422"/>
                </a:moveTo>
                <a:lnTo>
                  <a:pt x="2743049" y="233422"/>
                </a:lnTo>
                <a:lnTo>
                  <a:pt x="2743049" y="292156"/>
                </a:lnTo>
                <a:lnTo>
                  <a:pt x="2684311" y="292156"/>
                </a:lnTo>
                <a:close/>
                <a:moveTo>
                  <a:pt x="2604936" y="233422"/>
                </a:moveTo>
                <a:lnTo>
                  <a:pt x="2663674" y="233422"/>
                </a:lnTo>
                <a:lnTo>
                  <a:pt x="2663674" y="292156"/>
                </a:lnTo>
                <a:lnTo>
                  <a:pt x="2604936" y="292156"/>
                </a:lnTo>
                <a:close/>
                <a:moveTo>
                  <a:pt x="2525764" y="233422"/>
                </a:moveTo>
                <a:lnTo>
                  <a:pt x="2584503" y="233422"/>
                </a:lnTo>
                <a:lnTo>
                  <a:pt x="2584503" y="292156"/>
                </a:lnTo>
                <a:lnTo>
                  <a:pt x="2525764" y="292156"/>
                </a:lnTo>
                <a:close/>
                <a:moveTo>
                  <a:pt x="3078011" y="233422"/>
                </a:moveTo>
                <a:lnTo>
                  <a:pt x="3136749" y="233422"/>
                </a:lnTo>
                <a:lnTo>
                  <a:pt x="3136749" y="292156"/>
                </a:lnTo>
                <a:lnTo>
                  <a:pt x="3078011" y="292156"/>
                </a:lnTo>
                <a:close/>
                <a:moveTo>
                  <a:pt x="3000224" y="233422"/>
                </a:moveTo>
                <a:lnTo>
                  <a:pt x="3057374" y="233422"/>
                </a:lnTo>
                <a:lnTo>
                  <a:pt x="3057374" y="292156"/>
                </a:lnTo>
                <a:lnTo>
                  <a:pt x="3000224" y="292156"/>
                </a:lnTo>
                <a:close/>
                <a:moveTo>
                  <a:pt x="2920849" y="233422"/>
                </a:moveTo>
                <a:lnTo>
                  <a:pt x="2979587" y="233422"/>
                </a:lnTo>
                <a:lnTo>
                  <a:pt x="2979587" y="292156"/>
                </a:lnTo>
                <a:lnTo>
                  <a:pt x="2920849" y="292156"/>
                </a:lnTo>
                <a:close/>
                <a:moveTo>
                  <a:pt x="2841474" y="233422"/>
                </a:moveTo>
                <a:lnTo>
                  <a:pt x="2900212" y="233422"/>
                </a:lnTo>
                <a:lnTo>
                  <a:pt x="2900212" y="292156"/>
                </a:lnTo>
                <a:lnTo>
                  <a:pt x="2841474" y="292156"/>
                </a:lnTo>
                <a:close/>
                <a:moveTo>
                  <a:pt x="3393924" y="233421"/>
                </a:moveTo>
                <a:lnTo>
                  <a:pt x="3452662" y="233421"/>
                </a:lnTo>
                <a:lnTo>
                  <a:pt x="3452662" y="292150"/>
                </a:lnTo>
                <a:lnTo>
                  <a:pt x="3393924" y="292150"/>
                </a:lnTo>
                <a:close/>
                <a:moveTo>
                  <a:pt x="3314549" y="233421"/>
                </a:moveTo>
                <a:lnTo>
                  <a:pt x="3373287" y="233421"/>
                </a:lnTo>
                <a:lnTo>
                  <a:pt x="3373287" y="292150"/>
                </a:lnTo>
                <a:lnTo>
                  <a:pt x="3314549" y="292150"/>
                </a:lnTo>
                <a:close/>
                <a:moveTo>
                  <a:pt x="3236761" y="233421"/>
                </a:moveTo>
                <a:lnTo>
                  <a:pt x="3293911" y="233421"/>
                </a:lnTo>
                <a:lnTo>
                  <a:pt x="3293911" y="292156"/>
                </a:lnTo>
                <a:lnTo>
                  <a:pt x="3236761" y="292156"/>
                </a:lnTo>
                <a:close/>
                <a:moveTo>
                  <a:pt x="3157386" y="233421"/>
                </a:moveTo>
                <a:lnTo>
                  <a:pt x="3216124" y="233421"/>
                </a:lnTo>
                <a:lnTo>
                  <a:pt x="3216124" y="292156"/>
                </a:lnTo>
                <a:lnTo>
                  <a:pt x="3157386" y="292156"/>
                </a:lnTo>
                <a:close/>
                <a:moveTo>
                  <a:pt x="3709836" y="233421"/>
                </a:moveTo>
                <a:lnTo>
                  <a:pt x="3768574" y="233421"/>
                </a:lnTo>
                <a:lnTo>
                  <a:pt x="3768574" y="292150"/>
                </a:lnTo>
                <a:lnTo>
                  <a:pt x="3709836" y="292150"/>
                </a:lnTo>
                <a:close/>
                <a:moveTo>
                  <a:pt x="3630461" y="233421"/>
                </a:moveTo>
                <a:lnTo>
                  <a:pt x="3689199" y="233421"/>
                </a:lnTo>
                <a:lnTo>
                  <a:pt x="3689199" y="292150"/>
                </a:lnTo>
                <a:lnTo>
                  <a:pt x="3630461" y="292150"/>
                </a:lnTo>
                <a:close/>
                <a:moveTo>
                  <a:pt x="3552674" y="233421"/>
                </a:moveTo>
                <a:lnTo>
                  <a:pt x="3609824" y="233421"/>
                </a:lnTo>
                <a:lnTo>
                  <a:pt x="3609824" y="292150"/>
                </a:lnTo>
                <a:lnTo>
                  <a:pt x="3552674" y="292150"/>
                </a:lnTo>
                <a:close/>
                <a:moveTo>
                  <a:pt x="3473299" y="233421"/>
                </a:moveTo>
                <a:lnTo>
                  <a:pt x="3532037" y="233421"/>
                </a:lnTo>
                <a:lnTo>
                  <a:pt x="3532037" y="292150"/>
                </a:lnTo>
                <a:lnTo>
                  <a:pt x="3473299" y="292150"/>
                </a:lnTo>
                <a:close/>
                <a:moveTo>
                  <a:pt x="6710211" y="233420"/>
                </a:moveTo>
                <a:lnTo>
                  <a:pt x="6768949" y="233420"/>
                </a:lnTo>
                <a:lnTo>
                  <a:pt x="6768949" y="292150"/>
                </a:lnTo>
                <a:lnTo>
                  <a:pt x="6710211" y="292150"/>
                </a:lnTo>
                <a:close/>
                <a:moveTo>
                  <a:pt x="4736949" y="233420"/>
                </a:moveTo>
                <a:lnTo>
                  <a:pt x="4794099" y="233420"/>
                </a:lnTo>
                <a:lnTo>
                  <a:pt x="4794099" y="292150"/>
                </a:lnTo>
                <a:lnTo>
                  <a:pt x="4736949" y="292150"/>
                </a:lnTo>
                <a:close/>
                <a:moveTo>
                  <a:pt x="4657574" y="233420"/>
                </a:moveTo>
                <a:lnTo>
                  <a:pt x="4716312" y="233420"/>
                </a:lnTo>
                <a:lnTo>
                  <a:pt x="4716312" y="292150"/>
                </a:lnTo>
                <a:lnTo>
                  <a:pt x="4657574" y="292150"/>
                </a:lnTo>
                <a:close/>
                <a:moveTo>
                  <a:pt x="4578199" y="233420"/>
                </a:moveTo>
                <a:lnTo>
                  <a:pt x="4636937" y="233420"/>
                </a:lnTo>
                <a:lnTo>
                  <a:pt x="4636937" y="292150"/>
                </a:lnTo>
                <a:lnTo>
                  <a:pt x="4578199" y="292150"/>
                </a:lnTo>
                <a:close/>
                <a:moveTo>
                  <a:pt x="4498824" y="233420"/>
                </a:moveTo>
                <a:lnTo>
                  <a:pt x="4557562" y="233420"/>
                </a:lnTo>
                <a:lnTo>
                  <a:pt x="4557562" y="292150"/>
                </a:lnTo>
                <a:lnTo>
                  <a:pt x="4498824" y="292150"/>
                </a:lnTo>
                <a:close/>
                <a:moveTo>
                  <a:pt x="6867374" y="233420"/>
                </a:moveTo>
                <a:lnTo>
                  <a:pt x="6926112" y="233420"/>
                </a:lnTo>
                <a:lnTo>
                  <a:pt x="6926112" y="292150"/>
                </a:lnTo>
                <a:lnTo>
                  <a:pt x="6867374" y="292150"/>
                </a:lnTo>
                <a:close/>
                <a:moveTo>
                  <a:pt x="6789586" y="233420"/>
                </a:moveTo>
                <a:lnTo>
                  <a:pt x="6846736" y="233420"/>
                </a:lnTo>
                <a:lnTo>
                  <a:pt x="6846736" y="292150"/>
                </a:lnTo>
                <a:lnTo>
                  <a:pt x="6789586" y="292150"/>
                </a:lnTo>
                <a:close/>
                <a:moveTo>
                  <a:pt x="2052678" y="155642"/>
                </a:moveTo>
                <a:lnTo>
                  <a:pt x="2111423" y="155642"/>
                </a:lnTo>
                <a:lnTo>
                  <a:pt x="2111423" y="214388"/>
                </a:lnTo>
                <a:lnTo>
                  <a:pt x="2052678" y="214388"/>
                </a:lnTo>
                <a:close/>
                <a:moveTo>
                  <a:pt x="1973295" y="155642"/>
                </a:moveTo>
                <a:lnTo>
                  <a:pt x="2032043" y="155642"/>
                </a:lnTo>
                <a:lnTo>
                  <a:pt x="2032043" y="214388"/>
                </a:lnTo>
                <a:lnTo>
                  <a:pt x="1973295" y="214388"/>
                </a:lnTo>
                <a:close/>
                <a:moveTo>
                  <a:pt x="1893916" y="155642"/>
                </a:moveTo>
                <a:lnTo>
                  <a:pt x="1952655" y="155642"/>
                </a:lnTo>
                <a:lnTo>
                  <a:pt x="1952655" y="214388"/>
                </a:lnTo>
                <a:lnTo>
                  <a:pt x="1893916" y="214388"/>
                </a:lnTo>
                <a:close/>
                <a:moveTo>
                  <a:pt x="1736788" y="155642"/>
                </a:moveTo>
                <a:lnTo>
                  <a:pt x="1795527" y="155642"/>
                </a:lnTo>
                <a:lnTo>
                  <a:pt x="1795527" y="214388"/>
                </a:lnTo>
                <a:lnTo>
                  <a:pt x="1736788" y="214388"/>
                </a:lnTo>
                <a:close/>
                <a:moveTo>
                  <a:pt x="2368606" y="155642"/>
                </a:moveTo>
                <a:lnTo>
                  <a:pt x="2427339" y="155642"/>
                </a:lnTo>
                <a:lnTo>
                  <a:pt x="2427339" y="214387"/>
                </a:lnTo>
                <a:lnTo>
                  <a:pt x="2368606" y="214387"/>
                </a:lnTo>
                <a:close/>
                <a:moveTo>
                  <a:pt x="2289229" y="155642"/>
                </a:moveTo>
                <a:lnTo>
                  <a:pt x="2347969" y="155642"/>
                </a:lnTo>
                <a:lnTo>
                  <a:pt x="2347969" y="214387"/>
                </a:lnTo>
                <a:lnTo>
                  <a:pt x="2289229" y="214387"/>
                </a:lnTo>
                <a:close/>
                <a:moveTo>
                  <a:pt x="2209846" y="155642"/>
                </a:moveTo>
                <a:lnTo>
                  <a:pt x="2268592" y="155642"/>
                </a:lnTo>
                <a:lnTo>
                  <a:pt x="2268592" y="214387"/>
                </a:lnTo>
                <a:lnTo>
                  <a:pt x="2209846" y="214387"/>
                </a:lnTo>
                <a:close/>
                <a:moveTo>
                  <a:pt x="2132057" y="155642"/>
                </a:moveTo>
                <a:lnTo>
                  <a:pt x="2189215" y="155642"/>
                </a:lnTo>
                <a:lnTo>
                  <a:pt x="2189215" y="214387"/>
                </a:lnTo>
                <a:lnTo>
                  <a:pt x="2132057" y="214387"/>
                </a:lnTo>
                <a:close/>
                <a:moveTo>
                  <a:pt x="2604936" y="155641"/>
                </a:moveTo>
                <a:lnTo>
                  <a:pt x="2663674" y="155641"/>
                </a:lnTo>
                <a:lnTo>
                  <a:pt x="2663674" y="214387"/>
                </a:lnTo>
                <a:lnTo>
                  <a:pt x="2604936" y="214387"/>
                </a:lnTo>
                <a:close/>
                <a:moveTo>
                  <a:pt x="2525766" y="155641"/>
                </a:moveTo>
                <a:lnTo>
                  <a:pt x="2584503" y="155641"/>
                </a:lnTo>
                <a:lnTo>
                  <a:pt x="2584503" y="214387"/>
                </a:lnTo>
                <a:lnTo>
                  <a:pt x="2525766" y="214387"/>
                </a:lnTo>
                <a:close/>
                <a:moveTo>
                  <a:pt x="2447972" y="155641"/>
                </a:moveTo>
                <a:lnTo>
                  <a:pt x="2505137" y="155641"/>
                </a:lnTo>
                <a:lnTo>
                  <a:pt x="2505137" y="214387"/>
                </a:lnTo>
                <a:lnTo>
                  <a:pt x="2447972" y="214387"/>
                </a:lnTo>
                <a:close/>
                <a:moveTo>
                  <a:pt x="3000224" y="155641"/>
                </a:moveTo>
                <a:lnTo>
                  <a:pt x="3057374" y="155641"/>
                </a:lnTo>
                <a:lnTo>
                  <a:pt x="3057374" y="214386"/>
                </a:lnTo>
                <a:lnTo>
                  <a:pt x="3000224" y="214386"/>
                </a:lnTo>
                <a:close/>
                <a:moveTo>
                  <a:pt x="2920849" y="155641"/>
                </a:moveTo>
                <a:lnTo>
                  <a:pt x="2979587" y="155641"/>
                </a:lnTo>
                <a:lnTo>
                  <a:pt x="2979587" y="214386"/>
                </a:lnTo>
                <a:lnTo>
                  <a:pt x="2920849" y="214386"/>
                </a:lnTo>
                <a:close/>
                <a:moveTo>
                  <a:pt x="2841474" y="155641"/>
                </a:moveTo>
                <a:lnTo>
                  <a:pt x="2900212" y="155641"/>
                </a:lnTo>
                <a:lnTo>
                  <a:pt x="2900212" y="214386"/>
                </a:lnTo>
                <a:lnTo>
                  <a:pt x="2841474" y="214386"/>
                </a:lnTo>
                <a:close/>
                <a:moveTo>
                  <a:pt x="2763686" y="155641"/>
                </a:moveTo>
                <a:lnTo>
                  <a:pt x="2820836" y="155641"/>
                </a:lnTo>
                <a:lnTo>
                  <a:pt x="2820836" y="214386"/>
                </a:lnTo>
                <a:lnTo>
                  <a:pt x="2763686" y="214386"/>
                </a:lnTo>
                <a:close/>
                <a:moveTo>
                  <a:pt x="2684311" y="155641"/>
                </a:moveTo>
                <a:lnTo>
                  <a:pt x="2743049" y="155641"/>
                </a:lnTo>
                <a:lnTo>
                  <a:pt x="2743049" y="214387"/>
                </a:lnTo>
                <a:lnTo>
                  <a:pt x="2684311" y="214387"/>
                </a:lnTo>
                <a:close/>
                <a:moveTo>
                  <a:pt x="3314549" y="155640"/>
                </a:moveTo>
                <a:lnTo>
                  <a:pt x="3373287" y="155640"/>
                </a:lnTo>
                <a:lnTo>
                  <a:pt x="3373287" y="214385"/>
                </a:lnTo>
                <a:lnTo>
                  <a:pt x="3314549" y="214385"/>
                </a:lnTo>
                <a:close/>
                <a:moveTo>
                  <a:pt x="3236761" y="155640"/>
                </a:moveTo>
                <a:lnTo>
                  <a:pt x="3293911" y="155640"/>
                </a:lnTo>
                <a:lnTo>
                  <a:pt x="3293911" y="214385"/>
                </a:lnTo>
                <a:lnTo>
                  <a:pt x="3236761" y="214385"/>
                </a:lnTo>
                <a:close/>
                <a:moveTo>
                  <a:pt x="3157386" y="155640"/>
                </a:moveTo>
                <a:lnTo>
                  <a:pt x="3216124" y="155640"/>
                </a:lnTo>
                <a:lnTo>
                  <a:pt x="3216124" y="214385"/>
                </a:lnTo>
                <a:lnTo>
                  <a:pt x="3157386" y="214385"/>
                </a:lnTo>
                <a:close/>
                <a:moveTo>
                  <a:pt x="3078011" y="155640"/>
                </a:moveTo>
                <a:lnTo>
                  <a:pt x="3136749" y="155640"/>
                </a:lnTo>
                <a:lnTo>
                  <a:pt x="3136749" y="214385"/>
                </a:lnTo>
                <a:lnTo>
                  <a:pt x="3078011" y="214385"/>
                </a:lnTo>
                <a:close/>
                <a:moveTo>
                  <a:pt x="3630461" y="155640"/>
                </a:moveTo>
                <a:lnTo>
                  <a:pt x="3689199" y="155640"/>
                </a:lnTo>
                <a:lnTo>
                  <a:pt x="3689199" y="214385"/>
                </a:lnTo>
                <a:lnTo>
                  <a:pt x="3630461" y="214385"/>
                </a:lnTo>
                <a:close/>
                <a:moveTo>
                  <a:pt x="3552674" y="155640"/>
                </a:moveTo>
                <a:lnTo>
                  <a:pt x="3609824" y="155640"/>
                </a:lnTo>
                <a:lnTo>
                  <a:pt x="3609824" y="214385"/>
                </a:lnTo>
                <a:lnTo>
                  <a:pt x="3552674" y="214385"/>
                </a:lnTo>
                <a:close/>
                <a:moveTo>
                  <a:pt x="3473299" y="155640"/>
                </a:moveTo>
                <a:lnTo>
                  <a:pt x="3532037" y="155640"/>
                </a:lnTo>
                <a:lnTo>
                  <a:pt x="3532037" y="214385"/>
                </a:lnTo>
                <a:lnTo>
                  <a:pt x="3473299" y="214385"/>
                </a:lnTo>
                <a:close/>
                <a:moveTo>
                  <a:pt x="3393924" y="155640"/>
                </a:moveTo>
                <a:lnTo>
                  <a:pt x="3452662" y="155640"/>
                </a:lnTo>
                <a:lnTo>
                  <a:pt x="3452662" y="214385"/>
                </a:lnTo>
                <a:lnTo>
                  <a:pt x="3393924" y="214385"/>
                </a:lnTo>
                <a:close/>
                <a:moveTo>
                  <a:pt x="4657574" y="155639"/>
                </a:moveTo>
                <a:lnTo>
                  <a:pt x="4716312" y="155639"/>
                </a:lnTo>
                <a:lnTo>
                  <a:pt x="4716312" y="214385"/>
                </a:lnTo>
                <a:lnTo>
                  <a:pt x="4657574" y="214385"/>
                </a:lnTo>
                <a:close/>
                <a:moveTo>
                  <a:pt x="4578199" y="155639"/>
                </a:moveTo>
                <a:lnTo>
                  <a:pt x="4636937" y="155639"/>
                </a:lnTo>
                <a:lnTo>
                  <a:pt x="4636937" y="214385"/>
                </a:lnTo>
                <a:lnTo>
                  <a:pt x="4578199" y="214385"/>
                </a:lnTo>
                <a:close/>
                <a:moveTo>
                  <a:pt x="3789211" y="155639"/>
                </a:moveTo>
                <a:lnTo>
                  <a:pt x="3847949" y="155639"/>
                </a:lnTo>
                <a:lnTo>
                  <a:pt x="3847949" y="214385"/>
                </a:lnTo>
                <a:lnTo>
                  <a:pt x="3789211" y="214385"/>
                </a:lnTo>
                <a:close/>
                <a:moveTo>
                  <a:pt x="3709836" y="155639"/>
                </a:moveTo>
                <a:lnTo>
                  <a:pt x="3768574" y="155639"/>
                </a:lnTo>
                <a:lnTo>
                  <a:pt x="3768574" y="214385"/>
                </a:lnTo>
                <a:lnTo>
                  <a:pt x="3709836" y="214385"/>
                </a:lnTo>
                <a:close/>
                <a:moveTo>
                  <a:pt x="5130649" y="155639"/>
                </a:moveTo>
                <a:lnTo>
                  <a:pt x="5189387" y="155639"/>
                </a:lnTo>
                <a:lnTo>
                  <a:pt x="5189387" y="214384"/>
                </a:lnTo>
                <a:lnTo>
                  <a:pt x="5130649" y="214384"/>
                </a:lnTo>
                <a:close/>
                <a:moveTo>
                  <a:pt x="4894111" y="155639"/>
                </a:moveTo>
                <a:lnTo>
                  <a:pt x="4952849" y="155639"/>
                </a:lnTo>
                <a:lnTo>
                  <a:pt x="4952849" y="214384"/>
                </a:lnTo>
                <a:lnTo>
                  <a:pt x="4894111" y="214384"/>
                </a:lnTo>
                <a:close/>
                <a:moveTo>
                  <a:pt x="4814736" y="155639"/>
                </a:moveTo>
                <a:lnTo>
                  <a:pt x="4873474" y="155639"/>
                </a:lnTo>
                <a:lnTo>
                  <a:pt x="4873474" y="214384"/>
                </a:lnTo>
                <a:lnTo>
                  <a:pt x="4814736" y="214384"/>
                </a:lnTo>
                <a:close/>
                <a:moveTo>
                  <a:pt x="4736949" y="155639"/>
                </a:moveTo>
                <a:lnTo>
                  <a:pt x="4794099" y="155639"/>
                </a:lnTo>
                <a:lnTo>
                  <a:pt x="4794099" y="214384"/>
                </a:lnTo>
                <a:lnTo>
                  <a:pt x="4736949" y="214384"/>
                </a:lnTo>
                <a:close/>
                <a:moveTo>
                  <a:pt x="5684686" y="155638"/>
                </a:moveTo>
                <a:lnTo>
                  <a:pt x="5741836" y="155638"/>
                </a:lnTo>
                <a:lnTo>
                  <a:pt x="5741836" y="214383"/>
                </a:lnTo>
                <a:lnTo>
                  <a:pt x="5684686" y="214383"/>
                </a:lnTo>
                <a:close/>
                <a:moveTo>
                  <a:pt x="5605311" y="155638"/>
                </a:moveTo>
                <a:lnTo>
                  <a:pt x="5664049" y="155638"/>
                </a:lnTo>
                <a:lnTo>
                  <a:pt x="5664049" y="214383"/>
                </a:lnTo>
                <a:lnTo>
                  <a:pt x="5605311" y="214383"/>
                </a:lnTo>
                <a:close/>
                <a:moveTo>
                  <a:pt x="5525936" y="155638"/>
                </a:moveTo>
                <a:lnTo>
                  <a:pt x="5584674" y="155638"/>
                </a:lnTo>
                <a:lnTo>
                  <a:pt x="5584674" y="214383"/>
                </a:lnTo>
                <a:lnTo>
                  <a:pt x="5525936" y="214383"/>
                </a:lnTo>
                <a:close/>
                <a:moveTo>
                  <a:pt x="5446561" y="155638"/>
                </a:moveTo>
                <a:lnTo>
                  <a:pt x="5505299" y="155638"/>
                </a:lnTo>
                <a:lnTo>
                  <a:pt x="5505299" y="214383"/>
                </a:lnTo>
                <a:lnTo>
                  <a:pt x="5446561" y="214383"/>
                </a:lnTo>
                <a:close/>
                <a:moveTo>
                  <a:pt x="6710211" y="155638"/>
                </a:moveTo>
                <a:lnTo>
                  <a:pt x="6768949" y="155638"/>
                </a:lnTo>
                <a:lnTo>
                  <a:pt x="6768949" y="214383"/>
                </a:lnTo>
                <a:lnTo>
                  <a:pt x="6710211" y="214383"/>
                </a:lnTo>
                <a:close/>
                <a:moveTo>
                  <a:pt x="6630836" y="155638"/>
                </a:moveTo>
                <a:lnTo>
                  <a:pt x="6689574" y="155638"/>
                </a:lnTo>
                <a:lnTo>
                  <a:pt x="6689574" y="214383"/>
                </a:lnTo>
                <a:lnTo>
                  <a:pt x="6630836" y="214383"/>
                </a:lnTo>
                <a:close/>
                <a:moveTo>
                  <a:pt x="6551461" y="155638"/>
                </a:moveTo>
                <a:lnTo>
                  <a:pt x="6610199" y="155638"/>
                </a:lnTo>
                <a:lnTo>
                  <a:pt x="6610199" y="214383"/>
                </a:lnTo>
                <a:lnTo>
                  <a:pt x="6551461" y="214383"/>
                </a:lnTo>
                <a:close/>
                <a:moveTo>
                  <a:pt x="5762474" y="155638"/>
                </a:moveTo>
                <a:lnTo>
                  <a:pt x="5821212" y="155638"/>
                </a:lnTo>
                <a:lnTo>
                  <a:pt x="5821212" y="214383"/>
                </a:lnTo>
                <a:lnTo>
                  <a:pt x="5762474" y="214383"/>
                </a:lnTo>
                <a:close/>
                <a:moveTo>
                  <a:pt x="2289229" y="77846"/>
                </a:moveTo>
                <a:lnTo>
                  <a:pt x="2347969" y="77846"/>
                </a:lnTo>
                <a:lnTo>
                  <a:pt x="2347969" y="136593"/>
                </a:lnTo>
                <a:lnTo>
                  <a:pt x="2289229" y="136593"/>
                </a:lnTo>
                <a:close/>
                <a:moveTo>
                  <a:pt x="2209846" y="77846"/>
                </a:moveTo>
                <a:lnTo>
                  <a:pt x="2268592" y="77846"/>
                </a:lnTo>
                <a:lnTo>
                  <a:pt x="2268592" y="136593"/>
                </a:lnTo>
                <a:lnTo>
                  <a:pt x="2209846" y="136593"/>
                </a:lnTo>
                <a:close/>
                <a:moveTo>
                  <a:pt x="2132057" y="77846"/>
                </a:moveTo>
                <a:lnTo>
                  <a:pt x="2189215" y="77846"/>
                </a:lnTo>
                <a:lnTo>
                  <a:pt x="2189215" y="136593"/>
                </a:lnTo>
                <a:lnTo>
                  <a:pt x="2132057" y="136593"/>
                </a:lnTo>
                <a:close/>
                <a:moveTo>
                  <a:pt x="2052678" y="77846"/>
                </a:moveTo>
                <a:lnTo>
                  <a:pt x="2111423" y="77846"/>
                </a:lnTo>
                <a:lnTo>
                  <a:pt x="2111423" y="136593"/>
                </a:lnTo>
                <a:lnTo>
                  <a:pt x="2052678" y="136593"/>
                </a:lnTo>
                <a:close/>
                <a:moveTo>
                  <a:pt x="2604936" y="77846"/>
                </a:moveTo>
                <a:lnTo>
                  <a:pt x="2663674" y="77846"/>
                </a:lnTo>
                <a:lnTo>
                  <a:pt x="2663674" y="136592"/>
                </a:lnTo>
                <a:lnTo>
                  <a:pt x="2604936" y="136592"/>
                </a:lnTo>
                <a:close/>
                <a:moveTo>
                  <a:pt x="2525766" y="77846"/>
                </a:moveTo>
                <a:lnTo>
                  <a:pt x="2584503" y="77846"/>
                </a:lnTo>
                <a:lnTo>
                  <a:pt x="2584503" y="136593"/>
                </a:lnTo>
                <a:lnTo>
                  <a:pt x="2525766" y="136593"/>
                </a:lnTo>
                <a:close/>
                <a:moveTo>
                  <a:pt x="2447972" y="77846"/>
                </a:moveTo>
                <a:lnTo>
                  <a:pt x="2505137" y="77846"/>
                </a:lnTo>
                <a:lnTo>
                  <a:pt x="2505137" y="136593"/>
                </a:lnTo>
                <a:lnTo>
                  <a:pt x="2447972" y="136593"/>
                </a:lnTo>
                <a:close/>
                <a:moveTo>
                  <a:pt x="2368606" y="77846"/>
                </a:moveTo>
                <a:lnTo>
                  <a:pt x="2427339" y="77846"/>
                </a:lnTo>
                <a:lnTo>
                  <a:pt x="2427339" y="136593"/>
                </a:lnTo>
                <a:lnTo>
                  <a:pt x="2368606" y="136593"/>
                </a:lnTo>
                <a:close/>
                <a:moveTo>
                  <a:pt x="3000224" y="77845"/>
                </a:moveTo>
                <a:lnTo>
                  <a:pt x="3057374" y="77845"/>
                </a:lnTo>
                <a:lnTo>
                  <a:pt x="3057374" y="136592"/>
                </a:lnTo>
                <a:lnTo>
                  <a:pt x="3000224" y="136592"/>
                </a:lnTo>
                <a:close/>
                <a:moveTo>
                  <a:pt x="2920849" y="77845"/>
                </a:moveTo>
                <a:lnTo>
                  <a:pt x="2979587" y="77845"/>
                </a:lnTo>
                <a:lnTo>
                  <a:pt x="2979587" y="136592"/>
                </a:lnTo>
                <a:lnTo>
                  <a:pt x="2920849" y="136592"/>
                </a:lnTo>
                <a:close/>
                <a:moveTo>
                  <a:pt x="2841474" y="77845"/>
                </a:moveTo>
                <a:lnTo>
                  <a:pt x="2900212" y="77845"/>
                </a:lnTo>
                <a:lnTo>
                  <a:pt x="2900212" y="136592"/>
                </a:lnTo>
                <a:lnTo>
                  <a:pt x="2841474" y="136592"/>
                </a:lnTo>
                <a:close/>
                <a:moveTo>
                  <a:pt x="2763686" y="77845"/>
                </a:moveTo>
                <a:lnTo>
                  <a:pt x="2820836" y="77845"/>
                </a:lnTo>
                <a:lnTo>
                  <a:pt x="2820836" y="136592"/>
                </a:lnTo>
                <a:lnTo>
                  <a:pt x="2763686" y="136592"/>
                </a:lnTo>
                <a:close/>
                <a:moveTo>
                  <a:pt x="3393924" y="77845"/>
                </a:moveTo>
                <a:lnTo>
                  <a:pt x="3452662" y="77845"/>
                </a:lnTo>
                <a:lnTo>
                  <a:pt x="3452662" y="136591"/>
                </a:lnTo>
                <a:lnTo>
                  <a:pt x="3393924" y="136591"/>
                </a:lnTo>
                <a:close/>
                <a:moveTo>
                  <a:pt x="3314549" y="77845"/>
                </a:moveTo>
                <a:lnTo>
                  <a:pt x="3373287" y="77845"/>
                </a:lnTo>
                <a:lnTo>
                  <a:pt x="3373287" y="136591"/>
                </a:lnTo>
                <a:lnTo>
                  <a:pt x="3314549" y="136591"/>
                </a:lnTo>
                <a:close/>
                <a:moveTo>
                  <a:pt x="3236761" y="77845"/>
                </a:moveTo>
                <a:lnTo>
                  <a:pt x="3293911" y="77845"/>
                </a:lnTo>
                <a:lnTo>
                  <a:pt x="3293911" y="136591"/>
                </a:lnTo>
                <a:lnTo>
                  <a:pt x="3236761" y="136591"/>
                </a:lnTo>
                <a:close/>
                <a:moveTo>
                  <a:pt x="3157386" y="77845"/>
                </a:moveTo>
                <a:lnTo>
                  <a:pt x="3216124" y="77845"/>
                </a:lnTo>
                <a:lnTo>
                  <a:pt x="3216124" y="136592"/>
                </a:lnTo>
                <a:lnTo>
                  <a:pt x="3157386" y="136592"/>
                </a:lnTo>
                <a:close/>
                <a:moveTo>
                  <a:pt x="3078011" y="77845"/>
                </a:moveTo>
                <a:lnTo>
                  <a:pt x="3136749" y="77845"/>
                </a:lnTo>
                <a:lnTo>
                  <a:pt x="3136749" y="136592"/>
                </a:lnTo>
                <a:lnTo>
                  <a:pt x="3078011" y="136592"/>
                </a:lnTo>
                <a:close/>
                <a:moveTo>
                  <a:pt x="3789211" y="77844"/>
                </a:moveTo>
                <a:lnTo>
                  <a:pt x="3847949" y="77844"/>
                </a:lnTo>
                <a:lnTo>
                  <a:pt x="3847949" y="136591"/>
                </a:lnTo>
                <a:lnTo>
                  <a:pt x="3789211" y="136591"/>
                </a:lnTo>
                <a:close/>
                <a:moveTo>
                  <a:pt x="3709836" y="77844"/>
                </a:moveTo>
                <a:lnTo>
                  <a:pt x="3768574" y="77844"/>
                </a:lnTo>
                <a:lnTo>
                  <a:pt x="3768574" y="136591"/>
                </a:lnTo>
                <a:lnTo>
                  <a:pt x="3709836" y="136591"/>
                </a:lnTo>
                <a:close/>
                <a:moveTo>
                  <a:pt x="3630461" y="77844"/>
                </a:moveTo>
                <a:lnTo>
                  <a:pt x="3689199" y="77844"/>
                </a:lnTo>
                <a:lnTo>
                  <a:pt x="3689199" y="136591"/>
                </a:lnTo>
                <a:lnTo>
                  <a:pt x="3630461" y="136591"/>
                </a:lnTo>
                <a:close/>
                <a:moveTo>
                  <a:pt x="3552674" y="77844"/>
                </a:moveTo>
                <a:lnTo>
                  <a:pt x="3609824" y="77844"/>
                </a:lnTo>
                <a:lnTo>
                  <a:pt x="3609824" y="136591"/>
                </a:lnTo>
                <a:lnTo>
                  <a:pt x="3552674" y="136591"/>
                </a:lnTo>
                <a:close/>
                <a:moveTo>
                  <a:pt x="3473299" y="77844"/>
                </a:moveTo>
                <a:lnTo>
                  <a:pt x="3532037" y="77844"/>
                </a:lnTo>
                <a:lnTo>
                  <a:pt x="3532037" y="136591"/>
                </a:lnTo>
                <a:lnTo>
                  <a:pt x="3473299" y="136591"/>
                </a:lnTo>
                <a:close/>
                <a:moveTo>
                  <a:pt x="5684686" y="77844"/>
                </a:moveTo>
                <a:lnTo>
                  <a:pt x="5741836" y="77844"/>
                </a:lnTo>
                <a:lnTo>
                  <a:pt x="5741836" y="136590"/>
                </a:lnTo>
                <a:lnTo>
                  <a:pt x="5684686" y="136590"/>
                </a:lnTo>
                <a:close/>
                <a:moveTo>
                  <a:pt x="5525936" y="77844"/>
                </a:moveTo>
                <a:lnTo>
                  <a:pt x="5584674" y="77844"/>
                </a:lnTo>
                <a:lnTo>
                  <a:pt x="5584674" y="136590"/>
                </a:lnTo>
                <a:lnTo>
                  <a:pt x="5525936" y="136590"/>
                </a:lnTo>
                <a:close/>
                <a:moveTo>
                  <a:pt x="5368774" y="77844"/>
                </a:moveTo>
                <a:lnTo>
                  <a:pt x="5425924" y="77844"/>
                </a:lnTo>
                <a:lnTo>
                  <a:pt x="5425924" y="136590"/>
                </a:lnTo>
                <a:lnTo>
                  <a:pt x="5368774" y="136590"/>
                </a:lnTo>
                <a:close/>
                <a:moveTo>
                  <a:pt x="3868586" y="77844"/>
                </a:moveTo>
                <a:lnTo>
                  <a:pt x="3925736" y="77844"/>
                </a:lnTo>
                <a:lnTo>
                  <a:pt x="3925736" y="136591"/>
                </a:lnTo>
                <a:lnTo>
                  <a:pt x="3868586" y="136591"/>
                </a:lnTo>
                <a:close/>
                <a:moveTo>
                  <a:pt x="6551461" y="77843"/>
                </a:moveTo>
                <a:lnTo>
                  <a:pt x="6610199" y="77843"/>
                </a:lnTo>
                <a:lnTo>
                  <a:pt x="6610199" y="136590"/>
                </a:lnTo>
                <a:lnTo>
                  <a:pt x="6551461" y="136590"/>
                </a:lnTo>
                <a:close/>
                <a:moveTo>
                  <a:pt x="6473674" y="77843"/>
                </a:moveTo>
                <a:lnTo>
                  <a:pt x="6530824" y="77843"/>
                </a:lnTo>
                <a:lnTo>
                  <a:pt x="6530824" y="136590"/>
                </a:lnTo>
                <a:lnTo>
                  <a:pt x="6473674" y="136590"/>
                </a:lnTo>
                <a:close/>
                <a:moveTo>
                  <a:pt x="5841849" y="77843"/>
                </a:moveTo>
                <a:lnTo>
                  <a:pt x="5900587" y="77843"/>
                </a:lnTo>
                <a:lnTo>
                  <a:pt x="5900587" y="136590"/>
                </a:lnTo>
                <a:lnTo>
                  <a:pt x="5841849" y="136590"/>
                </a:lnTo>
                <a:close/>
                <a:moveTo>
                  <a:pt x="5762474" y="77843"/>
                </a:moveTo>
                <a:lnTo>
                  <a:pt x="5821212" y="77843"/>
                </a:lnTo>
                <a:lnTo>
                  <a:pt x="5821212" y="136590"/>
                </a:lnTo>
                <a:lnTo>
                  <a:pt x="5762474" y="136590"/>
                </a:lnTo>
                <a:close/>
                <a:moveTo>
                  <a:pt x="6630836" y="77843"/>
                </a:moveTo>
                <a:lnTo>
                  <a:pt x="6689574" y="77843"/>
                </a:lnTo>
                <a:lnTo>
                  <a:pt x="6689574" y="136590"/>
                </a:lnTo>
                <a:lnTo>
                  <a:pt x="6630836" y="136590"/>
                </a:lnTo>
                <a:close/>
                <a:moveTo>
                  <a:pt x="3000224" y="1"/>
                </a:moveTo>
                <a:lnTo>
                  <a:pt x="3057374" y="1"/>
                </a:lnTo>
                <a:lnTo>
                  <a:pt x="3057374" y="58794"/>
                </a:lnTo>
                <a:lnTo>
                  <a:pt x="3000224" y="58794"/>
                </a:lnTo>
                <a:close/>
                <a:moveTo>
                  <a:pt x="2604936" y="1"/>
                </a:moveTo>
                <a:lnTo>
                  <a:pt x="2663674" y="1"/>
                </a:lnTo>
                <a:lnTo>
                  <a:pt x="2663674" y="58794"/>
                </a:lnTo>
                <a:lnTo>
                  <a:pt x="2604936" y="58794"/>
                </a:lnTo>
                <a:close/>
                <a:moveTo>
                  <a:pt x="2525766" y="1"/>
                </a:moveTo>
                <a:lnTo>
                  <a:pt x="2584503" y="1"/>
                </a:lnTo>
                <a:lnTo>
                  <a:pt x="2584503" y="58794"/>
                </a:lnTo>
                <a:lnTo>
                  <a:pt x="2525766" y="58794"/>
                </a:lnTo>
                <a:close/>
                <a:moveTo>
                  <a:pt x="2447972" y="1"/>
                </a:moveTo>
                <a:lnTo>
                  <a:pt x="2505139" y="1"/>
                </a:lnTo>
                <a:lnTo>
                  <a:pt x="2505139" y="58794"/>
                </a:lnTo>
                <a:lnTo>
                  <a:pt x="2447972" y="58794"/>
                </a:lnTo>
                <a:close/>
                <a:moveTo>
                  <a:pt x="2368606" y="1"/>
                </a:moveTo>
                <a:lnTo>
                  <a:pt x="2427339" y="1"/>
                </a:lnTo>
                <a:lnTo>
                  <a:pt x="2427339" y="58794"/>
                </a:lnTo>
                <a:lnTo>
                  <a:pt x="2368606" y="58794"/>
                </a:lnTo>
                <a:close/>
                <a:moveTo>
                  <a:pt x="2289229" y="1"/>
                </a:moveTo>
                <a:lnTo>
                  <a:pt x="2347969" y="1"/>
                </a:lnTo>
                <a:lnTo>
                  <a:pt x="2347969" y="58794"/>
                </a:lnTo>
                <a:lnTo>
                  <a:pt x="2289229" y="58794"/>
                </a:lnTo>
                <a:close/>
                <a:moveTo>
                  <a:pt x="2209849" y="1"/>
                </a:moveTo>
                <a:lnTo>
                  <a:pt x="2268592" y="1"/>
                </a:lnTo>
                <a:lnTo>
                  <a:pt x="2268592" y="58794"/>
                </a:lnTo>
                <a:lnTo>
                  <a:pt x="2209849" y="58794"/>
                </a:lnTo>
                <a:close/>
                <a:moveTo>
                  <a:pt x="3552674" y="0"/>
                </a:moveTo>
                <a:lnTo>
                  <a:pt x="3609824" y="0"/>
                </a:lnTo>
                <a:lnTo>
                  <a:pt x="3609824" y="58794"/>
                </a:lnTo>
                <a:lnTo>
                  <a:pt x="3552674" y="58794"/>
                </a:lnTo>
                <a:close/>
                <a:moveTo>
                  <a:pt x="3473299" y="0"/>
                </a:moveTo>
                <a:lnTo>
                  <a:pt x="3532037" y="0"/>
                </a:lnTo>
                <a:lnTo>
                  <a:pt x="3532037" y="58794"/>
                </a:lnTo>
                <a:lnTo>
                  <a:pt x="3473299" y="58794"/>
                </a:lnTo>
                <a:close/>
                <a:moveTo>
                  <a:pt x="3393924" y="0"/>
                </a:moveTo>
                <a:lnTo>
                  <a:pt x="3452662" y="0"/>
                </a:lnTo>
                <a:lnTo>
                  <a:pt x="3452662" y="58794"/>
                </a:lnTo>
                <a:lnTo>
                  <a:pt x="3393924" y="58794"/>
                </a:lnTo>
                <a:close/>
                <a:moveTo>
                  <a:pt x="3314549" y="0"/>
                </a:moveTo>
                <a:lnTo>
                  <a:pt x="3373287" y="0"/>
                </a:lnTo>
                <a:lnTo>
                  <a:pt x="3373287" y="58794"/>
                </a:lnTo>
                <a:lnTo>
                  <a:pt x="3314549" y="58794"/>
                </a:lnTo>
                <a:close/>
                <a:moveTo>
                  <a:pt x="3236761" y="0"/>
                </a:moveTo>
                <a:lnTo>
                  <a:pt x="3293911" y="0"/>
                </a:lnTo>
                <a:lnTo>
                  <a:pt x="3293911" y="58794"/>
                </a:lnTo>
                <a:lnTo>
                  <a:pt x="3236761" y="58794"/>
                </a:lnTo>
                <a:close/>
                <a:moveTo>
                  <a:pt x="3157386" y="0"/>
                </a:moveTo>
                <a:lnTo>
                  <a:pt x="3216124" y="0"/>
                </a:lnTo>
                <a:lnTo>
                  <a:pt x="3216124" y="58794"/>
                </a:lnTo>
                <a:lnTo>
                  <a:pt x="3157386" y="58794"/>
                </a:lnTo>
                <a:close/>
                <a:moveTo>
                  <a:pt x="3078011" y="0"/>
                </a:moveTo>
                <a:lnTo>
                  <a:pt x="3136749" y="0"/>
                </a:lnTo>
                <a:lnTo>
                  <a:pt x="3136749" y="58794"/>
                </a:lnTo>
                <a:lnTo>
                  <a:pt x="3078011" y="58794"/>
                </a:lnTo>
                <a:close/>
                <a:moveTo>
                  <a:pt x="3630461" y="0"/>
                </a:moveTo>
                <a:lnTo>
                  <a:pt x="3689199" y="0"/>
                </a:lnTo>
                <a:lnTo>
                  <a:pt x="3689199" y="58794"/>
                </a:lnTo>
                <a:lnTo>
                  <a:pt x="3630461" y="58794"/>
                </a:lnTo>
                <a:close/>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62" name="Oval 2461">
            <a:extLst>
              <a:ext uri="{FF2B5EF4-FFF2-40B4-BE49-F238E27FC236}">
                <a16:creationId xmlns:a16="http://schemas.microsoft.com/office/drawing/2014/main" id="{C55A4DB3-C4EE-49D4-8E4D-4B1BF036E8E1}"/>
              </a:ext>
            </a:extLst>
          </p:cNvPr>
          <p:cNvSpPr/>
          <p:nvPr/>
        </p:nvSpPr>
        <p:spPr>
          <a:xfrm>
            <a:off x="6399330" y="3076438"/>
            <a:ext cx="457001" cy="457001"/>
          </a:xfrm>
          <a:prstGeom prst="ellipse">
            <a:avLst/>
          </a:prstGeom>
          <a:solidFill>
            <a:schemeClr val="accent2">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63" name="Oval 2462">
            <a:extLst>
              <a:ext uri="{FF2B5EF4-FFF2-40B4-BE49-F238E27FC236}">
                <a16:creationId xmlns:a16="http://schemas.microsoft.com/office/drawing/2014/main" id="{51C459F0-0794-4AEC-AA50-056E82D46767}"/>
              </a:ext>
            </a:extLst>
          </p:cNvPr>
          <p:cNvSpPr/>
          <p:nvPr/>
        </p:nvSpPr>
        <p:spPr>
          <a:xfrm>
            <a:off x="6475529" y="3143115"/>
            <a:ext cx="323649" cy="32364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64" name="Speech Bubble: Rectangle with Corners Rounded 2463">
            <a:extLst>
              <a:ext uri="{FF2B5EF4-FFF2-40B4-BE49-F238E27FC236}">
                <a16:creationId xmlns:a16="http://schemas.microsoft.com/office/drawing/2014/main" id="{9E7CB337-4DC3-4A43-9FFB-C96AF1F1C768}"/>
              </a:ext>
            </a:extLst>
          </p:cNvPr>
          <p:cNvSpPr/>
          <p:nvPr/>
        </p:nvSpPr>
        <p:spPr>
          <a:xfrm rot="5400000">
            <a:off x="7544067" y="2410146"/>
            <a:ext cx="822591" cy="2045666"/>
          </a:xfrm>
          <a:prstGeom prst="wedgeRoundRectCallout">
            <a:avLst>
              <a:gd name="adj1" fmla="val -24184"/>
              <a:gd name="adj2" fmla="val 60464"/>
              <a:gd name="adj3" fmla="val 16667"/>
            </a:avLst>
          </a:prstGeom>
          <a:solidFill>
            <a:schemeClr val="bg1"/>
          </a:solidFill>
          <a:ln>
            <a:noFill/>
          </a:ln>
          <a:effectLst>
            <a:outerShdw blurRad="889000" dist="228600" dir="8100000" sx="97000" sy="97000" algn="tr"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81" name="Oval 2480">
            <a:extLst>
              <a:ext uri="{FF2B5EF4-FFF2-40B4-BE49-F238E27FC236}">
                <a16:creationId xmlns:a16="http://schemas.microsoft.com/office/drawing/2014/main" id="{7C67DFF8-8E76-4C4D-9C4A-16B22A855778}"/>
              </a:ext>
            </a:extLst>
          </p:cNvPr>
          <p:cNvSpPr/>
          <p:nvPr/>
        </p:nvSpPr>
        <p:spPr>
          <a:xfrm>
            <a:off x="5843834" y="2752790"/>
            <a:ext cx="457001" cy="457001"/>
          </a:xfrm>
          <a:prstGeom prst="ellipse">
            <a:avLst/>
          </a:prstGeom>
          <a:solidFill>
            <a:schemeClr val="accent2">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82" name="Oval 2481">
            <a:extLst>
              <a:ext uri="{FF2B5EF4-FFF2-40B4-BE49-F238E27FC236}">
                <a16:creationId xmlns:a16="http://schemas.microsoft.com/office/drawing/2014/main" id="{800411EE-486A-4CE2-963C-39914295BEF1}"/>
              </a:ext>
            </a:extLst>
          </p:cNvPr>
          <p:cNvSpPr/>
          <p:nvPr/>
        </p:nvSpPr>
        <p:spPr>
          <a:xfrm>
            <a:off x="5910510" y="2819466"/>
            <a:ext cx="323649" cy="32364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TextBox 2464">
            <a:extLst>
              <a:ext uri="{FF2B5EF4-FFF2-40B4-BE49-F238E27FC236}">
                <a16:creationId xmlns:a16="http://schemas.microsoft.com/office/drawing/2014/main" id="{FEEE3827-696B-4C61-BD0E-9979EEC4DFAF}"/>
              </a:ext>
            </a:extLst>
          </p:cNvPr>
          <p:cNvSpPr txBox="1"/>
          <p:nvPr/>
        </p:nvSpPr>
        <p:spPr>
          <a:xfrm>
            <a:off x="7006046" y="3187709"/>
            <a:ext cx="1898632" cy="584775"/>
          </a:xfrm>
          <a:prstGeom prst="rect">
            <a:avLst/>
          </a:prstGeom>
          <a:noFill/>
        </p:spPr>
        <p:txBody>
          <a:bodyPr wrap="square" rtlCol="0">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tr-TR" sz="2000" b="0" i="0" u="none" strike="noStrike" kern="1200" cap="none" spc="-90" normalizeH="0" baseline="0" noProof="0" dirty="0" err="1">
                <a:ln>
                  <a:noFill/>
                </a:ln>
                <a:gradFill>
                  <a:gsLst>
                    <a:gs pos="1000">
                      <a:srgbClr val="19C8EB">
                        <a:lumMod val="75000"/>
                        <a:alpha val="81000"/>
                      </a:srgbClr>
                    </a:gs>
                    <a:gs pos="100000">
                      <a:srgbClr val="0070C0"/>
                    </a:gs>
                  </a:gsLst>
                  <a:lin ang="2700000" scaled="1"/>
                </a:gradFill>
                <a:effectLst/>
                <a:uLnTx/>
                <a:uFillTx/>
                <a:latin typeface="Franklin Gothic Medium Cond" panose="020B0606030402020204" pitchFamily="34" charset="0"/>
                <a:ea typeface="+mn-ea"/>
                <a:cs typeface="+mn-cs"/>
              </a:rPr>
              <a:t>Support</a:t>
            </a:r>
            <a:r>
              <a:rPr kumimoji="0" lang="tr-TR" sz="2000" b="0" i="0" u="none" strike="noStrike" kern="1200" cap="none" spc="-90" normalizeH="0" baseline="0" noProof="0" dirty="0">
                <a:ln>
                  <a:noFill/>
                </a:ln>
                <a:gradFill>
                  <a:gsLst>
                    <a:gs pos="1000">
                      <a:srgbClr val="19C8EB">
                        <a:lumMod val="75000"/>
                        <a:alpha val="81000"/>
                      </a:srgbClr>
                    </a:gs>
                    <a:gs pos="100000">
                      <a:srgbClr val="0070C0"/>
                    </a:gs>
                  </a:gsLst>
                  <a:lin ang="2700000" scaled="1"/>
                </a:gradFill>
                <a:effectLst/>
                <a:uLnTx/>
                <a:uFillTx/>
                <a:latin typeface="Franklin Gothic Medium Cond" panose="020B0606030402020204" pitchFamily="34" charset="0"/>
                <a:ea typeface="+mn-ea"/>
                <a:cs typeface="+mn-cs"/>
              </a:rPr>
              <a:t> </a:t>
            </a:r>
            <a:r>
              <a:rPr kumimoji="0" lang="tr-TR" sz="2000" b="0" i="0" u="none" strike="noStrike" kern="1200" cap="none" spc="-90" normalizeH="0" baseline="0" noProof="0" dirty="0" err="1">
                <a:ln>
                  <a:noFill/>
                </a:ln>
                <a:gradFill>
                  <a:gsLst>
                    <a:gs pos="1000">
                      <a:srgbClr val="19C8EB">
                        <a:lumMod val="75000"/>
                        <a:alpha val="81000"/>
                      </a:srgbClr>
                    </a:gs>
                    <a:gs pos="100000">
                      <a:srgbClr val="0070C0"/>
                    </a:gs>
                  </a:gsLst>
                  <a:lin ang="2700000" scaled="1"/>
                </a:gradFill>
                <a:effectLst/>
                <a:uLnTx/>
                <a:uFillTx/>
                <a:latin typeface="Franklin Gothic Medium Cond" panose="020B0606030402020204" pitchFamily="34" charset="0"/>
                <a:ea typeface="+mn-ea"/>
                <a:cs typeface="+mn-cs"/>
              </a:rPr>
              <a:t>team</a:t>
            </a:r>
            <a:r>
              <a:rPr kumimoji="0" lang="tr-TR" sz="2000" b="0" i="0" u="none" strike="noStrike" kern="1200" cap="none" spc="-90" normalizeH="0" baseline="0" noProof="0" dirty="0">
                <a:ln>
                  <a:noFill/>
                </a:ln>
                <a:gradFill>
                  <a:gsLst>
                    <a:gs pos="1000">
                      <a:srgbClr val="19C8EB">
                        <a:lumMod val="75000"/>
                        <a:alpha val="81000"/>
                      </a:srgbClr>
                    </a:gs>
                    <a:gs pos="100000">
                      <a:srgbClr val="0070C0"/>
                    </a:gs>
                  </a:gsLst>
                  <a:lin ang="2700000" scaled="1"/>
                </a:gradFill>
                <a:effectLst/>
                <a:uLnTx/>
                <a:uFillTx/>
                <a:latin typeface="Franklin Gothic Medium Cond" panose="020B0606030402020204" pitchFamily="34" charset="0"/>
                <a:ea typeface="+mn-ea"/>
                <a:cs typeface="+mn-cs"/>
              </a:rPr>
              <a:t> </a:t>
            </a:r>
            <a:r>
              <a:rPr kumimoji="0" lang="tr-TR" sz="2000" b="0" i="0" u="none" strike="noStrike" kern="1200" cap="none" spc="-90" normalizeH="0" baseline="0" noProof="0" dirty="0" err="1">
                <a:ln>
                  <a:noFill/>
                </a:ln>
                <a:gradFill>
                  <a:gsLst>
                    <a:gs pos="1000">
                      <a:srgbClr val="19C8EB">
                        <a:lumMod val="75000"/>
                        <a:alpha val="81000"/>
                      </a:srgbClr>
                    </a:gs>
                    <a:gs pos="100000">
                      <a:srgbClr val="0070C0"/>
                    </a:gs>
                  </a:gsLst>
                  <a:lin ang="2700000" scaled="1"/>
                </a:gradFill>
                <a:effectLst/>
                <a:uLnTx/>
                <a:uFillTx/>
                <a:latin typeface="Franklin Gothic Medium Cond" panose="020B0606030402020204" pitchFamily="34" charset="0"/>
                <a:ea typeface="+mn-ea"/>
                <a:cs typeface="+mn-cs"/>
              </a:rPr>
              <a:t>based</a:t>
            </a:r>
            <a:r>
              <a:rPr kumimoji="0" lang="tr-TR" sz="2000" b="0" i="0" u="none" strike="noStrike" kern="1200" cap="none" spc="-90" normalizeH="0" baseline="0" noProof="0" dirty="0">
                <a:ln>
                  <a:noFill/>
                </a:ln>
                <a:gradFill>
                  <a:gsLst>
                    <a:gs pos="1000">
                      <a:srgbClr val="19C8EB">
                        <a:lumMod val="75000"/>
                        <a:alpha val="81000"/>
                      </a:srgbClr>
                    </a:gs>
                    <a:gs pos="100000">
                      <a:srgbClr val="0070C0"/>
                    </a:gs>
                  </a:gsLst>
                  <a:lin ang="2700000" scaled="1"/>
                </a:gradFill>
                <a:effectLst/>
                <a:uLnTx/>
                <a:uFillTx/>
                <a:latin typeface="Franklin Gothic Medium Cond" panose="020B0606030402020204" pitchFamily="34" charset="0"/>
                <a:ea typeface="+mn-ea"/>
                <a:cs typeface="+mn-cs"/>
              </a:rPr>
              <a:t> in </a:t>
            </a:r>
            <a:r>
              <a:rPr kumimoji="0" lang="tr-TR" sz="2000" b="0" i="0" u="none" strike="noStrike" kern="1200" cap="none" spc="-90" normalizeH="0" baseline="0" noProof="0" dirty="0" err="1">
                <a:ln>
                  <a:noFill/>
                </a:ln>
                <a:gradFill>
                  <a:gsLst>
                    <a:gs pos="1000">
                      <a:srgbClr val="19C8EB">
                        <a:lumMod val="75000"/>
                        <a:alpha val="81000"/>
                      </a:srgbClr>
                    </a:gs>
                    <a:gs pos="100000">
                      <a:srgbClr val="0070C0"/>
                    </a:gs>
                  </a:gsLst>
                  <a:lin ang="2700000" scaled="1"/>
                </a:gradFill>
                <a:effectLst/>
                <a:uLnTx/>
                <a:uFillTx/>
                <a:latin typeface="Franklin Gothic Medium Cond" panose="020B0606030402020204" pitchFamily="34" charset="0"/>
                <a:ea typeface="+mn-ea"/>
                <a:cs typeface="+mn-cs"/>
              </a:rPr>
              <a:t>Istanbul</a:t>
            </a:r>
            <a:r>
              <a:rPr kumimoji="0" lang="tr-TR" sz="2000" b="0" i="0" u="none" strike="noStrike" kern="1200" cap="none" spc="-90" normalizeH="0" baseline="0" noProof="0" dirty="0">
                <a:ln>
                  <a:noFill/>
                </a:ln>
                <a:gradFill>
                  <a:gsLst>
                    <a:gs pos="1000">
                      <a:srgbClr val="19C8EB">
                        <a:lumMod val="75000"/>
                        <a:alpha val="81000"/>
                      </a:srgbClr>
                    </a:gs>
                    <a:gs pos="100000">
                      <a:srgbClr val="0070C0"/>
                    </a:gs>
                  </a:gsLst>
                  <a:lin ang="2700000" scaled="1"/>
                </a:gradFill>
                <a:effectLst/>
                <a:uLnTx/>
                <a:uFillTx/>
                <a:latin typeface="Franklin Gothic Medium Cond" panose="020B0606030402020204" pitchFamily="34" charset="0"/>
                <a:ea typeface="+mn-ea"/>
                <a:cs typeface="+mn-cs"/>
              </a:rPr>
              <a:t>.</a:t>
            </a:r>
            <a:endParaRPr kumimoji="0" lang="en-US" sz="2000" b="0" i="0" u="none" strike="noStrike" kern="1200" cap="none" spc="-90" normalizeH="0" baseline="0" noProof="0" dirty="0">
              <a:ln>
                <a:noFill/>
              </a:ln>
              <a:gradFill>
                <a:gsLst>
                  <a:gs pos="1000">
                    <a:srgbClr val="19C8EB">
                      <a:lumMod val="75000"/>
                      <a:alpha val="81000"/>
                    </a:srgbClr>
                  </a:gs>
                  <a:gs pos="100000">
                    <a:srgbClr val="0070C0"/>
                  </a:gs>
                </a:gsLst>
                <a:lin ang="2700000" scaled="1"/>
              </a:gradFill>
              <a:effectLst/>
              <a:uLnTx/>
              <a:uFillTx/>
              <a:latin typeface="Franklin Gothic Medium Cond" panose="020B0606030402020204" pitchFamily="34" charset="0"/>
              <a:ea typeface="+mn-ea"/>
              <a:cs typeface="+mn-cs"/>
            </a:endParaRPr>
          </a:p>
        </p:txBody>
      </p:sp>
      <p:sp>
        <p:nvSpPr>
          <p:cNvPr id="13" name="Speech Bubble: Rectangle with Corners Rounded 2470">
            <a:extLst>
              <a:ext uri="{FF2B5EF4-FFF2-40B4-BE49-F238E27FC236}">
                <a16:creationId xmlns:a16="http://schemas.microsoft.com/office/drawing/2014/main" id="{21A65442-AA59-4EA8-AE43-1A07AC6950E4}"/>
              </a:ext>
            </a:extLst>
          </p:cNvPr>
          <p:cNvSpPr/>
          <p:nvPr/>
        </p:nvSpPr>
        <p:spPr>
          <a:xfrm rot="16200000">
            <a:off x="6763108" y="1314704"/>
            <a:ext cx="653003" cy="2131515"/>
          </a:xfrm>
          <a:prstGeom prst="wedgeRoundRectCallout">
            <a:avLst>
              <a:gd name="adj1" fmla="val -91105"/>
              <a:gd name="adj2" fmla="val -50501"/>
              <a:gd name="adj3" fmla="val 16667"/>
            </a:avLst>
          </a:prstGeom>
          <a:solidFill>
            <a:schemeClr val="bg1"/>
          </a:solidFill>
          <a:ln>
            <a:noFill/>
          </a:ln>
          <a:effectLst>
            <a:outerShdw blurRad="889000" dist="228600" dir="8100000" sx="97000" sy="97000" algn="tr"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TextBox 2464">
            <a:extLst>
              <a:ext uri="{FF2B5EF4-FFF2-40B4-BE49-F238E27FC236}">
                <a16:creationId xmlns:a16="http://schemas.microsoft.com/office/drawing/2014/main" id="{FEEE3827-696B-4C61-BD0E-9979EEC4DFAF}"/>
              </a:ext>
            </a:extLst>
          </p:cNvPr>
          <p:cNvSpPr txBox="1"/>
          <p:nvPr/>
        </p:nvSpPr>
        <p:spPr>
          <a:xfrm>
            <a:off x="6140293" y="2111655"/>
            <a:ext cx="1898632" cy="584775"/>
          </a:xfrm>
          <a:prstGeom prst="rect">
            <a:avLst/>
          </a:prstGeom>
          <a:noFill/>
        </p:spPr>
        <p:txBody>
          <a:bodyPr wrap="square" rtlCol="0">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tr-TR" sz="2000" b="0" i="0" u="none" strike="noStrike" kern="1200" cap="none" spc="-90" normalizeH="0" baseline="0" noProof="0" dirty="0" err="1">
                <a:ln>
                  <a:noFill/>
                </a:ln>
                <a:gradFill>
                  <a:gsLst>
                    <a:gs pos="1000">
                      <a:srgbClr val="19C8EB">
                        <a:lumMod val="75000"/>
                        <a:alpha val="81000"/>
                      </a:srgbClr>
                    </a:gs>
                    <a:gs pos="100000">
                      <a:srgbClr val="0070C0"/>
                    </a:gs>
                  </a:gsLst>
                  <a:lin ang="2700000" scaled="1"/>
                </a:gradFill>
                <a:effectLst/>
                <a:uLnTx/>
                <a:uFillTx/>
                <a:latin typeface="Franklin Gothic Medium Cond" panose="020B0606030402020204" pitchFamily="34" charset="0"/>
                <a:ea typeface="+mn-ea"/>
                <a:cs typeface="+mn-cs"/>
              </a:rPr>
              <a:t>Core</a:t>
            </a:r>
            <a:r>
              <a:rPr kumimoji="0" lang="tr-TR" sz="2000" b="0" i="0" u="none" strike="noStrike" kern="1200" cap="none" spc="-90" normalizeH="0" baseline="0" noProof="0" dirty="0">
                <a:ln>
                  <a:noFill/>
                </a:ln>
                <a:gradFill>
                  <a:gsLst>
                    <a:gs pos="1000">
                      <a:srgbClr val="19C8EB">
                        <a:lumMod val="75000"/>
                        <a:alpha val="81000"/>
                      </a:srgbClr>
                    </a:gs>
                    <a:gs pos="100000">
                      <a:srgbClr val="0070C0"/>
                    </a:gs>
                  </a:gsLst>
                  <a:lin ang="2700000" scaled="1"/>
                </a:gradFill>
                <a:effectLst/>
                <a:uLnTx/>
                <a:uFillTx/>
                <a:latin typeface="Franklin Gothic Medium Cond" panose="020B0606030402020204" pitchFamily="34" charset="0"/>
                <a:ea typeface="+mn-ea"/>
                <a:cs typeface="+mn-cs"/>
              </a:rPr>
              <a:t> </a:t>
            </a:r>
            <a:r>
              <a:rPr kumimoji="0" lang="tr-TR" sz="2000" b="0" i="0" u="none" strike="noStrike" kern="1200" cap="none" spc="-90" normalizeH="0" baseline="0" noProof="0" dirty="0" err="1">
                <a:ln>
                  <a:noFill/>
                </a:ln>
                <a:gradFill>
                  <a:gsLst>
                    <a:gs pos="1000">
                      <a:srgbClr val="19C8EB">
                        <a:lumMod val="75000"/>
                        <a:alpha val="81000"/>
                      </a:srgbClr>
                    </a:gs>
                    <a:gs pos="100000">
                      <a:srgbClr val="0070C0"/>
                    </a:gs>
                  </a:gsLst>
                  <a:lin ang="2700000" scaled="1"/>
                </a:gradFill>
                <a:effectLst/>
                <a:uLnTx/>
                <a:uFillTx/>
                <a:latin typeface="Franklin Gothic Medium Cond" panose="020B0606030402020204" pitchFamily="34" charset="0"/>
                <a:ea typeface="+mn-ea"/>
                <a:cs typeface="+mn-cs"/>
              </a:rPr>
              <a:t>team</a:t>
            </a:r>
            <a:r>
              <a:rPr kumimoji="0" lang="tr-TR" sz="2000" b="0" i="0" u="none" strike="noStrike" kern="1200" cap="none" spc="-90" normalizeH="0" baseline="0" noProof="0" dirty="0">
                <a:ln>
                  <a:noFill/>
                </a:ln>
                <a:gradFill>
                  <a:gsLst>
                    <a:gs pos="1000">
                      <a:srgbClr val="19C8EB">
                        <a:lumMod val="75000"/>
                        <a:alpha val="81000"/>
                      </a:srgbClr>
                    </a:gs>
                    <a:gs pos="100000">
                      <a:srgbClr val="0070C0"/>
                    </a:gs>
                  </a:gsLst>
                  <a:lin ang="2700000" scaled="1"/>
                </a:gradFill>
                <a:effectLst/>
                <a:uLnTx/>
                <a:uFillTx/>
                <a:latin typeface="Franklin Gothic Medium Cond" panose="020B0606030402020204" pitchFamily="34" charset="0"/>
                <a:ea typeface="+mn-ea"/>
                <a:cs typeface="+mn-cs"/>
              </a:rPr>
              <a:t> </a:t>
            </a:r>
            <a:r>
              <a:rPr kumimoji="0" lang="tr-TR" sz="2000" b="0" i="0" u="none" strike="noStrike" kern="1200" cap="none" spc="-90" normalizeH="0" baseline="0" noProof="0" dirty="0" err="1">
                <a:ln>
                  <a:noFill/>
                </a:ln>
                <a:gradFill>
                  <a:gsLst>
                    <a:gs pos="1000">
                      <a:srgbClr val="19C8EB">
                        <a:lumMod val="75000"/>
                        <a:alpha val="81000"/>
                      </a:srgbClr>
                    </a:gs>
                    <a:gs pos="100000">
                      <a:srgbClr val="0070C0"/>
                    </a:gs>
                  </a:gsLst>
                  <a:lin ang="2700000" scaled="1"/>
                </a:gradFill>
                <a:effectLst/>
                <a:uLnTx/>
                <a:uFillTx/>
                <a:latin typeface="Franklin Gothic Medium Cond" panose="020B0606030402020204" pitchFamily="34" charset="0"/>
                <a:ea typeface="+mn-ea"/>
                <a:cs typeface="+mn-cs"/>
              </a:rPr>
              <a:t>based</a:t>
            </a:r>
            <a:r>
              <a:rPr kumimoji="0" lang="tr-TR" sz="2000" b="0" i="0" u="none" strike="noStrike" kern="1200" cap="none" spc="-90" normalizeH="0" baseline="0" noProof="0" dirty="0">
                <a:ln>
                  <a:noFill/>
                </a:ln>
                <a:gradFill>
                  <a:gsLst>
                    <a:gs pos="1000">
                      <a:srgbClr val="19C8EB">
                        <a:lumMod val="75000"/>
                        <a:alpha val="81000"/>
                      </a:srgbClr>
                    </a:gs>
                    <a:gs pos="100000">
                      <a:srgbClr val="0070C0"/>
                    </a:gs>
                  </a:gsLst>
                  <a:lin ang="2700000" scaled="1"/>
                </a:gradFill>
                <a:effectLst/>
                <a:uLnTx/>
                <a:uFillTx/>
                <a:latin typeface="Franklin Gothic Medium Cond" panose="020B0606030402020204" pitchFamily="34" charset="0"/>
                <a:ea typeface="+mn-ea"/>
                <a:cs typeface="+mn-cs"/>
              </a:rPr>
              <a:t> in Berlin.</a:t>
            </a:r>
            <a:endParaRPr kumimoji="0" lang="en-US" sz="2000" b="0" i="0" u="none" strike="noStrike" kern="1200" cap="none" spc="-90" normalizeH="0" baseline="0" noProof="0" dirty="0">
              <a:ln>
                <a:noFill/>
              </a:ln>
              <a:gradFill>
                <a:gsLst>
                  <a:gs pos="1000">
                    <a:srgbClr val="19C8EB">
                      <a:lumMod val="75000"/>
                      <a:alpha val="81000"/>
                    </a:srgbClr>
                  </a:gs>
                  <a:gs pos="100000">
                    <a:srgbClr val="0070C0"/>
                  </a:gs>
                </a:gsLst>
                <a:lin ang="2700000" scaled="1"/>
              </a:gradFill>
              <a:effectLst/>
              <a:uLnTx/>
              <a:uFillTx/>
              <a:latin typeface="Franklin Gothic Medium Cond" panose="020B0606030402020204" pitchFamily="34" charset="0"/>
              <a:ea typeface="+mn-ea"/>
              <a:cs typeface="+mn-cs"/>
            </a:endParaRPr>
          </a:p>
        </p:txBody>
      </p:sp>
      <p:sp>
        <p:nvSpPr>
          <p:cNvPr id="15" name="Dikdörtgen 14"/>
          <p:cNvSpPr/>
          <p:nvPr/>
        </p:nvSpPr>
        <p:spPr>
          <a:xfrm>
            <a:off x="593770" y="224752"/>
            <a:ext cx="12112580" cy="683264"/>
          </a:xfrm>
          <a:prstGeom prst="rect">
            <a:avLst/>
          </a:prstGeom>
        </p:spPr>
        <p:txBody>
          <a:bodyPr wrap="square">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tr-TR" sz="4800" b="0" i="0" u="none" strike="noStrike" kern="1200" cap="none" spc="-90" normalizeH="0" baseline="0" noProof="0" dirty="0" err="1">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rPr>
              <a:t>Operation</a:t>
            </a:r>
            <a:endParaRPr kumimoji="0" lang="tr-TR" sz="4800" b="0" i="0" u="none" strike="noStrike" kern="1200" cap="none" spc="-90" normalizeH="0" baseline="0" noProof="0" dirty="0">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endParaRPr>
          </a:p>
        </p:txBody>
      </p:sp>
      <p:sp>
        <p:nvSpPr>
          <p:cNvPr id="18" name="Rounded Rectangle 15"/>
          <p:cNvSpPr>
            <a:spLocks/>
          </p:cNvSpPr>
          <p:nvPr/>
        </p:nvSpPr>
        <p:spPr>
          <a:xfrm>
            <a:off x="225449" y="-152401"/>
            <a:ext cx="212701" cy="1102549"/>
          </a:xfrm>
          <a:prstGeom prst="roundRect">
            <a:avLst>
              <a:gd name="adj" fmla="val 50000"/>
            </a:avLst>
          </a:prstGeom>
          <a:gradFill flip="none" rotWithShape="1">
            <a:gsLst>
              <a:gs pos="0">
                <a:srgbClr val="EC2B8C"/>
              </a:gs>
              <a:gs pos="100000">
                <a:srgbClr val="8D27CB"/>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25178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Freeform: Shape 38">
            <a:extLst>
              <a:ext uri="{FF2B5EF4-FFF2-40B4-BE49-F238E27FC236}">
                <a16:creationId xmlns:a16="http://schemas.microsoft.com/office/drawing/2014/main" id="{8D661091-8B88-4D46-BF74-195DB3426FB5}"/>
              </a:ext>
            </a:extLst>
          </p:cNvPr>
          <p:cNvSpPr>
            <a:spLocks/>
          </p:cNvSpPr>
          <p:nvPr/>
        </p:nvSpPr>
        <p:spPr bwMode="auto">
          <a:xfrm>
            <a:off x="0" y="5609636"/>
            <a:ext cx="5071592" cy="1248364"/>
          </a:xfrm>
          <a:custGeom>
            <a:avLst/>
            <a:gdLst>
              <a:gd name="connsiteX0" fmla="*/ 2431580 w 5071592"/>
              <a:gd name="connsiteY0" fmla="*/ 0 h 1248364"/>
              <a:gd name="connsiteX1" fmla="*/ 5071592 w 5071592"/>
              <a:gd name="connsiteY1" fmla="*/ 0 h 1248364"/>
              <a:gd name="connsiteX2" fmla="*/ 5071592 w 5071592"/>
              <a:gd name="connsiteY2" fmla="*/ 1248364 h 1248364"/>
              <a:gd name="connsiteX3" fmla="*/ 0 w 5071592"/>
              <a:gd name="connsiteY3" fmla="*/ 1248364 h 1248364"/>
              <a:gd name="connsiteX4" fmla="*/ 0 w 5071592"/>
              <a:gd name="connsiteY4" fmla="*/ 921639 h 1248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71592" h="1248364">
                <a:moveTo>
                  <a:pt x="2431580" y="0"/>
                </a:moveTo>
                <a:lnTo>
                  <a:pt x="5071592" y="0"/>
                </a:lnTo>
                <a:lnTo>
                  <a:pt x="5071592" y="1248364"/>
                </a:lnTo>
                <a:lnTo>
                  <a:pt x="0" y="1248364"/>
                </a:lnTo>
                <a:lnTo>
                  <a:pt x="0" y="921639"/>
                </a:lnTo>
                <a:close/>
              </a:path>
            </a:pathLst>
          </a:custGeom>
          <a:solidFill>
            <a:schemeClr val="accent4">
              <a:lumMod val="75000"/>
            </a:schemeClr>
          </a:solidFill>
          <a:ln>
            <a:noFill/>
          </a:ln>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B0FB0"/>
              </a:solidFill>
              <a:effectLst/>
              <a:uLnTx/>
              <a:uFillTx/>
              <a:latin typeface="Calibri" panose="020F0502020204030204"/>
              <a:ea typeface="+mn-ea"/>
              <a:cs typeface="+mn-cs"/>
            </a:endParaRPr>
          </a:p>
        </p:txBody>
      </p:sp>
      <p:sp>
        <p:nvSpPr>
          <p:cNvPr id="32" name="Freeform 12">
            <a:extLst>
              <a:ext uri="{FF2B5EF4-FFF2-40B4-BE49-F238E27FC236}">
                <a16:creationId xmlns:a16="http://schemas.microsoft.com/office/drawing/2014/main" id="{CDFABEA3-8E5F-4F68-90A5-46B797E5904F}"/>
              </a:ext>
            </a:extLst>
          </p:cNvPr>
          <p:cNvSpPr>
            <a:spLocks/>
          </p:cNvSpPr>
          <p:nvPr/>
        </p:nvSpPr>
        <p:spPr bwMode="auto">
          <a:xfrm>
            <a:off x="3163417" y="4539661"/>
            <a:ext cx="3951288" cy="2176463"/>
          </a:xfrm>
          <a:custGeom>
            <a:avLst/>
            <a:gdLst>
              <a:gd name="T0" fmla="*/ 4977 w 4977"/>
              <a:gd name="T1" fmla="*/ 1288 h 2743"/>
              <a:gd name="T2" fmla="*/ 2760 w 4977"/>
              <a:gd name="T3" fmla="*/ 2743 h 2743"/>
              <a:gd name="T4" fmla="*/ 2760 w 4977"/>
              <a:gd name="T5" fmla="*/ 998 h 2743"/>
              <a:gd name="T6" fmla="*/ 0 w 4977"/>
              <a:gd name="T7" fmla="*/ 998 h 2743"/>
              <a:gd name="T8" fmla="*/ 2636 w 4977"/>
              <a:gd name="T9" fmla="*/ 0 h 2743"/>
              <a:gd name="T10" fmla="*/ 4977 w 4977"/>
              <a:gd name="T11" fmla="*/ 0 h 2743"/>
              <a:gd name="T12" fmla="*/ 4977 w 4977"/>
              <a:gd name="T13" fmla="*/ 1288 h 2743"/>
            </a:gdLst>
            <a:ahLst/>
            <a:cxnLst>
              <a:cxn ang="0">
                <a:pos x="T0" y="T1"/>
              </a:cxn>
              <a:cxn ang="0">
                <a:pos x="T2" y="T3"/>
              </a:cxn>
              <a:cxn ang="0">
                <a:pos x="T4" y="T5"/>
              </a:cxn>
              <a:cxn ang="0">
                <a:pos x="T6" y="T7"/>
              </a:cxn>
              <a:cxn ang="0">
                <a:pos x="T8" y="T9"/>
              </a:cxn>
              <a:cxn ang="0">
                <a:pos x="T10" y="T11"/>
              </a:cxn>
              <a:cxn ang="0">
                <a:pos x="T12" y="T13"/>
              </a:cxn>
            </a:cxnLst>
            <a:rect l="0" t="0" r="r" b="b"/>
            <a:pathLst>
              <a:path w="4977" h="2743">
                <a:moveTo>
                  <a:pt x="4977" y="1288"/>
                </a:moveTo>
                <a:lnTo>
                  <a:pt x="2760" y="2743"/>
                </a:lnTo>
                <a:lnTo>
                  <a:pt x="2760" y="998"/>
                </a:lnTo>
                <a:lnTo>
                  <a:pt x="0" y="998"/>
                </a:lnTo>
                <a:lnTo>
                  <a:pt x="2636" y="0"/>
                </a:lnTo>
                <a:lnTo>
                  <a:pt x="4977" y="0"/>
                </a:lnTo>
                <a:lnTo>
                  <a:pt x="4977" y="1288"/>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B0FB0"/>
              </a:solidFill>
              <a:effectLst/>
              <a:uLnTx/>
              <a:uFillTx/>
              <a:latin typeface="Calibri" panose="020F0502020204030204"/>
              <a:ea typeface="+mn-ea"/>
              <a:cs typeface="+mn-cs"/>
            </a:endParaRPr>
          </a:p>
        </p:txBody>
      </p:sp>
      <p:sp>
        <p:nvSpPr>
          <p:cNvPr id="33" name="Freeform 13">
            <a:extLst>
              <a:ext uri="{FF2B5EF4-FFF2-40B4-BE49-F238E27FC236}">
                <a16:creationId xmlns:a16="http://schemas.microsoft.com/office/drawing/2014/main" id="{89ACF8A7-09D2-4B39-9EB4-C470241819E6}"/>
              </a:ext>
            </a:extLst>
          </p:cNvPr>
          <p:cNvSpPr>
            <a:spLocks/>
          </p:cNvSpPr>
          <p:nvPr/>
        </p:nvSpPr>
        <p:spPr bwMode="auto">
          <a:xfrm>
            <a:off x="8765705" y="1572623"/>
            <a:ext cx="4384675" cy="2443163"/>
          </a:xfrm>
          <a:custGeom>
            <a:avLst/>
            <a:gdLst>
              <a:gd name="T0" fmla="*/ 879 w 5525"/>
              <a:gd name="T1" fmla="*/ 3078 h 3078"/>
              <a:gd name="T2" fmla="*/ 879 w 5525"/>
              <a:gd name="T3" fmla="*/ 2061 h 3078"/>
              <a:gd name="T4" fmla="*/ 0 w 5525"/>
              <a:gd name="T5" fmla="*/ 2061 h 3078"/>
              <a:gd name="T6" fmla="*/ 1713 w 5525"/>
              <a:gd name="T7" fmla="*/ 1413 h 3078"/>
              <a:gd name="T8" fmla="*/ 5525 w 5525"/>
              <a:gd name="T9" fmla="*/ 0 h 3078"/>
              <a:gd name="T10" fmla="*/ 879 w 5525"/>
              <a:gd name="T11" fmla="*/ 3078 h 3078"/>
            </a:gdLst>
            <a:ahLst/>
            <a:cxnLst>
              <a:cxn ang="0">
                <a:pos x="T0" y="T1"/>
              </a:cxn>
              <a:cxn ang="0">
                <a:pos x="T2" y="T3"/>
              </a:cxn>
              <a:cxn ang="0">
                <a:pos x="T4" y="T5"/>
              </a:cxn>
              <a:cxn ang="0">
                <a:pos x="T6" y="T7"/>
              </a:cxn>
              <a:cxn ang="0">
                <a:pos x="T8" y="T9"/>
              </a:cxn>
              <a:cxn ang="0">
                <a:pos x="T10" y="T11"/>
              </a:cxn>
            </a:cxnLst>
            <a:rect l="0" t="0" r="r" b="b"/>
            <a:pathLst>
              <a:path w="5525" h="3078">
                <a:moveTo>
                  <a:pt x="879" y="3078"/>
                </a:moveTo>
                <a:lnTo>
                  <a:pt x="879" y="2061"/>
                </a:lnTo>
                <a:lnTo>
                  <a:pt x="0" y="2061"/>
                </a:lnTo>
                <a:lnTo>
                  <a:pt x="1713" y="1413"/>
                </a:lnTo>
                <a:lnTo>
                  <a:pt x="5525" y="0"/>
                </a:lnTo>
                <a:lnTo>
                  <a:pt x="879" y="3078"/>
                </a:lnTo>
                <a:close/>
              </a:path>
            </a:pathLst>
          </a:custGeom>
          <a:solidFill>
            <a:schemeClr val="accent4">
              <a:lumMod val="75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B0FB0"/>
              </a:solidFill>
              <a:effectLst/>
              <a:uLnTx/>
              <a:uFillTx/>
              <a:latin typeface="Calibri" panose="020F0502020204030204"/>
              <a:ea typeface="+mn-ea"/>
              <a:cs typeface="+mn-cs"/>
            </a:endParaRPr>
          </a:p>
        </p:txBody>
      </p:sp>
      <p:sp>
        <p:nvSpPr>
          <p:cNvPr id="34" name="Freeform 14">
            <a:extLst>
              <a:ext uri="{FF2B5EF4-FFF2-40B4-BE49-F238E27FC236}">
                <a16:creationId xmlns:a16="http://schemas.microsoft.com/office/drawing/2014/main" id="{9AF4DA91-AB9D-4455-B993-56630E5E9619}"/>
              </a:ext>
            </a:extLst>
          </p:cNvPr>
          <p:cNvSpPr>
            <a:spLocks/>
          </p:cNvSpPr>
          <p:nvPr/>
        </p:nvSpPr>
        <p:spPr bwMode="auto">
          <a:xfrm>
            <a:off x="5989167" y="3485561"/>
            <a:ext cx="3190875" cy="1890713"/>
          </a:xfrm>
          <a:custGeom>
            <a:avLst/>
            <a:gdLst>
              <a:gd name="T0" fmla="*/ 4019 w 4019"/>
              <a:gd name="T1" fmla="*/ 908 h 2381"/>
              <a:gd name="T2" fmla="*/ 1775 w 4019"/>
              <a:gd name="T3" fmla="*/ 2381 h 2381"/>
              <a:gd name="T4" fmla="*/ 1775 w 4019"/>
              <a:gd name="T5" fmla="*/ 977 h 2381"/>
              <a:gd name="T6" fmla="*/ 0 w 4019"/>
              <a:gd name="T7" fmla="*/ 977 h 2381"/>
              <a:gd name="T8" fmla="*/ 2575 w 4019"/>
              <a:gd name="T9" fmla="*/ 0 h 2381"/>
              <a:gd name="T10" fmla="*/ 4019 w 4019"/>
              <a:gd name="T11" fmla="*/ 0 h 2381"/>
              <a:gd name="T12" fmla="*/ 4019 w 4019"/>
              <a:gd name="T13" fmla="*/ 908 h 2381"/>
            </a:gdLst>
            <a:ahLst/>
            <a:cxnLst>
              <a:cxn ang="0">
                <a:pos x="T0" y="T1"/>
              </a:cxn>
              <a:cxn ang="0">
                <a:pos x="T2" y="T3"/>
              </a:cxn>
              <a:cxn ang="0">
                <a:pos x="T4" y="T5"/>
              </a:cxn>
              <a:cxn ang="0">
                <a:pos x="T6" y="T7"/>
              </a:cxn>
              <a:cxn ang="0">
                <a:pos x="T8" y="T9"/>
              </a:cxn>
              <a:cxn ang="0">
                <a:pos x="T10" y="T11"/>
              </a:cxn>
              <a:cxn ang="0">
                <a:pos x="T12" y="T13"/>
              </a:cxn>
            </a:cxnLst>
            <a:rect l="0" t="0" r="r" b="b"/>
            <a:pathLst>
              <a:path w="4019" h="2381">
                <a:moveTo>
                  <a:pt x="4019" y="908"/>
                </a:moveTo>
                <a:lnTo>
                  <a:pt x="1775" y="2381"/>
                </a:lnTo>
                <a:lnTo>
                  <a:pt x="1775" y="977"/>
                </a:lnTo>
                <a:lnTo>
                  <a:pt x="0" y="977"/>
                </a:lnTo>
                <a:lnTo>
                  <a:pt x="2575" y="0"/>
                </a:lnTo>
                <a:lnTo>
                  <a:pt x="4019" y="0"/>
                </a:lnTo>
                <a:lnTo>
                  <a:pt x="4019" y="908"/>
                </a:lnTo>
                <a:close/>
              </a:path>
            </a:pathLst>
          </a:custGeom>
          <a:gradFill>
            <a:gsLst>
              <a:gs pos="0">
                <a:schemeClr val="accent1"/>
              </a:gs>
              <a:gs pos="100000">
                <a:schemeClr val="accent2"/>
              </a:gs>
            </a:gsLst>
            <a:lin ang="27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B0FB0"/>
              </a:solidFill>
              <a:effectLst/>
              <a:uLnTx/>
              <a:uFillTx/>
              <a:latin typeface="Calibri" panose="020F0502020204030204"/>
              <a:ea typeface="+mn-ea"/>
              <a:cs typeface="+mn-cs"/>
            </a:endParaRPr>
          </a:p>
        </p:txBody>
      </p:sp>
      <p:sp>
        <p:nvSpPr>
          <p:cNvPr id="16" name="Oval 15">
            <a:extLst>
              <a:ext uri="{FF2B5EF4-FFF2-40B4-BE49-F238E27FC236}">
                <a16:creationId xmlns:a16="http://schemas.microsoft.com/office/drawing/2014/main" id="{644CC625-CB97-4C44-BC01-6E2093F1CC6C}"/>
              </a:ext>
            </a:extLst>
          </p:cNvPr>
          <p:cNvSpPr/>
          <p:nvPr/>
        </p:nvSpPr>
        <p:spPr>
          <a:xfrm>
            <a:off x="2797157" y="5827857"/>
            <a:ext cx="954742" cy="322729"/>
          </a:xfrm>
          <a:prstGeom prst="ellipse">
            <a:avLst/>
          </a:prstGeom>
          <a:solidFill>
            <a:schemeClr val="bg1"/>
          </a:solidFill>
          <a:ln>
            <a:noFill/>
          </a:ln>
          <a:effectLst>
            <a:outerShdw blurRad="596900" dist="50800" dir="5400000" algn="ctr" rotWithShape="0">
              <a:srgbClr val="000000">
                <a:alpha val="2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B0FB0"/>
              </a:solidFill>
              <a:effectLst/>
              <a:uLnTx/>
              <a:uFillTx/>
              <a:latin typeface="Calibri" panose="020F0502020204030204"/>
              <a:ea typeface="+mn-ea"/>
              <a:cs typeface="+mn-cs"/>
            </a:endParaRPr>
          </a:p>
        </p:txBody>
      </p:sp>
      <p:sp>
        <p:nvSpPr>
          <p:cNvPr id="18" name="Oval 17">
            <a:extLst>
              <a:ext uri="{FF2B5EF4-FFF2-40B4-BE49-F238E27FC236}">
                <a16:creationId xmlns:a16="http://schemas.microsoft.com/office/drawing/2014/main" id="{3258214C-0359-408B-8B39-2424509F3157}"/>
              </a:ext>
            </a:extLst>
          </p:cNvPr>
          <p:cNvSpPr/>
          <p:nvPr/>
        </p:nvSpPr>
        <p:spPr>
          <a:xfrm>
            <a:off x="3123081" y="3716001"/>
            <a:ext cx="336730" cy="336730"/>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B0FB0"/>
              </a:solidFill>
              <a:effectLst/>
              <a:uLnTx/>
              <a:uFillTx/>
              <a:latin typeface="Calibri" panose="020F0502020204030204"/>
              <a:ea typeface="+mn-ea"/>
              <a:cs typeface="+mn-cs"/>
            </a:endParaRPr>
          </a:p>
        </p:txBody>
      </p:sp>
      <p:sp>
        <p:nvSpPr>
          <p:cNvPr id="19" name="Oval 18">
            <a:extLst>
              <a:ext uri="{FF2B5EF4-FFF2-40B4-BE49-F238E27FC236}">
                <a16:creationId xmlns:a16="http://schemas.microsoft.com/office/drawing/2014/main" id="{4F25743F-8E16-4816-AF0A-B73215221A98}"/>
              </a:ext>
            </a:extLst>
          </p:cNvPr>
          <p:cNvSpPr/>
          <p:nvPr/>
        </p:nvSpPr>
        <p:spPr>
          <a:xfrm>
            <a:off x="3182614" y="3774969"/>
            <a:ext cx="218795" cy="218795"/>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B0FB0"/>
              </a:solidFill>
              <a:effectLst/>
              <a:uLnTx/>
              <a:uFillTx/>
              <a:latin typeface="Calibri" panose="020F0502020204030204"/>
              <a:ea typeface="+mn-ea"/>
              <a:cs typeface="+mn-cs"/>
            </a:endParaRPr>
          </a:p>
        </p:txBody>
      </p:sp>
      <p:cxnSp>
        <p:nvCxnSpPr>
          <p:cNvPr id="20" name="Straight Connector 19">
            <a:extLst>
              <a:ext uri="{FF2B5EF4-FFF2-40B4-BE49-F238E27FC236}">
                <a16:creationId xmlns:a16="http://schemas.microsoft.com/office/drawing/2014/main" id="{68D055F9-0D65-4DA0-9188-CC4D2826755E}"/>
              </a:ext>
            </a:extLst>
          </p:cNvPr>
          <p:cNvCxnSpPr>
            <a:cxnSpLocks/>
            <a:stCxn id="18" idx="4"/>
          </p:cNvCxnSpPr>
          <p:nvPr/>
        </p:nvCxnSpPr>
        <p:spPr>
          <a:xfrm>
            <a:off x="3291446" y="4052731"/>
            <a:ext cx="0" cy="1936490"/>
          </a:xfrm>
          <a:prstGeom prst="line">
            <a:avLst/>
          </a:prstGeom>
          <a:ln cap="sq">
            <a:solidFill>
              <a:schemeClr val="bg1">
                <a:lumMod val="85000"/>
              </a:schemeClr>
            </a:solidFill>
            <a:tailEnd type="oval"/>
          </a:ln>
        </p:spPr>
        <p:style>
          <a:lnRef idx="1">
            <a:schemeClr val="accent1"/>
          </a:lnRef>
          <a:fillRef idx="0">
            <a:schemeClr val="accent1"/>
          </a:fillRef>
          <a:effectRef idx="0">
            <a:schemeClr val="accent1"/>
          </a:effectRef>
          <a:fontRef idx="minor">
            <a:schemeClr val="tx1"/>
          </a:fontRef>
        </p:style>
      </p:cxnSp>
      <p:sp>
        <p:nvSpPr>
          <p:cNvPr id="22" name="Oval 21">
            <a:extLst>
              <a:ext uri="{FF2B5EF4-FFF2-40B4-BE49-F238E27FC236}">
                <a16:creationId xmlns:a16="http://schemas.microsoft.com/office/drawing/2014/main" id="{7976BFE6-9806-455C-A63A-18786BB06E1B}"/>
              </a:ext>
            </a:extLst>
          </p:cNvPr>
          <p:cNvSpPr/>
          <p:nvPr/>
        </p:nvSpPr>
        <p:spPr>
          <a:xfrm>
            <a:off x="5408774" y="4702266"/>
            <a:ext cx="838765" cy="283526"/>
          </a:xfrm>
          <a:prstGeom prst="ellipse">
            <a:avLst/>
          </a:prstGeom>
          <a:solidFill>
            <a:schemeClr val="bg1"/>
          </a:solidFill>
          <a:ln>
            <a:noFill/>
          </a:ln>
          <a:effectLst>
            <a:outerShdw blurRad="596900" dist="50800" dir="5400000" algn="ctr" rotWithShape="0">
              <a:srgbClr val="000000">
                <a:alpha val="2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B0FB0"/>
              </a:solidFill>
              <a:effectLst/>
              <a:uLnTx/>
              <a:uFillTx/>
              <a:latin typeface="Calibri" panose="020F0502020204030204"/>
              <a:ea typeface="+mn-ea"/>
              <a:cs typeface="+mn-cs"/>
            </a:endParaRPr>
          </a:p>
        </p:txBody>
      </p:sp>
      <p:sp>
        <p:nvSpPr>
          <p:cNvPr id="24" name="Oval 23">
            <a:extLst>
              <a:ext uri="{FF2B5EF4-FFF2-40B4-BE49-F238E27FC236}">
                <a16:creationId xmlns:a16="http://schemas.microsoft.com/office/drawing/2014/main" id="{37889C68-733C-4BB9-ADAA-3B39BC0A73BD}"/>
              </a:ext>
            </a:extLst>
          </p:cNvPr>
          <p:cNvSpPr/>
          <p:nvPr/>
        </p:nvSpPr>
        <p:spPr>
          <a:xfrm>
            <a:off x="5659791" y="2640964"/>
            <a:ext cx="336730" cy="336730"/>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B0FB0"/>
              </a:solidFill>
              <a:effectLst/>
              <a:uLnTx/>
              <a:uFillTx/>
              <a:latin typeface="Calibri" panose="020F0502020204030204"/>
              <a:ea typeface="+mn-ea"/>
              <a:cs typeface="+mn-cs"/>
            </a:endParaRPr>
          </a:p>
        </p:txBody>
      </p:sp>
      <p:sp>
        <p:nvSpPr>
          <p:cNvPr id="25" name="Oval 24">
            <a:extLst>
              <a:ext uri="{FF2B5EF4-FFF2-40B4-BE49-F238E27FC236}">
                <a16:creationId xmlns:a16="http://schemas.microsoft.com/office/drawing/2014/main" id="{A5F52B63-3E7E-4E71-B295-2F29851E89AC}"/>
              </a:ext>
            </a:extLst>
          </p:cNvPr>
          <p:cNvSpPr/>
          <p:nvPr/>
        </p:nvSpPr>
        <p:spPr>
          <a:xfrm>
            <a:off x="5719324" y="2699932"/>
            <a:ext cx="218795" cy="218795"/>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B0FB0"/>
              </a:solidFill>
              <a:effectLst/>
              <a:uLnTx/>
              <a:uFillTx/>
              <a:latin typeface="Calibri" panose="020F0502020204030204"/>
              <a:ea typeface="+mn-ea"/>
              <a:cs typeface="+mn-cs"/>
            </a:endParaRPr>
          </a:p>
        </p:txBody>
      </p:sp>
      <p:cxnSp>
        <p:nvCxnSpPr>
          <p:cNvPr id="26" name="Straight Connector 25">
            <a:extLst>
              <a:ext uri="{FF2B5EF4-FFF2-40B4-BE49-F238E27FC236}">
                <a16:creationId xmlns:a16="http://schemas.microsoft.com/office/drawing/2014/main" id="{DC3EC708-B076-42C2-898F-11DE1306F50F}"/>
              </a:ext>
            </a:extLst>
          </p:cNvPr>
          <p:cNvCxnSpPr>
            <a:cxnSpLocks/>
            <a:stCxn id="24" idx="4"/>
          </p:cNvCxnSpPr>
          <p:nvPr/>
        </p:nvCxnSpPr>
        <p:spPr>
          <a:xfrm>
            <a:off x="5828156" y="2977694"/>
            <a:ext cx="0" cy="1866335"/>
          </a:xfrm>
          <a:prstGeom prst="line">
            <a:avLst/>
          </a:prstGeom>
          <a:ln cap="sq">
            <a:solidFill>
              <a:schemeClr val="bg1">
                <a:lumMod val="85000"/>
              </a:schemeClr>
            </a:solidFill>
            <a:tailEnd type="oval"/>
          </a:ln>
        </p:spPr>
        <p:style>
          <a:lnRef idx="1">
            <a:schemeClr val="accent1"/>
          </a:lnRef>
          <a:fillRef idx="0">
            <a:schemeClr val="accent1"/>
          </a:fillRef>
          <a:effectRef idx="0">
            <a:schemeClr val="accent1"/>
          </a:effectRef>
          <a:fontRef idx="minor">
            <a:schemeClr val="tx1"/>
          </a:fontRef>
        </p:style>
      </p:cxnSp>
      <p:sp>
        <p:nvSpPr>
          <p:cNvPr id="44" name="Oval 43">
            <a:extLst>
              <a:ext uri="{FF2B5EF4-FFF2-40B4-BE49-F238E27FC236}">
                <a16:creationId xmlns:a16="http://schemas.microsoft.com/office/drawing/2014/main" id="{9D9C5934-816B-4D96-8AD7-3823DD384E8A}"/>
              </a:ext>
            </a:extLst>
          </p:cNvPr>
          <p:cNvSpPr/>
          <p:nvPr/>
        </p:nvSpPr>
        <p:spPr>
          <a:xfrm>
            <a:off x="8165427" y="3665058"/>
            <a:ext cx="720899" cy="243684"/>
          </a:xfrm>
          <a:prstGeom prst="ellipse">
            <a:avLst/>
          </a:prstGeom>
          <a:solidFill>
            <a:schemeClr val="bg1"/>
          </a:solidFill>
          <a:ln>
            <a:noFill/>
          </a:ln>
          <a:effectLst>
            <a:outerShdw blurRad="596900" dist="50800" dir="5400000" algn="ctr" rotWithShape="0">
              <a:srgbClr val="000000">
                <a:alpha val="2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B0FB0"/>
              </a:solidFill>
              <a:effectLst/>
              <a:uLnTx/>
              <a:uFillTx/>
              <a:latin typeface="Calibri" panose="020F0502020204030204"/>
              <a:ea typeface="+mn-ea"/>
              <a:cs typeface="+mn-cs"/>
            </a:endParaRPr>
          </a:p>
        </p:txBody>
      </p:sp>
      <p:sp>
        <p:nvSpPr>
          <p:cNvPr id="46" name="Oval 45">
            <a:extLst>
              <a:ext uri="{FF2B5EF4-FFF2-40B4-BE49-F238E27FC236}">
                <a16:creationId xmlns:a16="http://schemas.microsoft.com/office/drawing/2014/main" id="{39653BAE-270B-4BB9-8423-99470577F373}"/>
              </a:ext>
            </a:extLst>
          </p:cNvPr>
          <p:cNvSpPr/>
          <p:nvPr/>
        </p:nvSpPr>
        <p:spPr>
          <a:xfrm>
            <a:off x="8357512" y="1522653"/>
            <a:ext cx="336730" cy="336730"/>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B0FB0"/>
              </a:solidFill>
              <a:effectLst/>
              <a:uLnTx/>
              <a:uFillTx/>
              <a:latin typeface="Calibri" panose="020F0502020204030204"/>
              <a:ea typeface="+mn-ea"/>
              <a:cs typeface="+mn-cs"/>
            </a:endParaRPr>
          </a:p>
        </p:txBody>
      </p:sp>
      <p:sp>
        <p:nvSpPr>
          <p:cNvPr id="47" name="Oval 46">
            <a:extLst>
              <a:ext uri="{FF2B5EF4-FFF2-40B4-BE49-F238E27FC236}">
                <a16:creationId xmlns:a16="http://schemas.microsoft.com/office/drawing/2014/main" id="{2FECE2CD-1E94-4E95-878B-0E69CA5F3173}"/>
              </a:ext>
            </a:extLst>
          </p:cNvPr>
          <p:cNvSpPr/>
          <p:nvPr/>
        </p:nvSpPr>
        <p:spPr>
          <a:xfrm>
            <a:off x="8417045" y="1581621"/>
            <a:ext cx="218795" cy="218795"/>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B0FB0"/>
              </a:solidFill>
              <a:effectLst/>
              <a:uLnTx/>
              <a:uFillTx/>
              <a:latin typeface="Calibri" panose="020F0502020204030204"/>
              <a:ea typeface="+mn-ea"/>
              <a:cs typeface="+mn-cs"/>
            </a:endParaRPr>
          </a:p>
        </p:txBody>
      </p:sp>
      <p:cxnSp>
        <p:nvCxnSpPr>
          <p:cNvPr id="48" name="Straight Connector 47">
            <a:extLst>
              <a:ext uri="{FF2B5EF4-FFF2-40B4-BE49-F238E27FC236}">
                <a16:creationId xmlns:a16="http://schemas.microsoft.com/office/drawing/2014/main" id="{EE183470-CEB8-4F9C-8067-F4AE2EEDF152}"/>
              </a:ext>
            </a:extLst>
          </p:cNvPr>
          <p:cNvCxnSpPr>
            <a:cxnSpLocks/>
            <a:stCxn id="46" idx="4"/>
          </p:cNvCxnSpPr>
          <p:nvPr/>
        </p:nvCxnSpPr>
        <p:spPr>
          <a:xfrm>
            <a:off x="8525877" y="1859383"/>
            <a:ext cx="0" cy="1927517"/>
          </a:xfrm>
          <a:prstGeom prst="line">
            <a:avLst/>
          </a:prstGeom>
          <a:ln cap="sq">
            <a:solidFill>
              <a:schemeClr val="bg1">
                <a:lumMod val="85000"/>
              </a:schemeClr>
            </a:solidFill>
            <a:tailEnd type="oval"/>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00A8A631-DE5C-40D9-93C4-AE382AE7CC06}"/>
              </a:ext>
            </a:extLst>
          </p:cNvPr>
          <p:cNvSpPr/>
          <p:nvPr/>
        </p:nvSpPr>
        <p:spPr>
          <a:xfrm>
            <a:off x="10760535" y="2471385"/>
            <a:ext cx="559140" cy="189005"/>
          </a:xfrm>
          <a:prstGeom prst="ellipse">
            <a:avLst/>
          </a:prstGeom>
          <a:solidFill>
            <a:schemeClr val="bg1"/>
          </a:solidFill>
          <a:ln>
            <a:noFill/>
          </a:ln>
          <a:effectLst>
            <a:outerShdw blurRad="596900" dist="50800" dir="5400000" algn="ctr" rotWithShape="0">
              <a:srgbClr val="000000">
                <a:alpha val="2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B0FB0"/>
              </a:solidFill>
              <a:effectLst/>
              <a:uLnTx/>
              <a:uFillTx/>
              <a:latin typeface="Calibri" panose="020F0502020204030204"/>
              <a:ea typeface="+mn-ea"/>
              <a:cs typeface="+mn-cs"/>
            </a:endParaRPr>
          </a:p>
        </p:txBody>
      </p:sp>
      <p:sp>
        <p:nvSpPr>
          <p:cNvPr id="51" name="Oval 50">
            <a:extLst>
              <a:ext uri="{FF2B5EF4-FFF2-40B4-BE49-F238E27FC236}">
                <a16:creationId xmlns:a16="http://schemas.microsoft.com/office/drawing/2014/main" id="{91F2CACD-77DE-48D1-A356-585362DC436B}"/>
              </a:ext>
            </a:extLst>
          </p:cNvPr>
          <p:cNvSpPr/>
          <p:nvPr/>
        </p:nvSpPr>
        <p:spPr>
          <a:xfrm>
            <a:off x="10871740" y="455433"/>
            <a:ext cx="336730" cy="336730"/>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B0FB0"/>
              </a:solidFill>
              <a:effectLst/>
              <a:uLnTx/>
              <a:uFillTx/>
              <a:latin typeface="Calibri" panose="020F0502020204030204"/>
              <a:ea typeface="+mn-ea"/>
              <a:cs typeface="+mn-cs"/>
            </a:endParaRPr>
          </a:p>
        </p:txBody>
      </p:sp>
      <p:sp>
        <p:nvSpPr>
          <p:cNvPr id="52" name="Oval 51">
            <a:extLst>
              <a:ext uri="{FF2B5EF4-FFF2-40B4-BE49-F238E27FC236}">
                <a16:creationId xmlns:a16="http://schemas.microsoft.com/office/drawing/2014/main" id="{924A3B0F-DCD2-46FA-AD80-6E87B7F3F1AA}"/>
              </a:ext>
            </a:extLst>
          </p:cNvPr>
          <p:cNvSpPr/>
          <p:nvPr/>
        </p:nvSpPr>
        <p:spPr>
          <a:xfrm>
            <a:off x="10931273" y="514401"/>
            <a:ext cx="218795" cy="218795"/>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B0FB0"/>
              </a:solidFill>
              <a:effectLst/>
              <a:uLnTx/>
              <a:uFillTx/>
              <a:latin typeface="Calibri" panose="020F0502020204030204"/>
              <a:ea typeface="+mn-ea"/>
              <a:cs typeface="+mn-cs"/>
            </a:endParaRPr>
          </a:p>
        </p:txBody>
      </p:sp>
      <p:cxnSp>
        <p:nvCxnSpPr>
          <p:cNvPr id="53" name="Straight Connector 52">
            <a:extLst>
              <a:ext uri="{FF2B5EF4-FFF2-40B4-BE49-F238E27FC236}">
                <a16:creationId xmlns:a16="http://schemas.microsoft.com/office/drawing/2014/main" id="{0656641D-08DF-4883-9BEF-7CD3DF05DEB4}"/>
              </a:ext>
            </a:extLst>
          </p:cNvPr>
          <p:cNvCxnSpPr>
            <a:cxnSpLocks/>
            <a:stCxn id="51" idx="4"/>
            <a:endCxn id="49" idx="0"/>
          </p:cNvCxnSpPr>
          <p:nvPr/>
        </p:nvCxnSpPr>
        <p:spPr>
          <a:xfrm>
            <a:off x="11040105" y="792163"/>
            <a:ext cx="0" cy="1679222"/>
          </a:xfrm>
          <a:prstGeom prst="line">
            <a:avLst/>
          </a:prstGeom>
          <a:ln cap="sq">
            <a:solidFill>
              <a:schemeClr val="bg1">
                <a:lumMod val="85000"/>
              </a:schemeClr>
            </a:solidFill>
            <a:tailEnd type="ova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3AF22472-B9CE-479A-B2FA-79CFB0921360}"/>
              </a:ext>
            </a:extLst>
          </p:cNvPr>
          <p:cNvSpPr/>
          <p:nvPr/>
        </p:nvSpPr>
        <p:spPr>
          <a:xfrm>
            <a:off x="1082256" y="4186571"/>
            <a:ext cx="2131526" cy="584775"/>
          </a:xfrm>
          <a:prstGeom prst="rect">
            <a:avLst/>
          </a:prstGeom>
        </p:spPr>
        <p:txBody>
          <a:bodyPr wrap="square">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tr-TR" sz="2000" b="0" i="0" u="none" strike="noStrike" kern="1200" cap="none" spc="-90" normalizeH="0" baseline="0" noProof="0" dirty="0">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rPr>
              <a:t>Accounts, Money Transfer, Debit Card</a:t>
            </a:r>
            <a:endParaRPr kumimoji="0" lang="en-US" sz="2000" b="0" i="0" u="none" strike="noStrike" kern="1200" cap="none" spc="-90" normalizeH="0" baseline="0" noProof="0" dirty="0">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endParaRPr>
          </a:p>
        </p:txBody>
      </p:sp>
      <p:sp>
        <p:nvSpPr>
          <p:cNvPr id="65" name="TextBox 64">
            <a:extLst>
              <a:ext uri="{FF2B5EF4-FFF2-40B4-BE49-F238E27FC236}">
                <a16:creationId xmlns:a16="http://schemas.microsoft.com/office/drawing/2014/main" id="{AEFE748F-1414-4CFC-B3FB-561AE5848535}"/>
              </a:ext>
            </a:extLst>
          </p:cNvPr>
          <p:cNvSpPr txBox="1"/>
          <p:nvPr/>
        </p:nvSpPr>
        <p:spPr>
          <a:xfrm>
            <a:off x="1078480" y="3737828"/>
            <a:ext cx="2172441" cy="535531"/>
          </a:xfrm>
          <a:prstGeom prst="rect">
            <a:avLst/>
          </a:prstGeom>
          <a:noFill/>
        </p:spPr>
        <p:txBody>
          <a:bodyPr wrap="square" rtlCol="0">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tr-TR" sz="3600" b="0" i="0" u="none" strike="noStrike" kern="1200" cap="none" spc="-90" normalizeH="0" baseline="0" noProof="0" dirty="0" err="1">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rPr>
              <a:t>Phase</a:t>
            </a:r>
            <a:endParaRPr kumimoji="0" lang="en-US" sz="3600" b="0" i="0" u="none" strike="noStrike" kern="1200" cap="none" spc="-90" normalizeH="0" baseline="0" noProof="0" dirty="0">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endParaRPr>
          </a:p>
        </p:txBody>
      </p:sp>
      <p:sp>
        <p:nvSpPr>
          <p:cNvPr id="66" name="Rectangle 65">
            <a:extLst>
              <a:ext uri="{FF2B5EF4-FFF2-40B4-BE49-F238E27FC236}">
                <a16:creationId xmlns:a16="http://schemas.microsoft.com/office/drawing/2014/main" id="{A9EADF66-418B-40AC-BC1F-F636D7F099B6}"/>
              </a:ext>
            </a:extLst>
          </p:cNvPr>
          <p:cNvSpPr/>
          <p:nvPr/>
        </p:nvSpPr>
        <p:spPr>
          <a:xfrm>
            <a:off x="3746628" y="3114425"/>
            <a:ext cx="2175522" cy="584775"/>
          </a:xfrm>
          <a:prstGeom prst="rect">
            <a:avLst/>
          </a:prstGeom>
        </p:spPr>
        <p:txBody>
          <a:bodyPr wrap="square">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tr-TR" sz="2000" b="0" i="0" u="none" strike="noStrike" kern="1200" cap="none" spc="-90" normalizeH="0" baseline="0" noProof="0" dirty="0">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rPr>
              <a:t>Participation Accounts, </a:t>
            </a:r>
            <a:r>
              <a:rPr kumimoji="0" lang="tr-TR" sz="2000" b="0" i="0" u="none" strike="noStrike" kern="1200" cap="none" spc="-90" normalizeH="0" baseline="0" noProof="0" dirty="0" err="1">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rPr>
              <a:t>Retail</a:t>
            </a:r>
            <a:r>
              <a:rPr kumimoji="0" lang="tr-TR" sz="2000" b="0" i="0" u="none" strike="noStrike" kern="1200" cap="none" spc="-90" normalizeH="0" baseline="0" noProof="0" dirty="0">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rPr>
              <a:t> </a:t>
            </a:r>
            <a:r>
              <a:rPr lang="tr-TR" sz="2000" spc="-90" dirty="0" err="1">
                <a:gradFill>
                  <a:gsLst>
                    <a:gs pos="8000">
                      <a:srgbClr val="EC2B8C"/>
                    </a:gs>
                    <a:gs pos="100000">
                      <a:srgbClr val="8D27CB"/>
                    </a:gs>
                  </a:gsLst>
                  <a:lin ang="2700000" scaled="1"/>
                </a:gradFill>
                <a:latin typeface="Franklin Gothic Medium Cond" panose="020B0606030402020204" pitchFamily="34" charset="0"/>
              </a:rPr>
              <a:t>F</a:t>
            </a:r>
            <a:r>
              <a:rPr kumimoji="0" lang="tr-TR" sz="2000" b="0" i="0" u="none" strike="noStrike" kern="1200" cap="none" spc="-90" normalizeH="0" baseline="0" noProof="0" dirty="0" err="1">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rPr>
              <a:t>inancing</a:t>
            </a:r>
            <a:endParaRPr kumimoji="0" lang="en-US" sz="2000" b="0" i="0" u="none" strike="noStrike" kern="1200" cap="none" spc="-90" normalizeH="0" baseline="0" noProof="0" dirty="0">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endParaRPr>
          </a:p>
        </p:txBody>
      </p:sp>
      <p:sp>
        <p:nvSpPr>
          <p:cNvPr id="67" name="TextBox 66">
            <a:extLst>
              <a:ext uri="{FF2B5EF4-FFF2-40B4-BE49-F238E27FC236}">
                <a16:creationId xmlns:a16="http://schemas.microsoft.com/office/drawing/2014/main" id="{8FEB1A21-B4EF-49EE-8141-275EB92CD7F4}"/>
              </a:ext>
            </a:extLst>
          </p:cNvPr>
          <p:cNvSpPr txBox="1"/>
          <p:nvPr/>
        </p:nvSpPr>
        <p:spPr>
          <a:xfrm>
            <a:off x="3733380" y="2660390"/>
            <a:ext cx="2172441" cy="535531"/>
          </a:xfrm>
          <a:prstGeom prst="rect">
            <a:avLst/>
          </a:prstGeom>
          <a:noFill/>
        </p:spPr>
        <p:txBody>
          <a:bodyPr wrap="square" rtlCol="0">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tr-TR" sz="3600" b="0" i="0" u="none" strike="noStrike" kern="1200" cap="none" spc="-90" normalizeH="0" baseline="0" noProof="0" dirty="0" err="1">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rPr>
              <a:t>Phase</a:t>
            </a:r>
            <a:endParaRPr kumimoji="0" lang="en-US" sz="3600" b="0" i="0" u="none" strike="noStrike" kern="1200" cap="none" spc="-90" normalizeH="0" baseline="0" noProof="0" dirty="0">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endParaRPr>
          </a:p>
        </p:txBody>
      </p:sp>
      <p:sp>
        <p:nvSpPr>
          <p:cNvPr id="68" name="Rectangle 67">
            <a:extLst>
              <a:ext uri="{FF2B5EF4-FFF2-40B4-BE49-F238E27FC236}">
                <a16:creationId xmlns:a16="http://schemas.microsoft.com/office/drawing/2014/main" id="{14AF2BB7-6EF8-4AC9-8B25-D6A863BA6D96}"/>
              </a:ext>
            </a:extLst>
          </p:cNvPr>
          <p:cNvSpPr/>
          <p:nvPr/>
        </p:nvSpPr>
        <p:spPr>
          <a:xfrm>
            <a:off x="6409246" y="2091335"/>
            <a:ext cx="2226594" cy="584775"/>
          </a:xfrm>
          <a:prstGeom prst="rect">
            <a:avLst/>
          </a:prstGeom>
        </p:spPr>
        <p:txBody>
          <a:bodyPr wrap="square">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tr-TR" sz="2000" b="0" i="0" u="none" strike="noStrike" kern="1200" cap="none" spc="-90" normalizeH="0" baseline="0" noProof="0" dirty="0" err="1">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rPr>
              <a:t>Insurance</a:t>
            </a:r>
            <a:r>
              <a:rPr kumimoji="0" lang="tr-TR" sz="2000" b="0" i="0" u="none" strike="noStrike" kern="1200" cap="none" spc="-90" normalizeH="0" baseline="0" noProof="0" dirty="0">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rPr>
              <a:t> and Investment Products</a:t>
            </a:r>
            <a:endParaRPr kumimoji="0" lang="en-US" sz="2000" b="0" i="0" u="none" strike="noStrike" kern="1200" cap="none" spc="-90" normalizeH="0" baseline="0" noProof="0" dirty="0">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endParaRPr>
          </a:p>
        </p:txBody>
      </p:sp>
      <p:sp>
        <p:nvSpPr>
          <p:cNvPr id="69" name="TextBox 68">
            <a:extLst>
              <a:ext uri="{FF2B5EF4-FFF2-40B4-BE49-F238E27FC236}">
                <a16:creationId xmlns:a16="http://schemas.microsoft.com/office/drawing/2014/main" id="{1ED678B5-7545-4757-AE35-5D2CE12B6807}"/>
              </a:ext>
            </a:extLst>
          </p:cNvPr>
          <p:cNvSpPr txBox="1"/>
          <p:nvPr/>
        </p:nvSpPr>
        <p:spPr>
          <a:xfrm>
            <a:off x="6420454" y="1579267"/>
            <a:ext cx="2172441" cy="535531"/>
          </a:xfrm>
          <a:prstGeom prst="rect">
            <a:avLst/>
          </a:prstGeom>
          <a:noFill/>
        </p:spPr>
        <p:txBody>
          <a:bodyPr wrap="square" rtlCol="0">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tr-TR" sz="3600" b="0" i="0" u="none" strike="noStrike" kern="1200" cap="none" spc="-90" normalizeH="0" baseline="0" noProof="0" dirty="0" err="1">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rPr>
              <a:t>Phase</a:t>
            </a:r>
            <a:endParaRPr kumimoji="0" lang="en-US" sz="3600" b="0" i="0" u="none" strike="noStrike" kern="1200" cap="none" spc="-90" normalizeH="0" baseline="0" noProof="0" dirty="0">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endParaRPr>
          </a:p>
        </p:txBody>
      </p:sp>
      <p:sp>
        <p:nvSpPr>
          <p:cNvPr id="70" name="Rectangle 69">
            <a:extLst>
              <a:ext uri="{FF2B5EF4-FFF2-40B4-BE49-F238E27FC236}">
                <a16:creationId xmlns:a16="http://schemas.microsoft.com/office/drawing/2014/main" id="{5603D5D5-5B0D-48FE-8BEA-1F163BE9599E}"/>
              </a:ext>
            </a:extLst>
          </p:cNvPr>
          <p:cNvSpPr/>
          <p:nvPr/>
        </p:nvSpPr>
        <p:spPr>
          <a:xfrm>
            <a:off x="8922252" y="992007"/>
            <a:ext cx="2043755" cy="584775"/>
          </a:xfrm>
          <a:prstGeom prst="rect">
            <a:avLst/>
          </a:prstGeom>
        </p:spPr>
        <p:txBody>
          <a:bodyPr wrap="square">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tr-TR" sz="2000" b="0" i="0" u="none" strike="noStrike" kern="1200" cap="none" spc="-90" normalizeH="0" baseline="0" noProof="0" dirty="0" err="1">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rPr>
              <a:t>Banking</a:t>
            </a:r>
            <a:r>
              <a:rPr kumimoji="0" lang="tr-TR" sz="2000" b="0" i="0" u="none" strike="noStrike" kern="1200" cap="none" spc="-90" normalizeH="0" baseline="0" noProof="0" dirty="0">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rPr>
              <a:t> License in Europe</a:t>
            </a:r>
            <a:endParaRPr kumimoji="0" lang="en-US" sz="2000" b="0" i="0" u="none" strike="noStrike" kern="1200" cap="none" spc="-90" normalizeH="0" baseline="0" noProof="0" dirty="0">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endParaRPr>
          </a:p>
        </p:txBody>
      </p:sp>
      <p:sp>
        <p:nvSpPr>
          <p:cNvPr id="71" name="TextBox 70">
            <a:extLst>
              <a:ext uri="{FF2B5EF4-FFF2-40B4-BE49-F238E27FC236}">
                <a16:creationId xmlns:a16="http://schemas.microsoft.com/office/drawing/2014/main" id="{FB15FCF5-F68D-49AB-8794-08A4CC463EDE}"/>
              </a:ext>
            </a:extLst>
          </p:cNvPr>
          <p:cNvSpPr txBox="1"/>
          <p:nvPr/>
        </p:nvSpPr>
        <p:spPr>
          <a:xfrm>
            <a:off x="8908121" y="490542"/>
            <a:ext cx="2172441" cy="535531"/>
          </a:xfrm>
          <a:prstGeom prst="rect">
            <a:avLst/>
          </a:prstGeom>
          <a:noFill/>
        </p:spPr>
        <p:txBody>
          <a:bodyPr wrap="square" rtlCol="0">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tr-TR" sz="3600" b="0" i="0" u="none" strike="noStrike" kern="1200" cap="none" spc="-90" normalizeH="0" baseline="0" noProof="0" dirty="0" err="1">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rPr>
              <a:t>Phase</a:t>
            </a:r>
            <a:endParaRPr kumimoji="0" lang="en-US" sz="3600" b="0" i="0" u="none" strike="noStrike" kern="1200" cap="none" spc="-90" normalizeH="0" baseline="0" noProof="0" dirty="0">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endParaRPr>
          </a:p>
        </p:txBody>
      </p:sp>
      <p:sp>
        <p:nvSpPr>
          <p:cNvPr id="73" name="TextBox 72">
            <a:extLst>
              <a:ext uri="{FF2B5EF4-FFF2-40B4-BE49-F238E27FC236}">
                <a16:creationId xmlns:a16="http://schemas.microsoft.com/office/drawing/2014/main" id="{614F58A2-C2EE-4255-B8F4-11E0150B0B96}"/>
              </a:ext>
            </a:extLst>
          </p:cNvPr>
          <p:cNvSpPr txBox="1"/>
          <p:nvPr/>
        </p:nvSpPr>
        <p:spPr>
          <a:xfrm>
            <a:off x="170662" y="3674153"/>
            <a:ext cx="1000749" cy="683264"/>
          </a:xfrm>
          <a:prstGeom prst="rect">
            <a:avLst/>
          </a:prstGeom>
          <a:noFill/>
        </p:spPr>
        <p:txBody>
          <a:bodyPr wrap="square" rtlCol="0" anchor="ctr">
            <a:spAutoFit/>
          </a:body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tr-TR" sz="4800" b="0" i="0" u="none" strike="noStrike" kern="1200" cap="none" spc="-90" normalizeH="0" baseline="0" noProof="0" dirty="0">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rPr>
              <a:t>01</a:t>
            </a:r>
            <a:endParaRPr kumimoji="0" lang="en-US" sz="4800" b="0" i="0" u="none" strike="noStrike" kern="1200" cap="none" spc="-90" normalizeH="0" baseline="0" noProof="0" dirty="0">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endParaRPr>
          </a:p>
        </p:txBody>
      </p:sp>
      <p:sp>
        <p:nvSpPr>
          <p:cNvPr id="74" name="TextBox 73">
            <a:extLst>
              <a:ext uri="{FF2B5EF4-FFF2-40B4-BE49-F238E27FC236}">
                <a16:creationId xmlns:a16="http://schemas.microsoft.com/office/drawing/2014/main" id="{D87EBC23-F795-418D-B804-E80C6EC19F93}"/>
              </a:ext>
            </a:extLst>
          </p:cNvPr>
          <p:cNvSpPr txBox="1"/>
          <p:nvPr/>
        </p:nvSpPr>
        <p:spPr>
          <a:xfrm>
            <a:off x="2877684" y="2591678"/>
            <a:ext cx="1000749" cy="683264"/>
          </a:xfrm>
          <a:prstGeom prst="rect">
            <a:avLst/>
          </a:prstGeom>
          <a:noFill/>
        </p:spPr>
        <p:txBody>
          <a:bodyPr wrap="square" rtlCol="0" anchor="ctr">
            <a:spAutoFit/>
          </a:body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tr-TR" sz="4800" b="0" i="0" u="none" strike="noStrike" kern="1200" cap="none" spc="-90" normalizeH="0" baseline="0" noProof="0" dirty="0">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rPr>
              <a:t>02</a:t>
            </a:r>
            <a:endParaRPr kumimoji="0" lang="en-US" sz="4800" b="0" i="0" u="none" strike="noStrike" kern="1200" cap="none" spc="-90" normalizeH="0" baseline="0" noProof="0" dirty="0">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endParaRPr>
          </a:p>
        </p:txBody>
      </p:sp>
      <p:sp>
        <p:nvSpPr>
          <p:cNvPr id="75" name="TextBox 74">
            <a:extLst>
              <a:ext uri="{FF2B5EF4-FFF2-40B4-BE49-F238E27FC236}">
                <a16:creationId xmlns:a16="http://schemas.microsoft.com/office/drawing/2014/main" id="{241AE404-E751-41F4-9A3B-9F4671C3C187}"/>
              </a:ext>
            </a:extLst>
          </p:cNvPr>
          <p:cNvSpPr txBox="1"/>
          <p:nvPr/>
        </p:nvSpPr>
        <p:spPr>
          <a:xfrm>
            <a:off x="5583747" y="1516421"/>
            <a:ext cx="1000749" cy="683264"/>
          </a:xfrm>
          <a:prstGeom prst="rect">
            <a:avLst/>
          </a:prstGeom>
          <a:noFill/>
        </p:spPr>
        <p:txBody>
          <a:bodyPr wrap="square" rtlCol="0" anchor="ctr">
            <a:spAutoFit/>
          </a:body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tr-TR" sz="4800" b="0" i="0" u="none" strike="noStrike" kern="1200" cap="none" spc="-90" normalizeH="0" baseline="0" noProof="0" dirty="0">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rPr>
              <a:t>03</a:t>
            </a:r>
            <a:endParaRPr kumimoji="0" lang="en-US" sz="4800" b="0" i="0" u="none" strike="noStrike" kern="1200" cap="none" spc="-90" normalizeH="0" baseline="0" noProof="0" dirty="0">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endParaRPr>
          </a:p>
        </p:txBody>
      </p:sp>
      <p:sp>
        <p:nvSpPr>
          <p:cNvPr id="77" name="TextBox 76">
            <a:extLst>
              <a:ext uri="{FF2B5EF4-FFF2-40B4-BE49-F238E27FC236}">
                <a16:creationId xmlns:a16="http://schemas.microsoft.com/office/drawing/2014/main" id="{F8A93E9E-1E3F-45AD-AACA-1FCCA59535E9}"/>
              </a:ext>
            </a:extLst>
          </p:cNvPr>
          <p:cNvSpPr txBox="1"/>
          <p:nvPr/>
        </p:nvSpPr>
        <p:spPr>
          <a:xfrm>
            <a:off x="8073422" y="419578"/>
            <a:ext cx="1000749" cy="683264"/>
          </a:xfrm>
          <a:prstGeom prst="rect">
            <a:avLst/>
          </a:prstGeom>
          <a:noFill/>
        </p:spPr>
        <p:txBody>
          <a:bodyPr wrap="square" rtlCol="0" anchor="ctr">
            <a:spAutoFit/>
          </a:body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tr-TR" sz="4800" b="0" i="0" u="none" strike="noStrike" kern="1200" cap="none" spc="-90" normalizeH="0" baseline="0" noProof="0" dirty="0">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rPr>
              <a:t>04</a:t>
            </a:r>
            <a:endParaRPr kumimoji="0" lang="en-US" sz="4800" b="0" i="0" u="none" strike="noStrike" kern="1200" cap="none" spc="-90" normalizeH="0" baseline="0" noProof="0" dirty="0">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endParaRPr>
          </a:p>
        </p:txBody>
      </p:sp>
      <p:sp>
        <p:nvSpPr>
          <p:cNvPr id="36" name="Dikdörtgen 35"/>
          <p:cNvSpPr/>
          <p:nvPr/>
        </p:nvSpPr>
        <p:spPr>
          <a:xfrm>
            <a:off x="593770" y="224752"/>
            <a:ext cx="12112580" cy="683264"/>
          </a:xfrm>
          <a:prstGeom prst="rect">
            <a:avLst/>
          </a:prstGeom>
        </p:spPr>
        <p:txBody>
          <a:bodyPr wrap="square">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tr-TR" sz="4800" b="0" i="0" u="none" strike="noStrike" kern="1200" cap="none" spc="-90" normalizeH="0" baseline="0" noProof="0" dirty="0">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rPr>
              <a:t>Expansion </a:t>
            </a:r>
            <a:r>
              <a:rPr kumimoji="0" lang="tr-TR" sz="4800" b="0" i="0" u="none" strike="noStrike" kern="1200" cap="none" spc="-90" normalizeH="0" baseline="0" noProof="0" dirty="0" err="1">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rPr>
              <a:t>Strategy</a:t>
            </a:r>
            <a:endParaRPr kumimoji="0" lang="tr-TR" sz="4800" b="0" i="0" u="none" strike="noStrike" kern="1200" cap="none" spc="-90" normalizeH="0" baseline="0" noProof="0" dirty="0">
              <a:ln>
                <a:noFill/>
              </a:ln>
              <a:gradFill>
                <a:gsLst>
                  <a:gs pos="8000">
                    <a:srgbClr val="EC2B8C"/>
                  </a:gs>
                  <a:gs pos="100000">
                    <a:srgbClr val="8D27CB"/>
                  </a:gs>
                </a:gsLst>
                <a:lin ang="2700000" scaled="1"/>
              </a:gradFill>
              <a:effectLst/>
              <a:uLnTx/>
              <a:uFillTx/>
              <a:latin typeface="Franklin Gothic Medium Cond" panose="020B0606030402020204" pitchFamily="34" charset="0"/>
              <a:ea typeface="+mn-ea"/>
              <a:cs typeface="+mn-cs"/>
            </a:endParaRPr>
          </a:p>
        </p:txBody>
      </p:sp>
      <p:sp>
        <p:nvSpPr>
          <p:cNvPr id="37" name="Rounded Rectangle 15"/>
          <p:cNvSpPr>
            <a:spLocks/>
          </p:cNvSpPr>
          <p:nvPr/>
        </p:nvSpPr>
        <p:spPr>
          <a:xfrm>
            <a:off x="225449" y="-152401"/>
            <a:ext cx="212701" cy="1102549"/>
          </a:xfrm>
          <a:prstGeom prst="roundRect">
            <a:avLst>
              <a:gd name="adj" fmla="val 50000"/>
            </a:avLst>
          </a:prstGeom>
          <a:gradFill flip="none" rotWithShape="1">
            <a:gsLst>
              <a:gs pos="0">
                <a:srgbClr val="EC2B8C"/>
              </a:gs>
              <a:gs pos="100000">
                <a:srgbClr val="8D27CB"/>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22984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Dikdörtgen 35"/>
          <p:cNvSpPr/>
          <p:nvPr/>
        </p:nvSpPr>
        <p:spPr>
          <a:xfrm>
            <a:off x="593770" y="224752"/>
            <a:ext cx="12112580" cy="683264"/>
          </a:xfrm>
          <a:prstGeom prst="rect">
            <a:avLst/>
          </a:prstGeom>
        </p:spPr>
        <p:txBody>
          <a:bodyPr wrap="square">
            <a:spAutoFit/>
          </a:bodyPr>
          <a:lstStyle/>
          <a:p>
            <a:pPr lvl="0">
              <a:lnSpc>
                <a:spcPct val="80000"/>
              </a:lnSpc>
              <a:defRPr/>
            </a:pPr>
            <a:r>
              <a:rPr lang="en-US" sz="4800" spc="-90" dirty="0">
                <a:gradFill>
                  <a:gsLst>
                    <a:gs pos="8000">
                      <a:srgbClr val="EC2B8C"/>
                    </a:gs>
                    <a:gs pos="100000">
                      <a:srgbClr val="8D27CB"/>
                    </a:gs>
                  </a:gsLst>
                  <a:lin ang="2700000" scaled="1"/>
                </a:gradFill>
                <a:latin typeface="Franklin Gothic Medium Cond" panose="020B0606030402020204" pitchFamily="34" charset="0"/>
              </a:rPr>
              <a:t>Critic’s Choice Best Digital Banking Initiative 2018</a:t>
            </a:r>
          </a:p>
        </p:txBody>
      </p:sp>
      <p:sp>
        <p:nvSpPr>
          <p:cNvPr id="37" name="Rounded Rectangle 15"/>
          <p:cNvSpPr>
            <a:spLocks/>
          </p:cNvSpPr>
          <p:nvPr/>
        </p:nvSpPr>
        <p:spPr>
          <a:xfrm>
            <a:off x="225449" y="-152401"/>
            <a:ext cx="212701" cy="1102549"/>
          </a:xfrm>
          <a:prstGeom prst="roundRect">
            <a:avLst>
              <a:gd name="adj" fmla="val 50000"/>
            </a:avLst>
          </a:prstGeom>
          <a:gradFill flip="none" rotWithShape="1">
            <a:gsLst>
              <a:gs pos="0">
                <a:srgbClr val="EC2B8C"/>
              </a:gs>
              <a:gs pos="100000">
                <a:srgbClr val="8D27CB"/>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pic>
        <p:nvPicPr>
          <p:cNvPr id="6" name="Resim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78971" y="1283159"/>
            <a:ext cx="4369879" cy="5336715"/>
          </a:xfrm>
          <a:prstGeom prst="rect">
            <a:avLst/>
          </a:prstGeom>
        </p:spPr>
      </p:pic>
      <p:sp>
        <p:nvSpPr>
          <p:cNvPr id="7" name="Dikdörtgen 6"/>
          <p:cNvSpPr/>
          <p:nvPr/>
        </p:nvSpPr>
        <p:spPr>
          <a:xfrm>
            <a:off x="1346245" y="2606159"/>
            <a:ext cx="3387680" cy="2123658"/>
          </a:xfrm>
          <a:prstGeom prst="rect">
            <a:avLst/>
          </a:prstGeom>
        </p:spPr>
        <p:txBody>
          <a:bodyPr wrap="square">
            <a:spAutoFit/>
          </a:bodyPr>
          <a:lstStyle/>
          <a:p>
            <a:pPr algn="ctr"/>
            <a:r>
              <a:rPr lang="tr-TR" sz="4400" spc="-90" dirty="0">
                <a:gradFill>
                  <a:gsLst>
                    <a:gs pos="8000">
                      <a:srgbClr val="EC2B8C"/>
                    </a:gs>
                    <a:gs pos="100000">
                      <a:srgbClr val="8D27CB"/>
                    </a:gs>
                  </a:gsLst>
                  <a:lin ang="2700000" scaled="1"/>
                </a:gradFill>
                <a:latin typeface="Franklin Gothic Medium Cond" panose="020B0606030402020204" pitchFamily="34" charset="0"/>
              </a:rPr>
              <a:t>Islamic </a:t>
            </a:r>
            <a:r>
              <a:rPr lang="tr-TR" sz="4400" spc="-90" dirty="0" err="1">
                <a:gradFill>
                  <a:gsLst>
                    <a:gs pos="8000">
                      <a:srgbClr val="EC2B8C"/>
                    </a:gs>
                    <a:gs pos="100000">
                      <a:srgbClr val="8D27CB"/>
                    </a:gs>
                  </a:gsLst>
                  <a:lin ang="2700000" scaled="1"/>
                </a:gradFill>
                <a:latin typeface="Franklin Gothic Medium Cond" panose="020B0606030402020204" pitchFamily="34" charset="0"/>
              </a:rPr>
              <a:t>Retail</a:t>
            </a:r>
            <a:r>
              <a:rPr lang="tr-TR" sz="4400" spc="-90" dirty="0">
                <a:gradFill>
                  <a:gsLst>
                    <a:gs pos="8000">
                      <a:srgbClr val="EC2B8C"/>
                    </a:gs>
                    <a:gs pos="100000">
                      <a:srgbClr val="8D27CB"/>
                    </a:gs>
                  </a:gsLst>
                  <a:lin ang="2700000" scaled="1"/>
                </a:gradFill>
                <a:latin typeface="Franklin Gothic Medium Cond" panose="020B0606030402020204" pitchFamily="34" charset="0"/>
              </a:rPr>
              <a:t> Banking Awards 2018 </a:t>
            </a:r>
          </a:p>
        </p:txBody>
      </p:sp>
    </p:spTree>
    <p:extLst>
      <p:ext uri="{BB962C8B-B14F-4D97-AF65-F5344CB8AC3E}">
        <p14:creationId xmlns:p14="http://schemas.microsoft.com/office/powerpoint/2010/main" val="42036822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etin kutusu 1"/>
          <p:cNvSpPr txBox="1"/>
          <p:nvPr/>
        </p:nvSpPr>
        <p:spPr>
          <a:xfrm>
            <a:off x="5137484" y="2177715"/>
            <a:ext cx="1744579" cy="1323439"/>
          </a:xfrm>
          <a:prstGeom prst="rect">
            <a:avLst/>
          </a:prstGeom>
          <a:noFill/>
        </p:spPr>
        <p:txBody>
          <a:bodyPr wrap="square" rtlCol="0">
            <a:spAutoFit/>
          </a:bodyPr>
          <a:lstStyle/>
          <a:p>
            <a:pPr algn="ctr"/>
            <a:r>
              <a:rPr lang="tr-TR" sz="4000" dirty="0" err="1" smtClean="0"/>
              <a:t>Thanks</a:t>
            </a:r>
            <a:endParaRPr lang="tr-TR" sz="4000" dirty="0" smtClean="0"/>
          </a:p>
          <a:p>
            <a:pPr algn="ctr"/>
            <a:r>
              <a:rPr lang="tr-TR" sz="4000" dirty="0" smtClean="0"/>
              <a:t>Q&amp;A</a:t>
            </a:r>
            <a:endParaRPr lang="tr-TR" sz="4000" dirty="0"/>
          </a:p>
        </p:txBody>
      </p:sp>
    </p:spTree>
    <p:extLst>
      <p:ext uri="{BB962C8B-B14F-4D97-AF65-F5344CB8AC3E}">
        <p14:creationId xmlns:p14="http://schemas.microsoft.com/office/powerpoint/2010/main" val="475640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en-US" dirty="0"/>
              <a:t>The 4 </a:t>
            </a:r>
            <a:r>
              <a:rPr lang="en-US" dirty="0" smtClean="0"/>
              <a:t>Element</a:t>
            </a:r>
            <a:r>
              <a:rPr lang="tr-TR" dirty="0" smtClean="0"/>
              <a:t>s</a:t>
            </a:r>
            <a:endParaRPr lang="tr-TR" dirty="0"/>
          </a:p>
        </p:txBody>
      </p:sp>
      <p:sp>
        <p:nvSpPr>
          <p:cNvPr id="3" name="İçerik Yer Tutucusu 2"/>
          <p:cNvSpPr>
            <a:spLocks noGrp="1"/>
          </p:cNvSpPr>
          <p:nvPr>
            <p:ph idx="1"/>
          </p:nvPr>
        </p:nvSpPr>
        <p:spPr/>
        <p:txBody>
          <a:bodyPr/>
          <a:lstStyle/>
          <a:p>
            <a:pPr lvl="0"/>
            <a:r>
              <a:rPr lang="tr-TR" dirty="0" err="1" smtClean="0"/>
              <a:t>The</a:t>
            </a:r>
            <a:r>
              <a:rPr lang="tr-TR" smtClean="0"/>
              <a:t> n</a:t>
            </a:r>
            <a:r>
              <a:rPr lang="en-US" smtClean="0"/>
              <a:t>ew </a:t>
            </a:r>
            <a:r>
              <a:rPr lang="en-US" dirty="0"/>
              <a:t>age banking has 4 aspects;</a:t>
            </a:r>
            <a:endParaRPr lang="tr-TR" dirty="0"/>
          </a:p>
          <a:p>
            <a:pPr lvl="1"/>
            <a:r>
              <a:rPr lang="en-US" dirty="0"/>
              <a:t>Accessibility</a:t>
            </a:r>
            <a:endParaRPr lang="tr-TR" dirty="0"/>
          </a:p>
          <a:p>
            <a:pPr lvl="1"/>
            <a:r>
              <a:rPr lang="en-US" dirty="0"/>
              <a:t>Cost Advantage</a:t>
            </a:r>
            <a:endParaRPr lang="tr-TR" dirty="0"/>
          </a:p>
          <a:p>
            <a:pPr lvl="1"/>
            <a:r>
              <a:rPr lang="en-US" dirty="0"/>
              <a:t>Time Efficiency</a:t>
            </a:r>
            <a:endParaRPr lang="tr-TR" dirty="0"/>
          </a:p>
          <a:p>
            <a:pPr lvl="1"/>
            <a:r>
              <a:rPr lang="en-US" dirty="0" smtClean="0"/>
              <a:t>Security</a:t>
            </a:r>
            <a:endParaRPr lang="tr-TR" dirty="0"/>
          </a:p>
          <a:p>
            <a:pPr lvl="1"/>
            <a:endParaRPr lang="tr-TR" dirty="0"/>
          </a:p>
          <a:p>
            <a:pPr marL="457200" lvl="1" indent="0">
              <a:buNone/>
            </a:pPr>
            <a:r>
              <a:rPr lang="en-US" dirty="0" smtClean="0"/>
              <a:t>Each </a:t>
            </a:r>
            <a:r>
              <a:rPr lang="en-US" dirty="0"/>
              <a:t>service has all of these four aspects is part of new age banking activities.</a:t>
            </a:r>
            <a:endParaRPr lang="tr-TR" dirty="0"/>
          </a:p>
        </p:txBody>
      </p:sp>
    </p:spTree>
    <p:extLst>
      <p:ext uri="{BB962C8B-B14F-4D97-AF65-F5344CB8AC3E}">
        <p14:creationId xmlns:p14="http://schemas.microsoft.com/office/powerpoint/2010/main" val="18336829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en-US" dirty="0" smtClean="0"/>
              <a:t>Technology and Informatics in Banking</a:t>
            </a:r>
            <a:endParaRPr lang="en-US" dirty="0"/>
          </a:p>
        </p:txBody>
      </p:sp>
      <p:sp>
        <p:nvSpPr>
          <p:cNvPr id="3" name="İçerik Yer Tutucusu 2"/>
          <p:cNvSpPr>
            <a:spLocks noGrp="1"/>
          </p:cNvSpPr>
          <p:nvPr>
            <p:ph idx="1"/>
          </p:nvPr>
        </p:nvSpPr>
        <p:spPr/>
        <p:txBody>
          <a:bodyPr/>
          <a:lstStyle/>
          <a:p>
            <a:pPr algn="just"/>
            <a:r>
              <a:rPr lang="en-US" dirty="0" smtClean="0"/>
              <a:t>Technology and informatics offers accessibility and data mining opportunities for banks.</a:t>
            </a:r>
          </a:p>
          <a:p>
            <a:pPr lvl="1" algn="just"/>
            <a:r>
              <a:rPr lang="en-US" b="1" dirty="0" smtClean="0"/>
              <a:t>Accessibility</a:t>
            </a:r>
            <a:r>
              <a:rPr lang="en-US" dirty="0" smtClean="0"/>
              <a:t> is key for marketing and </a:t>
            </a:r>
          </a:p>
          <a:p>
            <a:pPr marL="457200" lvl="1" indent="0" algn="just">
              <a:buNone/>
            </a:pPr>
            <a:r>
              <a:rPr lang="en-US" dirty="0" smtClean="0"/>
              <a:t>   the technology is the main factor to expand distribution channels.</a:t>
            </a:r>
          </a:p>
          <a:p>
            <a:pPr algn="just"/>
            <a:r>
              <a:rPr lang="en-US" dirty="0" smtClean="0"/>
              <a:t>Even the cyber security problems technology in fact increases </a:t>
            </a:r>
            <a:r>
              <a:rPr lang="en-US" b="1" dirty="0" smtClean="0"/>
              <a:t>security</a:t>
            </a:r>
            <a:r>
              <a:rPr lang="en-US" dirty="0" smtClean="0"/>
              <a:t> capabilities of banks.</a:t>
            </a:r>
          </a:p>
          <a:p>
            <a:pPr algn="just"/>
            <a:r>
              <a:rPr lang="en-US" dirty="0" smtClean="0"/>
              <a:t>Technology and informatics are keys for credit rationing as well for better allocation of funds. So, they help banking to overhaul the main intermediation function with </a:t>
            </a:r>
            <a:r>
              <a:rPr lang="en-US" b="1" dirty="0" smtClean="0"/>
              <a:t>cost efficiency</a:t>
            </a:r>
            <a:r>
              <a:rPr lang="en-US" dirty="0" smtClean="0"/>
              <a:t>.</a:t>
            </a:r>
          </a:p>
          <a:p>
            <a:pPr lvl="1" algn="just"/>
            <a:endParaRPr lang="en-US" dirty="0"/>
          </a:p>
        </p:txBody>
      </p:sp>
    </p:spTree>
    <p:extLst>
      <p:ext uri="{BB962C8B-B14F-4D97-AF65-F5344CB8AC3E}">
        <p14:creationId xmlns:p14="http://schemas.microsoft.com/office/powerpoint/2010/main" val="25296683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en-US" smtClean="0"/>
              <a:t>Performance Effect</a:t>
            </a:r>
            <a:endParaRPr lang="en-US"/>
          </a:p>
        </p:txBody>
      </p:sp>
      <p:sp>
        <p:nvSpPr>
          <p:cNvPr id="3" name="İçerik Yer Tutucusu 2"/>
          <p:cNvSpPr>
            <a:spLocks noGrp="1"/>
          </p:cNvSpPr>
          <p:nvPr>
            <p:ph idx="1"/>
          </p:nvPr>
        </p:nvSpPr>
        <p:spPr/>
        <p:txBody>
          <a:bodyPr/>
          <a:lstStyle/>
          <a:p>
            <a:r>
              <a:rPr lang="en-US" dirty="0" smtClean="0"/>
              <a:t>Technology and performance</a:t>
            </a:r>
            <a:endParaRPr lang="en-US" dirty="0"/>
          </a:p>
        </p:txBody>
      </p:sp>
      <p:sp>
        <p:nvSpPr>
          <p:cNvPr id="4" name="Rounded Rectangle 76">
            <a:extLst>
              <a:ext uri="{FF2B5EF4-FFF2-40B4-BE49-F238E27FC236}">
                <a16:creationId xmlns:a16="http://schemas.microsoft.com/office/drawing/2014/main" id="{F0167C70-F7E1-45CB-A597-2788760DBE68}"/>
              </a:ext>
              <a:ext uri="{C183D7F6-B498-43B3-948B-1728B52AA6E4}">
                <adec:decorative xmlns="" xmlns:adec="http://schemas.microsoft.com/office/drawing/2017/decorative" val="1"/>
              </a:ext>
            </a:extLst>
          </p:cNvPr>
          <p:cNvSpPr/>
          <p:nvPr/>
        </p:nvSpPr>
        <p:spPr>
          <a:xfrm>
            <a:off x="1702198" y="3046833"/>
            <a:ext cx="2880000" cy="468000"/>
          </a:xfrm>
          <a:prstGeom prst="roundRect">
            <a:avLst>
              <a:gd name="adj" fmla="val 0"/>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tr-TR" b="1" dirty="0" err="1" smtClean="0">
                <a:solidFill>
                  <a:schemeClr val="tx1">
                    <a:lumMod val="95000"/>
                    <a:lumOff val="5000"/>
                  </a:schemeClr>
                </a:solidFill>
                <a:effectLst>
                  <a:outerShdw blurRad="38100" dist="38100" dir="2700000" algn="tl">
                    <a:srgbClr val="000000">
                      <a:alpha val="43137"/>
                    </a:srgbClr>
                  </a:outerShdw>
                </a:effectLst>
              </a:rPr>
              <a:t>Importance</a:t>
            </a:r>
            <a:endParaRPr lang="en-US" b="1" dirty="0">
              <a:solidFill>
                <a:schemeClr val="tx1">
                  <a:lumMod val="95000"/>
                  <a:lumOff val="5000"/>
                </a:schemeClr>
              </a:solidFill>
              <a:effectLst>
                <a:outerShdw blurRad="38100" dist="38100" dir="2700000" algn="tl">
                  <a:srgbClr val="000000">
                    <a:alpha val="43137"/>
                  </a:srgbClr>
                </a:outerShdw>
              </a:effectLst>
            </a:endParaRPr>
          </a:p>
        </p:txBody>
      </p:sp>
      <p:sp>
        <p:nvSpPr>
          <p:cNvPr id="5" name="Rounded Rectangle 77">
            <a:extLst>
              <a:ext uri="{FF2B5EF4-FFF2-40B4-BE49-F238E27FC236}">
                <a16:creationId xmlns:a16="http://schemas.microsoft.com/office/drawing/2014/main" id="{D05DC849-1D99-422D-9887-1F0EF21B015D}"/>
              </a:ext>
              <a:ext uri="{C183D7F6-B498-43B3-948B-1728B52AA6E4}">
                <adec:decorative xmlns="" xmlns:adec="http://schemas.microsoft.com/office/drawing/2017/decorative" val="1"/>
              </a:ext>
            </a:extLst>
          </p:cNvPr>
          <p:cNvSpPr/>
          <p:nvPr/>
        </p:nvSpPr>
        <p:spPr>
          <a:xfrm>
            <a:off x="4666898" y="3046790"/>
            <a:ext cx="2880000" cy="468000"/>
          </a:xfrm>
          <a:prstGeom prst="roundRect">
            <a:avLst>
              <a:gd name="adj" fmla="val 0"/>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tr-TR" b="1" dirty="0" err="1" smtClean="0">
                <a:solidFill>
                  <a:schemeClr val="tx1">
                    <a:lumMod val="95000"/>
                    <a:lumOff val="5000"/>
                  </a:schemeClr>
                </a:solidFill>
                <a:effectLst>
                  <a:outerShdw blurRad="38100" dist="38100" dir="2700000" algn="tl">
                    <a:srgbClr val="000000">
                      <a:alpha val="43137"/>
                    </a:srgbClr>
                  </a:outerShdw>
                </a:effectLst>
              </a:rPr>
              <a:t>Positive</a:t>
            </a:r>
            <a:r>
              <a:rPr lang="en-US" b="1" dirty="0" smtClean="0">
                <a:solidFill>
                  <a:schemeClr val="tx1">
                    <a:lumMod val="95000"/>
                    <a:lumOff val="5000"/>
                  </a:schemeClr>
                </a:solidFill>
                <a:effectLst>
                  <a:outerShdw blurRad="38100" dist="38100" dir="2700000" algn="tl">
                    <a:srgbClr val="000000">
                      <a:alpha val="43137"/>
                    </a:srgbClr>
                  </a:outerShdw>
                </a:effectLst>
              </a:rPr>
              <a:t> links</a:t>
            </a:r>
            <a:endParaRPr lang="en-US" b="1" dirty="0">
              <a:solidFill>
                <a:schemeClr val="tx1">
                  <a:lumMod val="95000"/>
                  <a:lumOff val="5000"/>
                </a:schemeClr>
              </a:solidFill>
              <a:effectLst>
                <a:outerShdw blurRad="38100" dist="38100" dir="2700000" algn="tl">
                  <a:srgbClr val="000000">
                    <a:alpha val="43137"/>
                  </a:srgbClr>
                </a:outerShdw>
              </a:effectLst>
            </a:endParaRPr>
          </a:p>
        </p:txBody>
      </p:sp>
      <p:sp>
        <p:nvSpPr>
          <p:cNvPr id="6" name="Rectangle: Top Corners Rounded 4">
            <a:extLst>
              <a:ext uri="{FF2B5EF4-FFF2-40B4-BE49-F238E27FC236}">
                <a16:creationId xmlns:a16="http://schemas.microsoft.com/office/drawing/2014/main" id="{D88C3CC7-FF16-4EE6-8784-43FED74DD3EF}"/>
              </a:ext>
              <a:ext uri="{C183D7F6-B498-43B3-948B-1728B52AA6E4}">
                <adec:decorative xmlns="" xmlns:adec="http://schemas.microsoft.com/office/drawing/2017/decorative" val="1"/>
              </a:ext>
            </a:extLst>
          </p:cNvPr>
          <p:cNvSpPr/>
          <p:nvPr/>
        </p:nvSpPr>
        <p:spPr>
          <a:xfrm rot="16200000">
            <a:off x="2329221" y="2957438"/>
            <a:ext cx="1647709" cy="2874448"/>
          </a:xfrm>
          <a:prstGeom prst="round2SameRect">
            <a:avLst>
              <a:gd name="adj1" fmla="val 0"/>
              <a:gd name="adj2" fmla="val 0"/>
            </a:avLst>
          </a:prstGeom>
          <a:ln/>
        </p:spPr>
        <p:style>
          <a:lnRef idx="2">
            <a:schemeClr val="accent3"/>
          </a:lnRef>
          <a:fillRef idx="1">
            <a:schemeClr val="lt1"/>
          </a:fillRef>
          <a:effectRef idx="0">
            <a:schemeClr val="accent3"/>
          </a:effectRef>
          <a:fontRef idx="minor">
            <a:schemeClr val="dk1"/>
          </a:fontRef>
        </p:style>
        <p:txBody>
          <a:bodyPr vert="vert" rtlCol="0" anchor="ctr"/>
          <a:lstStyle/>
          <a:p>
            <a:pPr marL="285750" indent="-285750">
              <a:buFont typeface="Arial" panose="020B0604020202020204" pitchFamily="34" charset="0"/>
              <a:buChar char="•"/>
            </a:pPr>
            <a:r>
              <a:rPr lang="en-AU" sz="1700" dirty="0" err="1"/>
              <a:t>Asutay</a:t>
            </a:r>
            <a:r>
              <a:rPr lang="en-AU" sz="1700" dirty="0"/>
              <a:t> and </a:t>
            </a:r>
            <a:r>
              <a:rPr lang="en-AU" sz="1700" dirty="0" err="1"/>
              <a:t>Harningtyas</a:t>
            </a:r>
            <a:r>
              <a:rPr lang="en-AU" sz="1700" dirty="0"/>
              <a:t> (2015) </a:t>
            </a:r>
            <a:endParaRPr lang="tr-TR" sz="1700" dirty="0" smtClean="0"/>
          </a:p>
          <a:p>
            <a:pPr marL="285750" indent="-285750">
              <a:buFont typeface="Arial" panose="020B0604020202020204" pitchFamily="34" charset="0"/>
              <a:buChar char="•"/>
            </a:pPr>
            <a:r>
              <a:rPr lang="en-AU" sz="1700" dirty="0" err="1"/>
              <a:t>Rusydiana</a:t>
            </a:r>
            <a:r>
              <a:rPr lang="en-AU" sz="1700" dirty="0"/>
              <a:t> and </a:t>
            </a:r>
            <a:r>
              <a:rPr lang="en-AU" sz="1700" dirty="0" err="1"/>
              <a:t>Sarego</a:t>
            </a:r>
            <a:r>
              <a:rPr lang="en-AU" sz="1700" dirty="0"/>
              <a:t> (2018</a:t>
            </a:r>
            <a:r>
              <a:rPr lang="en-AU" sz="1700" dirty="0" smtClean="0"/>
              <a:t>)</a:t>
            </a:r>
            <a:endParaRPr lang="tr-TR" sz="1700" dirty="0" smtClean="0"/>
          </a:p>
          <a:p>
            <a:pPr marL="285750" indent="-285750">
              <a:buFont typeface="Arial" panose="020B0604020202020204" pitchFamily="34" charset="0"/>
              <a:buChar char="•"/>
            </a:pPr>
            <a:r>
              <a:rPr lang="en-AU" sz="1700" dirty="0" err="1"/>
              <a:t>Waemustafa</a:t>
            </a:r>
            <a:r>
              <a:rPr lang="en-AU" sz="1700" dirty="0"/>
              <a:t> and </a:t>
            </a:r>
            <a:r>
              <a:rPr lang="en-AU" sz="1700" dirty="0" err="1"/>
              <a:t>Sukri</a:t>
            </a:r>
            <a:r>
              <a:rPr lang="en-AU" sz="1700" dirty="0"/>
              <a:t> (2015) </a:t>
            </a:r>
            <a:endParaRPr lang="tr-TR" sz="1700" dirty="0" smtClean="0"/>
          </a:p>
        </p:txBody>
      </p:sp>
      <p:sp>
        <p:nvSpPr>
          <p:cNvPr id="7" name="Rectangle: Top Corners Rounded 41">
            <a:extLst>
              <a:ext uri="{FF2B5EF4-FFF2-40B4-BE49-F238E27FC236}">
                <a16:creationId xmlns:a16="http://schemas.microsoft.com/office/drawing/2014/main" id="{F030E608-FD0D-40AE-86BB-0A2CCB27BCF5}"/>
              </a:ext>
              <a:ext uri="{C183D7F6-B498-43B3-948B-1728B52AA6E4}">
                <adec:decorative xmlns="" xmlns:adec="http://schemas.microsoft.com/office/drawing/2017/decorative" val="1"/>
              </a:ext>
            </a:extLst>
          </p:cNvPr>
          <p:cNvSpPr/>
          <p:nvPr/>
        </p:nvSpPr>
        <p:spPr>
          <a:xfrm rot="16200000">
            <a:off x="5281484" y="2943379"/>
            <a:ext cx="1648103" cy="2882725"/>
          </a:xfrm>
          <a:prstGeom prst="round2SameRect">
            <a:avLst>
              <a:gd name="adj1" fmla="val 0"/>
              <a:gd name="adj2" fmla="val 0"/>
            </a:avLst>
          </a:prstGeom>
          <a:ln/>
        </p:spPr>
        <p:style>
          <a:lnRef idx="2">
            <a:schemeClr val="accent1"/>
          </a:lnRef>
          <a:fillRef idx="1">
            <a:schemeClr val="lt1"/>
          </a:fillRef>
          <a:effectRef idx="0">
            <a:schemeClr val="accent1"/>
          </a:effectRef>
          <a:fontRef idx="minor">
            <a:schemeClr val="dk1"/>
          </a:fontRef>
        </p:style>
        <p:txBody>
          <a:bodyPr vert="vert" rtlCol="0" anchor="ctr"/>
          <a:lstStyle/>
          <a:p>
            <a:pPr marL="285750" indent="-285750">
              <a:buFont typeface="Arial" panose="020B0604020202020204" pitchFamily="34" charset="0"/>
              <a:buChar char="•"/>
            </a:pPr>
            <a:r>
              <a:rPr lang="en-AU" dirty="0"/>
              <a:t>Dinc (2017</a:t>
            </a:r>
            <a:r>
              <a:rPr lang="en-AU" dirty="0" smtClean="0"/>
              <a:t>)</a:t>
            </a:r>
            <a:endParaRPr lang="tr-TR" dirty="0" smtClean="0"/>
          </a:p>
          <a:p>
            <a:pPr marL="285750" indent="-285750">
              <a:buFont typeface="Arial" panose="020B0604020202020204" pitchFamily="34" charset="0"/>
              <a:buChar char="•"/>
            </a:pPr>
            <a:r>
              <a:rPr lang="en-AU" dirty="0"/>
              <a:t>Mango et al. </a:t>
            </a:r>
            <a:r>
              <a:rPr lang="tr-TR" dirty="0" smtClean="0"/>
              <a:t>(</a:t>
            </a:r>
            <a:r>
              <a:rPr lang="en-AU" dirty="0" smtClean="0"/>
              <a:t>2017</a:t>
            </a:r>
            <a:r>
              <a:rPr lang="tr-TR" dirty="0"/>
              <a:t>)</a:t>
            </a:r>
            <a:r>
              <a:rPr lang="en-AU" dirty="0" smtClean="0"/>
              <a:t> </a:t>
            </a:r>
            <a:endParaRPr lang="tr-TR" dirty="0" smtClean="0"/>
          </a:p>
          <a:p>
            <a:pPr marL="285750" indent="-285750">
              <a:buFont typeface="Arial" panose="020B0604020202020204" pitchFamily="34" charset="0"/>
              <a:buChar char="•"/>
            </a:pPr>
            <a:r>
              <a:rPr lang="en-AU" dirty="0" err="1" smtClean="0"/>
              <a:t>Salleh</a:t>
            </a:r>
            <a:r>
              <a:rPr lang="en-AU" dirty="0" smtClean="0"/>
              <a:t> </a:t>
            </a:r>
            <a:r>
              <a:rPr lang="en-AU" dirty="0"/>
              <a:t>et. </a:t>
            </a:r>
            <a:r>
              <a:rPr lang="tr-TR" dirty="0" smtClean="0"/>
              <a:t>a</a:t>
            </a:r>
            <a:r>
              <a:rPr lang="en-AU" dirty="0" smtClean="0"/>
              <a:t>l</a:t>
            </a:r>
            <a:r>
              <a:rPr lang="en-AU" dirty="0"/>
              <a:t>. </a:t>
            </a:r>
            <a:r>
              <a:rPr lang="tr-TR" dirty="0" smtClean="0"/>
              <a:t>(</a:t>
            </a:r>
            <a:r>
              <a:rPr lang="en-AU" dirty="0" smtClean="0"/>
              <a:t>2017</a:t>
            </a:r>
            <a:r>
              <a:rPr lang="tr-TR" smtClean="0"/>
              <a:t>)</a:t>
            </a:r>
            <a:endParaRPr lang="tr-TR" dirty="0"/>
          </a:p>
          <a:p>
            <a:pPr marL="285750" indent="-285750">
              <a:buFont typeface="Arial" panose="020B0604020202020204" pitchFamily="34" charset="0"/>
              <a:buChar char="•"/>
            </a:pPr>
            <a:r>
              <a:rPr lang="en-AU" smtClean="0"/>
              <a:t>Altobishi</a:t>
            </a:r>
            <a:r>
              <a:rPr lang="en-AU" dirty="0"/>
              <a:t>, et. </a:t>
            </a:r>
            <a:r>
              <a:rPr lang="tr-TR" dirty="0" smtClean="0"/>
              <a:t>a</a:t>
            </a:r>
            <a:r>
              <a:rPr lang="en-AU" dirty="0" smtClean="0"/>
              <a:t>l</a:t>
            </a:r>
            <a:r>
              <a:rPr lang="en-AU" dirty="0"/>
              <a:t>. </a:t>
            </a:r>
            <a:r>
              <a:rPr lang="tr-TR" dirty="0" smtClean="0"/>
              <a:t>(</a:t>
            </a:r>
            <a:r>
              <a:rPr lang="en-AU" dirty="0" smtClean="0"/>
              <a:t>2018</a:t>
            </a:r>
            <a:r>
              <a:rPr lang="tr-TR" dirty="0" smtClean="0"/>
              <a:t>)</a:t>
            </a:r>
            <a:endParaRPr lang="en-US" dirty="0">
              <a:solidFill>
                <a:schemeClr val="tx1"/>
              </a:solidFill>
            </a:endParaRPr>
          </a:p>
        </p:txBody>
      </p:sp>
      <p:sp>
        <p:nvSpPr>
          <p:cNvPr id="8" name="Rounded Rectangle 77">
            <a:extLst>
              <a:ext uri="{FF2B5EF4-FFF2-40B4-BE49-F238E27FC236}">
                <a16:creationId xmlns:a16="http://schemas.microsoft.com/office/drawing/2014/main" id="{D05DC849-1D99-422D-9887-1F0EF21B015D}"/>
              </a:ext>
              <a:ext uri="{C183D7F6-B498-43B3-948B-1728B52AA6E4}">
                <adec:decorative xmlns="" xmlns:adec="http://schemas.microsoft.com/office/drawing/2017/decorative" val="1"/>
              </a:ext>
            </a:extLst>
          </p:cNvPr>
          <p:cNvSpPr/>
          <p:nvPr/>
        </p:nvSpPr>
        <p:spPr>
          <a:xfrm>
            <a:off x="7631601" y="3046790"/>
            <a:ext cx="2880000" cy="468000"/>
          </a:xfrm>
          <a:prstGeom prst="roundRect">
            <a:avLst>
              <a:gd name="adj" fmla="val 0"/>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b="1" dirty="0" smtClean="0">
                <a:solidFill>
                  <a:schemeClr val="tx1">
                    <a:lumMod val="95000"/>
                    <a:lumOff val="5000"/>
                  </a:schemeClr>
                </a:solidFill>
                <a:effectLst>
                  <a:outerShdw blurRad="38100" dist="38100" dir="2700000" algn="tl">
                    <a:srgbClr val="000000">
                      <a:alpha val="43137"/>
                    </a:srgbClr>
                  </a:outerShdw>
                </a:effectLst>
              </a:rPr>
              <a:t>No links</a:t>
            </a:r>
            <a:endParaRPr lang="en-US" b="1" dirty="0">
              <a:solidFill>
                <a:schemeClr val="tx1">
                  <a:lumMod val="95000"/>
                  <a:lumOff val="5000"/>
                </a:schemeClr>
              </a:solidFill>
              <a:effectLst>
                <a:outerShdw blurRad="38100" dist="38100" dir="2700000" algn="tl">
                  <a:srgbClr val="000000">
                    <a:alpha val="43137"/>
                  </a:srgbClr>
                </a:outerShdw>
              </a:effectLst>
            </a:endParaRPr>
          </a:p>
        </p:txBody>
      </p:sp>
      <p:sp>
        <p:nvSpPr>
          <p:cNvPr id="9" name="Rectangle: Top Corners Rounded 41">
            <a:extLst>
              <a:ext uri="{FF2B5EF4-FFF2-40B4-BE49-F238E27FC236}">
                <a16:creationId xmlns:a16="http://schemas.microsoft.com/office/drawing/2014/main" id="{F030E608-FD0D-40AE-86BB-0A2CCB27BCF5}"/>
              </a:ext>
              <a:ext uri="{C183D7F6-B498-43B3-948B-1728B52AA6E4}">
                <adec:decorative xmlns="" xmlns:adec="http://schemas.microsoft.com/office/drawing/2017/decorative" val="1"/>
              </a:ext>
            </a:extLst>
          </p:cNvPr>
          <p:cNvSpPr/>
          <p:nvPr/>
        </p:nvSpPr>
        <p:spPr>
          <a:xfrm rot="16200000">
            <a:off x="8248851" y="2946042"/>
            <a:ext cx="1645500" cy="2880001"/>
          </a:xfrm>
          <a:prstGeom prst="round2SameRect">
            <a:avLst>
              <a:gd name="adj1" fmla="val 0"/>
              <a:gd name="adj2" fmla="val 0"/>
            </a:avLst>
          </a:prstGeom>
          <a:ln/>
        </p:spPr>
        <p:style>
          <a:lnRef idx="2">
            <a:schemeClr val="accent2"/>
          </a:lnRef>
          <a:fillRef idx="1">
            <a:schemeClr val="lt1"/>
          </a:fillRef>
          <a:effectRef idx="0">
            <a:schemeClr val="accent2"/>
          </a:effectRef>
          <a:fontRef idx="minor">
            <a:schemeClr val="dk1"/>
          </a:fontRef>
        </p:style>
        <p:txBody>
          <a:bodyPr vert="vert" rtlCol="0" anchor="ctr"/>
          <a:lstStyle/>
          <a:p>
            <a:pPr marL="285750" indent="-285750">
              <a:buFont typeface="Arial" panose="020B0604020202020204" pitchFamily="34" charset="0"/>
              <a:buChar char="•"/>
            </a:pPr>
            <a:r>
              <a:rPr lang="en-AU" dirty="0" err="1" smtClean="0"/>
              <a:t>Rusydiana</a:t>
            </a:r>
            <a:r>
              <a:rPr lang="en-AU" dirty="0" smtClean="0"/>
              <a:t> </a:t>
            </a:r>
            <a:r>
              <a:rPr lang="en-AU" dirty="0"/>
              <a:t>and </a:t>
            </a:r>
            <a:r>
              <a:rPr lang="en-AU" dirty="0" err="1"/>
              <a:t>Parisi</a:t>
            </a:r>
            <a:r>
              <a:rPr lang="en-AU" dirty="0"/>
              <a:t> (2016) </a:t>
            </a:r>
            <a:endParaRPr lang="en-US" dirty="0">
              <a:solidFill>
                <a:schemeClr val="tx1"/>
              </a:solidFill>
            </a:endParaRPr>
          </a:p>
        </p:txBody>
      </p:sp>
    </p:spTree>
    <p:extLst>
      <p:ext uri="{BB962C8B-B14F-4D97-AF65-F5344CB8AC3E}">
        <p14:creationId xmlns:p14="http://schemas.microsoft.com/office/powerpoint/2010/main" val="42349639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en-US" dirty="0"/>
              <a:t>Cost efficiency</a:t>
            </a:r>
            <a:endParaRPr lang="tr-TR" dirty="0"/>
          </a:p>
        </p:txBody>
      </p:sp>
      <p:sp>
        <p:nvSpPr>
          <p:cNvPr id="3" name="İçerik Yer Tutucusu 2"/>
          <p:cNvSpPr>
            <a:spLocks noGrp="1"/>
          </p:cNvSpPr>
          <p:nvPr>
            <p:ph idx="1"/>
          </p:nvPr>
        </p:nvSpPr>
        <p:spPr/>
        <p:txBody>
          <a:bodyPr/>
          <a:lstStyle/>
          <a:p>
            <a:pPr lvl="0" algn="just"/>
            <a:r>
              <a:rPr lang="en-US" smtClean="0"/>
              <a:t>The main cost of the financial intermediation is credit intelligence for rationning.</a:t>
            </a:r>
          </a:p>
          <a:p>
            <a:pPr lvl="0" algn="just"/>
            <a:r>
              <a:rPr lang="en-US" dirty="0" smtClean="0"/>
              <a:t>Also increasing accessibility decreases cost for customers.</a:t>
            </a:r>
          </a:p>
          <a:p>
            <a:pPr lvl="0" algn="just"/>
            <a:r>
              <a:rPr lang="en-US" dirty="0" smtClean="0"/>
              <a:t>Cost efficiency has three dimension for both banks and customers;</a:t>
            </a:r>
          </a:p>
          <a:p>
            <a:pPr lvl="1" algn="just"/>
            <a:r>
              <a:rPr lang="en-US" dirty="0" smtClean="0"/>
              <a:t>Success of intermediation</a:t>
            </a:r>
          </a:p>
          <a:p>
            <a:pPr lvl="1" algn="just"/>
            <a:r>
              <a:rPr lang="en-US" dirty="0" smtClean="0"/>
              <a:t>Employment</a:t>
            </a:r>
          </a:p>
          <a:p>
            <a:pPr lvl="1" algn="just"/>
            <a:r>
              <a:rPr lang="en-US" dirty="0" smtClean="0"/>
              <a:t>Time</a:t>
            </a:r>
          </a:p>
          <a:p>
            <a:pPr marL="457200" lvl="1" indent="0" algn="just">
              <a:buNone/>
            </a:pPr>
            <a:r>
              <a:rPr lang="en-US" dirty="0" smtClean="0"/>
              <a:t>(For example; card transactions in Turkey is processed in 4 </a:t>
            </a:r>
            <a:r>
              <a:rPr lang="en-US" dirty="0" err="1" smtClean="0"/>
              <a:t>secs</a:t>
            </a:r>
            <a:r>
              <a:rPr lang="en-US" dirty="0" smtClean="0"/>
              <a:t> that can take minutes in total for both sides if realized in cash.)</a:t>
            </a:r>
            <a:endParaRPr lang="en-US" dirty="0"/>
          </a:p>
        </p:txBody>
      </p:sp>
    </p:spTree>
    <p:extLst>
      <p:ext uri="{BB962C8B-B14F-4D97-AF65-F5344CB8AC3E}">
        <p14:creationId xmlns:p14="http://schemas.microsoft.com/office/powerpoint/2010/main" val="303104999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en-US" dirty="0" smtClean="0"/>
              <a:t>Payment </a:t>
            </a:r>
            <a:r>
              <a:rPr lang="en-US" dirty="0"/>
              <a:t>Systems</a:t>
            </a:r>
            <a:endParaRPr lang="tr-TR" dirty="0"/>
          </a:p>
        </p:txBody>
      </p:sp>
      <p:sp>
        <p:nvSpPr>
          <p:cNvPr id="3" name="İçerik Yer Tutucusu 2"/>
          <p:cNvSpPr>
            <a:spLocks noGrp="1"/>
          </p:cNvSpPr>
          <p:nvPr>
            <p:ph idx="1"/>
          </p:nvPr>
        </p:nvSpPr>
        <p:spPr/>
        <p:txBody>
          <a:bodyPr/>
          <a:lstStyle/>
          <a:p>
            <a:pPr lvl="0" algn="just"/>
            <a:r>
              <a:rPr lang="en-US" dirty="0" smtClean="0"/>
              <a:t>The need for the new age banking is increasing with the increasing addiction in payment systems.</a:t>
            </a:r>
          </a:p>
          <a:p>
            <a:pPr lvl="0" algn="just"/>
            <a:r>
              <a:rPr lang="en-US" dirty="0" smtClean="0"/>
              <a:t>Increasing computer and smart phone literacy is increasing the demand as well.</a:t>
            </a:r>
          </a:p>
          <a:p>
            <a:pPr lvl="0" algn="just"/>
            <a:r>
              <a:rPr lang="en-US" dirty="0" smtClean="0"/>
              <a:t>On the other hand data mining and crating solutions for the customers by the banks is improving both the supply and the demand for new age banking.</a:t>
            </a:r>
          </a:p>
          <a:p>
            <a:pPr lvl="1" algn="just"/>
            <a:r>
              <a:rPr lang="en-US" dirty="0" smtClean="0"/>
              <a:t>Customers appreciate consultancy of banks in that manner.</a:t>
            </a:r>
            <a:endParaRPr lang="en-US" dirty="0"/>
          </a:p>
        </p:txBody>
      </p:sp>
    </p:spTree>
    <p:extLst>
      <p:ext uri="{BB962C8B-B14F-4D97-AF65-F5344CB8AC3E}">
        <p14:creationId xmlns:p14="http://schemas.microsoft.com/office/powerpoint/2010/main" val="246012981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eması">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eması">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5223</TotalTime>
  <Words>1987</Words>
  <Application>Microsoft Office PowerPoint</Application>
  <PresentationFormat>Widescreen</PresentationFormat>
  <Paragraphs>239</Paragraphs>
  <Slides>44</Slides>
  <Notes>1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4</vt:i4>
      </vt:variant>
    </vt:vector>
  </HeadingPairs>
  <TitlesOfParts>
    <vt:vector size="53" baseType="lpstr">
      <vt:lpstr>Arial</vt:lpstr>
      <vt:lpstr>Calibri</vt:lpstr>
      <vt:lpstr>Calibri Light</vt:lpstr>
      <vt:lpstr>Franklin Gothic Medium Cond</vt:lpstr>
      <vt:lpstr>Nexa Bold</vt:lpstr>
      <vt:lpstr>Nexa Light</vt:lpstr>
      <vt:lpstr>Segoe UI</vt:lpstr>
      <vt:lpstr>Office Teması</vt:lpstr>
      <vt:lpstr>think-cell Slide</vt:lpstr>
      <vt:lpstr>The New Age Financial Intermediation and Islamic Fintech</vt:lpstr>
      <vt:lpstr>Content</vt:lpstr>
      <vt:lpstr>The new age banking</vt:lpstr>
      <vt:lpstr>Tiers of New Age Banking</vt:lpstr>
      <vt:lpstr>The 4 Elements</vt:lpstr>
      <vt:lpstr>Technology and Informatics in Banking</vt:lpstr>
      <vt:lpstr>Performance Effect</vt:lpstr>
      <vt:lpstr>Cost efficiency</vt:lpstr>
      <vt:lpstr>Payment Systems</vt:lpstr>
      <vt:lpstr>What else we are expecting?</vt:lpstr>
      <vt:lpstr>Cost Reduction</vt:lpstr>
      <vt:lpstr>Web-site/Application</vt:lpstr>
      <vt:lpstr>Competition</vt:lpstr>
      <vt:lpstr>What else we are expecting?</vt:lpstr>
      <vt:lpstr>Case Study</vt:lpstr>
      <vt:lpstr>Case Study</vt:lpstr>
      <vt:lpstr>Market</vt:lpstr>
      <vt:lpstr>Strength</vt:lpstr>
      <vt:lpstr>Infrastructure</vt:lpstr>
      <vt:lpstr>Islamic Banking in Europe</vt:lpstr>
      <vt:lpstr>Multi-Countr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w Age Banking and Islamic Fintech</dc:title>
  <dc:creator>Yusuf Dinc</dc:creator>
  <cp:lastModifiedBy>Sajjad Movahhed</cp:lastModifiedBy>
  <cp:revision>33</cp:revision>
  <cp:lastPrinted>2019-04-18T13:17:50Z</cp:lastPrinted>
  <dcterms:created xsi:type="dcterms:W3CDTF">2019-02-18T17:06:01Z</dcterms:created>
  <dcterms:modified xsi:type="dcterms:W3CDTF">2019-06-15T16:15:35Z</dcterms:modified>
</cp:coreProperties>
</file>